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2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3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15" r:id="rId1"/>
  </p:sldMasterIdLst>
  <p:notesMasterIdLst>
    <p:notesMasterId r:id="rId18"/>
  </p:notesMasterIdLst>
  <p:handoutMasterIdLst>
    <p:handoutMasterId r:id="rId19"/>
  </p:handoutMasterIdLst>
  <p:sldIdLst>
    <p:sldId id="265" r:id="rId2"/>
    <p:sldId id="328" r:id="rId3"/>
    <p:sldId id="294" r:id="rId4"/>
    <p:sldId id="256" r:id="rId5"/>
    <p:sldId id="356" r:id="rId6"/>
    <p:sldId id="326" r:id="rId7"/>
    <p:sldId id="329" r:id="rId8"/>
    <p:sldId id="358" r:id="rId9"/>
    <p:sldId id="257" r:id="rId10"/>
    <p:sldId id="330" r:id="rId11"/>
    <p:sldId id="357" r:id="rId12"/>
    <p:sldId id="272" r:id="rId13"/>
    <p:sldId id="361" r:id="rId14"/>
    <p:sldId id="362" r:id="rId15"/>
    <p:sldId id="327" r:id="rId16"/>
    <p:sldId id="276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439" autoAdjust="0"/>
  </p:normalViewPr>
  <p:slideViewPr>
    <p:cSldViewPr snapToGrid="0" snapToObjects="1" showGuides="1">
      <p:cViewPr varScale="1">
        <p:scale>
          <a:sx n="81" d="100"/>
          <a:sy n="81" d="100"/>
        </p:scale>
        <p:origin x="754" y="53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de-DE" smtClean="0"/>
              <a:t>19.06.2020</a:t>
            </a:fld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de-DE" smtClean="0"/>
              <a:t>19.06.2020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1259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152668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17966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25555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15808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3467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61749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05268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60905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716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017891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2636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59415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87784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099377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178210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5" Type="http://schemas.openxmlformats.org/officeDocument/2006/relationships/tags" Target="../tags/tag65.xml"/><Relationship Id="rId4" Type="http://schemas.openxmlformats.org/officeDocument/2006/relationships/tags" Target="../tags/tag6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.vml"/><Relationship Id="rId6" Type="http://schemas.openxmlformats.org/officeDocument/2006/relationships/tags" Target="../tags/tag78.xml"/><Relationship Id="rId5" Type="http://schemas.openxmlformats.org/officeDocument/2006/relationships/tags" Target="../tags/tag77.xml"/><Relationship Id="rId10" Type="http://schemas.openxmlformats.org/officeDocument/2006/relationships/image" Target="../media/image2.emf"/><Relationship Id="rId4" Type="http://schemas.openxmlformats.org/officeDocument/2006/relationships/tags" Target="../tags/tag76.xml"/><Relationship Id="rId9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9.xml"/><Relationship Id="rId7" Type="http://schemas.openxmlformats.org/officeDocument/2006/relationships/image" Target="../media/image4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1.xml"/><Relationship Id="rId4" Type="http://schemas.openxmlformats.org/officeDocument/2006/relationships/tags" Target="../tags/tag100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4.xml"/><Relationship Id="rId7" Type="http://schemas.openxmlformats.org/officeDocument/2006/relationships/image" Target="../media/image4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6.xml"/><Relationship Id="rId4" Type="http://schemas.openxmlformats.org/officeDocument/2006/relationships/tags" Target="../tags/tag10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5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1.xml"/><Relationship Id="rId4" Type="http://schemas.openxmlformats.org/officeDocument/2006/relationships/tags" Target="../tags/tag110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5" Type="http://schemas.openxmlformats.org/officeDocument/2006/relationships/tags" Target="../tags/tag116.xml"/><Relationship Id="rId4" Type="http://schemas.openxmlformats.org/officeDocument/2006/relationships/tags" Target="../tags/tag115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4" Type="http://schemas.openxmlformats.org/officeDocument/2006/relationships/tags" Target="../tags/tag122.xml"/><Relationship Id="rId9" Type="http://schemas.openxmlformats.org/officeDocument/2006/relationships/image" Target="../media/image5.pn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0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1B0421D-0F2C-4D5C-8C6A-4F33BBA87B51}"/>
              </a:ext>
            </a:extLst>
          </p:cNvPr>
          <p:cNvGrpSpPr/>
          <p:nvPr/>
        </p:nvGrpSpPr>
        <p:grpSpPr>
          <a:xfrm>
            <a:off x="1" y="1192"/>
            <a:ext cx="12191999" cy="4534816"/>
            <a:chOff x="0" y="-1850"/>
            <a:chExt cx="10058399" cy="5139458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AC2468B-7B7C-4C8C-B055-6EEB0FDFB458}"/>
                </a:ext>
              </a:extLst>
            </p:cNvPr>
            <p:cNvSpPr/>
            <p:nvPr/>
          </p:nvSpPr>
          <p:spPr bwMode="hidden">
            <a:xfrm>
              <a:off x="0" y="-1850"/>
              <a:ext cx="6738778" cy="3854593"/>
            </a:xfrm>
            <a:prstGeom prst="rect">
              <a:avLst/>
            </a:pr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 dirty="0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FBBA73F9-E23B-456D-80BC-9D102C6807BF}"/>
                </a:ext>
              </a:extLst>
            </p:cNvPr>
            <p:cNvSpPr/>
            <p:nvPr/>
          </p:nvSpPr>
          <p:spPr bwMode="hidden">
            <a:xfrm>
              <a:off x="0" y="3852743"/>
              <a:ext cx="6738778" cy="1284865"/>
            </a:xfrm>
            <a:prstGeom prst="rect">
              <a:avLst/>
            </a:pr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 dirty="0"/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6BE32A15-DC57-4998-AEBF-FEB28AD4F1C7}"/>
                </a:ext>
              </a:extLst>
            </p:cNvPr>
            <p:cNvSpPr/>
            <p:nvPr/>
          </p:nvSpPr>
          <p:spPr bwMode="hidden">
            <a:xfrm>
              <a:off x="6738779" y="-1850"/>
              <a:ext cx="3319620" cy="3854593"/>
            </a:xfrm>
            <a:prstGeom prst="rect">
              <a:avLst/>
            </a:prstGeom>
            <a:solidFill>
              <a:srgbClr val="EB8C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91" dirty="0"/>
            </a:p>
          </p:txBody>
        </p:sp>
      </p:grpSp>
      <p:pic>
        <p:nvPicPr>
          <p:cNvPr id="44" name="Picture 43">
            <a:extLst>
              <a:ext uri="{FF2B5EF4-FFF2-40B4-BE49-F238E27FC236}">
                <a16:creationId xmlns:a16="http://schemas.microsoft.com/office/drawing/2014/main" id="{ADEBCFBD-4064-4013-BFAD-CD6A74630FE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gray">
          <a:xfrm>
            <a:off x="345196" y="5410798"/>
            <a:ext cx="2182367" cy="1311444"/>
          </a:xfrm>
          <a:prstGeom prst="rect">
            <a:avLst/>
          </a:prstGeom>
        </p:spPr>
      </p:pic>
      <p:sp>
        <p:nvSpPr>
          <p:cNvPr id="12" name="Report Title">
            <a:extLst>
              <a:ext uri="{FF2B5EF4-FFF2-40B4-BE49-F238E27FC236}">
                <a16:creationId xmlns:a16="http://schemas.microsoft.com/office/drawing/2014/main" id="{33E879B0-433D-44B8-A45C-4AA9431195B4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7362768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D138D7C5-AFED-488C-9EB0-31F9B7E94C54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3475573"/>
            <a:ext cx="7362768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B4906E0-DCF0-4572-8EB8-2DD2439A515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02834" y="4338549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4D76D332-7278-485D-8CDF-6978AE979BD5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02834" y="4153041"/>
            <a:ext cx="2669925" cy="17472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E3D03A1-F1AB-4918-AAE4-A674AC23F6D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3701056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5230251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top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2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sz="quarter" idx="10"/>
            <p:custDataLst>
              <p:tags r:id="rId3"/>
            </p:custDataLst>
          </p:nvPr>
        </p:nvSpPr>
        <p:spPr>
          <a:xfrm>
            <a:off x="642851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4" name="Content Placeholder 3"/>
          <p:cNvSpPr>
            <a:spLocks noGrp="1"/>
          </p:cNvSpPr>
          <p:nvPr>
            <p:ph sz="quarter" idx="11"/>
            <p:custDataLst>
              <p:tags r:id="rId4"/>
            </p:custDataLst>
          </p:nvPr>
        </p:nvSpPr>
        <p:spPr>
          <a:xfrm>
            <a:off x="6184669" y="1815353"/>
            <a:ext cx="5364480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6" name="Content Placeholder 4"/>
          <p:cNvSpPr>
            <a:spLocks noGrp="1"/>
          </p:cNvSpPr>
          <p:nvPr>
            <p:ph sz="quarter" idx="12"/>
            <p:custDataLst>
              <p:tags r:id="rId5"/>
            </p:custDataLst>
          </p:nvPr>
        </p:nvSpPr>
        <p:spPr>
          <a:xfrm>
            <a:off x="642851" y="4043202"/>
            <a:ext cx="10906298" cy="2080588"/>
          </a:xfrm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935468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 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5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59788199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</p:nvPr>
        </p:nvSpPr>
        <p:spPr>
          <a:xfrm>
            <a:off x="642851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</p:nvPr>
        </p:nvSpPr>
        <p:spPr>
          <a:xfrm>
            <a:off x="6184669" y="1815353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</p:nvPr>
        </p:nvSpPr>
        <p:spPr>
          <a:xfrm>
            <a:off x="642851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0" name="Content Placeholder 5"/>
          <p:cNvSpPr>
            <a:spLocks noGrp="1"/>
          </p:cNvSpPr>
          <p:nvPr>
            <p:ph sz="quarter" idx="27"/>
          </p:nvPr>
        </p:nvSpPr>
        <p:spPr>
          <a:xfrm>
            <a:off x="6184669" y="4042186"/>
            <a:ext cx="5364480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7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21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201916081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5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19361880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4079522487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Header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/>
          <p:cNvSpPr txBox="1"/>
          <p:nvPr>
            <p:custDataLst>
              <p:tags r:id="rId1"/>
            </p:custDataLst>
          </p:nvPr>
        </p:nvSpPr>
        <p:spPr>
          <a:xfrm>
            <a:off x="3378647" y="621255"/>
            <a:ext cx="7204364" cy="1222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en-GB" sz="794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800">
                <a:solidFill>
                  <a:schemeClr val="bg1"/>
                </a:solidFill>
              </a:defRPr>
            </a:lvl1pPr>
          </a:lstStyle>
          <a:p>
            <a:pPr lvl="0"/>
            <a:endParaRPr lang="en-GB" sz="706" noProof="1"/>
          </a:p>
        </p:txBody>
      </p:sp>
      <p:sp>
        <p:nvSpPr>
          <p:cNvPr id="6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4165707965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/Filepath" hidden="1"/>
          <p:cNvSpPr txBox="1"/>
          <p:nvPr>
            <p:custDataLst>
              <p:tags r:id="rId1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7" name="Slide Tags" hidden="1"/>
          <p:cNvSpPr txBox="1"/>
          <p:nvPr>
            <p:custDataLst>
              <p:tags r:id="rId2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2849014881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 a Glanc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3513513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At a glance 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38971D4-EE37-4CAA-9605-E33F450BEBA9}"/>
              </a:ext>
            </a:extLst>
          </p:cNvPr>
          <p:cNvSpPr>
            <a:spLocks noGrp="1"/>
          </p:cNvSpPr>
          <p:nvPr>
            <p:ph sz="quarter" idx="25"/>
            <p:custDataLst>
              <p:tags r:id="rId4"/>
            </p:custDataLst>
          </p:nvPr>
        </p:nvSpPr>
        <p:spPr>
          <a:xfrm>
            <a:off x="4339244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B245656-626A-4ECA-ABB9-1EF1B8ECAB19}"/>
              </a:ext>
            </a:extLst>
          </p:cNvPr>
          <p:cNvSpPr>
            <a:spLocks noGrp="1"/>
          </p:cNvSpPr>
          <p:nvPr>
            <p:ph sz="quarter" idx="26"/>
            <p:custDataLst>
              <p:tags r:id="rId5"/>
            </p:custDataLst>
          </p:nvPr>
        </p:nvSpPr>
        <p:spPr>
          <a:xfrm>
            <a:off x="8035636" y="1815353"/>
            <a:ext cx="3513513" cy="4225339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3EFFD349-10E5-48CF-8A59-EF1555B521B2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6"/>
            </p:custDataLst>
          </p:nvPr>
        </p:nvSpPr>
        <p:spPr>
          <a:xfrm>
            <a:off x="4339244" y="949817"/>
            <a:ext cx="7209905" cy="742278"/>
          </a:xfrm>
        </p:spPr>
        <p:txBody>
          <a:bodyPr tIns="0" bIns="0"/>
          <a:lstStyle>
            <a:lvl1pPr>
              <a:defRPr sz="882" b="1" i="0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PwC view – Insert text here </a:t>
            </a:r>
          </a:p>
        </p:txBody>
      </p:sp>
    </p:spTree>
    <p:extLst>
      <p:ext uri="{BB962C8B-B14F-4D97-AF65-F5344CB8AC3E}">
        <p14:creationId xmlns:p14="http://schemas.microsoft.com/office/powerpoint/2010/main" val="12660198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Glossary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987312886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6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931744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EE44432-2DD3-429B-9192-CDE2430039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EE44432-2DD3-429B-9192-CDE24300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4E73762-5B0C-4A73-AAD9-B6C6DB42A1C9}"/>
              </a:ext>
            </a:extLst>
          </p:cNvPr>
          <p:cNvSpPr/>
          <p:nvPr/>
        </p:nvSpPr>
        <p:spPr>
          <a:xfrm>
            <a:off x="0" y="0"/>
            <a:ext cx="3147753" cy="68580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21C81E0-A595-44BD-A048-8DF8E985F86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888DD68-89F1-4B99-A070-7459C90282B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4" y="1815353"/>
            <a:ext cx="2405149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Insert text here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EBB040F-A728-48CD-A5B9-F69EC5296FF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4" y="5356604"/>
            <a:ext cx="2405149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ress Placeholder </a:t>
            </a:r>
          </a:p>
        </p:txBody>
      </p:sp>
      <p:cxnSp>
        <p:nvCxnSpPr>
          <p:cNvPr id="17" name="Frame Line">
            <a:extLst>
              <a:ext uri="{FF2B5EF4-FFF2-40B4-BE49-F238E27FC236}">
                <a16:creationId xmlns:a16="http://schemas.microsoft.com/office/drawing/2014/main" id="{F7BAF0B3-E029-470C-87E4-46D3229C1448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3585682" y="1748118"/>
            <a:ext cx="7969135" cy="0"/>
          </a:xfrm>
          <a:prstGeom prst="line">
            <a:avLst/>
          </a:prstGeom>
          <a:ln w="12700" cap="rnd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3075B3C-DA49-4F57-9409-515CA5F8C1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85683" y="941295"/>
            <a:ext cx="3213601" cy="149362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en-GB" dirty="0"/>
              <a:t>Insert text here 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1A63BB9A-729A-4857-BE09-F8368F34E8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85683" y="1815353"/>
            <a:ext cx="7963465" cy="36186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text here </a:t>
            </a:r>
          </a:p>
        </p:txBody>
      </p:sp>
    </p:spTree>
    <p:extLst>
      <p:ext uri="{BB962C8B-B14F-4D97-AF65-F5344CB8AC3E}">
        <p14:creationId xmlns:p14="http://schemas.microsoft.com/office/powerpoint/2010/main" val="4283761979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_Longer titl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32C415-932A-4984-BC41-3D53D24BA0E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25" y="1401"/>
          <a:ext cx="1925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9" imgW="423" imgH="424" progId="TCLayout.ActiveDocument.1">
                  <p:embed/>
                </p:oleObj>
              </mc:Choice>
              <mc:Fallback>
                <p:oleObj name="think-cell Slide" r:id="rId9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32C415-932A-4984-BC41-3D53D24BA0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925" y="1401"/>
                        <a:ext cx="1925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E9D31E-4204-4DCB-A857-FA95141C7A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92424" cy="140074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53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642851" y="1246960"/>
            <a:ext cx="4722638" cy="2222966"/>
          </a:xfrm>
          <a:noFill/>
        </p:spPr>
        <p:txBody>
          <a:bodyPr wrap="square" lIns="0" tIns="0" rIns="0" bIns="0" anchor="t" anchorCtr="0">
            <a:noAutofit/>
          </a:bodyPr>
          <a:lstStyle>
            <a:lvl1pPr algn="l">
              <a:defRPr sz="3530" b="0" i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5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6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86388" y="1389668"/>
            <a:ext cx="586276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035497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ction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5609"/>
            <a:ext cx="7891549" cy="665349"/>
          </a:xfrm>
          <a:solidFill>
            <a:schemeClr val="accent1"/>
          </a:solidFill>
        </p:spPr>
        <p:txBody>
          <a:bodyPr wrap="square" lIns="457200" tIns="91440" rIns="91440" bIns="91440" anchor="ctr">
            <a:noAutofit/>
          </a:bodyPr>
          <a:lstStyle>
            <a:lvl1pPr algn="l">
              <a:defRPr sz="3530" b="0" i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noProof="0" dirty="0"/>
              <a:t>Section Divider</a:t>
            </a:r>
          </a:p>
        </p:txBody>
      </p:sp>
      <p:sp>
        <p:nvSpPr>
          <p:cNvPr id="14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1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1B48028B-B6D8-48D6-9F96-EA3550606D9C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6863437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6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273440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_Longer titl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642851" y="1246960"/>
            <a:ext cx="4722638" cy="222296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GB" sz="3530" b="0" cap="none" noProof="0" dirty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686388" y="1389668"/>
            <a:ext cx="5863244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952047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ppendix Divider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ppendix Divider Title"/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0" y="941294"/>
            <a:ext cx="7892524" cy="669664"/>
          </a:xfrm>
          <a:solidFill>
            <a:schemeClr val="accent4"/>
          </a:solidFill>
        </p:spPr>
        <p:txBody>
          <a:bodyPr vert="horz" wrap="square" lIns="457200" tIns="91440" rIns="91440" bIns="91440" rtlCol="0" anchor="ctr" anchorCtr="0">
            <a:noAutofit/>
          </a:bodyPr>
          <a:lstStyle>
            <a:lvl1pPr>
              <a:defRPr lang="en-GB" sz="3530" b="0" cap="none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Appendix Divider</a:t>
            </a:r>
          </a:p>
        </p:txBody>
      </p:sp>
      <p:sp>
        <p:nvSpPr>
          <p:cNvPr id="17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6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36" name="DividerTOCPlaceholder">
            <a:extLst>
              <a:ext uri="{FF2B5EF4-FFF2-40B4-BE49-F238E27FC236}">
                <a16:creationId xmlns:a16="http://schemas.microsoft.com/office/drawing/2014/main" id="{C635807D-6549-4797-A193-3707FC5E46AF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2527069" y="2097742"/>
            <a:ext cx="9022080" cy="40347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lang="en-GB" sz="1588" noProof="1">
              <a:solidFill>
                <a:schemeClr val="bg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3603128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Banner Statement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5309062" cy="2517289"/>
          </a:xfrm>
        </p:spPr>
        <p:txBody>
          <a:bodyPr vert="horz" lIns="0" tIns="0" rIns="0" bIns="0" rtlCol="0" anchor="b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4236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Thank you</a:t>
            </a:r>
            <a:endParaRPr lang="en-GB" dirty="0"/>
          </a:p>
        </p:txBody>
      </p:sp>
      <p:sp>
        <p:nvSpPr>
          <p:cNvPr id="8" name="Slide Tags" hidden="1"/>
          <p:cNvSpPr txBox="1"/>
          <p:nvPr>
            <p:custDataLst>
              <p:tags r:id="rId1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AF4687C-57A8-453A-A049-0D4DDFEA3263}"/>
              </a:ext>
            </a:extLst>
          </p:cNvPr>
          <p:cNvSpPr/>
          <p:nvPr/>
        </p:nvSpPr>
        <p:spPr bwMode="hidden">
          <a:xfrm>
            <a:off x="0" y="4940855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1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C2BBAF-6A4B-47CB-BD75-5168D1A27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5212080"/>
            <a:ext cx="10906298" cy="1371600"/>
          </a:xfrm>
        </p:spPr>
        <p:txBody>
          <a:bodyPr anchor="b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[Legal]</a:t>
            </a:r>
          </a:p>
        </p:txBody>
      </p:sp>
    </p:spTree>
    <p:extLst>
      <p:ext uri="{BB962C8B-B14F-4D97-AF65-F5344CB8AC3E}">
        <p14:creationId xmlns:p14="http://schemas.microsoft.com/office/powerpoint/2010/main" val="4126931891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9">
            <a:extLst>
              <a:ext uri="{FF2B5EF4-FFF2-40B4-BE49-F238E27FC236}">
                <a16:creationId xmlns:a16="http://schemas.microsoft.com/office/drawing/2014/main" id="{88EEE73C-8877-43D1-86A9-69E953630E6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2869856-6182-4B8D-938C-EBFCD02C87F2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3459590"/>
      </p:ext>
    </p:extLst>
  </p:cSld>
  <p:clrMapOvr>
    <a:masterClrMapping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9">
            <a:extLst>
              <a:ext uri="{FF2B5EF4-FFF2-40B4-BE49-F238E27FC236}">
                <a16:creationId xmlns:a16="http://schemas.microsoft.com/office/drawing/2014/main" id="{627FAFAA-285F-4945-A3A2-666A8A502E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7709" r="24167"/>
          <a:stretch/>
        </p:blipFill>
        <p:spPr>
          <a:xfrm>
            <a:off x="2493818" y="3"/>
            <a:ext cx="9698182" cy="6868345"/>
          </a:xfrm>
          <a:prstGeom prst="rect">
            <a:avLst/>
          </a:pr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575F215B-4184-4392-9C86-1A188FA31F05}"/>
              </a:ext>
            </a:extLst>
          </p:cNvPr>
          <p:cNvSpPr>
            <a:spLocks noChangeAspect="1"/>
          </p:cNvSpPr>
          <p:nvPr/>
        </p:nvSpPr>
        <p:spPr bwMode="white">
          <a:xfrm>
            <a:off x="2" y="1"/>
            <a:ext cx="8367536" cy="6858000"/>
          </a:xfrm>
          <a:custGeom>
            <a:avLst/>
            <a:gdLst>
              <a:gd name="connsiteX0" fmla="*/ 0 w 6126163"/>
              <a:gd name="connsiteY0" fmla="*/ 0 h 6858000"/>
              <a:gd name="connsiteX1" fmla="*/ 2381250 w 6126163"/>
              <a:gd name="connsiteY1" fmla="*/ 0 h 6858000"/>
              <a:gd name="connsiteX2" fmla="*/ 2381250 w 6126163"/>
              <a:gd name="connsiteY2" fmla="*/ 765175 h 6858000"/>
              <a:gd name="connsiteX3" fmla="*/ 3149601 w 6126163"/>
              <a:gd name="connsiteY3" fmla="*/ 765175 h 6858000"/>
              <a:gd name="connsiteX4" fmla="*/ 3149601 w 6126163"/>
              <a:gd name="connsiteY4" fmla="*/ 1957388 h 6858000"/>
              <a:gd name="connsiteX5" fmla="*/ 5132388 w 6126163"/>
              <a:gd name="connsiteY5" fmla="*/ 1957388 h 6858000"/>
              <a:gd name="connsiteX6" fmla="*/ 5132388 w 6126163"/>
              <a:gd name="connsiteY6" fmla="*/ 4899025 h 6858000"/>
              <a:gd name="connsiteX7" fmla="*/ 6126163 w 6126163"/>
              <a:gd name="connsiteY7" fmla="*/ 4899025 h 6858000"/>
              <a:gd name="connsiteX8" fmla="*/ 6126163 w 6126163"/>
              <a:gd name="connsiteY8" fmla="*/ 6858000 h 6858000"/>
              <a:gd name="connsiteX9" fmla="*/ 5132388 w 6126163"/>
              <a:gd name="connsiteY9" fmla="*/ 6858000 h 6858000"/>
              <a:gd name="connsiteX10" fmla="*/ 3149601 w 6126163"/>
              <a:gd name="connsiteY10" fmla="*/ 6858000 h 6858000"/>
              <a:gd name="connsiteX11" fmla="*/ 2381250 w 6126163"/>
              <a:gd name="connsiteY11" fmla="*/ 6858000 h 6858000"/>
              <a:gd name="connsiteX12" fmla="*/ 917576 w 6126163"/>
              <a:gd name="connsiteY12" fmla="*/ 6858000 h 6858000"/>
              <a:gd name="connsiteX13" fmla="*/ 0 w 6126163"/>
              <a:gd name="connsiteY1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126163" h="6858000">
                <a:moveTo>
                  <a:pt x="0" y="0"/>
                </a:moveTo>
                <a:lnTo>
                  <a:pt x="2381250" y="0"/>
                </a:lnTo>
                <a:lnTo>
                  <a:pt x="2381250" y="765175"/>
                </a:lnTo>
                <a:lnTo>
                  <a:pt x="3149601" y="765175"/>
                </a:lnTo>
                <a:lnTo>
                  <a:pt x="3149601" y="1957388"/>
                </a:lnTo>
                <a:lnTo>
                  <a:pt x="5132388" y="1957388"/>
                </a:lnTo>
                <a:lnTo>
                  <a:pt x="5132388" y="4899025"/>
                </a:lnTo>
                <a:lnTo>
                  <a:pt x="6126163" y="4899025"/>
                </a:lnTo>
                <a:lnTo>
                  <a:pt x="6126163" y="6858000"/>
                </a:lnTo>
                <a:lnTo>
                  <a:pt x="5132388" y="6858000"/>
                </a:lnTo>
                <a:lnTo>
                  <a:pt x="3149601" y="6858000"/>
                </a:lnTo>
                <a:lnTo>
                  <a:pt x="2381250" y="6858000"/>
                </a:lnTo>
                <a:lnTo>
                  <a:pt x="917576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068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D160942-482E-4DB8-A58E-71FBEDE7727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11" name="Report Title">
            <a:extLst>
              <a:ext uri="{FF2B5EF4-FFF2-40B4-BE49-F238E27FC236}">
                <a16:creationId xmlns:a16="http://schemas.microsoft.com/office/drawing/2014/main" id="{12C0EFB5-DB4A-44B7-BEB6-50F77D1D323D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13" name="Report Subtitle">
            <a:extLst>
              <a:ext uri="{FF2B5EF4-FFF2-40B4-BE49-F238E27FC236}">
                <a16:creationId xmlns:a16="http://schemas.microsoft.com/office/drawing/2014/main" id="{2EEB4B15-EBE2-4CC7-87E7-CF12291C9A89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16" name="Confidentiality Stamp">
            <a:extLst>
              <a:ext uri="{FF2B5EF4-FFF2-40B4-BE49-F238E27FC236}">
                <a16:creationId xmlns:a16="http://schemas.microsoft.com/office/drawing/2014/main" id="{BB6F76BA-CA5E-46B1-A4FE-A04494BA1F4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7" name="Draft Stamp">
            <a:extLst>
              <a:ext uri="{FF2B5EF4-FFF2-40B4-BE49-F238E27FC236}">
                <a16:creationId xmlns:a16="http://schemas.microsoft.com/office/drawing/2014/main" id="{FD086E63-2C7B-45FF-B665-56AD61AC323A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port Date">
            <a:extLst>
              <a:ext uri="{FF2B5EF4-FFF2-40B4-BE49-F238E27FC236}">
                <a16:creationId xmlns:a16="http://schemas.microsoft.com/office/drawing/2014/main" id="{2093D07F-E838-4E22-A6DD-E50DBC55755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38281200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E44EA63-8055-4BC6-ADFC-211DB47C441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 bwMode="black">
          <a:xfrm>
            <a:off x="345195" y="5410797"/>
            <a:ext cx="1983971" cy="1192221"/>
          </a:xfrm>
          <a:prstGeom prst="rect">
            <a:avLst/>
          </a:prstGeom>
        </p:spPr>
      </p:pic>
      <p:sp>
        <p:nvSpPr>
          <p:cNvPr id="26" name="Report Title">
            <a:extLst>
              <a:ext uri="{FF2B5EF4-FFF2-40B4-BE49-F238E27FC236}">
                <a16:creationId xmlns:a16="http://schemas.microsoft.com/office/drawing/2014/main" id="{C77651B3-4358-447B-9AFF-0D75E675F6C3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white">
          <a:xfrm>
            <a:off x="602834" y="2123558"/>
            <a:ext cx="6281336" cy="553549"/>
          </a:xfrm>
        </p:spPr>
        <p:txBody>
          <a:bodyPr vert="horz" wrap="square" lIns="0" tIns="0" rIns="0" bIns="64008" rtlCol="0" anchor="t" anchorCtr="0">
            <a:spAutoFit/>
          </a:bodyPr>
          <a:lstStyle>
            <a:lvl1pPr algn="l" defTabSz="89901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3530" b="0" i="0" kern="120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noProof="0" dirty="0"/>
              <a:t>Report Title</a:t>
            </a:r>
          </a:p>
        </p:txBody>
      </p:sp>
      <p:sp>
        <p:nvSpPr>
          <p:cNvPr id="27" name="Report Subtitle">
            <a:extLst>
              <a:ext uri="{FF2B5EF4-FFF2-40B4-BE49-F238E27FC236}">
                <a16:creationId xmlns:a16="http://schemas.microsoft.com/office/drawing/2014/main" id="{9BB6D6A4-D6F1-4F2E-A6AB-B4D83A6AFB86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602834" y="2730105"/>
            <a:ext cx="6281336" cy="183308"/>
          </a:xfrm>
        </p:spPr>
        <p:txBody>
          <a:bodyPr wrap="square" tIns="0" bIns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324" baseline="0">
                <a:solidFill>
                  <a:schemeClr val="bg1"/>
                </a:solidFill>
                <a:latin typeface="+mn-lt"/>
              </a:defRPr>
            </a:lvl1pPr>
            <a:lvl2pPr marL="449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8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7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5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6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Subtitle</a:t>
            </a:r>
          </a:p>
        </p:txBody>
      </p:sp>
      <p:sp>
        <p:nvSpPr>
          <p:cNvPr id="28" name="Confidentiality Stamp">
            <a:extLst>
              <a:ext uri="{FF2B5EF4-FFF2-40B4-BE49-F238E27FC236}">
                <a16:creationId xmlns:a16="http://schemas.microsoft.com/office/drawing/2014/main" id="{0E2F3F91-4073-4018-A640-F36B816E77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2851" y="4176285"/>
            <a:ext cx="6241319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882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9" name="Draft Stamp">
            <a:extLst>
              <a:ext uri="{FF2B5EF4-FFF2-40B4-BE49-F238E27FC236}">
                <a16:creationId xmlns:a16="http://schemas.microsoft.com/office/drawing/2014/main" id="{D99A7AB6-A20A-4FF1-A703-0C449EEF0B0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642851" y="3916966"/>
            <a:ext cx="2669925" cy="1833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12102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sz="882" b="0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" name="Report Date">
            <a:extLst>
              <a:ext uri="{FF2B5EF4-FFF2-40B4-BE49-F238E27FC236}">
                <a16:creationId xmlns:a16="http://schemas.microsoft.com/office/drawing/2014/main" id="{BA7C48D8-0F4A-43F2-B425-8A49E4F2DFB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black">
          <a:xfrm>
            <a:off x="602834" y="2947510"/>
            <a:ext cx="2303542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07517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2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  <a:solidFill>
            <a:schemeClr val="accent6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  <a:grpFill/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5805709"/>
      </p:ext>
    </p:extLst>
  </p:cSld>
  <p:clrMapOvr>
    <a:masterClrMapping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etter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6772873F-F098-49A1-B629-C8530BE60C1A}"/>
              </a:ext>
            </a:extLst>
          </p:cNvPr>
          <p:cNvSpPr/>
          <p:nvPr/>
        </p:nvSpPr>
        <p:spPr>
          <a:xfrm>
            <a:off x="0" y="0"/>
            <a:ext cx="3147753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235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18A1954-C595-46AF-9BD0-C51B68380FC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75" t="30898" r="32576" b="30525"/>
          <a:stretch/>
        </p:blipFill>
        <p:spPr>
          <a:xfrm>
            <a:off x="543224" y="941294"/>
            <a:ext cx="1175030" cy="669407"/>
          </a:xfrm>
          <a:prstGeom prst="rect">
            <a:avLst/>
          </a:prstGeom>
        </p:spPr>
      </p:pic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011B331F-A998-4B93-9E0F-EFB8090DC59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224" y="1815353"/>
            <a:ext cx="2405149" cy="149362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Insert text here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012E331A-BF46-4F6E-9356-402F5B3A21A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3224" y="5230180"/>
            <a:ext cx="2405149" cy="149362"/>
          </a:xfrm>
        </p:spPr>
        <p:txBody>
          <a:bodyPr wrap="square" anchor="b" anchorCtr="0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ress Placeholder 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40E7DDA1-E9E0-4BD2-9F18-4D73A5A3E34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0930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 dirty="0"/>
              <a:t>Insert text here 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3A63B2BC-C1AA-475D-80E8-6103AE0017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44375" y="1282424"/>
            <a:ext cx="3904775" cy="4611356"/>
          </a:xfrm>
        </p:spPr>
        <p:txBody>
          <a:bodyPr/>
          <a:lstStyle>
            <a:lvl1pPr>
              <a:defRPr sz="794"/>
            </a:lvl1pPr>
          </a:lstStyle>
          <a:p>
            <a:pPr lvl="0"/>
            <a:r>
              <a:rPr lang="en-GB" dirty="0"/>
              <a:t>Insert text here </a:t>
            </a:r>
          </a:p>
        </p:txBody>
      </p:sp>
    </p:spTree>
    <p:extLst>
      <p:ext uri="{BB962C8B-B14F-4D97-AF65-F5344CB8AC3E}">
        <p14:creationId xmlns:p14="http://schemas.microsoft.com/office/powerpoint/2010/main" val="2575395841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tle Slide 3 - withou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2743200" y="1"/>
            <a:ext cx="9448800" cy="6857999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971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7A9093B-3432-154B-91D3-38327BBF6EBC}"/>
              </a:ext>
            </a:extLst>
          </p:cNvPr>
          <p:cNvGrpSpPr/>
          <p:nvPr>
            <p:custDataLst>
              <p:tags r:id="rId1"/>
            </p:custDataLst>
          </p:nvPr>
        </p:nvGrpSpPr>
        <p:grpSpPr>
          <a:xfrm>
            <a:off x="2" y="1"/>
            <a:ext cx="8367536" cy="6858000"/>
            <a:chOff x="1" y="3"/>
            <a:chExt cx="6126163" cy="6858000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D7CC873-FA37-4A3B-A68F-BA24516A184F}"/>
                </a:ext>
              </a:extLst>
            </p:cNvPr>
            <p:cNvSpPr>
              <a:spLocks noChangeAspect="1"/>
            </p:cNvSpPr>
            <p:nvPr/>
          </p:nvSpPr>
          <p:spPr bwMode="white">
            <a:xfrm>
              <a:off x="1" y="3"/>
              <a:ext cx="6126163" cy="6858000"/>
            </a:xfrm>
            <a:custGeom>
              <a:avLst/>
              <a:gdLst>
                <a:gd name="connsiteX0" fmla="*/ 0 w 6126163"/>
                <a:gd name="connsiteY0" fmla="*/ 0 h 6858000"/>
                <a:gd name="connsiteX1" fmla="*/ 2381250 w 6126163"/>
                <a:gd name="connsiteY1" fmla="*/ 0 h 6858000"/>
                <a:gd name="connsiteX2" fmla="*/ 2381250 w 6126163"/>
                <a:gd name="connsiteY2" fmla="*/ 765175 h 6858000"/>
                <a:gd name="connsiteX3" fmla="*/ 3149601 w 6126163"/>
                <a:gd name="connsiteY3" fmla="*/ 765175 h 6858000"/>
                <a:gd name="connsiteX4" fmla="*/ 3149601 w 6126163"/>
                <a:gd name="connsiteY4" fmla="*/ 1957388 h 6858000"/>
                <a:gd name="connsiteX5" fmla="*/ 5132388 w 6126163"/>
                <a:gd name="connsiteY5" fmla="*/ 1957388 h 6858000"/>
                <a:gd name="connsiteX6" fmla="*/ 5132388 w 6126163"/>
                <a:gd name="connsiteY6" fmla="*/ 4899025 h 6858000"/>
                <a:gd name="connsiteX7" fmla="*/ 6126163 w 6126163"/>
                <a:gd name="connsiteY7" fmla="*/ 4899025 h 6858000"/>
                <a:gd name="connsiteX8" fmla="*/ 6126163 w 6126163"/>
                <a:gd name="connsiteY8" fmla="*/ 6858000 h 6858000"/>
                <a:gd name="connsiteX9" fmla="*/ 5132388 w 6126163"/>
                <a:gd name="connsiteY9" fmla="*/ 6858000 h 6858000"/>
                <a:gd name="connsiteX10" fmla="*/ 3149601 w 6126163"/>
                <a:gd name="connsiteY10" fmla="*/ 6858000 h 6858000"/>
                <a:gd name="connsiteX11" fmla="*/ 2381250 w 6126163"/>
                <a:gd name="connsiteY11" fmla="*/ 6858000 h 6858000"/>
                <a:gd name="connsiteX12" fmla="*/ 917576 w 6126163"/>
                <a:gd name="connsiteY12" fmla="*/ 6858000 h 6858000"/>
                <a:gd name="connsiteX13" fmla="*/ 0 w 6126163"/>
                <a:gd name="connsiteY1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126163" h="6858000">
                  <a:moveTo>
                    <a:pt x="0" y="0"/>
                  </a:moveTo>
                  <a:lnTo>
                    <a:pt x="2381250" y="0"/>
                  </a:lnTo>
                  <a:lnTo>
                    <a:pt x="2381250" y="765175"/>
                  </a:lnTo>
                  <a:lnTo>
                    <a:pt x="3149601" y="765175"/>
                  </a:lnTo>
                  <a:lnTo>
                    <a:pt x="3149601" y="1957388"/>
                  </a:lnTo>
                  <a:lnTo>
                    <a:pt x="5132388" y="1957388"/>
                  </a:lnTo>
                  <a:lnTo>
                    <a:pt x="5132388" y="4899025"/>
                  </a:lnTo>
                  <a:lnTo>
                    <a:pt x="6126163" y="4899025"/>
                  </a:lnTo>
                  <a:lnTo>
                    <a:pt x="6126163" y="6858000"/>
                  </a:lnTo>
                  <a:lnTo>
                    <a:pt x="5132388" y="6858000"/>
                  </a:lnTo>
                  <a:lnTo>
                    <a:pt x="3149601" y="6858000"/>
                  </a:lnTo>
                  <a:lnTo>
                    <a:pt x="2381250" y="6858000"/>
                  </a:lnTo>
                  <a:lnTo>
                    <a:pt x="917576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068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black">
            <a:xfrm>
              <a:off x="201168" y="5330955"/>
              <a:ext cx="1636776" cy="1351184"/>
            </a:xfrm>
            <a:prstGeom prst="rect">
              <a:avLst/>
            </a:prstGeom>
          </p:spPr>
        </p:pic>
      </p:grpSp>
      <p:sp>
        <p:nvSpPr>
          <p:cNvPr id="14" name="Confidentiality Stamp">
            <a:extLst>
              <a:ext uri="{FF2B5EF4-FFF2-40B4-BE49-F238E27FC236}">
                <a16:creationId xmlns:a16="http://schemas.microsoft.com/office/drawing/2014/main" id="{C86EBE8C-2CF4-40B7-B289-3EE472179A8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69937" y="4208056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5" name="Draft Stamp">
            <a:extLst>
              <a:ext uri="{FF2B5EF4-FFF2-40B4-BE49-F238E27FC236}">
                <a16:creationId xmlns:a16="http://schemas.microsoft.com/office/drawing/2014/main" id="{70EB308C-F021-4F1B-A609-C22651ED1893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569938" y="4722192"/>
            <a:ext cx="3258602" cy="13574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endParaRPr lang="en-GB" sz="882" b="1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port Date">
            <a:extLst>
              <a:ext uri="{FF2B5EF4-FFF2-40B4-BE49-F238E27FC236}">
                <a16:creationId xmlns:a16="http://schemas.microsoft.com/office/drawing/2014/main" id="{0BBB8318-EB82-4BAF-B07D-883DE61EDB2A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569937" y="3751729"/>
            <a:ext cx="2911018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endParaRPr lang="en-GB" sz="1324" i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Cover image">
            <a:extLst>
              <a:ext uri="{FF2B5EF4-FFF2-40B4-BE49-F238E27FC236}">
                <a16:creationId xmlns:a16="http://schemas.microsoft.com/office/drawing/2014/main" id="{0B8EC450-2588-46B0-A962-4A8F28BBA87D}"/>
              </a:ext>
            </a:extLst>
          </p:cNvPr>
          <p:cNvSpPr txBox="1">
            <a:spLocks noChangeAspect="1"/>
          </p:cNvSpPr>
          <p:nvPr>
            <p:custDataLst>
              <p:tags r:id="rId5"/>
            </p:custDataLst>
          </p:nvPr>
        </p:nvSpPr>
        <p:spPr>
          <a:xfrm>
            <a:off x="2308284" y="3167623"/>
            <a:ext cx="8145368" cy="2823882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269703">
              <a:spcAft>
                <a:spcPts val="885"/>
              </a:spcAft>
            </a:pPr>
            <a:endParaRPr lang="en-GB" sz="1941" dirty="0">
              <a:latin typeface="Georgia" pitchFamily="18" charset="0"/>
            </a:endParaRPr>
          </a:p>
        </p:txBody>
      </p:sp>
      <p:sp>
        <p:nvSpPr>
          <p:cNvPr id="18" name="Confidentiality Stamp">
            <a:extLst>
              <a:ext uri="{FF2B5EF4-FFF2-40B4-BE49-F238E27FC236}">
                <a16:creationId xmlns:a16="http://schemas.microsoft.com/office/drawing/2014/main" id="{544908D1-6B61-43B7-9B66-869C15C36F6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69937" y="2217741"/>
            <a:ext cx="6348201" cy="65184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4236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  <p:sp>
        <p:nvSpPr>
          <p:cNvPr id="20" name="Confidentiality Stamp">
            <a:extLst>
              <a:ext uri="{FF2B5EF4-FFF2-40B4-BE49-F238E27FC236}">
                <a16:creationId xmlns:a16="http://schemas.microsoft.com/office/drawing/2014/main" id="{9C246A3E-6BB1-4A8C-8940-43DA547E6AC8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69937" y="3477409"/>
            <a:ext cx="6348201" cy="20377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GB" sz="1324" i="0" noProof="0" dirty="0">
                <a:solidFill>
                  <a:schemeClr val="bg1"/>
                </a:solidFill>
                <a:latin typeface="+mj-lt"/>
                <a:cs typeface="Arial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78917266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1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[Presentation title]</a:t>
            </a:r>
            <a:endParaRPr lang="de-DE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de-DE"/>
              <a:t>[Presentation subtitl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7601387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9" name="Presentation Footer">
            <a:extLst>
              <a:ext uri="{FF2B5EF4-FFF2-40B4-BE49-F238E27FC236}">
                <a16:creationId xmlns:a16="http://schemas.microsoft.com/office/drawing/2014/main" id="{F2288642-D6A8-4716-B5EF-36D68817E0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76E9A6AC-3A56-4D69-B8B6-5E24CE0B7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AC6746E-625A-44F1-923D-85D1DDF84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8945830"/>
      </p:ext>
    </p:extLst>
  </p:cSld>
  <p:clrMapOvr>
    <a:masterClrMapping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50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9" name="Presentation Footer">
            <a:extLst>
              <a:ext uri="{FF2B5EF4-FFF2-40B4-BE49-F238E27FC236}">
                <a16:creationId xmlns:a16="http://schemas.microsoft.com/office/drawing/2014/main" id="{F2288642-D6A8-4716-B5EF-36D68817E0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76E9A6AC-3A56-4D69-B8B6-5E24CE0B7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AC6746E-625A-44F1-923D-85D1DDF84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17329518"/>
      </p:ext>
    </p:extLst>
  </p:cSld>
  <p:clrMapOvr>
    <a:masterClrMapping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[Section header title]</a:t>
            </a:r>
            <a:endParaRPr lang="de-DE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de-DE"/>
              <a:t>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3189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0A96048-10F2-4224-818D-5BECEE16847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C1F41BA3-BD4F-444B-8A48-A3CC74630D9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362C54E-6F95-4E35-B11E-0FA6890BB9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7246225"/>
      </p:ext>
    </p:extLst>
  </p:cSld>
  <p:clrMapOvr>
    <a:masterClrMapping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13CA01EC-74E7-46D6-B9C3-3BF3818DA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1E65F41B-A18F-4D3E-915F-1F329317406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C98D8-5B98-41C4-AEFF-4A77CD0676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7520946"/>
      </p:ext>
    </p:extLst>
  </p:cSld>
  <p:clrMapOvr>
    <a:masterClrMapping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7418386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de-DE"/>
              <a:t>Thank you</a:t>
            </a:r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de-DE" sz="1200">
                <a:solidFill>
                  <a:schemeClr val="tx1"/>
                </a:solidFill>
              </a:rPr>
              <a:t>pwc.d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[Legal]</a:t>
            </a:r>
            <a:endParaRPr lang="de-DE" dirty="0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380728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7B52BB9D-0714-41EB-A065-3C9301AC9AF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4CDD38BF-B105-49DA-8707-FF2BB7A24DF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6F070B6-A4B1-450C-9787-CEE408FDB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64721411"/>
      </p:ext>
    </p:extLst>
  </p:cSld>
  <p:clrMapOvr>
    <a:masterClrMapping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AD04E10A-3CEF-447C-885A-911D225054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26D0D962-572E-435C-BDA7-54D718BEA5C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DA80911-AAEC-40A3-90D1-AF7AD8369F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33039"/>
      </p:ext>
    </p:extLst>
  </p:cSld>
  <p:clrMapOvr>
    <a:masterClrMapping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10906298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Section Header" hidden="1"/>
          <p:cNvSpPr txBox="1"/>
          <p:nvPr>
            <p:custDataLst>
              <p:tags r:id="rId2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5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6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PwC view -- Insert text here </a:t>
            </a:r>
          </a:p>
        </p:txBody>
      </p:sp>
      <p:sp>
        <p:nvSpPr>
          <p:cNvPr id="42" name="Section Header">
            <a:extLst>
              <a:ext uri="{FF2B5EF4-FFF2-40B4-BE49-F238E27FC236}">
                <a16:creationId xmlns:a16="http://schemas.microsoft.com/office/drawing/2014/main" id="{42230C15-E0EF-475B-8C56-8180ED2FC02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06" noProof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11129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E542CCAF-6994-4C2E-A29F-F9E9E6F7953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B579EE4-B6F2-46DD-AB07-6E80B1CEEAE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C500E16-A5D2-464A-BABA-F48C4283BA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 - Sub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50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E542CCAF-6994-4C2E-A29F-F9E9E6F7953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B579EE4-B6F2-46DD-AB07-6E80B1CEEAE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C500E16-A5D2-464A-BABA-F48C4283BA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268225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1" name="Presentation Footer">
            <a:extLst>
              <a:ext uri="{FF2B5EF4-FFF2-40B4-BE49-F238E27FC236}">
                <a16:creationId xmlns:a16="http://schemas.microsoft.com/office/drawing/2014/main" id="{E7ED5D26-0F4E-4435-AE02-4BF45040082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25C81924-25E8-4886-B2A4-3E64CBC6F55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1D092D2-EB9A-42A2-9448-EC3149819A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5727502"/>
      </p:ext>
    </p:extLst>
  </p:cSld>
  <p:clrMapOvr>
    <a:masterClrMapping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067D2AEA-341E-4BEC-9DE2-87F1D311F5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FDA629C-04CF-4329-A513-8273BEBC5E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3EEAEFD-4D96-414E-BFBD-5330580641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1426661"/>
      </p:ext>
    </p:extLst>
  </p:cSld>
  <p:clrMapOvr>
    <a:masterClrMapping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D7C5ACFB-61B7-4A08-AE8A-3A80BEC2E2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02BAA9CC-763F-4505-97C9-24D4ABD8DD6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10E761E0-3587-4A31-997F-CE8E3A358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6111294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6C53AB53-6653-42B1-B9D6-EB2EFF4B49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76E638A8-EB6B-4563-B520-8A8A6A3E66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013A4E0-8BC8-43BD-AE29-7D448DF33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3019015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55A06FB-EE8B-4642-9C1A-40B8F0083D8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CB39C188-B397-483D-80EC-B5D9D1384E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CA8159A-8660-4BB5-BFF5-FCB30C41D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2856060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EC1E7080-72F9-4244-AFA9-CEE3373F1B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9C15D536-803A-4FDA-96C2-0DD6A243A97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766AC7EC-26A9-4359-B160-8DCDEB14FC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9664725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7A38251C-F0F6-4C4E-90EA-046EBE3900D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D1CEFF90-96A0-43B5-A905-C1B1E995A88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026E04C-2403-4D04-9506-C1AEDD8BEC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3479323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2361EBB0-BC2B-4110-AFF0-9612E9BCBE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2E9937C-7E30-4F8A-B2DC-3CABA59F5C8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289CCE2-B31E-4A52-83B1-71AE544EE2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5707198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R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2549562"/>
            <a:ext cx="5364480" cy="3574228"/>
          </a:xfrm>
        </p:spPr>
        <p:txBody>
          <a:bodyPr tIns="0" bIns="0"/>
          <a:lstStyle>
            <a:lvl1pPr>
              <a:defRPr sz="794">
                <a:latin typeface="+mn-lt"/>
              </a:defRPr>
            </a:lvl1pPr>
            <a:lvl2pPr>
              <a:defRPr sz="794">
                <a:latin typeface="+mn-lt"/>
              </a:defRPr>
            </a:lvl2pPr>
            <a:lvl3pPr>
              <a:defRPr sz="794">
                <a:latin typeface="+mn-lt"/>
              </a:defRPr>
            </a:lvl3pPr>
            <a:lvl4pPr>
              <a:defRPr sz="794">
                <a:latin typeface="+mn-lt"/>
              </a:defRPr>
            </a:lvl4pPr>
            <a:lvl5pPr>
              <a:defRPr sz="794"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8" name="Section Header" hidden="1"/>
          <p:cNvSpPr txBox="1"/>
          <p:nvPr>
            <p:custDataLst>
              <p:tags r:id="rId3"/>
            </p:custDataLst>
          </p:nvPr>
        </p:nvSpPr>
        <p:spPr>
          <a:xfrm>
            <a:off x="642850" y="621254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en-GB" sz="794" noProof="1">
              <a:solidFill>
                <a:schemeClr val="tx1"/>
              </a:solidFill>
            </a:endParaRPr>
          </a:p>
        </p:txBody>
      </p:sp>
      <p:sp>
        <p:nvSpPr>
          <p:cNvPr id="21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2F64073-2668-46FE-AD35-445DFFB448D4}"/>
              </a:ext>
            </a:extLst>
          </p:cNvPr>
          <p:cNvSpPr>
            <a:spLocks noGrp="1"/>
          </p:cNvSpPr>
          <p:nvPr>
            <p:ph sz="quarter" idx="26" hasCustomPrompt="1"/>
            <p:custDataLst>
              <p:tags r:id="rId6"/>
            </p:custDataLst>
          </p:nvPr>
        </p:nvSpPr>
        <p:spPr>
          <a:xfrm>
            <a:off x="642851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Subject matter -- Insert text here 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4EC542A2-EEE2-4DCF-B881-FD6F8C730597}"/>
              </a:ext>
            </a:extLst>
          </p:cNvPr>
          <p:cNvSpPr>
            <a:spLocks noGrp="1"/>
          </p:cNvSpPr>
          <p:nvPr>
            <p:ph sz="quarter" idx="27" hasCustomPrompt="1"/>
            <p:custDataLst>
              <p:tags r:id="rId7"/>
            </p:custDataLst>
          </p:nvPr>
        </p:nvSpPr>
        <p:spPr>
          <a:xfrm>
            <a:off x="6184669" y="1765599"/>
            <a:ext cx="5364480" cy="653527"/>
          </a:xfrm>
        </p:spPr>
        <p:txBody>
          <a:bodyPr tIns="0" bIns="0"/>
          <a:lstStyle>
            <a:lvl1pPr>
              <a:defRPr sz="794" i="1">
                <a:solidFill>
                  <a:schemeClr val="accent1"/>
                </a:solidFill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GB" noProof="0" dirty="0"/>
              <a:t>PwC view -- Insert text here </a:t>
            </a:r>
          </a:p>
        </p:txBody>
      </p:sp>
    </p:spTree>
    <p:extLst>
      <p:ext uri="{BB962C8B-B14F-4D97-AF65-F5344CB8AC3E}">
        <p14:creationId xmlns:p14="http://schemas.microsoft.com/office/powerpoint/2010/main" val="1619336447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6" name="Presentation Footer">
            <a:extLst>
              <a:ext uri="{FF2B5EF4-FFF2-40B4-BE49-F238E27FC236}">
                <a16:creationId xmlns:a16="http://schemas.microsoft.com/office/drawing/2014/main" id="{EBE12295-1610-4511-8950-3D9E038E4C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6226A18B-2E48-47C8-8231-AE2C5DF4E67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652FBC2-942D-468E-8FFB-4961241D5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9817039"/>
      </p:ext>
    </p:extLst>
  </p:cSld>
  <p:clrMapOvr>
    <a:masterClrMapping/>
  </p:clrMapOvr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20" name="Presentation Footer">
            <a:extLst>
              <a:ext uri="{FF2B5EF4-FFF2-40B4-BE49-F238E27FC236}">
                <a16:creationId xmlns:a16="http://schemas.microsoft.com/office/drawing/2014/main" id="{143150FA-7ADA-4D3B-8D83-185C5B9627F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21" name="Date">
            <a:extLst>
              <a:ext uri="{FF2B5EF4-FFF2-40B4-BE49-F238E27FC236}">
                <a16:creationId xmlns:a16="http://schemas.microsoft.com/office/drawing/2014/main" id="{654B51D6-1525-4D38-B225-69AC562201D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CE3AF0A-026B-4716-8B65-D5F631540C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5327034"/>
      </p:ext>
    </p:extLst>
  </p:cSld>
  <p:clrMapOvr>
    <a:masterClrMapping/>
  </p:clrMapOvr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  <a:endParaRPr lang="de-DE" dirty="0"/>
          </a:p>
        </p:txBody>
      </p:sp>
      <p:sp>
        <p:nvSpPr>
          <p:cNvPr id="22" name="Presentation Footer">
            <a:extLst>
              <a:ext uri="{FF2B5EF4-FFF2-40B4-BE49-F238E27FC236}">
                <a16:creationId xmlns:a16="http://schemas.microsoft.com/office/drawing/2014/main" id="{E528D06F-5262-4849-B168-CAB133AE792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8844EFB6-E1C5-4C39-8ECF-FB91260B5DA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238FF94D-6991-41E6-8DF6-656C30080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7466074"/>
      </p:ext>
    </p:extLst>
  </p:cSld>
  <p:clrMapOvr>
    <a:masterClrMapping/>
  </p:clrMapOvr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B9DDE53E-9EDD-4F33-A597-8A2E4C6CBC9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1C6AF745-C28E-4CFB-995D-464989BC2E6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93105BA-6858-4899-BF66-66DC46BAE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377084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8" name="Presentation Footer">
            <a:extLst>
              <a:ext uri="{FF2B5EF4-FFF2-40B4-BE49-F238E27FC236}">
                <a16:creationId xmlns:a16="http://schemas.microsoft.com/office/drawing/2014/main" id="{476632F6-66EA-4654-B66C-2F08C8E1CE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8B148D9B-4228-4F7F-B491-CFE84F85C04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09E4F0E-DE98-4D2A-9BFB-DA7217D327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6970495"/>
      </p:ext>
    </p:extLst>
  </p:cSld>
  <p:clrMapOvr>
    <a:masterClrMapping/>
  </p:clrMapOvr>
  <p:hf hdr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3" name="Presentation Footer">
            <a:extLst>
              <a:ext uri="{FF2B5EF4-FFF2-40B4-BE49-F238E27FC236}">
                <a16:creationId xmlns:a16="http://schemas.microsoft.com/office/drawing/2014/main" id="{8DCF3834-7D5F-40E8-8AF6-4F88731AE16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24" name="Date">
            <a:extLst>
              <a:ext uri="{FF2B5EF4-FFF2-40B4-BE49-F238E27FC236}">
                <a16:creationId xmlns:a16="http://schemas.microsoft.com/office/drawing/2014/main" id="{29A7CEAD-580B-4DE6-A2E0-E3DAE79DE6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9F5E421A-2098-44B9-874B-993CE3B5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2200888"/>
      </p:ext>
    </p:extLst>
  </p:cSld>
  <p:clrMapOvr>
    <a:masterClrMapping/>
  </p:clrMapOvr>
  <p:hf hdr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25" name="Presentation Footer">
            <a:extLst>
              <a:ext uri="{FF2B5EF4-FFF2-40B4-BE49-F238E27FC236}">
                <a16:creationId xmlns:a16="http://schemas.microsoft.com/office/drawing/2014/main" id="{292FBB13-99BA-4730-97DD-6B927BAB2B9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26" name="Date">
            <a:extLst>
              <a:ext uri="{FF2B5EF4-FFF2-40B4-BE49-F238E27FC236}">
                <a16:creationId xmlns:a16="http://schemas.microsoft.com/office/drawing/2014/main" id="{2CE8D507-C7DC-4A8C-AC5D-5AA897162AE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C5452FF6-710C-4162-87A0-D32E3D9ED2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2142920"/>
      </p:ext>
    </p:extLst>
  </p:cSld>
  <p:clrMapOvr>
    <a:masterClrMapping/>
  </p:clrMapOvr>
  <p:hf hdr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B3707D2C-7DF3-4EFE-9DD4-E8C7AA8B545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83D88E3C-7EF7-4B3C-9713-6E89C69AC6B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0842AC8-8412-4D65-BC9D-953648FAE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4817547"/>
      </p:ext>
    </p:extLst>
  </p:cSld>
  <p:clrMapOvr>
    <a:masterClrMapping/>
  </p:clrMapOvr>
  <p:hf hdr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8D9C67B1-50E6-4DEF-9BFF-7719E52635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FCC2D15B-C84F-4D88-A2DE-44282445E10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4B491E1-3607-4463-BA21-5BF30F9657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1374972"/>
      </p:ext>
    </p:extLst>
  </p:cSld>
  <p:clrMapOvr>
    <a:masterClrMapping/>
  </p:clrMapOvr>
  <p:hf hdr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A2808A79-2905-41A1-B99C-1D393D6CBB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6423CBA3-567A-4416-8DCF-ACBDBFE4FA84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B4165E1-39E1-4A48-8ED6-9C3A963577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81681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1090629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Date/Filepath" hidden="1"/>
          <p:cNvSpPr txBox="1"/>
          <p:nvPr>
            <p:custDataLst>
              <p:tags r:id="rId2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3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3017427938"/>
      </p:ext>
    </p:extLst>
  </p:cSld>
  <p:clrMapOvr>
    <a:masterClrMapping/>
  </p:clrMapOvr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 - Sub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50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A2808A79-2905-41A1-B99C-1D393D6CBB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6423CBA3-567A-4416-8DCF-ACBDBFE4FA84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B4165E1-39E1-4A48-8ED6-9C3A963577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94595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2E99923-0EF3-4147-8318-0DCE770AA4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E63AAD15-CC4C-4F4E-A7D4-8BDF4A9C465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F704AF40-9537-48E1-AA82-98F733AB70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  <p:hf hdr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50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2E99923-0EF3-4147-8318-0DCE770AA4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E63AAD15-CC4C-4F4E-A7D4-8BDF4A9C465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F704AF40-9537-48E1-AA82-98F733AB70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3025774"/>
      </p:ext>
    </p:extLst>
  </p:cSld>
  <p:clrMapOvr>
    <a:masterClrMapping/>
  </p:clrMapOvr>
  <p:hf hdr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9" name="Presentation Footer">
            <a:extLst>
              <a:ext uri="{FF2B5EF4-FFF2-40B4-BE49-F238E27FC236}">
                <a16:creationId xmlns:a16="http://schemas.microsoft.com/office/drawing/2014/main" id="{488ECE07-0F56-4D42-88E7-9EE4A6875A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92A20B44-BAC5-421A-834E-C0336D10C99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3099B9F-B5BB-4BD7-90DF-E6FE03CA9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  <p:hf hdr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504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00%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19" name="Presentation Footer">
            <a:extLst>
              <a:ext uri="{FF2B5EF4-FFF2-40B4-BE49-F238E27FC236}">
                <a16:creationId xmlns:a16="http://schemas.microsoft.com/office/drawing/2014/main" id="{488ECE07-0F56-4D42-88E7-9EE4A6875A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92A20B44-BAC5-421A-834E-C0336D10C99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3099B9F-B5BB-4BD7-90DF-E6FE03CA9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21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1198003"/>
      </p:ext>
    </p:extLst>
  </p:cSld>
  <p:clrMapOvr>
    <a:masterClrMapping/>
  </p:clrMapOvr>
  <p:hf hdr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65B6F41-E802-4CF5-8B9F-07044F8CB1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3213A3B9-A059-4CBD-8F51-BA0FDCD9A0F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D55E6CB-0F32-42F1-A94F-C799A281C5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5232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 - Subtitle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1"/>
            <a:ext cx="11306175" cy="504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[Slide title]</a:t>
            </a:r>
            <a:endParaRPr lang="de-DE" dirty="0"/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chart</a:t>
            </a:r>
            <a:endParaRPr lang="de-DE" dirty="0"/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65B6F41-E802-4CF5-8B9F-07044F8CB1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42912" y="6355080"/>
            <a:ext cx="5473701" cy="137160"/>
          </a:xfrm>
        </p:spPr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3213A3B9-A059-4CBD-8F51-BA0FDCD9A0F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9984296" y="6355080"/>
            <a:ext cx="1764792" cy="137160"/>
          </a:xfrm>
        </p:spPr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D55E6CB-0F32-42F1-A94F-C799A281C5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984296" y="6492240"/>
            <a:ext cx="1764792" cy="137160"/>
          </a:xfrm>
        </p:spPr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de-DE"/>
              <a:t>[Optional slide subtitle]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9923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[Section header title]</a:t>
            </a:r>
            <a:endParaRPr lang="de-DE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de-DE"/>
              <a:t>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90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[Section header title]</a:t>
            </a:r>
            <a:endParaRPr lang="de-DE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de-DE"/>
              <a:t>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3344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[Section header title]</a:t>
            </a:r>
            <a:endParaRPr lang="de-DE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de-DE"/>
              <a:t>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3948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184669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1108268298"/>
      </p:ext>
    </p:extLst>
  </p:cSld>
  <p:clrMapOvr>
    <a:masterClrMapping/>
  </p:clrMapOvr>
  <p:hf hdr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12366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18944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77498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42259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611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2451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de-DE"/>
              <a:t>Click icon to add picture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2302821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9639979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9310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3840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1" y="1815353"/>
            <a:ext cx="7219758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8035637" y="1815353"/>
            <a:ext cx="3506124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1" name="Date/Filepath" hidden="1"/>
          <p:cNvSpPr txBox="1"/>
          <p:nvPr>
            <p:custDataLst>
              <p:tags r:id="rId3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19" name="Slide Tags" hidden="1"/>
          <p:cNvSpPr txBox="1"/>
          <p:nvPr>
            <p:custDataLst>
              <p:tags r:id="rId4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980933135"/>
      </p:ext>
    </p:extLst>
  </p:cSld>
  <p:clrMapOvr>
    <a:masterClrMapping/>
  </p:clrMapOvr>
  <p:hf hdr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  <a:p>
            <a:pPr lvl="5"/>
            <a:r>
              <a:rPr lang="de-DE"/>
              <a:t>Sixth level</a:t>
            </a:r>
          </a:p>
          <a:p>
            <a:pPr lvl="6"/>
            <a:r>
              <a:rPr lang="de-DE"/>
              <a:t>Seventh level</a:t>
            </a:r>
          </a:p>
          <a:p>
            <a:pPr lvl="7"/>
            <a:r>
              <a:rPr lang="de-DE"/>
              <a:t>Eighth level</a:t>
            </a:r>
          </a:p>
          <a:p>
            <a:pPr lvl="8"/>
            <a:r>
              <a:rPr lang="de-DE"/>
              <a:t>Ninth level</a:t>
            </a:r>
            <a:endParaRPr lang="de-DE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7614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Banner Statement"/>
          <p:cNvSpPr>
            <a:spLocks noGrp="1"/>
          </p:cNvSpPr>
          <p:nvPr>
            <p:ph type="title" hasCustomPrompt="1"/>
          </p:nvPr>
        </p:nvSpPr>
        <p:spPr>
          <a:xfrm>
            <a:off x="642851" y="943983"/>
            <a:ext cx="10906298" cy="742278"/>
          </a:xfrm>
        </p:spPr>
        <p:txBody>
          <a:bodyPr vert="horz" lIns="0" tIns="0" rIns="0" bIns="0" rtlCol="0" anchor="t" anchorCtr="0">
            <a:noAutofit/>
          </a:bodyPr>
          <a:lstStyle>
            <a:lvl1pPr algn="l" defTabSz="899010" rtl="0" eaLnBrk="1" latinLnBrk="0" hangingPunct="1">
              <a:spcBef>
                <a:spcPct val="0"/>
              </a:spcBef>
              <a:buNone/>
              <a:defRPr lang="en-GB" sz="2471" b="0" i="0" kern="1200" baseline="0" noProof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defTabSz="899010" rtl="0" eaLnBrk="1" latinLnBrk="0" hangingPunct="1">
              <a:spcBef>
                <a:spcPct val="0"/>
              </a:spcBef>
              <a:buNone/>
            </a:pPr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4" name="Content Placeholder 2"/>
          <p:cNvSpPr>
            <a:spLocks noGrp="1"/>
          </p:cNvSpPr>
          <p:nvPr>
            <p:ph sz="quarter" idx="24"/>
            <p:custDataLst>
              <p:tags r:id="rId1"/>
            </p:custDataLst>
          </p:nvPr>
        </p:nvSpPr>
        <p:spPr>
          <a:xfrm>
            <a:off x="642850" y="1815353"/>
            <a:ext cx="5360787" cy="2084294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6" name="Content Placeholder 3"/>
          <p:cNvSpPr>
            <a:spLocks noGrp="1"/>
          </p:cNvSpPr>
          <p:nvPr>
            <p:ph sz="quarter" idx="25"/>
            <p:custDataLst>
              <p:tags r:id="rId2"/>
            </p:custDataLst>
          </p:nvPr>
        </p:nvSpPr>
        <p:spPr>
          <a:xfrm>
            <a:off x="642850" y="4042186"/>
            <a:ext cx="5360787" cy="2081605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38" name="Content Placeholder 4"/>
          <p:cNvSpPr>
            <a:spLocks noGrp="1"/>
          </p:cNvSpPr>
          <p:nvPr>
            <p:ph sz="quarter" idx="26"/>
            <p:custDataLst>
              <p:tags r:id="rId3"/>
            </p:custDataLst>
          </p:nvPr>
        </p:nvSpPr>
        <p:spPr>
          <a:xfrm>
            <a:off x="6188364" y="1815353"/>
            <a:ext cx="5364480" cy="4308438"/>
          </a:xfrm>
        </p:spPr>
        <p:txBody>
          <a:bodyPr tIns="0" bIns="0"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25" name="Date/Filepath" hidden="1"/>
          <p:cNvSpPr txBox="1"/>
          <p:nvPr>
            <p:custDataLst>
              <p:tags r:id="rId4"/>
            </p:custDataLst>
          </p:nvPr>
        </p:nvSpPr>
        <p:spPr>
          <a:xfrm>
            <a:off x="3999350" y="267427"/>
            <a:ext cx="7536873" cy="12221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en-GB" sz="794" noProof="1"/>
              <a:t>5/3/2019 Presentation2</a:t>
            </a:r>
          </a:p>
        </p:txBody>
      </p:sp>
      <p:sp>
        <p:nvSpPr>
          <p:cNvPr id="20" name="Slide Tags" hidden="1"/>
          <p:cNvSpPr txBox="1"/>
          <p:nvPr>
            <p:custDataLst>
              <p:tags r:id="rId5"/>
            </p:custDataLst>
          </p:nvPr>
        </p:nvSpPr>
        <p:spPr>
          <a:xfrm>
            <a:off x="0" y="201706"/>
            <a:ext cx="1939636" cy="3366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88" noProof="1"/>
              <a:t>Slide Tags</a:t>
            </a:r>
          </a:p>
        </p:txBody>
      </p:sp>
    </p:spTree>
    <p:extLst>
      <p:ext uri="{BB962C8B-B14F-4D97-AF65-F5344CB8AC3E}">
        <p14:creationId xmlns:p14="http://schemas.microsoft.com/office/powerpoint/2010/main" val="662896063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" name="Grid" hidden="1"/>
          <p:cNvGrpSpPr/>
          <p:nvPr>
            <p:custDataLst>
              <p:tags r:id="rId83"/>
            </p:custDataLst>
          </p:nvPr>
        </p:nvGrpSpPr>
        <p:grpSpPr>
          <a:xfrm>
            <a:off x="642851" y="540572"/>
            <a:ext cx="10906298" cy="6043108"/>
            <a:chOff x="530352" y="612648"/>
            <a:chExt cx="8997696" cy="6848856"/>
          </a:xfrm>
        </p:grpSpPr>
        <p:grpSp>
          <p:nvGrpSpPr>
            <p:cNvPr id="108" name="Group 107" hidden="1"/>
            <p:cNvGrpSpPr/>
            <p:nvPr/>
          </p:nvGrpSpPr>
          <p:grpSpPr>
            <a:xfrm>
              <a:off x="530352" y="7159752"/>
              <a:ext cx="8997696" cy="301752"/>
              <a:chOff x="530352" y="7159752"/>
              <a:chExt cx="8997696" cy="301752"/>
            </a:xfrm>
          </p:grpSpPr>
          <p:sp>
            <p:nvSpPr>
              <p:cNvPr id="43" name="Footer block" hidden="1"/>
              <p:cNvSpPr>
                <a:spLocks noChangeArrowheads="1"/>
              </p:cNvSpPr>
              <p:nvPr/>
            </p:nvSpPr>
            <p:spPr bwMode="gray">
              <a:xfrm>
                <a:off x="6629400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44" name="Footer block" hidden="1"/>
              <p:cNvSpPr>
                <a:spLocks noChangeArrowheads="1"/>
              </p:cNvSpPr>
              <p:nvPr/>
            </p:nvSpPr>
            <p:spPr bwMode="gray">
              <a:xfrm>
                <a:off x="3584448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5" name="Footer block" hidden="1"/>
              <p:cNvSpPr>
                <a:spLocks noChangeArrowheads="1"/>
              </p:cNvSpPr>
              <p:nvPr/>
            </p:nvSpPr>
            <p:spPr bwMode="gray">
              <a:xfrm>
                <a:off x="530352" y="7159752"/>
                <a:ext cx="2898648" cy="301752"/>
              </a:xfrm>
              <a:prstGeom prst="rect">
                <a:avLst/>
              </a:prstGeom>
              <a:solidFill>
                <a:srgbClr val="CCFFFF">
                  <a:alpha val="25000"/>
                </a:srgbClr>
              </a:solidFill>
              <a:ln w="6350" cap="rnd">
                <a:solidFill>
                  <a:srgbClr val="CCFFFF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7" name="Group 106" hidden="1"/>
            <p:cNvGrpSpPr/>
            <p:nvPr/>
          </p:nvGrpSpPr>
          <p:grpSpPr>
            <a:xfrm>
              <a:off x="530352" y="1066800"/>
              <a:ext cx="8997696" cy="835152"/>
              <a:chOff x="530352" y="1066800"/>
              <a:chExt cx="8997696" cy="835152"/>
            </a:xfrm>
          </p:grpSpPr>
          <p:sp>
            <p:nvSpPr>
              <p:cNvPr id="45" name="Title block" hidden="1"/>
              <p:cNvSpPr>
                <a:spLocks noChangeArrowheads="1"/>
              </p:cNvSpPr>
              <p:nvPr/>
            </p:nvSpPr>
            <p:spPr bwMode="gray">
              <a:xfrm>
                <a:off x="5102352" y="1066800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6" name="Title block" hidden="1"/>
              <p:cNvSpPr>
                <a:spLocks noChangeArrowheads="1"/>
              </p:cNvSpPr>
              <p:nvPr/>
            </p:nvSpPr>
            <p:spPr bwMode="gray">
              <a:xfrm>
                <a:off x="530352" y="1069848"/>
                <a:ext cx="4425696" cy="832104"/>
              </a:xfrm>
              <a:prstGeom prst="rect">
                <a:avLst/>
              </a:prstGeom>
              <a:solidFill>
                <a:srgbClr val="FCC3D7">
                  <a:alpha val="25000"/>
                </a:srgbClr>
              </a:solidFill>
              <a:ln w="6350" cap="rnd">
                <a:solidFill>
                  <a:srgbClr val="FCC3D7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sp>
          <p:nvSpPr>
            <p:cNvPr id="57" name="Header block" hidden="1"/>
            <p:cNvSpPr>
              <a:spLocks noChangeArrowheads="1"/>
            </p:cNvSpPr>
            <p:nvPr/>
          </p:nvSpPr>
          <p:spPr bwMode="gray">
            <a:xfrm>
              <a:off x="530352" y="612648"/>
              <a:ext cx="8988552" cy="228600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algn="ctr" defTabSz="707409">
                <a:buSzPct val="90000"/>
                <a:defRPr/>
              </a:pPr>
              <a:endParaRPr lang="en-GB" sz="1235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06" name="Group 600" hidden="1"/>
            <p:cNvGrpSpPr/>
            <p:nvPr/>
          </p:nvGrpSpPr>
          <p:grpSpPr>
            <a:xfrm>
              <a:off x="533400" y="6245352"/>
              <a:ext cx="8994648" cy="688848"/>
              <a:chOff x="533400" y="6013704"/>
              <a:chExt cx="8994648" cy="688848"/>
            </a:xfrm>
          </p:grpSpPr>
          <p:sp>
            <p:nvSpPr>
              <p:cNvPr id="5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31840" y="60137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723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262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801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3400" y="60167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5" name="Group 500" hidden="1"/>
            <p:cNvGrpSpPr/>
            <p:nvPr/>
          </p:nvGrpSpPr>
          <p:grpSpPr>
            <a:xfrm>
              <a:off x="533400" y="5407152"/>
              <a:ext cx="8994648" cy="688848"/>
              <a:chOff x="533400" y="5026152"/>
              <a:chExt cx="8994648" cy="688848"/>
            </a:xfrm>
          </p:grpSpPr>
          <p:sp>
            <p:nvSpPr>
              <p:cNvPr id="5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5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31840" y="50261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723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262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801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9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3400" y="50292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4" name="Group 400" hidden="1"/>
            <p:cNvGrpSpPr/>
            <p:nvPr/>
          </p:nvGrpSpPr>
          <p:grpSpPr>
            <a:xfrm>
              <a:off x="533400" y="4568952"/>
              <a:ext cx="8994648" cy="688848"/>
              <a:chOff x="533400" y="4038600"/>
              <a:chExt cx="8994648" cy="688848"/>
            </a:xfrm>
          </p:grpSpPr>
          <p:sp>
            <p:nvSpPr>
              <p:cNvPr id="54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31840" y="40386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723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262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801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3400" y="40416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3" name="Group 300" hidden="1"/>
            <p:cNvGrpSpPr/>
            <p:nvPr/>
          </p:nvGrpSpPr>
          <p:grpSpPr>
            <a:xfrm>
              <a:off x="533400" y="3730752"/>
              <a:ext cx="8994648" cy="688848"/>
              <a:chOff x="533400" y="3041904"/>
              <a:chExt cx="8994648" cy="688848"/>
            </a:xfrm>
          </p:grpSpPr>
          <p:sp>
            <p:nvSpPr>
              <p:cNvPr id="65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0" name="Content block 305" hidden="1"/>
              <p:cNvSpPr>
                <a:spLocks noChangeArrowheads="1"/>
              </p:cNvSpPr>
              <p:nvPr/>
            </p:nvSpPr>
            <p:spPr bwMode="gray">
              <a:xfrm>
                <a:off x="6631840" y="3041904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723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262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801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3400" y="30449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1" name="Group 200" hidden="1"/>
            <p:cNvGrpSpPr/>
            <p:nvPr/>
          </p:nvGrpSpPr>
          <p:grpSpPr>
            <a:xfrm>
              <a:off x="533400" y="2892552"/>
              <a:ext cx="8994648" cy="688848"/>
              <a:chOff x="533400" y="1066800"/>
              <a:chExt cx="8994648" cy="688848"/>
            </a:xfrm>
          </p:grpSpPr>
          <p:sp>
            <p:nvSpPr>
              <p:cNvPr id="7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8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31840" y="10668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723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262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801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6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3400" y="1069848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  <p:grpSp>
          <p:nvGrpSpPr>
            <p:cNvPr id="102" name="Group 100" hidden="1"/>
            <p:cNvGrpSpPr/>
            <p:nvPr/>
          </p:nvGrpSpPr>
          <p:grpSpPr>
            <a:xfrm>
              <a:off x="533400" y="2054352"/>
              <a:ext cx="8994648" cy="688848"/>
              <a:chOff x="533400" y="2054352"/>
              <a:chExt cx="8994648" cy="688848"/>
            </a:xfrm>
          </p:grpSpPr>
          <p:sp>
            <p:nvSpPr>
              <p:cNvPr id="7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31840" y="2054352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723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262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801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  <p:sp>
            <p:nvSpPr>
              <p:cNvPr id="7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3400" y="2057400"/>
                <a:ext cx="1371600" cy="6858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0" tIns="0" rIns="0" bIns="0" anchor="ctr"/>
              <a:lstStyle/>
              <a:p>
                <a:pPr algn="ctr" defTabSz="805466">
                  <a:defRPr/>
                </a:pPr>
                <a:endParaRPr lang="en-GB" sz="1588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2851" y="943983"/>
            <a:ext cx="10906298" cy="7422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2851" y="1820732"/>
            <a:ext cx="10906298" cy="430191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509760" y="625288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42851" y="6252882"/>
            <a:ext cx="7004858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09760" y="6390042"/>
            <a:ext cx="2028305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794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7870704B-CE94-48CC-AF30-84932A1262A7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53705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6" r:id="rId21"/>
    <p:sldLayoutId id="2147483837" r:id="rId22"/>
    <p:sldLayoutId id="2147483838" r:id="rId23"/>
    <p:sldLayoutId id="2147483839" r:id="rId24"/>
    <p:sldLayoutId id="2147483840" r:id="rId25"/>
    <p:sldLayoutId id="2147483841" r:id="rId26"/>
    <p:sldLayoutId id="2147483842" r:id="rId27"/>
    <p:sldLayoutId id="2147483843" r:id="rId28"/>
    <p:sldLayoutId id="2147483844" r:id="rId29"/>
    <p:sldLayoutId id="2147483845" r:id="rId30"/>
    <p:sldLayoutId id="2147483846" r:id="rId31"/>
    <p:sldLayoutId id="2147483847" r:id="rId32"/>
    <p:sldLayoutId id="2147483848" r:id="rId33"/>
    <p:sldLayoutId id="2147483849" r:id="rId34"/>
    <p:sldLayoutId id="2147483850" r:id="rId35"/>
    <p:sldLayoutId id="2147483851" r:id="rId36"/>
    <p:sldLayoutId id="2147483852" r:id="rId37"/>
    <p:sldLayoutId id="2147483743" r:id="rId38"/>
    <p:sldLayoutId id="2147483755" r:id="rId39"/>
    <p:sldLayoutId id="2147483767" r:id="rId40"/>
    <p:sldLayoutId id="2147483807" r:id="rId41"/>
    <p:sldLayoutId id="2147483744" r:id="rId42"/>
    <p:sldLayoutId id="2147483756" r:id="rId43"/>
    <p:sldLayoutId id="2147483757" r:id="rId44"/>
    <p:sldLayoutId id="2147483746" r:id="rId45"/>
    <p:sldLayoutId id="2147483758" r:id="rId46"/>
    <p:sldLayoutId id="2147483747" r:id="rId47"/>
    <p:sldLayoutId id="2147483759" r:id="rId48"/>
    <p:sldLayoutId id="2147483748" r:id="rId49"/>
    <p:sldLayoutId id="2147483760" r:id="rId50"/>
    <p:sldLayoutId id="2147483749" r:id="rId51"/>
    <p:sldLayoutId id="2147483761" r:id="rId52"/>
    <p:sldLayoutId id="2147483750" r:id="rId53"/>
    <p:sldLayoutId id="2147483762" r:id="rId54"/>
    <p:sldLayoutId id="2147483751" r:id="rId55"/>
    <p:sldLayoutId id="2147483763" r:id="rId56"/>
    <p:sldLayoutId id="2147483752" r:id="rId57"/>
    <p:sldLayoutId id="2147483764" r:id="rId58"/>
    <p:sldLayoutId id="2147483768" r:id="rId59"/>
    <p:sldLayoutId id="2147483808" r:id="rId60"/>
    <p:sldLayoutId id="2147483765" r:id="rId61"/>
    <p:sldLayoutId id="2147483810" r:id="rId62"/>
    <p:sldLayoutId id="2147483766" r:id="rId63"/>
    <p:sldLayoutId id="2147483811" r:id="rId64"/>
    <p:sldLayoutId id="2147483769" r:id="rId65"/>
    <p:sldLayoutId id="2147483812" r:id="rId66"/>
    <p:sldLayoutId id="2147483792" r:id="rId67"/>
    <p:sldLayoutId id="2147483793" r:id="rId68"/>
    <p:sldLayoutId id="2147483794" r:id="rId69"/>
    <p:sldLayoutId id="2147483795" r:id="rId70"/>
    <p:sldLayoutId id="2147483796" r:id="rId71"/>
    <p:sldLayoutId id="2147483797" r:id="rId72"/>
    <p:sldLayoutId id="2147483798" r:id="rId73"/>
    <p:sldLayoutId id="2147483799" r:id="rId74"/>
    <p:sldLayoutId id="2147483800" r:id="rId75"/>
    <p:sldLayoutId id="2147483801" r:id="rId76"/>
    <p:sldLayoutId id="2147483802" r:id="rId77"/>
    <p:sldLayoutId id="2147483803" r:id="rId78"/>
    <p:sldLayoutId id="2147483804" r:id="rId79"/>
    <p:sldLayoutId id="2147483805" r:id="rId80"/>
    <p:sldLayoutId id="2147483806" r:id="rId81"/>
  </p:sldLayoutIdLst>
  <p:hf hdr="0"/>
  <p:txStyles>
    <p:titleStyle>
      <a:lvl1pPr algn="l" defTabSz="899010" rtl="0" eaLnBrk="1" latinLnBrk="0" hangingPunct="1">
        <a:spcBef>
          <a:spcPct val="0"/>
        </a:spcBef>
        <a:buNone/>
        <a:defRPr sz="2471" b="1" i="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412963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Arial" pitchFamily="34" charset="0"/>
        <a:buChar char="-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613092" marR="0" indent="-203305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◦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806867" marR="0" indent="-201717" algn="l" defTabSz="899320" rtl="0" eaLnBrk="1" fontAlgn="base" latinLnBrk="0" hangingPunct="1">
        <a:lnSpc>
          <a:spcPct val="100000"/>
        </a:lnSpc>
        <a:spcBef>
          <a:spcPts val="0"/>
        </a:spcBef>
        <a:spcAft>
          <a:spcPts val="529"/>
        </a:spcAft>
        <a:buClr>
          <a:srgbClr val="000000"/>
        </a:buClr>
        <a:buSzTx/>
        <a:buFont typeface="Georgia" pitchFamily="18" charset="0"/>
        <a:buChar char="›"/>
        <a:tabLst/>
        <a:defRPr sz="971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06482" indent="-203305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arabicPeriod"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412963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alphaLcPeriod"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613092" indent="-201717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+mj-lt"/>
        <a:buAutoNum type="romanLcPeriod"/>
        <a:defRPr lang="en-GB" sz="971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899010" rtl="0" eaLnBrk="1" latinLnBrk="0" hangingPunct="1">
        <a:lnSpc>
          <a:spcPct val="100000"/>
        </a:lnSpc>
        <a:spcBef>
          <a:spcPts val="0"/>
        </a:spcBef>
        <a:spcAft>
          <a:spcPts val="529"/>
        </a:spcAft>
        <a:buFont typeface="Arial" pitchFamily="34" charset="0"/>
        <a:buNone/>
        <a:defRPr lang="en-GB" sz="971" b="1" kern="1200" baseline="0" noProof="0" dirty="0" smtClean="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5">
          <p15:clr>
            <a:srgbClr val="A4A3A4"/>
          </p15:clr>
        </p15:guide>
        <p15:guide id="2" pos="1200">
          <p15:clr>
            <a:srgbClr val="A4A3A4"/>
          </p15:clr>
        </p15:guide>
        <p15:guide id="3" pos="1296">
          <p15:clr>
            <a:srgbClr val="A4A3A4"/>
          </p15:clr>
        </p15:guide>
        <p15:guide id="4" pos="2160">
          <p15:clr>
            <a:srgbClr val="A4A3A4"/>
          </p15:clr>
        </p15:guide>
        <p15:guide id="5" pos="2256">
          <p15:clr>
            <a:srgbClr val="A4A3A4"/>
          </p15:clr>
        </p15:guide>
        <p15:guide id="6" pos="3120">
          <p15:clr>
            <a:srgbClr val="A4A3A4"/>
          </p15:clr>
        </p15:guide>
        <p15:guide id="7" pos="3215">
          <p15:clr>
            <a:srgbClr val="A4A3A4"/>
          </p15:clr>
        </p15:guide>
        <p15:guide id="8" pos="4080">
          <p15:clr>
            <a:srgbClr val="A4A3A4"/>
          </p15:clr>
        </p15:guide>
        <p15:guide id="9" pos="4176">
          <p15:clr>
            <a:srgbClr val="A4A3A4"/>
          </p15:clr>
        </p15:guide>
        <p15:guide id="10" pos="5043">
          <p15:clr>
            <a:srgbClr val="A4A3A4"/>
          </p15:clr>
        </p15:guide>
        <p15:guide id="11" pos="5136">
          <p15:clr>
            <a:srgbClr val="A4A3A4"/>
          </p15:clr>
        </p15:guide>
        <p15:guide id="12" pos="6001">
          <p15:clr>
            <a:srgbClr val="A4A3A4"/>
          </p15:clr>
        </p15:guide>
        <p15:guide id="13" orient="horz" pos="384">
          <p15:clr>
            <a:srgbClr val="5ACBF0"/>
          </p15:clr>
        </p15:guide>
        <p15:guide id="14" orient="horz" pos="529">
          <p15:clr>
            <a:srgbClr val="5ACBF0"/>
          </p15:clr>
        </p15:guide>
        <p15:guide id="15" orient="horz" pos="675">
          <p15:clr>
            <a:srgbClr val="F26B43"/>
          </p15:clr>
        </p15:guide>
        <p15:guide id="16" orient="horz" pos="1198">
          <p15:clr>
            <a:srgbClr val="F26B43"/>
          </p15:clr>
        </p15:guide>
        <p15:guide id="17" orient="horz" pos="1295">
          <p15:clr>
            <a:srgbClr val="A4A3A4"/>
          </p15:clr>
        </p15:guide>
        <p15:guide id="18" orient="horz" pos="1729">
          <p15:clr>
            <a:srgbClr val="A4A3A4"/>
          </p15:clr>
        </p15:guide>
        <p15:guide id="19" orient="horz" pos="1823">
          <p15:clr>
            <a:srgbClr val="A4A3A4"/>
          </p15:clr>
        </p15:guide>
        <p15:guide id="20" orient="horz" pos="2256">
          <p15:clr>
            <a:srgbClr val="A4A3A4"/>
          </p15:clr>
        </p15:guide>
        <p15:guide id="21" orient="horz" pos="2350">
          <p15:clr>
            <a:srgbClr val="A4A3A4"/>
          </p15:clr>
        </p15:guide>
        <p15:guide id="22" orient="horz" pos="2784">
          <p15:clr>
            <a:srgbClr val="A4A3A4"/>
          </p15:clr>
        </p15:guide>
        <p15:guide id="23" orient="horz" pos="2879">
          <p15:clr>
            <a:srgbClr val="A4A3A4"/>
          </p15:clr>
        </p15:guide>
        <p15:guide id="24" orient="horz" pos="3312">
          <p15:clr>
            <a:srgbClr val="A4A3A4"/>
          </p15:clr>
        </p15:guide>
        <p15:guide id="25" orient="horz" pos="3407">
          <p15:clr>
            <a:srgbClr val="A4A3A4"/>
          </p15:clr>
        </p15:guide>
        <p15:guide id="26" orient="horz" pos="3841">
          <p15:clr>
            <a:srgbClr val="A4A3A4"/>
          </p15:clr>
        </p15:guide>
        <p15:guide id="27" orient="horz" pos="3934">
          <p15:clr>
            <a:srgbClr val="A4A3A4"/>
          </p15:clr>
        </p15:guide>
        <p15:guide id="28" orient="horz" pos="4367">
          <p15:clr>
            <a:srgbClr val="A4A3A4"/>
          </p15:clr>
        </p15:guide>
        <p15:guide id="29" orient="horz" pos="4510">
          <p15:clr>
            <a:srgbClr val="5ACBF0"/>
          </p15:clr>
        </p15:guide>
        <p15:guide id="30" orient="horz" pos="4701">
          <p15:clr>
            <a:srgbClr val="5ACBF0"/>
          </p15:clr>
        </p15:guide>
        <p15:guide id="31" pos="3840" userDrawn="1">
          <p15:clr>
            <a:srgbClr val="F26B43"/>
          </p15:clr>
        </p15:guide>
        <p15:guide id="32" pos="279" userDrawn="1">
          <p15:clr>
            <a:srgbClr val="F26B43"/>
          </p15:clr>
        </p15:guide>
        <p15:guide id="33" pos="7401" userDrawn="1">
          <p15:clr>
            <a:srgbClr val="F26B43"/>
          </p15:clr>
        </p15:guide>
        <p15:guide id="34" pos="3953" userDrawn="1">
          <p15:clr>
            <a:srgbClr val="F26B43"/>
          </p15:clr>
        </p15:guide>
        <p15:guide id="35" pos="3727" userDrawn="1">
          <p15:clr>
            <a:srgbClr val="F26B43"/>
          </p15:clr>
        </p15:guide>
        <p15:guide id="36" orient="horz" pos="3888" userDrawn="1">
          <p15:clr>
            <a:srgbClr val="F26B43"/>
          </p15:clr>
        </p15:guide>
        <p15:guide id="37" pos="2726" userDrawn="1">
          <p15:clr>
            <a:srgbClr val="F26B43"/>
          </p15:clr>
        </p15:guide>
        <p15:guide id="38" pos="2502" userDrawn="1">
          <p15:clr>
            <a:srgbClr val="F26B43"/>
          </p15:clr>
        </p15:guide>
        <p15:guide id="39" pos="4952" userDrawn="1">
          <p15:clr>
            <a:srgbClr val="F26B43"/>
          </p15:clr>
        </p15:guide>
        <p15:guide id="40" pos="5177" userDrawn="1">
          <p15:clr>
            <a:srgbClr val="F26B43"/>
          </p15:clr>
        </p15:guide>
        <p15:guide id="41" orient="horz" pos="2160" userDrawn="1">
          <p15:clr>
            <a:srgbClr val="F26B43"/>
          </p15:clr>
        </p15:guide>
        <p15:guide id="42" orient="horz" pos="1325" userDrawn="1">
          <p15:clr>
            <a:srgbClr val="F26B43"/>
          </p15:clr>
        </p15:guide>
        <p15:guide id="43" orient="horz" pos="1146" userDrawn="1">
          <p15:clr>
            <a:srgbClr val="F26B43"/>
          </p15:clr>
        </p15:guide>
        <p15:guide id="44" orient="horz" pos="2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35.xml"/><Relationship Id="rId1" Type="http://schemas.openxmlformats.org/officeDocument/2006/relationships/themeOverride" Target="../theme/themeOverride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5.xml"/><Relationship Id="rId1" Type="http://schemas.openxmlformats.org/officeDocument/2006/relationships/themeOverride" Target="../theme/themeOverr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35.xml"/><Relationship Id="rId1" Type="http://schemas.openxmlformats.org/officeDocument/2006/relationships/themeOverride" Target="../theme/themeOverrid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1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946B0EA-53BF-2941-A0F8-84725F81957B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38757" r="38757"/>
          <a:stretch/>
        </p:blipFill>
        <p:spPr/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28625"/>
            <a:ext cx="8412330" cy="2771775"/>
          </a:xfrm>
        </p:spPr>
        <p:txBody>
          <a:bodyPr>
            <a:noAutofit/>
          </a:bodyPr>
          <a:lstStyle/>
          <a:p>
            <a:r>
              <a:rPr lang="de-DE" sz="4800" dirty="0"/>
              <a:t>Rechtliche Rahmenbedingungen für deutsche Unternehmen in der Mongolei 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Geschäftschancen in der Mongolei</a:t>
            </a:r>
          </a:p>
          <a:p>
            <a:r>
              <a:rPr lang="de-DE" dirty="0"/>
              <a:t>Juni 2020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7571516-A4DE-1548-BF6D-ECB93BB3B210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3" name="Freeform: Shape 8">
              <a:extLst>
                <a:ext uri="{FF2B5EF4-FFF2-40B4-BE49-F238E27FC236}">
                  <a16:creationId xmlns:a16="http://schemas.microsoft.com/office/drawing/2014/main" id="{2415DDB7-F1B9-A446-88CD-88FD4087064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58CFBF-FCB6-E648-B8B3-52EFB01E35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68106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ationales Recht zum Sonderfall Abfa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Basler Übereinkommen über die Kontrolle der grenzüberschreitenden Verbringung gefährlicher Abfälle und ihrer Entsorgung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3C3351-D312-4B96-9D9E-D79CF3416B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A0EC37-9CF9-4EA3-857E-190C1A477E9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26CDC-6ED3-4B5B-B17F-24474E900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1CB6E4A-3C51-4FEE-9ADD-313A9E2E60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2103438"/>
            <a:ext cx="11306175" cy="779462"/>
          </a:xfrm>
        </p:spPr>
        <p:txBody>
          <a:bodyPr/>
          <a:lstStyle/>
          <a:p>
            <a:r>
              <a:rPr lang="de-DE" sz="1600" b="1" dirty="0">
                <a:latin typeface="+mj-lt"/>
              </a:rPr>
              <a:t>Erforderlich für die grenzüberschreitende Verbringung von Abfällen: </a:t>
            </a:r>
          </a:p>
          <a:p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CC751C0-4FD8-4C9B-B756-A19491F0B110}"/>
              </a:ext>
            </a:extLst>
          </p:cNvPr>
          <p:cNvSpPr/>
          <p:nvPr/>
        </p:nvSpPr>
        <p:spPr>
          <a:xfrm>
            <a:off x="0" y="2788632"/>
            <a:ext cx="12192000" cy="63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>
              <a:lnSpc>
                <a:spcPct val="100000"/>
              </a:lnSpc>
            </a:pPr>
            <a:endParaRPr lang="de-DE" sz="1200" dirty="0">
              <a:solidFill>
                <a:schemeClr val="bg1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4BE0171-D5EC-4663-906A-B7D543357E10}"/>
              </a:ext>
            </a:extLst>
          </p:cNvPr>
          <p:cNvGrpSpPr/>
          <p:nvPr/>
        </p:nvGrpSpPr>
        <p:grpSpPr>
          <a:xfrm>
            <a:off x="5780952" y="2775683"/>
            <a:ext cx="630094" cy="663686"/>
            <a:chOff x="5600681" y="2775683"/>
            <a:chExt cx="630094" cy="663686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50391EA-424E-4DB3-A1AB-CAEB4D1D2FF8}"/>
                </a:ext>
              </a:extLst>
            </p:cNvPr>
            <p:cNvSpPr/>
            <p:nvPr/>
          </p:nvSpPr>
          <p:spPr>
            <a:xfrm>
              <a:off x="5600681" y="2775683"/>
              <a:ext cx="628323" cy="650737"/>
            </a:xfrm>
            <a:prstGeom prst="rect">
              <a:avLst/>
            </a:prstGeom>
            <a:solidFill>
              <a:srgbClr val="FFFFFF"/>
            </a:solidFill>
            <a:ln w="6350"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7" name="Freeform 73">
              <a:extLst>
                <a:ext uri="{FF2B5EF4-FFF2-40B4-BE49-F238E27FC236}">
                  <a16:creationId xmlns:a16="http://schemas.microsoft.com/office/drawing/2014/main" id="{38BCF4A0-7EF6-4B40-B960-4E9736156A0D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5600681" y="2809369"/>
              <a:ext cx="630094" cy="630000"/>
            </a:xfrm>
            <a:custGeom>
              <a:avLst/>
              <a:gdLst>
                <a:gd name="T0" fmla="*/ 6709 w 6709"/>
                <a:gd name="T1" fmla="*/ 0 h 6708"/>
                <a:gd name="T2" fmla="*/ 2508 w 6709"/>
                <a:gd name="T3" fmla="*/ 5788 h 6708"/>
                <a:gd name="T4" fmla="*/ 2430 w 6709"/>
                <a:gd name="T5" fmla="*/ 5806 h 6708"/>
                <a:gd name="T6" fmla="*/ 2342 w 6709"/>
                <a:gd name="T7" fmla="*/ 5764 h 6708"/>
                <a:gd name="T8" fmla="*/ 1534 w 6709"/>
                <a:gd name="T9" fmla="*/ 4892 h 6708"/>
                <a:gd name="T10" fmla="*/ 1536 w 6709"/>
                <a:gd name="T11" fmla="*/ 4802 h 6708"/>
                <a:gd name="T12" fmla="*/ 1658 w 6709"/>
                <a:gd name="T13" fmla="*/ 4404 h 6708"/>
                <a:gd name="T14" fmla="*/ 1504 w 6709"/>
                <a:gd name="T15" fmla="*/ 4280 h 6708"/>
                <a:gd name="T16" fmla="*/ 1388 w 6709"/>
                <a:gd name="T17" fmla="*/ 4084 h 6708"/>
                <a:gd name="T18" fmla="*/ 1868 w 6709"/>
                <a:gd name="T19" fmla="*/ 2096 h 6708"/>
                <a:gd name="T20" fmla="*/ 2684 w 6709"/>
                <a:gd name="T21" fmla="*/ 1736 h 6708"/>
                <a:gd name="T22" fmla="*/ 2958 w 6709"/>
                <a:gd name="T23" fmla="*/ 1754 h 6708"/>
                <a:gd name="T24" fmla="*/ 1732 w 6709"/>
                <a:gd name="T25" fmla="*/ 3102 h 6708"/>
                <a:gd name="T26" fmla="*/ 1572 w 6709"/>
                <a:gd name="T27" fmla="*/ 3390 h 6708"/>
                <a:gd name="T28" fmla="*/ 1608 w 6709"/>
                <a:gd name="T29" fmla="*/ 3674 h 6708"/>
                <a:gd name="T30" fmla="*/ 1740 w 6709"/>
                <a:gd name="T31" fmla="*/ 3848 h 6708"/>
                <a:gd name="T32" fmla="*/ 1978 w 6709"/>
                <a:gd name="T33" fmla="*/ 3956 h 6708"/>
                <a:gd name="T34" fmla="*/ 2278 w 6709"/>
                <a:gd name="T35" fmla="*/ 3910 h 6708"/>
                <a:gd name="T36" fmla="*/ 2882 w 6709"/>
                <a:gd name="T37" fmla="*/ 3398 h 6708"/>
                <a:gd name="T38" fmla="*/ 3172 w 6709"/>
                <a:gd name="T39" fmla="*/ 3238 h 6708"/>
                <a:gd name="T40" fmla="*/ 3377 w 6709"/>
                <a:gd name="T41" fmla="*/ 3228 h 6708"/>
                <a:gd name="T42" fmla="*/ 5341 w 6709"/>
                <a:gd name="T43" fmla="*/ 4200 h 6708"/>
                <a:gd name="T44" fmla="*/ 5373 w 6709"/>
                <a:gd name="T45" fmla="*/ 4246 h 6708"/>
                <a:gd name="T46" fmla="*/ 3985 w 6709"/>
                <a:gd name="T47" fmla="*/ 5558 h 6708"/>
                <a:gd name="T48" fmla="*/ 3889 w 6709"/>
                <a:gd name="T49" fmla="*/ 5616 h 6708"/>
                <a:gd name="T50" fmla="*/ 5215 w 6709"/>
                <a:gd name="T51" fmla="*/ 3814 h 6708"/>
                <a:gd name="T52" fmla="*/ 3661 w 6709"/>
                <a:gd name="T53" fmla="*/ 3014 h 6708"/>
                <a:gd name="T54" fmla="*/ 3399 w 6709"/>
                <a:gd name="T55" fmla="*/ 2942 h 6708"/>
                <a:gd name="T56" fmla="*/ 3142 w 6709"/>
                <a:gd name="T57" fmla="*/ 2950 h 6708"/>
                <a:gd name="T58" fmla="*/ 2894 w 6709"/>
                <a:gd name="T59" fmla="*/ 3042 h 6708"/>
                <a:gd name="T60" fmla="*/ 2192 w 6709"/>
                <a:gd name="T61" fmla="*/ 3626 h 6708"/>
                <a:gd name="T62" fmla="*/ 2082 w 6709"/>
                <a:gd name="T63" fmla="*/ 3676 h 6708"/>
                <a:gd name="T64" fmla="*/ 1948 w 6709"/>
                <a:gd name="T65" fmla="*/ 3646 h 6708"/>
                <a:gd name="T66" fmla="*/ 1868 w 6709"/>
                <a:gd name="T67" fmla="*/ 3556 h 6708"/>
                <a:gd name="T68" fmla="*/ 1854 w 6709"/>
                <a:gd name="T69" fmla="*/ 3438 h 6708"/>
                <a:gd name="T70" fmla="*/ 1920 w 6709"/>
                <a:gd name="T71" fmla="*/ 3316 h 6708"/>
                <a:gd name="T72" fmla="*/ 3493 w 6709"/>
                <a:gd name="T73" fmla="*/ 1978 h 6708"/>
                <a:gd name="T74" fmla="*/ 3707 w 6709"/>
                <a:gd name="T75" fmla="*/ 1956 h 6708"/>
                <a:gd name="T76" fmla="*/ 6423 w 6709"/>
                <a:gd name="T77" fmla="*/ 2402 h 6708"/>
                <a:gd name="T78" fmla="*/ 3891 w 6709"/>
                <a:gd name="T79" fmla="*/ 1710 h 6708"/>
                <a:gd name="T80" fmla="*/ 3675 w 6709"/>
                <a:gd name="T81" fmla="*/ 1668 h 6708"/>
                <a:gd name="T82" fmla="*/ 3457 w 6709"/>
                <a:gd name="T83" fmla="*/ 1692 h 6708"/>
                <a:gd name="T84" fmla="*/ 2982 w 6709"/>
                <a:gd name="T85" fmla="*/ 1466 h 6708"/>
                <a:gd name="T86" fmla="*/ 2588 w 6709"/>
                <a:gd name="T87" fmla="*/ 1462 h 6708"/>
                <a:gd name="T88" fmla="*/ 286 w 6709"/>
                <a:gd name="T89" fmla="*/ 286 h 6708"/>
                <a:gd name="T90" fmla="*/ 1088 w 6709"/>
                <a:gd name="T91" fmla="*/ 4076 h 6708"/>
                <a:gd name="T92" fmla="*/ 1182 w 6709"/>
                <a:gd name="T93" fmla="*/ 4318 h 6708"/>
                <a:gd name="T94" fmla="*/ 1342 w 6709"/>
                <a:gd name="T95" fmla="*/ 4522 h 6708"/>
                <a:gd name="T96" fmla="*/ 1264 w 6709"/>
                <a:gd name="T97" fmla="*/ 4716 h 6708"/>
                <a:gd name="T98" fmla="*/ 1266 w 6709"/>
                <a:gd name="T99" fmla="*/ 4988 h 6708"/>
                <a:gd name="T100" fmla="*/ 2146 w 6709"/>
                <a:gd name="T101" fmla="*/ 5976 h 6708"/>
                <a:gd name="T102" fmla="*/ 2410 w 6709"/>
                <a:gd name="T103" fmla="*/ 6090 h 6708"/>
                <a:gd name="T104" fmla="*/ 2588 w 6709"/>
                <a:gd name="T105" fmla="*/ 6066 h 6708"/>
                <a:gd name="T106" fmla="*/ 3677 w 6709"/>
                <a:gd name="T107" fmla="*/ 5848 h 6708"/>
                <a:gd name="T108" fmla="*/ 3855 w 6709"/>
                <a:gd name="T109" fmla="*/ 5902 h 6708"/>
                <a:gd name="T110" fmla="*/ 4003 w 6709"/>
                <a:gd name="T111" fmla="*/ 5886 h 6708"/>
                <a:gd name="T112" fmla="*/ 4153 w 6709"/>
                <a:gd name="T113" fmla="*/ 5800 h 6708"/>
                <a:gd name="T114" fmla="*/ 5583 w 6709"/>
                <a:gd name="T115" fmla="*/ 4476 h 6708"/>
                <a:gd name="T116" fmla="*/ 5657 w 6709"/>
                <a:gd name="T117" fmla="*/ 4210 h 6708"/>
                <a:gd name="T118" fmla="*/ 5559 w 6709"/>
                <a:gd name="T119" fmla="*/ 4010 h 67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709" h="6708">
                  <a:moveTo>
                    <a:pt x="6709" y="0"/>
                  </a:moveTo>
                  <a:lnTo>
                    <a:pt x="0" y="0"/>
                  </a:lnTo>
                  <a:lnTo>
                    <a:pt x="0" y="6708"/>
                  </a:lnTo>
                  <a:lnTo>
                    <a:pt x="6709" y="6708"/>
                  </a:lnTo>
                  <a:lnTo>
                    <a:pt x="6709" y="6708"/>
                  </a:lnTo>
                  <a:lnTo>
                    <a:pt x="6709" y="0"/>
                  </a:lnTo>
                  <a:lnTo>
                    <a:pt x="6709" y="0"/>
                  </a:lnTo>
                  <a:close/>
                  <a:moveTo>
                    <a:pt x="1574" y="4746"/>
                  </a:moveTo>
                  <a:lnTo>
                    <a:pt x="1618" y="4708"/>
                  </a:lnTo>
                  <a:lnTo>
                    <a:pt x="2926" y="5432"/>
                  </a:lnTo>
                  <a:lnTo>
                    <a:pt x="2530" y="5772"/>
                  </a:lnTo>
                  <a:lnTo>
                    <a:pt x="2530" y="5772"/>
                  </a:lnTo>
                  <a:lnTo>
                    <a:pt x="2520" y="5780"/>
                  </a:lnTo>
                  <a:lnTo>
                    <a:pt x="2508" y="5788"/>
                  </a:lnTo>
                  <a:lnTo>
                    <a:pt x="2496" y="5794"/>
                  </a:lnTo>
                  <a:lnTo>
                    <a:pt x="2484" y="5798"/>
                  </a:lnTo>
                  <a:lnTo>
                    <a:pt x="2470" y="5802"/>
                  </a:lnTo>
                  <a:lnTo>
                    <a:pt x="2456" y="5804"/>
                  </a:lnTo>
                  <a:lnTo>
                    <a:pt x="2444" y="5806"/>
                  </a:lnTo>
                  <a:lnTo>
                    <a:pt x="2430" y="5806"/>
                  </a:lnTo>
                  <a:lnTo>
                    <a:pt x="2430" y="5806"/>
                  </a:lnTo>
                  <a:lnTo>
                    <a:pt x="2416" y="5804"/>
                  </a:lnTo>
                  <a:lnTo>
                    <a:pt x="2402" y="5800"/>
                  </a:lnTo>
                  <a:lnTo>
                    <a:pt x="2390" y="5796"/>
                  </a:lnTo>
                  <a:lnTo>
                    <a:pt x="2376" y="5790"/>
                  </a:lnTo>
                  <a:lnTo>
                    <a:pt x="2364" y="5784"/>
                  </a:lnTo>
                  <a:lnTo>
                    <a:pt x="2352" y="5774"/>
                  </a:lnTo>
                  <a:lnTo>
                    <a:pt x="2342" y="5764"/>
                  </a:lnTo>
                  <a:lnTo>
                    <a:pt x="2330" y="5752"/>
                  </a:lnTo>
                  <a:lnTo>
                    <a:pt x="1560" y="4940"/>
                  </a:lnTo>
                  <a:lnTo>
                    <a:pt x="1560" y="4940"/>
                  </a:lnTo>
                  <a:lnTo>
                    <a:pt x="1552" y="4930"/>
                  </a:lnTo>
                  <a:lnTo>
                    <a:pt x="1544" y="4918"/>
                  </a:lnTo>
                  <a:lnTo>
                    <a:pt x="1538" y="4906"/>
                  </a:lnTo>
                  <a:lnTo>
                    <a:pt x="1534" y="4892"/>
                  </a:lnTo>
                  <a:lnTo>
                    <a:pt x="1530" y="4880"/>
                  </a:lnTo>
                  <a:lnTo>
                    <a:pt x="1528" y="4866"/>
                  </a:lnTo>
                  <a:lnTo>
                    <a:pt x="1526" y="4854"/>
                  </a:lnTo>
                  <a:lnTo>
                    <a:pt x="1528" y="4840"/>
                  </a:lnTo>
                  <a:lnTo>
                    <a:pt x="1528" y="4828"/>
                  </a:lnTo>
                  <a:lnTo>
                    <a:pt x="1532" y="4814"/>
                  </a:lnTo>
                  <a:lnTo>
                    <a:pt x="1536" y="4802"/>
                  </a:lnTo>
                  <a:lnTo>
                    <a:pt x="1540" y="4790"/>
                  </a:lnTo>
                  <a:lnTo>
                    <a:pt x="1548" y="4778"/>
                  </a:lnTo>
                  <a:lnTo>
                    <a:pt x="1554" y="4766"/>
                  </a:lnTo>
                  <a:lnTo>
                    <a:pt x="1564" y="4756"/>
                  </a:lnTo>
                  <a:lnTo>
                    <a:pt x="1574" y="4746"/>
                  </a:lnTo>
                  <a:lnTo>
                    <a:pt x="1574" y="4746"/>
                  </a:lnTo>
                  <a:close/>
                  <a:moveTo>
                    <a:pt x="1658" y="4404"/>
                  </a:moveTo>
                  <a:lnTo>
                    <a:pt x="1658" y="4404"/>
                  </a:lnTo>
                  <a:lnTo>
                    <a:pt x="1630" y="4386"/>
                  </a:lnTo>
                  <a:lnTo>
                    <a:pt x="1602" y="4368"/>
                  </a:lnTo>
                  <a:lnTo>
                    <a:pt x="1576" y="4348"/>
                  </a:lnTo>
                  <a:lnTo>
                    <a:pt x="1550" y="4326"/>
                  </a:lnTo>
                  <a:lnTo>
                    <a:pt x="1526" y="4304"/>
                  </a:lnTo>
                  <a:lnTo>
                    <a:pt x="1504" y="4280"/>
                  </a:lnTo>
                  <a:lnTo>
                    <a:pt x="1484" y="4254"/>
                  </a:lnTo>
                  <a:lnTo>
                    <a:pt x="1464" y="4228"/>
                  </a:lnTo>
                  <a:lnTo>
                    <a:pt x="1446" y="4202"/>
                  </a:lnTo>
                  <a:lnTo>
                    <a:pt x="1428" y="4174"/>
                  </a:lnTo>
                  <a:lnTo>
                    <a:pt x="1414" y="4144"/>
                  </a:lnTo>
                  <a:lnTo>
                    <a:pt x="1400" y="4114"/>
                  </a:lnTo>
                  <a:lnTo>
                    <a:pt x="1388" y="4084"/>
                  </a:lnTo>
                  <a:lnTo>
                    <a:pt x="1378" y="4052"/>
                  </a:lnTo>
                  <a:lnTo>
                    <a:pt x="1368" y="4020"/>
                  </a:lnTo>
                  <a:lnTo>
                    <a:pt x="1362" y="3988"/>
                  </a:lnTo>
                  <a:lnTo>
                    <a:pt x="1238" y="3310"/>
                  </a:lnTo>
                  <a:lnTo>
                    <a:pt x="286" y="2752"/>
                  </a:lnTo>
                  <a:lnTo>
                    <a:pt x="286" y="1148"/>
                  </a:lnTo>
                  <a:lnTo>
                    <a:pt x="1868" y="2096"/>
                  </a:lnTo>
                  <a:lnTo>
                    <a:pt x="2494" y="1794"/>
                  </a:lnTo>
                  <a:lnTo>
                    <a:pt x="2494" y="1794"/>
                  </a:lnTo>
                  <a:lnTo>
                    <a:pt x="2532" y="1776"/>
                  </a:lnTo>
                  <a:lnTo>
                    <a:pt x="2570" y="1762"/>
                  </a:lnTo>
                  <a:lnTo>
                    <a:pt x="2608" y="1752"/>
                  </a:lnTo>
                  <a:lnTo>
                    <a:pt x="2646" y="1742"/>
                  </a:lnTo>
                  <a:lnTo>
                    <a:pt x="2684" y="1736"/>
                  </a:lnTo>
                  <a:lnTo>
                    <a:pt x="2724" y="1730"/>
                  </a:lnTo>
                  <a:lnTo>
                    <a:pt x="2764" y="1728"/>
                  </a:lnTo>
                  <a:lnTo>
                    <a:pt x="2802" y="1730"/>
                  </a:lnTo>
                  <a:lnTo>
                    <a:pt x="2842" y="1732"/>
                  </a:lnTo>
                  <a:lnTo>
                    <a:pt x="2880" y="1738"/>
                  </a:lnTo>
                  <a:lnTo>
                    <a:pt x="2918" y="1744"/>
                  </a:lnTo>
                  <a:lnTo>
                    <a:pt x="2958" y="1754"/>
                  </a:lnTo>
                  <a:lnTo>
                    <a:pt x="2994" y="1766"/>
                  </a:lnTo>
                  <a:lnTo>
                    <a:pt x="3032" y="1782"/>
                  </a:lnTo>
                  <a:lnTo>
                    <a:pt x="3068" y="1798"/>
                  </a:lnTo>
                  <a:lnTo>
                    <a:pt x="3104" y="1818"/>
                  </a:lnTo>
                  <a:lnTo>
                    <a:pt x="3162" y="1850"/>
                  </a:lnTo>
                  <a:lnTo>
                    <a:pt x="1732" y="3102"/>
                  </a:lnTo>
                  <a:lnTo>
                    <a:pt x="1732" y="3102"/>
                  </a:lnTo>
                  <a:lnTo>
                    <a:pt x="1698" y="3134"/>
                  </a:lnTo>
                  <a:lnTo>
                    <a:pt x="1666" y="3172"/>
                  </a:lnTo>
                  <a:lnTo>
                    <a:pt x="1638" y="3212"/>
                  </a:lnTo>
                  <a:lnTo>
                    <a:pt x="1616" y="3254"/>
                  </a:lnTo>
                  <a:lnTo>
                    <a:pt x="1596" y="3296"/>
                  </a:lnTo>
                  <a:lnTo>
                    <a:pt x="1582" y="3342"/>
                  </a:lnTo>
                  <a:lnTo>
                    <a:pt x="1572" y="3390"/>
                  </a:lnTo>
                  <a:lnTo>
                    <a:pt x="1566" y="3438"/>
                  </a:lnTo>
                  <a:lnTo>
                    <a:pt x="1566" y="3438"/>
                  </a:lnTo>
                  <a:lnTo>
                    <a:pt x="1564" y="3488"/>
                  </a:lnTo>
                  <a:lnTo>
                    <a:pt x="1568" y="3536"/>
                  </a:lnTo>
                  <a:lnTo>
                    <a:pt x="1578" y="3582"/>
                  </a:lnTo>
                  <a:lnTo>
                    <a:pt x="1590" y="3628"/>
                  </a:lnTo>
                  <a:lnTo>
                    <a:pt x="1608" y="3674"/>
                  </a:lnTo>
                  <a:lnTo>
                    <a:pt x="1630" y="3716"/>
                  </a:lnTo>
                  <a:lnTo>
                    <a:pt x="1656" y="3756"/>
                  </a:lnTo>
                  <a:lnTo>
                    <a:pt x="1686" y="3794"/>
                  </a:lnTo>
                  <a:lnTo>
                    <a:pt x="1686" y="3794"/>
                  </a:lnTo>
                  <a:lnTo>
                    <a:pt x="1704" y="3814"/>
                  </a:lnTo>
                  <a:lnTo>
                    <a:pt x="1722" y="3832"/>
                  </a:lnTo>
                  <a:lnTo>
                    <a:pt x="1740" y="3848"/>
                  </a:lnTo>
                  <a:lnTo>
                    <a:pt x="1760" y="3862"/>
                  </a:lnTo>
                  <a:lnTo>
                    <a:pt x="1778" y="3878"/>
                  </a:lnTo>
                  <a:lnTo>
                    <a:pt x="1800" y="3890"/>
                  </a:lnTo>
                  <a:lnTo>
                    <a:pt x="1842" y="3914"/>
                  </a:lnTo>
                  <a:lnTo>
                    <a:pt x="1886" y="3932"/>
                  </a:lnTo>
                  <a:lnTo>
                    <a:pt x="1930" y="3946"/>
                  </a:lnTo>
                  <a:lnTo>
                    <a:pt x="1978" y="3956"/>
                  </a:lnTo>
                  <a:lnTo>
                    <a:pt x="2024" y="3962"/>
                  </a:lnTo>
                  <a:lnTo>
                    <a:pt x="2072" y="3962"/>
                  </a:lnTo>
                  <a:lnTo>
                    <a:pt x="2118" y="3958"/>
                  </a:lnTo>
                  <a:lnTo>
                    <a:pt x="2166" y="3950"/>
                  </a:lnTo>
                  <a:lnTo>
                    <a:pt x="2212" y="3938"/>
                  </a:lnTo>
                  <a:lnTo>
                    <a:pt x="2256" y="3920"/>
                  </a:lnTo>
                  <a:lnTo>
                    <a:pt x="2278" y="3910"/>
                  </a:lnTo>
                  <a:lnTo>
                    <a:pt x="2300" y="3898"/>
                  </a:lnTo>
                  <a:lnTo>
                    <a:pt x="2320" y="3886"/>
                  </a:lnTo>
                  <a:lnTo>
                    <a:pt x="2342" y="3872"/>
                  </a:lnTo>
                  <a:lnTo>
                    <a:pt x="2362" y="3856"/>
                  </a:lnTo>
                  <a:lnTo>
                    <a:pt x="2382" y="3840"/>
                  </a:lnTo>
                  <a:lnTo>
                    <a:pt x="2882" y="3398"/>
                  </a:lnTo>
                  <a:lnTo>
                    <a:pt x="2882" y="3398"/>
                  </a:lnTo>
                  <a:lnTo>
                    <a:pt x="2928" y="3360"/>
                  </a:lnTo>
                  <a:lnTo>
                    <a:pt x="2976" y="3326"/>
                  </a:lnTo>
                  <a:lnTo>
                    <a:pt x="3024" y="3296"/>
                  </a:lnTo>
                  <a:lnTo>
                    <a:pt x="3074" y="3272"/>
                  </a:lnTo>
                  <a:lnTo>
                    <a:pt x="3122" y="3252"/>
                  </a:lnTo>
                  <a:lnTo>
                    <a:pt x="3148" y="3244"/>
                  </a:lnTo>
                  <a:lnTo>
                    <a:pt x="3172" y="3238"/>
                  </a:lnTo>
                  <a:lnTo>
                    <a:pt x="3198" y="3232"/>
                  </a:lnTo>
                  <a:lnTo>
                    <a:pt x="3222" y="3228"/>
                  </a:lnTo>
                  <a:lnTo>
                    <a:pt x="3248" y="3226"/>
                  </a:lnTo>
                  <a:lnTo>
                    <a:pt x="3274" y="3224"/>
                  </a:lnTo>
                  <a:lnTo>
                    <a:pt x="3298" y="3222"/>
                  </a:lnTo>
                  <a:lnTo>
                    <a:pt x="3324" y="3224"/>
                  </a:lnTo>
                  <a:lnTo>
                    <a:pt x="3377" y="3228"/>
                  </a:lnTo>
                  <a:lnTo>
                    <a:pt x="3429" y="3238"/>
                  </a:lnTo>
                  <a:lnTo>
                    <a:pt x="3483" y="3254"/>
                  </a:lnTo>
                  <a:lnTo>
                    <a:pt x="3537" y="3272"/>
                  </a:lnTo>
                  <a:lnTo>
                    <a:pt x="3591" y="3298"/>
                  </a:lnTo>
                  <a:lnTo>
                    <a:pt x="3645" y="3326"/>
                  </a:lnTo>
                  <a:lnTo>
                    <a:pt x="3701" y="3360"/>
                  </a:lnTo>
                  <a:lnTo>
                    <a:pt x="5341" y="4200"/>
                  </a:lnTo>
                  <a:lnTo>
                    <a:pt x="5341" y="4200"/>
                  </a:lnTo>
                  <a:lnTo>
                    <a:pt x="5349" y="4204"/>
                  </a:lnTo>
                  <a:lnTo>
                    <a:pt x="5357" y="4210"/>
                  </a:lnTo>
                  <a:lnTo>
                    <a:pt x="5365" y="4224"/>
                  </a:lnTo>
                  <a:lnTo>
                    <a:pt x="5371" y="4236"/>
                  </a:lnTo>
                  <a:lnTo>
                    <a:pt x="5373" y="4246"/>
                  </a:lnTo>
                  <a:lnTo>
                    <a:pt x="5373" y="4246"/>
                  </a:lnTo>
                  <a:lnTo>
                    <a:pt x="5373" y="4258"/>
                  </a:lnTo>
                  <a:lnTo>
                    <a:pt x="5373" y="4270"/>
                  </a:lnTo>
                  <a:lnTo>
                    <a:pt x="5367" y="4284"/>
                  </a:lnTo>
                  <a:lnTo>
                    <a:pt x="5363" y="4292"/>
                  </a:lnTo>
                  <a:lnTo>
                    <a:pt x="5359" y="4298"/>
                  </a:lnTo>
                  <a:lnTo>
                    <a:pt x="3997" y="5540"/>
                  </a:lnTo>
                  <a:lnTo>
                    <a:pt x="3985" y="5558"/>
                  </a:lnTo>
                  <a:lnTo>
                    <a:pt x="3985" y="5558"/>
                  </a:lnTo>
                  <a:lnTo>
                    <a:pt x="3979" y="5568"/>
                  </a:lnTo>
                  <a:lnTo>
                    <a:pt x="3971" y="5578"/>
                  </a:lnTo>
                  <a:lnTo>
                    <a:pt x="3953" y="5594"/>
                  </a:lnTo>
                  <a:lnTo>
                    <a:pt x="3933" y="5606"/>
                  </a:lnTo>
                  <a:lnTo>
                    <a:pt x="3911" y="5614"/>
                  </a:lnTo>
                  <a:lnTo>
                    <a:pt x="3889" y="5616"/>
                  </a:lnTo>
                  <a:lnTo>
                    <a:pt x="3865" y="5616"/>
                  </a:lnTo>
                  <a:lnTo>
                    <a:pt x="3841" y="5610"/>
                  </a:lnTo>
                  <a:lnTo>
                    <a:pt x="3831" y="5604"/>
                  </a:lnTo>
                  <a:lnTo>
                    <a:pt x="3819" y="5598"/>
                  </a:lnTo>
                  <a:lnTo>
                    <a:pt x="1658" y="4404"/>
                  </a:lnTo>
                  <a:close/>
                  <a:moveTo>
                    <a:pt x="5231" y="3404"/>
                  </a:moveTo>
                  <a:lnTo>
                    <a:pt x="5215" y="3814"/>
                  </a:lnTo>
                  <a:lnTo>
                    <a:pt x="3851" y="3116"/>
                  </a:lnTo>
                  <a:lnTo>
                    <a:pt x="3851" y="3116"/>
                  </a:lnTo>
                  <a:lnTo>
                    <a:pt x="3813" y="3092"/>
                  </a:lnTo>
                  <a:lnTo>
                    <a:pt x="3775" y="3070"/>
                  </a:lnTo>
                  <a:lnTo>
                    <a:pt x="3737" y="3050"/>
                  </a:lnTo>
                  <a:lnTo>
                    <a:pt x="3699" y="3032"/>
                  </a:lnTo>
                  <a:lnTo>
                    <a:pt x="3661" y="3014"/>
                  </a:lnTo>
                  <a:lnTo>
                    <a:pt x="3623" y="2998"/>
                  </a:lnTo>
                  <a:lnTo>
                    <a:pt x="3585" y="2986"/>
                  </a:lnTo>
                  <a:lnTo>
                    <a:pt x="3547" y="2974"/>
                  </a:lnTo>
                  <a:lnTo>
                    <a:pt x="3511" y="2962"/>
                  </a:lnTo>
                  <a:lnTo>
                    <a:pt x="3473" y="2954"/>
                  </a:lnTo>
                  <a:lnTo>
                    <a:pt x="3435" y="2946"/>
                  </a:lnTo>
                  <a:lnTo>
                    <a:pt x="3399" y="2942"/>
                  </a:lnTo>
                  <a:lnTo>
                    <a:pt x="3361" y="2938"/>
                  </a:lnTo>
                  <a:lnTo>
                    <a:pt x="3324" y="2936"/>
                  </a:lnTo>
                  <a:lnTo>
                    <a:pt x="3286" y="2936"/>
                  </a:lnTo>
                  <a:lnTo>
                    <a:pt x="3250" y="2936"/>
                  </a:lnTo>
                  <a:lnTo>
                    <a:pt x="3214" y="2940"/>
                  </a:lnTo>
                  <a:lnTo>
                    <a:pt x="3178" y="2944"/>
                  </a:lnTo>
                  <a:lnTo>
                    <a:pt x="3142" y="2950"/>
                  </a:lnTo>
                  <a:lnTo>
                    <a:pt x="3106" y="2958"/>
                  </a:lnTo>
                  <a:lnTo>
                    <a:pt x="3070" y="2968"/>
                  </a:lnTo>
                  <a:lnTo>
                    <a:pt x="3034" y="2980"/>
                  </a:lnTo>
                  <a:lnTo>
                    <a:pt x="2998" y="2992"/>
                  </a:lnTo>
                  <a:lnTo>
                    <a:pt x="2964" y="3006"/>
                  </a:lnTo>
                  <a:lnTo>
                    <a:pt x="2930" y="3024"/>
                  </a:lnTo>
                  <a:lnTo>
                    <a:pt x="2894" y="3042"/>
                  </a:lnTo>
                  <a:lnTo>
                    <a:pt x="2860" y="3060"/>
                  </a:lnTo>
                  <a:lnTo>
                    <a:pt x="2826" y="3082"/>
                  </a:lnTo>
                  <a:lnTo>
                    <a:pt x="2792" y="3106"/>
                  </a:lnTo>
                  <a:lnTo>
                    <a:pt x="2758" y="3130"/>
                  </a:lnTo>
                  <a:lnTo>
                    <a:pt x="2726" y="3156"/>
                  </a:lnTo>
                  <a:lnTo>
                    <a:pt x="2692" y="3184"/>
                  </a:lnTo>
                  <a:lnTo>
                    <a:pt x="2192" y="3626"/>
                  </a:lnTo>
                  <a:lnTo>
                    <a:pt x="2192" y="3626"/>
                  </a:lnTo>
                  <a:lnTo>
                    <a:pt x="2176" y="3638"/>
                  </a:lnTo>
                  <a:lnTo>
                    <a:pt x="2158" y="3650"/>
                  </a:lnTo>
                  <a:lnTo>
                    <a:pt x="2140" y="3660"/>
                  </a:lnTo>
                  <a:lnTo>
                    <a:pt x="2122" y="3666"/>
                  </a:lnTo>
                  <a:lnTo>
                    <a:pt x="2102" y="3672"/>
                  </a:lnTo>
                  <a:lnTo>
                    <a:pt x="2082" y="3676"/>
                  </a:lnTo>
                  <a:lnTo>
                    <a:pt x="2062" y="3676"/>
                  </a:lnTo>
                  <a:lnTo>
                    <a:pt x="2042" y="3676"/>
                  </a:lnTo>
                  <a:lnTo>
                    <a:pt x="2024" y="3674"/>
                  </a:lnTo>
                  <a:lnTo>
                    <a:pt x="2004" y="3670"/>
                  </a:lnTo>
                  <a:lnTo>
                    <a:pt x="1984" y="3664"/>
                  </a:lnTo>
                  <a:lnTo>
                    <a:pt x="1966" y="3656"/>
                  </a:lnTo>
                  <a:lnTo>
                    <a:pt x="1948" y="3646"/>
                  </a:lnTo>
                  <a:lnTo>
                    <a:pt x="1932" y="3634"/>
                  </a:lnTo>
                  <a:lnTo>
                    <a:pt x="1916" y="3622"/>
                  </a:lnTo>
                  <a:lnTo>
                    <a:pt x="1902" y="3606"/>
                  </a:lnTo>
                  <a:lnTo>
                    <a:pt x="1902" y="3606"/>
                  </a:lnTo>
                  <a:lnTo>
                    <a:pt x="1888" y="3590"/>
                  </a:lnTo>
                  <a:lnTo>
                    <a:pt x="1878" y="3574"/>
                  </a:lnTo>
                  <a:lnTo>
                    <a:pt x="1868" y="3556"/>
                  </a:lnTo>
                  <a:lnTo>
                    <a:pt x="1862" y="3538"/>
                  </a:lnTo>
                  <a:lnTo>
                    <a:pt x="1856" y="3518"/>
                  </a:lnTo>
                  <a:lnTo>
                    <a:pt x="1852" y="3498"/>
                  </a:lnTo>
                  <a:lnTo>
                    <a:pt x="1850" y="3478"/>
                  </a:lnTo>
                  <a:lnTo>
                    <a:pt x="1852" y="3458"/>
                  </a:lnTo>
                  <a:lnTo>
                    <a:pt x="1852" y="3458"/>
                  </a:lnTo>
                  <a:lnTo>
                    <a:pt x="1854" y="3438"/>
                  </a:lnTo>
                  <a:lnTo>
                    <a:pt x="1858" y="3418"/>
                  </a:lnTo>
                  <a:lnTo>
                    <a:pt x="1864" y="3398"/>
                  </a:lnTo>
                  <a:lnTo>
                    <a:pt x="1872" y="3380"/>
                  </a:lnTo>
                  <a:lnTo>
                    <a:pt x="1882" y="3362"/>
                  </a:lnTo>
                  <a:lnTo>
                    <a:pt x="1894" y="3346"/>
                  </a:lnTo>
                  <a:lnTo>
                    <a:pt x="1906" y="3330"/>
                  </a:lnTo>
                  <a:lnTo>
                    <a:pt x="1920" y="3316"/>
                  </a:lnTo>
                  <a:lnTo>
                    <a:pt x="3359" y="2060"/>
                  </a:lnTo>
                  <a:lnTo>
                    <a:pt x="3359" y="2060"/>
                  </a:lnTo>
                  <a:lnTo>
                    <a:pt x="3383" y="2038"/>
                  </a:lnTo>
                  <a:lnTo>
                    <a:pt x="3409" y="2020"/>
                  </a:lnTo>
                  <a:lnTo>
                    <a:pt x="3437" y="2004"/>
                  </a:lnTo>
                  <a:lnTo>
                    <a:pt x="3465" y="1990"/>
                  </a:lnTo>
                  <a:lnTo>
                    <a:pt x="3493" y="1978"/>
                  </a:lnTo>
                  <a:lnTo>
                    <a:pt x="3523" y="1970"/>
                  </a:lnTo>
                  <a:lnTo>
                    <a:pt x="3553" y="1962"/>
                  </a:lnTo>
                  <a:lnTo>
                    <a:pt x="3583" y="1956"/>
                  </a:lnTo>
                  <a:lnTo>
                    <a:pt x="3615" y="1954"/>
                  </a:lnTo>
                  <a:lnTo>
                    <a:pt x="3645" y="1952"/>
                  </a:lnTo>
                  <a:lnTo>
                    <a:pt x="3677" y="1954"/>
                  </a:lnTo>
                  <a:lnTo>
                    <a:pt x="3707" y="1956"/>
                  </a:lnTo>
                  <a:lnTo>
                    <a:pt x="3739" y="1962"/>
                  </a:lnTo>
                  <a:lnTo>
                    <a:pt x="3769" y="1970"/>
                  </a:lnTo>
                  <a:lnTo>
                    <a:pt x="3799" y="1982"/>
                  </a:lnTo>
                  <a:lnTo>
                    <a:pt x="3829" y="1994"/>
                  </a:lnTo>
                  <a:lnTo>
                    <a:pt x="4333" y="2234"/>
                  </a:lnTo>
                  <a:lnTo>
                    <a:pt x="6423" y="464"/>
                  </a:lnTo>
                  <a:lnTo>
                    <a:pt x="6423" y="2402"/>
                  </a:lnTo>
                  <a:lnTo>
                    <a:pt x="5231" y="3404"/>
                  </a:lnTo>
                  <a:close/>
                  <a:moveTo>
                    <a:pt x="6191" y="286"/>
                  </a:moveTo>
                  <a:lnTo>
                    <a:pt x="4289" y="1896"/>
                  </a:lnTo>
                  <a:lnTo>
                    <a:pt x="3951" y="1736"/>
                  </a:lnTo>
                  <a:lnTo>
                    <a:pt x="3951" y="1736"/>
                  </a:lnTo>
                  <a:lnTo>
                    <a:pt x="3921" y="1722"/>
                  </a:lnTo>
                  <a:lnTo>
                    <a:pt x="3891" y="1710"/>
                  </a:lnTo>
                  <a:lnTo>
                    <a:pt x="3861" y="1700"/>
                  </a:lnTo>
                  <a:lnTo>
                    <a:pt x="3831" y="1690"/>
                  </a:lnTo>
                  <a:lnTo>
                    <a:pt x="3799" y="1684"/>
                  </a:lnTo>
                  <a:lnTo>
                    <a:pt x="3769" y="1678"/>
                  </a:lnTo>
                  <a:lnTo>
                    <a:pt x="3737" y="1672"/>
                  </a:lnTo>
                  <a:lnTo>
                    <a:pt x="3705" y="1670"/>
                  </a:lnTo>
                  <a:lnTo>
                    <a:pt x="3675" y="1668"/>
                  </a:lnTo>
                  <a:lnTo>
                    <a:pt x="3643" y="1666"/>
                  </a:lnTo>
                  <a:lnTo>
                    <a:pt x="3611" y="1668"/>
                  </a:lnTo>
                  <a:lnTo>
                    <a:pt x="3579" y="1670"/>
                  </a:lnTo>
                  <a:lnTo>
                    <a:pt x="3549" y="1674"/>
                  </a:lnTo>
                  <a:lnTo>
                    <a:pt x="3517" y="1678"/>
                  </a:lnTo>
                  <a:lnTo>
                    <a:pt x="3487" y="1684"/>
                  </a:lnTo>
                  <a:lnTo>
                    <a:pt x="3457" y="1692"/>
                  </a:lnTo>
                  <a:lnTo>
                    <a:pt x="3248" y="1570"/>
                  </a:lnTo>
                  <a:lnTo>
                    <a:pt x="3248" y="1570"/>
                  </a:lnTo>
                  <a:lnTo>
                    <a:pt x="3196" y="1542"/>
                  </a:lnTo>
                  <a:lnTo>
                    <a:pt x="3144" y="1518"/>
                  </a:lnTo>
                  <a:lnTo>
                    <a:pt x="3092" y="1498"/>
                  </a:lnTo>
                  <a:lnTo>
                    <a:pt x="3036" y="1480"/>
                  </a:lnTo>
                  <a:lnTo>
                    <a:pt x="2982" y="1466"/>
                  </a:lnTo>
                  <a:lnTo>
                    <a:pt x="2926" y="1454"/>
                  </a:lnTo>
                  <a:lnTo>
                    <a:pt x="2870" y="1448"/>
                  </a:lnTo>
                  <a:lnTo>
                    <a:pt x="2814" y="1444"/>
                  </a:lnTo>
                  <a:lnTo>
                    <a:pt x="2758" y="1442"/>
                  </a:lnTo>
                  <a:lnTo>
                    <a:pt x="2700" y="1446"/>
                  </a:lnTo>
                  <a:lnTo>
                    <a:pt x="2644" y="1452"/>
                  </a:lnTo>
                  <a:lnTo>
                    <a:pt x="2588" y="1462"/>
                  </a:lnTo>
                  <a:lnTo>
                    <a:pt x="2532" y="1476"/>
                  </a:lnTo>
                  <a:lnTo>
                    <a:pt x="2478" y="1492"/>
                  </a:lnTo>
                  <a:lnTo>
                    <a:pt x="2424" y="1512"/>
                  </a:lnTo>
                  <a:lnTo>
                    <a:pt x="2370" y="1536"/>
                  </a:lnTo>
                  <a:lnTo>
                    <a:pt x="1884" y="1770"/>
                  </a:lnTo>
                  <a:lnTo>
                    <a:pt x="286" y="814"/>
                  </a:lnTo>
                  <a:lnTo>
                    <a:pt x="286" y="286"/>
                  </a:lnTo>
                  <a:lnTo>
                    <a:pt x="6191" y="286"/>
                  </a:lnTo>
                  <a:close/>
                  <a:moveTo>
                    <a:pt x="286" y="6422"/>
                  </a:moveTo>
                  <a:lnTo>
                    <a:pt x="286" y="3084"/>
                  </a:lnTo>
                  <a:lnTo>
                    <a:pt x="980" y="3492"/>
                  </a:lnTo>
                  <a:lnTo>
                    <a:pt x="1080" y="4038"/>
                  </a:lnTo>
                  <a:lnTo>
                    <a:pt x="1080" y="4038"/>
                  </a:lnTo>
                  <a:lnTo>
                    <a:pt x="1088" y="4076"/>
                  </a:lnTo>
                  <a:lnTo>
                    <a:pt x="1096" y="4112"/>
                  </a:lnTo>
                  <a:lnTo>
                    <a:pt x="1108" y="4148"/>
                  </a:lnTo>
                  <a:lnTo>
                    <a:pt x="1120" y="4184"/>
                  </a:lnTo>
                  <a:lnTo>
                    <a:pt x="1134" y="4218"/>
                  </a:lnTo>
                  <a:lnTo>
                    <a:pt x="1148" y="4252"/>
                  </a:lnTo>
                  <a:lnTo>
                    <a:pt x="1164" y="4286"/>
                  </a:lnTo>
                  <a:lnTo>
                    <a:pt x="1182" y="4318"/>
                  </a:lnTo>
                  <a:lnTo>
                    <a:pt x="1202" y="4350"/>
                  </a:lnTo>
                  <a:lnTo>
                    <a:pt x="1222" y="4382"/>
                  </a:lnTo>
                  <a:lnTo>
                    <a:pt x="1244" y="4412"/>
                  </a:lnTo>
                  <a:lnTo>
                    <a:pt x="1266" y="4440"/>
                  </a:lnTo>
                  <a:lnTo>
                    <a:pt x="1290" y="4468"/>
                  </a:lnTo>
                  <a:lnTo>
                    <a:pt x="1316" y="4496"/>
                  </a:lnTo>
                  <a:lnTo>
                    <a:pt x="1342" y="4522"/>
                  </a:lnTo>
                  <a:lnTo>
                    <a:pt x="1370" y="4548"/>
                  </a:lnTo>
                  <a:lnTo>
                    <a:pt x="1370" y="4548"/>
                  </a:lnTo>
                  <a:lnTo>
                    <a:pt x="1342" y="4578"/>
                  </a:lnTo>
                  <a:lnTo>
                    <a:pt x="1318" y="4610"/>
                  </a:lnTo>
                  <a:lnTo>
                    <a:pt x="1296" y="4644"/>
                  </a:lnTo>
                  <a:lnTo>
                    <a:pt x="1278" y="4680"/>
                  </a:lnTo>
                  <a:lnTo>
                    <a:pt x="1264" y="4716"/>
                  </a:lnTo>
                  <a:lnTo>
                    <a:pt x="1254" y="4754"/>
                  </a:lnTo>
                  <a:lnTo>
                    <a:pt x="1246" y="4794"/>
                  </a:lnTo>
                  <a:lnTo>
                    <a:pt x="1242" y="4832"/>
                  </a:lnTo>
                  <a:lnTo>
                    <a:pt x="1244" y="4872"/>
                  </a:lnTo>
                  <a:lnTo>
                    <a:pt x="1246" y="4912"/>
                  </a:lnTo>
                  <a:lnTo>
                    <a:pt x="1254" y="4950"/>
                  </a:lnTo>
                  <a:lnTo>
                    <a:pt x="1266" y="4988"/>
                  </a:lnTo>
                  <a:lnTo>
                    <a:pt x="1280" y="5026"/>
                  </a:lnTo>
                  <a:lnTo>
                    <a:pt x="1300" y="5062"/>
                  </a:lnTo>
                  <a:lnTo>
                    <a:pt x="1322" y="5098"/>
                  </a:lnTo>
                  <a:lnTo>
                    <a:pt x="1348" y="5132"/>
                  </a:lnTo>
                  <a:lnTo>
                    <a:pt x="2118" y="5944"/>
                  </a:lnTo>
                  <a:lnTo>
                    <a:pt x="2118" y="5944"/>
                  </a:lnTo>
                  <a:lnTo>
                    <a:pt x="2146" y="5976"/>
                  </a:lnTo>
                  <a:lnTo>
                    <a:pt x="2178" y="6002"/>
                  </a:lnTo>
                  <a:lnTo>
                    <a:pt x="2212" y="6026"/>
                  </a:lnTo>
                  <a:lnTo>
                    <a:pt x="2248" y="6046"/>
                  </a:lnTo>
                  <a:lnTo>
                    <a:pt x="2286" y="6064"/>
                  </a:lnTo>
                  <a:lnTo>
                    <a:pt x="2326" y="6076"/>
                  </a:lnTo>
                  <a:lnTo>
                    <a:pt x="2368" y="6086"/>
                  </a:lnTo>
                  <a:lnTo>
                    <a:pt x="2410" y="6090"/>
                  </a:lnTo>
                  <a:lnTo>
                    <a:pt x="2410" y="6090"/>
                  </a:lnTo>
                  <a:lnTo>
                    <a:pt x="2440" y="6092"/>
                  </a:lnTo>
                  <a:lnTo>
                    <a:pt x="2440" y="6092"/>
                  </a:lnTo>
                  <a:lnTo>
                    <a:pt x="2478" y="6090"/>
                  </a:lnTo>
                  <a:lnTo>
                    <a:pt x="2516" y="6086"/>
                  </a:lnTo>
                  <a:lnTo>
                    <a:pt x="2552" y="6076"/>
                  </a:lnTo>
                  <a:lnTo>
                    <a:pt x="2588" y="6066"/>
                  </a:lnTo>
                  <a:lnTo>
                    <a:pt x="2622" y="6050"/>
                  </a:lnTo>
                  <a:lnTo>
                    <a:pt x="2656" y="6032"/>
                  </a:lnTo>
                  <a:lnTo>
                    <a:pt x="2688" y="6012"/>
                  </a:lnTo>
                  <a:lnTo>
                    <a:pt x="2718" y="5988"/>
                  </a:lnTo>
                  <a:lnTo>
                    <a:pt x="3194" y="5580"/>
                  </a:lnTo>
                  <a:lnTo>
                    <a:pt x="3677" y="5848"/>
                  </a:lnTo>
                  <a:lnTo>
                    <a:pt x="3677" y="5848"/>
                  </a:lnTo>
                  <a:lnTo>
                    <a:pt x="3701" y="5860"/>
                  </a:lnTo>
                  <a:lnTo>
                    <a:pt x="3727" y="5872"/>
                  </a:lnTo>
                  <a:lnTo>
                    <a:pt x="3751" y="5882"/>
                  </a:lnTo>
                  <a:lnTo>
                    <a:pt x="3777" y="5890"/>
                  </a:lnTo>
                  <a:lnTo>
                    <a:pt x="3803" y="5896"/>
                  </a:lnTo>
                  <a:lnTo>
                    <a:pt x="3829" y="5900"/>
                  </a:lnTo>
                  <a:lnTo>
                    <a:pt x="3855" y="5902"/>
                  </a:lnTo>
                  <a:lnTo>
                    <a:pt x="3881" y="5904"/>
                  </a:lnTo>
                  <a:lnTo>
                    <a:pt x="3881" y="5904"/>
                  </a:lnTo>
                  <a:lnTo>
                    <a:pt x="3907" y="5902"/>
                  </a:lnTo>
                  <a:lnTo>
                    <a:pt x="3931" y="5900"/>
                  </a:lnTo>
                  <a:lnTo>
                    <a:pt x="3955" y="5896"/>
                  </a:lnTo>
                  <a:lnTo>
                    <a:pt x="3979" y="5892"/>
                  </a:lnTo>
                  <a:lnTo>
                    <a:pt x="4003" y="5886"/>
                  </a:lnTo>
                  <a:lnTo>
                    <a:pt x="4025" y="5878"/>
                  </a:lnTo>
                  <a:lnTo>
                    <a:pt x="4049" y="5868"/>
                  </a:lnTo>
                  <a:lnTo>
                    <a:pt x="4071" y="5858"/>
                  </a:lnTo>
                  <a:lnTo>
                    <a:pt x="4093" y="5846"/>
                  </a:lnTo>
                  <a:lnTo>
                    <a:pt x="4113" y="5832"/>
                  </a:lnTo>
                  <a:lnTo>
                    <a:pt x="4133" y="5816"/>
                  </a:lnTo>
                  <a:lnTo>
                    <a:pt x="4153" y="5800"/>
                  </a:lnTo>
                  <a:lnTo>
                    <a:pt x="4171" y="5784"/>
                  </a:lnTo>
                  <a:lnTo>
                    <a:pt x="4187" y="5766"/>
                  </a:lnTo>
                  <a:lnTo>
                    <a:pt x="4203" y="5746"/>
                  </a:lnTo>
                  <a:lnTo>
                    <a:pt x="4219" y="5724"/>
                  </a:lnTo>
                  <a:lnTo>
                    <a:pt x="5555" y="4506"/>
                  </a:lnTo>
                  <a:lnTo>
                    <a:pt x="5555" y="4506"/>
                  </a:lnTo>
                  <a:lnTo>
                    <a:pt x="5583" y="4476"/>
                  </a:lnTo>
                  <a:lnTo>
                    <a:pt x="5607" y="4442"/>
                  </a:lnTo>
                  <a:lnTo>
                    <a:pt x="5625" y="4408"/>
                  </a:lnTo>
                  <a:lnTo>
                    <a:pt x="5641" y="4370"/>
                  </a:lnTo>
                  <a:lnTo>
                    <a:pt x="5651" y="4332"/>
                  </a:lnTo>
                  <a:lnTo>
                    <a:pt x="5659" y="4292"/>
                  </a:lnTo>
                  <a:lnTo>
                    <a:pt x="5659" y="4252"/>
                  </a:lnTo>
                  <a:lnTo>
                    <a:pt x="5657" y="4210"/>
                  </a:lnTo>
                  <a:lnTo>
                    <a:pt x="5657" y="4210"/>
                  </a:lnTo>
                  <a:lnTo>
                    <a:pt x="5651" y="4172"/>
                  </a:lnTo>
                  <a:lnTo>
                    <a:pt x="5639" y="4136"/>
                  </a:lnTo>
                  <a:lnTo>
                    <a:pt x="5625" y="4102"/>
                  </a:lnTo>
                  <a:lnTo>
                    <a:pt x="5605" y="4068"/>
                  </a:lnTo>
                  <a:lnTo>
                    <a:pt x="5583" y="4038"/>
                  </a:lnTo>
                  <a:lnTo>
                    <a:pt x="5559" y="4010"/>
                  </a:lnTo>
                  <a:lnTo>
                    <a:pt x="5529" y="3984"/>
                  </a:lnTo>
                  <a:lnTo>
                    <a:pt x="5497" y="3960"/>
                  </a:lnTo>
                  <a:lnTo>
                    <a:pt x="5513" y="3540"/>
                  </a:lnTo>
                  <a:lnTo>
                    <a:pt x="6423" y="2774"/>
                  </a:lnTo>
                  <a:lnTo>
                    <a:pt x="6423" y="6422"/>
                  </a:lnTo>
                  <a:lnTo>
                    <a:pt x="286" y="6422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E8282589-3D3F-46C0-B325-DE378CAA2B7B}"/>
              </a:ext>
            </a:extLst>
          </p:cNvPr>
          <p:cNvGrpSpPr/>
          <p:nvPr/>
        </p:nvGrpSpPr>
        <p:grpSpPr>
          <a:xfrm>
            <a:off x="9567568" y="2801188"/>
            <a:ext cx="630000" cy="630000"/>
            <a:chOff x="7061200" y="4161610"/>
            <a:chExt cx="630000" cy="630000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A5BC7B4-F450-472E-BDCE-90812DB670EC}"/>
                </a:ext>
              </a:extLst>
            </p:cNvPr>
            <p:cNvSpPr/>
            <p:nvPr/>
          </p:nvSpPr>
          <p:spPr>
            <a:xfrm>
              <a:off x="7061200" y="4161610"/>
              <a:ext cx="630000" cy="630000"/>
            </a:xfrm>
            <a:prstGeom prst="rect">
              <a:avLst/>
            </a:prstGeom>
            <a:solidFill>
              <a:srgbClr val="FFFFFF"/>
            </a:solidFill>
            <a:ln w="19050">
              <a:solidFill>
                <a:schemeClr val="accent5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3399BBE-745B-4B5C-A352-3F41282EC90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147600" y="4251434"/>
              <a:ext cx="457200" cy="457200"/>
              <a:chOff x="1600200" y="3360806"/>
              <a:chExt cx="206140" cy="206140"/>
            </a:xfrm>
            <a:solidFill>
              <a:schemeClr val="accent5"/>
            </a:solidFill>
          </p:grpSpPr>
          <p:sp>
            <p:nvSpPr>
              <p:cNvPr id="30" name="Freeform 107">
                <a:extLst>
                  <a:ext uri="{FF2B5EF4-FFF2-40B4-BE49-F238E27FC236}">
                    <a16:creationId xmlns:a16="http://schemas.microsoft.com/office/drawing/2014/main" id="{46C9A24F-B2F7-403D-917A-52E513119F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53143" y="3360806"/>
                <a:ext cx="53197" cy="206140"/>
              </a:xfrm>
              <a:custGeom>
                <a:avLst/>
                <a:gdLst>
                  <a:gd name="T0" fmla="*/ 0 w 16"/>
                  <a:gd name="T1" fmla="*/ 0 h 62"/>
                  <a:gd name="T2" fmla="*/ 0 w 16"/>
                  <a:gd name="T3" fmla="*/ 54 h 62"/>
                  <a:gd name="T4" fmla="*/ 5 w 16"/>
                  <a:gd name="T5" fmla="*/ 62 h 62"/>
                  <a:gd name="T6" fmla="*/ 11 w 16"/>
                  <a:gd name="T7" fmla="*/ 54 h 62"/>
                  <a:gd name="T8" fmla="*/ 11 w 16"/>
                  <a:gd name="T9" fmla="*/ 3 h 62"/>
                  <a:gd name="T10" fmla="*/ 13 w 16"/>
                  <a:gd name="T11" fmla="*/ 3 h 62"/>
                  <a:gd name="T12" fmla="*/ 13 w 16"/>
                  <a:gd name="T13" fmla="*/ 22 h 62"/>
                  <a:gd name="T14" fmla="*/ 16 w 16"/>
                  <a:gd name="T15" fmla="*/ 22 h 62"/>
                  <a:gd name="T16" fmla="*/ 16 w 16"/>
                  <a:gd name="T17" fmla="*/ 0 h 62"/>
                  <a:gd name="T18" fmla="*/ 0 w 16"/>
                  <a:gd name="T19" fmla="*/ 0 h 62"/>
                  <a:gd name="T20" fmla="*/ 8 w 16"/>
                  <a:gd name="T21" fmla="*/ 3 h 62"/>
                  <a:gd name="T22" fmla="*/ 8 w 16"/>
                  <a:gd name="T23" fmla="*/ 21 h 62"/>
                  <a:gd name="T24" fmla="*/ 3 w 16"/>
                  <a:gd name="T25" fmla="*/ 21 h 62"/>
                  <a:gd name="T26" fmla="*/ 3 w 16"/>
                  <a:gd name="T27" fmla="*/ 3 h 62"/>
                  <a:gd name="T28" fmla="*/ 8 w 16"/>
                  <a:gd name="T29" fmla="*/ 3 h 62"/>
                  <a:gd name="T30" fmla="*/ 5 w 16"/>
                  <a:gd name="T31" fmla="*/ 57 h 62"/>
                  <a:gd name="T32" fmla="*/ 3 w 16"/>
                  <a:gd name="T33" fmla="*/ 53 h 62"/>
                  <a:gd name="T34" fmla="*/ 3 w 16"/>
                  <a:gd name="T35" fmla="*/ 24 h 62"/>
                  <a:gd name="T36" fmla="*/ 8 w 16"/>
                  <a:gd name="T37" fmla="*/ 24 h 62"/>
                  <a:gd name="T38" fmla="*/ 8 w 16"/>
                  <a:gd name="T39" fmla="*/ 53 h 62"/>
                  <a:gd name="T40" fmla="*/ 5 w 16"/>
                  <a:gd name="T41" fmla="*/ 5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" h="62">
                    <a:moveTo>
                      <a:pt x="0" y="0"/>
                    </a:moveTo>
                    <a:lnTo>
                      <a:pt x="0" y="54"/>
                    </a:lnTo>
                    <a:lnTo>
                      <a:pt x="5" y="62"/>
                    </a:lnTo>
                    <a:lnTo>
                      <a:pt x="11" y="54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3" y="22"/>
                    </a:lnTo>
                    <a:lnTo>
                      <a:pt x="16" y="22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  <a:moveTo>
                      <a:pt x="8" y="3"/>
                    </a:moveTo>
                    <a:lnTo>
                      <a:pt x="8" y="21"/>
                    </a:lnTo>
                    <a:lnTo>
                      <a:pt x="3" y="21"/>
                    </a:lnTo>
                    <a:lnTo>
                      <a:pt x="3" y="3"/>
                    </a:lnTo>
                    <a:lnTo>
                      <a:pt x="8" y="3"/>
                    </a:lnTo>
                    <a:close/>
                    <a:moveTo>
                      <a:pt x="5" y="57"/>
                    </a:moveTo>
                    <a:lnTo>
                      <a:pt x="3" y="53"/>
                    </a:lnTo>
                    <a:lnTo>
                      <a:pt x="3" y="24"/>
                    </a:lnTo>
                    <a:lnTo>
                      <a:pt x="8" y="24"/>
                    </a:lnTo>
                    <a:lnTo>
                      <a:pt x="8" y="53"/>
                    </a:lnTo>
                    <a:lnTo>
                      <a:pt x="5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400"/>
              </a:p>
            </p:txBody>
          </p:sp>
          <p:sp>
            <p:nvSpPr>
              <p:cNvPr id="31" name="Rectangle 108">
                <a:extLst>
                  <a:ext uri="{FF2B5EF4-FFF2-40B4-BE49-F238E27FC236}">
                    <a16:creationId xmlns:a16="http://schemas.microsoft.com/office/drawing/2014/main" id="{88929C1D-E65C-4F7C-A31E-FC654624F48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3448" y="3404030"/>
                <a:ext cx="69821" cy="99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400"/>
              </a:p>
            </p:txBody>
          </p:sp>
          <p:sp>
            <p:nvSpPr>
              <p:cNvPr id="32" name="Rectangle 109">
                <a:extLst>
                  <a:ext uri="{FF2B5EF4-FFF2-40B4-BE49-F238E27FC236}">
                    <a16:creationId xmlns:a16="http://schemas.microsoft.com/office/drawing/2014/main" id="{ED6B4CF2-8CE8-402F-9B90-D925CEB876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3448" y="3440602"/>
                <a:ext cx="69821" cy="99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400"/>
              </a:p>
            </p:txBody>
          </p:sp>
          <p:sp>
            <p:nvSpPr>
              <p:cNvPr id="33" name="Rectangle 110">
                <a:extLst>
                  <a:ext uri="{FF2B5EF4-FFF2-40B4-BE49-F238E27FC236}">
                    <a16:creationId xmlns:a16="http://schemas.microsoft.com/office/drawing/2014/main" id="{2BDEF80F-6FD5-44A1-9384-F8C6926E2B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3448" y="3480500"/>
                <a:ext cx="69821" cy="66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400"/>
              </a:p>
            </p:txBody>
          </p:sp>
          <p:sp>
            <p:nvSpPr>
              <p:cNvPr id="34" name="Rectangle 111">
                <a:extLst>
                  <a:ext uri="{FF2B5EF4-FFF2-40B4-BE49-F238E27FC236}">
                    <a16:creationId xmlns:a16="http://schemas.microsoft.com/office/drawing/2014/main" id="{A052C9BA-BF79-427A-A701-3B089B8E81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33448" y="3513749"/>
                <a:ext cx="69821" cy="9976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400"/>
              </a:p>
            </p:txBody>
          </p:sp>
          <p:sp>
            <p:nvSpPr>
              <p:cNvPr id="35" name="Freeform 112">
                <a:extLst>
                  <a:ext uri="{FF2B5EF4-FFF2-40B4-BE49-F238E27FC236}">
                    <a16:creationId xmlns:a16="http://schemas.microsoft.com/office/drawing/2014/main" id="{A1CAB207-3FCD-4657-86DF-0DDA39B8BC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00200" y="3360806"/>
                <a:ext cx="136318" cy="206140"/>
              </a:xfrm>
              <a:custGeom>
                <a:avLst/>
                <a:gdLst>
                  <a:gd name="T0" fmla="*/ 41 w 41"/>
                  <a:gd name="T1" fmla="*/ 62 h 62"/>
                  <a:gd name="T2" fmla="*/ 0 w 41"/>
                  <a:gd name="T3" fmla="*/ 62 h 62"/>
                  <a:gd name="T4" fmla="*/ 0 w 41"/>
                  <a:gd name="T5" fmla="*/ 0 h 62"/>
                  <a:gd name="T6" fmla="*/ 41 w 41"/>
                  <a:gd name="T7" fmla="*/ 0 h 62"/>
                  <a:gd name="T8" fmla="*/ 41 w 41"/>
                  <a:gd name="T9" fmla="*/ 62 h 62"/>
                  <a:gd name="T10" fmla="*/ 3 w 41"/>
                  <a:gd name="T11" fmla="*/ 59 h 62"/>
                  <a:gd name="T12" fmla="*/ 38 w 41"/>
                  <a:gd name="T13" fmla="*/ 59 h 62"/>
                  <a:gd name="T14" fmla="*/ 38 w 41"/>
                  <a:gd name="T15" fmla="*/ 3 h 62"/>
                  <a:gd name="T16" fmla="*/ 3 w 41"/>
                  <a:gd name="T17" fmla="*/ 3 h 62"/>
                  <a:gd name="T18" fmla="*/ 3 w 41"/>
                  <a:gd name="T19" fmla="*/ 59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62">
                    <a:moveTo>
                      <a:pt x="41" y="62"/>
                    </a:moveTo>
                    <a:lnTo>
                      <a:pt x="0" y="62"/>
                    </a:lnTo>
                    <a:lnTo>
                      <a:pt x="0" y="0"/>
                    </a:lnTo>
                    <a:lnTo>
                      <a:pt x="41" y="0"/>
                    </a:lnTo>
                    <a:lnTo>
                      <a:pt x="41" y="62"/>
                    </a:lnTo>
                    <a:close/>
                    <a:moveTo>
                      <a:pt x="3" y="59"/>
                    </a:moveTo>
                    <a:lnTo>
                      <a:pt x="38" y="59"/>
                    </a:lnTo>
                    <a:lnTo>
                      <a:pt x="38" y="3"/>
                    </a:lnTo>
                    <a:lnTo>
                      <a:pt x="3" y="3"/>
                    </a:lnTo>
                    <a:lnTo>
                      <a:pt x="3" y="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4400"/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E177E0C-99E4-464F-BB96-E649CB346E02}"/>
              </a:ext>
            </a:extLst>
          </p:cNvPr>
          <p:cNvGrpSpPr/>
          <p:nvPr/>
        </p:nvGrpSpPr>
        <p:grpSpPr>
          <a:xfrm>
            <a:off x="1925957" y="2775683"/>
            <a:ext cx="684000" cy="650737"/>
            <a:chOff x="1299499" y="2788632"/>
            <a:chExt cx="630000" cy="65073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AA435F1-28EB-4A71-90F4-AB5249AE0711}"/>
                </a:ext>
              </a:extLst>
            </p:cNvPr>
            <p:cNvSpPr/>
            <p:nvPr/>
          </p:nvSpPr>
          <p:spPr>
            <a:xfrm>
              <a:off x="1299499" y="2788632"/>
              <a:ext cx="630000" cy="650737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28" name="Freeform 223">
              <a:extLst>
                <a:ext uri="{FF2B5EF4-FFF2-40B4-BE49-F238E27FC236}">
                  <a16:creationId xmlns:a16="http://schemas.microsoft.com/office/drawing/2014/main" id="{D601864A-E8BD-4C56-A9AB-D606071D9E65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99499" y="2808422"/>
              <a:ext cx="630000" cy="630000"/>
            </a:xfrm>
            <a:custGeom>
              <a:avLst/>
              <a:gdLst>
                <a:gd name="T0" fmla="*/ 0 w 78"/>
                <a:gd name="T1" fmla="*/ 0 h 77"/>
                <a:gd name="T2" fmla="*/ 0 w 78"/>
                <a:gd name="T3" fmla="*/ 77 h 77"/>
                <a:gd name="T4" fmla="*/ 78 w 78"/>
                <a:gd name="T5" fmla="*/ 77 h 77"/>
                <a:gd name="T6" fmla="*/ 78 w 78"/>
                <a:gd name="T7" fmla="*/ 0 h 77"/>
                <a:gd name="T8" fmla="*/ 0 w 78"/>
                <a:gd name="T9" fmla="*/ 0 h 77"/>
                <a:gd name="T10" fmla="*/ 39 w 78"/>
                <a:gd name="T11" fmla="*/ 42 h 77"/>
                <a:gd name="T12" fmla="*/ 5 w 78"/>
                <a:gd name="T13" fmla="*/ 3 h 77"/>
                <a:gd name="T14" fmla="*/ 72 w 78"/>
                <a:gd name="T15" fmla="*/ 3 h 77"/>
                <a:gd name="T16" fmla="*/ 39 w 78"/>
                <a:gd name="T17" fmla="*/ 42 h 77"/>
                <a:gd name="T18" fmla="*/ 32 w 78"/>
                <a:gd name="T19" fmla="*/ 38 h 77"/>
                <a:gd name="T20" fmla="*/ 3 w 78"/>
                <a:gd name="T21" fmla="*/ 71 h 77"/>
                <a:gd name="T22" fmla="*/ 3 w 78"/>
                <a:gd name="T23" fmla="*/ 6 h 77"/>
                <a:gd name="T24" fmla="*/ 32 w 78"/>
                <a:gd name="T25" fmla="*/ 38 h 77"/>
                <a:gd name="T26" fmla="*/ 34 w 78"/>
                <a:gd name="T27" fmla="*/ 41 h 77"/>
                <a:gd name="T28" fmla="*/ 39 w 78"/>
                <a:gd name="T29" fmla="*/ 47 h 77"/>
                <a:gd name="T30" fmla="*/ 44 w 78"/>
                <a:gd name="T31" fmla="*/ 41 h 77"/>
                <a:gd name="T32" fmla="*/ 72 w 78"/>
                <a:gd name="T33" fmla="*/ 74 h 77"/>
                <a:gd name="T34" fmla="*/ 5 w 78"/>
                <a:gd name="T35" fmla="*/ 74 h 77"/>
                <a:gd name="T36" fmla="*/ 34 w 78"/>
                <a:gd name="T37" fmla="*/ 41 h 77"/>
                <a:gd name="T38" fmla="*/ 46 w 78"/>
                <a:gd name="T39" fmla="*/ 38 h 77"/>
                <a:gd name="T40" fmla="*/ 74 w 78"/>
                <a:gd name="T41" fmla="*/ 6 h 77"/>
                <a:gd name="T42" fmla="*/ 74 w 78"/>
                <a:gd name="T43" fmla="*/ 71 h 77"/>
                <a:gd name="T44" fmla="*/ 46 w 78"/>
                <a:gd name="T45" fmla="*/ 3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8" h="77">
                  <a:moveTo>
                    <a:pt x="0" y="0"/>
                  </a:moveTo>
                  <a:lnTo>
                    <a:pt x="0" y="77"/>
                  </a:lnTo>
                  <a:lnTo>
                    <a:pt x="78" y="77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39" y="42"/>
                  </a:moveTo>
                  <a:lnTo>
                    <a:pt x="5" y="3"/>
                  </a:lnTo>
                  <a:lnTo>
                    <a:pt x="72" y="3"/>
                  </a:lnTo>
                  <a:lnTo>
                    <a:pt x="39" y="42"/>
                  </a:lnTo>
                  <a:close/>
                  <a:moveTo>
                    <a:pt x="32" y="38"/>
                  </a:moveTo>
                  <a:lnTo>
                    <a:pt x="3" y="71"/>
                  </a:lnTo>
                  <a:lnTo>
                    <a:pt x="3" y="6"/>
                  </a:lnTo>
                  <a:lnTo>
                    <a:pt x="32" y="38"/>
                  </a:lnTo>
                  <a:close/>
                  <a:moveTo>
                    <a:pt x="34" y="41"/>
                  </a:moveTo>
                  <a:lnTo>
                    <a:pt x="39" y="47"/>
                  </a:lnTo>
                  <a:lnTo>
                    <a:pt x="44" y="41"/>
                  </a:lnTo>
                  <a:lnTo>
                    <a:pt x="72" y="74"/>
                  </a:lnTo>
                  <a:lnTo>
                    <a:pt x="5" y="74"/>
                  </a:lnTo>
                  <a:lnTo>
                    <a:pt x="34" y="41"/>
                  </a:lnTo>
                  <a:close/>
                  <a:moveTo>
                    <a:pt x="46" y="38"/>
                  </a:moveTo>
                  <a:lnTo>
                    <a:pt x="74" y="6"/>
                  </a:lnTo>
                  <a:lnTo>
                    <a:pt x="74" y="71"/>
                  </a:lnTo>
                  <a:lnTo>
                    <a:pt x="46" y="3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aphicFrame>
        <p:nvGraphicFramePr>
          <p:cNvPr id="43" name="Table 43">
            <a:extLst>
              <a:ext uri="{FF2B5EF4-FFF2-40B4-BE49-F238E27FC236}">
                <a16:creationId xmlns:a16="http://schemas.microsoft.com/office/drawing/2014/main" id="{FEECA417-EE2F-4E16-B48D-18D8120C4C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2280475"/>
              </p:ext>
            </p:extLst>
          </p:nvPr>
        </p:nvGraphicFramePr>
        <p:xfrm>
          <a:off x="442912" y="3443744"/>
          <a:ext cx="11306175" cy="2570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8725">
                  <a:extLst>
                    <a:ext uri="{9D8B030D-6E8A-4147-A177-3AD203B41FA5}">
                      <a16:colId xmlns:a16="http://schemas.microsoft.com/office/drawing/2014/main" val="1059426344"/>
                    </a:ext>
                  </a:extLst>
                </a:gridCol>
                <a:gridCol w="3768725">
                  <a:extLst>
                    <a:ext uri="{9D8B030D-6E8A-4147-A177-3AD203B41FA5}">
                      <a16:colId xmlns:a16="http://schemas.microsoft.com/office/drawing/2014/main" val="3745681821"/>
                    </a:ext>
                  </a:extLst>
                </a:gridCol>
                <a:gridCol w="3768725">
                  <a:extLst>
                    <a:ext uri="{9D8B030D-6E8A-4147-A177-3AD203B41FA5}">
                      <a16:colId xmlns:a16="http://schemas.microsoft.com/office/drawing/2014/main" val="2959153207"/>
                    </a:ext>
                  </a:extLst>
                </a:gridCol>
              </a:tblGrid>
              <a:tr h="257026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de-DE" sz="1600" dirty="0"/>
                    </a:p>
                  </a:txBody>
                  <a:tcPr marL="252000" marR="252000" marT="360000" marB="360000" anchor="ctr">
                    <a:lnR w="3810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dash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de-DE" sz="1600" dirty="0"/>
                    </a:p>
                  </a:txBody>
                  <a:tcPr marL="252000" marR="252000" marT="360000" marB="360000" anchor="ctr">
                    <a:lnL w="3810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dashDot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dashDot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endParaRPr lang="de-DE" sz="1600" dirty="0"/>
                    </a:p>
                  </a:txBody>
                  <a:tcPr marL="252000" marR="252000" marT="360000" marB="360000" anchor="ctr">
                    <a:lnL w="38100" cap="flat" cmpd="sng" algn="ctr"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prstDash val="dashDot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2209137"/>
                  </a:ext>
                </a:extLst>
              </a:tr>
            </a:tbl>
          </a:graphicData>
        </a:graphic>
      </p:graphicFrame>
      <p:sp>
        <p:nvSpPr>
          <p:cNvPr id="45" name="Rechteck 10">
            <a:extLst>
              <a:ext uri="{FF2B5EF4-FFF2-40B4-BE49-F238E27FC236}">
                <a16:creationId xmlns:a16="http://schemas.microsoft.com/office/drawing/2014/main" id="{FADFF2EF-43CF-40AF-81F6-FEDD0879D04D}"/>
              </a:ext>
            </a:extLst>
          </p:cNvPr>
          <p:cNvSpPr/>
          <p:nvPr/>
        </p:nvSpPr>
        <p:spPr>
          <a:xfrm>
            <a:off x="-12700" y="5887432"/>
            <a:ext cx="12192000" cy="27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36000" bIns="36000" rtlCol="0" anchor="t"/>
          <a:lstStyle/>
          <a:p>
            <a:pPr algn="ctr">
              <a:lnSpc>
                <a:spcPct val="100000"/>
              </a:lnSpc>
            </a:pPr>
            <a:endParaRPr lang="de-DE" sz="12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DD4C9DD-78B2-475F-8193-0587127A19CD}"/>
              </a:ext>
            </a:extLst>
          </p:cNvPr>
          <p:cNvSpPr txBox="1"/>
          <p:nvPr/>
        </p:nvSpPr>
        <p:spPr>
          <a:xfrm>
            <a:off x="442913" y="4012690"/>
            <a:ext cx="3772248" cy="1432508"/>
          </a:xfrm>
          <a:prstGeom prst="rect">
            <a:avLst/>
          </a:prstGeom>
          <a:noFill/>
          <a:ln>
            <a:noFill/>
          </a:ln>
        </p:spPr>
        <p:txBody>
          <a:bodyPr wrap="square" lIns="252000" tIns="0" rIns="252000" b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600" b="1" dirty="0">
                <a:solidFill>
                  <a:schemeClr val="accent3"/>
                </a:solidFill>
              </a:rPr>
              <a:t>Notifikation aller betroffenen Staaten (Einfuhr- und Durchfuhrstaaten)</a:t>
            </a:r>
          </a:p>
          <a:p>
            <a:pPr algn="ctr">
              <a:lnSpc>
                <a:spcPct val="150000"/>
              </a:lnSpc>
            </a:pPr>
            <a:endParaRPr lang="de-DE" sz="1600" b="1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AB59FF-408E-4C5C-B575-0C4D88BFD411}"/>
              </a:ext>
            </a:extLst>
          </p:cNvPr>
          <p:cNvSpPr txBox="1"/>
          <p:nvPr/>
        </p:nvSpPr>
        <p:spPr>
          <a:xfrm>
            <a:off x="4215161" y="3422134"/>
            <a:ext cx="3772248" cy="2570400"/>
          </a:xfrm>
          <a:prstGeom prst="rect">
            <a:avLst/>
          </a:prstGeom>
          <a:noFill/>
          <a:ln>
            <a:noFill/>
          </a:ln>
        </p:spPr>
        <p:txBody>
          <a:bodyPr wrap="square" lIns="252000" tIns="0" rIns="252000" b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600" b="1" dirty="0">
                <a:solidFill>
                  <a:schemeClr val="accent4"/>
                </a:solidFill>
              </a:rPr>
              <a:t>Zustimmung der betroffenen Staaten (Einfuhr- und Durchfuhrstaaten) </a:t>
            </a:r>
          </a:p>
          <a:p>
            <a:pPr algn="ctr">
              <a:lnSpc>
                <a:spcPct val="150000"/>
              </a:lnSpc>
            </a:pPr>
            <a:endParaRPr lang="de-DE" sz="1600" b="1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B20400-A7FB-4B20-934B-1B94ADAE7C75}"/>
              </a:ext>
            </a:extLst>
          </p:cNvPr>
          <p:cNvSpPr txBox="1"/>
          <p:nvPr/>
        </p:nvSpPr>
        <p:spPr>
          <a:xfrm>
            <a:off x="7987409" y="3536826"/>
            <a:ext cx="3772248" cy="2570400"/>
          </a:xfrm>
          <a:prstGeom prst="rect">
            <a:avLst/>
          </a:prstGeom>
          <a:noFill/>
          <a:ln>
            <a:noFill/>
          </a:ln>
        </p:spPr>
        <p:txBody>
          <a:bodyPr wrap="square" lIns="252000" tIns="0" rIns="252000" b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600" b="1" dirty="0">
                <a:solidFill>
                  <a:schemeClr val="accent5"/>
                </a:solidFill>
              </a:rPr>
              <a:t>Vertrag zwischen Ausfuhrstaat und Einfuhrstaat über die umweltgerechte Behandlung der Abfälle </a:t>
            </a:r>
          </a:p>
          <a:p>
            <a:pPr algn="ctr">
              <a:lnSpc>
                <a:spcPct val="150000"/>
              </a:lnSpc>
            </a:pPr>
            <a:endParaRPr lang="de-DE" sz="1600" b="1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5728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11" grpId="0" animBg="1"/>
      <p:bldP spid="45" grpId="0" animBg="1"/>
      <p:bldP spid="3" grpId="0"/>
      <p:bldP spid="5" grpId="0"/>
      <p:bldP spid="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Freeform 92">
            <a:extLst>
              <a:ext uri="{FF2B5EF4-FFF2-40B4-BE49-F238E27FC236}">
                <a16:creationId xmlns:a16="http://schemas.microsoft.com/office/drawing/2014/main" id="{74BE6497-7402-4E97-80FF-72DA150C7FA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44529" y="4409677"/>
            <a:ext cx="647613" cy="648000"/>
          </a:xfrm>
          <a:custGeom>
            <a:avLst/>
            <a:gdLst>
              <a:gd name="T0" fmla="*/ 0 w 6682"/>
              <a:gd name="T1" fmla="*/ 0 h 6686"/>
              <a:gd name="T2" fmla="*/ 0 w 6682"/>
              <a:gd name="T3" fmla="*/ 6686 h 6686"/>
              <a:gd name="T4" fmla="*/ 6682 w 6682"/>
              <a:gd name="T5" fmla="*/ 6686 h 6686"/>
              <a:gd name="T6" fmla="*/ 6682 w 6682"/>
              <a:gd name="T7" fmla="*/ 0 h 6686"/>
              <a:gd name="T8" fmla="*/ 0 w 6682"/>
              <a:gd name="T9" fmla="*/ 0 h 6686"/>
              <a:gd name="T10" fmla="*/ 6396 w 6682"/>
              <a:gd name="T11" fmla="*/ 6402 h 6686"/>
              <a:gd name="T12" fmla="*/ 488 w 6682"/>
              <a:gd name="T13" fmla="*/ 6402 h 6686"/>
              <a:gd name="T14" fmla="*/ 3017 w 6682"/>
              <a:gd name="T15" fmla="*/ 3871 h 6686"/>
              <a:gd name="T16" fmla="*/ 4181 w 6682"/>
              <a:gd name="T17" fmla="*/ 5036 h 6686"/>
              <a:gd name="T18" fmla="*/ 5590 w 6682"/>
              <a:gd name="T19" fmla="*/ 3625 h 6686"/>
              <a:gd name="T20" fmla="*/ 3059 w 6682"/>
              <a:gd name="T21" fmla="*/ 1092 h 6686"/>
              <a:gd name="T22" fmla="*/ 1650 w 6682"/>
              <a:gd name="T23" fmla="*/ 2503 h 6686"/>
              <a:gd name="T24" fmla="*/ 2815 w 6682"/>
              <a:gd name="T25" fmla="*/ 3669 h 6686"/>
              <a:gd name="T26" fmla="*/ 284 w 6682"/>
              <a:gd name="T27" fmla="*/ 6202 h 6686"/>
              <a:gd name="T28" fmla="*/ 284 w 6682"/>
              <a:gd name="T29" fmla="*/ 284 h 6686"/>
              <a:gd name="T30" fmla="*/ 6396 w 6682"/>
              <a:gd name="T31" fmla="*/ 284 h 6686"/>
              <a:gd name="T32" fmla="*/ 6396 w 6682"/>
              <a:gd name="T33" fmla="*/ 6402 h 6686"/>
              <a:gd name="T34" fmla="*/ 2051 w 6682"/>
              <a:gd name="T35" fmla="*/ 2503 h 6686"/>
              <a:gd name="T36" fmla="*/ 3059 w 6682"/>
              <a:gd name="T37" fmla="*/ 1494 h 6686"/>
              <a:gd name="T38" fmla="*/ 3273 w 6682"/>
              <a:gd name="T39" fmla="*/ 1711 h 6686"/>
              <a:gd name="T40" fmla="*/ 2267 w 6682"/>
              <a:gd name="T41" fmla="*/ 2717 h 6686"/>
              <a:gd name="T42" fmla="*/ 2051 w 6682"/>
              <a:gd name="T43" fmla="*/ 2503 h 6686"/>
              <a:gd name="T44" fmla="*/ 3473 w 6682"/>
              <a:gd name="T45" fmla="*/ 1911 h 6686"/>
              <a:gd name="T46" fmla="*/ 4781 w 6682"/>
              <a:gd name="T47" fmla="*/ 3219 h 6686"/>
              <a:gd name="T48" fmla="*/ 3775 w 6682"/>
              <a:gd name="T49" fmla="*/ 4225 h 6686"/>
              <a:gd name="T50" fmla="*/ 2467 w 6682"/>
              <a:gd name="T51" fmla="*/ 2917 h 6686"/>
              <a:gd name="T52" fmla="*/ 3473 w 6682"/>
              <a:gd name="T53" fmla="*/ 1911 h 6686"/>
              <a:gd name="T54" fmla="*/ 5186 w 6682"/>
              <a:gd name="T55" fmla="*/ 3625 h 6686"/>
              <a:gd name="T56" fmla="*/ 4181 w 6682"/>
              <a:gd name="T57" fmla="*/ 4631 h 6686"/>
              <a:gd name="T58" fmla="*/ 3975 w 6682"/>
              <a:gd name="T59" fmla="*/ 4427 h 6686"/>
              <a:gd name="T60" fmla="*/ 4983 w 6682"/>
              <a:gd name="T61" fmla="*/ 3421 h 6686"/>
              <a:gd name="T62" fmla="*/ 5186 w 6682"/>
              <a:gd name="T63" fmla="*/ 3625 h 66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682" h="6686">
                <a:moveTo>
                  <a:pt x="0" y="0"/>
                </a:moveTo>
                <a:lnTo>
                  <a:pt x="0" y="6686"/>
                </a:lnTo>
                <a:lnTo>
                  <a:pt x="6682" y="6686"/>
                </a:lnTo>
                <a:lnTo>
                  <a:pt x="6682" y="0"/>
                </a:lnTo>
                <a:lnTo>
                  <a:pt x="0" y="0"/>
                </a:lnTo>
                <a:close/>
                <a:moveTo>
                  <a:pt x="6396" y="6402"/>
                </a:moveTo>
                <a:lnTo>
                  <a:pt x="488" y="6402"/>
                </a:lnTo>
                <a:lnTo>
                  <a:pt x="3017" y="3871"/>
                </a:lnTo>
                <a:lnTo>
                  <a:pt x="4181" y="5036"/>
                </a:lnTo>
                <a:lnTo>
                  <a:pt x="5590" y="3625"/>
                </a:lnTo>
                <a:lnTo>
                  <a:pt x="3059" y="1092"/>
                </a:lnTo>
                <a:lnTo>
                  <a:pt x="1650" y="2503"/>
                </a:lnTo>
                <a:lnTo>
                  <a:pt x="2815" y="3669"/>
                </a:lnTo>
                <a:lnTo>
                  <a:pt x="284" y="6202"/>
                </a:lnTo>
                <a:lnTo>
                  <a:pt x="284" y="284"/>
                </a:lnTo>
                <a:lnTo>
                  <a:pt x="6396" y="284"/>
                </a:lnTo>
                <a:lnTo>
                  <a:pt x="6396" y="6402"/>
                </a:lnTo>
                <a:close/>
                <a:moveTo>
                  <a:pt x="2051" y="2503"/>
                </a:moveTo>
                <a:lnTo>
                  <a:pt x="3059" y="1494"/>
                </a:lnTo>
                <a:lnTo>
                  <a:pt x="3273" y="1711"/>
                </a:lnTo>
                <a:lnTo>
                  <a:pt x="2267" y="2717"/>
                </a:lnTo>
                <a:lnTo>
                  <a:pt x="2051" y="2503"/>
                </a:lnTo>
                <a:close/>
                <a:moveTo>
                  <a:pt x="3473" y="1911"/>
                </a:moveTo>
                <a:lnTo>
                  <a:pt x="4781" y="3219"/>
                </a:lnTo>
                <a:lnTo>
                  <a:pt x="3775" y="4225"/>
                </a:lnTo>
                <a:lnTo>
                  <a:pt x="2467" y="2917"/>
                </a:lnTo>
                <a:lnTo>
                  <a:pt x="3473" y="1911"/>
                </a:lnTo>
                <a:close/>
                <a:moveTo>
                  <a:pt x="5186" y="3625"/>
                </a:moveTo>
                <a:lnTo>
                  <a:pt x="4181" y="4631"/>
                </a:lnTo>
                <a:lnTo>
                  <a:pt x="3975" y="4427"/>
                </a:lnTo>
                <a:lnTo>
                  <a:pt x="4983" y="3421"/>
                </a:lnTo>
                <a:lnTo>
                  <a:pt x="5186" y="3625"/>
                </a:lnTo>
                <a:close/>
              </a:path>
            </a:pathLst>
          </a:cu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261BC09-9C3F-4F69-8264-AA2ACC9B0DFD}"/>
              </a:ext>
            </a:extLst>
          </p:cNvPr>
          <p:cNvGrpSpPr>
            <a:grpSpLocks noChangeAspect="1"/>
          </p:cNvGrpSpPr>
          <p:nvPr/>
        </p:nvGrpSpPr>
        <p:grpSpPr>
          <a:xfrm>
            <a:off x="444142" y="3250550"/>
            <a:ext cx="648000" cy="648000"/>
            <a:chOff x="3162300" y="1958975"/>
            <a:chExt cx="123825" cy="122238"/>
          </a:xfrm>
          <a:solidFill>
            <a:schemeClr val="accent3"/>
          </a:solidFill>
        </p:grpSpPr>
        <p:sp>
          <p:nvSpPr>
            <p:cNvPr id="33" name="Freeform 133">
              <a:extLst>
                <a:ext uri="{FF2B5EF4-FFF2-40B4-BE49-F238E27FC236}">
                  <a16:creationId xmlns:a16="http://schemas.microsoft.com/office/drawing/2014/main" id="{B2A293C5-C6BB-4037-B0C8-1E61852812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1350" y="1982788"/>
              <a:ext cx="85725" cy="73025"/>
            </a:xfrm>
            <a:custGeom>
              <a:avLst/>
              <a:gdLst>
                <a:gd name="T0" fmla="*/ 199 w 398"/>
                <a:gd name="T1" fmla="*/ 0 h 340"/>
                <a:gd name="T2" fmla="*/ 179 w 398"/>
                <a:gd name="T3" fmla="*/ 11 h 340"/>
                <a:gd name="T4" fmla="*/ 9 w 398"/>
                <a:gd name="T5" fmla="*/ 306 h 340"/>
                <a:gd name="T6" fmla="*/ 29 w 398"/>
                <a:gd name="T7" fmla="*/ 340 h 340"/>
                <a:gd name="T8" fmla="*/ 369 w 398"/>
                <a:gd name="T9" fmla="*/ 340 h 340"/>
                <a:gd name="T10" fmla="*/ 389 w 398"/>
                <a:gd name="T11" fmla="*/ 306 h 340"/>
                <a:gd name="T12" fmla="*/ 219 w 398"/>
                <a:gd name="T13" fmla="*/ 11 h 340"/>
                <a:gd name="T14" fmla="*/ 199 w 398"/>
                <a:gd name="T15" fmla="*/ 0 h 340"/>
                <a:gd name="T16" fmla="*/ 31 w 398"/>
                <a:gd name="T17" fmla="*/ 316 h 340"/>
                <a:gd name="T18" fmla="*/ 199 w 398"/>
                <a:gd name="T19" fmla="*/ 25 h 340"/>
                <a:gd name="T20" fmla="*/ 367 w 398"/>
                <a:gd name="T21" fmla="*/ 316 h 340"/>
                <a:gd name="T22" fmla="*/ 31 w 398"/>
                <a:gd name="T23" fmla="*/ 316 h 340"/>
                <a:gd name="T24" fmla="*/ 187 w 398"/>
                <a:gd name="T25" fmla="*/ 123 h 340"/>
                <a:gd name="T26" fmla="*/ 187 w 398"/>
                <a:gd name="T27" fmla="*/ 223 h 340"/>
                <a:gd name="T28" fmla="*/ 211 w 398"/>
                <a:gd name="T29" fmla="*/ 223 h 340"/>
                <a:gd name="T30" fmla="*/ 211 w 398"/>
                <a:gd name="T31" fmla="*/ 123 h 340"/>
                <a:gd name="T32" fmla="*/ 187 w 398"/>
                <a:gd name="T33" fmla="*/ 123 h 340"/>
                <a:gd name="T34" fmla="*/ 181 w 398"/>
                <a:gd name="T35" fmla="*/ 266 h 340"/>
                <a:gd name="T36" fmla="*/ 199 w 398"/>
                <a:gd name="T37" fmla="*/ 284 h 340"/>
                <a:gd name="T38" fmla="*/ 217 w 398"/>
                <a:gd name="T39" fmla="*/ 266 h 340"/>
                <a:gd name="T40" fmla="*/ 199 w 398"/>
                <a:gd name="T41" fmla="*/ 248 h 340"/>
                <a:gd name="T42" fmla="*/ 181 w 398"/>
                <a:gd name="T43" fmla="*/ 266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8" h="340">
                  <a:moveTo>
                    <a:pt x="199" y="0"/>
                  </a:moveTo>
                  <a:cubicBezTo>
                    <a:pt x="191" y="0"/>
                    <a:pt x="183" y="4"/>
                    <a:pt x="179" y="11"/>
                  </a:cubicBezTo>
                  <a:cubicBezTo>
                    <a:pt x="9" y="306"/>
                    <a:pt x="9" y="306"/>
                    <a:pt x="9" y="306"/>
                  </a:cubicBezTo>
                  <a:cubicBezTo>
                    <a:pt x="0" y="321"/>
                    <a:pt x="11" y="340"/>
                    <a:pt x="29" y="340"/>
                  </a:cubicBezTo>
                  <a:cubicBezTo>
                    <a:pt x="369" y="340"/>
                    <a:pt x="369" y="340"/>
                    <a:pt x="369" y="340"/>
                  </a:cubicBezTo>
                  <a:cubicBezTo>
                    <a:pt x="387" y="340"/>
                    <a:pt x="398" y="321"/>
                    <a:pt x="389" y="306"/>
                  </a:cubicBezTo>
                  <a:cubicBezTo>
                    <a:pt x="219" y="11"/>
                    <a:pt x="219" y="11"/>
                    <a:pt x="219" y="11"/>
                  </a:cubicBezTo>
                  <a:cubicBezTo>
                    <a:pt x="215" y="4"/>
                    <a:pt x="207" y="0"/>
                    <a:pt x="199" y="0"/>
                  </a:cubicBezTo>
                  <a:close/>
                  <a:moveTo>
                    <a:pt x="31" y="316"/>
                  </a:moveTo>
                  <a:cubicBezTo>
                    <a:pt x="199" y="25"/>
                    <a:pt x="199" y="25"/>
                    <a:pt x="199" y="25"/>
                  </a:cubicBezTo>
                  <a:cubicBezTo>
                    <a:pt x="367" y="316"/>
                    <a:pt x="367" y="316"/>
                    <a:pt x="367" y="316"/>
                  </a:cubicBezTo>
                  <a:lnTo>
                    <a:pt x="31" y="316"/>
                  </a:lnTo>
                  <a:close/>
                  <a:moveTo>
                    <a:pt x="187" y="123"/>
                  </a:moveTo>
                  <a:cubicBezTo>
                    <a:pt x="187" y="223"/>
                    <a:pt x="187" y="223"/>
                    <a:pt x="187" y="223"/>
                  </a:cubicBezTo>
                  <a:cubicBezTo>
                    <a:pt x="211" y="223"/>
                    <a:pt x="211" y="223"/>
                    <a:pt x="211" y="223"/>
                  </a:cubicBezTo>
                  <a:cubicBezTo>
                    <a:pt x="211" y="123"/>
                    <a:pt x="211" y="123"/>
                    <a:pt x="211" y="123"/>
                  </a:cubicBezTo>
                  <a:lnTo>
                    <a:pt x="187" y="123"/>
                  </a:lnTo>
                  <a:close/>
                  <a:moveTo>
                    <a:pt x="181" y="266"/>
                  </a:moveTo>
                  <a:cubicBezTo>
                    <a:pt x="181" y="276"/>
                    <a:pt x="189" y="284"/>
                    <a:pt x="199" y="284"/>
                  </a:cubicBezTo>
                  <a:cubicBezTo>
                    <a:pt x="209" y="284"/>
                    <a:pt x="217" y="276"/>
                    <a:pt x="217" y="266"/>
                  </a:cubicBezTo>
                  <a:cubicBezTo>
                    <a:pt x="217" y="256"/>
                    <a:pt x="209" y="248"/>
                    <a:pt x="199" y="248"/>
                  </a:cubicBezTo>
                  <a:cubicBezTo>
                    <a:pt x="189" y="248"/>
                    <a:pt x="181" y="256"/>
                    <a:pt x="181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34">
              <a:extLst>
                <a:ext uri="{FF2B5EF4-FFF2-40B4-BE49-F238E27FC236}">
                  <a16:creationId xmlns:a16="http://schemas.microsoft.com/office/drawing/2014/main" id="{8FD7F89C-FF7D-40AA-BACA-0E17DA19E8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62300" y="1958975"/>
              <a:ext cx="123825" cy="122238"/>
            </a:xfrm>
            <a:custGeom>
              <a:avLst/>
              <a:gdLst>
                <a:gd name="T0" fmla="*/ 0 w 78"/>
                <a:gd name="T1" fmla="*/ 0 h 77"/>
                <a:gd name="T2" fmla="*/ 0 w 78"/>
                <a:gd name="T3" fmla="*/ 77 h 77"/>
                <a:gd name="T4" fmla="*/ 78 w 78"/>
                <a:gd name="T5" fmla="*/ 77 h 77"/>
                <a:gd name="T6" fmla="*/ 78 w 78"/>
                <a:gd name="T7" fmla="*/ 0 h 77"/>
                <a:gd name="T8" fmla="*/ 0 w 78"/>
                <a:gd name="T9" fmla="*/ 0 h 77"/>
                <a:gd name="T10" fmla="*/ 74 w 78"/>
                <a:gd name="T11" fmla="*/ 74 h 77"/>
                <a:gd name="T12" fmla="*/ 3 w 78"/>
                <a:gd name="T13" fmla="*/ 74 h 77"/>
                <a:gd name="T14" fmla="*/ 3 w 78"/>
                <a:gd name="T15" fmla="*/ 3 h 77"/>
                <a:gd name="T16" fmla="*/ 74 w 78"/>
                <a:gd name="T17" fmla="*/ 3 h 77"/>
                <a:gd name="T18" fmla="*/ 74 w 78"/>
                <a:gd name="T19" fmla="*/ 7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7">
                  <a:moveTo>
                    <a:pt x="0" y="0"/>
                  </a:moveTo>
                  <a:lnTo>
                    <a:pt x="0" y="77"/>
                  </a:lnTo>
                  <a:lnTo>
                    <a:pt x="78" y="77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0ED65C8-7554-45DA-AA47-D52C6465819C}"/>
              </a:ext>
            </a:extLst>
          </p:cNvPr>
          <p:cNvGrpSpPr>
            <a:grpSpLocks noChangeAspect="1"/>
          </p:cNvGrpSpPr>
          <p:nvPr/>
        </p:nvGrpSpPr>
        <p:grpSpPr>
          <a:xfrm>
            <a:off x="432518" y="2097710"/>
            <a:ext cx="648000" cy="648000"/>
            <a:chOff x="4640263" y="1958975"/>
            <a:chExt cx="123825" cy="122238"/>
          </a:xfrm>
          <a:solidFill>
            <a:schemeClr val="accent3"/>
          </a:solidFill>
        </p:grpSpPr>
        <p:sp>
          <p:nvSpPr>
            <p:cNvPr id="30" name="Freeform 150">
              <a:extLst>
                <a:ext uri="{FF2B5EF4-FFF2-40B4-BE49-F238E27FC236}">
                  <a16:creationId xmlns:a16="http://schemas.microsoft.com/office/drawing/2014/main" id="{BD48B2A1-21A1-4B60-80FD-DFB704A583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3600" y="1976438"/>
              <a:ext cx="63500" cy="84138"/>
            </a:xfrm>
            <a:custGeom>
              <a:avLst/>
              <a:gdLst>
                <a:gd name="T0" fmla="*/ 264 w 300"/>
                <a:gd name="T1" fmla="*/ 157 h 398"/>
                <a:gd name="T2" fmla="*/ 197 w 300"/>
                <a:gd name="T3" fmla="*/ 157 h 398"/>
                <a:gd name="T4" fmla="*/ 162 w 300"/>
                <a:gd name="T5" fmla="*/ 119 h 398"/>
                <a:gd name="T6" fmla="*/ 162 w 300"/>
                <a:gd name="T7" fmla="*/ 37 h 398"/>
                <a:gd name="T8" fmla="*/ 126 w 300"/>
                <a:gd name="T9" fmla="*/ 0 h 398"/>
                <a:gd name="T10" fmla="*/ 101 w 300"/>
                <a:gd name="T11" fmla="*/ 0 h 398"/>
                <a:gd name="T12" fmla="*/ 86 w 300"/>
                <a:gd name="T13" fmla="*/ 13 h 398"/>
                <a:gd name="T14" fmla="*/ 86 w 300"/>
                <a:gd name="T15" fmla="*/ 61 h 398"/>
                <a:gd name="T16" fmla="*/ 65 w 300"/>
                <a:gd name="T17" fmla="*/ 128 h 398"/>
                <a:gd name="T18" fmla="*/ 13 w 300"/>
                <a:gd name="T19" fmla="*/ 159 h 398"/>
                <a:gd name="T20" fmla="*/ 0 w 300"/>
                <a:gd name="T21" fmla="*/ 159 h 398"/>
                <a:gd name="T22" fmla="*/ 0 w 300"/>
                <a:gd name="T23" fmla="*/ 370 h 398"/>
                <a:gd name="T24" fmla="*/ 14 w 300"/>
                <a:gd name="T25" fmla="*/ 370 h 398"/>
                <a:gd name="T26" fmla="*/ 83 w 300"/>
                <a:gd name="T27" fmla="*/ 384 h 398"/>
                <a:gd name="T28" fmla="*/ 157 w 300"/>
                <a:gd name="T29" fmla="*/ 398 h 398"/>
                <a:gd name="T30" fmla="*/ 300 w 300"/>
                <a:gd name="T31" fmla="*/ 307 h 398"/>
                <a:gd name="T32" fmla="*/ 300 w 300"/>
                <a:gd name="T33" fmla="*/ 192 h 398"/>
                <a:gd name="T34" fmla="*/ 264 w 300"/>
                <a:gd name="T35" fmla="*/ 157 h 398"/>
                <a:gd name="T36" fmla="*/ 197 w 300"/>
                <a:gd name="T37" fmla="*/ 182 h 398"/>
                <a:gd name="T38" fmla="*/ 264 w 300"/>
                <a:gd name="T39" fmla="*/ 182 h 398"/>
                <a:gd name="T40" fmla="*/ 276 w 300"/>
                <a:gd name="T41" fmla="*/ 192 h 398"/>
                <a:gd name="T42" fmla="*/ 276 w 300"/>
                <a:gd name="T43" fmla="*/ 307 h 398"/>
                <a:gd name="T44" fmla="*/ 247 w 300"/>
                <a:gd name="T45" fmla="*/ 358 h 398"/>
                <a:gd name="T46" fmla="*/ 157 w 300"/>
                <a:gd name="T47" fmla="*/ 373 h 398"/>
                <a:gd name="T48" fmla="*/ 91 w 300"/>
                <a:gd name="T49" fmla="*/ 361 h 398"/>
                <a:gd name="T50" fmla="*/ 87 w 300"/>
                <a:gd name="T51" fmla="*/ 359 h 398"/>
                <a:gd name="T52" fmla="*/ 24 w 300"/>
                <a:gd name="T53" fmla="*/ 345 h 398"/>
                <a:gd name="T54" fmla="*/ 24 w 300"/>
                <a:gd name="T55" fmla="*/ 181 h 398"/>
                <a:gd name="T56" fmla="*/ 84 w 300"/>
                <a:gd name="T57" fmla="*/ 144 h 398"/>
                <a:gd name="T58" fmla="*/ 111 w 300"/>
                <a:gd name="T59" fmla="*/ 61 h 398"/>
                <a:gd name="T60" fmla="*/ 111 w 300"/>
                <a:gd name="T61" fmla="*/ 25 h 398"/>
                <a:gd name="T62" fmla="*/ 126 w 300"/>
                <a:gd name="T63" fmla="*/ 25 h 398"/>
                <a:gd name="T64" fmla="*/ 138 w 300"/>
                <a:gd name="T65" fmla="*/ 37 h 398"/>
                <a:gd name="T66" fmla="*/ 138 w 300"/>
                <a:gd name="T67" fmla="*/ 119 h 398"/>
                <a:gd name="T68" fmla="*/ 197 w 300"/>
                <a:gd name="T69" fmla="*/ 18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0" h="398">
                  <a:moveTo>
                    <a:pt x="264" y="157"/>
                  </a:moveTo>
                  <a:cubicBezTo>
                    <a:pt x="197" y="157"/>
                    <a:pt x="197" y="157"/>
                    <a:pt x="197" y="157"/>
                  </a:cubicBezTo>
                  <a:cubicBezTo>
                    <a:pt x="179" y="157"/>
                    <a:pt x="162" y="139"/>
                    <a:pt x="162" y="119"/>
                  </a:cubicBezTo>
                  <a:cubicBezTo>
                    <a:pt x="162" y="37"/>
                    <a:pt x="162" y="37"/>
                    <a:pt x="162" y="37"/>
                  </a:cubicBezTo>
                  <a:cubicBezTo>
                    <a:pt x="162" y="16"/>
                    <a:pt x="146" y="0"/>
                    <a:pt x="12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93" y="0"/>
                    <a:pt x="86" y="6"/>
                    <a:pt x="86" y="13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85"/>
                    <a:pt x="79" y="109"/>
                    <a:pt x="65" y="128"/>
                  </a:cubicBezTo>
                  <a:cubicBezTo>
                    <a:pt x="51" y="148"/>
                    <a:pt x="33" y="159"/>
                    <a:pt x="13" y="159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0" y="370"/>
                    <a:pt x="0" y="370"/>
                    <a:pt x="0" y="370"/>
                  </a:cubicBezTo>
                  <a:cubicBezTo>
                    <a:pt x="14" y="370"/>
                    <a:pt x="14" y="370"/>
                    <a:pt x="14" y="370"/>
                  </a:cubicBezTo>
                  <a:cubicBezTo>
                    <a:pt x="44" y="371"/>
                    <a:pt x="64" y="377"/>
                    <a:pt x="83" y="384"/>
                  </a:cubicBezTo>
                  <a:cubicBezTo>
                    <a:pt x="104" y="391"/>
                    <a:pt x="125" y="398"/>
                    <a:pt x="157" y="398"/>
                  </a:cubicBezTo>
                  <a:cubicBezTo>
                    <a:pt x="224" y="398"/>
                    <a:pt x="300" y="387"/>
                    <a:pt x="300" y="307"/>
                  </a:cubicBezTo>
                  <a:cubicBezTo>
                    <a:pt x="300" y="192"/>
                    <a:pt x="300" y="192"/>
                    <a:pt x="300" y="192"/>
                  </a:cubicBezTo>
                  <a:cubicBezTo>
                    <a:pt x="300" y="173"/>
                    <a:pt x="283" y="157"/>
                    <a:pt x="264" y="157"/>
                  </a:cubicBezTo>
                  <a:close/>
                  <a:moveTo>
                    <a:pt x="197" y="182"/>
                  </a:moveTo>
                  <a:cubicBezTo>
                    <a:pt x="264" y="182"/>
                    <a:pt x="264" y="182"/>
                    <a:pt x="264" y="182"/>
                  </a:cubicBezTo>
                  <a:cubicBezTo>
                    <a:pt x="270" y="182"/>
                    <a:pt x="276" y="187"/>
                    <a:pt x="276" y="192"/>
                  </a:cubicBezTo>
                  <a:cubicBezTo>
                    <a:pt x="276" y="307"/>
                    <a:pt x="276" y="307"/>
                    <a:pt x="276" y="307"/>
                  </a:cubicBezTo>
                  <a:cubicBezTo>
                    <a:pt x="276" y="331"/>
                    <a:pt x="266" y="347"/>
                    <a:pt x="247" y="358"/>
                  </a:cubicBezTo>
                  <a:cubicBezTo>
                    <a:pt x="228" y="368"/>
                    <a:pt x="199" y="373"/>
                    <a:pt x="157" y="373"/>
                  </a:cubicBezTo>
                  <a:cubicBezTo>
                    <a:pt x="129" y="373"/>
                    <a:pt x="112" y="367"/>
                    <a:pt x="91" y="361"/>
                  </a:cubicBezTo>
                  <a:cubicBezTo>
                    <a:pt x="87" y="359"/>
                    <a:pt x="87" y="359"/>
                    <a:pt x="87" y="359"/>
                  </a:cubicBezTo>
                  <a:cubicBezTo>
                    <a:pt x="70" y="354"/>
                    <a:pt x="50" y="347"/>
                    <a:pt x="24" y="345"/>
                  </a:cubicBezTo>
                  <a:cubicBezTo>
                    <a:pt x="24" y="181"/>
                    <a:pt x="24" y="181"/>
                    <a:pt x="24" y="181"/>
                  </a:cubicBezTo>
                  <a:cubicBezTo>
                    <a:pt x="47" y="178"/>
                    <a:pt x="68" y="165"/>
                    <a:pt x="84" y="144"/>
                  </a:cubicBezTo>
                  <a:cubicBezTo>
                    <a:pt x="101" y="122"/>
                    <a:pt x="111" y="93"/>
                    <a:pt x="111" y="61"/>
                  </a:cubicBezTo>
                  <a:cubicBezTo>
                    <a:pt x="111" y="25"/>
                    <a:pt x="111" y="25"/>
                    <a:pt x="111" y="25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133" y="25"/>
                    <a:pt x="138" y="30"/>
                    <a:pt x="138" y="37"/>
                  </a:cubicBezTo>
                  <a:cubicBezTo>
                    <a:pt x="138" y="119"/>
                    <a:pt x="138" y="119"/>
                    <a:pt x="138" y="119"/>
                  </a:cubicBezTo>
                  <a:cubicBezTo>
                    <a:pt x="138" y="153"/>
                    <a:pt x="166" y="182"/>
                    <a:pt x="197" y="1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51">
              <a:extLst>
                <a:ext uri="{FF2B5EF4-FFF2-40B4-BE49-F238E27FC236}">
                  <a16:creationId xmlns:a16="http://schemas.microsoft.com/office/drawing/2014/main" id="{0CE3453C-E11D-461E-B3A2-98084088C8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0263" y="1958975"/>
              <a:ext cx="123825" cy="122238"/>
            </a:xfrm>
            <a:custGeom>
              <a:avLst/>
              <a:gdLst>
                <a:gd name="T0" fmla="*/ 0 w 576"/>
                <a:gd name="T1" fmla="*/ 0 h 576"/>
                <a:gd name="T2" fmla="*/ 0 w 576"/>
                <a:gd name="T3" fmla="*/ 266 h 576"/>
                <a:gd name="T4" fmla="*/ 12 w 576"/>
                <a:gd name="T5" fmla="*/ 266 h 576"/>
                <a:gd name="T6" fmla="*/ 25 w 576"/>
                <a:gd name="T7" fmla="*/ 266 h 576"/>
                <a:gd name="T8" fmla="*/ 96 w 576"/>
                <a:gd name="T9" fmla="*/ 266 h 576"/>
                <a:gd name="T10" fmla="*/ 96 w 576"/>
                <a:gd name="T11" fmla="*/ 452 h 576"/>
                <a:gd name="T12" fmla="*/ 84 w 576"/>
                <a:gd name="T13" fmla="*/ 465 h 576"/>
                <a:gd name="T14" fmla="*/ 25 w 576"/>
                <a:gd name="T15" fmla="*/ 465 h 576"/>
                <a:gd name="T16" fmla="*/ 10 w 576"/>
                <a:gd name="T17" fmla="*/ 465 h 576"/>
                <a:gd name="T18" fmla="*/ 0 w 576"/>
                <a:gd name="T19" fmla="*/ 465 h 576"/>
                <a:gd name="T20" fmla="*/ 0 w 576"/>
                <a:gd name="T21" fmla="*/ 576 h 576"/>
                <a:gd name="T22" fmla="*/ 576 w 576"/>
                <a:gd name="T23" fmla="*/ 576 h 576"/>
                <a:gd name="T24" fmla="*/ 576 w 576"/>
                <a:gd name="T25" fmla="*/ 0 h 576"/>
                <a:gd name="T26" fmla="*/ 0 w 576"/>
                <a:gd name="T27" fmla="*/ 0 h 576"/>
                <a:gd name="T28" fmla="*/ 551 w 576"/>
                <a:gd name="T29" fmla="*/ 551 h 576"/>
                <a:gd name="T30" fmla="*/ 25 w 576"/>
                <a:gd name="T31" fmla="*/ 551 h 576"/>
                <a:gd name="T32" fmla="*/ 25 w 576"/>
                <a:gd name="T33" fmla="*/ 488 h 576"/>
                <a:gd name="T34" fmla="*/ 84 w 576"/>
                <a:gd name="T35" fmla="*/ 488 h 576"/>
                <a:gd name="T36" fmla="*/ 119 w 576"/>
                <a:gd name="T37" fmla="*/ 452 h 576"/>
                <a:gd name="T38" fmla="*/ 119 w 576"/>
                <a:gd name="T39" fmla="*/ 242 h 576"/>
                <a:gd name="T40" fmla="*/ 25 w 576"/>
                <a:gd name="T41" fmla="*/ 242 h 576"/>
                <a:gd name="T42" fmla="*/ 25 w 576"/>
                <a:gd name="T43" fmla="*/ 25 h 576"/>
                <a:gd name="T44" fmla="*/ 551 w 576"/>
                <a:gd name="T45" fmla="*/ 25 h 576"/>
                <a:gd name="T46" fmla="*/ 551 w 576"/>
                <a:gd name="T47" fmla="*/ 551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6" h="576">
                  <a:moveTo>
                    <a:pt x="0" y="0"/>
                  </a:moveTo>
                  <a:cubicBezTo>
                    <a:pt x="0" y="266"/>
                    <a:pt x="0" y="266"/>
                    <a:pt x="0" y="266"/>
                  </a:cubicBezTo>
                  <a:cubicBezTo>
                    <a:pt x="12" y="266"/>
                    <a:pt x="12" y="266"/>
                    <a:pt x="12" y="266"/>
                  </a:cubicBezTo>
                  <a:cubicBezTo>
                    <a:pt x="25" y="266"/>
                    <a:pt x="25" y="266"/>
                    <a:pt x="25" y="266"/>
                  </a:cubicBezTo>
                  <a:cubicBezTo>
                    <a:pt x="96" y="266"/>
                    <a:pt x="96" y="266"/>
                    <a:pt x="96" y="266"/>
                  </a:cubicBezTo>
                  <a:cubicBezTo>
                    <a:pt x="96" y="452"/>
                    <a:pt x="96" y="452"/>
                    <a:pt x="96" y="452"/>
                  </a:cubicBezTo>
                  <a:cubicBezTo>
                    <a:pt x="96" y="457"/>
                    <a:pt x="92" y="465"/>
                    <a:pt x="84" y="465"/>
                  </a:cubicBezTo>
                  <a:cubicBezTo>
                    <a:pt x="25" y="465"/>
                    <a:pt x="25" y="465"/>
                    <a:pt x="25" y="465"/>
                  </a:cubicBezTo>
                  <a:cubicBezTo>
                    <a:pt x="10" y="465"/>
                    <a:pt x="10" y="465"/>
                    <a:pt x="10" y="465"/>
                  </a:cubicBezTo>
                  <a:cubicBezTo>
                    <a:pt x="0" y="465"/>
                    <a:pt x="0" y="465"/>
                    <a:pt x="0" y="465"/>
                  </a:cubicBez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551"/>
                  </a:moveTo>
                  <a:cubicBezTo>
                    <a:pt x="25" y="551"/>
                    <a:pt x="25" y="551"/>
                    <a:pt x="25" y="551"/>
                  </a:cubicBezTo>
                  <a:cubicBezTo>
                    <a:pt x="25" y="488"/>
                    <a:pt x="25" y="488"/>
                    <a:pt x="25" y="488"/>
                  </a:cubicBezTo>
                  <a:cubicBezTo>
                    <a:pt x="84" y="488"/>
                    <a:pt x="84" y="488"/>
                    <a:pt x="84" y="488"/>
                  </a:cubicBezTo>
                  <a:cubicBezTo>
                    <a:pt x="105" y="488"/>
                    <a:pt x="119" y="470"/>
                    <a:pt x="119" y="452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25" y="242"/>
                    <a:pt x="25" y="242"/>
                    <a:pt x="25" y="242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551" y="25"/>
                    <a:pt x="551" y="25"/>
                    <a:pt x="551" y="25"/>
                  </a:cubicBezTo>
                  <a:lnTo>
                    <a:pt x="551" y="5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seler Übereinkommen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Wichtige Eckdaten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3C3351-D312-4B96-9D9E-D79CF3416B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 dirty="0"/>
              <a:t>Rechtliche Rahmenbedingungen für deutsche Unternehmen in der Mongolei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A0EC37-9CF9-4EA3-857E-190C1A477E9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26CDC-6ED3-4B5B-B17F-24474E900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484FAE5-C86C-4BC8-8CFC-83724923DB24}"/>
              </a:ext>
            </a:extLst>
          </p:cNvPr>
          <p:cNvSpPr txBox="1">
            <a:spLocks/>
          </p:cNvSpPr>
          <p:nvPr/>
        </p:nvSpPr>
        <p:spPr>
          <a:xfrm>
            <a:off x="1108638" y="2171283"/>
            <a:ext cx="9381562" cy="430887"/>
          </a:xfrm>
          <a:prstGeom prst="rect">
            <a:avLst/>
          </a:prstGeom>
          <a:noFill/>
          <a:ln>
            <a:noFill/>
          </a:ln>
        </p:spPr>
        <p:txBody>
          <a:bodyPr wrap="square" lIns="180000" tIns="0" rIns="0" bIns="0" rtlCol="0" anchor="ctr">
            <a:spAutoFit/>
          </a:bodyPr>
          <a:lstStyle/>
          <a:p>
            <a:r>
              <a:rPr lang="de-DE" sz="1400" dirty="0">
                <a:latin typeface="Georgia" pitchFamily="18" charset="0"/>
                <a:cs typeface="Arial" pitchFamily="34" charset="0"/>
              </a:rPr>
              <a:t>Möglichkeit einer </a:t>
            </a:r>
            <a:r>
              <a:rPr lang="de-DE" sz="1400" b="1" dirty="0">
                <a:solidFill>
                  <a:schemeClr val="accent3"/>
                </a:solidFill>
                <a:latin typeface="Georgia" pitchFamily="18" charset="0"/>
                <a:cs typeface="Arial" pitchFamily="34" charset="0"/>
              </a:rPr>
              <a:t>allgemeinen Notifikation u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nd schriftlicher Zustimmung wiederholter Sendungen von Abfällen für eine Zeitspanne von </a:t>
            </a:r>
            <a:r>
              <a:rPr lang="de-DE" sz="1400" b="1" dirty="0">
                <a:solidFill>
                  <a:schemeClr val="accent3"/>
                </a:solidFill>
                <a:latin typeface="Georgia" pitchFamily="18" charset="0"/>
                <a:cs typeface="Arial" pitchFamily="34" charset="0"/>
              </a:rPr>
              <a:t>höchstens 12 Monaten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E31D65E-A07D-40A1-87C8-CD88A06223BA}"/>
              </a:ext>
            </a:extLst>
          </p:cNvPr>
          <p:cNvSpPr txBox="1">
            <a:spLocks/>
          </p:cNvSpPr>
          <p:nvPr/>
        </p:nvSpPr>
        <p:spPr>
          <a:xfrm>
            <a:off x="1047841" y="3371251"/>
            <a:ext cx="9442359" cy="430887"/>
          </a:xfrm>
          <a:prstGeom prst="rect">
            <a:avLst/>
          </a:prstGeom>
          <a:noFill/>
          <a:ln>
            <a:noFill/>
          </a:ln>
        </p:spPr>
        <p:txBody>
          <a:bodyPr wrap="square" lIns="180000" tIns="0" rIns="0" bIns="0" rtlCol="0" anchor="ctr">
            <a:spAutoFit/>
          </a:bodyPr>
          <a:lstStyle/>
          <a:p>
            <a:r>
              <a:rPr lang="de-DE" sz="1400" b="1" dirty="0">
                <a:solidFill>
                  <a:schemeClr val="accent3"/>
                </a:solidFill>
                <a:latin typeface="Georgia" pitchFamily="18" charset="0"/>
                <a:cs typeface="Arial" pitchFamily="34" charset="0"/>
              </a:rPr>
              <a:t>Informationspflicht 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bei Bekanntwerden eines Unfalls, der sich bei der grenzüberschreitenden Verbringung oder bei der Entsorgung von Abfällen ereignet hat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5FC0025-74FF-4E0C-8DA0-2730B9600DEC}"/>
              </a:ext>
            </a:extLst>
          </p:cNvPr>
          <p:cNvSpPr txBox="1">
            <a:spLocks/>
          </p:cNvSpPr>
          <p:nvPr/>
        </p:nvSpPr>
        <p:spPr>
          <a:xfrm>
            <a:off x="1066329" y="4553230"/>
            <a:ext cx="9442359" cy="215444"/>
          </a:xfrm>
          <a:prstGeom prst="rect">
            <a:avLst/>
          </a:prstGeom>
          <a:noFill/>
          <a:ln>
            <a:noFill/>
          </a:ln>
        </p:spPr>
        <p:txBody>
          <a:bodyPr wrap="square" lIns="180000" tIns="0" rIns="0" bIns="0" rtlCol="0" anchor="ctr">
            <a:spAutoFit/>
          </a:bodyPr>
          <a:lstStyle/>
          <a:p>
            <a:r>
              <a:rPr lang="de-DE" sz="1400" dirty="0">
                <a:latin typeface="Georgia" pitchFamily="18" charset="0"/>
                <a:cs typeface="Arial" pitchFamily="34" charset="0"/>
              </a:rPr>
              <a:t>Bei Streitigkeiten zwischen den Vertragsparteien besteht die Möglichkeit eines </a:t>
            </a:r>
            <a:r>
              <a:rPr lang="de-DE" sz="1400" b="1" dirty="0">
                <a:solidFill>
                  <a:schemeClr val="accent3"/>
                </a:solidFill>
                <a:latin typeface="Georgia" pitchFamily="18" charset="0"/>
                <a:cs typeface="Arial" pitchFamily="34" charset="0"/>
              </a:rPr>
              <a:t>Schiedsverfahrens </a:t>
            </a:r>
          </a:p>
        </p:txBody>
      </p:sp>
    </p:spTree>
    <p:extLst>
      <p:ext uri="{BB962C8B-B14F-4D97-AF65-F5344CB8AC3E}">
        <p14:creationId xmlns:p14="http://schemas.microsoft.com/office/powerpoint/2010/main" val="39821630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13" grpId="0"/>
      <p:bldP spid="22" grpId="0"/>
      <p:bldP spid="2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734AF94-92A1-4962-94B8-98312A3AB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400" y="0"/>
            <a:ext cx="5504070" cy="6858000"/>
          </a:xfrm>
        </p:spPr>
        <p:txBody>
          <a:bodyPr anchor="ctr"/>
          <a:lstStyle/>
          <a:p>
            <a:r>
              <a:rPr lang="de-DE" sz="4800" b="1" dirty="0"/>
              <a:t>Mongolisches Recht</a:t>
            </a:r>
            <a:endParaRPr lang="en-GB" sz="4800" b="1" dirty="0"/>
          </a:p>
        </p:txBody>
      </p:sp>
    </p:spTree>
    <p:extLst>
      <p:ext uri="{BB962C8B-B14F-4D97-AF65-F5344CB8AC3E}">
        <p14:creationId xmlns:p14="http://schemas.microsoft.com/office/powerpoint/2010/main" val="52908252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ländische Investitionen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Mögliche Gesellschaftsformen &amp; Investmentrech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3C3351-D312-4B96-9D9E-D79CF3416B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 dirty="0"/>
              <a:t>Rechtliche Rahmenbedingungen für deutsche Unternehmen in der Mongolei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A0EC37-9CF9-4EA3-857E-190C1A477E9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26CDC-6ED3-4B5B-B17F-24474E900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C24CACE5-32E5-4BFA-9CB4-97BB20573A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r>
              <a:rPr lang="de-DE" dirty="0"/>
              <a:t>		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9E15436-1997-44A8-92D2-6FC492C68FD0}"/>
              </a:ext>
            </a:extLst>
          </p:cNvPr>
          <p:cNvGrpSpPr/>
          <p:nvPr/>
        </p:nvGrpSpPr>
        <p:grpSpPr>
          <a:xfrm>
            <a:off x="384634" y="1997393"/>
            <a:ext cx="663042" cy="585838"/>
            <a:chOff x="384634" y="1997393"/>
            <a:chExt cx="663042" cy="585838"/>
          </a:xfrm>
        </p:grpSpPr>
        <p:sp>
          <p:nvSpPr>
            <p:cNvPr id="19" name="Google Shape;370;p1">
              <a:extLst>
                <a:ext uri="{FF2B5EF4-FFF2-40B4-BE49-F238E27FC236}">
                  <a16:creationId xmlns:a16="http://schemas.microsoft.com/office/drawing/2014/main" id="{4382F041-ED98-48A0-B7BC-17267560AB47}"/>
                </a:ext>
              </a:extLst>
            </p:cNvPr>
            <p:cNvSpPr/>
            <p:nvPr/>
          </p:nvSpPr>
          <p:spPr>
            <a:xfrm>
              <a:off x="384634" y="2295496"/>
              <a:ext cx="663042" cy="287735"/>
            </a:xfrm>
            <a:custGeom>
              <a:avLst/>
              <a:gdLst/>
              <a:ahLst/>
              <a:cxnLst/>
              <a:rect l="l" t="t" r="r" b="b"/>
              <a:pathLst>
                <a:path w="304" h="136" extrusionOk="0">
                  <a:moveTo>
                    <a:pt x="222" y="0"/>
                  </a:moveTo>
                  <a:cubicBezTo>
                    <a:pt x="197" y="0"/>
                    <a:pt x="172" y="5"/>
                    <a:pt x="152" y="15"/>
                  </a:cubicBezTo>
                  <a:cubicBezTo>
                    <a:pt x="131" y="5"/>
                    <a:pt x="106" y="0"/>
                    <a:pt x="81" y="0"/>
                  </a:cubicBezTo>
                  <a:cubicBezTo>
                    <a:pt x="54" y="0"/>
                    <a:pt x="27" y="6"/>
                    <a:pt x="6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142" y="136"/>
                    <a:pt x="142" y="136"/>
                    <a:pt x="142" y="136"/>
                  </a:cubicBezTo>
                  <a:cubicBezTo>
                    <a:pt x="163" y="136"/>
                    <a:pt x="163" y="136"/>
                    <a:pt x="163" y="136"/>
                  </a:cubicBezTo>
                  <a:cubicBezTo>
                    <a:pt x="304" y="136"/>
                    <a:pt x="304" y="136"/>
                    <a:pt x="304" y="136"/>
                  </a:cubicBezTo>
                  <a:cubicBezTo>
                    <a:pt x="304" y="20"/>
                    <a:pt x="304" y="20"/>
                    <a:pt x="304" y="20"/>
                  </a:cubicBezTo>
                  <a:cubicBezTo>
                    <a:pt x="299" y="17"/>
                    <a:pt x="299" y="17"/>
                    <a:pt x="299" y="17"/>
                  </a:cubicBezTo>
                  <a:cubicBezTo>
                    <a:pt x="277" y="6"/>
                    <a:pt x="250" y="0"/>
                    <a:pt x="222" y="0"/>
                  </a:cubicBezTo>
                  <a:close/>
                  <a:moveTo>
                    <a:pt x="20" y="116"/>
                  </a:moveTo>
                  <a:cubicBezTo>
                    <a:pt x="20" y="32"/>
                    <a:pt x="20" y="32"/>
                    <a:pt x="20" y="32"/>
                  </a:cubicBezTo>
                  <a:cubicBezTo>
                    <a:pt x="38" y="24"/>
                    <a:pt x="59" y="20"/>
                    <a:pt x="81" y="20"/>
                  </a:cubicBezTo>
                  <a:cubicBezTo>
                    <a:pt x="103" y="20"/>
                    <a:pt x="124" y="24"/>
                    <a:pt x="142" y="32"/>
                  </a:cubicBezTo>
                  <a:cubicBezTo>
                    <a:pt x="142" y="116"/>
                    <a:pt x="142" y="116"/>
                    <a:pt x="142" y="116"/>
                  </a:cubicBezTo>
                  <a:lnTo>
                    <a:pt x="20" y="116"/>
                  </a:lnTo>
                  <a:close/>
                  <a:moveTo>
                    <a:pt x="284" y="116"/>
                  </a:moveTo>
                  <a:cubicBezTo>
                    <a:pt x="163" y="116"/>
                    <a:pt x="163" y="116"/>
                    <a:pt x="163" y="116"/>
                  </a:cubicBezTo>
                  <a:cubicBezTo>
                    <a:pt x="163" y="32"/>
                    <a:pt x="163" y="32"/>
                    <a:pt x="163" y="32"/>
                  </a:cubicBezTo>
                  <a:cubicBezTo>
                    <a:pt x="180" y="24"/>
                    <a:pt x="201" y="20"/>
                    <a:pt x="222" y="20"/>
                  </a:cubicBezTo>
                  <a:cubicBezTo>
                    <a:pt x="245" y="20"/>
                    <a:pt x="266" y="25"/>
                    <a:pt x="284" y="33"/>
                  </a:cubicBezTo>
                  <a:lnTo>
                    <a:pt x="284" y="11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0" name="Google Shape;371;p1">
              <a:extLst>
                <a:ext uri="{FF2B5EF4-FFF2-40B4-BE49-F238E27FC236}">
                  <a16:creationId xmlns:a16="http://schemas.microsoft.com/office/drawing/2014/main" id="{ED803B57-6E96-436C-88A1-B54049F4C5ED}"/>
                </a:ext>
              </a:extLst>
            </p:cNvPr>
            <p:cNvSpPr/>
            <p:nvPr/>
          </p:nvSpPr>
          <p:spPr>
            <a:xfrm>
              <a:off x="729523" y="1997393"/>
              <a:ext cx="267357" cy="261812"/>
            </a:xfrm>
            <a:custGeom>
              <a:avLst/>
              <a:gdLst/>
              <a:ahLst/>
              <a:cxnLst/>
              <a:rect l="l" t="t" r="r" b="b"/>
              <a:pathLst>
                <a:path w="123" h="123" extrusionOk="0">
                  <a:moveTo>
                    <a:pt x="61" y="123"/>
                  </a:moveTo>
                  <a:cubicBezTo>
                    <a:pt x="95" y="123"/>
                    <a:pt x="123" y="95"/>
                    <a:pt x="123" y="61"/>
                  </a:cubicBezTo>
                  <a:cubicBezTo>
                    <a:pt x="123" y="27"/>
                    <a:pt x="95" y="0"/>
                    <a:pt x="61" y="0"/>
                  </a:cubicBezTo>
                  <a:cubicBezTo>
                    <a:pt x="27" y="0"/>
                    <a:pt x="0" y="27"/>
                    <a:pt x="0" y="61"/>
                  </a:cubicBezTo>
                  <a:cubicBezTo>
                    <a:pt x="0" y="95"/>
                    <a:pt x="27" y="123"/>
                    <a:pt x="61" y="123"/>
                  </a:cubicBezTo>
                  <a:close/>
                  <a:moveTo>
                    <a:pt x="61" y="20"/>
                  </a:moveTo>
                  <a:cubicBezTo>
                    <a:pt x="84" y="20"/>
                    <a:pt x="103" y="38"/>
                    <a:pt x="103" y="61"/>
                  </a:cubicBezTo>
                  <a:cubicBezTo>
                    <a:pt x="103" y="84"/>
                    <a:pt x="84" y="103"/>
                    <a:pt x="61" y="103"/>
                  </a:cubicBezTo>
                  <a:cubicBezTo>
                    <a:pt x="38" y="103"/>
                    <a:pt x="20" y="84"/>
                    <a:pt x="20" y="61"/>
                  </a:cubicBezTo>
                  <a:cubicBezTo>
                    <a:pt x="20" y="38"/>
                    <a:pt x="38" y="20"/>
                    <a:pt x="61" y="2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372;p1">
              <a:extLst>
                <a:ext uri="{FF2B5EF4-FFF2-40B4-BE49-F238E27FC236}">
                  <a16:creationId xmlns:a16="http://schemas.microsoft.com/office/drawing/2014/main" id="{E7F10159-CFBE-4F4B-99F2-0E1C32935E65}"/>
                </a:ext>
              </a:extLst>
            </p:cNvPr>
            <p:cNvSpPr/>
            <p:nvPr/>
          </p:nvSpPr>
          <p:spPr>
            <a:xfrm>
              <a:off x="419390" y="1997393"/>
              <a:ext cx="267357" cy="261812"/>
            </a:xfrm>
            <a:custGeom>
              <a:avLst/>
              <a:gdLst/>
              <a:ahLst/>
              <a:cxnLst/>
              <a:rect l="l" t="t" r="r" b="b"/>
              <a:pathLst>
                <a:path w="123" h="123" extrusionOk="0">
                  <a:moveTo>
                    <a:pt x="62" y="123"/>
                  </a:moveTo>
                  <a:cubicBezTo>
                    <a:pt x="96" y="123"/>
                    <a:pt x="123" y="95"/>
                    <a:pt x="123" y="61"/>
                  </a:cubicBezTo>
                  <a:cubicBezTo>
                    <a:pt x="123" y="27"/>
                    <a:pt x="96" y="0"/>
                    <a:pt x="62" y="0"/>
                  </a:cubicBezTo>
                  <a:cubicBezTo>
                    <a:pt x="28" y="0"/>
                    <a:pt x="0" y="27"/>
                    <a:pt x="0" y="61"/>
                  </a:cubicBezTo>
                  <a:cubicBezTo>
                    <a:pt x="0" y="95"/>
                    <a:pt x="28" y="123"/>
                    <a:pt x="62" y="123"/>
                  </a:cubicBezTo>
                  <a:close/>
                  <a:moveTo>
                    <a:pt x="62" y="20"/>
                  </a:moveTo>
                  <a:cubicBezTo>
                    <a:pt x="85" y="20"/>
                    <a:pt x="103" y="38"/>
                    <a:pt x="103" y="61"/>
                  </a:cubicBezTo>
                  <a:cubicBezTo>
                    <a:pt x="103" y="84"/>
                    <a:pt x="85" y="103"/>
                    <a:pt x="62" y="103"/>
                  </a:cubicBezTo>
                  <a:cubicBezTo>
                    <a:pt x="39" y="103"/>
                    <a:pt x="20" y="84"/>
                    <a:pt x="20" y="61"/>
                  </a:cubicBezTo>
                  <a:cubicBezTo>
                    <a:pt x="20" y="38"/>
                    <a:pt x="39" y="20"/>
                    <a:pt x="62" y="20"/>
                  </a:cubicBez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6659A13C-981C-4F96-B475-E049FAE590FC}"/>
              </a:ext>
            </a:extLst>
          </p:cNvPr>
          <p:cNvSpPr txBox="1"/>
          <p:nvPr/>
        </p:nvSpPr>
        <p:spPr>
          <a:xfrm>
            <a:off x="1286933" y="1923787"/>
            <a:ext cx="10142570" cy="14842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de-DE" sz="1400" b="1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Limited </a:t>
            </a:r>
            <a:r>
              <a:rPr lang="de-DE" sz="1400" b="1" dirty="0" err="1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Liability</a:t>
            </a:r>
            <a:r>
              <a:rPr lang="de-DE" sz="1400" b="1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 Company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: </a:t>
            </a:r>
            <a:r>
              <a:rPr lang="de-DE" sz="1400" dirty="0" err="1">
                <a:latin typeface="Georgia" pitchFamily="18" charset="0"/>
                <a:cs typeface="Arial" pitchFamily="34" charset="0"/>
              </a:rPr>
              <a:t>Grds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. USD 100.000 als Nominalkapital für ausländische Investoren erforderlich.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de-DE" sz="1400" b="1" noProof="0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Joint Stock Corporation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de-DE" sz="1400" b="1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Limited </a:t>
            </a:r>
            <a:r>
              <a:rPr lang="de-DE" sz="1400" b="1" dirty="0" err="1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Liability</a:t>
            </a:r>
            <a:r>
              <a:rPr lang="de-DE" sz="1400" b="1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 Partnership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: für Beratungsfirmen (Anwälte, Unternehmensberater)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de-DE" sz="1400" b="1" dirty="0" err="1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Repräsentanzbüro</a:t>
            </a:r>
            <a:r>
              <a:rPr lang="de-DE" sz="1400" b="1" dirty="0">
                <a:latin typeface="Georgia" pitchFamily="18" charset="0"/>
                <a:cs typeface="Arial" pitchFamily="34" charset="0"/>
              </a:rPr>
              <a:t>: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 keine Rechtspersönlichkeit, nur Marktforschung u. Repräsentanz</a:t>
            </a:r>
            <a:endParaRPr lang="de-DE" sz="1400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4" name="Google Shape;385;p1">
            <a:extLst>
              <a:ext uri="{FF2B5EF4-FFF2-40B4-BE49-F238E27FC236}">
                <a16:creationId xmlns:a16="http://schemas.microsoft.com/office/drawing/2014/main" id="{A60375A6-F203-441B-9332-BD7FF99DA004}"/>
              </a:ext>
            </a:extLst>
          </p:cNvPr>
          <p:cNvSpPr/>
          <p:nvPr/>
        </p:nvSpPr>
        <p:spPr>
          <a:xfrm>
            <a:off x="293730" y="4113487"/>
            <a:ext cx="796721" cy="669885"/>
          </a:xfrm>
          <a:custGeom>
            <a:avLst/>
            <a:gdLst/>
            <a:ahLst/>
            <a:cxnLst/>
            <a:rect l="l" t="t" r="r" b="b"/>
            <a:pathLst>
              <a:path w="311" h="293" extrusionOk="0">
                <a:moveTo>
                  <a:pt x="311" y="149"/>
                </a:moveTo>
                <a:cubicBezTo>
                  <a:pt x="254" y="38"/>
                  <a:pt x="254" y="38"/>
                  <a:pt x="254" y="38"/>
                </a:cubicBezTo>
                <a:cubicBezTo>
                  <a:pt x="209" y="38"/>
                  <a:pt x="209" y="38"/>
                  <a:pt x="209" y="38"/>
                </a:cubicBezTo>
                <a:cubicBezTo>
                  <a:pt x="164" y="38"/>
                  <a:pt x="164" y="38"/>
                  <a:pt x="164" y="38"/>
                </a:cubicBezTo>
                <a:cubicBezTo>
                  <a:pt x="164" y="0"/>
                  <a:pt x="164" y="0"/>
                  <a:pt x="164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62" y="38"/>
                  <a:pt x="62" y="38"/>
                  <a:pt x="62" y="38"/>
                </a:cubicBezTo>
                <a:cubicBezTo>
                  <a:pt x="57" y="38"/>
                  <a:pt x="57" y="38"/>
                  <a:pt x="57" y="38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92"/>
                  <a:pt x="28" y="220"/>
                  <a:pt x="62" y="220"/>
                </a:cubicBezTo>
                <a:cubicBezTo>
                  <a:pt x="97" y="220"/>
                  <a:pt x="125" y="192"/>
                  <a:pt x="125" y="158"/>
                </a:cubicBezTo>
                <a:cubicBezTo>
                  <a:pt x="125" y="149"/>
                  <a:pt x="125" y="149"/>
                  <a:pt x="125" y="149"/>
                </a:cubicBezTo>
                <a:cubicBezTo>
                  <a:pt x="77" y="56"/>
                  <a:pt x="77" y="56"/>
                  <a:pt x="77" y="56"/>
                </a:cubicBezTo>
                <a:cubicBezTo>
                  <a:pt x="146" y="56"/>
                  <a:pt x="146" y="56"/>
                  <a:pt x="146" y="56"/>
                </a:cubicBezTo>
                <a:cubicBezTo>
                  <a:pt x="146" y="275"/>
                  <a:pt x="146" y="275"/>
                  <a:pt x="146" y="275"/>
                </a:cubicBezTo>
                <a:cubicBezTo>
                  <a:pt x="81" y="275"/>
                  <a:pt x="81" y="275"/>
                  <a:pt x="81" y="275"/>
                </a:cubicBezTo>
                <a:cubicBezTo>
                  <a:pt x="81" y="293"/>
                  <a:pt x="81" y="293"/>
                  <a:pt x="81" y="293"/>
                </a:cubicBezTo>
                <a:cubicBezTo>
                  <a:pt x="230" y="293"/>
                  <a:pt x="230" y="293"/>
                  <a:pt x="230" y="293"/>
                </a:cubicBezTo>
                <a:cubicBezTo>
                  <a:pt x="230" y="275"/>
                  <a:pt x="230" y="275"/>
                  <a:pt x="230" y="275"/>
                </a:cubicBezTo>
                <a:cubicBezTo>
                  <a:pt x="164" y="275"/>
                  <a:pt x="164" y="275"/>
                  <a:pt x="164" y="275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209" y="56"/>
                  <a:pt x="209" y="56"/>
                  <a:pt x="209" y="56"/>
                </a:cubicBezTo>
                <a:cubicBezTo>
                  <a:pt x="233" y="56"/>
                  <a:pt x="233" y="56"/>
                  <a:pt x="233" y="56"/>
                </a:cubicBezTo>
                <a:cubicBezTo>
                  <a:pt x="186" y="149"/>
                  <a:pt x="186" y="149"/>
                  <a:pt x="186" y="149"/>
                </a:cubicBezTo>
                <a:cubicBezTo>
                  <a:pt x="186" y="158"/>
                  <a:pt x="186" y="158"/>
                  <a:pt x="186" y="158"/>
                </a:cubicBezTo>
                <a:cubicBezTo>
                  <a:pt x="186" y="192"/>
                  <a:pt x="214" y="220"/>
                  <a:pt x="248" y="220"/>
                </a:cubicBezTo>
                <a:cubicBezTo>
                  <a:pt x="283" y="220"/>
                  <a:pt x="311" y="192"/>
                  <a:pt x="311" y="158"/>
                </a:cubicBezTo>
                <a:lnTo>
                  <a:pt x="311" y="149"/>
                </a:lnTo>
                <a:close/>
                <a:moveTo>
                  <a:pt x="62" y="202"/>
                </a:moveTo>
                <a:cubicBezTo>
                  <a:pt x="41" y="202"/>
                  <a:pt x="23" y="187"/>
                  <a:pt x="19" y="167"/>
                </a:cubicBezTo>
                <a:cubicBezTo>
                  <a:pt x="106" y="167"/>
                  <a:pt x="106" y="167"/>
                  <a:pt x="106" y="167"/>
                </a:cubicBezTo>
                <a:cubicBezTo>
                  <a:pt x="101" y="187"/>
                  <a:pt x="84" y="202"/>
                  <a:pt x="62" y="202"/>
                </a:cubicBezTo>
                <a:close/>
                <a:moveTo>
                  <a:pt x="20" y="149"/>
                </a:moveTo>
                <a:cubicBezTo>
                  <a:pt x="62" y="66"/>
                  <a:pt x="62" y="66"/>
                  <a:pt x="62" y="66"/>
                </a:cubicBezTo>
                <a:cubicBezTo>
                  <a:pt x="104" y="149"/>
                  <a:pt x="104" y="149"/>
                  <a:pt x="104" y="149"/>
                </a:cubicBezTo>
                <a:lnTo>
                  <a:pt x="20" y="149"/>
                </a:lnTo>
                <a:close/>
                <a:moveTo>
                  <a:pt x="248" y="66"/>
                </a:moveTo>
                <a:cubicBezTo>
                  <a:pt x="290" y="149"/>
                  <a:pt x="290" y="149"/>
                  <a:pt x="290" y="149"/>
                </a:cubicBezTo>
                <a:cubicBezTo>
                  <a:pt x="206" y="149"/>
                  <a:pt x="206" y="149"/>
                  <a:pt x="206" y="149"/>
                </a:cubicBezTo>
                <a:lnTo>
                  <a:pt x="248" y="66"/>
                </a:lnTo>
                <a:close/>
                <a:moveTo>
                  <a:pt x="248" y="202"/>
                </a:moveTo>
                <a:cubicBezTo>
                  <a:pt x="227" y="202"/>
                  <a:pt x="209" y="187"/>
                  <a:pt x="205" y="167"/>
                </a:cubicBezTo>
                <a:cubicBezTo>
                  <a:pt x="292" y="167"/>
                  <a:pt x="292" y="167"/>
                  <a:pt x="292" y="167"/>
                </a:cubicBezTo>
                <a:cubicBezTo>
                  <a:pt x="288" y="187"/>
                  <a:pt x="270" y="202"/>
                  <a:pt x="248" y="20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C0019D4-45E8-4DF3-9730-9AAD564E9613}"/>
              </a:ext>
            </a:extLst>
          </p:cNvPr>
          <p:cNvSpPr txBox="1"/>
          <p:nvPr/>
        </p:nvSpPr>
        <p:spPr>
          <a:xfrm>
            <a:off x="1286933" y="4178382"/>
            <a:ext cx="10212976" cy="15458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400" b="1" noProof="0" dirty="0">
                <a:solidFill>
                  <a:srgbClr val="FF0000"/>
                </a:solidFill>
                <a:latin typeface="Georgia" pitchFamily="18" charset="0"/>
                <a:cs typeface="Arial" pitchFamily="34" charset="0"/>
              </a:rPr>
              <a:t>Investment-Gesetz (2013)</a:t>
            </a:r>
            <a:endParaRPr lang="de-DE" sz="1400" dirty="0">
              <a:latin typeface="Georgia" pitchFamily="18" charset="0"/>
              <a:cs typeface="Arial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Ausl. Beteiligung ≥ 33 % im Bereich Bergbau</a:t>
            </a:r>
            <a:r>
              <a:rPr lang="de-DE" dirty="0">
                <a:latin typeface="Georgia" pitchFamily="18" charset="0"/>
                <a:cs typeface="Arial" pitchFamily="34" charset="0"/>
              </a:rPr>
              <a:t>, 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Bank- und Finanzwesen, Medien/Kommunikation: Erlaubnis durch </a:t>
            </a:r>
            <a:br>
              <a:rPr lang="de-DE" sz="1400" dirty="0">
                <a:latin typeface="Georgia" pitchFamily="18" charset="0"/>
                <a:cs typeface="Arial" pitchFamily="34" charset="0"/>
              </a:rPr>
            </a:br>
            <a:r>
              <a:rPr lang="de-DE" sz="1400" dirty="0">
                <a:latin typeface="Georgia" pitchFamily="18" charset="0"/>
                <a:cs typeface="Arial" pitchFamily="34" charset="0"/>
              </a:rPr>
              <a:t>mongolische Behörden erforderlich. 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Steuervorteile : Stabilisierungszertifikate garantieren stabile Steuersätze für 5 – 18 Jahre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Bei Großinvestitionen: direkter Investitionsvertrag mit der Mongolei möglich. </a:t>
            </a:r>
            <a:endParaRPr lang="de-DE" sz="1400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728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/>
      <p:bldP spid="24" grpId="0" animBg="1"/>
      <p:bldP spid="25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F90536C7-81F9-4C44-A8A1-00D2D616A436}"/>
              </a:ext>
            </a:extLst>
          </p:cNvPr>
          <p:cNvGrpSpPr/>
          <p:nvPr/>
        </p:nvGrpSpPr>
        <p:grpSpPr>
          <a:xfrm>
            <a:off x="377520" y="2021576"/>
            <a:ext cx="629141" cy="759506"/>
            <a:chOff x="6189662" y="15341405"/>
            <a:chExt cx="390311" cy="437527"/>
          </a:xfrm>
          <a:solidFill>
            <a:schemeClr val="accent4"/>
          </a:solidFill>
        </p:grpSpPr>
        <p:sp>
          <p:nvSpPr>
            <p:cNvPr id="16" name="Google Shape;377;p1">
              <a:extLst>
                <a:ext uri="{FF2B5EF4-FFF2-40B4-BE49-F238E27FC236}">
                  <a16:creationId xmlns:a16="http://schemas.microsoft.com/office/drawing/2014/main" id="{FF08D518-F9F9-4784-B11F-54376C090638}"/>
                </a:ext>
              </a:extLst>
            </p:cNvPr>
            <p:cNvSpPr/>
            <p:nvPr/>
          </p:nvSpPr>
          <p:spPr>
            <a:xfrm>
              <a:off x="6189662" y="15593219"/>
              <a:ext cx="390311" cy="185713"/>
            </a:xfrm>
            <a:custGeom>
              <a:avLst/>
              <a:gdLst/>
              <a:ahLst/>
              <a:cxnLst/>
              <a:rect l="l" t="t" r="r" b="b"/>
              <a:pathLst>
                <a:path w="305" h="144" extrusionOk="0">
                  <a:moveTo>
                    <a:pt x="303" y="81"/>
                  </a:moveTo>
                  <a:cubicBezTo>
                    <a:pt x="300" y="66"/>
                    <a:pt x="298" y="59"/>
                    <a:pt x="297" y="59"/>
                  </a:cubicBezTo>
                  <a:cubicBezTo>
                    <a:pt x="297" y="58"/>
                    <a:pt x="297" y="58"/>
                    <a:pt x="297" y="58"/>
                  </a:cubicBezTo>
                  <a:cubicBezTo>
                    <a:pt x="296" y="58"/>
                    <a:pt x="296" y="58"/>
                    <a:pt x="296" y="58"/>
                  </a:cubicBezTo>
                  <a:cubicBezTo>
                    <a:pt x="292" y="54"/>
                    <a:pt x="292" y="54"/>
                    <a:pt x="208" y="62"/>
                  </a:cubicBezTo>
                  <a:cubicBezTo>
                    <a:pt x="208" y="54"/>
                    <a:pt x="201" y="46"/>
                    <a:pt x="193" y="4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7"/>
                    <a:pt x="0" y="117"/>
                    <a:pt x="0" y="117"/>
                  </a:cubicBezTo>
                  <a:cubicBezTo>
                    <a:pt x="7" y="119"/>
                    <a:pt x="7" y="119"/>
                    <a:pt x="7" y="119"/>
                  </a:cubicBezTo>
                  <a:cubicBezTo>
                    <a:pt x="31" y="126"/>
                    <a:pt x="69" y="138"/>
                    <a:pt x="79" y="141"/>
                  </a:cubicBezTo>
                  <a:cubicBezTo>
                    <a:pt x="82" y="143"/>
                    <a:pt x="86" y="144"/>
                    <a:pt x="92" y="144"/>
                  </a:cubicBezTo>
                  <a:cubicBezTo>
                    <a:pt x="94" y="144"/>
                    <a:pt x="97" y="144"/>
                    <a:pt x="99" y="143"/>
                  </a:cubicBezTo>
                  <a:cubicBezTo>
                    <a:pt x="107" y="143"/>
                    <a:pt x="118" y="143"/>
                    <a:pt x="128" y="143"/>
                  </a:cubicBezTo>
                  <a:cubicBezTo>
                    <a:pt x="149" y="143"/>
                    <a:pt x="170" y="142"/>
                    <a:pt x="170" y="142"/>
                  </a:cubicBezTo>
                  <a:cubicBezTo>
                    <a:pt x="172" y="142"/>
                    <a:pt x="172" y="142"/>
                    <a:pt x="172" y="142"/>
                  </a:cubicBezTo>
                  <a:cubicBezTo>
                    <a:pt x="291" y="102"/>
                    <a:pt x="291" y="102"/>
                    <a:pt x="291" y="102"/>
                  </a:cubicBezTo>
                  <a:cubicBezTo>
                    <a:pt x="300" y="99"/>
                    <a:pt x="305" y="90"/>
                    <a:pt x="303" y="81"/>
                  </a:cubicBezTo>
                  <a:close/>
                  <a:moveTo>
                    <a:pt x="21" y="28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187" y="66"/>
                    <a:pt x="187" y="66"/>
                    <a:pt x="187" y="66"/>
                  </a:cubicBezTo>
                  <a:cubicBezTo>
                    <a:pt x="187" y="80"/>
                    <a:pt x="187" y="80"/>
                    <a:pt x="187" y="80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101"/>
                    <a:pt x="93" y="101"/>
                    <a:pt x="93" y="101"/>
                  </a:cubicBezTo>
                  <a:cubicBezTo>
                    <a:pt x="188" y="101"/>
                    <a:pt x="188" y="101"/>
                    <a:pt x="188" y="101"/>
                  </a:cubicBezTo>
                  <a:cubicBezTo>
                    <a:pt x="198" y="101"/>
                    <a:pt x="206" y="93"/>
                    <a:pt x="208" y="84"/>
                  </a:cubicBezTo>
                  <a:cubicBezTo>
                    <a:pt x="233" y="81"/>
                    <a:pt x="265" y="78"/>
                    <a:pt x="281" y="77"/>
                  </a:cubicBezTo>
                  <a:cubicBezTo>
                    <a:pt x="281" y="78"/>
                    <a:pt x="281" y="80"/>
                    <a:pt x="282" y="83"/>
                  </a:cubicBezTo>
                  <a:cubicBezTo>
                    <a:pt x="168" y="121"/>
                    <a:pt x="168" y="121"/>
                    <a:pt x="168" y="121"/>
                  </a:cubicBezTo>
                  <a:cubicBezTo>
                    <a:pt x="140" y="122"/>
                    <a:pt x="96" y="123"/>
                    <a:pt x="88" y="122"/>
                  </a:cubicBezTo>
                  <a:cubicBezTo>
                    <a:pt x="80" y="119"/>
                    <a:pt x="64" y="114"/>
                    <a:pt x="21" y="101"/>
                  </a:cubicBezTo>
                  <a:lnTo>
                    <a:pt x="21" y="2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2" name="Google Shape;378;p1">
              <a:extLst>
                <a:ext uri="{FF2B5EF4-FFF2-40B4-BE49-F238E27FC236}">
                  <a16:creationId xmlns:a16="http://schemas.microsoft.com/office/drawing/2014/main" id="{125FFA6A-CC0E-4AAF-87C1-B4A8A629D1F5}"/>
                </a:ext>
              </a:extLst>
            </p:cNvPr>
            <p:cNvSpPr/>
            <p:nvPr/>
          </p:nvSpPr>
          <p:spPr>
            <a:xfrm>
              <a:off x="6329734" y="15341405"/>
              <a:ext cx="118038" cy="116464"/>
            </a:xfrm>
            <a:custGeom>
              <a:avLst/>
              <a:gdLst/>
              <a:ahLst/>
              <a:cxnLst/>
              <a:rect l="l" t="t" r="r" b="b"/>
              <a:pathLst>
                <a:path w="91" h="91" extrusionOk="0">
                  <a:moveTo>
                    <a:pt x="46" y="91"/>
                  </a:moveTo>
                  <a:cubicBezTo>
                    <a:pt x="71" y="91"/>
                    <a:pt x="91" y="70"/>
                    <a:pt x="91" y="45"/>
                  </a:cubicBezTo>
                  <a:cubicBezTo>
                    <a:pt x="91" y="20"/>
                    <a:pt x="71" y="0"/>
                    <a:pt x="46" y="0"/>
                  </a:cubicBezTo>
                  <a:cubicBezTo>
                    <a:pt x="21" y="0"/>
                    <a:pt x="0" y="20"/>
                    <a:pt x="0" y="45"/>
                  </a:cubicBezTo>
                  <a:cubicBezTo>
                    <a:pt x="0" y="70"/>
                    <a:pt x="21" y="91"/>
                    <a:pt x="46" y="91"/>
                  </a:cubicBezTo>
                  <a:close/>
                  <a:moveTo>
                    <a:pt x="20" y="45"/>
                  </a:moveTo>
                  <a:cubicBezTo>
                    <a:pt x="20" y="31"/>
                    <a:pt x="31" y="19"/>
                    <a:pt x="46" y="19"/>
                  </a:cubicBezTo>
                  <a:cubicBezTo>
                    <a:pt x="60" y="19"/>
                    <a:pt x="72" y="31"/>
                    <a:pt x="72" y="45"/>
                  </a:cubicBezTo>
                  <a:cubicBezTo>
                    <a:pt x="72" y="59"/>
                    <a:pt x="60" y="71"/>
                    <a:pt x="46" y="71"/>
                  </a:cubicBezTo>
                  <a:cubicBezTo>
                    <a:pt x="31" y="71"/>
                    <a:pt x="20" y="59"/>
                    <a:pt x="20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" name="Google Shape;379;p1">
              <a:extLst>
                <a:ext uri="{FF2B5EF4-FFF2-40B4-BE49-F238E27FC236}">
                  <a16:creationId xmlns:a16="http://schemas.microsoft.com/office/drawing/2014/main" id="{81F22195-CB8A-4E75-959C-4B9BBAC089EA}"/>
                </a:ext>
              </a:extLst>
            </p:cNvPr>
            <p:cNvSpPr/>
            <p:nvPr/>
          </p:nvSpPr>
          <p:spPr>
            <a:xfrm>
              <a:off x="6232156" y="15385472"/>
              <a:ext cx="97578" cy="99152"/>
            </a:xfrm>
            <a:custGeom>
              <a:avLst/>
              <a:gdLst/>
              <a:ahLst/>
              <a:cxnLst/>
              <a:rect l="l" t="t" r="r" b="b"/>
              <a:pathLst>
                <a:path w="77" h="77" extrusionOk="0">
                  <a:moveTo>
                    <a:pt x="39" y="77"/>
                  </a:moveTo>
                  <a:cubicBezTo>
                    <a:pt x="60" y="77"/>
                    <a:pt x="77" y="60"/>
                    <a:pt x="77" y="39"/>
                  </a:cubicBezTo>
                  <a:cubicBezTo>
                    <a:pt x="77" y="18"/>
                    <a:pt x="60" y="0"/>
                    <a:pt x="39" y="0"/>
                  </a:cubicBezTo>
                  <a:cubicBezTo>
                    <a:pt x="17" y="0"/>
                    <a:pt x="0" y="18"/>
                    <a:pt x="0" y="39"/>
                  </a:cubicBezTo>
                  <a:cubicBezTo>
                    <a:pt x="0" y="60"/>
                    <a:pt x="17" y="77"/>
                    <a:pt x="39" y="77"/>
                  </a:cubicBezTo>
                  <a:close/>
                  <a:moveTo>
                    <a:pt x="20" y="39"/>
                  </a:moveTo>
                  <a:cubicBezTo>
                    <a:pt x="20" y="28"/>
                    <a:pt x="28" y="20"/>
                    <a:pt x="39" y="20"/>
                  </a:cubicBezTo>
                  <a:cubicBezTo>
                    <a:pt x="49" y="20"/>
                    <a:pt x="57" y="28"/>
                    <a:pt x="57" y="39"/>
                  </a:cubicBezTo>
                  <a:cubicBezTo>
                    <a:pt x="57" y="49"/>
                    <a:pt x="49" y="57"/>
                    <a:pt x="39" y="57"/>
                  </a:cubicBezTo>
                  <a:cubicBezTo>
                    <a:pt x="28" y="57"/>
                    <a:pt x="20" y="49"/>
                    <a:pt x="20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380;p1">
              <a:extLst>
                <a:ext uri="{FF2B5EF4-FFF2-40B4-BE49-F238E27FC236}">
                  <a16:creationId xmlns:a16="http://schemas.microsoft.com/office/drawing/2014/main" id="{96556F60-6711-4040-B8BC-C4CCF64EE641}"/>
                </a:ext>
              </a:extLst>
            </p:cNvPr>
            <p:cNvSpPr/>
            <p:nvPr/>
          </p:nvSpPr>
          <p:spPr>
            <a:xfrm>
              <a:off x="6447771" y="15385472"/>
              <a:ext cx="97578" cy="99152"/>
            </a:xfrm>
            <a:custGeom>
              <a:avLst/>
              <a:gdLst/>
              <a:ahLst/>
              <a:cxnLst/>
              <a:rect l="l" t="t" r="r" b="b"/>
              <a:pathLst>
                <a:path w="77" h="77" extrusionOk="0">
                  <a:moveTo>
                    <a:pt x="39" y="77"/>
                  </a:moveTo>
                  <a:cubicBezTo>
                    <a:pt x="60" y="77"/>
                    <a:pt x="77" y="60"/>
                    <a:pt x="77" y="39"/>
                  </a:cubicBezTo>
                  <a:cubicBezTo>
                    <a:pt x="77" y="18"/>
                    <a:pt x="60" y="0"/>
                    <a:pt x="39" y="0"/>
                  </a:cubicBezTo>
                  <a:cubicBezTo>
                    <a:pt x="17" y="0"/>
                    <a:pt x="0" y="18"/>
                    <a:pt x="0" y="39"/>
                  </a:cubicBezTo>
                  <a:cubicBezTo>
                    <a:pt x="0" y="60"/>
                    <a:pt x="17" y="77"/>
                    <a:pt x="39" y="77"/>
                  </a:cubicBezTo>
                  <a:close/>
                  <a:moveTo>
                    <a:pt x="39" y="20"/>
                  </a:moveTo>
                  <a:cubicBezTo>
                    <a:pt x="49" y="20"/>
                    <a:pt x="57" y="28"/>
                    <a:pt x="57" y="39"/>
                  </a:cubicBezTo>
                  <a:cubicBezTo>
                    <a:pt x="57" y="49"/>
                    <a:pt x="49" y="57"/>
                    <a:pt x="39" y="57"/>
                  </a:cubicBezTo>
                  <a:cubicBezTo>
                    <a:pt x="28" y="57"/>
                    <a:pt x="20" y="49"/>
                    <a:pt x="20" y="39"/>
                  </a:cubicBezTo>
                  <a:cubicBezTo>
                    <a:pt x="20" y="28"/>
                    <a:pt x="28" y="20"/>
                    <a:pt x="39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381;p1">
              <a:extLst>
                <a:ext uri="{FF2B5EF4-FFF2-40B4-BE49-F238E27FC236}">
                  <a16:creationId xmlns:a16="http://schemas.microsoft.com/office/drawing/2014/main" id="{A909EE87-067B-4F25-A534-354E0C57A0BA}"/>
                </a:ext>
              </a:extLst>
            </p:cNvPr>
            <p:cNvSpPr/>
            <p:nvPr/>
          </p:nvSpPr>
          <p:spPr>
            <a:xfrm>
              <a:off x="6232156" y="15475180"/>
              <a:ext cx="313193" cy="116464"/>
            </a:xfrm>
            <a:custGeom>
              <a:avLst/>
              <a:gdLst/>
              <a:ahLst/>
              <a:cxnLst/>
              <a:rect l="l" t="t" r="r" b="b"/>
              <a:pathLst>
                <a:path w="245" h="91" extrusionOk="0">
                  <a:moveTo>
                    <a:pt x="196" y="16"/>
                  </a:moveTo>
                  <a:cubicBezTo>
                    <a:pt x="191" y="16"/>
                    <a:pt x="187" y="16"/>
                    <a:pt x="182" y="17"/>
                  </a:cubicBezTo>
                  <a:cubicBezTo>
                    <a:pt x="182" y="15"/>
                    <a:pt x="182" y="15"/>
                    <a:pt x="182" y="15"/>
                  </a:cubicBezTo>
                  <a:cubicBezTo>
                    <a:pt x="177" y="12"/>
                    <a:pt x="177" y="12"/>
                    <a:pt x="177" y="12"/>
                  </a:cubicBezTo>
                  <a:cubicBezTo>
                    <a:pt x="161" y="4"/>
                    <a:pt x="142" y="0"/>
                    <a:pt x="122" y="0"/>
                  </a:cubicBezTo>
                  <a:cubicBezTo>
                    <a:pt x="103" y="0"/>
                    <a:pt x="84" y="4"/>
                    <a:pt x="69" y="12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59" y="16"/>
                    <a:pt x="54" y="16"/>
                    <a:pt x="50" y="16"/>
                  </a:cubicBezTo>
                  <a:cubicBezTo>
                    <a:pt x="33" y="16"/>
                    <a:pt x="18" y="19"/>
                    <a:pt x="6" y="26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245" y="91"/>
                    <a:pt x="245" y="91"/>
                    <a:pt x="245" y="91"/>
                  </a:cubicBezTo>
                  <a:cubicBezTo>
                    <a:pt x="245" y="29"/>
                    <a:pt x="245" y="29"/>
                    <a:pt x="245" y="29"/>
                  </a:cubicBezTo>
                  <a:cubicBezTo>
                    <a:pt x="239" y="26"/>
                    <a:pt x="239" y="26"/>
                    <a:pt x="239" y="26"/>
                  </a:cubicBezTo>
                  <a:cubicBezTo>
                    <a:pt x="227" y="19"/>
                    <a:pt x="212" y="16"/>
                    <a:pt x="196" y="16"/>
                  </a:cubicBezTo>
                  <a:close/>
                  <a:moveTo>
                    <a:pt x="20" y="71"/>
                  </a:moveTo>
                  <a:cubicBezTo>
                    <a:pt x="20" y="41"/>
                    <a:pt x="20" y="41"/>
                    <a:pt x="20" y="41"/>
                  </a:cubicBezTo>
                  <a:cubicBezTo>
                    <a:pt x="33" y="36"/>
                    <a:pt x="49" y="35"/>
                    <a:pt x="63" y="37"/>
                  </a:cubicBezTo>
                  <a:cubicBezTo>
                    <a:pt x="63" y="71"/>
                    <a:pt x="63" y="71"/>
                    <a:pt x="63" y="71"/>
                  </a:cubicBezTo>
                  <a:lnTo>
                    <a:pt x="20" y="71"/>
                  </a:lnTo>
                  <a:close/>
                  <a:moveTo>
                    <a:pt x="83" y="71"/>
                  </a:moveTo>
                  <a:cubicBezTo>
                    <a:pt x="83" y="27"/>
                    <a:pt x="83" y="27"/>
                    <a:pt x="83" y="27"/>
                  </a:cubicBezTo>
                  <a:cubicBezTo>
                    <a:pt x="95" y="22"/>
                    <a:pt x="108" y="20"/>
                    <a:pt x="122" y="20"/>
                  </a:cubicBezTo>
                  <a:cubicBezTo>
                    <a:pt x="136" y="20"/>
                    <a:pt x="151" y="22"/>
                    <a:pt x="162" y="27"/>
                  </a:cubicBezTo>
                  <a:cubicBezTo>
                    <a:pt x="162" y="71"/>
                    <a:pt x="162" y="71"/>
                    <a:pt x="162" y="71"/>
                  </a:cubicBezTo>
                  <a:lnTo>
                    <a:pt x="83" y="71"/>
                  </a:lnTo>
                  <a:close/>
                  <a:moveTo>
                    <a:pt x="182" y="71"/>
                  </a:moveTo>
                  <a:cubicBezTo>
                    <a:pt x="182" y="37"/>
                    <a:pt x="182" y="37"/>
                    <a:pt x="182" y="37"/>
                  </a:cubicBezTo>
                  <a:cubicBezTo>
                    <a:pt x="197" y="35"/>
                    <a:pt x="212" y="36"/>
                    <a:pt x="225" y="41"/>
                  </a:cubicBezTo>
                  <a:cubicBezTo>
                    <a:pt x="225" y="71"/>
                    <a:pt x="225" y="71"/>
                    <a:pt x="225" y="71"/>
                  </a:cubicBezTo>
                  <a:lnTo>
                    <a:pt x="182" y="7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s regulatorische Umfeld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Bsp.: Arbeitsrecht – Sozialversicherung - Steuerrecht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3C3351-D312-4B96-9D9E-D79CF3416B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 dirty="0"/>
              <a:t>Rechtliche Rahmenbedingungen für deutsche Unternehmen in der Mongolei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A0EC37-9CF9-4EA3-857E-190C1A477E9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26CDC-6ED3-4B5B-B17F-24474E900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17" name="Content Placeholder 10">
            <a:extLst>
              <a:ext uri="{FF2B5EF4-FFF2-40B4-BE49-F238E27FC236}">
                <a16:creationId xmlns:a16="http://schemas.microsoft.com/office/drawing/2014/main" id="{C24CACE5-32E5-4BFA-9CB4-97BB20573A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r>
              <a:rPr lang="de-DE" dirty="0"/>
              <a:t>		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659A13C-981C-4F96-B475-E049FAE590FC}"/>
              </a:ext>
            </a:extLst>
          </p:cNvPr>
          <p:cNvSpPr txBox="1"/>
          <p:nvPr/>
        </p:nvSpPr>
        <p:spPr>
          <a:xfrm>
            <a:off x="1247737" y="1999987"/>
            <a:ext cx="4137063" cy="21236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Arbeitsrech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Schriftform für Arbeitsverträge / </a:t>
            </a:r>
            <a:r>
              <a:rPr lang="de-DE" sz="1400" dirty="0" err="1">
                <a:latin typeface="Georgia" pitchFamily="18" charset="0"/>
                <a:cs typeface="Arial" pitchFamily="34" charset="0"/>
              </a:rPr>
              <a:t>grds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. unbefristet bei permanenten Positionen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Mindestlohn: ≈ EUR 133 / Monat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40-Stundenwoche / Minimum 15 Tage Urlaub/Jahr</a:t>
            </a:r>
          </a:p>
          <a:p>
            <a:endParaRPr lang="de-DE" sz="1400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C0019D4-45E8-4DF3-9730-9AAD564E9613}"/>
              </a:ext>
            </a:extLst>
          </p:cNvPr>
          <p:cNvSpPr txBox="1"/>
          <p:nvPr/>
        </p:nvSpPr>
        <p:spPr>
          <a:xfrm>
            <a:off x="1239634" y="4178382"/>
            <a:ext cx="10260275" cy="154580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rgbClr val="FF0000"/>
                </a:solidFill>
                <a:latin typeface="Georgia" pitchFamily="18" charset="0"/>
                <a:cs typeface="Arial" pitchFamily="34" charset="0"/>
              </a:rPr>
              <a:t>Steuerrech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Steuerreform 2019, die 2020 in Kraft getreten ist: Ziel Best Practice nach intern. Standard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Steuervorteile in Freihandelszone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Körperschaftssteuer: </a:t>
            </a:r>
            <a:r>
              <a:rPr lang="de-DE" sz="1400" dirty="0" err="1">
                <a:latin typeface="Georgia" pitchFamily="18" charset="0"/>
                <a:cs typeface="Arial" pitchFamily="34" charset="0"/>
              </a:rPr>
              <a:t>grds</a:t>
            </a:r>
            <a:r>
              <a:rPr lang="de-DE" sz="1400" dirty="0">
                <a:latin typeface="Georgia" pitchFamily="18" charset="0"/>
                <a:cs typeface="Arial" pitchFamily="34" charset="0"/>
              </a:rPr>
              <a:t>. 10 %; zu versteuerndes Ergebnis ≥ 6 Mrd. MNT = 25 %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Mehrwertsteuer: 10 %</a:t>
            </a:r>
          </a:p>
        </p:txBody>
      </p:sp>
      <p:sp>
        <p:nvSpPr>
          <p:cNvPr id="29" name="Google Shape;385;p1">
            <a:extLst>
              <a:ext uri="{FF2B5EF4-FFF2-40B4-BE49-F238E27FC236}">
                <a16:creationId xmlns:a16="http://schemas.microsoft.com/office/drawing/2014/main" id="{0CFF3529-59D5-4021-872C-172A0547DDDA}"/>
              </a:ext>
            </a:extLst>
          </p:cNvPr>
          <p:cNvSpPr/>
          <p:nvPr/>
        </p:nvSpPr>
        <p:spPr>
          <a:xfrm>
            <a:off x="293730" y="4113487"/>
            <a:ext cx="796721" cy="669885"/>
          </a:xfrm>
          <a:custGeom>
            <a:avLst/>
            <a:gdLst/>
            <a:ahLst/>
            <a:cxnLst/>
            <a:rect l="l" t="t" r="r" b="b"/>
            <a:pathLst>
              <a:path w="311" h="293" extrusionOk="0">
                <a:moveTo>
                  <a:pt x="311" y="149"/>
                </a:moveTo>
                <a:cubicBezTo>
                  <a:pt x="254" y="38"/>
                  <a:pt x="254" y="38"/>
                  <a:pt x="254" y="38"/>
                </a:cubicBezTo>
                <a:cubicBezTo>
                  <a:pt x="209" y="38"/>
                  <a:pt x="209" y="38"/>
                  <a:pt x="209" y="38"/>
                </a:cubicBezTo>
                <a:cubicBezTo>
                  <a:pt x="164" y="38"/>
                  <a:pt x="164" y="38"/>
                  <a:pt x="164" y="38"/>
                </a:cubicBezTo>
                <a:cubicBezTo>
                  <a:pt x="164" y="0"/>
                  <a:pt x="164" y="0"/>
                  <a:pt x="164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46" y="38"/>
                  <a:pt x="146" y="38"/>
                  <a:pt x="146" y="38"/>
                </a:cubicBezTo>
                <a:cubicBezTo>
                  <a:pt x="62" y="38"/>
                  <a:pt x="62" y="38"/>
                  <a:pt x="62" y="38"/>
                </a:cubicBezTo>
                <a:cubicBezTo>
                  <a:pt x="57" y="38"/>
                  <a:pt x="57" y="38"/>
                  <a:pt x="57" y="38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58"/>
                  <a:pt x="0" y="158"/>
                  <a:pt x="0" y="158"/>
                </a:cubicBezTo>
                <a:cubicBezTo>
                  <a:pt x="0" y="192"/>
                  <a:pt x="28" y="220"/>
                  <a:pt x="62" y="220"/>
                </a:cubicBezTo>
                <a:cubicBezTo>
                  <a:pt x="97" y="220"/>
                  <a:pt x="125" y="192"/>
                  <a:pt x="125" y="158"/>
                </a:cubicBezTo>
                <a:cubicBezTo>
                  <a:pt x="125" y="149"/>
                  <a:pt x="125" y="149"/>
                  <a:pt x="125" y="149"/>
                </a:cubicBezTo>
                <a:cubicBezTo>
                  <a:pt x="77" y="56"/>
                  <a:pt x="77" y="56"/>
                  <a:pt x="77" y="56"/>
                </a:cubicBezTo>
                <a:cubicBezTo>
                  <a:pt x="146" y="56"/>
                  <a:pt x="146" y="56"/>
                  <a:pt x="146" y="56"/>
                </a:cubicBezTo>
                <a:cubicBezTo>
                  <a:pt x="146" y="275"/>
                  <a:pt x="146" y="275"/>
                  <a:pt x="146" y="275"/>
                </a:cubicBezTo>
                <a:cubicBezTo>
                  <a:pt x="81" y="275"/>
                  <a:pt x="81" y="275"/>
                  <a:pt x="81" y="275"/>
                </a:cubicBezTo>
                <a:cubicBezTo>
                  <a:pt x="81" y="293"/>
                  <a:pt x="81" y="293"/>
                  <a:pt x="81" y="293"/>
                </a:cubicBezTo>
                <a:cubicBezTo>
                  <a:pt x="230" y="293"/>
                  <a:pt x="230" y="293"/>
                  <a:pt x="230" y="293"/>
                </a:cubicBezTo>
                <a:cubicBezTo>
                  <a:pt x="230" y="275"/>
                  <a:pt x="230" y="275"/>
                  <a:pt x="230" y="275"/>
                </a:cubicBezTo>
                <a:cubicBezTo>
                  <a:pt x="164" y="275"/>
                  <a:pt x="164" y="275"/>
                  <a:pt x="164" y="275"/>
                </a:cubicBezTo>
                <a:cubicBezTo>
                  <a:pt x="164" y="56"/>
                  <a:pt x="164" y="56"/>
                  <a:pt x="164" y="56"/>
                </a:cubicBezTo>
                <a:cubicBezTo>
                  <a:pt x="209" y="56"/>
                  <a:pt x="209" y="56"/>
                  <a:pt x="209" y="56"/>
                </a:cubicBezTo>
                <a:cubicBezTo>
                  <a:pt x="233" y="56"/>
                  <a:pt x="233" y="56"/>
                  <a:pt x="233" y="56"/>
                </a:cubicBezTo>
                <a:cubicBezTo>
                  <a:pt x="186" y="149"/>
                  <a:pt x="186" y="149"/>
                  <a:pt x="186" y="149"/>
                </a:cubicBezTo>
                <a:cubicBezTo>
                  <a:pt x="186" y="158"/>
                  <a:pt x="186" y="158"/>
                  <a:pt x="186" y="158"/>
                </a:cubicBezTo>
                <a:cubicBezTo>
                  <a:pt x="186" y="192"/>
                  <a:pt x="214" y="220"/>
                  <a:pt x="248" y="220"/>
                </a:cubicBezTo>
                <a:cubicBezTo>
                  <a:pt x="283" y="220"/>
                  <a:pt x="311" y="192"/>
                  <a:pt x="311" y="158"/>
                </a:cubicBezTo>
                <a:lnTo>
                  <a:pt x="311" y="149"/>
                </a:lnTo>
                <a:close/>
                <a:moveTo>
                  <a:pt x="62" y="202"/>
                </a:moveTo>
                <a:cubicBezTo>
                  <a:pt x="41" y="202"/>
                  <a:pt x="23" y="187"/>
                  <a:pt x="19" y="167"/>
                </a:cubicBezTo>
                <a:cubicBezTo>
                  <a:pt x="106" y="167"/>
                  <a:pt x="106" y="167"/>
                  <a:pt x="106" y="167"/>
                </a:cubicBezTo>
                <a:cubicBezTo>
                  <a:pt x="101" y="187"/>
                  <a:pt x="84" y="202"/>
                  <a:pt x="62" y="202"/>
                </a:cubicBezTo>
                <a:close/>
                <a:moveTo>
                  <a:pt x="20" y="149"/>
                </a:moveTo>
                <a:cubicBezTo>
                  <a:pt x="62" y="66"/>
                  <a:pt x="62" y="66"/>
                  <a:pt x="62" y="66"/>
                </a:cubicBezTo>
                <a:cubicBezTo>
                  <a:pt x="104" y="149"/>
                  <a:pt x="104" y="149"/>
                  <a:pt x="104" y="149"/>
                </a:cubicBezTo>
                <a:lnTo>
                  <a:pt x="20" y="149"/>
                </a:lnTo>
                <a:close/>
                <a:moveTo>
                  <a:pt x="248" y="66"/>
                </a:moveTo>
                <a:cubicBezTo>
                  <a:pt x="290" y="149"/>
                  <a:pt x="290" y="149"/>
                  <a:pt x="290" y="149"/>
                </a:cubicBezTo>
                <a:cubicBezTo>
                  <a:pt x="206" y="149"/>
                  <a:pt x="206" y="149"/>
                  <a:pt x="206" y="149"/>
                </a:cubicBezTo>
                <a:lnTo>
                  <a:pt x="248" y="66"/>
                </a:lnTo>
                <a:close/>
                <a:moveTo>
                  <a:pt x="248" y="202"/>
                </a:moveTo>
                <a:cubicBezTo>
                  <a:pt x="227" y="202"/>
                  <a:pt x="209" y="187"/>
                  <a:pt x="205" y="167"/>
                </a:cubicBezTo>
                <a:cubicBezTo>
                  <a:pt x="292" y="167"/>
                  <a:pt x="292" y="167"/>
                  <a:pt x="292" y="167"/>
                </a:cubicBezTo>
                <a:cubicBezTo>
                  <a:pt x="288" y="187"/>
                  <a:pt x="270" y="202"/>
                  <a:pt x="248" y="20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02E9252-B38D-4B9E-865B-75D16994C178}"/>
              </a:ext>
            </a:extLst>
          </p:cNvPr>
          <p:cNvSpPr/>
          <p:nvPr/>
        </p:nvSpPr>
        <p:spPr>
          <a:xfrm>
            <a:off x="6092419" y="1935725"/>
            <a:ext cx="6096000" cy="81560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Sozialversicherungsrech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>
                <a:latin typeface="Georgia" pitchFamily="18" charset="0"/>
                <a:cs typeface="Arial" pitchFamily="34" charset="0"/>
              </a:rPr>
              <a:t>12, 5 – 13,5 % vom Bruttolohn, aber niedrige </a:t>
            </a:r>
            <a:br>
              <a:rPr lang="de-DE" sz="1400" dirty="0">
                <a:latin typeface="Georgia" pitchFamily="18" charset="0"/>
                <a:cs typeface="Arial" pitchFamily="34" charset="0"/>
              </a:rPr>
            </a:br>
            <a:r>
              <a:rPr lang="de-DE" sz="1400" dirty="0">
                <a:latin typeface="Georgia" pitchFamily="18" charset="0"/>
                <a:cs typeface="Arial" pitchFamily="34" charset="0"/>
              </a:rPr>
              <a:t>Bemessungsgrenze</a:t>
            </a:r>
          </a:p>
        </p:txBody>
      </p:sp>
    </p:spTree>
    <p:extLst>
      <p:ext uri="{BB962C8B-B14F-4D97-AF65-F5344CB8AC3E}">
        <p14:creationId xmlns:p14="http://schemas.microsoft.com/office/powerpoint/2010/main" val="21991057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build="p"/>
      <p:bldP spid="25" grpId="0" build="p"/>
      <p:bldP spid="29" grpId="0" animBg="1"/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F64AF5B-11D2-6543-B5CF-5650B1504395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1B18FB6-3BF5-9049-8717-1E743F3D9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499016"/>
            <a:ext cx="5317807" cy="1387275"/>
          </a:xfrm>
        </p:spPr>
        <p:txBody>
          <a:bodyPr>
            <a:normAutofit/>
          </a:bodyPr>
          <a:lstStyle/>
          <a:p>
            <a:r>
              <a:rPr lang="en-GB" sz="4000" b="1" dirty="0" err="1">
                <a:solidFill>
                  <a:schemeClr val="accent1"/>
                </a:solidFill>
              </a:rPr>
              <a:t>Kontakt</a:t>
            </a:r>
            <a:r>
              <a:rPr lang="en-GB" sz="4000" b="1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B036D0-DC14-4473-8F74-C822DEBA07D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i 2020</a:t>
            </a:r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CED80E-1D1D-4165-B7AC-8D1AF3A2940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7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C44597DC-208A-2242-81C1-4330E3913384}"/>
              </a:ext>
            </a:extLst>
          </p:cNvPr>
          <p:cNvSpPr txBox="1">
            <a:spLocks/>
          </p:cNvSpPr>
          <p:nvPr/>
        </p:nvSpPr>
        <p:spPr>
          <a:xfrm>
            <a:off x="2235819" y="2103438"/>
            <a:ext cx="3680793" cy="1583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2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Dr. Heiko Büsing, LL.M (Ga.)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Rechtsanwalt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 / Senior Manager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Alsterufer 1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20354 Hamburg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T:   +49 (0) 40 6378-2385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M:  +49 (0) 151 16827782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Georgia"/>
              </a:rPr>
              <a:t>heiko.buesing@pwc.com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Georgia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Georgia"/>
            </a:endParaRPr>
          </a:p>
        </p:txBody>
      </p:sp>
      <p:sp>
        <p:nvSpPr>
          <p:cNvPr id="10" name="Google Shape;283;p25">
            <a:extLst>
              <a:ext uri="{FF2B5EF4-FFF2-40B4-BE49-F238E27FC236}">
                <a16:creationId xmlns:a16="http://schemas.microsoft.com/office/drawing/2014/main" id="{80BBBE3C-394D-5744-89A1-ACDB30FE37A0}"/>
              </a:ext>
            </a:extLst>
          </p:cNvPr>
          <p:cNvSpPr txBox="1">
            <a:spLocks/>
          </p:cNvSpPr>
          <p:nvPr/>
        </p:nvSpPr>
        <p:spPr>
          <a:xfrm>
            <a:off x="6582256" y="1886291"/>
            <a:ext cx="5481204" cy="422238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pertise</a:t>
            </a: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 disputes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atlich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richt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n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hiedsgerichte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 &amp; Distribution Agreements</a:t>
            </a: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ßenhandel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 und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schinenproduktio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kturprojekt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st-M&amp;A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igkeite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C-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erträg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ititonschutzrechtlich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itigkeiten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rache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utsch </a:t>
            </a: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glisch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80000" marR="0" lvl="2" indent="-1800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Freeform 17">
            <a:extLst>
              <a:ext uri="{FF2B5EF4-FFF2-40B4-BE49-F238E27FC236}">
                <a16:creationId xmlns:a16="http://schemas.microsoft.com/office/drawing/2014/main" id="{F5D5B87C-5703-E948-BB77-C4C1ADD53A8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582256" y="654281"/>
            <a:ext cx="1149088" cy="1152000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332 w 346"/>
              <a:gd name="T11" fmla="*/ 331 h 346"/>
              <a:gd name="T12" fmla="*/ 15 w 346"/>
              <a:gd name="T13" fmla="*/ 331 h 346"/>
              <a:gd name="T14" fmla="*/ 15 w 346"/>
              <a:gd name="T15" fmla="*/ 15 h 346"/>
              <a:gd name="T16" fmla="*/ 332 w 346"/>
              <a:gd name="T17" fmla="*/ 15 h 346"/>
              <a:gd name="T18" fmla="*/ 332 w 346"/>
              <a:gd name="T19" fmla="*/ 331 h 346"/>
              <a:gd name="T20" fmla="*/ 48 w 346"/>
              <a:gd name="T21" fmla="*/ 309 h 346"/>
              <a:gd name="T22" fmla="*/ 133 w 346"/>
              <a:gd name="T23" fmla="*/ 224 h 346"/>
              <a:gd name="T24" fmla="*/ 204 w 346"/>
              <a:gd name="T25" fmla="*/ 250 h 346"/>
              <a:gd name="T26" fmla="*/ 280 w 346"/>
              <a:gd name="T27" fmla="*/ 219 h 346"/>
              <a:gd name="T28" fmla="*/ 311 w 346"/>
              <a:gd name="T29" fmla="*/ 143 h 346"/>
              <a:gd name="T30" fmla="*/ 280 w 346"/>
              <a:gd name="T31" fmla="*/ 66 h 346"/>
              <a:gd name="T32" fmla="*/ 204 w 346"/>
              <a:gd name="T33" fmla="*/ 35 h 346"/>
              <a:gd name="T34" fmla="*/ 127 w 346"/>
              <a:gd name="T35" fmla="*/ 66 h 346"/>
              <a:gd name="T36" fmla="*/ 96 w 346"/>
              <a:gd name="T37" fmla="*/ 143 h 346"/>
              <a:gd name="T38" fmla="*/ 122 w 346"/>
              <a:gd name="T39" fmla="*/ 213 h 346"/>
              <a:gd name="T40" fmla="*/ 37 w 346"/>
              <a:gd name="T41" fmla="*/ 299 h 346"/>
              <a:gd name="T42" fmla="*/ 48 w 346"/>
              <a:gd name="T43" fmla="*/ 309 h 346"/>
              <a:gd name="T44" fmla="*/ 138 w 346"/>
              <a:gd name="T45" fmla="*/ 208 h 346"/>
              <a:gd name="T46" fmla="*/ 132 w 346"/>
              <a:gd name="T47" fmla="*/ 202 h 346"/>
              <a:gd name="T48" fmla="*/ 181 w 346"/>
              <a:gd name="T49" fmla="*/ 185 h 346"/>
              <a:gd name="T50" fmla="*/ 184 w 346"/>
              <a:gd name="T51" fmla="*/ 188 h 346"/>
              <a:gd name="T52" fmla="*/ 204 w 346"/>
              <a:gd name="T53" fmla="*/ 196 h 346"/>
              <a:gd name="T54" fmla="*/ 204 w 346"/>
              <a:gd name="T55" fmla="*/ 196 h 346"/>
              <a:gd name="T56" fmla="*/ 223 w 346"/>
              <a:gd name="T57" fmla="*/ 188 h 346"/>
              <a:gd name="T58" fmla="*/ 226 w 346"/>
              <a:gd name="T59" fmla="*/ 185 h 346"/>
              <a:gd name="T60" fmla="*/ 276 w 346"/>
              <a:gd name="T61" fmla="*/ 202 h 346"/>
              <a:gd name="T62" fmla="*/ 269 w 346"/>
              <a:gd name="T63" fmla="*/ 208 h 346"/>
              <a:gd name="T64" fmla="*/ 138 w 346"/>
              <a:gd name="T65" fmla="*/ 208 h 346"/>
              <a:gd name="T66" fmla="*/ 138 w 346"/>
              <a:gd name="T67" fmla="*/ 77 h 346"/>
              <a:gd name="T68" fmla="*/ 204 w 346"/>
              <a:gd name="T69" fmla="*/ 50 h 346"/>
              <a:gd name="T70" fmla="*/ 269 w 346"/>
              <a:gd name="T71" fmla="*/ 77 h 346"/>
              <a:gd name="T72" fmla="*/ 297 w 346"/>
              <a:gd name="T73" fmla="*/ 143 h 346"/>
              <a:gd name="T74" fmla="*/ 284 w 346"/>
              <a:gd name="T75" fmla="*/ 189 h 346"/>
              <a:gd name="T76" fmla="*/ 230 w 346"/>
              <a:gd name="T77" fmla="*/ 171 h 346"/>
              <a:gd name="T78" fmla="*/ 216 w 346"/>
              <a:gd name="T79" fmla="*/ 175 h 346"/>
              <a:gd name="T80" fmla="*/ 213 w 346"/>
              <a:gd name="T81" fmla="*/ 178 h 346"/>
              <a:gd name="T82" fmla="*/ 195 w 346"/>
              <a:gd name="T83" fmla="*/ 178 h 346"/>
              <a:gd name="T84" fmla="*/ 192 w 346"/>
              <a:gd name="T85" fmla="*/ 175 h 346"/>
              <a:gd name="T86" fmla="*/ 177 w 346"/>
              <a:gd name="T87" fmla="*/ 171 h 346"/>
              <a:gd name="T88" fmla="*/ 123 w 346"/>
              <a:gd name="T89" fmla="*/ 189 h 346"/>
              <a:gd name="T90" fmla="*/ 111 w 346"/>
              <a:gd name="T91" fmla="*/ 143 h 346"/>
              <a:gd name="T92" fmla="*/ 138 w 346"/>
              <a:gd name="T93" fmla="*/ 77 h 346"/>
              <a:gd name="T94" fmla="*/ 204 w 346"/>
              <a:gd name="T95" fmla="*/ 169 h 346"/>
              <a:gd name="T96" fmla="*/ 229 w 346"/>
              <a:gd name="T97" fmla="*/ 155 h 346"/>
              <a:gd name="T98" fmla="*/ 241 w 346"/>
              <a:gd name="T99" fmla="*/ 109 h 346"/>
              <a:gd name="T100" fmla="*/ 204 w 346"/>
              <a:gd name="T101" fmla="*/ 68 h 346"/>
              <a:gd name="T102" fmla="*/ 167 w 346"/>
              <a:gd name="T103" fmla="*/ 109 h 346"/>
              <a:gd name="T104" fmla="*/ 179 w 346"/>
              <a:gd name="T105" fmla="*/ 155 h 346"/>
              <a:gd name="T106" fmla="*/ 204 w 346"/>
              <a:gd name="T107" fmla="*/ 169 h 346"/>
              <a:gd name="T108" fmla="*/ 204 w 346"/>
              <a:gd name="T109" fmla="*/ 83 h 346"/>
              <a:gd name="T110" fmla="*/ 226 w 346"/>
              <a:gd name="T111" fmla="*/ 109 h 346"/>
              <a:gd name="T112" fmla="*/ 218 w 346"/>
              <a:gd name="T113" fmla="*/ 145 h 346"/>
              <a:gd name="T114" fmla="*/ 204 w 346"/>
              <a:gd name="T115" fmla="*/ 154 h 346"/>
              <a:gd name="T116" fmla="*/ 190 w 346"/>
              <a:gd name="T117" fmla="*/ 145 h 346"/>
              <a:gd name="T118" fmla="*/ 181 w 346"/>
              <a:gd name="T119" fmla="*/ 109 h 346"/>
              <a:gd name="T120" fmla="*/ 204 w 346"/>
              <a:gd name="T121" fmla="*/ 83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332" y="331"/>
                </a:moveTo>
                <a:cubicBezTo>
                  <a:pt x="15" y="331"/>
                  <a:pt x="15" y="331"/>
                  <a:pt x="15" y="331"/>
                </a:cubicBezTo>
                <a:cubicBezTo>
                  <a:pt x="15" y="15"/>
                  <a:pt x="15" y="15"/>
                  <a:pt x="15" y="15"/>
                </a:cubicBezTo>
                <a:cubicBezTo>
                  <a:pt x="332" y="15"/>
                  <a:pt x="332" y="15"/>
                  <a:pt x="332" y="15"/>
                </a:cubicBezTo>
                <a:lnTo>
                  <a:pt x="332" y="331"/>
                </a:lnTo>
                <a:close/>
                <a:moveTo>
                  <a:pt x="48" y="309"/>
                </a:moveTo>
                <a:cubicBezTo>
                  <a:pt x="133" y="224"/>
                  <a:pt x="133" y="224"/>
                  <a:pt x="133" y="224"/>
                </a:cubicBezTo>
                <a:cubicBezTo>
                  <a:pt x="153" y="241"/>
                  <a:pt x="178" y="250"/>
                  <a:pt x="204" y="250"/>
                </a:cubicBezTo>
                <a:cubicBezTo>
                  <a:pt x="231" y="250"/>
                  <a:pt x="259" y="240"/>
                  <a:pt x="280" y="219"/>
                </a:cubicBezTo>
                <a:cubicBezTo>
                  <a:pt x="300" y="198"/>
                  <a:pt x="311" y="171"/>
                  <a:pt x="311" y="143"/>
                </a:cubicBezTo>
                <a:cubicBezTo>
                  <a:pt x="311" y="114"/>
                  <a:pt x="300" y="87"/>
                  <a:pt x="280" y="66"/>
                </a:cubicBezTo>
                <a:cubicBezTo>
                  <a:pt x="260" y="46"/>
                  <a:pt x="232" y="35"/>
                  <a:pt x="204" y="35"/>
                </a:cubicBezTo>
                <a:cubicBezTo>
                  <a:pt x="175" y="35"/>
                  <a:pt x="148" y="46"/>
                  <a:pt x="127" y="66"/>
                </a:cubicBezTo>
                <a:cubicBezTo>
                  <a:pt x="107" y="87"/>
                  <a:pt x="96" y="114"/>
                  <a:pt x="96" y="143"/>
                </a:cubicBezTo>
                <a:cubicBezTo>
                  <a:pt x="96" y="169"/>
                  <a:pt x="105" y="194"/>
                  <a:pt x="122" y="213"/>
                </a:cubicBezTo>
                <a:cubicBezTo>
                  <a:pt x="37" y="299"/>
                  <a:pt x="37" y="299"/>
                  <a:pt x="37" y="299"/>
                </a:cubicBezTo>
                <a:lnTo>
                  <a:pt x="48" y="309"/>
                </a:lnTo>
                <a:close/>
                <a:moveTo>
                  <a:pt x="138" y="208"/>
                </a:moveTo>
                <a:cubicBezTo>
                  <a:pt x="136" y="206"/>
                  <a:pt x="134" y="204"/>
                  <a:pt x="132" y="202"/>
                </a:cubicBezTo>
                <a:cubicBezTo>
                  <a:pt x="181" y="185"/>
                  <a:pt x="181" y="185"/>
                  <a:pt x="181" y="185"/>
                </a:cubicBezTo>
                <a:cubicBezTo>
                  <a:pt x="184" y="188"/>
                  <a:pt x="184" y="188"/>
                  <a:pt x="184" y="188"/>
                </a:cubicBezTo>
                <a:cubicBezTo>
                  <a:pt x="189" y="193"/>
                  <a:pt x="196" y="196"/>
                  <a:pt x="204" y="196"/>
                </a:cubicBezTo>
                <a:cubicBezTo>
                  <a:pt x="204" y="196"/>
                  <a:pt x="204" y="196"/>
                  <a:pt x="204" y="196"/>
                </a:cubicBezTo>
                <a:cubicBezTo>
                  <a:pt x="211" y="196"/>
                  <a:pt x="218" y="193"/>
                  <a:pt x="223" y="188"/>
                </a:cubicBezTo>
                <a:cubicBezTo>
                  <a:pt x="226" y="185"/>
                  <a:pt x="226" y="185"/>
                  <a:pt x="226" y="185"/>
                </a:cubicBezTo>
                <a:cubicBezTo>
                  <a:pt x="276" y="202"/>
                  <a:pt x="276" y="202"/>
                  <a:pt x="276" y="202"/>
                </a:cubicBezTo>
                <a:cubicBezTo>
                  <a:pt x="274" y="204"/>
                  <a:pt x="272" y="206"/>
                  <a:pt x="269" y="208"/>
                </a:cubicBezTo>
                <a:cubicBezTo>
                  <a:pt x="233" y="245"/>
                  <a:pt x="174" y="245"/>
                  <a:pt x="138" y="208"/>
                </a:cubicBezTo>
                <a:close/>
                <a:moveTo>
                  <a:pt x="138" y="77"/>
                </a:moveTo>
                <a:cubicBezTo>
                  <a:pt x="155" y="59"/>
                  <a:pt x="179" y="50"/>
                  <a:pt x="204" y="50"/>
                </a:cubicBezTo>
                <a:cubicBezTo>
                  <a:pt x="229" y="50"/>
                  <a:pt x="252" y="59"/>
                  <a:pt x="269" y="77"/>
                </a:cubicBezTo>
                <a:cubicBezTo>
                  <a:pt x="287" y="94"/>
                  <a:pt x="297" y="118"/>
                  <a:pt x="297" y="143"/>
                </a:cubicBezTo>
                <a:cubicBezTo>
                  <a:pt x="297" y="159"/>
                  <a:pt x="292" y="175"/>
                  <a:pt x="284" y="189"/>
                </a:cubicBezTo>
                <a:cubicBezTo>
                  <a:pt x="230" y="171"/>
                  <a:pt x="230" y="171"/>
                  <a:pt x="230" y="171"/>
                </a:cubicBezTo>
                <a:cubicBezTo>
                  <a:pt x="225" y="169"/>
                  <a:pt x="220" y="171"/>
                  <a:pt x="216" y="175"/>
                </a:cubicBezTo>
                <a:cubicBezTo>
                  <a:pt x="213" y="178"/>
                  <a:pt x="213" y="178"/>
                  <a:pt x="213" y="178"/>
                </a:cubicBezTo>
                <a:cubicBezTo>
                  <a:pt x="208" y="183"/>
                  <a:pt x="199" y="183"/>
                  <a:pt x="195" y="178"/>
                </a:cubicBezTo>
                <a:cubicBezTo>
                  <a:pt x="192" y="175"/>
                  <a:pt x="192" y="175"/>
                  <a:pt x="192" y="175"/>
                </a:cubicBezTo>
                <a:cubicBezTo>
                  <a:pt x="188" y="171"/>
                  <a:pt x="182" y="169"/>
                  <a:pt x="177" y="171"/>
                </a:cubicBezTo>
                <a:cubicBezTo>
                  <a:pt x="123" y="189"/>
                  <a:pt x="123" y="189"/>
                  <a:pt x="123" y="189"/>
                </a:cubicBezTo>
                <a:cubicBezTo>
                  <a:pt x="115" y="175"/>
                  <a:pt x="111" y="159"/>
                  <a:pt x="111" y="143"/>
                </a:cubicBezTo>
                <a:cubicBezTo>
                  <a:pt x="111" y="118"/>
                  <a:pt x="120" y="94"/>
                  <a:pt x="138" y="77"/>
                </a:cubicBezTo>
                <a:close/>
                <a:moveTo>
                  <a:pt x="204" y="169"/>
                </a:moveTo>
                <a:cubicBezTo>
                  <a:pt x="215" y="169"/>
                  <a:pt x="222" y="162"/>
                  <a:pt x="229" y="155"/>
                </a:cubicBezTo>
                <a:cubicBezTo>
                  <a:pt x="237" y="146"/>
                  <a:pt x="241" y="130"/>
                  <a:pt x="241" y="109"/>
                </a:cubicBezTo>
                <a:cubicBezTo>
                  <a:pt x="241" y="86"/>
                  <a:pt x="224" y="68"/>
                  <a:pt x="204" y="68"/>
                </a:cubicBezTo>
                <a:cubicBezTo>
                  <a:pt x="183" y="68"/>
                  <a:pt x="167" y="86"/>
                  <a:pt x="167" y="109"/>
                </a:cubicBezTo>
                <a:cubicBezTo>
                  <a:pt x="167" y="130"/>
                  <a:pt x="171" y="146"/>
                  <a:pt x="179" y="155"/>
                </a:cubicBezTo>
                <a:cubicBezTo>
                  <a:pt x="186" y="162"/>
                  <a:pt x="192" y="169"/>
                  <a:pt x="204" y="169"/>
                </a:cubicBezTo>
                <a:close/>
                <a:moveTo>
                  <a:pt x="204" y="83"/>
                </a:moveTo>
                <a:cubicBezTo>
                  <a:pt x="216" y="83"/>
                  <a:pt x="226" y="95"/>
                  <a:pt x="226" y="109"/>
                </a:cubicBezTo>
                <a:cubicBezTo>
                  <a:pt x="226" y="126"/>
                  <a:pt x="223" y="139"/>
                  <a:pt x="218" y="145"/>
                </a:cubicBezTo>
                <a:cubicBezTo>
                  <a:pt x="211" y="153"/>
                  <a:pt x="208" y="154"/>
                  <a:pt x="204" y="154"/>
                </a:cubicBezTo>
                <a:cubicBezTo>
                  <a:pt x="199" y="154"/>
                  <a:pt x="197" y="153"/>
                  <a:pt x="190" y="145"/>
                </a:cubicBezTo>
                <a:cubicBezTo>
                  <a:pt x="184" y="139"/>
                  <a:pt x="181" y="126"/>
                  <a:pt x="181" y="109"/>
                </a:cubicBezTo>
                <a:cubicBezTo>
                  <a:pt x="181" y="95"/>
                  <a:pt x="191" y="83"/>
                  <a:pt x="204" y="8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04127CE-B45A-FF41-8AAA-01C809772CDB}"/>
              </a:ext>
            </a:extLst>
          </p:cNvPr>
          <p:cNvSpPr/>
          <p:nvPr/>
        </p:nvSpPr>
        <p:spPr>
          <a:xfrm>
            <a:off x="573639" y="4017818"/>
            <a:ext cx="5342973" cy="215438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Qualifikation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htsanwal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zugelassen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it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04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D04A0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htsgebiet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, IT, Commercial</a:t>
            </a:r>
          </a:p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vestitionsschutz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2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Pts val="1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tigation / Arbitration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Picture 14" descr="A photograph of Dr. Heiko Büsing.">
            <a:extLst>
              <a:ext uri="{FF2B5EF4-FFF2-40B4-BE49-F238E27FC236}">
                <a16:creationId xmlns:a16="http://schemas.microsoft.com/office/drawing/2014/main" id="{E28F8049-7106-466F-83D5-F5CA396D243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664"/>
          <a:stretch/>
        </p:blipFill>
        <p:spPr>
          <a:xfrm>
            <a:off x="573639" y="1806281"/>
            <a:ext cx="1482792" cy="2009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553216"/>
      </p:ext>
    </p:extLst>
  </p:cSld>
  <p:clrMapOvr>
    <a:masterClrMapping/>
  </p:clrMapOvr>
  <p:transition spd="slow" advTm="15243">
    <p:push dir="r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Vielen Dank für Ihre Aufmerksamkeit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de-DE"/>
              <a:t>© 2020 </a:t>
            </a:r>
            <a:r>
              <a:rPr lang="de-DE" dirty="0"/>
              <a:t>PricewaterhouseCoopers Legal Aktiengesellschaft Rechtsanwaltsgesellschaft. </a:t>
            </a:r>
            <a:br>
              <a:rPr lang="de-DE" dirty="0"/>
            </a:br>
            <a:r>
              <a:rPr lang="de-DE" dirty="0"/>
              <a:t>Alle Rechte vorbehalten. "</a:t>
            </a:r>
            <a:r>
              <a:rPr lang="de-DE" dirty="0" err="1"/>
              <a:t>PwC</a:t>
            </a:r>
            <a:r>
              <a:rPr lang="de-DE" dirty="0"/>
              <a:t> Legal" bezeichnet in diesem Dokument die PricewaterhouseCoopers Legal Aktiengesellschaft Rechtsanwaltsgesellschaft, die zum Netzwerk der PricewaterhouseCoopers International Limited (</a:t>
            </a:r>
            <a:r>
              <a:rPr lang="de-DE" dirty="0" err="1"/>
              <a:t>PwCIL</a:t>
            </a:r>
            <a:r>
              <a:rPr lang="de-DE" dirty="0"/>
              <a:t>) gehört. Jede der Mitgliedsgesellschaften der </a:t>
            </a:r>
            <a:r>
              <a:rPr lang="de-DE" dirty="0" err="1"/>
              <a:t>PwCIL</a:t>
            </a:r>
            <a:r>
              <a:rPr lang="de-DE" dirty="0"/>
              <a:t> ist eine rechtlich selbstständige Gesellschaft. </a:t>
            </a:r>
          </a:p>
        </p:txBody>
      </p:sp>
    </p:spTree>
    <p:extLst>
      <p:ext uri="{BB962C8B-B14F-4D97-AF65-F5344CB8AC3E}">
        <p14:creationId xmlns:p14="http://schemas.microsoft.com/office/powerpoint/2010/main" val="4768314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C1324E5-DCE5-9241-BB1C-7BC56C3E7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7D4767-E81A-4853-BCA4-439541DD0CA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 dirty="0"/>
              <a:t>Rechtliche Rahmenbedingungen für deutsche Unternehmen in der Mongolei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6F5E6D-53D3-4EFC-8FD0-5910EC71B9C9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dirty="0"/>
              <a:t>Juni 2020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19EA948-55F9-455C-932C-E7E48F6CB5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DAFE451-D353-4841-8665-941692626AB4}"/>
              </a:ext>
            </a:extLst>
          </p:cNvPr>
          <p:cNvSpPr/>
          <p:nvPr/>
        </p:nvSpPr>
        <p:spPr>
          <a:xfrm>
            <a:off x="0" y="2242930"/>
            <a:ext cx="767408" cy="3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108000" bIns="36000" rtlCol="0" anchor="ctr" anchorCtr="0"/>
          <a:lstStyle/>
          <a:p>
            <a:pPr algn="r">
              <a:lnSpc>
                <a:spcPct val="100000"/>
              </a:lnSpc>
            </a:pPr>
            <a:r>
              <a:rPr lang="de-DE" sz="24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41721AA-B895-E244-9899-E79DBB0DB3A9}"/>
              </a:ext>
            </a:extLst>
          </p:cNvPr>
          <p:cNvSpPr/>
          <p:nvPr/>
        </p:nvSpPr>
        <p:spPr>
          <a:xfrm>
            <a:off x="0" y="2800875"/>
            <a:ext cx="767408" cy="396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108000" bIns="36000" rtlCol="0" anchor="ctr" anchorCtr="0"/>
          <a:lstStyle/>
          <a:p>
            <a:pPr algn="r">
              <a:lnSpc>
                <a:spcPct val="100000"/>
              </a:lnSpc>
            </a:pPr>
            <a:r>
              <a:rPr lang="de-DE" sz="2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5808794-FF9B-3D49-B2CB-7AF13094D144}"/>
              </a:ext>
            </a:extLst>
          </p:cNvPr>
          <p:cNvSpPr/>
          <p:nvPr/>
        </p:nvSpPr>
        <p:spPr>
          <a:xfrm>
            <a:off x="0" y="3358820"/>
            <a:ext cx="767408" cy="396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108000" bIns="36000" rtlCol="0" anchor="ctr" anchorCtr="0"/>
          <a:lstStyle/>
          <a:p>
            <a:pPr algn="r">
              <a:lnSpc>
                <a:spcPct val="100000"/>
              </a:lnSpc>
            </a:pPr>
            <a:r>
              <a:rPr lang="de-DE" sz="2400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DFF8ABC-FDE6-274A-AE60-8A4E979EA8A9}"/>
              </a:ext>
            </a:extLst>
          </p:cNvPr>
          <p:cNvSpPr/>
          <p:nvPr/>
        </p:nvSpPr>
        <p:spPr>
          <a:xfrm>
            <a:off x="0" y="3916765"/>
            <a:ext cx="767408" cy="39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36000" tIns="36000" rIns="108000" bIns="36000" rtlCol="0" anchor="ctr" anchorCtr="0"/>
          <a:lstStyle/>
          <a:p>
            <a:pPr algn="r">
              <a:lnSpc>
                <a:spcPct val="100000"/>
              </a:lnSpc>
            </a:pPr>
            <a:r>
              <a:rPr lang="de-DE" sz="24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70384" y="2280250"/>
            <a:ext cx="10778704" cy="20005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defTabSz="685800">
              <a:spcAft>
                <a:spcPts val="2000"/>
              </a:spcAft>
              <a:buClr>
                <a:srgbClr val="D04A02"/>
              </a:buClr>
              <a:tabLst>
                <a:tab pos="11290300" algn="r"/>
              </a:tabLst>
            </a:pPr>
            <a:r>
              <a:rPr lang="de-DE" sz="2000" dirty="0">
                <a:solidFill>
                  <a:srgbClr val="000000"/>
                </a:solidFill>
              </a:rPr>
              <a:t>Internationale Abkommen &amp; Verträge - Allgemein	</a:t>
            </a:r>
            <a:r>
              <a:rPr lang="de-DE" sz="2000" dirty="0">
                <a:solidFill>
                  <a:srgbClr val="D04A02"/>
                </a:solidFill>
              </a:rPr>
              <a:t>04</a:t>
            </a:r>
          </a:p>
          <a:p>
            <a:pPr lvl="0" defTabSz="685800">
              <a:spcAft>
                <a:spcPts val="2000"/>
              </a:spcAft>
              <a:buClr>
                <a:srgbClr val="D04A02"/>
              </a:buClr>
              <a:tabLst>
                <a:tab pos="11290300" algn="r"/>
              </a:tabLst>
            </a:pPr>
            <a:r>
              <a:rPr lang="de-DE" sz="2000" dirty="0">
                <a:solidFill>
                  <a:srgbClr val="000000"/>
                </a:solidFill>
              </a:rPr>
              <a:t>Sonderfall Abfall: Das Baseler Übereinkommen	</a:t>
            </a:r>
            <a:r>
              <a:rPr lang="de-DE" sz="2000" dirty="0">
                <a:solidFill>
                  <a:srgbClr val="D04A02"/>
                </a:solidFill>
              </a:rPr>
              <a:t>09</a:t>
            </a:r>
          </a:p>
          <a:p>
            <a:pPr lvl="0" defTabSz="685800">
              <a:spcAft>
                <a:spcPts val="2000"/>
              </a:spcAft>
              <a:buClr>
                <a:srgbClr val="D04A02"/>
              </a:buClr>
              <a:tabLst>
                <a:tab pos="11290300" algn="r"/>
              </a:tabLst>
            </a:pPr>
            <a:r>
              <a:rPr lang="de-DE" sz="2000" dirty="0">
                <a:solidFill>
                  <a:srgbClr val="000000"/>
                </a:solidFill>
              </a:rPr>
              <a:t>Mongolisches Recht	</a:t>
            </a:r>
            <a:r>
              <a:rPr lang="de-DE" sz="2000" dirty="0">
                <a:solidFill>
                  <a:srgbClr val="D04A02"/>
                </a:solidFill>
              </a:rPr>
              <a:t>12</a:t>
            </a:r>
          </a:p>
          <a:p>
            <a:pPr lvl="0" defTabSz="685800">
              <a:spcAft>
                <a:spcPts val="2000"/>
              </a:spcAft>
              <a:buClr>
                <a:srgbClr val="D04A02"/>
              </a:buClr>
              <a:tabLst>
                <a:tab pos="11290300" algn="r"/>
              </a:tabLst>
            </a:pPr>
            <a:r>
              <a:rPr lang="de-DE" sz="2000" dirty="0">
                <a:solidFill>
                  <a:srgbClr val="000000"/>
                </a:solidFill>
              </a:rPr>
              <a:t>Ihr Kontakt	</a:t>
            </a:r>
            <a:r>
              <a:rPr lang="de-DE" sz="2000" dirty="0">
                <a:solidFill>
                  <a:srgbClr val="D04A02"/>
                </a:solidFill>
              </a:rPr>
              <a:t> 15</a:t>
            </a:r>
            <a:endParaRPr lang="de-DE" sz="2000" dirty="0">
              <a:solidFill>
                <a:srgbClr val="7D7D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050473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Anwendbares Recht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B7C235F-1B2A-4892-AFF0-114C3D3756B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 dirty="0"/>
              <a:t>Rechtliche Rahmenbedingungen für deutsche Unternehmen in der Mongolei 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0B4F4B-0C1A-42EA-9976-866224DA283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dirty="0"/>
              <a:t>Juni 202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801C37-55E7-4F64-AA00-6041126561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Nationale und Internationale Regelunge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89EECC-C415-487E-8456-5FA319D866C2}"/>
              </a:ext>
            </a:extLst>
          </p:cNvPr>
          <p:cNvGrpSpPr/>
          <p:nvPr/>
        </p:nvGrpSpPr>
        <p:grpSpPr>
          <a:xfrm>
            <a:off x="4148670" y="2261126"/>
            <a:ext cx="7163510" cy="3622411"/>
            <a:chOff x="4148670" y="2261126"/>
            <a:chExt cx="7163510" cy="3622411"/>
          </a:xfrm>
        </p:grpSpPr>
        <p:grpSp>
          <p:nvGrpSpPr>
            <p:cNvPr id="10" name="MONGOLIA">
              <a:extLst>
                <a:ext uri="{FF2B5EF4-FFF2-40B4-BE49-F238E27FC236}">
                  <a16:creationId xmlns:a16="http://schemas.microsoft.com/office/drawing/2014/main" id="{846887DF-3702-4E47-9189-EBA5B84A951D}"/>
                </a:ext>
              </a:extLst>
            </p:cNvPr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>
            <a:xfrm>
              <a:off x="4186990" y="2261126"/>
              <a:ext cx="7125190" cy="3622411"/>
              <a:chOff x="544437" y="2069306"/>
              <a:chExt cx="8964084" cy="4557296"/>
            </a:xfrm>
          </p:grpSpPr>
          <p:sp>
            <p:nvSpPr>
              <p:cNvPr id="11" name="Mongolia">
                <a:extLst>
                  <a:ext uri="{FF2B5EF4-FFF2-40B4-BE49-F238E27FC236}">
                    <a16:creationId xmlns:a16="http://schemas.microsoft.com/office/drawing/2014/main" id="{3C3B5704-9441-4476-94B7-3F2C074A052A}"/>
                  </a:ext>
                </a:extLst>
              </p:cNvPr>
              <p:cNvSpPr/>
              <p:nvPr/>
            </p:nvSpPr>
            <p:spPr bwMode="gray">
              <a:xfrm>
                <a:off x="752400" y="2181600"/>
                <a:ext cx="8601075" cy="4305300"/>
              </a:xfrm>
              <a:custGeom>
                <a:avLst/>
                <a:gdLst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19575 w 8601075"/>
                  <a:gd name="connsiteY34" fmla="*/ 838200 h 4333875"/>
                  <a:gd name="connsiteX35" fmla="*/ 4105275 w 8601075"/>
                  <a:gd name="connsiteY35" fmla="*/ 828675 h 4333875"/>
                  <a:gd name="connsiteX36" fmla="*/ 4010025 w 8601075"/>
                  <a:gd name="connsiteY36" fmla="*/ 771525 h 4333875"/>
                  <a:gd name="connsiteX37" fmla="*/ 3895725 w 8601075"/>
                  <a:gd name="connsiteY37" fmla="*/ 695325 h 4333875"/>
                  <a:gd name="connsiteX38" fmla="*/ 3781425 w 8601075"/>
                  <a:gd name="connsiteY38" fmla="*/ 590550 h 4333875"/>
                  <a:gd name="connsiteX39" fmla="*/ 3810000 w 8601075"/>
                  <a:gd name="connsiteY39" fmla="*/ 514350 h 4333875"/>
                  <a:gd name="connsiteX40" fmla="*/ 3781425 w 8601075"/>
                  <a:gd name="connsiteY40" fmla="*/ 390525 h 4333875"/>
                  <a:gd name="connsiteX41" fmla="*/ 3771900 w 8601075"/>
                  <a:gd name="connsiteY41" fmla="*/ 352425 h 4333875"/>
                  <a:gd name="connsiteX42" fmla="*/ 3600450 w 8601075"/>
                  <a:gd name="connsiteY42" fmla="*/ 285750 h 4333875"/>
                  <a:gd name="connsiteX43" fmla="*/ 3533775 w 8601075"/>
                  <a:gd name="connsiteY43" fmla="*/ 314325 h 4333875"/>
                  <a:gd name="connsiteX44" fmla="*/ 3409950 w 8601075"/>
                  <a:gd name="connsiteY44" fmla="*/ 190500 h 4333875"/>
                  <a:gd name="connsiteX45" fmla="*/ 3257550 w 8601075"/>
                  <a:gd name="connsiteY45" fmla="*/ 180975 h 4333875"/>
                  <a:gd name="connsiteX46" fmla="*/ 3209925 w 8601075"/>
                  <a:gd name="connsiteY46" fmla="*/ 104775 h 4333875"/>
                  <a:gd name="connsiteX47" fmla="*/ 3152775 w 8601075"/>
                  <a:gd name="connsiteY47" fmla="*/ 104775 h 4333875"/>
                  <a:gd name="connsiteX48" fmla="*/ 2990850 w 8601075"/>
                  <a:gd name="connsiteY48" fmla="*/ 0 h 4333875"/>
                  <a:gd name="connsiteX49" fmla="*/ 2933700 w 8601075"/>
                  <a:gd name="connsiteY49" fmla="*/ 114300 h 4333875"/>
                  <a:gd name="connsiteX50" fmla="*/ 2867025 w 8601075"/>
                  <a:gd name="connsiteY50" fmla="*/ 171450 h 4333875"/>
                  <a:gd name="connsiteX51" fmla="*/ 2867025 w 8601075"/>
                  <a:gd name="connsiteY51" fmla="*/ 171450 h 4333875"/>
                  <a:gd name="connsiteX52" fmla="*/ 2800350 w 8601075"/>
                  <a:gd name="connsiteY52" fmla="*/ 257175 h 4333875"/>
                  <a:gd name="connsiteX53" fmla="*/ 2724150 w 8601075"/>
                  <a:gd name="connsiteY53" fmla="*/ 304800 h 4333875"/>
                  <a:gd name="connsiteX54" fmla="*/ 2705100 w 8601075"/>
                  <a:gd name="connsiteY54" fmla="*/ 466725 h 4333875"/>
                  <a:gd name="connsiteX55" fmla="*/ 2762250 w 8601075"/>
                  <a:gd name="connsiteY55" fmla="*/ 571500 h 4333875"/>
                  <a:gd name="connsiteX56" fmla="*/ 2800350 w 8601075"/>
                  <a:gd name="connsiteY56" fmla="*/ 628650 h 4333875"/>
                  <a:gd name="connsiteX57" fmla="*/ 2752725 w 8601075"/>
                  <a:gd name="connsiteY57" fmla="*/ 781050 h 4333875"/>
                  <a:gd name="connsiteX58" fmla="*/ 2686050 w 8601075"/>
                  <a:gd name="connsiteY58" fmla="*/ 857250 h 4333875"/>
                  <a:gd name="connsiteX59" fmla="*/ 2609850 w 8601075"/>
                  <a:gd name="connsiteY59" fmla="*/ 857250 h 4333875"/>
                  <a:gd name="connsiteX60" fmla="*/ 2514600 w 8601075"/>
                  <a:gd name="connsiteY60" fmla="*/ 914400 h 4333875"/>
                  <a:gd name="connsiteX61" fmla="*/ 2400300 w 8601075"/>
                  <a:gd name="connsiteY61" fmla="*/ 866775 h 4333875"/>
                  <a:gd name="connsiteX62" fmla="*/ 2305050 w 8601075"/>
                  <a:gd name="connsiteY62" fmla="*/ 809625 h 4333875"/>
                  <a:gd name="connsiteX63" fmla="*/ 2200275 w 8601075"/>
                  <a:gd name="connsiteY63" fmla="*/ 752475 h 4333875"/>
                  <a:gd name="connsiteX64" fmla="*/ 2105025 w 8601075"/>
                  <a:gd name="connsiteY64" fmla="*/ 762000 h 4333875"/>
                  <a:gd name="connsiteX65" fmla="*/ 1990725 w 8601075"/>
                  <a:gd name="connsiteY65" fmla="*/ 762000 h 4333875"/>
                  <a:gd name="connsiteX66" fmla="*/ 1885950 w 8601075"/>
                  <a:gd name="connsiteY66" fmla="*/ 742950 h 4333875"/>
                  <a:gd name="connsiteX67" fmla="*/ 1800225 w 8601075"/>
                  <a:gd name="connsiteY67" fmla="*/ 638175 h 4333875"/>
                  <a:gd name="connsiteX68" fmla="*/ 1809750 w 8601075"/>
                  <a:gd name="connsiteY68" fmla="*/ 495300 h 4333875"/>
                  <a:gd name="connsiteX69" fmla="*/ 1733550 w 8601075"/>
                  <a:gd name="connsiteY69" fmla="*/ 466725 h 4333875"/>
                  <a:gd name="connsiteX70" fmla="*/ 1485900 w 8601075"/>
                  <a:gd name="connsiteY70" fmla="*/ 419100 h 4333875"/>
                  <a:gd name="connsiteX71" fmla="*/ 1457325 w 8601075"/>
                  <a:gd name="connsiteY71" fmla="*/ 323850 h 4333875"/>
                  <a:gd name="connsiteX72" fmla="*/ 1457325 w 8601075"/>
                  <a:gd name="connsiteY72" fmla="*/ 323850 h 4333875"/>
                  <a:gd name="connsiteX73" fmla="*/ 1323975 w 8601075"/>
                  <a:gd name="connsiteY73" fmla="*/ 285750 h 4333875"/>
                  <a:gd name="connsiteX74" fmla="*/ 1266825 w 8601075"/>
                  <a:gd name="connsiteY74" fmla="*/ 352425 h 4333875"/>
                  <a:gd name="connsiteX75" fmla="*/ 1009650 w 8601075"/>
                  <a:gd name="connsiteY75" fmla="*/ 390525 h 4333875"/>
                  <a:gd name="connsiteX76" fmla="*/ 828675 w 8601075"/>
                  <a:gd name="connsiteY76" fmla="*/ 447675 h 4333875"/>
                  <a:gd name="connsiteX77" fmla="*/ 619125 w 8601075"/>
                  <a:gd name="connsiteY77" fmla="*/ 533400 h 4333875"/>
                  <a:gd name="connsiteX78" fmla="*/ 619125 w 8601075"/>
                  <a:gd name="connsiteY78" fmla="*/ 533400 h 4333875"/>
                  <a:gd name="connsiteX79" fmla="*/ 561975 w 8601075"/>
                  <a:gd name="connsiteY79" fmla="*/ 619125 h 4333875"/>
                  <a:gd name="connsiteX80" fmla="*/ 447675 w 8601075"/>
                  <a:gd name="connsiteY80" fmla="*/ 63817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295275 w 8601075"/>
                  <a:gd name="connsiteY83" fmla="*/ 657225 h 4333875"/>
                  <a:gd name="connsiteX84" fmla="*/ 180975 w 8601075"/>
                  <a:gd name="connsiteY84" fmla="*/ 638175 h 4333875"/>
                  <a:gd name="connsiteX85" fmla="*/ 180975 w 8601075"/>
                  <a:gd name="connsiteY85" fmla="*/ 638175 h 4333875"/>
                  <a:gd name="connsiteX86" fmla="*/ 57150 w 8601075"/>
                  <a:gd name="connsiteY86" fmla="*/ 733425 h 4333875"/>
                  <a:gd name="connsiteX87" fmla="*/ 19050 w 8601075"/>
                  <a:gd name="connsiteY87" fmla="*/ 790575 h 4333875"/>
                  <a:gd name="connsiteX88" fmla="*/ 0 w 8601075"/>
                  <a:gd name="connsiteY88" fmla="*/ 876300 h 4333875"/>
                  <a:gd name="connsiteX89" fmla="*/ 57150 w 8601075"/>
                  <a:gd name="connsiteY89" fmla="*/ 923925 h 4333875"/>
                  <a:gd name="connsiteX90" fmla="*/ 57150 w 8601075"/>
                  <a:gd name="connsiteY90" fmla="*/ 923925 h 4333875"/>
                  <a:gd name="connsiteX91" fmla="*/ 209550 w 8601075"/>
                  <a:gd name="connsiteY91" fmla="*/ 1114425 h 4333875"/>
                  <a:gd name="connsiteX92" fmla="*/ 209550 w 8601075"/>
                  <a:gd name="connsiteY92" fmla="*/ 1114425 h 4333875"/>
                  <a:gd name="connsiteX93" fmla="*/ 266700 w 8601075"/>
                  <a:gd name="connsiteY93" fmla="*/ 1295400 h 4333875"/>
                  <a:gd name="connsiteX94" fmla="*/ 409575 w 8601075"/>
                  <a:gd name="connsiteY94" fmla="*/ 1276350 h 4333875"/>
                  <a:gd name="connsiteX95" fmla="*/ 466725 w 8601075"/>
                  <a:gd name="connsiteY95" fmla="*/ 1362075 h 4333875"/>
                  <a:gd name="connsiteX96" fmla="*/ 542925 w 8601075"/>
                  <a:gd name="connsiteY96" fmla="*/ 1428750 h 4333875"/>
                  <a:gd name="connsiteX97" fmla="*/ 628650 w 8601075"/>
                  <a:gd name="connsiteY97" fmla="*/ 1571625 h 4333875"/>
                  <a:gd name="connsiteX98" fmla="*/ 628650 w 8601075"/>
                  <a:gd name="connsiteY98" fmla="*/ 1704975 h 4333875"/>
                  <a:gd name="connsiteX99" fmla="*/ 676275 w 8601075"/>
                  <a:gd name="connsiteY99" fmla="*/ 1771650 h 4333875"/>
                  <a:gd name="connsiteX100" fmla="*/ 657225 w 8601075"/>
                  <a:gd name="connsiteY100" fmla="*/ 2000250 h 4333875"/>
                  <a:gd name="connsiteX101" fmla="*/ 619125 w 8601075"/>
                  <a:gd name="connsiteY101" fmla="*/ 2095500 h 4333875"/>
                  <a:gd name="connsiteX102" fmla="*/ 542925 w 8601075"/>
                  <a:gd name="connsiteY102" fmla="*/ 2228850 h 4333875"/>
                  <a:gd name="connsiteX103" fmla="*/ 485775 w 8601075"/>
                  <a:gd name="connsiteY103" fmla="*/ 2362200 h 4333875"/>
                  <a:gd name="connsiteX104" fmla="*/ 552450 w 8601075"/>
                  <a:gd name="connsiteY104" fmla="*/ 2486025 h 4333875"/>
                  <a:gd name="connsiteX105" fmla="*/ 771525 w 8601075"/>
                  <a:gd name="connsiteY105" fmla="*/ 2571750 h 4333875"/>
                  <a:gd name="connsiteX106" fmla="*/ 866775 w 8601075"/>
                  <a:gd name="connsiteY106" fmla="*/ 2571750 h 4333875"/>
                  <a:gd name="connsiteX107" fmla="*/ 914400 w 8601075"/>
                  <a:gd name="connsiteY107" fmla="*/ 2638425 h 4333875"/>
                  <a:gd name="connsiteX108" fmla="*/ 1066800 w 8601075"/>
                  <a:gd name="connsiteY108" fmla="*/ 2638425 h 4333875"/>
                  <a:gd name="connsiteX109" fmla="*/ 1285875 w 8601075"/>
                  <a:gd name="connsiteY109" fmla="*/ 2705100 h 4333875"/>
                  <a:gd name="connsiteX110" fmla="*/ 1438275 w 8601075"/>
                  <a:gd name="connsiteY110" fmla="*/ 2838450 h 4333875"/>
                  <a:gd name="connsiteX111" fmla="*/ 1485900 w 8601075"/>
                  <a:gd name="connsiteY111" fmla="*/ 2914650 h 4333875"/>
                  <a:gd name="connsiteX112" fmla="*/ 1657350 w 8601075"/>
                  <a:gd name="connsiteY112" fmla="*/ 3038475 h 4333875"/>
                  <a:gd name="connsiteX113" fmla="*/ 1752600 w 8601075"/>
                  <a:gd name="connsiteY113" fmla="*/ 3057525 h 4333875"/>
                  <a:gd name="connsiteX114" fmla="*/ 1724025 w 8601075"/>
                  <a:gd name="connsiteY114" fmla="*/ 3143250 h 4333875"/>
                  <a:gd name="connsiteX115" fmla="*/ 1724025 w 8601075"/>
                  <a:gd name="connsiteY115" fmla="*/ 3143250 h 4333875"/>
                  <a:gd name="connsiteX116" fmla="*/ 1781175 w 8601075"/>
                  <a:gd name="connsiteY116" fmla="*/ 3181350 h 4333875"/>
                  <a:gd name="connsiteX117" fmla="*/ 1819275 w 8601075"/>
                  <a:gd name="connsiteY117" fmla="*/ 3362325 h 4333875"/>
                  <a:gd name="connsiteX118" fmla="*/ 1828800 w 8601075"/>
                  <a:gd name="connsiteY118" fmla="*/ 3457575 h 4333875"/>
                  <a:gd name="connsiteX119" fmla="*/ 1971675 w 8601075"/>
                  <a:gd name="connsiteY119" fmla="*/ 3590925 h 4333875"/>
                  <a:gd name="connsiteX120" fmla="*/ 1990725 w 8601075"/>
                  <a:gd name="connsiteY120" fmla="*/ 3714750 h 4333875"/>
                  <a:gd name="connsiteX121" fmla="*/ 2200275 w 8601075"/>
                  <a:gd name="connsiteY121" fmla="*/ 3695700 h 4333875"/>
                  <a:gd name="connsiteX122" fmla="*/ 2886075 w 8601075"/>
                  <a:gd name="connsiteY122" fmla="*/ 3886200 h 4333875"/>
                  <a:gd name="connsiteX123" fmla="*/ 3038475 w 8601075"/>
                  <a:gd name="connsiteY123" fmla="*/ 3819525 h 4333875"/>
                  <a:gd name="connsiteX124" fmla="*/ 3105150 w 8601075"/>
                  <a:gd name="connsiteY124" fmla="*/ 3867150 h 4333875"/>
                  <a:gd name="connsiteX125" fmla="*/ 3181350 w 8601075"/>
                  <a:gd name="connsiteY125" fmla="*/ 3800475 h 4333875"/>
                  <a:gd name="connsiteX126" fmla="*/ 3590925 w 8601075"/>
                  <a:gd name="connsiteY126" fmla="*/ 3943350 h 4333875"/>
                  <a:gd name="connsiteX127" fmla="*/ 3686175 w 8601075"/>
                  <a:gd name="connsiteY127" fmla="*/ 4057650 h 4333875"/>
                  <a:gd name="connsiteX128" fmla="*/ 3838575 w 8601075"/>
                  <a:gd name="connsiteY128" fmla="*/ 4057650 h 4333875"/>
                  <a:gd name="connsiteX129" fmla="*/ 4162425 w 8601075"/>
                  <a:gd name="connsiteY129" fmla="*/ 4248150 h 4333875"/>
                  <a:gd name="connsiteX130" fmla="*/ 4391025 w 8601075"/>
                  <a:gd name="connsiteY130" fmla="*/ 4200525 h 4333875"/>
                  <a:gd name="connsiteX131" fmla="*/ 4410075 w 8601075"/>
                  <a:gd name="connsiteY131" fmla="*/ 4305300 h 4333875"/>
                  <a:gd name="connsiteX132" fmla="*/ 4505325 w 8601075"/>
                  <a:gd name="connsiteY132" fmla="*/ 4276725 h 4333875"/>
                  <a:gd name="connsiteX133" fmla="*/ 4572000 w 8601075"/>
                  <a:gd name="connsiteY133" fmla="*/ 4333875 h 4333875"/>
                  <a:gd name="connsiteX134" fmla="*/ 4591050 w 8601075"/>
                  <a:gd name="connsiteY134" fmla="*/ 4248150 h 4333875"/>
                  <a:gd name="connsiteX135" fmla="*/ 5295900 w 8601075"/>
                  <a:gd name="connsiteY135" fmla="*/ 3924300 h 4333875"/>
                  <a:gd name="connsiteX136" fmla="*/ 5353050 w 8601075"/>
                  <a:gd name="connsiteY136" fmla="*/ 3990975 h 4333875"/>
                  <a:gd name="connsiteX137" fmla="*/ 5524500 w 8601075"/>
                  <a:gd name="connsiteY137" fmla="*/ 3914775 h 4333875"/>
                  <a:gd name="connsiteX138" fmla="*/ 5667375 w 8601075"/>
                  <a:gd name="connsiteY138" fmla="*/ 3962400 h 4333875"/>
                  <a:gd name="connsiteX139" fmla="*/ 5753100 w 8601075"/>
                  <a:gd name="connsiteY139" fmla="*/ 3924300 h 4333875"/>
                  <a:gd name="connsiteX140" fmla="*/ 5905500 w 8601075"/>
                  <a:gd name="connsiteY140" fmla="*/ 3943350 h 4333875"/>
                  <a:gd name="connsiteX141" fmla="*/ 6000750 w 8601075"/>
                  <a:gd name="connsiteY141" fmla="*/ 3800475 h 4333875"/>
                  <a:gd name="connsiteX142" fmla="*/ 6153150 w 8601075"/>
                  <a:gd name="connsiteY142" fmla="*/ 3781425 h 4333875"/>
                  <a:gd name="connsiteX143" fmla="*/ 6257925 w 8601075"/>
                  <a:gd name="connsiteY143" fmla="*/ 3581400 h 4333875"/>
                  <a:gd name="connsiteX144" fmla="*/ 6448425 w 8601075"/>
                  <a:gd name="connsiteY144" fmla="*/ 3448050 h 4333875"/>
                  <a:gd name="connsiteX145" fmla="*/ 6581775 w 8601075"/>
                  <a:gd name="connsiteY145" fmla="*/ 3276600 h 4333875"/>
                  <a:gd name="connsiteX146" fmla="*/ 6496050 w 8601075"/>
                  <a:gd name="connsiteY146" fmla="*/ 3228975 h 4333875"/>
                  <a:gd name="connsiteX147" fmla="*/ 6438900 w 8601075"/>
                  <a:gd name="connsiteY147" fmla="*/ 3162300 h 4333875"/>
                  <a:gd name="connsiteX148" fmla="*/ 6419850 w 8601075"/>
                  <a:gd name="connsiteY148" fmla="*/ 3105150 h 4333875"/>
                  <a:gd name="connsiteX149" fmla="*/ 6362700 w 8601075"/>
                  <a:gd name="connsiteY149" fmla="*/ 3076575 h 4333875"/>
                  <a:gd name="connsiteX150" fmla="*/ 6410325 w 8601075"/>
                  <a:gd name="connsiteY150" fmla="*/ 3019425 h 4333875"/>
                  <a:gd name="connsiteX151" fmla="*/ 6438900 w 8601075"/>
                  <a:gd name="connsiteY151" fmla="*/ 2819400 h 4333875"/>
                  <a:gd name="connsiteX152" fmla="*/ 6496050 w 8601075"/>
                  <a:gd name="connsiteY152" fmla="*/ 2762250 h 4333875"/>
                  <a:gd name="connsiteX153" fmla="*/ 6657975 w 8601075"/>
                  <a:gd name="connsiteY153" fmla="*/ 2752725 h 4333875"/>
                  <a:gd name="connsiteX154" fmla="*/ 6781800 w 8601075"/>
                  <a:gd name="connsiteY154" fmla="*/ 2838450 h 4333875"/>
                  <a:gd name="connsiteX155" fmla="*/ 7010400 w 8601075"/>
                  <a:gd name="connsiteY155" fmla="*/ 2838450 h 4333875"/>
                  <a:gd name="connsiteX156" fmla="*/ 7162800 w 8601075"/>
                  <a:gd name="connsiteY156" fmla="*/ 2705100 h 4333875"/>
                  <a:gd name="connsiteX157" fmla="*/ 7229475 w 8601075"/>
                  <a:gd name="connsiteY157" fmla="*/ 2590800 h 4333875"/>
                  <a:gd name="connsiteX158" fmla="*/ 7248525 w 8601075"/>
                  <a:gd name="connsiteY158" fmla="*/ 2524125 h 4333875"/>
                  <a:gd name="connsiteX159" fmla="*/ 7372350 w 8601075"/>
                  <a:gd name="connsiteY159" fmla="*/ 2543175 h 4333875"/>
                  <a:gd name="connsiteX160" fmla="*/ 7553325 w 8601075"/>
                  <a:gd name="connsiteY160" fmla="*/ 2447925 h 4333875"/>
                  <a:gd name="connsiteX161" fmla="*/ 7620000 w 8601075"/>
                  <a:gd name="connsiteY161" fmla="*/ 2324100 h 4333875"/>
                  <a:gd name="connsiteX162" fmla="*/ 7696200 w 8601075"/>
                  <a:gd name="connsiteY162" fmla="*/ 2314575 h 4333875"/>
                  <a:gd name="connsiteX163" fmla="*/ 7658100 w 8601075"/>
                  <a:gd name="connsiteY163" fmla="*/ 2257425 h 4333875"/>
                  <a:gd name="connsiteX164" fmla="*/ 7753350 w 8601075"/>
                  <a:gd name="connsiteY164" fmla="*/ 2057400 h 4333875"/>
                  <a:gd name="connsiteX165" fmla="*/ 7934325 w 8601075"/>
                  <a:gd name="connsiteY165" fmla="*/ 2028825 h 4333875"/>
                  <a:gd name="connsiteX166" fmla="*/ 7953375 w 8601075"/>
                  <a:gd name="connsiteY166" fmla="*/ 1952625 h 4333875"/>
                  <a:gd name="connsiteX167" fmla="*/ 7953375 w 8601075"/>
                  <a:gd name="connsiteY167" fmla="*/ 1952625 h 4333875"/>
                  <a:gd name="connsiteX168" fmla="*/ 8010525 w 8601075"/>
                  <a:gd name="connsiteY168" fmla="*/ 1895475 h 4333875"/>
                  <a:gd name="connsiteX169" fmla="*/ 8048625 w 8601075"/>
                  <a:gd name="connsiteY169" fmla="*/ 1971675 h 4333875"/>
                  <a:gd name="connsiteX170" fmla="*/ 8077200 w 8601075"/>
                  <a:gd name="connsiteY170" fmla="*/ 1885950 h 4333875"/>
                  <a:gd name="connsiteX171" fmla="*/ 8220075 w 8601075"/>
                  <a:gd name="connsiteY171" fmla="*/ 1847850 h 4333875"/>
                  <a:gd name="connsiteX172" fmla="*/ 8296275 w 8601075"/>
                  <a:gd name="connsiteY172" fmla="*/ 1809750 h 4333875"/>
                  <a:gd name="connsiteX173" fmla="*/ 8324850 w 8601075"/>
                  <a:gd name="connsiteY173" fmla="*/ 1790700 h 4333875"/>
                  <a:gd name="connsiteX174" fmla="*/ 8410575 w 8601075"/>
                  <a:gd name="connsiteY174" fmla="*/ 1847850 h 4333875"/>
                  <a:gd name="connsiteX175" fmla="*/ 8505825 w 8601075"/>
                  <a:gd name="connsiteY175" fmla="*/ 1781175 h 4333875"/>
                  <a:gd name="connsiteX176" fmla="*/ 8572500 w 8601075"/>
                  <a:gd name="connsiteY176" fmla="*/ 1809750 h 4333875"/>
                  <a:gd name="connsiteX177" fmla="*/ 8601075 w 8601075"/>
                  <a:gd name="connsiteY177" fmla="*/ 1704975 h 4333875"/>
                  <a:gd name="connsiteX178" fmla="*/ 8553450 w 8601075"/>
                  <a:gd name="connsiteY178" fmla="*/ 1676400 h 4333875"/>
                  <a:gd name="connsiteX179" fmla="*/ 8534400 w 8601075"/>
                  <a:gd name="connsiteY179" fmla="*/ 1609725 h 4333875"/>
                  <a:gd name="connsiteX180" fmla="*/ 8277225 w 8601075"/>
                  <a:gd name="connsiteY180" fmla="*/ 1409700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124825 w 8601075"/>
                  <a:gd name="connsiteY183" fmla="*/ 1352550 h 4333875"/>
                  <a:gd name="connsiteX184" fmla="*/ 7924800 w 8601075"/>
                  <a:gd name="connsiteY184" fmla="*/ 1362075 h 4333875"/>
                  <a:gd name="connsiteX185" fmla="*/ 7867650 w 8601075"/>
                  <a:gd name="connsiteY185" fmla="*/ 1457325 h 4333875"/>
                  <a:gd name="connsiteX186" fmla="*/ 7896225 w 8601075"/>
                  <a:gd name="connsiteY186" fmla="*/ 1476375 h 4333875"/>
                  <a:gd name="connsiteX187" fmla="*/ 7858125 w 8601075"/>
                  <a:gd name="connsiteY187" fmla="*/ 1533525 h 4333875"/>
                  <a:gd name="connsiteX188" fmla="*/ 7658100 w 8601075"/>
                  <a:gd name="connsiteY188" fmla="*/ 1447800 h 4333875"/>
                  <a:gd name="connsiteX189" fmla="*/ 7515225 w 8601075"/>
                  <a:gd name="connsiteY189" fmla="*/ 1495425 h 4333875"/>
                  <a:gd name="connsiteX190" fmla="*/ 7467600 w 8601075"/>
                  <a:gd name="connsiteY190" fmla="*/ 1581150 h 4333875"/>
                  <a:gd name="connsiteX191" fmla="*/ 7296150 w 8601075"/>
                  <a:gd name="connsiteY19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19575 w 8601075"/>
                  <a:gd name="connsiteY35" fmla="*/ 838200 h 4333875"/>
                  <a:gd name="connsiteX36" fmla="*/ 4105275 w 8601075"/>
                  <a:gd name="connsiteY36" fmla="*/ 828675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05275 w 8601075"/>
                  <a:gd name="connsiteY36" fmla="*/ 828675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10025 w 8601075"/>
                  <a:gd name="connsiteY38" fmla="*/ 771525 h 4333875"/>
                  <a:gd name="connsiteX39" fmla="*/ 3895725 w 8601075"/>
                  <a:gd name="connsiteY39" fmla="*/ 695325 h 4333875"/>
                  <a:gd name="connsiteX40" fmla="*/ 3781425 w 8601075"/>
                  <a:gd name="connsiteY40" fmla="*/ 590550 h 4333875"/>
                  <a:gd name="connsiteX41" fmla="*/ 3810000 w 8601075"/>
                  <a:gd name="connsiteY41" fmla="*/ 514350 h 4333875"/>
                  <a:gd name="connsiteX42" fmla="*/ 3781425 w 8601075"/>
                  <a:gd name="connsiteY42" fmla="*/ 390525 h 4333875"/>
                  <a:gd name="connsiteX43" fmla="*/ 3771900 w 8601075"/>
                  <a:gd name="connsiteY43" fmla="*/ 352425 h 4333875"/>
                  <a:gd name="connsiteX44" fmla="*/ 3600450 w 8601075"/>
                  <a:gd name="connsiteY44" fmla="*/ 285750 h 4333875"/>
                  <a:gd name="connsiteX45" fmla="*/ 3533775 w 8601075"/>
                  <a:gd name="connsiteY45" fmla="*/ 314325 h 4333875"/>
                  <a:gd name="connsiteX46" fmla="*/ 3409950 w 8601075"/>
                  <a:gd name="connsiteY46" fmla="*/ 190500 h 4333875"/>
                  <a:gd name="connsiteX47" fmla="*/ 3257550 w 8601075"/>
                  <a:gd name="connsiteY47" fmla="*/ 180975 h 4333875"/>
                  <a:gd name="connsiteX48" fmla="*/ 3209925 w 8601075"/>
                  <a:gd name="connsiteY48" fmla="*/ 104775 h 4333875"/>
                  <a:gd name="connsiteX49" fmla="*/ 3152775 w 8601075"/>
                  <a:gd name="connsiteY49" fmla="*/ 104775 h 4333875"/>
                  <a:gd name="connsiteX50" fmla="*/ 2990850 w 8601075"/>
                  <a:gd name="connsiteY50" fmla="*/ 0 h 4333875"/>
                  <a:gd name="connsiteX51" fmla="*/ 2933700 w 8601075"/>
                  <a:gd name="connsiteY51" fmla="*/ 114300 h 4333875"/>
                  <a:gd name="connsiteX52" fmla="*/ 2867025 w 8601075"/>
                  <a:gd name="connsiteY52" fmla="*/ 171450 h 4333875"/>
                  <a:gd name="connsiteX53" fmla="*/ 2867025 w 8601075"/>
                  <a:gd name="connsiteY53" fmla="*/ 171450 h 4333875"/>
                  <a:gd name="connsiteX54" fmla="*/ 2800350 w 8601075"/>
                  <a:gd name="connsiteY54" fmla="*/ 257175 h 4333875"/>
                  <a:gd name="connsiteX55" fmla="*/ 2724150 w 8601075"/>
                  <a:gd name="connsiteY55" fmla="*/ 304800 h 4333875"/>
                  <a:gd name="connsiteX56" fmla="*/ 2705100 w 8601075"/>
                  <a:gd name="connsiteY56" fmla="*/ 466725 h 4333875"/>
                  <a:gd name="connsiteX57" fmla="*/ 2762250 w 8601075"/>
                  <a:gd name="connsiteY57" fmla="*/ 571500 h 4333875"/>
                  <a:gd name="connsiteX58" fmla="*/ 2800350 w 8601075"/>
                  <a:gd name="connsiteY58" fmla="*/ 628650 h 4333875"/>
                  <a:gd name="connsiteX59" fmla="*/ 2752725 w 8601075"/>
                  <a:gd name="connsiteY59" fmla="*/ 781050 h 4333875"/>
                  <a:gd name="connsiteX60" fmla="*/ 2686050 w 8601075"/>
                  <a:gd name="connsiteY60" fmla="*/ 857250 h 4333875"/>
                  <a:gd name="connsiteX61" fmla="*/ 2609850 w 8601075"/>
                  <a:gd name="connsiteY61" fmla="*/ 857250 h 4333875"/>
                  <a:gd name="connsiteX62" fmla="*/ 2514600 w 8601075"/>
                  <a:gd name="connsiteY62" fmla="*/ 914400 h 4333875"/>
                  <a:gd name="connsiteX63" fmla="*/ 2400300 w 8601075"/>
                  <a:gd name="connsiteY63" fmla="*/ 866775 h 4333875"/>
                  <a:gd name="connsiteX64" fmla="*/ 2305050 w 8601075"/>
                  <a:gd name="connsiteY64" fmla="*/ 809625 h 4333875"/>
                  <a:gd name="connsiteX65" fmla="*/ 2200275 w 8601075"/>
                  <a:gd name="connsiteY65" fmla="*/ 752475 h 4333875"/>
                  <a:gd name="connsiteX66" fmla="*/ 2105025 w 8601075"/>
                  <a:gd name="connsiteY66" fmla="*/ 762000 h 4333875"/>
                  <a:gd name="connsiteX67" fmla="*/ 1990725 w 8601075"/>
                  <a:gd name="connsiteY67" fmla="*/ 762000 h 4333875"/>
                  <a:gd name="connsiteX68" fmla="*/ 1885950 w 8601075"/>
                  <a:gd name="connsiteY68" fmla="*/ 742950 h 4333875"/>
                  <a:gd name="connsiteX69" fmla="*/ 1800225 w 8601075"/>
                  <a:gd name="connsiteY69" fmla="*/ 638175 h 4333875"/>
                  <a:gd name="connsiteX70" fmla="*/ 1809750 w 8601075"/>
                  <a:gd name="connsiteY70" fmla="*/ 495300 h 4333875"/>
                  <a:gd name="connsiteX71" fmla="*/ 1733550 w 8601075"/>
                  <a:gd name="connsiteY71" fmla="*/ 466725 h 4333875"/>
                  <a:gd name="connsiteX72" fmla="*/ 1485900 w 8601075"/>
                  <a:gd name="connsiteY72" fmla="*/ 419100 h 4333875"/>
                  <a:gd name="connsiteX73" fmla="*/ 1457325 w 8601075"/>
                  <a:gd name="connsiteY73" fmla="*/ 323850 h 4333875"/>
                  <a:gd name="connsiteX74" fmla="*/ 1457325 w 8601075"/>
                  <a:gd name="connsiteY74" fmla="*/ 323850 h 4333875"/>
                  <a:gd name="connsiteX75" fmla="*/ 1323975 w 8601075"/>
                  <a:gd name="connsiteY75" fmla="*/ 285750 h 4333875"/>
                  <a:gd name="connsiteX76" fmla="*/ 1266825 w 8601075"/>
                  <a:gd name="connsiteY76" fmla="*/ 352425 h 4333875"/>
                  <a:gd name="connsiteX77" fmla="*/ 1009650 w 8601075"/>
                  <a:gd name="connsiteY77" fmla="*/ 390525 h 4333875"/>
                  <a:gd name="connsiteX78" fmla="*/ 828675 w 8601075"/>
                  <a:gd name="connsiteY78" fmla="*/ 447675 h 4333875"/>
                  <a:gd name="connsiteX79" fmla="*/ 619125 w 8601075"/>
                  <a:gd name="connsiteY79" fmla="*/ 533400 h 4333875"/>
                  <a:gd name="connsiteX80" fmla="*/ 619125 w 8601075"/>
                  <a:gd name="connsiteY80" fmla="*/ 533400 h 4333875"/>
                  <a:gd name="connsiteX81" fmla="*/ 561975 w 8601075"/>
                  <a:gd name="connsiteY81" fmla="*/ 61912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295275 w 8601075"/>
                  <a:gd name="connsiteY85" fmla="*/ 657225 h 4333875"/>
                  <a:gd name="connsiteX86" fmla="*/ 180975 w 8601075"/>
                  <a:gd name="connsiteY86" fmla="*/ 638175 h 4333875"/>
                  <a:gd name="connsiteX87" fmla="*/ 180975 w 8601075"/>
                  <a:gd name="connsiteY87" fmla="*/ 638175 h 4333875"/>
                  <a:gd name="connsiteX88" fmla="*/ 57150 w 8601075"/>
                  <a:gd name="connsiteY88" fmla="*/ 733425 h 4333875"/>
                  <a:gd name="connsiteX89" fmla="*/ 19050 w 8601075"/>
                  <a:gd name="connsiteY89" fmla="*/ 790575 h 4333875"/>
                  <a:gd name="connsiteX90" fmla="*/ 0 w 8601075"/>
                  <a:gd name="connsiteY90" fmla="*/ 876300 h 4333875"/>
                  <a:gd name="connsiteX91" fmla="*/ 57150 w 8601075"/>
                  <a:gd name="connsiteY91" fmla="*/ 923925 h 4333875"/>
                  <a:gd name="connsiteX92" fmla="*/ 57150 w 8601075"/>
                  <a:gd name="connsiteY92" fmla="*/ 923925 h 4333875"/>
                  <a:gd name="connsiteX93" fmla="*/ 209550 w 8601075"/>
                  <a:gd name="connsiteY93" fmla="*/ 1114425 h 4333875"/>
                  <a:gd name="connsiteX94" fmla="*/ 209550 w 8601075"/>
                  <a:gd name="connsiteY94" fmla="*/ 1114425 h 4333875"/>
                  <a:gd name="connsiteX95" fmla="*/ 266700 w 8601075"/>
                  <a:gd name="connsiteY95" fmla="*/ 1295400 h 4333875"/>
                  <a:gd name="connsiteX96" fmla="*/ 409575 w 8601075"/>
                  <a:gd name="connsiteY96" fmla="*/ 1276350 h 4333875"/>
                  <a:gd name="connsiteX97" fmla="*/ 466725 w 8601075"/>
                  <a:gd name="connsiteY97" fmla="*/ 1362075 h 4333875"/>
                  <a:gd name="connsiteX98" fmla="*/ 542925 w 8601075"/>
                  <a:gd name="connsiteY98" fmla="*/ 1428750 h 4333875"/>
                  <a:gd name="connsiteX99" fmla="*/ 628650 w 8601075"/>
                  <a:gd name="connsiteY99" fmla="*/ 1571625 h 4333875"/>
                  <a:gd name="connsiteX100" fmla="*/ 628650 w 8601075"/>
                  <a:gd name="connsiteY100" fmla="*/ 1704975 h 4333875"/>
                  <a:gd name="connsiteX101" fmla="*/ 676275 w 8601075"/>
                  <a:gd name="connsiteY101" fmla="*/ 1771650 h 4333875"/>
                  <a:gd name="connsiteX102" fmla="*/ 657225 w 8601075"/>
                  <a:gd name="connsiteY102" fmla="*/ 2000250 h 4333875"/>
                  <a:gd name="connsiteX103" fmla="*/ 619125 w 8601075"/>
                  <a:gd name="connsiteY103" fmla="*/ 2095500 h 4333875"/>
                  <a:gd name="connsiteX104" fmla="*/ 542925 w 8601075"/>
                  <a:gd name="connsiteY104" fmla="*/ 2228850 h 4333875"/>
                  <a:gd name="connsiteX105" fmla="*/ 485775 w 8601075"/>
                  <a:gd name="connsiteY105" fmla="*/ 2362200 h 4333875"/>
                  <a:gd name="connsiteX106" fmla="*/ 552450 w 8601075"/>
                  <a:gd name="connsiteY106" fmla="*/ 2486025 h 4333875"/>
                  <a:gd name="connsiteX107" fmla="*/ 771525 w 8601075"/>
                  <a:gd name="connsiteY107" fmla="*/ 2571750 h 4333875"/>
                  <a:gd name="connsiteX108" fmla="*/ 866775 w 8601075"/>
                  <a:gd name="connsiteY108" fmla="*/ 2571750 h 4333875"/>
                  <a:gd name="connsiteX109" fmla="*/ 914400 w 8601075"/>
                  <a:gd name="connsiteY109" fmla="*/ 2638425 h 4333875"/>
                  <a:gd name="connsiteX110" fmla="*/ 1066800 w 8601075"/>
                  <a:gd name="connsiteY110" fmla="*/ 2638425 h 4333875"/>
                  <a:gd name="connsiteX111" fmla="*/ 1285875 w 8601075"/>
                  <a:gd name="connsiteY111" fmla="*/ 2705100 h 4333875"/>
                  <a:gd name="connsiteX112" fmla="*/ 1438275 w 8601075"/>
                  <a:gd name="connsiteY112" fmla="*/ 2838450 h 4333875"/>
                  <a:gd name="connsiteX113" fmla="*/ 1485900 w 8601075"/>
                  <a:gd name="connsiteY113" fmla="*/ 2914650 h 4333875"/>
                  <a:gd name="connsiteX114" fmla="*/ 1657350 w 8601075"/>
                  <a:gd name="connsiteY114" fmla="*/ 3038475 h 4333875"/>
                  <a:gd name="connsiteX115" fmla="*/ 1752600 w 8601075"/>
                  <a:gd name="connsiteY115" fmla="*/ 3057525 h 4333875"/>
                  <a:gd name="connsiteX116" fmla="*/ 1724025 w 8601075"/>
                  <a:gd name="connsiteY116" fmla="*/ 3143250 h 4333875"/>
                  <a:gd name="connsiteX117" fmla="*/ 1724025 w 8601075"/>
                  <a:gd name="connsiteY117" fmla="*/ 3143250 h 4333875"/>
                  <a:gd name="connsiteX118" fmla="*/ 1781175 w 8601075"/>
                  <a:gd name="connsiteY118" fmla="*/ 3181350 h 4333875"/>
                  <a:gd name="connsiteX119" fmla="*/ 1819275 w 8601075"/>
                  <a:gd name="connsiteY119" fmla="*/ 3362325 h 4333875"/>
                  <a:gd name="connsiteX120" fmla="*/ 1828800 w 8601075"/>
                  <a:gd name="connsiteY120" fmla="*/ 3457575 h 4333875"/>
                  <a:gd name="connsiteX121" fmla="*/ 1971675 w 8601075"/>
                  <a:gd name="connsiteY121" fmla="*/ 3590925 h 4333875"/>
                  <a:gd name="connsiteX122" fmla="*/ 1990725 w 8601075"/>
                  <a:gd name="connsiteY122" fmla="*/ 3714750 h 4333875"/>
                  <a:gd name="connsiteX123" fmla="*/ 2200275 w 8601075"/>
                  <a:gd name="connsiteY123" fmla="*/ 3695700 h 4333875"/>
                  <a:gd name="connsiteX124" fmla="*/ 2886075 w 8601075"/>
                  <a:gd name="connsiteY124" fmla="*/ 3886200 h 4333875"/>
                  <a:gd name="connsiteX125" fmla="*/ 3038475 w 8601075"/>
                  <a:gd name="connsiteY125" fmla="*/ 3819525 h 4333875"/>
                  <a:gd name="connsiteX126" fmla="*/ 3105150 w 8601075"/>
                  <a:gd name="connsiteY126" fmla="*/ 3867150 h 4333875"/>
                  <a:gd name="connsiteX127" fmla="*/ 3181350 w 8601075"/>
                  <a:gd name="connsiteY127" fmla="*/ 3800475 h 4333875"/>
                  <a:gd name="connsiteX128" fmla="*/ 3590925 w 8601075"/>
                  <a:gd name="connsiteY128" fmla="*/ 3943350 h 4333875"/>
                  <a:gd name="connsiteX129" fmla="*/ 3686175 w 8601075"/>
                  <a:gd name="connsiteY129" fmla="*/ 4057650 h 4333875"/>
                  <a:gd name="connsiteX130" fmla="*/ 3838575 w 8601075"/>
                  <a:gd name="connsiteY130" fmla="*/ 4057650 h 4333875"/>
                  <a:gd name="connsiteX131" fmla="*/ 4162425 w 8601075"/>
                  <a:gd name="connsiteY131" fmla="*/ 4248150 h 4333875"/>
                  <a:gd name="connsiteX132" fmla="*/ 4391025 w 8601075"/>
                  <a:gd name="connsiteY132" fmla="*/ 4200525 h 4333875"/>
                  <a:gd name="connsiteX133" fmla="*/ 4410075 w 8601075"/>
                  <a:gd name="connsiteY133" fmla="*/ 4305300 h 4333875"/>
                  <a:gd name="connsiteX134" fmla="*/ 4505325 w 8601075"/>
                  <a:gd name="connsiteY134" fmla="*/ 4276725 h 4333875"/>
                  <a:gd name="connsiteX135" fmla="*/ 4572000 w 8601075"/>
                  <a:gd name="connsiteY135" fmla="*/ 4333875 h 4333875"/>
                  <a:gd name="connsiteX136" fmla="*/ 4591050 w 8601075"/>
                  <a:gd name="connsiteY136" fmla="*/ 4248150 h 4333875"/>
                  <a:gd name="connsiteX137" fmla="*/ 5295900 w 8601075"/>
                  <a:gd name="connsiteY137" fmla="*/ 3924300 h 4333875"/>
                  <a:gd name="connsiteX138" fmla="*/ 5353050 w 8601075"/>
                  <a:gd name="connsiteY138" fmla="*/ 3990975 h 4333875"/>
                  <a:gd name="connsiteX139" fmla="*/ 5524500 w 8601075"/>
                  <a:gd name="connsiteY139" fmla="*/ 3914775 h 4333875"/>
                  <a:gd name="connsiteX140" fmla="*/ 5667375 w 8601075"/>
                  <a:gd name="connsiteY140" fmla="*/ 3962400 h 4333875"/>
                  <a:gd name="connsiteX141" fmla="*/ 5753100 w 8601075"/>
                  <a:gd name="connsiteY141" fmla="*/ 3924300 h 4333875"/>
                  <a:gd name="connsiteX142" fmla="*/ 5905500 w 8601075"/>
                  <a:gd name="connsiteY142" fmla="*/ 3943350 h 4333875"/>
                  <a:gd name="connsiteX143" fmla="*/ 6000750 w 8601075"/>
                  <a:gd name="connsiteY143" fmla="*/ 3800475 h 4333875"/>
                  <a:gd name="connsiteX144" fmla="*/ 6153150 w 8601075"/>
                  <a:gd name="connsiteY144" fmla="*/ 3781425 h 4333875"/>
                  <a:gd name="connsiteX145" fmla="*/ 6257925 w 8601075"/>
                  <a:gd name="connsiteY145" fmla="*/ 3581400 h 4333875"/>
                  <a:gd name="connsiteX146" fmla="*/ 6448425 w 8601075"/>
                  <a:gd name="connsiteY146" fmla="*/ 3448050 h 4333875"/>
                  <a:gd name="connsiteX147" fmla="*/ 6581775 w 8601075"/>
                  <a:gd name="connsiteY147" fmla="*/ 3276600 h 4333875"/>
                  <a:gd name="connsiteX148" fmla="*/ 6496050 w 8601075"/>
                  <a:gd name="connsiteY148" fmla="*/ 3228975 h 4333875"/>
                  <a:gd name="connsiteX149" fmla="*/ 6438900 w 8601075"/>
                  <a:gd name="connsiteY149" fmla="*/ 3162300 h 4333875"/>
                  <a:gd name="connsiteX150" fmla="*/ 6419850 w 8601075"/>
                  <a:gd name="connsiteY150" fmla="*/ 3105150 h 4333875"/>
                  <a:gd name="connsiteX151" fmla="*/ 6362700 w 8601075"/>
                  <a:gd name="connsiteY151" fmla="*/ 3076575 h 4333875"/>
                  <a:gd name="connsiteX152" fmla="*/ 6410325 w 8601075"/>
                  <a:gd name="connsiteY152" fmla="*/ 3019425 h 4333875"/>
                  <a:gd name="connsiteX153" fmla="*/ 6438900 w 8601075"/>
                  <a:gd name="connsiteY153" fmla="*/ 2819400 h 4333875"/>
                  <a:gd name="connsiteX154" fmla="*/ 6496050 w 8601075"/>
                  <a:gd name="connsiteY154" fmla="*/ 2762250 h 4333875"/>
                  <a:gd name="connsiteX155" fmla="*/ 6657975 w 8601075"/>
                  <a:gd name="connsiteY155" fmla="*/ 2752725 h 4333875"/>
                  <a:gd name="connsiteX156" fmla="*/ 6781800 w 8601075"/>
                  <a:gd name="connsiteY156" fmla="*/ 2838450 h 4333875"/>
                  <a:gd name="connsiteX157" fmla="*/ 7010400 w 8601075"/>
                  <a:gd name="connsiteY157" fmla="*/ 2838450 h 4333875"/>
                  <a:gd name="connsiteX158" fmla="*/ 7162800 w 8601075"/>
                  <a:gd name="connsiteY158" fmla="*/ 2705100 h 4333875"/>
                  <a:gd name="connsiteX159" fmla="*/ 7229475 w 8601075"/>
                  <a:gd name="connsiteY159" fmla="*/ 2590800 h 4333875"/>
                  <a:gd name="connsiteX160" fmla="*/ 7248525 w 8601075"/>
                  <a:gd name="connsiteY160" fmla="*/ 2524125 h 4333875"/>
                  <a:gd name="connsiteX161" fmla="*/ 7372350 w 8601075"/>
                  <a:gd name="connsiteY161" fmla="*/ 2543175 h 4333875"/>
                  <a:gd name="connsiteX162" fmla="*/ 7553325 w 8601075"/>
                  <a:gd name="connsiteY162" fmla="*/ 2447925 h 4333875"/>
                  <a:gd name="connsiteX163" fmla="*/ 7620000 w 8601075"/>
                  <a:gd name="connsiteY163" fmla="*/ 2324100 h 4333875"/>
                  <a:gd name="connsiteX164" fmla="*/ 7696200 w 8601075"/>
                  <a:gd name="connsiteY164" fmla="*/ 2314575 h 4333875"/>
                  <a:gd name="connsiteX165" fmla="*/ 7658100 w 8601075"/>
                  <a:gd name="connsiteY165" fmla="*/ 2257425 h 4333875"/>
                  <a:gd name="connsiteX166" fmla="*/ 7753350 w 8601075"/>
                  <a:gd name="connsiteY166" fmla="*/ 2057400 h 4333875"/>
                  <a:gd name="connsiteX167" fmla="*/ 7934325 w 8601075"/>
                  <a:gd name="connsiteY167" fmla="*/ 2028825 h 4333875"/>
                  <a:gd name="connsiteX168" fmla="*/ 7953375 w 8601075"/>
                  <a:gd name="connsiteY168" fmla="*/ 1952625 h 4333875"/>
                  <a:gd name="connsiteX169" fmla="*/ 7953375 w 8601075"/>
                  <a:gd name="connsiteY169" fmla="*/ 1952625 h 4333875"/>
                  <a:gd name="connsiteX170" fmla="*/ 8010525 w 8601075"/>
                  <a:gd name="connsiteY170" fmla="*/ 1895475 h 4333875"/>
                  <a:gd name="connsiteX171" fmla="*/ 8048625 w 8601075"/>
                  <a:gd name="connsiteY171" fmla="*/ 1971675 h 4333875"/>
                  <a:gd name="connsiteX172" fmla="*/ 8077200 w 8601075"/>
                  <a:gd name="connsiteY172" fmla="*/ 1885950 h 4333875"/>
                  <a:gd name="connsiteX173" fmla="*/ 8220075 w 8601075"/>
                  <a:gd name="connsiteY173" fmla="*/ 1847850 h 4333875"/>
                  <a:gd name="connsiteX174" fmla="*/ 8296275 w 8601075"/>
                  <a:gd name="connsiteY174" fmla="*/ 1809750 h 4333875"/>
                  <a:gd name="connsiteX175" fmla="*/ 8324850 w 8601075"/>
                  <a:gd name="connsiteY175" fmla="*/ 1790700 h 4333875"/>
                  <a:gd name="connsiteX176" fmla="*/ 8410575 w 8601075"/>
                  <a:gd name="connsiteY176" fmla="*/ 1847850 h 4333875"/>
                  <a:gd name="connsiteX177" fmla="*/ 8505825 w 8601075"/>
                  <a:gd name="connsiteY177" fmla="*/ 1781175 h 4333875"/>
                  <a:gd name="connsiteX178" fmla="*/ 8572500 w 8601075"/>
                  <a:gd name="connsiteY178" fmla="*/ 1809750 h 4333875"/>
                  <a:gd name="connsiteX179" fmla="*/ 8601075 w 8601075"/>
                  <a:gd name="connsiteY179" fmla="*/ 1704975 h 4333875"/>
                  <a:gd name="connsiteX180" fmla="*/ 8553450 w 8601075"/>
                  <a:gd name="connsiteY180" fmla="*/ 1676400 h 4333875"/>
                  <a:gd name="connsiteX181" fmla="*/ 8534400 w 8601075"/>
                  <a:gd name="connsiteY181" fmla="*/ 1609725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124825 w 8601075"/>
                  <a:gd name="connsiteY185" fmla="*/ 1352550 h 4333875"/>
                  <a:gd name="connsiteX186" fmla="*/ 7924800 w 8601075"/>
                  <a:gd name="connsiteY186" fmla="*/ 1362075 h 4333875"/>
                  <a:gd name="connsiteX187" fmla="*/ 7867650 w 8601075"/>
                  <a:gd name="connsiteY187" fmla="*/ 1457325 h 4333875"/>
                  <a:gd name="connsiteX188" fmla="*/ 7896225 w 8601075"/>
                  <a:gd name="connsiteY188" fmla="*/ 1476375 h 4333875"/>
                  <a:gd name="connsiteX189" fmla="*/ 7858125 w 8601075"/>
                  <a:gd name="connsiteY189" fmla="*/ 1533525 h 4333875"/>
                  <a:gd name="connsiteX190" fmla="*/ 7658100 w 8601075"/>
                  <a:gd name="connsiteY190" fmla="*/ 1447800 h 4333875"/>
                  <a:gd name="connsiteX191" fmla="*/ 7515225 w 8601075"/>
                  <a:gd name="connsiteY191" fmla="*/ 1495425 h 4333875"/>
                  <a:gd name="connsiteX192" fmla="*/ 7467600 w 8601075"/>
                  <a:gd name="connsiteY192" fmla="*/ 1581150 h 4333875"/>
                  <a:gd name="connsiteX193" fmla="*/ 7296150 w 8601075"/>
                  <a:gd name="connsiteY19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10025 w 8601075"/>
                  <a:gd name="connsiteY39" fmla="*/ 771525 h 4333875"/>
                  <a:gd name="connsiteX40" fmla="*/ 3895725 w 8601075"/>
                  <a:gd name="connsiteY40" fmla="*/ 695325 h 4333875"/>
                  <a:gd name="connsiteX41" fmla="*/ 3781425 w 8601075"/>
                  <a:gd name="connsiteY41" fmla="*/ 590550 h 4333875"/>
                  <a:gd name="connsiteX42" fmla="*/ 3810000 w 8601075"/>
                  <a:gd name="connsiteY42" fmla="*/ 514350 h 4333875"/>
                  <a:gd name="connsiteX43" fmla="*/ 3781425 w 8601075"/>
                  <a:gd name="connsiteY43" fmla="*/ 390525 h 4333875"/>
                  <a:gd name="connsiteX44" fmla="*/ 3771900 w 8601075"/>
                  <a:gd name="connsiteY44" fmla="*/ 352425 h 4333875"/>
                  <a:gd name="connsiteX45" fmla="*/ 3600450 w 8601075"/>
                  <a:gd name="connsiteY45" fmla="*/ 285750 h 4333875"/>
                  <a:gd name="connsiteX46" fmla="*/ 3533775 w 8601075"/>
                  <a:gd name="connsiteY46" fmla="*/ 314325 h 4333875"/>
                  <a:gd name="connsiteX47" fmla="*/ 3409950 w 8601075"/>
                  <a:gd name="connsiteY47" fmla="*/ 190500 h 4333875"/>
                  <a:gd name="connsiteX48" fmla="*/ 3257550 w 8601075"/>
                  <a:gd name="connsiteY48" fmla="*/ 180975 h 4333875"/>
                  <a:gd name="connsiteX49" fmla="*/ 3209925 w 8601075"/>
                  <a:gd name="connsiteY49" fmla="*/ 104775 h 4333875"/>
                  <a:gd name="connsiteX50" fmla="*/ 3152775 w 8601075"/>
                  <a:gd name="connsiteY50" fmla="*/ 104775 h 4333875"/>
                  <a:gd name="connsiteX51" fmla="*/ 2990850 w 8601075"/>
                  <a:gd name="connsiteY51" fmla="*/ 0 h 4333875"/>
                  <a:gd name="connsiteX52" fmla="*/ 2933700 w 8601075"/>
                  <a:gd name="connsiteY52" fmla="*/ 114300 h 4333875"/>
                  <a:gd name="connsiteX53" fmla="*/ 2867025 w 8601075"/>
                  <a:gd name="connsiteY53" fmla="*/ 171450 h 4333875"/>
                  <a:gd name="connsiteX54" fmla="*/ 2867025 w 8601075"/>
                  <a:gd name="connsiteY54" fmla="*/ 171450 h 4333875"/>
                  <a:gd name="connsiteX55" fmla="*/ 2800350 w 8601075"/>
                  <a:gd name="connsiteY55" fmla="*/ 257175 h 4333875"/>
                  <a:gd name="connsiteX56" fmla="*/ 2724150 w 8601075"/>
                  <a:gd name="connsiteY56" fmla="*/ 304800 h 4333875"/>
                  <a:gd name="connsiteX57" fmla="*/ 2705100 w 8601075"/>
                  <a:gd name="connsiteY57" fmla="*/ 466725 h 4333875"/>
                  <a:gd name="connsiteX58" fmla="*/ 2762250 w 8601075"/>
                  <a:gd name="connsiteY58" fmla="*/ 571500 h 4333875"/>
                  <a:gd name="connsiteX59" fmla="*/ 2800350 w 8601075"/>
                  <a:gd name="connsiteY59" fmla="*/ 628650 h 4333875"/>
                  <a:gd name="connsiteX60" fmla="*/ 2752725 w 8601075"/>
                  <a:gd name="connsiteY60" fmla="*/ 781050 h 4333875"/>
                  <a:gd name="connsiteX61" fmla="*/ 2686050 w 8601075"/>
                  <a:gd name="connsiteY61" fmla="*/ 857250 h 4333875"/>
                  <a:gd name="connsiteX62" fmla="*/ 2609850 w 8601075"/>
                  <a:gd name="connsiteY62" fmla="*/ 857250 h 4333875"/>
                  <a:gd name="connsiteX63" fmla="*/ 2514600 w 8601075"/>
                  <a:gd name="connsiteY63" fmla="*/ 914400 h 4333875"/>
                  <a:gd name="connsiteX64" fmla="*/ 2400300 w 8601075"/>
                  <a:gd name="connsiteY64" fmla="*/ 866775 h 4333875"/>
                  <a:gd name="connsiteX65" fmla="*/ 2305050 w 8601075"/>
                  <a:gd name="connsiteY65" fmla="*/ 809625 h 4333875"/>
                  <a:gd name="connsiteX66" fmla="*/ 2200275 w 8601075"/>
                  <a:gd name="connsiteY66" fmla="*/ 752475 h 4333875"/>
                  <a:gd name="connsiteX67" fmla="*/ 2105025 w 8601075"/>
                  <a:gd name="connsiteY67" fmla="*/ 762000 h 4333875"/>
                  <a:gd name="connsiteX68" fmla="*/ 1990725 w 8601075"/>
                  <a:gd name="connsiteY68" fmla="*/ 762000 h 4333875"/>
                  <a:gd name="connsiteX69" fmla="*/ 1885950 w 8601075"/>
                  <a:gd name="connsiteY69" fmla="*/ 742950 h 4333875"/>
                  <a:gd name="connsiteX70" fmla="*/ 1800225 w 8601075"/>
                  <a:gd name="connsiteY70" fmla="*/ 638175 h 4333875"/>
                  <a:gd name="connsiteX71" fmla="*/ 1809750 w 8601075"/>
                  <a:gd name="connsiteY71" fmla="*/ 495300 h 4333875"/>
                  <a:gd name="connsiteX72" fmla="*/ 1733550 w 8601075"/>
                  <a:gd name="connsiteY72" fmla="*/ 466725 h 4333875"/>
                  <a:gd name="connsiteX73" fmla="*/ 1485900 w 8601075"/>
                  <a:gd name="connsiteY73" fmla="*/ 419100 h 4333875"/>
                  <a:gd name="connsiteX74" fmla="*/ 1457325 w 8601075"/>
                  <a:gd name="connsiteY74" fmla="*/ 323850 h 4333875"/>
                  <a:gd name="connsiteX75" fmla="*/ 1457325 w 8601075"/>
                  <a:gd name="connsiteY75" fmla="*/ 323850 h 4333875"/>
                  <a:gd name="connsiteX76" fmla="*/ 1323975 w 8601075"/>
                  <a:gd name="connsiteY76" fmla="*/ 285750 h 4333875"/>
                  <a:gd name="connsiteX77" fmla="*/ 1266825 w 8601075"/>
                  <a:gd name="connsiteY77" fmla="*/ 352425 h 4333875"/>
                  <a:gd name="connsiteX78" fmla="*/ 1009650 w 8601075"/>
                  <a:gd name="connsiteY78" fmla="*/ 390525 h 4333875"/>
                  <a:gd name="connsiteX79" fmla="*/ 828675 w 8601075"/>
                  <a:gd name="connsiteY79" fmla="*/ 447675 h 4333875"/>
                  <a:gd name="connsiteX80" fmla="*/ 619125 w 8601075"/>
                  <a:gd name="connsiteY80" fmla="*/ 533400 h 4333875"/>
                  <a:gd name="connsiteX81" fmla="*/ 619125 w 8601075"/>
                  <a:gd name="connsiteY81" fmla="*/ 533400 h 4333875"/>
                  <a:gd name="connsiteX82" fmla="*/ 561975 w 8601075"/>
                  <a:gd name="connsiteY82" fmla="*/ 61912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295275 w 8601075"/>
                  <a:gd name="connsiteY86" fmla="*/ 657225 h 4333875"/>
                  <a:gd name="connsiteX87" fmla="*/ 180975 w 8601075"/>
                  <a:gd name="connsiteY87" fmla="*/ 638175 h 4333875"/>
                  <a:gd name="connsiteX88" fmla="*/ 180975 w 8601075"/>
                  <a:gd name="connsiteY88" fmla="*/ 638175 h 4333875"/>
                  <a:gd name="connsiteX89" fmla="*/ 57150 w 8601075"/>
                  <a:gd name="connsiteY89" fmla="*/ 733425 h 4333875"/>
                  <a:gd name="connsiteX90" fmla="*/ 19050 w 8601075"/>
                  <a:gd name="connsiteY90" fmla="*/ 790575 h 4333875"/>
                  <a:gd name="connsiteX91" fmla="*/ 0 w 8601075"/>
                  <a:gd name="connsiteY91" fmla="*/ 876300 h 4333875"/>
                  <a:gd name="connsiteX92" fmla="*/ 57150 w 8601075"/>
                  <a:gd name="connsiteY92" fmla="*/ 923925 h 4333875"/>
                  <a:gd name="connsiteX93" fmla="*/ 57150 w 8601075"/>
                  <a:gd name="connsiteY93" fmla="*/ 923925 h 4333875"/>
                  <a:gd name="connsiteX94" fmla="*/ 209550 w 8601075"/>
                  <a:gd name="connsiteY94" fmla="*/ 1114425 h 4333875"/>
                  <a:gd name="connsiteX95" fmla="*/ 209550 w 8601075"/>
                  <a:gd name="connsiteY95" fmla="*/ 1114425 h 4333875"/>
                  <a:gd name="connsiteX96" fmla="*/ 266700 w 8601075"/>
                  <a:gd name="connsiteY96" fmla="*/ 1295400 h 4333875"/>
                  <a:gd name="connsiteX97" fmla="*/ 409575 w 8601075"/>
                  <a:gd name="connsiteY97" fmla="*/ 1276350 h 4333875"/>
                  <a:gd name="connsiteX98" fmla="*/ 466725 w 8601075"/>
                  <a:gd name="connsiteY98" fmla="*/ 1362075 h 4333875"/>
                  <a:gd name="connsiteX99" fmla="*/ 542925 w 8601075"/>
                  <a:gd name="connsiteY99" fmla="*/ 1428750 h 4333875"/>
                  <a:gd name="connsiteX100" fmla="*/ 628650 w 8601075"/>
                  <a:gd name="connsiteY100" fmla="*/ 1571625 h 4333875"/>
                  <a:gd name="connsiteX101" fmla="*/ 628650 w 8601075"/>
                  <a:gd name="connsiteY101" fmla="*/ 1704975 h 4333875"/>
                  <a:gd name="connsiteX102" fmla="*/ 676275 w 8601075"/>
                  <a:gd name="connsiteY102" fmla="*/ 1771650 h 4333875"/>
                  <a:gd name="connsiteX103" fmla="*/ 657225 w 8601075"/>
                  <a:gd name="connsiteY103" fmla="*/ 2000250 h 4333875"/>
                  <a:gd name="connsiteX104" fmla="*/ 619125 w 8601075"/>
                  <a:gd name="connsiteY104" fmla="*/ 2095500 h 4333875"/>
                  <a:gd name="connsiteX105" fmla="*/ 542925 w 8601075"/>
                  <a:gd name="connsiteY105" fmla="*/ 2228850 h 4333875"/>
                  <a:gd name="connsiteX106" fmla="*/ 485775 w 8601075"/>
                  <a:gd name="connsiteY106" fmla="*/ 2362200 h 4333875"/>
                  <a:gd name="connsiteX107" fmla="*/ 552450 w 8601075"/>
                  <a:gd name="connsiteY107" fmla="*/ 2486025 h 4333875"/>
                  <a:gd name="connsiteX108" fmla="*/ 771525 w 8601075"/>
                  <a:gd name="connsiteY108" fmla="*/ 2571750 h 4333875"/>
                  <a:gd name="connsiteX109" fmla="*/ 866775 w 8601075"/>
                  <a:gd name="connsiteY109" fmla="*/ 2571750 h 4333875"/>
                  <a:gd name="connsiteX110" fmla="*/ 914400 w 8601075"/>
                  <a:gd name="connsiteY110" fmla="*/ 2638425 h 4333875"/>
                  <a:gd name="connsiteX111" fmla="*/ 1066800 w 8601075"/>
                  <a:gd name="connsiteY111" fmla="*/ 2638425 h 4333875"/>
                  <a:gd name="connsiteX112" fmla="*/ 1285875 w 8601075"/>
                  <a:gd name="connsiteY112" fmla="*/ 2705100 h 4333875"/>
                  <a:gd name="connsiteX113" fmla="*/ 1438275 w 8601075"/>
                  <a:gd name="connsiteY113" fmla="*/ 2838450 h 4333875"/>
                  <a:gd name="connsiteX114" fmla="*/ 1485900 w 8601075"/>
                  <a:gd name="connsiteY114" fmla="*/ 2914650 h 4333875"/>
                  <a:gd name="connsiteX115" fmla="*/ 1657350 w 8601075"/>
                  <a:gd name="connsiteY115" fmla="*/ 3038475 h 4333875"/>
                  <a:gd name="connsiteX116" fmla="*/ 1752600 w 8601075"/>
                  <a:gd name="connsiteY116" fmla="*/ 3057525 h 4333875"/>
                  <a:gd name="connsiteX117" fmla="*/ 1724025 w 8601075"/>
                  <a:gd name="connsiteY117" fmla="*/ 3143250 h 4333875"/>
                  <a:gd name="connsiteX118" fmla="*/ 1724025 w 8601075"/>
                  <a:gd name="connsiteY118" fmla="*/ 3143250 h 4333875"/>
                  <a:gd name="connsiteX119" fmla="*/ 1781175 w 8601075"/>
                  <a:gd name="connsiteY119" fmla="*/ 3181350 h 4333875"/>
                  <a:gd name="connsiteX120" fmla="*/ 1819275 w 8601075"/>
                  <a:gd name="connsiteY120" fmla="*/ 3362325 h 4333875"/>
                  <a:gd name="connsiteX121" fmla="*/ 1828800 w 8601075"/>
                  <a:gd name="connsiteY121" fmla="*/ 3457575 h 4333875"/>
                  <a:gd name="connsiteX122" fmla="*/ 1971675 w 8601075"/>
                  <a:gd name="connsiteY122" fmla="*/ 3590925 h 4333875"/>
                  <a:gd name="connsiteX123" fmla="*/ 1990725 w 8601075"/>
                  <a:gd name="connsiteY123" fmla="*/ 3714750 h 4333875"/>
                  <a:gd name="connsiteX124" fmla="*/ 2200275 w 8601075"/>
                  <a:gd name="connsiteY124" fmla="*/ 3695700 h 4333875"/>
                  <a:gd name="connsiteX125" fmla="*/ 2886075 w 8601075"/>
                  <a:gd name="connsiteY125" fmla="*/ 3886200 h 4333875"/>
                  <a:gd name="connsiteX126" fmla="*/ 3038475 w 8601075"/>
                  <a:gd name="connsiteY126" fmla="*/ 3819525 h 4333875"/>
                  <a:gd name="connsiteX127" fmla="*/ 3105150 w 8601075"/>
                  <a:gd name="connsiteY127" fmla="*/ 3867150 h 4333875"/>
                  <a:gd name="connsiteX128" fmla="*/ 3181350 w 8601075"/>
                  <a:gd name="connsiteY128" fmla="*/ 3800475 h 4333875"/>
                  <a:gd name="connsiteX129" fmla="*/ 3590925 w 8601075"/>
                  <a:gd name="connsiteY129" fmla="*/ 3943350 h 4333875"/>
                  <a:gd name="connsiteX130" fmla="*/ 3686175 w 8601075"/>
                  <a:gd name="connsiteY130" fmla="*/ 4057650 h 4333875"/>
                  <a:gd name="connsiteX131" fmla="*/ 3838575 w 8601075"/>
                  <a:gd name="connsiteY131" fmla="*/ 4057650 h 4333875"/>
                  <a:gd name="connsiteX132" fmla="*/ 4162425 w 8601075"/>
                  <a:gd name="connsiteY132" fmla="*/ 4248150 h 4333875"/>
                  <a:gd name="connsiteX133" fmla="*/ 4391025 w 8601075"/>
                  <a:gd name="connsiteY133" fmla="*/ 4200525 h 4333875"/>
                  <a:gd name="connsiteX134" fmla="*/ 4410075 w 8601075"/>
                  <a:gd name="connsiteY134" fmla="*/ 4305300 h 4333875"/>
                  <a:gd name="connsiteX135" fmla="*/ 4505325 w 8601075"/>
                  <a:gd name="connsiteY135" fmla="*/ 4276725 h 4333875"/>
                  <a:gd name="connsiteX136" fmla="*/ 4572000 w 8601075"/>
                  <a:gd name="connsiteY136" fmla="*/ 4333875 h 4333875"/>
                  <a:gd name="connsiteX137" fmla="*/ 4591050 w 8601075"/>
                  <a:gd name="connsiteY137" fmla="*/ 4248150 h 4333875"/>
                  <a:gd name="connsiteX138" fmla="*/ 5295900 w 8601075"/>
                  <a:gd name="connsiteY138" fmla="*/ 3924300 h 4333875"/>
                  <a:gd name="connsiteX139" fmla="*/ 5353050 w 8601075"/>
                  <a:gd name="connsiteY139" fmla="*/ 3990975 h 4333875"/>
                  <a:gd name="connsiteX140" fmla="*/ 5524500 w 8601075"/>
                  <a:gd name="connsiteY140" fmla="*/ 3914775 h 4333875"/>
                  <a:gd name="connsiteX141" fmla="*/ 5667375 w 8601075"/>
                  <a:gd name="connsiteY141" fmla="*/ 3962400 h 4333875"/>
                  <a:gd name="connsiteX142" fmla="*/ 5753100 w 8601075"/>
                  <a:gd name="connsiteY142" fmla="*/ 3924300 h 4333875"/>
                  <a:gd name="connsiteX143" fmla="*/ 5905500 w 8601075"/>
                  <a:gd name="connsiteY143" fmla="*/ 3943350 h 4333875"/>
                  <a:gd name="connsiteX144" fmla="*/ 6000750 w 8601075"/>
                  <a:gd name="connsiteY144" fmla="*/ 3800475 h 4333875"/>
                  <a:gd name="connsiteX145" fmla="*/ 6153150 w 8601075"/>
                  <a:gd name="connsiteY145" fmla="*/ 3781425 h 4333875"/>
                  <a:gd name="connsiteX146" fmla="*/ 6257925 w 8601075"/>
                  <a:gd name="connsiteY146" fmla="*/ 3581400 h 4333875"/>
                  <a:gd name="connsiteX147" fmla="*/ 6448425 w 8601075"/>
                  <a:gd name="connsiteY147" fmla="*/ 3448050 h 4333875"/>
                  <a:gd name="connsiteX148" fmla="*/ 6581775 w 8601075"/>
                  <a:gd name="connsiteY148" fmla="*/ 3276600 h 4333875"/>
                  <a:gd name="connsiteX149" fmla="*/ 6496050 w 8601075"/>
                  <a:gd name="connsiteY149" fmla="*/ 3228975 h 4333875"/>
                  <a:gd name="connsiteX150" fmla="*/ 6438900 w 8601075"/>
                  <a:gd name="connsiteY150" fmla="*/ 3162300 h 4333875"/>
                  <a:gd name="connsiteX151" fmla="*/ 6419850 w 8601075"/>
                  <a:gd name="connsiteY151" fmla="*/ 3105150 h 4333875"/>
                  <a:gd name="connsiteX152" fmla="*/ 6362700 w 8601075"/>
                  <a:gd name="connsiteY152" fmla="*/ 3076575 h 4333875"/>
                  <a:gd name="connsiteX153" fmla="*/ 6410325 w 8601075"/>
                  <a:gd name="connsiteY153" fmla="*/ 3019425 h 4333875"/>
                  <a:gd name="connsiteX154" fmla="*/ 6438900 w 8601075"/>
                  <a:gd name="connsiteY154" fmla="*/ 2819400 h 4333875"/>
                  <a:gd name="connsiteX155" fmla="*/ 6496050 w 8601075"/>
                  <a:gd name="connsiteY155" fmla="*/ 2762250 h 4333875"/>
                  <a:gd name="connsiteX156" fmla="*/ 6657975 w 8601075"/>
                  <a:gd name="connsiteY156" fmla="*/ 2752725 h 4333875"/>
                  <a:gd name="connsiteX157" fmla="*/ 6781800 w 8601075"/>
                  <a:gd name="connsiteY157" fmla="*/ 2838450 h 4333875"/>
                  <a:gd name="connsiteX158" fmla="*/ 7010400 w 8601075"/>
                  <a:gd name="connsiteY158" fmla="*/ 2838450 h 4333875"/>
                  <a:gd name="connsiteX159" fmla="*/ 7162800 w 8601075"/>
                  <a:gd name="connsiteY159" fmla="*/ 2705100 h 4333875"/>
                  <a:gd name="connsiteX160" fmla="*/ 7229475 w 8601075"/>
                  <a:gd name="connsiteY160" fmla="*/ 2590800 h 4333875"/>
                  <a:gd name="connsiteX161" fmla="*/ 7248525 w 8601075"/>
                  <a:gd name="connsiteY161" fmla="*/ 2524125 h 4333875"/>
                  <a:gd name="connsiteX162" fmla="*/ 7372350 w 8601075"/>
                  <a:gd name="connsiteY162" fmla="*/ 2543175 h 4333875"/>
                  <a:gd name="connsiteX163" fmla="*/ 7553325 w 8601075"/>
                  <a:gd name="connsiteY163" fmla="*/ 2447925 h 4333875"/>
                  <a:gd name="connsiteX164" fmla="*/ 7620000 w 8601075"/>
                  <a:gd name="connsiteY164" fmla="*/ 2324100 h 4333875"/>
                  <a:gd name="connsiteX165" fmla="*/ 7696200 w 8601075"/>
                  <a:gd name="connsiteY165" fmla="*/ 2314575 h 4333875"/>
                  <a:gd name="connsiteX166" fmla="*/ 7658100 w 8601075"/>
                  <a:gd name="connsiteY166" fmla="*/ 2257425 h 4333875"/>
                  <a:gd name="connsiteX167" fmla="*/ 7753350 w 8601075"/>
                  <a:gd name="connsiteY167" fmla="*/ 2057400 h 4333875"/>
                  <a:gd name="connsiteX168" fmla="*/ 7934325 w 8601075"/>
                  <a:gd name="connsiteY168" fmla="*/ 2028825 h 4333875"/>
                  <a:gd name="connsiteX169" fmla="*/ 7953375 w 8601075"/>
                  <a:gd name="connsiteY169" fmla="*/ 1952625 h 4333875"/>
                  <a:gd name="connsiteX170" fmla="*/ 7953375 w 8601075"/>
                  <a:gd name="connsiteY170" fmla="*/ 1952625 h 4333875"/>
                  <a:gd name="connsiteX171" fmla="*/ 8010525 w 8601075"/>
                  <a:gd name="connsiteY171" fmla="*/ 1895475 h 4333875"/>
                  <a:gd name="connsiteX172" fmla="*/ 8048625 w 8601075"/>
                  <a:gd name="connsiteY172" fmla="*/ 1971675 h 4333875"/>
                  <a:gd name="connsiteX173" fmla="*/ 8077200 w 8601075"/>
                  <a:gd name="connsiteY173" fmla="*/ 1885950 h 4333875"/>
                  <a:gd name="connsiteX174" fmla="*/ 8220075 w 8601075"/>
                  <a:gd name="connsiteY174" fmla="*/ 1847850 h 4333875"/>
                  <a:gd name="connsiteX175" fmla="*/ 8296275 w 8601075"/>
                  <a:gd name="connsiteY175" fmla="*/ 1809750 h 4333875"/>
                  <a:gd name="connsiteX176" fmla="*/ 8324850 w 8601075"/>
                  <a:gd name="connsiteY176" fmla="*/ 1790700 h 4333875"/>
                  <a:gd name="connsiteX177" fmla="*/ 8410575 w 8601075"/>
                  <a:gd name="connsiteY177" fmla="*/ 1847850 h 4333875"/>
                  <a:gd name="connsiteX178" fmla="*/ 8505825 w 8601075"/>
                  <a:gd name="connsiteY178" fmla="*/ 1781175 h 4333875"/>
                  <a:gd name="connsiteX179" fmla="*/ 8572500 w 8601075"/>
                  <a:gd name="connsiteY179" fmla="*/ 1809750 h 4333875"/>
                  <a:gd name="connsiteX180" fmla="*/ 8601075 w 8601075"/>
                  <a:gd name="connsiteY180" fmla="*/ 1704975 h 4333875"/>
                  <a:gd name="connsiteX181" fmla="*/ 8553450 w 8601075"/>
                  <a:gd name="connsiteY181" fmla="*/ 1676400 h 4333875"/>
                  <a:gd name="connsiteX182" fmla="*/ 8534400 w 8601075"/>
                  <a:gd name="connsiteY182" fmla="*/ 1609725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124825 w 8601075"/>
                  <a:gd name="connsiteY186" fmla="*/ 1352550 h 4333875"/>
                  <a:gd name="connsiteX187" fmla="*/ 7924800 w 8601075"/>
                  <a:gd name="connsiteY187" fmla="*/ 1362075 h 4333875"/>
                  <a:gd name="connsiteX188" fmla="*/ 7867650 w 8601075"/>
                  <a:gd name="connsiteY188" fmla="*/ 1457325 h 4333875"/>
                  <a:gd name="connsiteX189" fmla="*/ 7896225 w 8601075"/>
                  <a:gd name="connsiteY189" fmla="*/ 1476375 h 4333875"/>
                  <a:gd name="connsiteX190" fmla="*/ 7858125 w 8601075"/>
                  <a:gd name="connsiteY190" fmla="*/ 1533525 h 4333875"/>
                  <a:gd name="connsiteX191" fmla="*/ 7658100 w 8601075"/>
                  <a:gd name="connsiteY191" fmla="*/ 1447800 h 4333875"/>
                  <a:gd name="connsiteX192" fmla="*/ 7515225 w 8601075"/>
                  <a:gd name="connsiteY192" fmla="*/ 1495425 h 4333875"/>
                  <a:gd name="connsiteX193" fmla="*/ 7467600 w 8601075"/>
                  <a:gd name="connsiteY193" fmla="*/ 1581150 h 4333875"/>
                  <a:gd name="connsiteX194" fmla="*/ 7296150 w 8601075"/>
                  <a:gd name="connsiteY19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895725 w 8601075"/>
                  <a:gd name="connsiteY40" fmla="*/ 695325 h 4333875"/>
                  <a:gd name="connsiteX41" fmla="*/ 3781425 w 8601075"/>
                  <a:gd name="connsiteY41" fmla="*/ 590550 h 4333875"/>
                  <a:gd name="connsiteX42" fmla="*/ 3810000 w 8601075"/>
                  <a:gd name="connsiteY42" fmla="*/ 514350 h 4333875"/>
                  <a:gd name="connsiteX43" fmla="*/ 3781425 w 8601075"/>
                  <a:gd name="connsiteY43" fmla="*/ 390525 h 4333875"/>
                  <a:gd name="connsiteX44" fmla="*/ 3771900 w 8601075"/>
                  <a:gd name="connsiteY44" fmla="*/ 352425 h 4333875"/>
                  <a:gd name="connsiteX45" fmla="*/ 3600450 w 8601075"/>
                  <a:gd name="connsiteY45" fmla="*/ 285750 h 4333875"/>
                  <a:gd name="connsiteX46" fmla="*/ 3533775 w 8601075"/>
                  <a:gd name="connsiteY46" fmla="*/ 314325 h 4333875"/>
                  <a:gd name="connsiteX47" fmla="*/ 3409950 w 8601075"/>
                  <a:gd name="connsiteY47" fmla="*/ 190500 h 4333875"/>
                  <a:gd name="connsiteX48" fmla="*/ 3257550 w 8601075"/>
                  <a:gd name="connsiteY48" fmla="*/ 180975 h 4333875"/>
                  <a:gd name="connsiteX49" fmla="*/ 3209925 w 8601075"/>
                  <a:gd name="connsiteY49" fmla="*/ 104775 h 4333875"/>
                  <a:gd name="connsiteX50" fmla="*/ 3152775 w 8601075"/>
                  <a:gd name="connsiteY50" fmla="*/ 104775 h 4333875"/>
                  <a:gd name="connsiteX51" fmla="*/ 2990850 w 8601075"/>
                  <a:gd name="connsiteY51" fmla="*/ 0 h 4333875"/>
                  <a:gd name="connsiteX52" fmla="*/ 2933700 w 8601075"/>
                  <a:gd name="connsiteY52" fmla="*/ 114300 h 4333875"/>
                  <a:gd name="connsiteX53" fmla="*/ 2867025 w 8601075"/>
                  <a:gd name="connsiteY53" fmla="*/ 171450 h 4333875"/>
                  <a:gd name="connsiteX54" fmla="*/ 2867025 w 8601075"/>
                  <a:gd name="connsiteY54" fmla="*/ 171450 h 4333875"/>
                  <a:gd name="connsiteX55" fmla="*/ 2800350 w 8601075"/>
                  <a:gd name="connsiteY55" fmla="*/ 257175 h 4333875"/>
                  <a:gd name="connsiteX56" fmla="*/ 2724150 w 8601075"/>
                  <a:gd name="connsiteY56" fmla="*/ 304800 h 4333875"/>
                  <a:gd name="connsiteX57" fmla="*/ 2705100 w 8601075"/>
                  <a:gd name="connsiteY57" fmla="*/ 466725 h 4333875"/>
                  <a:gd name="connsiteX58" fmla="*/ 2762250 w 8601075"/>
                  <a:gd name="connsiteY58" fmla="*/ 571500 h 4333875"/>
                  <a:gd name="connsiteX59" fmla="*/ 2800350 w 8601075"/>
                  <a:gd name="connsiteY59" fmla="*/ 628650 h 4333875"/>
                  <a:gd name="connsiteX60" fmla="*/ 2752725 w 8601075"/>
                  <a:gd name="connsiteY60" fmla="*/ 781050 h 4333875"/>
                  <a:gd name="connsiteX61" fmla="*/ 2686050 w 8601075"/>
                  <a:gd name="connsiteY61" fmla="*/ 857250 h 4333875"/>
                  <a:gd name="connsiteX62" fmla="*/ 2609850 w 8601075"/>
                  <a:gd name="connsiteY62" fmla="*/ 857250 h 4333875"/>
                  <a:gd name="connsiteX63" fmla="*/ 2514600 w 8601075"/>
                  <a:gd name="connsiteY63" fmla="*/ 914400 h 4333875"/>
                  <a:gd name="connsiteX64" fmla="*/ 2400300 w 8601075"/>
                  <a:gd name="connsiteY64" fmla="*/ 866775 h 4333875"/>
                  <a:gd name="connsiteX65" fmla="*/ 2305050 w 8601075"/>
                  <a:gd name="connsiteY65" fmla="*/ 809625 h 4333875"/>
                  <a:gd name="connsiteX66" fmla="*/ 2200275 w 8601075"/>
                  <a:gd name="connsiteY66" fmla="*/ 752475 h 4333875"/>
                  <a:gd name="connsiteX67" fmla="*/ 2105025 w 8601075"/>
                  <a:gd name="connsiteY67" fmla="*/ 762000 h 4333875"/>
                  <a:gd name="connsiteX68" fmla="*/ 1990725 w 8601075"/>
                  <a:gd name="connsiteY68" fmla="*/ 762000 h 4333875"/>
                  <a:gd name="connsiteX69" fmla="*/ 1885950 w 8601075"/>
                  <a:gd name="connsiteY69" fmla="*/ 742950 h 4333875"/>
                  <a:gd name="connsiteX70" fmla="*/ 1800225 w 8601075"/>
                  <a:gd name="connsiteY70" fmla="*/ 638175 h 4333875"/>
                  <a:gd name="connsiteX71" fmla="*/ 1809750 w 8601075"/>
                  <a:gd name="connsiteY71" fmla="*/ 495300 h 4333875"/>
                  <a:gd name="connsiteX72" fmla="*/ 1733550 w 8601075"/>
                  <a:gd name="connsiteY72" fmla="*/ 466725 h 4333875"/>
                  <a:gd name="connsiteX73" fmla="*/ 1485900 w 8601075"/>
                  <a:gd name="connsiteY73" fmla="*/ 419100 h 4333875"/>
                  <a:gd name="connsiteX74" fmla="*/ 1457325 w 8601075"/>
                  <a:gd name="connsiteY74" fmla="*/ 323850 h 4333875"/>
                  <a:gd name="connsiteX75" fmla="*/ 1457325 w 8601075"/>
                  <a:gd name="connsiteY75" fmla="*/ 323850 h 4333875"/>
                  <a:gd name="connsiteX76" fmla="*/ 1323975 w 8601075"/>
                  <a:gd name="connsiteY76" fmla="*/ 285750 h 4333875"/>
                  <a:gd name="connsiteX77" fmla="*/ 1266825 w 8601075"/>
                  <a:gd name="connsiteY77" fmla="*/ 352425 h 4333875"/>
                  <a:gd name="connsiteX78" fmla="*/ 1009650 w 8601075"/>
                  <a:gd name="connsiteY78" fmla="*/ 390525 h 4333875"/>
                  <a:gd name="connsiteX79" fmla="*/ 828675 w 8601075"/>
                  <a:gd name="connsiteY79" fmla="*/ 447675 h 4333875"/>
                  <a:gd name="connsiteX80" fmla="*/ 619125 w 8601075"/>
                  <a:gd name="connsiteY80" fmla="*/ 533400 h 4333875"/>
                  <a:gd name="connsiteX81" fmla="*/ 619125 w 8601075"/>
                  <a:gd name="connsiteY81" fmla="*/ 533400 h 4333875"/>
                  <a:gd name="connsiteX82" fmla="*/ 561975 w 8601075"/>
                  <a:gd name="connsiteY82" fmla="*/ 61912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295275 w 8601075"/>
                  <a:gd name="connsiteY86" fmla="*/ 657225 h 4333875"/>
                  <a:gd name="connsiteX87" fmla="*/ 180975 w 8601075"/>
                  <a:gd name="connsiteY87" fmla="*/ 638175 h 4333875"/>
                  <a:gd name="connsiteX88" fmla="*/ 180975 w 8601075"/>
                  <a:gd name="connsiteY88" fmla="*/ 638175 h 4333875"/>
                  <a:gd name="connsiteX89" fmla="*/ 57150 w 8601075"/>
                  <a:gd name="connsiteY89" fmla="*/ 733425 h 4333875"/>
                  <a:gd name="connsiteX90" fmla="*/ 19050 w 8601075"/>
                  <a:gd name="connsiteY90" fmla="*/ 790575 h 4333875"/>
                  <a:gd name="connsiteX91" fmla="*/ 0 w 8601075"/>
                  <a:gd name="connsiteY91" fmla="*/ 876300 h 4333875"/>
                  <a:gd name="connsiteX92" fmla="*/ 57150 w 8601075"/>
                  <a:gd name="connsiteY92" fmla="*/ 923925 h 4333875"/>
                  <a:gd name="connsiteX93" fmla="*/ 57150 w 8601075"/>
                  <a:gd name="connsiteY93" fmla="*/ 923925 h 4333875"/>
                  <a:gd name="connsiteX94" fmla="*/ 209550 w 8601075"/>
                  <a:gd name="connsiteY94" fmla="*/ 1114425 h 4333875"/>
                  <a:gd name="connsiteX95" fmla="*/ 209550 w 8601075"/>
                  <a:gd name="connsiteY95" fmla="*/ 1114425 h 4333875"/>
                  <a:gd name="connsiteX96" fmla="*/ 266700 w 8601075"/>
                  <a:gd name="connsiteY96" fmla="*/ 1295400 h 4333875"/>
                  <a:gd name="connsiteX97" fmla="*/ 409575 w 8601075"/>
                  <a:gd name="connsiteY97" fmla="*/ 1276350 h 4333875"/>
                  <a:gd name="connsiteX98" fmla="*/ 466725 w 8601075"/>
                  <a:gd name="connsiteY98" fmla="*/ 1362075 h 4333875"/>
                  <a:gd name="connsiteX99" fmla="*/ 542925 w 8601075"/>
                  <a:gd name="connsiteY99" fmla="*/ 1428750 h 4333875"/>
                  <a:gd name="connsiteX100" fmla="*/ 628650 w 8601075"/>
                  <a:gd name="connsiteY100" fmla="*/ 1571625 h 4333875"/>
                  <a:gd name="connsiteX101" fmla="*/ 628650 w 8601075"/>
                  <a:gd name="connsiteY101" fmla="*/ 1704975 h 4333875"/>
                  <a:gd name="connsiteX102" fmla="*/ 676275 w 8601075"/>
                  <a:gd name="connsiteY102" fmla="*/ 1771650 h 4333875"/>
                  <a:gd name="connsiteX103" fmla="*/ 657225 w 8601075"/>
                  <a:gd name="connsiteY103" fmla="*/ 2000250 h 4333875"/>
                  <a:gd name="connsiteX104" fmla="*/ 619125 w 8601075"/>
                  <a:gd name="connsiteY104" fmla="*/ 2095500 h 4333875"/>
                  <a:gd name="connsiteX105" fmla="*/ 542925 w 8601075"/>
                  <a:gd name="connsiteY105" fmla="*/ 2228850 h 4333875"/>
                  <a:gd name="connsiteX106" fmla="*/ 485775 w 8601075"/>
                  <a:gd name="connsiteY106" fmla="*/ 2362200 h 4333875"/>
                  <a:gd name="connsiteX107" fmla="*/ 552450 w 8601075"/>
                  <a:gd name="connsiteY107" fmla="*/ 2486025 h 4333875"/>
                  <a:gd name="connsiteX108" fmla="*/ 771525 w 8601075"/>
                  <a:gd name="connsiteY108" fmla="*/ 2571750 h 4333875"/>
                  <a:gd name="connsiteX109" fmla="*/ 866775 w 8601075"/>
                  <a:gd name="connsiteY109" fmla="*/ 2571750 h 4333875"/>
                  <a:gd name="connsiteX110" fmla="*/ 914400 w 8601075"/>
                  <a:gd name="connsiteY110" fmla="*/ 2638425 h 4333875"/>
                  <a:gd name="connsiteX111" fmla="*/ 1066800 w 8601075"/>
                  <a:gd name="connsiteY111" fmla="*/ 2638425 h 4333875"/>
                  <a:gd name="connsiteX112" fmla="*/ 1285875 w 8601075"/>
                  <a:gd name="connsiteY112" fmla="*/ 2705100 h 4333875"/>
                  <a:gd name="connsiteX113" fmla="*/ 1438275 w 8601075"/>
                  <a:gd name="connsiteY113" fmla="*/ 2838450 h 4333875"/>
                  <a:gd name="connsiteX114" fmla="*/ 1485900 w 8601075"/>
                  <a:gd name="connsiteY114" fmla="*/ 2914650 h 4333875"/>
                  <a:gd name="connsiteX115" fmla="*/ 1657350 w 8601075"/>
                  <a:gd name="connsiteY115" fmla="*/ 3038475 h 4333875"/>
                  <a:gd name="connsiteX116" fmla="*/ 1752600 w 8601075"/>
                  <a:gd name="connsiteY116" fmla="*/ 3057525 h 4333875"/>
                  <a:gd name="connsiteX117" fmla="*/ 1724025 w 8601075"/>
                  <a:gd name="connsiteY117" fmla="*/ 3143250 h 4333875"/>
                  <a:gd name="connsiteX118" fmla="*/ 1724025 w 8601075"/>
                  <a:gd name="connsiteY118" fmla="*/ 3143250 h 4333875"/>
                  <a:gd name="connsiteX119" fmla="*/ 1781175 w 8601075"/>
                  <a:gd name="connsiteY119" fmla="*/ 3181350 h 4333875"/>
                  <a:gd name="connsiteX120" fmla="*/ 1819275 w 8601075"/>
                  <a:gd name="connsiteY120" fmla="*/ 3362325 h 4333875"/>
                  <a:gd name="connsiteX121" fmla="*/ 1828800 w 8601075"/>
                  <a:gd name="connsiteY121" fmla="*/ 3457575 h 4333875"/>
                  <a:gd name="connsiteX122" fmla="*/ 1971675 w 8601075"/>
                  <a:gd name="connsiteY122" fmla="*/ 3590925 h 4333875"/>
                  <a:gd name="connsiteX123" fmla="*/ 1990725 w 8601075"/>
                  <a:gd name="connsiteY123" fmla="*/ 3714750 h 4333875"/>
                  <a:gd name="connsiteX124" fmla="*/ 2200275 w 8601075"/>
                  <a:gd name="connsiteY124" fmla="*/ 3695700 h 4333875"/>
                  <a:gd name="connsiteX125" fmla="*/ 2886075 w 8601075"/>
                  <a:gd name="connsiteY125" fmla="*/ 3886200 h 4333875"/>
                  <a:gd name="connsiteX126" fmla="*/ 3038475 w 8601075"/>
                  <a:gd name="connsiteY126" fmla="*/ 3819525 h 4333875"/>
                  <a:gd name="connsiteX127" fmla="*/ 3105150 w 8601075"/>
                  <a:gd name="connsiteY127" fmla="*/ 3867150 h 4333875"/>
                  <a:gd name="connsiteX128" fmla="*/ 3181350 w 8601075"/>
                  <a:gd name="connsiteY128" fmla="*/ 3800475 h 4333875"/>
                  <a:gd name="connsiteX129" fmla="*/ 3590925 w 8601075"/>
                  <a:gd name="connsiteY129" fmla="*/ 3943350 h 4333875"/>
                  <a:gd name="connsiteX130" fmla="*/ 3686175 w 8601075"/>
                  <a:gd name="connsiteY130" fmla="*/ 4057650 h 4333875"/>
                  <a:gd name="connsiteX131" fmla="*/ 3838575 w 8601075"/>
                  <a:gd name="connsiteY131" fmla="*/ 4057650 h 4333875"/>
                  <a:gd name="connsiteX132" fmla="*/ 4162425 w 8601075"/>
                  <a:gd name="connsiteY132" fmla="*/ 4248150 h 4333875"/>
                  <a:gd name="connsiteX133" fmla="*/ 4391025 w 8601075"/>
                  <a:gd name="connsiteY133" fmla="*/ 4200525 h 4333875"/>
                  <a:gd name="connsiteX134" fmla="*/ 4410075 w 8601075"/>
                  <a:gd name="connsiteY134" fmla="*/ 4305300 h 4333875"/>
                  <a:gd name="connsiteX135" fmla="*/ 4505325 w 8601075"/>
                  <a:gd name="connsiteY135" fmla="*/ 4276725 h 4333875"/>
                  <a:gd name="connsiteX136" fmla="*/ 4572000 w 8601075"/>
                  <a:gd name="connsiteY136" fmla="*/ 4333875 h 4333875"/>
                  <a:gd name="connsiteX137" fmla="*/ 4591050 w 8601075"/>
                  <a:gd name="connsiteY137" fmla="*/ 4248150 h 4333875"/>
                  <a:gd name="connsiteX138" fmla="*/ 5295900 w 8601075"/>
                  <a:gd name="connsiteY138" fmla="*/ 3924300 h 4333875"/>
                  <a:gd name="connsiteX139" fmla="*/ 5353050 w 8601075"/>
                  <a:gd name="connsiteY139" fmla="*/ 3990975 h 4333875"/>
                  <a:gd name="connsiteX140" fmla="*/ 5524500 w 8601075"/>
                  <a:gd name="connsiteY140" fmla="*/ 3914775 h 4333875"/>
                  <a:gd name="connsiteX141" fmla="*/ 5667375 w 8601075"/>
                  <a:gd name="connsiteY141" fmla="*/ 3962400 h 4333875"/>
                  <a:gd name="connsiteX142" fmla="*/ 5753100 w 8601075"/>
                  <a:gd name="connsiteY142" fmla="*/ 3924300 h 4333875"/>
                  <a:gd name="connsiteX143" fmla="*/ 5905500 w 8601075"/>
                  <a:gd name="connsiteY143" fmla="*/ 3943350 h 4333875"/>
                  <a:gd name="connsiteX144" fmla="*/ 6000750 w 8601075"/>
                  <a:gd name="connsiteY144" fmla="*/ 3800475 h 4333875"/>
                  <a:gd name="connsiteX145" fmla="*/ 6153150 w 8601075"/>
                  <a:gd name="connsiteY145" fmla="*/ 3781425 h 4333875"/>
                  <a:gd name="connsiteX146" fmla="*/ 6257925 w 8601075"/>
                  <a:gd name="connsiteY146" fmla="*/ 3581400 h 4333875"/>
                  <a:gd name="connsiteX147" fmla="*/ 6448425 w 8601075"/>
                  <a:gd name="connsiteY147" fmla="*/ 3448050 h 4333875"/>
                  <a:gd name="connsiteX148" fmla="*/ 6581775 w 8601075"/>
                  <a:gd name="connsiteY148" fmla="*/ 3276600 h 4333875"/>
                  <a:gd name="connsiteX149" fmla="*/ 6496050 w 8601075"/>
                  <a:gd name="connsiteY149" fmla="*/ 3228975 h 4333875"/>
                  <a:gd name="connsiteX150" fmla="*/ 6438900 w 8601075"/>
                  <a:gd name="connsiteY150" fmla="*/ 3162300 h 4333875"/>
                  <a:gd name="connsiteX151" fmla="*/ 6419850 w 8601075"/>
                  <a:gd name="connsiteY151" fmla="*/ 3105150 h 4333875"/>
                  <a:gd name="connsiteX152" fmla="*/ 6362700 w 8601075"/>
                  <a:gd name="connsiteY152" fmla="*/ 3076575 h 4333875"/>
                  <a:gd name="connsiteX153" fmla="*/ 6410325 w 8601075"/>
                  <a:gd name="connsiteY153" fmla="*/ 3019425 h 4333875"/>
                  <a:gd name="connsiteX154" fmla="*/ 6438900 w 8601075"/>
                  <a:gd name="connsiteY154" fmla="*/ 2819400 h 4333875"/>
                  <a:gd name="connsiteX155" fmla="*/ 6496050 w 8601075"/>
                  <a:gd name="connsiteY155" fmla="*/ 2762250 h 4333875"/>
                  <a:gd name="connsiteX156" fmla="*/ 6657975 w 8601075"/>
                  <a:gd name="connsiteY156" fmla="*/ 2752725 h 4333875"/>
                  <a:gd name="connsiteX157" fmla="*/ 6781800 w 8601075"/>
                  <a:gd name="connsiteY157" fmla="*/ 2838450 h 4333875"/>
                  <a:gd name="connsiteX158" fmla="*/ 7010400 w 8601075"/>
                  <a:gd name="connsiteY158" fmla="*/ 2838450 h 4333875"/>
                  <a:gd name="connsiteX159" fmla="*/ 7162800 w 8601075"/>
                  <a:gd name="connsiteY159" fmla="*/ 2705100 h 4333875"/>
                  <a:gd name="connsiteX160" fmla="*/ 7229475 w 8601075"/>
                  <a:gd name="connsiteY160" fmla="*/ 2590800 h 4333875"/>
                  <a:gd name="connsiteX161" fmla="*/ 7248525 w 8601075"/>
                  <a:gd name="connsiteY161" fmla="*/ 2524125 h 4333875"/>
                  <a:gd name="connsiteX162" fmla="*/ 7372350 w 8601075"/>
                  <a:gd name="connsiteY162" fmla="*/ 2543175 h 4333875"/>
                  <a:gd name="connsiteX163" fmla="*/ 7553325 w 8601075"/>
                  <a:gd name="connsiteY163" fmla="*/ 2447925 h 4333875"/>
                  <a:gd name="connsiteX164" fmla="*/ 7620000 w 8601075"/>
                  <a:gd name="connsiteY164" fmla="*/ 2324100 h 4333875"/>
                  <a:gd name="connsiteX165" fmla="*/ 7696200 w 8601075"/>
                  <a:gd name="connsiteY165" fmla="*/ 2314575 h 4333875"/>
                  <a:gd name="connsiteX166" fmla="*/ 7658100 w 8601075"/>
                  <a:gd name="connsiteY166" fmla="*/ 2257425 h 4333875"/>
                  <a:gd name="connsiteX167" fmla="*/ 7753350 w 8601075"/>
                  <a:gd name="connsiteY167" fmla="*/ 2057400 h 4333875"/>
                  <a:gd name="connsiteX168" fmla="*/ 7934325 w 8601075"/>
                  <a:gd name="connsiteY168" fmla="*/ 2028825 h 4333875"/>
                  <a:gd name="connsiteX169" fmla="*/ 7953375 w 8601075"/>
                  <a:gd name="connsiteY169" fmla="*/ 1952625 h 4333875"/>
                  <a:gd name="connsiteX170" fmla="*/ 7953375 w 8601075"/>
                  <a:gd name="connsiteY170" fmla="*/ 1952625 h 4333875"/>
                  <a:gd name="connsiteX171" fmla="*/ 8010525 w 8601075"/>
                  <a:gd name="connsiteY171" fmla="*/ 1895475 h 4333875"/>
                  <a:gd name="connsiteX172" fmla="*/ 8048625 w 8601075"/>
                  <a:gd name="connsiteY172" fmla="*/ 1971675 h 4333875"/>
                  <a:gd name="connsiteX173" fmla="*/ 8077200 w 8601075"/>
                  <a:gd name="connsiteY173" fmla="*/ 1885950 h 4333875"/>
                  <a:gd name="connsiteX174" fmla="*/ 8220075 w 8601075"/>
                  <a:gd name="connsiteY174" fmla="*/ 1847850 h 4333875"/>
                  <a:gd name="connsiteX175" fmla="*/ 8296275 w 8601075"/>
                  <a:gd name="connsiteY175" fmla="*/ 1809750 h 4333875"/>
                  <a:gd name="connsiteX176" fmla="*/ 8324850 w 8601075"/>
                  <a:gd name="connsiteY176" fmla="*/ 1790700 h 4333875"/>
                  <a:gd name="connsiteX177" fmla="*/ 8410575 w 8601075"/>
                  <a:gd name="connsiteY177" fmla="*/ 1847850 h 4333875"/>
                  <a:gd name="connsiteX178" fmla="*/ 8505825 w 8601075"/>
                  <a:gd name="connsiteY178" fmla="*/ 1781175 h 4333875"/>
                  <a:gd name="connsiteX179" fmla="*/ 8572500 w 8601075"/>
                  <a:gd name="connsiteY179" fmla="*/ 1809750 h 4333875"/>
                  <a:gd name="connsiteX180" fmla="*/ 8601075 w 8601075"/>
                  <a:gd name="connsiteY180" fmla="*/ 1704975 h 4333875"/>
                  <a:gd name="connsiteX181" fmla="*/ 8553450 w 8601075"/>
                  <a:gd name="connsiteY181" fmla="*/ 1676400 h 4333875"/>
                  <a:gd name="connsiteX182" fmla="*/ 8534400 w 8601075"/>
                  <a:gd name="connsiteY182" fmla="*/ 1609725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124825 w 8601075"/>
                  <a:gd name="connsiteY186" fmla="*/ 1352550 h 4333875"/>
                  <a:gd name="connsiteX187" fmla="*/ 7924800 w 8601075"/>
                  <a:gd name="connsiteY187" fmla="*/ 1362075 h 4333875"/>
                  <a:gd name="connsiteX188" fmla="*/ 7867650 w 8601075"/>
                  <a:gd name="connsiteY188" fmla="*/ 1457325 h 4333875"/>
                  <a:gd name="connsiteX189" fmla="*/ 7896225 w 8601075"/>
                  <a:gd name="connsiteY189" fmla="*/ 1476375 h 4333875"/>
                  <a:gd name="connsiteX190" fmla="*/ 7858125 w 8601075"/>
                  <a:gd name="connsiteY190" fmla="*/ 1533525 h 4333875"/>
                  <a:gd name="connsiteX191" fmla="*/ 7658100 w 8601075"/>
                  <a:gd name="connsiteY191" fmla="*/ 1447800 h 4333875"/>
                  <a:gd name="connsiteX192" fmla="*/ 7515225 w 8601075"/>
                  <a:gd name="connsiteY192" fmla="*/ 1495425 h 4333875"/>
                  <a:gd name="connsiteX193" fmla="*/ 7467600 w 8601075"/>
                  <a:gd name="connsiteY193" fmla="*/ 1581150 h 4333875"/>
                  <a:gd name="connsiteX194" fmla="*/ 7296150 w 8601075"/>
                  <a:gd name="connsiteY19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895725 w 8601075"/>
                  <a:gd name="connsiteY41" fmla="*/ 695325 h 4333875"/>
                  <a:gd name="connsiteX42" fmla="*/ 3781425 w 8601075"/>
                  <a:gd name="connsiteY42" fmla="*/ 590550 h 4333875"/>
                  <a:gd name="connsiteX43" fmla="*/ 3810000 w 8601075"/>
                  <a:gd name="connsiteY43" fmla="*/ 514350 h 4333875"/>
                  <a:gd name="connsiteX44" fmla="*/ 3781425 w 8601075"/>
                  <a:gd name="connsiteY44" fmla="*/ 390525 h 4333875"/>
                  <a:gd name="connsiteX45" fmla="*/ 3771900 w 8601075"/>
                  <a:gd name="connsiteY45" fmla="*/ 352425 h 4333875"/>
                  <a:gd name="connsiteX46" fmla="*/ 3600450 w 8601075"/>
                  <a:gd name="connsiteY46" fmla="*/ 285750 h 4333875"/>
                  <a:gd name="connsiteX47" fmla="*/ 3533775 w 8601075"/>
                  <a:gd name="connsiteY47" fmla="*/ 314325 h 4333875"/>
                  <a:gd name="connsiteX48" fmla="*/ 3409950 w 8601075"/>
                  <a:gd name="connsiteY48" fmla="*/ 190500 h 4333875"/>
                  <a:gd name="connsiteX49" fmla="*/ 3257550 w 8601075"/>
                  <a:gd name="connsiteY49" fmla="*/ 180975 h 4333875"/>
                  <a:gd name="connsiteX50" fmla="*/ 3209925 w 8601075"/>
                  <a:gd name="connsiteY50" fmla="*/ 104775 h 4333875"/>
                  <a:gd name="connsiteX51" fmla="*/ 3152775 w 8601075"/>
                  <a:gd name="connsiteY51" fmla="*/ 104775 h 4333875"/>
                  <a:gd name="connsiteX52" fmla="*/ 2990850 w 8601075"/>
                  <a:gd name="connsiteY52" fmla="*/ 0 h 4333875"/>
                  <a:gd name="connsiteX53" fmla="*/ 2933700 w 8601075"/>
                  <a:gd name="connsiteY53" fmla="*/ 114300 h 4333875"/>
                  <a:gd name="connsiteX54" fmla="*/ 2867025 w 8601075"/>
                  <a:gd name="connsiteY54" fmla="*/ 171450 h 4333875"/>
                  <a:gd name="connsiteX55" fmla="*/ 2867025 w 8601075"/>
                  <a:gd name="connsiteY55" fmla="*/ 171450 h 4333875"/>
                  <a:gd name="connsiteX56" fmla="*/ 2800350 w 8601075"/>
                  <a:gd name="connsiteY56" fmla="*/ 257175 h 4333875"/>
                  <a:gd name="connsiteX57" fmla="*/ 2724150 w 8601075"/>
                  <a:gd name="connsiteY57" fmla="*/ 304800 h 4333875"/>
                  <a:gd name="connsiteX58" fmla="*/ 2705100 w 8601075"/>
                  <a:gd name="connsiteY58" fmla="*/ 466725 h 4333875"/>
                  <a:gd name="connsiteX59" fmla="*/ 2762250 w 8601075"/>
                  <a:gd name="connsiteY59" fmla="*/ 571500 h 4333875"/>
                  <a:gd name="connsiteX60" fmla="*/ 2800350 w 8601075"/>
                  <a:gd name="connsiteY60" fmla="*/ 628650 h 4333875"/>
                  <a:gd name="connsiteX61" fmla="*/ 2752725 w 8601075"/>
                  <a:gd name="connsiteY61" fmla="*/ 781050 h 4333875"/>
                  <a:gd name="connsiteX62" fmla="*/ 2686050 w 8601075"/>
                  <a:gd name="connsiteY62" fmla="*/ 857250 h 4333875"/>
                  <a:gd name="connsiteX63" fmla="*/ 2609850 w 8601075"/>
                  <a:gd name="connsiteY63" fmla="*/ 857250 h 4333875"/>
                  <a:gd name="connsiteX64" fmla="*/ 2514600 w 8601075"/>
                  <a:gd name="connsiteY64" fmla="*/ 914400 h 4333875"/>
                  <a:gd name="connsiteX65" fmla="*/ 2400300 w 8601075"/>
                  <a:gd name="connsiteY65" fmla="*/ 866775 h 4333875"/>
                  <a:gd name="connsiteX66" fmla="*/ 2305050 w 8601075"/>
                  <a:gd name="connsiteY66" fmla="*/ 809625 h 4333875"/>
                  <a:gd name="connsiteX67" fmla="*/ 2200275 w 8601075"/>
                  <a:gd name="connsiteY67" fmla="*/ 752475 h 4333875"/>
                  <a:gd name="connsiteX68" fmla="*/ 2105025 w 8601075"/>
                  <a:gd name="connsiteY68" fmla="*/ 762000 h 4333875"/>
                  <a:gd name="connsiteX69" fmla="*/ 1990725 w 8601075"/>
                  <a:gd name="connsiteY69" fmla="*/ 762000 h 4333875"/>
                  <a:gd name="connsiteX70" fmla="*/ 1885950 w 8601075"/>
                  <a:gd name="connsiteY70" fmla="*/ 742950 h 4333875"/>
                  <a:gd name="connsiteX71" fmla="*/ 1800225 w 8601075"/>
                  <a:gd name="connsiteY71" fmla="*/ 638175 h 4333875"/>
                  <a:gd name="connsiteX72" fmla="*/ 1809750 w 8601075"/>
                  <a:gd name="connsiteY72" fmla="*/ 495300 h 4333875"/>
                  <a:gd name="connsiteX73" fmla="*/ 1733550 w 8601075"/>
                  <a:gd name="connsiteY73" fmla="*/ 466725 h 4333875"/>
                  <a:gd name="connsiteX74" fmla="*/ 1485900 w 8601075"/>
                  <a:gd name="connsiteY74" fmla="*/ 419100 h 4333875"/>
                  <a:gd name="connsiteX75" fmla="*/ 1457325 w 8601075"/>
                  <a:gd name="connsiteY75" fmla="*/ 323850 h 4333875"/>
                  <a:gd name="connsiteX76" fmla="*/ 1457325 w 8601075"/>
                  <a:gd name="connsiteY76" fmla="*/ 323850 h 4333875"/>
                  <a:gd name="connsiteX77" fmla="*/ 1323975 w 8601075"/>
                  <a:gd name="connsiteY77" fmla="*/ 285750 h 4333875"/>
                  <a:gd name="connsiteX78" fmla="*/ 1266825 w 8601075"/>
                  <a:gd name="connsiteY78" fmla="*/ 352425 h 4333875"/>
                  <a:gd name="connsiteX79" fmla="*/ 1009650 w 8601075"/>
                  <a:gd name="connsiteY79" fmla="*/ 390525 h 4333875"/>
                  <a:gd name="connsiteX80" fmla="*/ 828675 w 8601075"/>
                  <a:gd name="connsiteY80" fmla="*/ 447675 h 4333875"/>
                  <a:gd name="connsiteX81" fmla="*/ 619125 w 8601075"/>
                  <a:gd name="connsiteY81" fmla="*/ 533400 h 4333875"/>
                  <a:gd name="connsiteX82" fmla="*/ 619125 w 8601075"/>
                  <a:gd name="connsiteY82" fmla="*/ 533400 h 4333875"/>
                  <a:gd name="connsiteX83" fmla="*/ 561975 w 8601075"/>
                  <a:gd name="connsiteY83" fmla="*/ 61912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447675 w 8601075"/>
                  <a:gd name="connsiteY86" fmla="*/ 638175 h 4333875"/>
                  <a:gd name="connsiteX87" fmla="*/ 295275 w 8601075"/>
                  <a:gd name="connsiteY87" fmla="*/ 657225 h 4333875"/>
                  <a:gd name="connsiteX88" fmla="*/ 180975 w 8601075"/>
                  <a:gd name="connsiteY88" fmla="*/ 638175 h 4333875"/>
                  <a:gd name="connsiteX89" fmla="*/ 180975 w 8601075"/>
                  <a:gd name="connsiteY89" fmla="*/ 638175 h 4333875"/>
                  <a:gd name="connsiteX90" fmla="*/ 57150 w 8601075"/>
                  <a:gd name="connsiteY90" fmla="*/ 733425 h 4333875"/>
                  <a:gd name="connsiteX91" fmla="*/ 19050 w 8601075"/>
                  <a:gd name="connsiteY91" fmla="*/ 790575 h 4333875"/>
                  <a:gd name="connsiteX92" fmla="*/ 0 w 8601075"/>
                  <a:gd name="connsiteY92" fmla="*/ 876300 h 4333875"/>
                  <a:gd name="connsiteX93" fmla="*/ 57150 w 8601075"/>
                  <a:gd name="connsiteY93" fmla="*/ 923925 h 4333875"/>
                  <a:gd name="connsiteX94" fmla="*/ 57150 w 8601075"/>
                  <a:gd name="connsiteY94" fmla="*/ 923925 h 4333875"/>
                  <a:gd name="connsiteX95" fmla="*/ 209550 w 8601075"/>
                  <a:gd name="connsiteY95" fmla="*/ 1114425 h 4333875"/>
                  <a:gd name="connsiteX96" fmla="*/ 209550 w 8601075"/>
                  <a:gd name="connsiteY96" fmla="*/ 1114425 h 4333875"/>
                  <a:gd name="connsiteX97" fmla="*/ 266700 w 8601075"/>
                  <a:gd name="connsiteY97" fmla="*/ 1295400 h 4333875"/>
                  <a:gd name="connsiteX98" fmla="*/ 409575 w 8601075"/>
                  <a:gd name="connsiteY98" fmla="*/ 1276350 h 4333875"/>
                  <a:gd name="connsiteX99" fmla="*/ 466725 w 8601075"/>
                  <a:gd name="connsiteY99" fmla="*/ 1362075 h 4333875"/>
                  <a:gd name="connsiteX100" fmla="*/ 542925 w 8601075"/>
                  <a:gd name="connsiteY100" fmla="*/ 1428750 h 4333875"/>
                  <a:gd name="connsiteX101" fmla="*/ 628650 w 8601075"/>
                  <a:gd name="connsiteY101" fmla="*/ 1571625 h 4333875"/>
                  <a:gd name="connsiteX102" fmla="*/ 628650 w 8601075"/>
                  <a:gd name="connsiteY102" fmla="*/ 1704975 h 4333875"/>
                  <a:gd name="connsiteX103" fmla="*/ 676275 w 8601075"/>
                  <a:gd name="connsiteY103" fmla="*/ 1771650 h 4333875"/>
                  <a:gd name="connsiteX104" fmla="*/ 657225 w 8601075"/>
                  <a:gd name="connsiteY104" fmla="*/ 2000250 h 4333875"/>
                  <a:gd name="connsiteX105" fmla="*/ 619125 w 8601075"/>
                  <a:gd name="connsiteY105" fmla="*/ 2095500 h 4333875"/>
                  <a:gd name="connsiteX106" fmla="*/ 542925 w 8601075"/>
                  <a:gd name="connsiteY106" fmla="*/ 2228850 h 4333875"/>
                  <a:gd name="connsiteX107" fmla="*/ 485775 w 8601075"/>
                  <a:gd name="connsiteY107" fmla="*/ 2362200 h 4333875"/>
                  <a:gd name="connsiteX108" fmla="*/ 552450 w 8601075"/>
                  <a:gd name="connsiteY108" fmla="*/ 2486025 h 4333875"/>
                  <a:gd name="connsiteX109" fmla="*/ 771525 w 8601075"/>
                  <a:gd name="connsiteY109" fmla="*/ 2571750 h 4333875"/>
                  <a:gd name="connsiteX110" fmla="*/ 866775 w 8601075"/>
                  <a:gd name="connsiteY110" fmla="*/ 2571750 h 4333875"/>
                  <a:gd name="connsiteX111" fmla="*/ 914400 w 8601075"/>
                  <a:gd name="connsiteY111" fmla="*/ 2638425 h 4333875"/>
                  <a:gd name="connsiteX112" fmla="*/ 1066800 w 8601075"/>
                  <a:gd name="connsiteY112" fmla="*/ 2638425 h 4333875"/>
                  <a:gd name="connsiteX113" fmla="*/ 1285875 w 8601075"/>
                  <a:gd name="connsiteY113" fmla="*/ 2705100 h 4333875"/>
                  <a:gd name="connsiteX114" fmla="*/ 1438275 w 8601075"/>
                  <a:gd name="connsiteY114" fmla="*/ 2838450 h 4333875"/>
                  <a:gd name="connsiteX115" fmla="*/ 1485900 w 8601075"/>
                  <a:gd name="connsiteY115" fmla="*/ 2914650 h 4333875"/>
                  <a:gd name="connsiteX116" fmla="*/ 1657350 w 8601075"/>
                  <a:gd name="connsiteY116" fmla="*/ 3038475 h 4333875"/>
                  <a:gd name="connsiteX117" fmla="*/ 1752600 w 8601075"/>
                  <a:gd name="connsiteY117" fmla="*/ 3057525 h 4333875"/>
                  <a:gd name="connsiteX118" fmla="*/ 1724025 w 8601075"/>
                  <a:gd name="connsiteY118" fmla="*/ 3143250 h 4333875"/>
                  <a:gd name="connsiteX119" fmla="*/ 1724025 w 8601075"/>
                  <a:gd name="connsiteY119" fmla="*/ 3143250 h 4333875"/>
                  <a:gd name="connsiteX120" fmla="*/ 1781175 w 8601075"/>
                  <a:gd name="connsiteY120" fmla="*/ 3181350 h 4333875"/>
                  <a:gd name="connsiteX121" fmla="*/ 1819275 w 8601075"/>
                  <a:gd name="connsiteY121" fmla="*/ 3362325 h 4333875"/>
                  <a:gd name="connsiteX122" fmla="*/ 1828800 w 8601075"/>
                  <a:gd name="connsiteY122" fmla="*/ 3457575 h 4333875"/>
                  <a:gd name="connsiteX123" fmla="*/ 1971675 w 8601075"/>
                  <a:gd name="connsiteY123" fmla="*/ 3590925 h 4333875"/>
                  <a:gd name="connsiteX124" fmla="*/ 1990725 w 8601075"/>
                  <a:gd name="connsiteY124" fmla="*/ 3714750 h 4333875"/>
                  <a:gd name="connsiteX125" fmla="*/ 2200275 w 8601075"/>
                  <a:gd name="connsiteY125" fmla="*/ 3695700 h 4333875"/>
                  <a:gd name="connsiteX126" fmla="*/ 2886075 w 8601075"/>
                  <a:gd name="connsiteY126" fmla="*/ 3886200 h 4333875"/>
                  <a:gd name="connsiteX127" fmla="*/ 3038475 w 8601075"/>
                  <a:gd name="connsiteY127" fmla="*/ 3819525 h 4333875"/>
                  <a:gd name="connsiteX128" fmla="*/ 3105150 w 8601075"/>
                  <a:gd name="connsiteY128" fmla="*/ 3867150 h 4333875"/>
                  <a:gd name="connsiteX129" fmla="*/ 3181350 w 8601075"/>
                  <a:gd name="connsiteY129" fmla="*/ 3800475 h 4333875"/>
                  <a:gd name="connsiteX130" fmla="*/ 3590925 w 8601075"/>
                  <a:gd name="connsiteY130" fmla="*/ 3943350 h 4333875"/>
                  <a:gd name="connsiteX131" fmla="*/ 3686175 w 8601075"/>
                  <a:gd name="connsiteY131" fmla="*/ 4057650 h 4333875"/>
                  <a:gd name="connsiteX132" fmla="*/ 3838575 w 8601075"/>
                  <a:gd name="connsiteY132" fmla="*/ 4057650 h 4333875"/>
                  <a:gd name="connsiteX133" fmla="*/ 4162425 w 8601075"/>
                  <a:gd name="connsiteY133" fmla="*/ 4248150 h 4333875"/>
                  <a:gd name="connsiteX134" fmla="*/ 4391025 w 8601075"/>
                  <a:gd name="connsiteY134" fmla="*/ 4200525 h 4333875"/>
                  <a:gd name="connsiteX135" fmla="*/ 4410075 w 8601075"/>
                  <a:gd name="connsiteY135" fmla="*/ 4305300 h 4333875"/>
                  <a:gd name="connsiteX136" fmla="*/ 4505325 w 8601075"/>
                  <a:gd name="connsiteY136" fmla="*/ 4276725 h 4333875"/>
                  <a:gd name="connsiteX137" fmla="*/ 4572000 w 8601075"/>
                  <a:gd name="connsiteY137" fmla="*/ 4333875 h 4333875"/>
                  <a:gd name="connsiteX138" fmla="*/ 4591050 w 8601075"/>
                  <a:gd name="connsiteY138" fmla="*/ 4248150 h 4333875"/>
                  <a:gd name="connsiteX139" fmla="*/ 5295900 w 8601075"/>
                  <a:gd name="connsiteY139" fmla="*/ 3924300 h 4333875"/>
                  <a:gd name="connsiteX140" fmla="*/ 5353050 w 8601075"/>
                  <a:gd name="connsiteY140" fmla="*/ 3990975 h 4333875"/>
                  <a:gd name="connsiteX141" fmla="*/ 5524500 w 8601075"/>
                  <a:gd name="connsiteY141" fmla="*/ 3914775 h 4333875"/>
                  <a:gd name="connsiteX142" fmla="*/ 5667375 w 8601075"/>
                  <a:gd name="connsiteY142" fmla="*/ 3962400 h 4333875"/>
                  <a:gd name="connsiteX143" fmla="*/ 5753100 w 8601075"/>
                  <a:gd name="connsiteY143" fmla="*/ 3924300 h 4333875"/>
                  <a:gd name="connsiteX144" fmla="*/ 5905500 w 8601075"/>
                  <a:gd name="connsiteY144" fmla="*/ 3943350 h 4333875"/>
                  <a:gd name="connsiteX145" fmla="*/ 6000750 w 8601075"/>
                  <a:gd name="connsiteY145" fmla="*/ 3800475 h 4333875"/>
                  <a:gd name="connsiteX146" fmla="*/ 6153150 w 8601075"/>
                  <a:gd name="connsiteY146" fmla="*/ 3781425 h 4333875"/>
                  <a:gd name="connsiteX147" fmla="*/ 6257925 w 8601075"/>
                  <a:gd name="connsiteY147" fmla="*/ 3581400 h 4333875"/>
                  <a:gd name="connsiteX148" fmla="*/ 6448425 w 8601075"/>
                  <a:gd name="connsiteY148" fmla="*/ 3448050 h 4333875"/>
                  <a:gd name="connsiteX149" fmla="*/ 6581775 w 8601075"/>
                  <a:gd name="connsiteY149" fmla="*/ 3276600 h 4333875"/>
                  <a:gd name="connsiteX150" fmla="*/ 6496050 w 8601075"/>
                  <a:gd name="connsiteY150" fmla="*/ 3228975 h 4333875"/>
                  <a:gd name="connsiteX151" fmla="*/ 6438900 w 8601075"/>
                  <a:gd name="connsiteY151" fmla="*/ 3162300 h 4333875"/>
                  <a:gd name="connsiteX152" fmla="*/ 6419850 w 8601075"/>
                  <a:gd name="connsiteY152" fmla="*/ 3105150 h 4333875"/>
                  <a:gd name="connsiteX153" fmla="*/ 6362700 w 8601075"/>
                  <a:gd name="connsiteY153" fmla="*/ 3076575 h 4333875"/>
                  <a:gd name="connsiteX154" fmla="*/ 6410325 w 8601075"/>
                  <a:gd name="connsiteY154" fmla="*/ 3019425 h 4333875"/>
                  <a:gd name="connsiteX155" fmla="*/ 6438900 w 8601075"/>
                  <a:gd name="connsiteY155" fmla="*/ 2819400 h 4333875"/>
                  <a:gd name="connsiteX156" fmla="*/ 6496050 w 8601075"/>
                  <a:gd name="connsiteY156" fmla="*/ 2762250 h 4333875"/>
                  <a:gd name="connsiteX157" fmla="*/ 6657975 w 8601075"/>
                  <a:gd name="connsiteY157" fmla="*/ 2752725 h 4333875"/>
                  <a:gd name="connsiteX158" fmla="*/ 6781800 w 8601075"/>
                  <a:gd name="connsiteY158" fmla="*/ 2838450 h 4333875"/>
                  <a:gd name="connsiteX159" fmla="*/ 7010400 w 8601075"/>
                  <a:gd name="connsiteY159" fmla="*/ 2838450 h 4333875"/>
                  <a:gd name="connsiteX160" fmla="*/ 7162800 w 8601075"/>
                  <a:gd name="connsiteY160" fmla="*/ 2705100 h 4333875"/>
                  <a:gd name="connsiteX161" fmla="*/ 7229475 w 8601075"/>
                  <a:gd name="connsiteY161" fmla="*/ 2590800 h 4333875"/>
                  <a:gd name="connsiteX162" fmla="*/ 7248525 w 8601075"/>
                  <a:gd name="connsiteY162" fmla="*/ 2524125 h 4333875"/>
                  <a:gd name="connsiteX163" fmla="*/ 7372350 w 8601075"/>
                  <a:gd name="connsiteY163" fmla="*/ 2543175 h 4333875"/>
                  <a:gd name="connsiteX164" fmla="*/ 7553325 w 8601075"/>
                  <a:gd name="connsiteY164" fmla="*/ 2447925 h 4333875"/>
                  <a:gd name="connsiteX165" fmla="*/ 7620000 w 8601075"/>
                  <a:gd name="connsiteY165" fmla="*/ 2324100 h 4333875"/>
                  <a:gd name="connsiteX166" fmla="*/ 7696200 w 8601075"/>
                  <a:gd name="connsiteY166" fmla="*/ 2314575 h 4333875"/>
                  <a:gd name="connsiteX167" fmla="*/ 7658100 w 8601075"/>
                  <a:gd name="connsiteY167" fmla="*/ 2257425 h 4333875"/>
                  <a:gd name="connsiteX168" fmla="*/ 7753350 w 8601075"/>
                  <a:gd name="connsiteY168" fmla="*/ 2057400 h 4333875"/>
                  <a:gd name="connsiteX169" fmla="*/ 7934325 w 8601075"/>
                  <a:gd name="connsiteY169" fmla="*/ 2028825 h 4333875"/>
                  <a:gd name="connsiteX170" fmla="*/ 7953375 w 8601075"/>
                  <a:gd name="connsiteY170" fmla="*/ 1952625 h 4333875"/>
                  <a:gd name="connsiteX171" fmla="*/ 7953375 w 8601075"/>
                  <a:gd name="connsiteY171" fmla="*/ 1952625 h 4333875"/>
                  <a:gd name="connsiteX172" fmla="*/ 8010525 w 8601075"/>
                  <a:gd name="connsiteY172" fmla="*/ 1895475 h 4333875"/>
                  <a:gd name="connsiteX173" fmla="*/ 8048625 w 8601075"/>
                  <a:gd name="connsiteY173" fmla="*/ 1971675 h 4333875"/>
                  <a:gd name="connsiteX174" fmla="*/ 8077200 w 8601075"/>
                  <a:gd name="connsiteY174" fmla="*/ 1885950 h 4333875"/>
                  <a:gd name="connsiteX175" fmla="*/ 8220075 w 8601075"/>
                  <a:gd name="connsiteY175" fmla="*/ 1847850 h 4333875"/>
                  <a:gd name="connsiteX176" fmla="*/ 8296275 w 8601075"/>
                  <a:gd name="connsiteY176" fmla="*/ 1809750 h 4333875"/>
                  <a:gd name="connsiteX177" fmla="*/ 8324850 w 8601075"/>
                  <a:gd name="connsiteY177" fmla="*/ 1790700 h 4333875"/>
                  <a:gd name="connsiteX178" fmla="*/ 8410575 w 8601075"/>
                  <a:gd name="connsiteY178" fmla="*/ 1847850 h 4333875"/>
                  <a:gd name="connsiteX179" fmla="*/ 8505825 w 8601075"/>
                  <a:gd name="connsiteY179" fmla="*/ 1781175 h 4333875"/>
                  <a:gd name="connsiteX180" fmla="*/ 8572500 w 8601075"/>
                  <a:gd name="connsiteY180" fmla="*/ 1809750 h 4333875"/>
                  <a:gd name="connsiteX181" fmla="*/ 8601075 w 8601075"/>
                  <a:gd name="connsiteY181" fmla="*/ 1704975 h 4333875"/>
                  <a:gd name="connsiteX182" fmla="*/ 8553450 w 8601075"/>
                  <a:gd name="connsiteY182" fmla="*/ 1676400 h 4333875"/>
                  <a:gd name="connsiteX183" fmla="*/ 8534400 w 8601075"/>
                  <a:gd name="connsiteY183" fmla="*/ 1609725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277225 w 8601075"/>
                  <a:gd name="connsiteY186" fmla="*/ 1409700 h 4333875"/>
                  <a:gd name="connsiteX187" fmla="*/ 8124825 w 8601075"/>
                  <a:gd name="connsiteY187" fmla="*/ 1352550 h 4333875"/>
                  <a:gd name="connsiteX188" fmla="*/ 7924800 w 8601075"/>
                  <a:gd name="connsiteY188" fmla="*/ 1362075 h 4333875"/>
                  <a:gd name="connsiteX189" fmla="*/ 7867650 w 8601075"/>
                  <a:gd name="connsiteY189" fmla="*/ 1457325 h 4333875"/>
                  <a:gd name="connsiteX190" fmla="*/ 7896225 w 8601075"/>
                  <a:gd name="connsiteY190" fmla="*/ 1476375 h 4333875"/>
                  <a:gd name="connsiteX191" fmla="*/ 7858125 w 8601075"/>
                  <a:gd name="connsiteY191" fmla="*/ 1533525 h 4333875"/>
                  <a:gd name="connsiteX192" fmla="*/ 7658100 w 8601075"/>
                  <a:gd name="connsiteY192" fmla="*/ 1447800 h 4333875"/>
                  <a:gd name="connsiteX193" fmla="*/ 7515225 w 8601075"/>
                  <a:gd name="connsiteY193" fmla="*/ 1495425 h 4333875"/>
                  <a:gd name="connsiteX194" fmla="*/ 7467600 w 8601075"/>
                  <a:gd name="connsiteY194" fmla="*/ 1581150 h 4333875"/>
                  <a:gd name="connsiteX195" fmla="*/ 7296150 w 8601075"/>
                  <a:gd name="connsiteY19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895725 w 8601075"/>
                  <a:gd name="connsiteY42" fmla="*/ 695325 h 4333875"/>
                  <a:gd name="connsiteX43" fmla="*/ 3781425 w 8601075"/>
                  <a:gd name="connsiteY43" fmla="*/ 590550 h 4333875"/>
                  <a:gd name="connsiteX44" fmla="*/ 3810000 w 8601075"/>
                  <a:gd name="connsiteY44" fmla="*/ 514350 h 4333875"/>
                  <a:gd name="connsiteX45" fmla="*/ 3781425 w 8601075"/>
                  <a:gd name="connsiteY45" fmla="*/ 390525 h 4333875"/>
                  <a:gd name="connsiteX46" fmla="*/ 3771900 w 8601075"/>
                  <a:gd name="connsiteY46" fmla="*/ 352425 h 4333875"/>
                  <a:gd name="connsiteX47" fmla="*/ 3600450 w 8601075"/>
                  <a:gd name="connsiteY47" fmla="*/ 285750 h 4333875"/>
                  <a:gd name="connsiteX48" fmla="*/ 3533775 w 8601075"/>
                  <a:gd name="connsiteY48" fmla="*/ 314325 h 4333875"/>
                  <a:gd name="connsiteX49" fmla="*/ 3409950 w 8601075"/>
                  <a:gd name="connsiteY49" fmla="*/ 190500 h 4333875"/>
                  <a:gd name="connsiteX50" fmla="*/ 3257550 w 8601075"/>
                  <a:gd name="connsiteY50" fmla="*/ 180975 h 4333875"/>
                  <a:gd name="connsiteX51" fmla="*/ 3209925 w 8601075"/>
                  <a:gd name="connsiteY51" fmla="*/ 104775 h 4333875"/>
                  <a:gd name="connsiteX52" fmla="*/ 3152775 w 8601075"/>
                  <a:gd name="connsiteY52" fmla="*/ 104775 h 4333875"/>
                  <a:gd name="connsiteX53" fmla="*/ 2990850 w 8601075"/>
                  <a:gd name="connsiteY53" fmla="*/ 0 h 4333875"/>
                  <a:gd name="connsiteX54" fmla="*/ 2933700 w 8601075"/>
                  <a:gd name="connsiteY54" fmla="*/ 114300 h 4333875"/>
                  <a:gd name="connsiteX55" fmla="*/ 2867025 w 8601075"/>
                  <a:gd name="connsiteY55" fmla="*/ 171450 h 4333875"/>
                  <a:gd name="connsiteX56" fmla="*/ 2867025 w 8601075"/>
                  <a:gd name="connsiteY56" fmla="*/ 171450 h 4333875"/>
                  <a:gd name="connsiteX57" fmla="*/ 2800350 w 8601075"/>
                  <a:gd name="connsiteY57" fmla="*/ 257175 h 4333875"/>
                  <a:gd name="connsiteX58" fmla="*/ 2724150 w 8601075"/>
                  <a:gd name="connsiteY58" fmla="*/ 304800 h 4333875"/>
                  <a:gd name="connsiteX59" fmla="*/ 2705100 w 8601075"/>
                  <a:gd name="connsiteY59" fmla="*/ 466725 h 4333875"/>
                  <a:gd name="connsiteX60" fmla="*/ 2762250 w 8601075"/>
                  <a:gd name="connsiteY60" fmla="*/ 571500 h 4333875"/>
                  <a:gd name="connsiteX61" fmla="*/ 2800350 w 8601075"/>
                  <a:gd name="connsiteY61" fmla="*/ 628650 h 4333875"/>
                  <a:gd name="connsiteX62" fmla="*/ 2752725 w 8601075"/>
                  <a:gd name="connsiteY62" fmla="*/ 781050 h 4333875"/>
                  <a:gd name="connsiteX63" fmla="*/ 2686050 w 8601075"/>
                  <a:gd name="connsiteY63" fmla="*/ 857250 h 4333875"/>
                  <a:gd name="connsiteX64" fmla="*/ 2609850 w 8601075"/>
                  <a:gd name="connsiteY64" fmla="*/ 857250 h 4333875"/>
                  <a:gd name="connsiteX65" fmla="*/ 2514600 w 8601075"/>
                  <a:gd name="connsiteY65" fmla="*/ 914400 h 4333875"/>
                  <a:gd name="connsiteX66" fmla="*/ 2400300 w 8601075"/>
                  <a:gd name="connsiteY66" fmla="*/ 866775 h 4333875"/>
                  <a:gd name="connsiteX67" fmla="*/ 2305050 w 8601075"/>
                  <a:gd name="connsiteY67" fmla="*/ 809625 h 4333875"/>
                  <a:gd name="connsiteX68" fmla="*/ 2200275 w 8601075"/>
                  <a:gd name="connsiteY68" fmla="*/ 752475 h 4333875"/>
                  <a:gd name="connsiteX69" fmla="*/ 2105025 w 8601075"/>
                  <a:gd name="connsiteY69" fmla="*/ 762000 h 4333875"/>
                  <a:gd name="connsiteX70" fmla="*/ 1990725 w 8601075"/>
                  <a:gd name="connsiteY70" fmla="*/ 762000 h 4333875"/>
                  <a:gd name="connsiteX71" fmla="*/ 1885950 w 8601075"/>
                  <a:gd name="connsiteY71" fmla="*/ 742950 h 4333875"/>
                  <a:gd name="connsiteX72" fmla="*/ 1800225 w 8601075"/>
                  <a:gd name="connsiteY72" fmla="*/ 638175 h 4333875"/>
                  <a:gd name="connsiteX73" fmla="*/ 1809750 w 8601075"/>
                  <a:gd name="connsiteY73" fmla="*/ 495300 h 4333875"/>
                  <a:gd name="connsiteX74" fmla="*/ 1733550 w 8601075"/>
                  <a:gd name="connsiteY74" fmla="*/ 466725 h 4333875"/>
                  <a:gd name="connsiteX75" fmla="*/ 1485900 w 8601075"/>
                  <a:gd name="connsiteY75" fmla="*/ 419100 h 4333875"/>
                  <a:gd name="connsiteX76" fmla="*/ 1457325 w 8601075"/>
                  <a:gd name="connsiteY76" fmla="*/ 323850 h 4333875"/>
                  <a:gd name="connsiteX77" fmla="*/ 1457325 w 8601075"/>
                  <a:gd name="connsiteY77" fmla="*/ 323850 h 4333875"/>
                  <a:gd name="connsiteX78" fmla="*/ 1323975 w 8601075"/>
                  <a:gd name="connsiteY78" fmla="*/ 285750 h 4333875"/>
                  <a:gd name="connsiteX79" fmla="*/ 1266825 w 8601075"/>
                  <a:gd name="connsiteY79" fmla="*/ 352425 h 4333875"/>
                  <a:gd name="connsiteX80" fmla="*/ 1009650 w 8601075"/>
                  <a:gd name="connsiteY80" fmla="*/ 390525 h 4333875"/>
                  <a:gd name="connsiteX81" fmla="*/ 828675 w 8601075"/>
                  <a:gd name="connsiteY81" fmla="*/ 447675 h 4333875"/>
                  <a:gd name="connsiteX82" fmla="*/ 619125 w 8601075"/>
                  <a:gd name="connsiteY82" fmla="*/ 533400 h 4333875"/>
                  <a:gd name="connsiteX83" fmla="*/ 619125 w 8601075"/>
                  <a:gd name="connsiteY83" fmla="*/ 533400 h 4333875"/>
                  <a:gd name="connsiteX84" fmla="*/ 561975 w 8601075"/>
                  <a:gd name="connsiteY84" fmla="*/ 619125 h 4333875"/>
                  <a:gd name="connsiteX85" fmla="*/ 447675 w 8601075"/>
                  <a:gd name="connsiteY85" fmla="*/ 638175 h 4333875"/>
                  <a:gd name="connsiteX86" fmla="*/ 447675 w 8601075"/>
                  <a:gd name="connsiteY86" fmla="*/ 638175 h 4333875"/>
                  <a:gd name="connsiteX87" fmla="*/ 447675 w 8601075"/>
                  <a:gd name="connsiteY87" fmla="*/ 638175 h 4333875"/>
                  <a:gd name="connsiteX88" fmla="*/ 295275 w 8601075"/>
                  <a:gd name="connsiteY88" fmla="*/ 657225 h 4333875"/>
                  <a:gd name="connsiteX89" fmla="*/ 180975 w 8601075"/>
                  <a:gd name="connsiteY89" fmla="*/ 638175 h 4333875"/>
                  <a:gd name="connsiteX90" fmla="*/ 180975 w 8601075"/>
                  <a:gd name="connsiteY90" fmla="*/ 638175 h 4333875"/>
                  <a:gd name="connsiteX91" fmla="*/ 57150 w 8601075"/>
                  <a:gd name="connsiteY91" fmla="*/ 733425 h 4333875"/>
                  <a:gd name="connsiteX92" fmla="*/ 19050 w 8601075"/>
                  <a:gd name="connsiteY92" fmla="*/ 790575 h 4333875"/>
                  <a:gd name="connsiteX93" fmla="*/ 0 w 8601075"/>
                  <a:gd name="connsiteY93" fmla="*/ 876300 h 4333875"/>
                  <a:gd name="connsiteX94" fmla="*/ 57150 w 8601075"/>
                  <a:gd name="connsiteY94" fmla="*/ 923925 h 4333875"/>
                  <a:gd name="connsiteX95" fmla="*/ 57150 w 8601075"/>
                  <a:gd name="connsiteY95" fmla="*/ 923925 h 4333875"/>
                  <a:gd name="connsiteX96" fmla="*/ 209550 w 8601075"/>
                  <a:gd name="connsiteY96" fmla="*/ 1114425 h 4333875"/>
                  <a:gd name="connsiteX97" fmla="*/ 209550 w 8601075"/>
                  <a:gd name="connsiteY97" fmla="*/ 1114425 h 4333875"/>
                  <a:gd name="connsiteX98" fmla="*/ 266700 w 8601075"/>
                  <a:gd name="connsiteY98" fmla="*/ 1295400 h 4333875"/>
                  <a:gd name="connsiteX99" fmla="*/ 409575 w 8601075"/>
                  <a:gd name="connsiteY99" fmla="*/ 1276350 h 4333875"/>
                  <a:gd name="connsiteX100" fmla="*/ 466725 w 8601075"/>
                  <a:gd name="connsiteY100" fmla="*/ 1362075 h 4333875"/>
                  <a:gd name="connsiteX101" fmla="*/ 542925 w 8601075"/>
                  <a:gd name="connsiteY101" fmla="*/ 1428750 h 4333875"/>
                  <a:gd name="connsiteX102" fmla="*/ 628650 w 8601075"/>
                  <a:gd name="connsiteY102" fmla="*/ 1571625 h 4333875"/>
                  <a:gd name="connsiteX103" fmla="*/ 628650 w 8601075"/>
                  <a:gd name="connsiteY103" fmla="*/ 1704975 h 4333875"/>
                  <a:gd name="connsiteX104" fmla="*/ 676275 w 8601075"/>
                  <a:gd name="connsiteY104" fmla="*/ 1771650 h 4333875"/>
                  <a:gd name="connsiteX105" fmla="*/ 657225 w 8601075"/>
                  <a:gd name="connsiteY105" fmla="*/ 2000250 h 4333875"/>
                  <a:gd name="connsiteX106" fmla="*/ 619125 w 8601075"/>
                  <a:gd name="connsiteY106" fmla="*/ 2095500 h 4333875"/>
                  <a:gd name="connsiteX107" fmla="*/ 542925 w 8601075"/>
                  <a:gd name="connsiteY107" fmla="*/ 2228850 h 4333875"/>
                  <a:gd name="connsiteX108" fmla="*/ 485775 w 8601075"/>
                  <a:gd name="connsiteY108" fmla="*/ 2362200 h 4333875"/>
                  <a:gd name="connsiteX109" fmla="*/ 552450 w 8601075"/>
                  <a:gd name="connsiteY109" fmla="*/ 2486025 h 4333875"/>
                  <a:gd name="connsiteX110" fmla="*/ 771525 w 8601075"/>
                  <a:gd name="connsiteY110" fmla="*/ 2571750 h 4333875"/>
                  <a:gd name="connsiteX111" fmla="*/ 866775 w 8601075"/>
                  <a:gd name="connsiteY111" fmla="*/ 2571750 h 4333875"/>
                  <a:gd name="connsiteX112" fmla="*/ 914400 w 8601075"/>
                  <a:gd name="connsiteY112" fmla="*/ 2638425 h 4333875"/>
                  <a:gd name="connsiteX113" fmla="*/ 1066800 w 8601075"/>
                  <a:gd name="connsiteY113" fmla="*/ 2638425 h 4333875"/>
                  <a:gd name="connsiteX114" fmla="*/ 1285875 w 8601075"/>
                  <a:gd name="connsiteY114" fmla="*/ 2705100 h 4333875"/>
                  <a:gd name="connsiteX115" fmla="*/ 1438275 w 8601075"/>
                  <a:gd name="connsiteY115" fmla="*/ 2838450 h 4333875"/>
                  <a:gd name="connsiteX116" fmla="*/ 1485900 w 8601075"/>
                  <a:gd name="connsiteY116" fmla="*/ 2914650 h 4333875"/>
                  <a:gd name="connsiteX117" fmla="*/ 1657350 w 8601075"/>
                  <a:gd name="connsiteY117" fmla="*/ 3038475 h 4333875"/>
                  <a:gd name="connsiteX118" fmla="*/ 1752600 w 8601075"/>
                  <a:gd name="connsiteY118" fmla="*/ 3057525 h 4333875"/>
                  <a:gd name="connsiteX119" fmla="*/ 1724025 w 8601075"/>
                  <a:gd name="connsiteY119" fmla="*/ 3143250 h 4333875"/>
                  <a:gd name="connsiteX120" fmla="*/ 1724025 w 8601075"/>
                  <a:gd name="connsiteY120" fmla="*/ 3143250 h 4333875"/>
                  <a:gd name="connsiteX121" fmla="*/ 1781175 w 8601075"/>
                  <a:gd name="connsiteY121" fmla="*/ 3181350 h 4333875"/>
                  <a:gd name="connsiteX122" fmla="*/ 1819275 w 8601075"/>
                  <a:gd name="connsiteY122" fmla="*/ 3362325 h 4333875"/>
                  <a:gd name="connsiteX123" fmla="*/ 1828800 w 8601075"/>
                  <a:gd name="connsiteY123" fmla="*/ 3457575 h 4333875"/>
                  <a:gd name="connsiteX124" fmla="*/ 1971675 w 8601075"/>
                  <a:gd name="connsiteY124" fmla="*/ 3590925 h 4333875"/>
                  <a:gd name="connsiteX125" fmla="*/ 1990725 w 8601075"/>
                  <a:gd name="connsiteY125" fmla="*/ 3714750 h 4333875"/>
                  <a:gd name="connsiteX126" fmla="*/ 2200275 w 8601075"/>
                  <a:gd name="connsiteY126" fmla="*/ 3695700 h 4333875"/>
                  <a:gd name="connsiteX127" fmla="*/ 2886075 w 8601075"/>
                  <a:gd name="connsiteY127" fmla="*/ 3886200 h 4333875"/>
                  <a:gd name="connsiteX128" fmla="*/ 3038475 w 8601075"/>
                  <a:gd name="connsiteY128" fmla="*/ 3819525 h 4333875"/>
                  <a:gd name="connsiteX129" fmla="*/ 3105150 w 8601075"/>
                  <a:gd name="connsiteY129" fmla="*/ 3867150 h 4333875"/>
                  <a:gd name="connsiteX130" fmla="*/ 3181350 w 8601075"/>
                  <a:gd name="connsiteY130" fmla="*/ 3800475 h 4333875"/>
                  <a:gd name="connsiteX131" fmla="*/ 3590925 w 8601075"/>
                  <a:gd name="connsiteY131" fmla="*/ 3943350 h 4333875"/>
                  <a:gd name="connsiteX132" fmla="*/ 3686175 w 8601075"/>
                  <a:gd name="connsiteY132" fmla="*/ 4057650 h 4333875"/>
                  <a:gd name="connsiteX133" fmla="*/ 3838575 w 8601075"/>
                  <a:gd name="connsiteY133" fmla="*/ 4057650 h 4333875"/>
                  <a:gd name="connsiteX134" fmla="*/ 4162425 w 8601075"/>
                  <a:gd name="connsiteY134" fmla="*/ 4248150 h 4333875"/>
                  <a:gd name="connsiteX135" fmla="*/ 4391025 w 8601075"/>
                  <a:gd name="connsiteY135" fmla="*/ 4200525 h 4333875"/>
                  <a:gd name="connsiteX136" fmla="*/ 4410075 w 8601075"/>
                  <a:gd name="connsiteY136" fmla="*/ 4305300 h 4333875"/>
                  <a:gd name="connsiteX137" fmla="*/ 4505325 w 8601075"/>
                  <a:gd name="connsiteY137" fmla="*/ 4276725 h 4333875"/>
                  <a:gd name="connsiteX138" fmla="*/ 4572000 w 8601075"/>
                  <a:gd name="connsiteY138" fmla="*/ 4333875 h 4333875"/>
                  <a:gd name="connsiteX139" fmla="*/ 4591050 w 8601075"/>
                  <a:gd name="connsiteY139" fmla="*/ 4248150 h 4333875"/>
                  <a:gd name="connsiteX140" fmla="*/ 5295900 w 8601075"/>
                  <a:gd name="connsiteY140" fmla="*/ 3924300 h 4333875"/>
                  <a:gd name="connsiteX141" fmla="*/ 5353050 w 8601075"/>
                  <a:gd name="connsiteY141" fmla="*/ 3990975 h 4333875"/>
                  <a:gd name="connsiteX142" fmla="*/ 5524500 w 8601075"/>
                  <a:gd name="connsiteY142" fmla="*/ 3914775 h 4333875"/>
                  <a:gd name="connsiteX143" fmla="*/ 5667375 w 8601075"/>
                  <a:gd name="connsiteY143" fmla="*/ 3962400 h 4333875"/>
                  <a:gd name="connsiteX144" fmla="*/ 5753100 w 8601075"/>
                  <a:gd name="connsiteY144" fmla="*/ 3924300 h 4333875"/>
                  <a:gd name="connsiteX145" fmla="*/ 5905500 w 8601075"/>
                  <a:gd name="connsiteY145" fmla="*/ 3943350 h 4333875"/>
                  <a:gd name="connsiteX146" fmla="*/ 6000750 w 8601075"/>
                  <a:gd name="connsiteY146" fmla="*/ 3800475 h 4333875"/>
                  <a:gd name="connsiteX147" fmla="*/ 6153150 w 8601075"/>
                  <a:gd name="connsiteY147" fmla="*/ 3781425 h 4333875"/>
                  <a:gd name="connsiteX148" fmla="*/ 6257925 w 8601075"/>
                  <a:gd name="connsiteY148" fmla="*/ 3581400 h 4333875"/>
                  <a:gd name="connsiteX149" fmla="*/ 6448425 w 8601075"/>
                  <a:gd name="connsiteY149" fmla="*/ 3448050 h 4333875"/>
                  <a:gd name="connsiteX150" fmla="*/ 6581775 w 8601075"/>
                  <a:gd name="connsiteY150" fmla="*/ 3276600 h 4333875"/>
                  <a:gd name="connsiteX151" fmla="*/ 6496050 w 8601075"/>
                  <a:gd name="connsiteY151" fmla="*/ 3228975 h 4333875"/>
                  <a:gd name="connsiteX152" fmla="*/ 6438900 w 8601075"/>
                  <a:gd name="connsiteY152" fmla="*/ 3162300 h 4333875"/>
                  <a:gd name="connsiteX153" fmla="*/ 6419850 w 8601075"/>
                  <a:gd name="connsiteY153" fmla="*/ 3105150 h 4333875"/>
                  <a:gd name="connsiteX154" fmla="*/ 6362700 w 8601075"/>
                  <a:gd name="connsiteY154" fmla="*/ 3076575 h 4333875"/>
                  <a:gd name="connsiteX155" fmla="*/ 6410325 w 8601075"/>
                  <a:gd name="connsiteY155" fmla="*/ 3019425 h 4333875"/>
                  <a:gd name="connsiteX156" fmla="*/ 6438900 w 8601075"/>
                  <a:gd name="connsiteY156" fmla="*/ 2819400 h 4333875"/>
                  <a:gd name="connsiteX157" fmla="*/ 6496050 w 8601075"/>
                  <a:gd name="connsiteY157" fmla="*/ 2762250 h 4333875"/>
                  <a:gd name="connsiteX158" fmla="*/ 6657975 w 8601075"/>
                  <a:gd name="connsiteY158" fmla="*/ 2752725 h 4333875"/>
                  <a:gd name="connsiteX159" fmla="*/ 6781800 w 8601075"/>
                  <a:gd name="connsiteY159" fmla="*/ 2838450 h 4333875"/>
                  <a:gd name="connsiteX160" fmla="*/ 7010400 w 8601075"/>
                  <a:gd name="connsiteY160" fmla="*/ 2838450 h 4333875"/>
                  <a:gd name="connsiteX161" fmla="*/ 7162800 w 8601075"/>
                  <a:gd name="connsiteY161" fmla="*/ 2705100 h 4333875"/>
                  <a:gd name="connsiteX162" fmla="*/ 7229475 w 8601075"/>
                  <a:gd name="connsiteY162" fmla="*/ 2590800 h 4333875"/>
                  <a:gd name="connsiteX163" fmla="*/ 7248525 w 8601075"/>
                  <a:gd name="connsiteY163" fmla="*/ 2524125 h 4333875"/>
                  <a:gd name="connsiteX164" fmla="*/ 7372350 w 8601075"/>
                  <a:gd name="connsiteY164" fmla="*/ 2543175 h 4333875"/>
                  <a:gd name="connsiteX165" fmla="*/ 7553325 w 8601075"/>
                  <a:gd name="connsiteY165" fmla="*/ 2447925 h 4333875"/>
                  <a:gd name="connsiteX166" fmla="*/ 7620000 w 8601075"/>
                  <a:gd name="connsiteY166" fmla="*/ 2324100 h 4333875"/>
                  <a:gd name="connsiteX167" fmla="*/ 7696200 w 8601075"/>
                  <a:gd name="connsiteY167" fmla="*/ 2314575 h 4333875"/>
                  <a:gd name="connsiteX168" fmla="*/ 7658100 w 8601075"/>
                  <a:gd name="connsiteY168" fmla="*/ 2257425 h 4333875"/>
                  <a:gd name="connsiteX169" fmla="*/ 7753350 w 8601075"/>
                  <a:gd name="connsiteY169" fmla="*/ 2057400 h 4333875"/>
                  <a:gd name="connsiteX170" fmla="*/ 7934325 w 8601075"/>
                  <a:gd name="connsiteY170" fmla="*/ 2028825 h 4333875"/>
                  <a:gd name="connsiteX171" fmla="*/ 7953375 w 8601075"/>
                  <a:gd name="connsiteY171" fmla="*/ 1952625 h 4333875"/>
                  <a:gd name="connsiteX172" fmla="*/ 7953375 w 8601075"/>
                  <a:gd name="connsiteY172" fmla="*/ 1952625 h 4333875"/>
                  <a:gd name="connsiteX173" fmla="*/ 8010525 w 8601075"/>
                  <a:gd name="connsiteY173" fmla="*/ 1895475 h 4333875"/>
                  <a:gd name="connsiteX174" fmla="*/ 8048625 w 8601075"/>
                  <a:gd name="connsiteY174" fmla="*/ 1971675 h 4333875"/>
                  <a:gd name="connsiteX175" fmla="*/ 8077200 w 8601075"/>
                  <a:gd name="connsiteY175" fmla="*/ 1885950 h 4333875"/>
                  <a:gd name="connsiteX176" fmla="*/ 8220075 w 8601075"/>
                  <a:gd name="connsiteY176" fmla="*/ 1847850 h 4333875"/>
                  <a:gd name="connsiteX177" fmla="*/ 8296275 w 8601075"/>
                  <a:gd name="connsiteY177" fmla="*/ 1809750 h 4333875"/>
                  <a:gd name="connsiteX178" fmla="*/ 8324850 w 8601075"/>
                  <a:gd name="connsiteY178" fmla="*/ 1790700 h 4333875"/>
                  <a:gd name="connsiteX179" fmla="*/ 8410575 w 8601075"/>
                  <a:gd name="connsiteY179" fmla="*/ 1847850 h 4333875"/>
                  <a:gd name="connsiteX180" fmla="*/ 8505825 w 8601075"/>
                  <a:gd name="connsiteY180" fmla="*/ 1781175 h 4333875"/>
                  <a:gd name="connsiteX181" fmla="*/ 8572500 w 8601075"/>
                  <a:gd name="connsiteY181" fmla="*/ 1809750 h 4333875"/>
                  <a:gd name="connsiteX182" fmla="*/ 8601075 w 8601075"/>
                  <a:gd name="connsiteY182" fmla="*/ 1704975 h 4333875"/>
                  <a:gd name="connsiteX183" fmla="*/ 8553450 w 8601075"/>
                  <a:gd name="connsiteY183" fmla="*/ 1676400 h 4333875"/>
                  <a:gd name="connsiteX184" fmla="*/ 8534400 w 8601075"/>
                  <a:gd name="connsiteY184" fmla="*/ 1609725 h 4333875"/>
                  <a:gd name="connsiteX185" fmla="*/ 8277225 w 8601075"/>
                  <a:gd name="connsiteY185" fmla="*/ 1409700 h 4333875"/>
                  <a:gd name="connsiteX186" fmla="*/ 8277225 w 8601075"/>
                  <a:gd name="connsiteY186" fmla="*/ 1409700 h 4333875"/>
                  <a:gd name="connsiteX187" fmla="*/ 8277225 w 8601075"/>
                  <a:gd name="connsiteY187" fmla="*/ 1409700 h 4333875"/>
                  <a:gd name="connsiteX188" fmla="*/ 8124825 w 8601075"/>
                  <a:gd name="connsiteY188" fmla="*/ 1352550 h 4333875"/>
                  <a:gd name="connsiteX189" fmla="*/ 7924800 w 8601075"/>
                  <a:gd name="connsiteY189" fmla="*/ 1362075 h 4333875"/>
                  <a:gd name="connsiteX190" fmla="*/ 7867650 w 8601075"/>
                  <a:gd name="connsiteY190" fmla="*/ 1457325 h 4333875"/>
                  <a:gd name="connsiteX191" fmla="*/ 7896225 w 8601075"/>
                  <a:gd name="connsiteY191" fmla="*/ 1476375 h 4333875"/>
                  <a:gd name="connsiteX192" fmla="*/ 7858125 w 8601075"/>
                  <a:gd name="connsiteY192" fmla="*/ 1533525 h 4333875"/>
                  <a:gd name="connsiteX193" fmla="*/ 7658100 w 8601075"/>
                  <a:gd name="connsiteY193" fmla="*/ 1447800 h 4333875"/>
                  <a:gd name="connsiteX194" fmla="*/ 7515225 w 8601075"/>
                  <a:gd name="connsiteY194" fmla="*/ 1495425 h 4333875"/>
                  <a:gd name="connsiteX195" fmla="*/ 7467600 w 8601075"/>
                  <a:gd name="connsiteY195" fmla="*/ 1581150 h 4333875"/>
                  <a:gd name="connsiteX196" fmla="*/ 7296150 w 8601075"/>
                  <a:gd name="connsiteY19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95725 w 8601075"/>
                  <a:gd name="connsiteY43" fmla="*/ 695325 h 4333875"/>
                  <a:gd name="connsiteX44" fmla="*/ 3781425 w 8601075"/>
                  <a:gd name="connsiteY44" fmla="*/ 590550 h 4333875"/>
                  <a:gd name="connsiteX45" fmla="*/ 3810000 w 8601075"/>
                  <a:gd name="connsiteY45" fmla="*/ 514350 h 4333875"/>
                  <a:gd name="connsiteX46" fmla="*/ 3781425 w 8601075"/>
                  <a:gd name="connsiteY46" fmla="*/ 390525 h 4333875"/>
                  <a:gd name="connsiteX47" fmla="*/ 3771900 w 8601075"/>
                  <a:gd name="connsiteY47" fmla="*/ 352425 h 4333875"/>
                  <a:gd name="connsiteX48" fmla="*/ 3600450 w 8601075"/>
                  <a:gd name="connsiteY48" fmla="*/ 285750 h 4333875"/>
                  <a:gd name="connsiteX49" fmla="*/ 3533775 w 8601075"/>
                  <a:gd name="connsiteY49" fmla="*/ 314325 h 4333875"/>
                  <a:gd name="connsiteX50" fmla="*/ 3409950 w 8601075"/>
                  <a:gd name="connsiteY50" fmla="*/ 190500 h 4333875"/>
                  <a:gd name="connsiteX51" fmla="*/ 3257550 w 8601075"/>
                  <a:gd name="connsiteY51" fmla="*/ 180975 h 4333875"/>
                  <a:gd name="connsiteX52" fmla="*/ 3209925 w 8601075"/>
                  <a:gd name="connsiteY52" fmla="*/ 104775 h 4333875"/>
                  <a:gd name="connsiteX53" fmla="*/ 3152775 w 8601075"/>
                  <a:gd name="connsiteY53" fmla="*/ 104775 h 4333875"/>
                  <a:gd name="connsiteX54" fmla="*/ 2990850 w 8601075"/>
                  <a:gd name="connsiteY54" fmla="*/ 0 h 4333875"/>
                  <a:gd name="connsiteX55" fmla="*/ 2933700 w 8601075"/>
                  <a:gd name="connsiteY55" fmla="*/ 114300 h 4333875"/>
                  <a:gd name="connsiteX56" fmla="*/ 2867025 w 8601075"/>
                  <a:gd name="connsiteY56" fmla="*/ 171450 h 4333875"/>
                  <a:gd name="connsiteX57" fmla="*/ 2867025 w 8601075"/>
                  <a:gd name="connsiteY57" fmla="*/ 171450 h 4333875"/>
                  <a:gd name="connsiteX58" fmla="*/ 2800350 w 8601075"/>
                  <a:gd name="connsiteY58" fmla="*/ 257175 h 4333875"/>
                  <a:gd name="connsiteX59" fmla="*/ 2724150 w 8601075"/>
                  <a:gd name="connsiteY59" fmla="*/ 304800 h 4333875"/>
                  <a:gd name="connsiteX60" fmla="*/ 2705100 w 8601075"/>
                  <a:gd name="connsiteY60" fmla="*/ 466725 h 4333875"/>
                  <a:gd name="connsiteX61" fmla="*/ 2762250 w 8601075"/>
                  <a:gd name="connsiteY61" fmla="*/ 571500 h 4333875"/>
                  <a:gd name="connsiteX62" fmla="*/ 2800350 w 8601075"/>
                  <a:gd name="connsiteY62" fmla="*/ 628650 h 4333875"/>
                  <a:gd name="connsiteX63" fmla="*/ 2752725 w 8601075"/>
                  <a:gd name="connsiteY63" fmla="*/ 781050 h 4333875"/>
                  <a:gd name="connsiteX64" fmla="*/ 2686050 w 8601075"/>
                  <a:gd name="connsiteY64" fmla="*/ 857250 h 4333875"/>
                  <a:gd name="connsiteX65" fmla="*/ 2609850 w 8601075"/>
                  <a:gd name="connsiteY65" fmla="*/ 857250 h 4333875"/>
                  <a:gd name="connsiteX66" fmla="*/ 2514600 w 8601075"/>
                  <a:gd name="connsiteY66" fmla="*/ 914400 h 4333875"/>
                  <a:gd name="connsiteX67" fmla="*/ 2400300 w 8601075"/>
                  <a:gd name="connsiteY67" fmla="*/ 866775 h 4333875"/>
                  <a:gd name="connsiteX68" fmla="*/ 2305050 w 8601075"/>
                  <a:gd name="connsiteY68" fmla="*/ 809625 h 4333875"/>
                  <a:gd name="connsiteX69" fmla="*/ 2200275 w 8601075"/>
                  <a:gd name="connsiteY69" fmla="*/ 752475 h 4333875"/>
                  <a:gd name="connsiteX70" fmla="*/ 2105025 w 8601075"/>
                  <a:gd name="connsiteY70" fmla="*/ 762000 h 4333875"/>
                  <a:gd name="connsiteX71" fmla="*/ 1990725 w 8601075"/>
                  <a:gd name="connsiteY71" fmla="*/ 762000 h 4333875"/>
                  <a:gd name="connsiteX72" fmla="*/ 1885950 w 8601075"/>
                  <a:gd name="connsiteY72" fmla="*/ 742950 h 4333875"/>
                  <a:gd name="connsiteX73" fmla="*/ 1800225 w 8601075"/>
                  <a:gd name="connsiteY73" fmla="*/ 638175 h 4333875"/>
                  <a:gd name="connsiteX74" fmla="*/ 1809750 w 8601075"/>
                  <a:gd name="connsiteY74" fmla="*/ 495300 h 4333875"/>
                  <a:gd name="connsiteX75" fmla="*/ 1733550 w 8601075"/>
                  <a:gd name="connsiteY75" fmla="*/ 466725 h 4333875"/>
                  <a:gd name="connsiteX76" fmla="*/ 1485900 w 8601075"/>
                  <a:gd name="connsiteY76" fmla="*/ 419100 h 4333875"/>
                  <a:gd name="connsiteX77" fmla="*/ 1457325 w 8601075"/>
                  <a:gd name="connsiteY77" fmla="*/ 323850 h 4333875"/>
                  <a:gd name="connsiteX78" fmla="*/ 1457325 w 8601075"/>
                  <a:gd name="connsiteY78" fmla="*/ 323850 h 4333875"/>
                  <a:gd name="connsiteX79" fmla="*/ 1323975 w 8601075"/>
                  <a:gd name="connsiteY79" fmla="*/ 285750 h 4333875"/>
                  <a:gd name="connsiteX80" fmla="*/ 1266825 w 8601075"/>
                  <a:gd name="connsiteY80" fmla="*/ 352425 h 4333875"/>
                  <a:gd name="connsiteX81" fmla="*/ 1009650 w 8601075"/>
                  <a:gd name="connsiteY81" fmla="*/ 390525 h 4333875"/>
                  <a:gd name="connsiteX82" fmla="*/ 828675 w 8601075"/>
                  <a:gd name="connsiteY82" fmla="*/ 447675 h 4333875"/>
                  <a:gd name="connsiteX83" fmla="*/ 619125 w 8601075"/>
                  <a:gd name="connsiteY83" fmla="*/ 533400 h 4333875"/>
                  <a:gd name="connsiteX84" fmla="*/ 619125 w 8601075"/>
                  <a:gd name="connsiteY84" fmla="*/ 533400 h 4333875"/>
                  <a:gd name="connsiteX85" fmla="*/ 561975 w 8601075"/>
                  <a:gd name="connsiteY85" fmla="*/ 619125 h 4333875"/>
                  <a:gd name="connsiteX86" fmla="*/ 447675 w 8601075"/>
                  <a:gd name="connsiteY86" fmla="*/ 63817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295275 w 8601075"/>
                  <a:gd name="connsiteY89" fmla="*/ 657225 h 4333875"/>
                  <a:gd name="connsiteX90" fmla="*/ 180975 w 8601075"/>
                  <a:gd name="connsiteY90" fmla="*/ 638175 h 4333875"/>
                  <a:gd name="connsiteX91" fmla="*/ 180975 w 8601075"/>
                  <a:gd name="connsiteY91" fmla="*/ 638175 h 4333875"/>
                  <a:gd name="connsiteX92" fmla="*/ 57150 w 8601075"/>
                  <a:gd name="connsiteY92" fmla="*/ 733425 h 4333875"/>
                  <a:gd name="connsiteX93" fmla="*/ 19050 w 8601075"/>
                  <a:gd name="connsiteY93" fmla="*/ 790575 h 4333875"/>
                  <a:gd name="connsiteX94" fmla="*/ 0 w 8601075"/>
                  <a:gd name="connsiteY94" fmla="*/ 876300 h 4333875"/>
                  <a:gd name="connsiteX95" fmla="*/ 57150 w 8601075"/>
                  <a:gd name="connsiteY95" fmla="*/ 923925 h 4333875"/>
                  <a:gd name="connsiteX96" fmla="*/ 57150 w 8601075"/>
                  <a:gd name="connsiteY96" fmla="*/ 923925 h 4333875"/>
                  <a:gd name="connsiteX97" fmla="*/ 209550 w 8601075"/>
                  <a:gd name="connsiteY97" fmla="*/ 1114425 h 4333875"/>
                  <a:gd name="connsiteX98" fmla="*/ 209550 w 8601075"/>
                  <a:gd name="connsiteY98" fmla="*/ 1114425 h 4333875"/>
                  <a:gd name="connsiteX99" fmla="*/ 266700 w 8601075"/>
                  <a:gd name="connsiteY99" fmla="*/ 1295400 h 4333875"/>
                  <a:gd name="connsiteX100" fmla="*/ 409575 w 8601075"/>
                  <a:gd name="connsiteY100" fmla="*/ 1276350 h 4333875"/>
                  <a:gd name="connsiteX101" fmla="*/ 466725 w 8601075"/>
                  <a:gd name="connsiteY101" fmla="*/ 1362075 h 4333875"/>
                  <a:gd name="connsiteX102" fmla="*/ 542925 w 8601075"/>
                  <a:gd name="connsiteY102" fmla="*/ 1428750 h 4333875"/>
                  <a:gd name="connsiteX103" fmla="*/ 628650 w 8601075"/>
                  <a:gd name="connsiteY103" fmla="*/ 1571625 h 4333875"/>
                  <a:gd name="connsiteX104" fmla="*/ 628650 w 8601075"/>
                  <a:gd name="connsiteY104" fmla="*/ 1704975 h 4333875"/>
                  <a:gd name="connsiteX105" fmla="*/ 676275 w 8601075"/>
                  <a:gd name="connsiteY105" fmla="*/ 1771650 h 4333875"/>
                  <a:gd name="connsiteX106" fmla="*/ 657225 w 8601075"/>
                  <a:gd name="connsiteY106" fmla="*/ 2000250 h 4333875"/>
                  <a:gd name="connsiteX107" fmla="*/ 619125 w 8601075"/>
                  <a:gd name="connsiteY107" fmla="*/ 2095500 h 4333875"/>
                  <a:gd name="connsiteX108" fmla="*/ 542925 w 8601075"/>
                  <a:gd name="connsiteY108" fmla="*/ 2228850 h 4333875"/>
                  <a:gd name="connsiteX109" fmla="*/ 485775 w 8601075"/>
                  <a:gd name="connsiteY109" fmla="*/ 2362200 h 4333875"/>
                  <a:gd name="connsiteX110" fmla="*/ 552450 w 8601075"/>
                  <a:gd name="connsiteY110" fmla="*/ 2486025 h 4333875"/>
                  <a:gd name="connsiteX111" fmla="*/ 771525 w 8601075"/>
                  <a:gd name="connsiteY111" fmla="*/ 2571750 h 4333875"/>
                  <a:gd name="connsiteX112" fmla="*/ 866775 w 8601075"/>
                  <a:gd name="connsiteY112" fmla="*/ 2571750 h 4333875"/>
                  <a:gd name="connsiteX113" fmla="*/ 914400 w 8601075"/>
                  <a:gd name="connsiteY113" fmla="*/ 2638425 h 4333875"/>
                  <a:gd name="connsiteX114" fmla="*/ 1066800 w 8601075"/>
                  <a:gd name="connsiteY114" fmla="*/ 2638425 h 4333875"/>
                  <a:gd name="connsiteX115" fmla="*/ 1285875 w 8601075"/>
                  <a:gd name="connsiteY115" fmla="*/ 2705100 h 4333875"/>
                  <a:gd name="connsiteX116" fmla="*/ 1438275 w 8601075"/>
                  <a:gd name="connsiteY116" fmla="*/ 2838450 h 4333875"/>
                  <a:gd name="connsiteX117" fmla="*/ 1485900 w 8601075"/>
                  <a:gd name="connsiteY117" fmla="*/ 2914650 h 4333875"/>
                  <a:gd name="connsiteX118" fmla="*/ 1657350 w 8601075"/>
                  <a:gd name="connsiteY118" fmla="*/ 3038475 h 4333875"/>
                  <a:gd name="connsiteX119" fmla="*/ 1752600 w 8601075"/>
                  <a:gd name="connsiteY119" fmla="*/ 3057525 h 4333875"/>
                  <a:gd name="connsiteX120" fmla="*/ 1724025 w 8601075"/>
                  <a:gd name="connsiteY120" fmla="*/ 3143250 h 4333875"/>
                  <a:gd name="connsiteX121" fmla="*/ 1724025 w 8601075"/>
                  <a:gd name="connsiteY121" fmla="*/ 3143250 h 4333875"/>
                  <a:gd name="connsiteX122" fmla="*/ 1781175 w 8601075"/>
                  <a:gd name="connsiteY122" fmla="*/ 3181350 h 4333875"/>
                  <a:gd name="connsiteX123" fmla="*/ 1819275 w 8601075"/>
                  <a:gd name="connsiteY123" fmla="*/ 3362325 h 4333875"/>
                  <a:gd name="connsiteX124" fmla="*/ 1828800 w 8601075"/>
                  <a:gd name="connsiteY124" fmla="*/ 3457575 h 4333875"/>
                  <a:gd name="connsiteX125" fmla="*/ 1971675 w 8601075"/>
                  <a:gd name="connsiteY125" fmla="*/ 3590925 h 4333875"/>
                  <a:gd name="connsiteX126" fmla="*/ 1990725 w 8601075"/>
                  <a:gd name="connsiteY126" fmla="*/ 3714750 h 4333875"/>
                  <a:gd name="connsiteX127" fmla="*/ 2200275 w 8601075"/>
                  <a:gd name="connsiteY127" fmla="*/ 3695700 h 4333875"/>
                  <a:gd name="connsiteX128" fmla="*/ 2886075 w 8601075"/>
                  <a:gd name="connsiteY128" fmla="*/ 3886200 h 4333875"/>
                  <a:gd name="connsiteX129" fmla="*/ 3038475 w 8601075"/>
                  <a:gd name="connsiteY129" fmla="*/ 3819525 h 4333875"/>
                  <a:gd name="connsiteX130" fmla="*/ 3105150 w 8601075"/>
                  <a:gd name="connsiteY130" fmla="*/ 3867150 h 4333875"/>
                  <a:gd name="connsiteX131" fmla="*/ 3181350 w 8601075"/>
                  <a:gd name="connsiteY131" fmla="*/ 3800475 h 4333875"/>
                  <a:gd name="connsiteX132" fmla="*/ 3590925 w 8601075"/>
                  <a:gd name="connsiteY132" fmla="*/ 3943350 h 4333875"/>
                  <a:gd name="connsiteX133" fmla="*/ 3686175 w 8601075"/>
                  <a:gd name="connsiteY133" fmla="*/ 4057650 h 4333875"/>
                  <a:gd name="connsiteX134" fmla="*/ 3838575 w 8601075"/>
                  <a:gd name="connsiteY134" fmla="*/ 4057650 h 4333875"/>
                  <a:gd name="connsiteX135" fmla="*/ 4162425 w 8601075"/>
                  <a:gd name="connsiteY135" fmla="*/ 4248150 h 4333875"/>
                  <a:gd name="connsiteX136" fmla="*/ 4391025 w 8601075"/>
                  <a:gd name="connsiteY136" fmla="*/ 4200525 h 4333875"/>
                  <a:gd name="connsiteX137" fmla="*/ 4410075 w 8601075"/>
                  <a:gd name="connsiteY137" fmla="*/ 4305300 h 4333875"/>
                  <a:gd name="connsiteX138" fmla="*/ 4505325 w 8601075"/>
                  <a:gd name="connsiteY138" fmla="*/ 4276725 h 4333875"/>
                  <a:gd name="connsiteX139" fmla="*/ 4572000 w 8601075"/>
                  <a:gd name="connsiteY139" fmla="*/ 4333875 h 4333875"/>
                  <a:gd name="connsiteX140" fmla="*/ 4591050 w 8601075"/>
                  <a:gd name="connsiteY140" fmla="*/ 4248150 h 4333875"/>
                  <a:gd name="connsiteX141" fmla="*/ 5295900 w 8601075"/>
                  <a:gd name="connsiteY141" fmla="*/ 3924300 h 4333875"/>
                  <a:gd name="connsiteX142" fmla="*/ 5353050 w 8601075"/>
                  <a:gd name="connsiteY142" fmla="*/ 3990975 h 4333875"/>
                  <a:gd name="connsiteX143" fmla="*/ 5524500 w 8601075"/>
                  <a:gd name="connsiteY143" fmla="*/ 3914775 h 4333875"/>
                  <a:gd name="connsiteX144" fmla="*/ 5667375 w 8601075"/>
                  <a:gd name="connsiteY144" fmla="*/ 3962400 h 4333875"/>
                  <a:gd name="connsiteX145" fmla="*/ 5753100 w 8601075"/>
                  <a:gd name="connsiteY145" fmla="*/ 3924300 h 4333875"/>
                  <a:gd name="connsiteX146" fmla="*/ 5905500 w 8601075"/>
                  <a:gd name="connsiteY146" fmla="*/ 3943350 h 4333875"/>
                  <a:gd name="connsiteX147" fmla="*/ 6000750 w 8601075"/>
                  <a:gd name="connsiteY147" fmla="*/ 3800475 h 4333875"/>
                  <a:gd name="connsiteX148" fmla="*/ 6153150 w 8601075"/>
                  <a:gd name="connsiteY148" fmla="*/ 3781425 h 4333875"/>
                  <a:gd name="connsiteX149" fmla="*/ 6257925 w 8601075"/>
                  <a:gd name="connsiteY149" fmla="*/ 3581400 h 4333875"/>
                  <a:gd name="connsiteX150" fmla="*/ 6448425 w 8601075"/>
                  <a:gd name="connsiteY150" fmla="*/ 3448050 h 4333875"/>
                  <a:gd name="connsiteX151" fmla="*/ 6581775 w 8601075"/>
                  <a:gd name="connsiteY151" fmla="*/ 3276600 h 4333875"/>
                  <a:gd name="connsiteX152" fmla="*/ 6496050 w 8601075"/>
                  <a:gd name="connsiteY152" fmla="*/ 3228975 h 4333875"/>
                  <a:gd name="connsiteX153" fmla="*/ 6438900 w 8601075"/>
                  <a:gd name="connsiteY153" fmla="*/ 3162300 h 4333875"/>
                  <a:gd name="connsiteX154" fmla="*/ 6419850 w 8601075"/>
                  <a:gd name="connsiteY154" fmla="*/ 3105150 h 4333875"/>
                  <a:gd name="connsiteX155" fmla="*/ 6362700 w 8601075"/>
                  <a:gd name="connsiteY155" fmla="*/ 3076575 h 4333875"/>
                  <a:gd name="connsiteX156" fmla="*/ 6410325 w 8601075"/>
                  <a:gd name="connsiteY156" fmla="*/ 3019425 h 4333875"/>
                  <a:gd name="connsiteX157" fmla="*/ 6438900 w 8601075"/>
                  <a:gd name="connsiteY157" fmla="*/ 2819400 h 4333875"/>
                  <a:gd name="connsiteX158" fmla="*/ 6496050 w 8601075"/>
                  <a:gd name="connsiteY158" fmla="*/ 2762250 h 4333875"/>
                  <a:gd name="connsiteX159" fmla="*/ 6657975 w 8601075"/>
                  <a:gd name="connsiteY159" fmla="*/ 2752725 h 4333875"/>
                  <a:gd name="connsiteX160" fmla="*/ 6781800 w 8601075"/>
                  <a:gd name="connsiteY160" fmla="*/ 2838450 h 4333875"/>
                  <a:gd name="connsiteX161" fmla="*/ 7010400 w 8601075"/>
                  <a:gd name="connsiteY161" fmla="*/ 2838450 h 4333875"/>
                  <a:gd name="connsiteX162" fmla="*/ 7162800 w 8601075"/>
                  <a:gd name="connsiteY162" fmla="*/ 2705100 h 4333875"/>
                  <a:gd name="connsiteX163" fmla="*/ 7229475 w 8601075"/>
                  <a:gd name="connsiteY163" fmla="*/ 2590800 h 4333875"/>
                  <a:gd name="connsiteX164" fmla="*/ 7248525 w 8601075"/>
                  <a:gd name="connsiteY164" fmla="*/ 2524125 h 4333875"/>
                  <a:gd name="connsiteX165" fmla="*/ 7372350 w 8601075"/>
                  <a:gd name="connsiteY165" fmla="*/ 2543175 h 4333875"/>
                  <a:gd name="connsiteX166" fmla="*/ 7553325 w 8601075"/>
                  <a:gd name="connsiteY166" fmla="*/ 2447925 h 4333875"/>
                  <a:gd name="connsiteX167" fmla="*/ 7620000 w 8601075"/>
                  <a:gd name="connsiteY167" fmla="*/ 2324100 h 4333875"/>
                  <a:gd name="connsiteX168" fmla="*/ 7696200 w 8601075"/>
                  <a:gd name="connsiteY168" fmla="*/ 2314575 h 4333875"/>
                  <a:gd name="connsiteX169" fmla="*/ 7658100 w 8601075"/>
                  <a:gd name="connsiteY169" fmla="*/ 2257425 h 4333875"/>
                  <a:gd name="connsiteX170" fmla="*/ 7753350 w 8601075"/>
                  <a:gd name="connsiteY170" fmla="*/ 2057400 h 4333875"/>
                  <a:gd name="connsiteX171" fmla="*/ 7934325 w 8601075"/>
                  <a:gd name="connsiteY171" fmla="*/ 2028825 h 4333875"/>
                  <a:gd name="connsiteX172" fmla="*/ 7953375 w 8601075"/>
                  <a:gd name="connsiteY172" fmla="*/ 1952625 h 4333875"/>
                  <a:gd name="connsiteX173" fmla="*/ 7953375 w 8601075"/>
                  <a:gd name="connsiteY173" fmla="*/ 1952625 h 4333875"/>
                  <a:gd name="connsiteX174" fmla="*/ 8010525 w 8601075"/>
                  <a:gd name="connsiteY174" fmla="*/ 1895475 h 4333875"/>
                  <a:gd name="connsiteX175" fmla="*/ 8048625 w 8601075"/>
                  <a:gd name="connsiteY175" fmla="*/ 1971675 h 4333875"/>
                  <a:gd name="connsiteX176" fmla="*/ 8077200 w 8601075"/>
                  <a:gd name="connsiteY176" fmla="*/ 1885950 h 4333875"/>
                  <a:gd name="connsiteX177" fmla="*/ 8220075 w 8601075"/>
                  <a:gd name="connsiteY177" fmla="*/ 1847850 h 4333875"/>
                  <a:gd name="connsiteX178" fmla="*/ 8296275 w 8601075"/>
                  <a:gd name="connsiteY178" fmla="*/ 1809750 h 4333875"/>
                  <a:gd name="connsiteX179" fmla="*/ 8324850 w 8601075"/>
                  <a:gd name="connsiteY179" fmla="*/ 1790700 h 4333875"/>
                  <a:gd name="connsiteX180" fmla="*/ 8410575 w 8601075"/>
                  <a:gd name="connsiteY180" fmla="*/ 1847850 h 4333875"/>
                  <a:gd name="connsiteX181" fmla="*/ 8505825 w 8601075"/>
                  <a:gd name="connsiteY181" fmla="*/ 1781175 h 4333875"/>
                  <a:gd name="connsiteX182" fmla="*/ 8572500 w 8601075"/>
                  <a:gd name="connsiteY182" fmla="*/ 1809750 h 4333875"/>
                  <a:gd name="connsiteX183" fmla="*/ 8601075 w 8601075"/>
                  <a:gd name="connsiteY183" fmla="*/ 1704975 h 4333875"/>
                  <a:gd name="connsiteX184" fmla="*/ 8553450 w 8601075"/>
                  <a:gd name="connsiteY184" fmla="*/ 1676400 h 4333875"/>
                  <a:gd name="connsiteX185" fmla="*/ 8534400 w 8601075"/>
                  <a:gd name="connsiteY185" fmla="*/ 1609725 h 4333875"/>
                  <a:gd name="connsiteX186" fmla="*/ 8277225 w 8601075"/>
                  <a:gd name="connsiteY186" fmla="*/ 1409700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124825 w 8601075"/>
                  <a:gd name="connsiteY189" fmla="*/ 1352550 h 4333875"/>
                  <a:gd name="connsiteX190" fmla="*/ 7924800 w 8601075"/>
                  <a:gd name="connsiteY190" fmla="*/ 1362075 h 4333875"/>
                  <a:gd name="connsiteX191" fmla="*/ 7867650 w 8601075"/>
                  <a:gd name="connsiteY191" fmla="*/ 1457325 h 4333875"/>
                  <a:gd name="connsiteX192" fmla="*/ 7896225 w 8601075"/>
                  <a:gd name="connsiteY192" fmla="*/ 1476375 h 4333875"/>
                  <a:gd name="connsiteX193" fmla="*/ 7858125 w 8601075"/>
                  <a:gd name="connsiteY193" fmla="*/ 1533525 h 4333875"/>
                  <a:gd name="connsiteX194" fmla="*/ 7658100 w 8601075"/>
                  <a:gd name="connsiteY194" fmla="*/ 1447800 h 4333875"/>
                  <a:gd name="connsiteX195" fmla="*/ 7515225 w 8601075"/>
                  <a:gd name="connsiteY195" fmla="*/ 1495425 h 4333875"/>
                  <a:gd name="connsiteX196" fmla="*/ 7467600 w 8601075"/>
                  <a:gd name="connsiteY196" fmla="*/ 1581150 h 4333875"/>
                  <a:gd name="connsiteX197" fmla="*/ 7296150 w 8601075"/>
                  <a:gd name="connsiteY19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95725 w 8601075"/>
                  <a:gd name="connsiteY43" fmla="*/ 695325 h 4333875"/>
                  <a:gd name="connsiteX44" fmla="*/ 3874294 w 8601075"/>
                  <a:gd name="connsiteY44" fmla="*/ 669131 h 4333875"/>
                  <a:gd name="connsiteX45" fmla="*/ 3781425 w 8601075"/>
                  <a:gd name="connsiteY45" fmla="*/ 590550 h 4333875"/>
                  <a:gd name="connsiteX46" fmla="*/ 3810000 w 8601075"/>
                  <a:gd name="connsiteY46" fmla="*/ 514350 h 4333875"/>
                  <a:gd name="connsiteX47" fmla="*/ 3781425 w 8601075"/>
                  <a:gd name="connsiteY47" fmla="*/ 390525 h 4333875"/>
                  <a:gd name="connsiteX48" fmla="*/ 3771900 w 8601075"/>
                  <a:gd name="connsiteY48" fmla="*/ 352425 h 4333875"/>
                  <a:gd name="connsiteX49" fmla="*/ 3600450 w 8601075"/>
                  <a:gd name="connsiteY49" fmla="*/ 285750 h 4333875"/>
                  <a:gd name="connsiteX50" fmla="*/ 3533775 w 8601075"/>
                  <a:gd name="connsiteY50" fmla="*/ 314325 h 4333875"/>
                  <a:gd name="connsiteX51" fmla="*/ 3409950 w 8601075"/>
                  <a:gd name="connsiteY51" fmla="*/ 190500 h 4333875"/>
                  <a:gd name="connsiteX52" fmla="*/ 3257550 w 8601075"/>
                  <a:gd name="connsiteY52" fmla="*/ 180975 h 4333875"/>
                  <a:gd name="connsiteX53" fmla="*/ 3209925 w 8601075"/>
                  <a:gd name="connsiteY53" fmla="*/ 104775 h 4333875"/>
                  <a:gd name="connsiteX54" fmla="*/ 3152775 w 8601075"/>
                  <a:gd name="connsiteY54" fmla="*/ 104775 h 4333875"/>
                  <a:gd name="connsiteX55" fmla="*/ 2990850 w 8601075"/>
                  <a:gd name="connsiteY55" fmla="*/ 0 h 4333875"/>
                  <a:gd name="connsiteX56" fmla="*/ 2933700 w 8601075"/>
                  <a:gd name="connsiteY56" fmla="*/ 114300 h 4333875"/>
                  <a:gd name="connsiteX57" fmla="*/ 2867025 w 8601075"/>
                  <a:gd name="connsiteY57" fmla="*/ 171450 h 4333875"/>
                  <a:gd name="connsiteX58" fmla="*/ 2867025 w 8601075"/>
                  <a:gd name="connsiteY58" fmla="*/ 171450 h 4333875"/>
                  <a:gd name="connsiteX59" fmla="*/ 2800350 w 8601075"/>
                  <a:gd name="connsiteY59" fmla="*/ 257175 h 4333875"/>
                  <a:gd name="connsiteX60" fmla="*/ 2724150 w 8601075"/>
                  <a:gd name="connsiteY60" fmla="*/ 304800 h 4333875"/>
                  <a:gd name="connsiteX61" fmla="*/ 2705100 w 8601075"/>
                  <a:gd name="connsiteY61" fmla="*/ 466725 h 4333875"/>
                  <a:gd name="connsiteX62" fmla="*/ 2762250 w 8601075"/>
                  <a:gd name="connsiteY62" fmla="*/ 571500 h 4333875"/>
                  <a:gd name="connsiteX63" fmla="*/ 2800350 w 8601075"/>
                  <a:gd name="connsiteY63" fmla="*/ 628650 h 4333875"/>
                  <a:gd name="connsiteX64" fmla="*/ 2752725 w 8601075"/>
                  <a:gd name="connsiteY64" fmla="*/ 781050 h 4333875"/>
                  <a:gd name="connsiteX65" fmla="*/ 2686050 w 8601075"/>
                  <a:gd name="connsiteY65" fmla="*/ 857250 h 4333875"/>
                  <a:gd name="connsiteX66" fmla="*/ 2609850 w 8601075"/>
                  <a:gd name="connsiteY66" fmla="*/ 857250 h 4333875"/>
                  <a:gd name="connsiteX67" fmla="*/ 2514600 w 8601075"/>
                  <a:gd name="connsiteY67" fmla="*/ 914400 h 4333875"/>
                  <a:gd name="connsiteX68" fmla="*/ 2400300 w 8601075"/>
                  <a:gd name="connsiteY68" fmla="*/ 866775 h 4333875"/>
                  <a:gd name="connsiteX69" fmla="*/ 2305050 w 8601075"/>
                  <a:gd name="connsiteY69" fmla="*/ 809625 h 4333875"/>
                  <a:gd name="connsiteX70" fmla="*/ 2200275 w 8601075"/>
                  <a:gd name="connsiteY70" fmla="*/ 752475 h 4333875"/>
                  <a:gd name="connsiteX71" fmla="*/ 2105025 w 8601075"/>
                  <a:gd name="connsiteY71" fmla="*/ 762000 h 4333875"/>
                  <a:gd name="connsiteX72" fmla="*/ 1990725 w 8601075"/>
                  <a:gd name="connsiteY72" fmla="*/ 762000 h 4333875"/>
                  <a:gd name="connsiteX73" fmla="*/ 1885950 w 8601075"/>
                  <a:gd name="connsiteY73" fmla="*/ 742950 h 4333875"/>
                  <a:gd name="connsiteX74" fmla="*/ 1800225 w 8601075"/>
                  <a:gd name="connsiteY74" fmla="*/ 638175 h 4333875"/>
                  <a:gd name="connsiteX75" fmla="*/ 1809750 w 8601075"/>
                  <a:gd name="connsiteY75" fmla="*/ 495300 h 4333875"/>
                  <a:gd name="connsiteX76" fmla="*/ 1733550 w 8601075"/>
                  <a:gd name="connsiteY76" fmla="*/ 466725 h 4333875"/>
                  <a:gd name="connsiteX77" fmla="*/ 1485900 w 8601075"/>
                  <a:gd name="connsiteY77" fmla="*/ 419100 h 4333875"/>
                  <a:gd name="connsiteX78" fmla="*/ 1457325 w 8601075"/>
                  <a:gd name="connsiteY78" fmla="*/ 323850 h 4333875"/>
                  <a:gd name="connsiteX79" fmla="*/ 1457325 w 8601075"/>
                  <a:gd name="connsiteY79" fmla="*/ 323850 h 4333875"/>
                  <a:gd name="connsiteX80" fmla="*/ 1323975 w 8601075"/>
                  <a:gd name="connsiteY80" fmla="*/ 285750 h 4333875"/>
                  <a:gd name="connsiteX81" fmla="*/ 1266825 w 8601075"/>
                  <a:gd name="connsiteY81" fmla="*/ 352425 h 4333875"/>
                  <a:gd name="connsiteX82" fmla="*/ 1009650 w 8601075"/>
                  <a:gd name="connsiteY82" fmla="*/ 390525 h 4333875"/>
                  <a:gd name="connsiteX83" fmla="*/ 828675 w 8601075"/>
                  <a:gd name="connsiteY83" fmla="*/ 447675 h 4333875"/>
                  <a:gd name="connsiteX84" fmla="*/ 619125 w 8601075"/>
                  <a:gd name="connsiteY84" fmla="*/ 533400 h 4333875"/>
                  <a:gd name="connsiteX85" fmla="*/ 619125 w 8601075"/>
                  <a:gd name="connsiteY85" fmla="*/ 533400 h 4333875"/>
                  <a:gd name="connsiteX86" fmla="*/ 561975 w 8601075"/>
                  <a:gd name="connsiteY86" fmla="*/ 61912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295275 w 8601075"/>
                  <a:gd name="connsiteY90" fmla="*/ 657225 h 4333875"/>
                  <a:gd name="connsiteX91" fmla="*/ 180975 w 8601075"/>
                  <a:gd name="connsiteY91" fmla="*/ 638175 h 4333875"/>
                  <a:gd name="connsiteX92" fmla="*/ 180975 w 8601075"/>
                  <a:gd name="connsiteY92" fmla="*/ 638175 h 4333875"/>
                  <a:gd name="connsiteX93" fmla="*/ 57150 w 8601075"/>
                  <a:gd name="connsiteY93" fmla="*/ 733425 h 4333875"/>
                  <a:gd name="connsiteX94" fmla="*/ 19050 w 8601075"/>
                  <a:gd name="connsiteY94" fmla="*/ 790575 h 4333875"/>
                  <a:gd name="connsiteX95" fmla="*/ 0 w 8601075"/>
                  <a:gd name="connsiteY95" fmla="*/ 876300 h 4333875"/>
                  <a:gd name="connsiteX96" fmla="*/ 57150 w 8601075"/>
                  <a:gd name="connsiteY96" fmla="*/ 923925 h 4333875"/>
                  <a:gd name="connsiteX97" fmla="*/ 57150 w 8601075"/>
                  <a:gd name="connsiteY97" fmla="*/ 923925 h 4333875"/>
                  <a:gd name="connsiteX98" fmla="*/ 209550 w 8601075"/>
                  <a:gd name="connsiteY98" fmla="*/ 1114425 h 4333875"/>
                  <a:gd name="connsiteX99" fmla="*/ 209550 w 8601075"/>
                  <a:gd name="connsiteY99" fmla="*/ 1114425 h 4333875"/>
                  <a:gd name="connsiteX100" fmla="*/ 266700 w 8601075"/>
                  <a:gd name="connsiteY100" fmla="*/ 1295400 h 4333875"/>
                  <a:gd name="connsiteX101" fmla="*/ 409575 w 8601075"/>
                  <a:gd name="connsiteY101" fmla="*/ 1276350 h 4333875"/>
                  <a:gd name="connsiteX102" fmla="*/ 466725 w 8601075"/>
                  <a:gd name="connsiteY102" fmla="*/ 1362075 h 4333875"/>
                  <a:gd name="connsiteX103" fmla="*/ 542925 w 8601075"/>
                  <a:gd name="connsiteY103" fmla="*/ 1428750 h 4333875"/>
                  <a:gd name="connsiteX104" fmla="*/ 628650 w 8601075"/>
                  <a:gd name="connsiteY104" fmla="*/ 1571625 h 4333875"/>
                  <a:gd name="connsiteX105" fmla="*/ 628650 w 8601075"/>
                  <a:gd name="connsiteY105" fmla="*/ 1704975 h 4333875"/>
                  <a:gd name="connsiteX106" fmla="*/ 676275 w 8601075"/>
                  <a:gd name="connsiteY106" fmla="*/ 1771650 h 4333875"/>
                  <a:gd name="connsiteX107" fmla="*/ 657225 w 8601075"/>
                  <a:gd name="connsiteY107" fmla="*/ 2000250 h 4333875"/>
                  <a:gd name="connsiteX108" fmla="*/ 619125 w 8601075"/>
                  <a:gd name="connsiteY108" fmla="*/ 2095500 h 4333875"/>
                  <a:gd name="connsiteX109" fmla="*/ 542925 w 8601075"/>
                  <a:gd name="connsiteY109" fmla="*/ 2228850 h 4333875"/>
                  <a:gd name="connsiteX110" fmla="*/ 485775 w 8601075"/>
                  <a:gd name="connsiteY110" fmla="*/ 2362200 h 4333875"/>
                  <a:gd name="connsiteX111" fmla="*/ 552450 w 8601075"/>
                  <a:gd name="connsiteY111" fmla="*/ 2486025 h 4333875"/>
                  <a:gd name="connsiteX112" fmla="*/ 771525 w 8601075"/>
                  <a:gd name="connsiteY112" fmla="*/ 2571750 h 4333875"/>
                  <a:gd name="connsiteX113" fmla="*/ 866775 w 8601075"/>
                  <a:gd name="connsiteY113" fmla="*/ 2571750 h 4333875"/>
                  <a:gd name="connsiteX114" fmla="*/ 914400 w 8601075"/>
                  <a:gd name="connsiteY114" fmla="*/ 2638425 h 4333875"/>
                  <a:gd name="connsiteX115" fmla="*/ 1066800 w 8601075"/>
                  <a:gd name="connsiteY115" fmla="*/ 2638425 h 4333875"/>
                  <a:gd name="connsiteX116" fmla="*/ 1285875 w 8601075"/>
                  <a:gd name="connsiteY116" fmla="*/ 2705100 h 4333875"/>
                  <a:gd name="connsiteX117" fmla="*/ 1438275 w 8601075"/>
                  <a:gd name="connsiteY117" fmla="*/ 2838450 h 4333875"/>
                  <a:gd name="connsiteX118" fmla="*/ 1485900 w 8601075"/>
                  <a:gd name="connsiteY118" fmla="*/ 2914650 h 4333875"/>
                  <a:gd name="connsiteX119" fmla="*/ 1657350 w 8601075"/>
                  <a:gd name="connsiteY119" fmla="*/ 3038475 h 4333875"/>
                  <a:gd name="connsiteX120" fmla="*/ 1752600 w 8601075"/>
                  <a:gd name="connsiteY120" fmla="*/ 3057525 h 4333875"/>
                  <a:gd name="connsiteX121" fmla="*/ 1724025 w 8601075"/>
                  <a:gd name="connsiteY121" fmla="*/ 3143250 h 4333875"/>
                  <a:gd name="connsiteX122" fmla="*/ 1724025 w 8601075"/>
                  <a:gd name="connsiteY122" fmla="*/ 3143250 h 4333875"/>
                  <a:gd name="connsiteX123" fmla="*/ 1781175 w 8601075"/>
                  <a:gd name="connsiteY123" fmla="*/ 3181350 h 4333875"/>
                  <a:gd name="connsiteX124" fmla="*/ 1819275 w 8601075"/>
                  <a:gd name="connsiteY124" fmla="*/ 3362325 h 4333875"/>
                  <a:gd name="connsiteX125" fmla="*/ 1828800 w 8601075"/>
                  <a:gd name="connsiteY125" fmla="*/ 3457575 h 4333875"/>
                  <a:gd name="connsiteX126" fmla="*/ 1971675 w 8601075"/>
                  <a:gd name="connsiteY126" fmla="*/ 3590925 h 4333875"/>
                  <a:gd name="connsiteX127" fmla="*/ 1990725 w 8601075"/>
                  <a:gd name="connsiteY127" fmla="*/ 3714750 h 4333875"/>
                  <a:gd name="connsiteX128" fmla="*/ 2200275 w 8601075"/>
                  <a:gd name="connsiteY128" fmla="*/ 3695700 h 4333875"/>
                  <a:gd name="connsiteX129" fmla="*/ 2886075 w 8601075"/>
                  <a:gd name="connsiteY129" fmla="*/ 3886200 h 4333875"/>
                  <a:gd name="connsiteX130" fmla="*/ 3038475 w 8601075"/>
                  <a:gd name="connsiteY130" fmla="*/ 3819525 h 4333875"/>
                  <a:gd name="connsiteX131" fmla="*/ 3105150 w 8601075"/>
                  <a:gd name="connsiteY131" fmla="*/ 3867150 h 4333875"/>
                  <a:gd name="connsiteX132" fmla="*/ 3181350 w 8601075"/>
                  <a:gd name="connsiteY132" fmla="*/ 3800475 h 4333875"/>
                  <a:gd name="connsiteX133" fmla="*/ 3590925 w 8601075"/>
                  <a:gd name="connsiteY133" fmla="*/ 3943350 h 4333875"/>
                  <a:gd name="connsiteX134" fmla="*/ 3686175 w 8601075"/>
                  <a:gd name="connsiteY134" fmla="*/ 4057650 h 4333875"/>
                  <a:gd name="connsiteX135" fmla="*/ 3838575 w 8601075"/>
                  <a:gd name="connsiteY135" fmla="*/ 4057650 h 4333875"/>
                  <a:gd name="connsiteX136" fmla="*/ 4162425 w 8601075"/>
                  <a:gd name="connsiteY136" fmla="*/ 4248150 h 4333875"/>
                  <a:gd name="connsiteX137" fmla="*/ 4391025 w 8601075"/>
                  <a:gd name="connsiteY137" fmla="*/ 4200525 h 4333875"/>
                  <a:gd name="connsiteX138" fmla="*/ 4410075 w 8601075"/>
                  <a:gd name="connsiteY138" fmla="*/ 4305300 h 4333875"/>
                  <a:gd name="connsiteX139" fmla="*/ 4505325 w 8601075"/>
                  <a:gd name="connsiteY139" fmla="*/ 4276725 h 4333875"/>
                  <a:gd name="connsiteX140" fmla="*/ 4572000 w 8601075"/>
                  <a:gd name="connsiteY140" fmla="*/ 4333875 h 4333875"/>
                  <a:gd name="connsiteX141" fmla="*/ 4591050 w 8601075"/>
                  <a:gd name="connsiteY141" fmla="*/ 4248150 h 4333875"/>
                  <a:gd name="connsiteX142" fmla="*/ 5295900 w 8601075"/>
                  <a:gd name="connsiteY142" fmla="*/ 3924300 h 4333875"/>
                  <a:gd name="connsiteX143" fmla="*/ 5353050 w 8601075"/>
                  <a:gd name="connsiteY143" fmla="*/ 3990975 h 4333875"/>
                  <a:gd name="connsiteX144" fmla="*/ 5524500 w 8601075"/>
                  <a:gd name="connsiteY144" fmla="*/ 3914775 h 4333875"/>
                  <a:gd name="connsiteX145" fmla="*/ 5667375 w 8601075"/>
                  <a:gd name="connsiteY145" fmla="*/ 3962400 h 4333875"/>
                  <a:gd name="connsiteX146" fmla="*/ 5753100 w 8601075"/>
                  <a:gd name="connsiteY146" fmla="*/ 3924300 h 4333875"/>
                  <a:gd name="connsiteX147" fmla="*/ 5905500 w 8601075"/>
                  <a:gd name="connsiteY147" fmla="*/ 3943350 h 4333875"/>
                  <a:gd name="connsiteX148" fmla="*/ 6000750 w 8601075"/>
                  <a:gd name="connsiteY148" fmla="*/ 3800475 h 4333875"/>
                  <a:gd name="connsiteX149" fmla="*/ 6153150 w 8601075"/>
                  <a:gd name="connsiteY149" fmla="*/ 3781425 h 4333875"/>
                  <a:gd name="connsiteX150" fmla="*/ 6257925 w 8601075"/>
                  <a:gd name="connsiteY150" fmla="*/ 3581400 h 4333875"/>
                  <a:gd name="connsiteX151" fmla="*/ 6448425 w 8601075"/>
                  <a:gd name="connsiteY151" fmla="*/ 3448050 h 4333875"/>
                  <a:gd name="connsiteX152" fmla="*/ 6581775 w 8601075"/>
                  <a:gd name="connsiteY152" fmla="*/ 3276600 h 4333875"/>
                  <a:gd name="connsiteX153" fmla="*/ 6496050 w 8601075"/>
                  <a:gd name="connsiteY153" fmla="*/ 3228975 h 4333875"/>
                  <a:gd name="connsiteX154" fmla="*/ 6438900 w 8601075"/>
                  <a:gd name="connsiteY154" fmla="*/ 3162300 h 4333875"/>
                  <a:gd name="connsiteX155" fmla="*/ 6419850 w 8601075"/>
                  <a:gd name="connsiteY155" fmla="*/ 3105150 h 4333875"/>
                  <a:gd name="connsiteX156" fmla="*/ 6362700 w 8601075"/>
                  <a:gd name="connsiteY156" fmla="*/ 3076575 h 4333875"/>
                  <a:gd name="connsiteX157" fmla="*/ 6410325 w 8601075"/>
                  <a:gd name="connsiteY157" fmla="*/ 3019425 h 4333875"/>
                  <a:gd name="connsiteX158" fmla="*/ 6438900 w 8601075"/>
                  <a:gd name="connsiteY158" fmla="*/ 2819400 h 4333875"/>
                  <a:gd name="connsiteX159" fmla="*/ 6496050 w 8601075"/>
                  <a:gd name="connsiteY159" fmla="*/ 2762250 h 4333875"/>
                  <a:gd name="connsiteX160" fmla="*/ 6657975 w 8601075"/>
                  <a:gd name="connsiteY160" fmla="*/ 2752725 h 4333875"/>
                  <a:gd name="connsiteX161" fmla="*/ 6781800 w 8601075"/>
                  <a:gd name="connsiteY161" fmla="*/ 2838450 h 4333875"/>
                  <a:gd name="connsiteX162" fmla="*/ 7010400 w 8601075"/>
                  <a:gd name="connsiteY162" fmla="*/ 2838450 h 4333875"/>
                  <a:gd name="connsiteX163" fmla="*/ 7162800 w 8601075"/>
                  <a:gd name="connsiteY163" fmla="*/ 2705100 h 4333875"/>
                  <a:gd name="connsiteX164" fmla="*/ 7229475 w 8601075"/>
                  <a:gd name="connsiteY164" fmla="*/ 2590800 h 4333875"/>
                  <a:gd name="connsiteX165" fmla="*/ 7248525 w 8601075"/>
                  <a:gd name="connsiteY165" fmla="*/ 2524125 h 4333875"/>
                  <a:gd name="connsiteX166" fmla="*/ 7372350 w 8601075"/>
                  <a:gd name="connsiteY166" fmla="*/ 2543175 h 4333875"/>
                  <a:gd name="connsiteX167" fmla="*/ 7553325 w 8601075"/>
                  <a:gd name="connsiteY167" fmla="*/ 2447925 h 4333875"/>
                  <a:gd name="connsiteX168" fmla="*/ 7620000 w 8601075"/>
                  <a:gd name="connsiteY168" fmla="*/ 2324100 h 4333875"/>
                  <a:gd name="connsiteX169" fmla="*/ 7696200 w 8601075"/>
                  <a:gd name="connsiteY169" fmla="*/ 2314575 h 4333875"/>
                  <a:gd name="connsiteX170" fmla="*/ 7658100 w 8601075"/>
                  <a:gd name="connsiteY170" fmla="*/ 2257425 h 4333875"/>
                  <a:gd name="connsiteX171" fmla="*/ 7753350 w 8601075"/>
                  <a:gd name="connsiteY171" fmla="*/ 2057400 h 4333875"/>
                  <a:gd name="connsiteX172" fmla="*/ 7934325 w 8601075"/>
                  <a:gd name="connsiteY172" fmla="*/ 2028825 h 4333875"/>
                  <a:gd name="connsiteX173" fmla="*/ 7953375 w 8601075"/>
                  <a:gd name="connsiteY173" fmla="*/ 1952625 h 4333875"/>
                  <a:gd name="connsiteX174" fmla="*/ 7953375 w 8601075"/>
                  <a:gd name="connsiteY174" fmla="*/ 1952625 h 4333875"/>
                  <a:gd name="connsiteX175" fmla="*/ 8010525 w 8601075"/>
                  <a:gd name="connsiteY175" fmla="*/ 1895475 h 4333875"/>
                  <a:gd name="connsiteX176" fmla="*/ 8048625 w 8601075"/>
                  <a:gd name="connsiteY176" fmla="*/ 1971675 h 4333875"/>
                  <a:gd name="connsiteX177" fmla="*/ 8077200 w 8601075"/>
                  <a:gd name="connsiteY177" fmla="*/ 1885950 h 4333875"/>
                  <a:gd name="connsiteX178" fmla="*/ 8220075 w 8601075"/>
                  <a:gd name="connsiteY178" fmla="*/ 1847850 h 4333875"/>
                  <a:gd name="connsiteX179" fmla="*/ 8296275 w 8601075"/>
                  <a:gd name="connsiteY179" fmla="*/ 1809750 h 4333875"/>
                  <a:gd name="connsiteX180" fmla="*/ 8324850 w 8601075"/>
                  <a:gd name="connsiteY180" fmla="*/ 1790700 h 4333875"/>
                  <a:gd name="connsiteX181" fmla="*/ 8410575 w 8601075"/>
                  <a:gd name="connsiteY181" fmla="*/ 1847850 h 4333875"/>
                  <a:gd name="connsiteX182" fmla="*/ 8505825 w 8601075"/>
                  <a:gd name="connsiteY182" fmla="*/ 1781175 h 4333875"/>
                  <a:gd name="connsiteX183" fmla="*/ 8572500 w 8601075"/>
                  <a:gd name="connsiteY183" fmla="*/ 1809750 h 4333875"/>
                  <a:gd name="connsiteX184" fmla="*/ 8601075 w 8601075"/>
                  <a:gd name="connsiteY184" fmla="*/ 1704975 h 4333875"/>
                  <a:gd name="connsiteX185" fmla="*/ 8553450 w 8601075"/>
                  <a:gd name="connsiteY185" fmla="*/ 1676400 h 4333875"/>
                  <a:gd name="connsiteX186" fmla="*/ 8534400 w 8601075"/>
                  <a:gd name="connsiteY186" fmla="*/ 1609725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124825 w 8601075"/>
                  <a:gd name="connsiteY190" fmla="*/ 1352550 h 4333875"/>
                  <a:gd name="connsiteX191" fmla="*/ 7924800 w 8601075"/>
                  <a:gd name="connsiteY191" fmla="*/ 1362075 h 4333875"/>
                  <a:gd name="connsiteX192" fmla="*/ 7867650 w 8601075"/>
                  <a:gd name="connsiteY192" fmla="*/ 1457325 h 4333875"/>
                  <a:gd name="connsiteX193" fmla="*/ 7896225 w 8601075"/>
                  <a:gd name="connsiteY193" fmla="*/ 1476375 h 4333875"/>
                  <a:gd name="connsiteX194" fmla="*/ 7858125 w 8601075"/>
                  <a:gd name="connsiteY194" fmla="*/ 1533525 h 4333875"/>
                  <a:gd name="connsiteX195" fmla="*/ 7658100 w 8601075"/>
                  <a:gd name="connsiteY195" fmla="*/ 1447800 h 4333875"/>
                  <a:gd name="connsiteX196" fmla="*/ 7515225 w 8601075"/>
                  <a:gd name="connsiteY196" fmla="*/ 1495425 h 4333875"/>
                  <a:gd name="connsiteX197" fmla="*/ 7467600 w 8601075"/>
                  <a:gd name="connsiteY197" fmla="*/ 1581150 h 4333875"/>
                  <a:gd name="connsiteX198" fmla="*/ 7296150 w 8601075"/>
                  <a:gd name="connsiteY19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781425 w 8601075"/>
                  <a:gd name="connsiteY45" fmla="*/ 590550 h 4333875"/>
                  <a:gd name="connsiteX46" fmla="*/ 3810000 w 8601075"/>
                  <a:gd name="connsiteY46" fmla="*/ 514350 h 4333875"/>
                  <a:gd name="connsiteX47" fmla="*/ 3781425 w 8601075"/>
                  <a:gd name="connsiteY47" fmla="*/ 390525 h 4333875"/>
                  <a:gd name="connsiteX48" fmla="*/ 3771900 w 8601075"/>
                  <a:gd name="connsiteY48" fmla="*/ 352425 h 4333875"/>
                  <a:gd name="connsiteX49" fmla="*/ 3600450 w 8601075"/>
                  <a:gd name="connsiteY49" fmla="*/ 285750 h 4333875"/>
                  <a:gd name="connsiteX50" fmla="*/ 3533775 w 8601075"/>
                  <a:gd name="connsiteY50" fmla="*/ 314325 h 4333875"/>
                  <a:gd name="connsiteX51" fmla="*/ 3409950 w 8601075"/>
                  <a:gd name="connsiteY51" fmla="*/ 190500 h 4333875"/>
                  <a:gd name="connsiteX52" fmla="*/ 3257550 w 8601075"/>
                  <a:gd name="connsiteY52" fmla="*/ 180975 h 4333875"/>
                  <a:gd name="connsiteX53" fmla="*/ 3209925 w 8601075"/>
                  <a:gd name="connsiteY53" fmla="*/ 104775 h 4333875"/>
                  <a:gd name="connsiteX54" fmla="*/ 3152775 w 8601075"/>
                  <a:gd name="connsiteY54" fmla="*/ 104775 h 4333875"/>
                  <a:gd name="connsiteX55" fmla="*/ 2990850 w 8601075"/>
                  <a:gd name="connsiteY55" fmla="*/ 0 h 4333875"/>
                  <a:gd name="connsiteX56" fmla="*/ 2933700 w 8601075"/>
                  <a:gd name="connsiteY56" fmla="*/ 114300 h 4333875"/>
                  <a:gd name="connsiteX57" fmla="*/ 2867025 w 8601075"/>
                  <a:gd name="connsiteY57" fmla="*/ 171450 h 4333875"/>
                  <a:gd name="connsiteX58" fmla="*/ 2867025 w 8601075"/>
                  <a:gd name="connsiteY58" fmla="*/ 171450 h 4333875"/>
                  <a:gd name="connsiteX59" fmla="*/ 2800350 w 8601075"/>
                  <a:gd name="connsiteY59" fmla="*/ 257175 h 4333875"/>
                  <a:gd name="connsiteX60" fmla="*/ 2724150 w 8601075"/>
                  <a:gd name="connsiteY60" fmla="*/ 304800 h 4333875"/>
                  <a:gd name="connsiteX61" fmla="*/ 2705100 w 8601075"/>
                  <a:gd name="connsiteY61" fmla="*/ 466725 h 4333875"/>
                  <a:gd name="connsiteX62" fmla="*/ 2762250 w 8601075"/>
                  <a:gd name="connsiteY62" fmla="*/ 571500 h 4333875"/>
                  <a:gd name="connsiteX63" fmla="*/ 2800350 w 8601075"/>
                  <a:gd name="connsiteY63" fmla="*/ 628650 h 4333875"/>
                  <a:gd name="connsiteX64" fmla="*/ 2752725 w 8601075"/>
                  <a:gd name="connsiteY64" fmla="*/ 781050 h 4333875"/>
                  <a:gd name="connsiteX65" fmla="*/ 2686050 w 8601075"/>
                  <a:gd name="connsiteY65" fmla="*/ 857250 h 4333875"/>
                  <a:gd name="connsiteX66" fmla="*/ 2609850 w 8601075"/>
                  <a:gd name="connsiteY66" fmla="*/ 857250 h 4333875"/>
                  <a:gd name="connsiteX67" fmla="*/ 2514600 w 8601075"/>
                  <a:gd name="connsiteY67" fmla="*/ 914400 h 4333875"/>
                  <a:gd name="connsiteX68" fmla="*/ 2400300 w 8601075"/>
                  <a:gd name="connsiteY68" fmla="*/ 866775 h 4333875"/>
                  <a:gd name="connsiteX69" fmla="*/ 2305050 w 8601075"/>
                  <a:gd name="connsiteY69" fmla="*/ 809625 h 4333875"/>
                  <a:gd name="connsiteX70" fmla="*/ 2200275 w 8601075"/>
                  <a:gd name="connsiteY70" fmla="*/ 752475 h 4333875"/>
                  <a:gd name="connsiteX71" fmla="*/ 2105025 w 8601075"/>
                  <a:gd name="connsiteY71" fmla="*/ 762000 h 4333875"/>
                  <a:gd name="connsiteX72" fmla="*/ 1990725 w 8601075"/>
                  <a:gd name="connsiteY72" fmla="*/ 762000 h 4333875"/>
                  <a:gd name="connsiteX73" fmla="*/ 1885950 w 8601075"/>
                  <a:gd name="connsiteY73" fmla="*/ 742950 h 4333875"/>
                  <a:gd name="connsiteX74" fmla="*/ 1800225 w 8601075"/>
                  <a:gd name="connsiteY74" fmla="*/ 638175 h 4333875"/>
                  <a:gd name="connsiteX75" fmla="*/ 1809750 w 8601075"/>
                  <a:gd name="connsiteY75" fmla="*/ 495300 h 4333875"/>
                  <a:gd name="connsiteX76" fmla="*/ 1733550 w 8601075"/>
                  <a:gd name="connsiteY76" fmla="*/ 466725 h 4333875"/>
                  <a:gd name="connsiteX77" fmla="*/ 1485900 w 8601075"/>
                  <a:gd name="connsiteY77" fmla="*/ 419100 h 4333875"/>
                  <a:gd name="connsiteX78" fmla="*/ 1457325 w 8601075"/>
                  <a:gd name="connsiteY78" fmla="*/ 323850 h 4333875"/>
                  <a:gd name="connsiteX79" fmla="*/ 1457325 w 8601075"/>
                  <a:gd name="connsiteY79" fmla="*/ 323850 h 4333875"/>
                  <a:gd name="connsiteX80" fmla="*/ 1323975 w 8601075"/>
                  <a:gd name="connsiteY80" fmla="*/ 285750 h 4333875"/>
                  <a:gd name="connsiteX81" fmla="*/ 1266825 w 8601075"/>
                  <a:gd name="connsiteY81" fmla="*/ 352425 h 4333875"/>
                  <a:gd name="connsiteX82" fmla="*/ 1009650 w 8601075"/>
                  <a:gd name="connsiteY82" fmla="*/ 390525 h 4333875"/>
                  <a:gd name="connsiteX83" fmla="*/ 828675 w 8601075"/>
                  <a:gd name="connsiteY83" fmla="*/ 447675 h 4333875"/>
                  <a:gd name="connsiteX84" fmla="*/ 619125 w 8601075"/>
                  <a:gd name="connsiteY84" fmla="*/ 533400 h 4333875"/>
                  <a:gd name="connsiteX85" fmla="*/ 619125 w 8601075"/>
                  <a:gd name="connsiteY85" fmla="*/ 533400 h 4333875"/>
                  <a:gd name="connsiteX86" fmla="*/ 561975 w 8601075"/>
                  <a:gd name="connsiteY86" fmla="*/ 61912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295275 w 8601075"/>
                  <a:gd name="connsiteY90" fmla="*/ 657225 h 4333875"/>
                  <a:gd name="connsiteX91" fmla="*/ 180975 w 8601075"/>
                  <a:gd name="connsiteY91" fmla="*/ 638175 h 4333875"/>
                  <a:gd name="connsiteX92" fmla="*/ 180975 w 8601075"/>
                  <a:gd name="connsiteY92" fmla="*/ 638175 h 4333875"/>
                  <a:gd name="connsiteX93" fmla="*/ 57150 w 8601075"/>
                  <a:gd name="connsiteY93" fmla="*/ 733425 h 4333875"/>
                  <a:gd name="connsiteX94" fmla="*/ 19050 w 8601075"/>
                  <a:gd name="connsiteY94" fmla="*/ 790575 h 4333875"/>
                  <a:gd name="connsiteX95" fmla="*/ 0 w 8601075"/>
                  <a:gd name="connsiteY95" fmla="*/ 876300 h 4333875"/>
                  <a:gd name="connsiteX96" fmla="*/ 57150 w 8601075"/>
                  <a:gd name="connsiteY96" fmla="*/ 923925 h 4333875"/>
                  <a:gd name="connsiteX97" fmla="*/ 57150 w 8601075"/>
                  <a:gd name="connsiteY97" fmla="*/ 923925 h 4333875"/>
                  <a:gd name="connsiteX98" fmla="*/ 209550 w 8601075"/>
                  <a:gd name="connsiteY98" fmla="*/ 1114425 h 4333875"/>
                  <a:gd name="connsiteX99" fmla="*/ 209550 w 8601075"/>
                  <a:gd name="connsiteY99" fmla="*/ 1114425 h 4333875"/>
                  <a:gd name="connsiteX100" fmla="*/ 266700 w 8601075"/>
                  <a:gd name="connsiteY100" fmla="*/ 1295400 h 4333875"/>
                  <a:gd name="connsiteX101" fmla="*/ 409575 w 8601075"/>
                  <a:gd name="connsiteY101" fmla="*/ 1276350 h 4333875"/>
                  <a:gd name="connsiteX102" fmla="*/ 466725 w 8601075"/>
                  <a:gd name="connsiteY102" fmla="*/ 1362075 h 4333875"/>
                  <a:gd name="connsiteX103" fmla="*/ 542925 w 8601075"/>
                  <a:gd name="connsiteY103" fmla="*/ 1428750 h 4333875"/>
                  <a:gd name="connsiteX104" fmla="*/ 628650 w 8601075"/>
                  <a:gd name="connsiteY104" fmla="*/ 1571625 h 4333875"/>
                  <a:gd name="connsiteX105" fmla="*/ 628650 w 8601075"/>
                  <a:gd name="connsiteY105" fmla="*/ 1704975 h 4333875"/>
                  <a:gd name="connsiteX106" fmla="*/ 676275 w 8601075"/>
                  <a:gd name="connsiteY106" fmla="*/ 1771650 h 4333875"/>
                  <a:gd name="connsiteX107" fmla="*/ 657225 w 8601075"/>
                  <a:gd name="connsiteY107" fmla="*/ 2000250 h 4333875"/>
                  <a:gd name="connsiteX108" fmla="*/ 619125 w 8601075"/>
                  <a:gd name="connsiteY108" fmla="*/ 2095500 h 4333875"/>
                  <a:gd name="connsiteX109" fmla="*/ 542925 w 8601075"/>
                  <a:gd name="connsiteY109" fmla="*/ 2228850 h 4333875"/>
                  <a:gd name="connsiteX110" fmla="*/ 485775 w 8601075"/>
                  <a:gd name="connsiteY110" fmla="*/ 2362200 h 4333875"/>
                  <a:gd name="connsiteX111" fmla="*/ 552450 w 8601075"/>
                  <a:gd name="connsiteY111" fmla="*/ 2486025 h 4333875"/>
                  <a:gd name="connsiteX112" fmla="*/ 771525 w 8601075"/>
                  <a:gd name="connsiteY112" fmla="*/ 2571750 h 4333875"/>
                  <a:gd name="connsiteX113" fmla="*/ 866775 w 8601075"/>
                  <a:gd name="connsiteY113" fmla="*/ 2571750 h 4333875"/>
                  <a:gd name="connsiteX114" fmla="*/ 914400 w 8601075"/>
                  <a:gd name="connsiteY114" fmla="*/ 2638425 h 4333875"/>
                  <a:gd name="connsiteX115" fmla="*/ 1066800 w 8601075"/>
                  <a:gd name="connsiteY115" fmla="*/ 2638425 h 4333875"/>
                  <a:gd name="connsiteX116" fmla="*/ 1285875 w 8601075"/>
                  <a:gd name="connsiteY116" fmla="*/ 2705100 h 4333875"/>
                  <a:gd name="connsiteX117" fmla="*/ 1438275 w 8601075"/>
                  <a:gd name="connsiteY117" fmla="*/ 2838450 h 4333875"/>
                  <a:gd name="connsiteX118" fmla="*/ 1485900 w 8601075"/>
                  <a:gd name="connsiteY118" fmla="*/ 2914650 h 4333875"/>
                  <a:gd name="connsiteX119" fmla="*/ 1657350 w 8601075"/>
                  <a:gd name="connsiteY119" fmla="*/ 3038475 h 4333875"/>
                  <a:gd name="connsiteX120" fmla="*/ 1752600 w 8601075"/>
                  <a:gd name="connsiteY120" fmla="*/ 3057525 h 4333875"/>
                  <a:gd name="connsiteX121" fmla="*/ 1724025 w 8601075"/>
                  <a:gd name="connsiteY121" fmla="*/ 3143250 h 4333875"/>
                  <a:gd name="connsiteX122" fmla="*/ 1724025 w 8601075"/>
                  <a:gd name="connsiteY122" fmla="*/ 3143250 h 4333875"/>
                  <a:gd name="connsiteX123" fmla="*/ 1781175 w 8601075"/>
                  <a:gd name="connsiteY123" fmla="*/ 3181350 h 4333875"/>
                  <a:gd name="connsiteX124" fmla="*/ 1819275 w 8601075"/>
                  <a:gd name="connsiteY124" fmla="*/ 3362325 h 4333875"/>
                  <a:gd name="connsiteX125" fmla="*/ 1828800 w 8601075"/>
                  <a:gd name="connsiteY125" fmla="*/ 3457575 h 4333875"/>
                  <a:gd name="connsiteX126" fmla="*/ 1971675 w 8601075"/>
                  <a:gd name="connsiteY126" fmla="*/ 3590925 h 4333875"/>
                  <a:gd name="connsiteX127" fmla="*/ 1990725 w 8601075"/>
                  <a:gd name="connsiteY127" fmla="*/ 3714750 h 4333875"/>
                  <a:gd name="connsiteX128" fmla="*/ 2200275 w 8601075"/>
                  <a:gd name="connsiteY128" fmla="*/ 3695700 h 4333875"/>
                  <a:gd name="connsiteX129" fmla="*/ 2886075 w 8601075"/>
                  <a:gd name="connsiteY129" fmla="*/ 3886200 h 4333875"/>
                  <a:gd name="connsiteX130" fmla="*/ 3038475 w 8601075"/>
                  <a:gd name="connsiteY130" fmla="*/ 3819525 h 4333875"/>
                  <a:gd name="connsiteX131" fmla="*/ 3105150 w 8601075"/>
                  <a:gd name="connsiteY131" fmla="*/ 3867150 h 4333875"/>
                  <a:gd name="connsiteX132" fmla="*/ 3181350 w 8601075"/>
                  <a:gd name="connsiteY132" fmla="*/ 3800475 h 4333875"/>
                  <a:gd name="connsiteX133" fmla="*/ 3590925 w 8601075"/>
                  <a:gd name="connsiteY133" fmla="*/ 3943350 h 4333875"/>
                  <a:gd name="connsiteX134" fmla="*/ 3686175 w 8601075"/>
                  <a:gd name="connsiteY134" fmla="*/ 4057650 h 4333875"/>
                  <a:gd name="connsiteX135" fmla="*/ 3838575 w 8601075"/>
                  <a:gd name="connsiteY135" fmla="*/ 4057650 h 4333875"/>
                  <a:gd name="connsiteX136" fmla="*/ 4162425 w 8601075"/>
                  <a:gd name="connsiteY136" fmla="*/ 4248150 h 4333875"/>
                  <a:gd name="connsiteX137" fmla="*/ 4391025 w 8601075"/>
                  <a:gd name="connsiteY137" fmla="*/ 4200525 h 4333875"/>
                  <a:gd name="connsiteX138" fmla="*/ 4410075 w 8601075"/>
                  <a:gd name="connsiteY138" fmla="*/ 4305300 h 4333875"/>
                  <a:gd name="connsiteX139" fmla="*/ 4505325 w 8601075"/>
                  <a:gd name="connsiteY139" fmla="*/ 4276725 h 4333875"/>
                  <a:gd name="connsiteX140" fmla="*/ 4572000 w 8601075"/>
                  <a:gd name="connsiteY140" fmla="*/ 4333875 h 4333875"/>
                  <a:gd name="connsiteX141" fmla="*/ 4591050 w 8601075"/>
                  <a:gd name="connsiteY141" fmla="*/ 4248150 h 4333875"/>
                  <a:gd name="connsiteX142" fmla="*/ 5295900 w 8601075"/>
                  <a:gd name="connsiteY142" fmla="*/ 3924300 h 4333875"/>
                  <a:gd name="connsiteX143" fmla="*/ 5353050 w 8601075"/>
                  <a:gd name="connsiteY143" fmla="*/ 3990975 h 4333875"/>
                  <a:gd name="connsiteX144" fmla="*/ 5524500 w 8601075"/>
                  <a:gd name="connsiteY144" fmla="*/ 3914775 h 4333875"/>
                  <a:gd name="connsiteX145" fmla="*/ 5667375 w 8601075"/>
                  <a:gd name="connsiteY145" fmla="*/ 3962400 h 4333875"/>
                  <a:gd name="connsiteX146" fmla="*/ 5753100 w 8601075"/>
                  <a:gd name="connsiteY146" fmla="*/ 3924300 h 4333875"/>
                  <a:gd name="connsiteX147" fmla="*/ 5905500 w 8601075"/>
                  <a:gd name="connsiteY147" fmla="*/ 3943350 h 4333875"/>
                  <a:gd name="connsiteX148" fmla="*/ 6000750 w 8601075"/>
                  <a:gd name="connsiteY148" fmla="*/ 3800475 h 4333875"/>
                  <a:gd name="connsiteX149" fmla="*/ 6153150 w 8601075"/>
                  <a:gd name="connsiteY149" fmla="*/ 3781425 h 4333875"/>
                  <a:gd name="connsiteX150" fmla="*/ 6257925 w 8601075"/>
                  <a:gd name="connsiteY150" fmla="*/ 3581400 h 4333875"/>
                  <a:gd name="connsiteX151" fmla="*/ 6448425 w 8601075"/>
                  <a:gd name="connsiteY151" fmla="*/ 3448050 h 4333875"/>
                  <a:gd name="connsiteX152" fmla="*/ 6581775 w 8601075"/>
                  <a:gd name="connsiteY152" fmla="*/ 3276600 h 4333875"/>
                  <a:gd name="connsiteX153" fmla="*/ 6496050 w 8601075"/>
                  <a:gd name="connsiteY153" fmla="*/ 3228975 h 4333875"/>
                  <a:gd name="connsiteX154" fmla="*/ 6438900 w 8601075"/>
                  <a:gd name="connsiteY154" fmla="*/ 3162300 h 4333875"/>
                  <a:gd name="connsiteX155" fmla="*/ 6419850 w 8601075"/>
                  <a:gd name="connsiteY155" fmla="*/ 3105150 h 4333875"/>
                  <a:gd name="connsiteX156" fmla="*/ 6362700 w 8601075"/>
                  <a:gd name="connsiteY156" fmla="*/ 3076575 h 4333875"/>
                  <a:gd name="connsiteX157" fmla="*/ 6410325 w 8601075"/>
                  <a:gd name="connsiteY157" fmla="*/ 3019425 h 4333875"/>
                  <a:gd name="connsiteX158" fmla="*/ 6438900 w 8601075"/>
                  <a:gd name="connsiteY158" fmla="*/ 2819400 h 4333875"/>
                  <a:gd name="connsiteX159" fmla="*/ 6496050 w 8601075"/>
                  <a:gd name="connsiteY159" fmla="*/ 2762250 h 4333875"/>
                  <a:gd name="connsiteX160" fmla="*/ 6657975 w 8601075"/>
                  <a:gd name="connsiteY160" fmla="*/ 2752725 h 4333875"/>
                  <a:gd name="connsiteX161" fmla="*/ 6781800 w 8601075"/>
                  <a:gd name="connsiteY161" fmla="*/ 2838450 h 4333875"/>
                  <a:gd name="connsiteX162" fmla="*/ 7010400 w 8601075"/>
                  <a:gd name="connsiteY162" fmla="*/ 2838450 h 4333875"/>
                  <a:gd name="connsiteX163" fmla="*/ 7162800 w 8601075"/>
                  <a:gd name="connsiteY163" fmla="*/ 2705100 h 4333875"/>
                  <a:gd name="connsiteX164" fmla="*/ 7229475 w 8601075"/>
                  <a:gd name="connsiteY164" fmla="*/ 2590800 h 4333875"/>
                  <a:gd name="connsiteX165" fmla="*/ 7248525 w 8601075"/>
                  <a:gd name="connsiteY165" fmla="*/ 2524125 h 4333875"/>
                  <a:gd name="connsiteX166" fmla="*/ 7372350 w 8601075"/>
                  <a:gd name="connsiteY166" fmla="*/ 2543175 h 4333875"/>
                  <a:gd name="connsiteX167" fmla="*/ 7553325 w 8601075"/>
                  <a:gd name="connsiteY167" fmla="*/ 2447925 h 4333875"/>
                  <a:gd name="connsiteX168" fmla="*/ 7620000 w 8601075"/>
                  <a:gd name="connsiteY168" fmla="*/ 2324100 h 4333875"/>
                  <a:gd name="connsiteX169" fmla="*/ 7696200 w 8601075"/>
                  <a:gd name="connsiteY169" fmla="*/ 2314575 h 4333875"/>
                  <a:gd name="connsiteX170" fmla="*/ 7658100 w 8601075"/>
                  <a:gd name="connsiteY170" fmla="*/ 2257425 h 4333875"/>
                  <a:gd name="connsiteX171" fmla="*/ 7753350 w 8601075"/>
                  <a:gd name="connsiteY171" fmla="*/ 2057400 h 4333875"/>
                  <a:gd name="connsiteX172" fmla="*/ 7934325 w 8601075"/>
                  <a:gd name="connsiteY172" fmla="*/ 2028825 h 4333875"/>
                  <a:gd name="connsiteX173" fmla="*/ 7953375 w 8601075"/>
                  <a:gd name="connsiteY173" fmla="*/ 1952625 h 4333875"/>
                  <a:gd name="connsiteX174" fmla="*/ 7953375 w 8601075"/>
                  <a:gd name="connsiteY174" fmla="*/ 1952625 h 4333875"/>
                  <a:gd name="connsiteX175" fmla="*/ 8010525 w 8601075"/>
                  <a:gd name="connsiteY175" fmla="*/ 1895475 h 4333875"/>
                  <a:gd name="connsiteX176" fmla="*/ 8048625 w 8601075"/>
                  <a:gd name="connsiteY176" fmla="*/ 1971675 h 4333875"/>
                  <a:gd name="connsiteX177" fmla="*/ 8077200 w 8601075"/>
                  <a:gd name="connsiteY177" fmla="*/ 1885950 h 4333875"/>
                  <a:gd name="connsiteX178" fmla="*/ 8220075 w 8601075"/>
                  <a:gd name="connsiteY178" fmla="*/ 1847850 h 4333875"/>
                  <a:gd name="connsiteX179" fmla="*/ 8296275 w 8601075"/>
                  <a:gd name="connsiteY179" fmla="*/ 1809750 h 4333875"/>
                  <a:gd name="connsiteX180" fmla="*/ 8324850 w 8601075"/>
                  <a:gd name="connsiteY180" fmla="*/ 1790700 h 4333875"/>
                  <a:gd name="connsiteX181" fmla="*/ 8410575 w 8601075"/>
                  <a:gd name="connsiteY181" fmla="*/ 1847850 h 4333875"/>
                  <a:gd name="connsiteX182" fmla="*/ 8505825 w 8601075"/>
                  <a:gd name="connsiteY182" fmla="*/ 1781175 h 4333875"/>
                  <a:gd name="connsiteX183" fmla="*/ 8572500 w 8601075"/>
                  <a:gd name="connsiteY183" fmla="*/ 1809750 h 4333875"/>
                  <a:gd name="connsiteX184" fmla="*/ 8601075 w 8601075"/>
                  <a:gd name="connsiteY184" fmla="*/ 1704975 h 4333875"/>
                  <a:gd name="connsiteX185" fmla="*/ 8553450 w 8601075"/>
                  <a:gd name="connsiteY185" fmla="*/ 1676400 h 4333875"/>
                  <a:gd name="connsiteX186" fmla="*/ 8534400 w 8601075"/>
                  <a:gd name="connsiteY186" fmla="*/ 1609725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124825 w 8601075"/>
                  <a:gd name="connsiteY190" fmla="*/ 1352550 h 4333875"/>
                  <a:gd name="connsiteX191" fmla="*/ 7924800 w 8601075"/>
                  <a:gd name="connsiteY191" fmla="*/ 1362075 h 4333875"/>
                  <a:gd name="connsiteX192" fmla="*/ 7867650 w 8601075"/>
                  <a:gd name="connsiteY192" fmla="*/ 1457325 h 4333875"/>
                  <a:gd name="connsiteX193" fmla="*/ 7896225 w 8601075"/>
                  <a:gd name="connsiteY193" fmla="*/ 1476375 h 4333875"/>
                  <a:gd name="connsiteX194" fmla="*/ 7858125 w 8601075"/>
                  <a:gd name="connsiteY194" fmla="*/ 1533525 h 4333875"/>
                  <a:gd name="connsiteX195" fmla="*/ 7658100 w 8601075"/>
                  <a:gd name="connsiteY195" fmla="*/ 1447800 h 4333875"/>
                  <a:gd name="connsiteX196" fmla="*/ 7515225 w 8601075"/>
                  <a:gd name="connsiteY196" fmla="*/ 1495425 h 4333875"/>
                  <a:gd name="connsiteX197" fmla="*/ 7467600 w 8601075"/>
                  <a:gd name="connsiteY197" fmla="*/ 1581150 h 4333875"/>
                  <a:gd name="connsiteX198" fmla="*/ 7296150 w 8601075"/>
                  <a:gd name="connsiteY19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781425 w 8601075"/>
                  <a:gd name="connsiteY46" fmla="*/ 590550 h 4333875"/>
                  <a:gd name="connsiteX47" fmla="*/ 3810000 w 8601075"/>
                  <a:gd name="connsiteY47" fmla="*/ 514350 h 4333875"/>
                  <a:gd name="connsiteX48" fmla="*/ 3781425 w 8601075"/>
                  <a:gd name="connsiteY48" fmla="*/ 390525 h 4333875"/>
                  <a:gd name="connsiteX49" fmla="*/ 3771900 w 8601075"/>
                  <a:gd name="connsiteY49" fmla="*/ 352425 h 4333875"/>
                  <a:gd name="connsiteX50" fmla="*/ 3600450 w 8601075"/>
                  <a:gd name="connsiteY50" fmla="*/ 285750 h 4333875"/>
                  <a:gd name="connsiteX51" fmla="*/ 3533775 w 8601075"/>
                  <a:gd name="connsiteY51" fmla="*/ 314325 h 4333875"/>
                  <a:gd name="connsiteX52" fmla="*/ 3409950 w 8601075"/>
                  <a:gd name="connsiteY52" fmla="*/ 190500 h 4333875"/>
                  <a:gd name="connsiteX53" fmla="*/ 3257550 w 8601075"/>
                  <a:gd name="connsiteY53" fmla="*/ 180975 h 4333875"/>
                  <a:gd name="connsiteX54" fmla="*/ 3209925 w 8601075"/>
                  <a:gd name="connsiteY54" fmla="*/ 104775 h 4333875"/>
                  <a:gd name="connsiteX55" fmla="*/ 3152775 w 8601075"/>
                  <a:gd name="connsiteY55" fmla="*/ 104775 h 4333875"/>
                  <a:gd name="connsiteX56" fmla="*/ 2990850 w 8601075"/>
                  <a:gd name="connsiteY56" fmla="*/ 0 h 4333875"/>
                  <a:gd name="connsiteX57" fmla="*/ 2933700 w 8601075"/>
                  <a:gd name="connsiteY57" fmla="*/ 114300 h 4333875"/>
                  <a:gd name="connsiteX58" fmla="*/ 2867025 w 8601075"/>
                  <a:gd name="connsiteY58" fmla="*/ 171450 h 4333875"/>
                  <a:gd name="connsiteX59" fmla="*/ 2867025 w 8601075"/>
                  <a:gd name="connsiteY59" fmla="*/ 171450 h 4333875"/>
                  <a:gd name="connsiteX60" fmla="*/ 2800350 w 8601075"/>
                  <a:gd name="connsiteY60" fmla="*/ 257175 h 4333875"/>
                  <a:gd name="connsiteX61" fmla="*/ 2724150 w 8601075"/>
                  <a:gd name="connsiteY61" fmla="*/ 304800 h 4333875"/>
                  <a:gd name="connsiteX62" fmla="*/ 2705100 w 8601075"/>
                  <a:gd name="connsiteY62" fmla="*/ 466725 h 4333875"/>
                  <a:gd name="connsiteX63" fmla="*/ 2762250 w 8601075"/>
                  <a:gd name="connsiteY63" fmla="*/ 571500 h 4333875"/>
                  <a:gd name="connsiteX64" fmla="*/ 2800350 w 8601075"/>
                  <a:gd name="connsiteY64" fmla="*/ 628650 h 4333875"/>
                  <a:gd name="connsiteX65" fmla="*/ 2752725 w 8601075"/>
                  <a:gd name="connsiteY65" fmla="*/ 781050 h 4333875"/>
                  <a:gd name="connsiteX66" fmla="*/ 2686050 w 8601075"/>
                  <a:gd name="connsiteY66" fmla="*/ 857250 h 4333875"/>
                  <a:gd name="connsiteX67" fmla="*/ 2609850 w 8601075"/>
                  <a:gd name="connsiteY67" fmla="*/ 857250 h 4333875"/>
                  <a:gd name="connsiteX68" fmla="*/ 2514600 w 8601075"/>
                  <a:gd name="connsiteY68" fmla="*/ 914400 h 4333875"/>
                  <a:gd name="connsiteX69" fmla="*/ 2400300 w 8601075"/>
                  <a:gd name="connsiteY69" fmla="*/ 866775 h 4333875"/>
                  <a:gd name="connsiteX70" fmla="*/ 2305050 w 8601075"/>
                  <a:gd name="connsiteY70" fmla="*/ 809625 h 4333875"/>
                  <a:gd name="connsiteX71" fmla="*/ 2200275 w 8601075"/>
                  <a:gd name="connsiteY71" fmla="*/ 752475 h 4333875"/>
                  <a:gd name="connsiteX72" fmla="*/ 2105025 w 8601075"/>
                  <a:gd name="connsiteY72" fmla="*/ 762000 h 4333875"/>
                  <a:gd name="connsiteX73" fmla="*/ 1990725 w 8601075"/>
                  <a:gd name="connsiteY73" fmla="*/ 762000 h 4333875"/>
                  <a:gd name="connsiteX74" fmla="*/ 1885950 w 8601075"/>
                  <a:gd name="connsiteY74" fmla="*/ 742950 h 4333875"/>
                  <a:gd name="connsiteX75" fmla="*/ 1800225 w 8601075"/>
                  <a:gd name="connsiteY75" fmla="*/ 638175 h 4333875"/>
                  <a:gd name="connsiteX76" fmla="*/ 1809750 w 8601075"/>
                  <a:gd name="connsiteY76" fmla="*/ 495300 h 4333875"/>
                  <a:gd name="connsiteX77" fmla="*/ 1733550 w 8601075"/>
                  <a:gd name="connsiteY77" fmla="*/ 466725 h 4333875"/>
                  <a:gd name="connsiteX78" fmla="*/ 1485900 w 8601075"/>
                  <a:gd name="connsiteY78" fmla="*/ 419100 h 4333875"/>
                  <a:gd name="connsiteX79" fmla="*/ 1457325 w 8601075"/>
                  <a:gd name="connsiteY79" fmla="*/ 323850 h 4333875"/>
                  <a:gd name="connsiteX80" fmla="*/ 1457325 w 8601075"/>
                  <a:gd name="connsiteY80" fmla="*/ 323850 h 4333875"/>
                  <a:gd name="connsiteX81" fmla="*/ 1323975 w 8601075"/>
                  <a:gd name="connsiteY81" fmla="*/ 285750 h 4333875"/>
                  <a:gd name="connsiteX82" fmla="*/ 1266825 w 8601075"/>
                  <a:gd name="connsiteY82" fmla="*/ 352425 h 4333875"/>
                  <a:gd name="connsiteX83" fmla="*/ 1009650 w 8601075"/>
                  <a:gd name="connsiteY83" fmla="*/ 390525 h 4333875"/>
                  <a:gd name="connsiteX84" fmla="*/ 828675 w 8601075"/>
                  <a:gd name="connsiteY84" fmla="*/ 447675 h 4333875"/>
                  <a:gd name="connsiteX85" fmla="*/ 619125 w 8601075"/>
                  <a:gd name="connsiteY85" fmla="*/ 533400 h 4333875"/>
                  <a:gd name="connsiteX86" fmla="*/ 619125 w 8601075"/>
                  <a:gd name="connsiteY86" fmla="*/ 533400 h 4333875"/>
                  <a:gd name="connsiteX87" fmla="*/ 561975 w 8601075"/>
                  <a:gd name="connsiteY87" fmla="*/ 61912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295275 w 8601075"/>
                  <a:gd name="connsiteY91" fmla="*/ 657225 h 4333875"/>
                  <a:gd name="connsiteX92" fmla="*/ 180975 w 8601075"/>
                  <a:gd name="connsiteY92" fmla="*/ 638175 h 4333875"/>
                  <a:gd name="connsiteX93" fmla="*/ 180975 w 8601075"/>
                  <a:gd name="connsiteY93" fmla="*/ 638175 h 4333875"/>
                  <a:gd name="connsiteX94" fmla="*/ 57150 w 8601075"/>
                  <a:gd name="connsiteY94" fmla="*/ 733425 h 4333875"/>
                  <a:gd name="connsiteX95" fmla="*/ 19050 w 8601075"/>
                  <a:gd name="connsiteY95" fmla="*/ 790575 h 4333875"/>
                  <a:gd name="connsiteX96" fmla="*/ 0 w 8601075"/>
                  <a:gd name="connsiteY96" fmla="*/ 876300 h 4333875"/>
                  <a:gd name="connsiteX97" fmla="*/ 57150 w 8601075"/>
                  <a:gd name="connsiteY97" fmla="*/ 923925 h 4333875"/>
                  <a:gd name="connsiteX98" fmla="*/ 57150 w 8601075"/>
                  <a:gd name="connsiteY98" fmla="*/ 923925 h 4333875"/>
                  <a:gd name="connsiteX99" fmla="*/ 209550 w 8601075"/>
                  <a:gd name="connsiteY99" fmla="*/ 1114425 h 4333875"/>
                  <a:gd name="connsiteX100" fmla="*/ 209550 w 8601075"/>
                  <a:gd name="connsiteY100" fmla="*/ 1114425 h 4333875"/>
                  <a:gd name="connsiteX101" fmla="*/ 266700 w 8601075"/>
                  <a:gd name="connsiteY101" fmla="*/ 1295400 h 4333875"/>
                  <a:gd name="connsiteX102" fmla="*/ 409575 w 8601075"/>
                  <a:gd name="connsiteY102" fmla="*/ 1276350 h 4333875"/>
                  <a:gd name="connsiteX103" fmla="*/ 466725 w 8601075"/>
                  <a:gd name="connsiteY103" fmla="*/ 1362075 h 4333875"/>
                  <a:gd name="connsiteX104" fmla="*/ 542925 w 8601075"/>
                  <a:gd name="connsiteY104" fmla="*/ 1428750 h 4333875"/>
                  <a:gd name="connsiteX105" fmla="*/ 628650 w 8601075"/>
                  <a:gd name="connsiteY105" fmla="*/ 1571625 h 4333875"/>
                  <a:gd name="connsiteX106" fmla="*/ 628650 w 8601075"/>
                  <a:gd name="connsiteY106" fmla="*/ 1704975 h 4333875"/>
                  <a:gd name="connsiteX107" fmla="*/ 676275 w 8601075"/>
                  <a:gd name="connsiteY107" fmla="*/ 1771650 h 4333875"/>
                  <a:gd name="connsiteX108" fmla="*/ 657225 w 8601075"/>
                  <a:gd name="connsiteY108" fmla="*/ 2000250 h 4333875"/>
                  <a:gd name="connsiteX109" fmla="*/ 619125 w 8601075"/>
                  <a:gd name="connsiteY109" fmla="*/ 2095500 h 4333875"/>
                  <a:gd name="connsiteX110" fmla="*/ 542925 w 8601075"/>
                  <a:gd name="connsiteY110" fmla="*/ 2228850 h 4333875"/>
                  <a:gd name="connsiteX111" fmla="*/ 485775 w 8601075"/>
                  <a:gd name="connsiteY111" fmla="*/ 2362200 h 4333875"/>
                  <a:gd name="connsiteX112" fmla="*/ 552450 w 8601075"/>
                  <a:gd name="connsiteY112" fmla="*/ 2486025 h 4333875"/>
                  <a:gd name="connsiteX113" fmla="*/ 771525 w 8601075"/>
                  <a:gd name="connsiteY113" fmla="*/ 2571750 h 4333875"/>
                  <a:gd name="connsiteX114" fmla="*/ 866775 w 8601075"/>
                  <a:gd name="connsiteY114" fmla="*/ 2571750 h 4333875"/>
                  <a:gd name="connsiteX115" fmla="*/ 914400 w 8601075"/>
                  <a:gd name="connsiteY115" fmla="*/ 2638425 h 4333875"/>
                  <a:gd name="connsiteX116" fmla="*/ 1066800 w 8601075"/>
                  <a:gd name="connsiteY116" fmla="*/ 2638425 h 4333875"/>
                  <a:gd name="connsiteX117" fmla="*/ 1285875 w 8601075"/>
                  <a:gd name="connsiteY117" fmla="*/ 2705100 h 4333875"/>
                  <a:gd name="connsiteX118" fmla="*/ 1438275 w 8601075"/>
                  <a:gd name="connsiteY118" fmla="*/ 2838450 h 4333875"/>
                  <a:gd name="connsiteX119" fmla="*/ 1485900 w 8601075"/>
                  <a:gd name="connsiteY119" fmla="*/ 2914650 h 4333875"/>
                  <a:gd name="connsiteX120" fmla="*/ 1657350 w 8601075"/>
                  <a:gd name="connsiteY120" fmla="*/ 3038475 h 4333875"/>
                  <a:gd name="connsiteX121" fmla="*/ 1752600 w 8601075"/>
                  <a:gd name="connsiteY121" fmla="*/ 3057525 h 4333875"/>
                  <a:gd name="connsiteX122" fmla="*/ 1724025 w 8601075"/>
                  <a:gd name="connsiteY122" fmla="*/ 3143250 h 4333875"/>
                  <a:gd name="connsiteX123" fmla="*/ 1724025 w 8601075"/>
                  <a:gd name="connsiteY123" fmla="*/ 3143250 h 4333875"/>
                  <a:gd name="connsiteX124" fmla="*/ 1781175 w 8601075"/>
                  <a:gd name="connsiteY124" fmla="*/ 3181350 h 4333875"/>
                  <a:gd name="connsiteX125" fmla="*/ 1819275 w 8601075"/>
                  <a:gd name="connsiteY125" fmla="*/ 3362325 h 4333875"/>
                  <a:gd name="connsiteX126" fmla="*/ 1828800 w 8601075"/>
                  <a:gd name="connsiteY126" fmla="*/ 3457575 h 4333875"/>
                  <a:gd name="connsiteX127" fmla="*/ 1971675 w 8601075"/>
                  <a:gd name="connsiteY127" fmla="*/ 3590925 h 4333875"/>
                  <a:gd name="connsiteX128" fmla="*/ 1990725 w 8601075"/>
                  <a:gd name="connsiteY128" fmla="*/ 3714750 h 4333875"/>
                  <a:gd name="connsiteX129" fmla="*/ 2200275 w 8601075"/>
                  <a:gd name="connsiteY129" fmla="*/ 3695700 h 4333875"/>
                  <a:gd name="connsiteX130" fmla="*/ 2886075 w 8601075"/>
                  <a:gd name="connsiteY130" fmla="*/ 3886200 h 4333875"/>
                  <a:gd name="connsiteX131" fmla="*/ 3038475 w 8601075"/>
                  <a:gd name="connsiteY131" fmla="*/ 3819525 h 4333875"/>
                  <a:gd name="connsiteX132" fmla="*/ 3105150 w 8601075"/>
                  <a:gd name="connsiteY132" fmla="*/ 3867150 h 4333875"/>
                  <a:gd name="connsiteX133" fmla="*/ 3181350 w 8601075"/>
                  <a:gd name="connsiteY133" fmla="*/ 3800475 h 4333875"/>
                  <a:gd name="connsiteX134" fmla="*/ 3590925 w 8601075"/>
                  <a:gd name="connsiteY134" fmla="*/ 3943350 h 4333875"/>
                  <a:gd name="connsiteX135" fmla="*/ 3686175 w 8601075"/>
                  <a:gd name="connsiteY135" fmla="*/ 4057650 h 4333875"/>
                  <a:gd name="connsiteX136" fmla="*/ 3838575 w 8601075"/>
                  <a:gd name="connsiteY136" fmla="*/ 4057650 h 4333875"/>
                  <a:gd name="connsiteX137" fmla="*/ 4162425 w 8601075"/>
                  <a:gd name="connsiteY137" fmla="*/ 4248150 h 4333875"/>
                  <a:gd name="connsiteX138" fmla="*/ 4391025 w 8601075"/>
                  <a:gd name="connsiteY138" fmla="*/ 4200525 h 4333875"/>
                  <a:gd name="connsiteX139" fmla="*/ 4410075 w 8601075"/>
                  <a:gd name="connsiteY139" fmla="*/ 4305300 h 4333875"/>
                  <a:gd name="connsiteX140" fmla="*/ 4505325 w 8601075"/>
                  <a:gd name="connsiteY140" fmla="*/ 4276725 h 4333875"/>
                  <a:gd name="connsiteX141" fmla="*/ 4572000 w 8601075"/>
                  <a:gd name="connsiteY141" fmla="*/ 4333875 h 4333875"/>
                  <a:gd name="connsiteX142" fmla="*/ 4591050 w 8601075"/>
                  <a:gd name="connsiteY142" fmla="*/ 4248150 h 4333875"/>
                  <a:gd name="connsiteX143" fmla="*/ 5295900 w 8601075"/>
                  <a:gd name="connsiteY143" fmla="*/ 3924300 h 4333875"/>
                  <a:gd name="connsiteX144" fmla="*/ 5353050 w 8601075"/>
                  <a:gd name="connsiteY144" fmla="*/ 3990975 h 4333875"/>
                  <a:gd name="connsiteX145" fmla="*/ 5524500 w 8601075"/>
                  <a:gd name="connsiteY145" fmla="*/ 3914775 h 4333875"/>
                  <a:gd name="connsiteX146" fmla="*/ 5667375 w 8601075"/>
                  <a:gd name="connsiteY146" fmla="*/ 3962400 h 4333875"/>
                  <a:gd name="connsiteX147" fmla="*/ 5753100 w 8601075"/>
                  <a:gd name="connsiteY147" fmla="*/ 3924300 h 4333875"/>
                  <a:gd name="connsiteX148" fmla="*/ 5905500 w 8601075"/>
                  <a:gd name="connsiteY148" fmla="*/ 3943350 h 4333875"/>
                  <a:gd name="connsiteX149" fmla="*/ 6000750 w 8601075"/>
                  <a:gd name="connsiteY149" fmla="*/ 3800475 h 4333875"/>
                  <a:gd name="connsiteX150" fmla="*/ 6153150 w 8601075"/>
                  <a:gd name="connsiteY150" fmla="*/ 3781425 h 4333875"/>
                  <a:gd name="connsiteX151" fmla="*/ 6257925 w 8601075"/>
                  <a:gd name="connsiteY151" fmla="*/ 3581400 h 4333875"/>
                  <a:gd name="connsiteX152" fmla="*/ 6448425 w 8601075"/>
                  <a:gd name="connsiteY152" fmla="*/ 3448050 h 4333875"/>
                  <a:gd name="connsiteX153" fmla="*/ 6581775 w 8601075"/>
                  <a:gd name="connsiteY153" fmla="*/ 3276600 h 4333875"/>
                  <a:gd name="connsiteX154" fmla="*/ 6496050 w 8601075"/>
                  <a:gd name="connsiteY154" fmla="*/ 3228975 h 4333875"/>
                  <a:gd name="connsiteX155" fmla="*/ 6438900 w 8601075"/>
                  <a:gd name="connsiteY155" fmla="*/ 3162300 h 4333875"/>
                  <a:gd name="connsiteX156" fmla="*/ 6419850 w 8601075"/>
                  <a:gd name="connsiteY156" fmla="*/ 3105150 h 4333875"/>
                  <a:gd name="connsiteX157" fmla="*/ 6362700 w 8601075"/>
                  <a:gd name="connsiteY157" fmla="*/ 3076575 h 4333875"/>
                  <a:gd name="connsiteX158" fmla="*/ 6410325 w 8601075"/>
                  <a:gd name="connsiteY158" fmla="*/ 3019425 h 4333875"/>
                  <a:gd name="connsiteX159" fmla="*/ 6438900 w 8601075"/>
                  <a:gd name="connsiteY159" fmla="*/ 2819400 h 4333875"/>
                  <a:gd name="connsiteX160" fmla="*/ 6496050 w 8601075"/>
                  <a:gd name="connsiteY160" fmla="*/ 2762250 h 4333875"/>
                  <a:gd name="connsiteX161" fmla="*/ 6657975 w 8601075"/>
                  <a:gd name="connsiteY161" fmla="*/ 2752725 h 4333875"/>
                  <a:gd name="connsiteX162" fmla="*/ 6781800 w 8601075"/>
                  <a:gd name="connsiteY162" fmla="*/ 2838450 h 4333875"/>
                  <a:gd name="connsiteX163" fmla="*/ 7010400 w 8601075"/>
                  <a:gd name="connsiteY163" fmla="*/ 2838450 h 4333875"/>
                  <a:gd name="connsiteX164" fmla="*/ 7162800 w 8601075"/>
                  <a:gd name="connsiteY164" fmla="*/ 2705100 h 4333875"/>
                  <a:gd name="connsiteX165" fmla="*/ 7229475 w 8601075"/>
                  <a:gd name="connsiteY165" fmla="*/ 2590800 h 4333875"/>
                  <a:gd name="connsiteX166" fmla="*/ 7248525 w 8601075"/>
                  <a:gd name="connsiteY166" fmla="*/ 2524125 h 4333875"/>
                  <a:gd name="connsiteX167" fmla="*/ 7372350 w 8601075"/>
                  <a:gd name="connsiteY167" fmla="*/ 2543175 h 4333875"/>
                  <a:gd name="connsiteX168" fmla="*/ 7553325 w 8601075"/>
                  <a:gd name="connsiteY168" fmla="*/ 2447925 h 4333875"/>
                  <a:gd name="connsiteX169" fmla="*/ 7620000 w 8601075"/>
                  <a:gd name="connsiteY169" fmla="*/ 2324100 h 4333875"/>
                  <a:gd name="connsiteX170" fmla="*/ 7696200 w 8601075"/>
                  <a:gd name="connsiteY170" fmla="*/ 2314575 h 4333875"/>
                  <a:gd name="connsiteX171" fmla="*/ 7658100 w 8601075"/>
                  <a:gd name="connsiteY171" fmla="*/ 2257425 h 4333875"/>
                  <a:gd name="connsiteX172" fmla="*/ 7753350 w 8601075"/>
                  <a:gd name="connsiteY172" fmla="*/ 2057400 h 4333875"/>
                  <a:gd name="connsiteX173" fmla="*/ 7934325 w 8601075"/>
                  <a:gd name="connsiteY173" fmla="*/ 2028825 h 4333875"/>
                  <a:gd name="connsiteX174" fmla="*/ 7953375 w 8601075"/>
                  <a:gd name="connsiteY174" fmla="*/ 1952625 h 4333875"/>
                  <a:gd name="connsiteX175" fmla="*/ 7953375 w 8601075"/>
                  <a:gd name="connsiteY175" fmla="*/ 1952625 h 4333875"/>
                  <a:gd name="connsiteX176" fmla="*/ 8010525 w 8601075"/>
                  <a:gd name="connsiteY176" fmla="*/ 1895475 h 4333875"/>
                  <a:gd name="connsiteX177" fmla="*/ 8048625 w 8601075"/>
                  <a:gd name="connsiteY177" fmla="*/ 1971675 h 4333875"/>
                  <a:gd name="connsiteX178" fmla="*/ 8077200 w 8601075"/>
                  <a:gd name="connsiteY178" fmla="*/ 1885950 h 4333875"/>
                  <a:gd name="connsiteX179" fmla="*/ 8220075 w 8601075"/>
                  <a:gd name="connsiteY179" fmla="*/ 1847850 h 4333875"/>
                  <a:gd name="connsiteX180" fmla="*/ 8296275 w 8601075"/>
                  <a:gd name="connsiteY180" fmla="*/ 1809750 h 4333875"/>
                  <a:gd name="connsiteX181" fmla="*/ 8324850 w 8601075"/>
                  <a:gd name="connsiteY181" fmla="*/ 1790700 h 4333875"/>
                  <a:gd name="connsiteX182" fmla="*/ 8410575 w 8601075"/>
                  <a:gd name="connsiteY182" fmla="*/ 1847850 h 4333875"/>
                  <a:gd name="connsiteX183" fmla="*/ 8505825 w 8601075"/>
                  <a:gd name="connsiteY183" fmla="*/ 1781175 h 4333875"/>
                  <a:gd name="connsiteX184" fmla="*/ 8572500 w 8601075"/>
                  <a:gd name="connsiteY184" fmla="*/ 1809750 h 4333875"/>
                  <a:gd name="connsiteX185" fmla="*/ 8601075 w 8601075"/>
                  <a:gd name="connsiteY185" fmla="*/ 1704975 h 4333875"/>
                  <a:gd name="connsiteX186" fmla="*/ 8553450 w 8601075"/>
                  <a:gd name="connsiteY186" fmla="*/ 1676400 h 4333875"/>
                  <a:gd name="connsiteX187" fmla="*/ 8534400 w 8601075"/>
                  <a:gd name="connsiteY187" fmla="*/ 1609725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124825 w 8601075"/>
                  <a:gd name="connsiteY191" fmla="*/ 1352550 h 4333875"/>
                  <a:gd name="connsiteX192" fmla="*/ 7924800 w 8601075"/>
                  <a:gd name="connsiteY192" fmla="*/ 1362075 h 4333875"/>
                  <a:gd name="connsiteX193" fmla="*/ 7867650 w 8601075"/>
                  <a:gd name="connsiteY193" fmla="*/ 1457325 h 4333875"/>
                  <a:gd name="connsiteX194" fmla="*/ 7896225 w 8601075"/>
                  <a:gd name="connsiteY194" fmla="*/ 1476375 h 4333875"/>
                  <a:gd name="connsiteX195" fmla="*/ 7858125 w 8601075"/>
                  <a:gd name="connsiteY195" fmla="*/ 1533525 h 4333875"/>
                  <a:gd name="connsiteX196" fmla="*/ 7658100 w 8601075"/>
                  <a:gd name="connsiteY196" fmla="*/ 1447800 h 4333875"/>
                  <a:gd name="connsiteX197" fmla="*/ 7515225 w 8601075"/>
                  <a:gd name="connsiteY197" fmla="*/ 1495425 h 4333875"/>
                  <a:gd name="connsiteX198" fmla="*/ 7467600 w 8601075"/>
                  <a:gd name="connsiteY198" fmla="*/ 1581150 h 4333875"/>
                  <a:gd name="connsiteX199" fmla="*/ 7296150 w 8601075"/>
                  <a:gd name="connsiteY19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781425 w 8601075"/>
                  <a:gd name="connsiteY47" fmla="*/ 590550 h 4333875"/>
                  <a:gd name="connsiteX48" fmla="*/ 3810000 w 8601075"/>
                  <a:gd name="connsiteY48" fmla="*/ 514350 h 4333875"/>
                  <a:gd name="connsiteX49" fmla="*/ 3781425 w 8601075"/>
                  <a:gd name="connsiteY49" fmla="*/ 390525 h 4333875"/>
                  <a:gd name="connsiteX50" fmla="*/ 3771900 w 8601075"/>
                  <a:gd name="connsiteY50" fmla="*/ 352425 h 4333875"/>
                  <a:gd name="connsiteX51" fmla="*/ 3600450 w 8601075"/>
                  <a:gd name="connsiteY51" fmla="*/ 285750 h 4333875"/>
                  <a:gd name="connsiteX52" fmla="*/ 3533775 w 8601075"/>
                  <a:gd name="connsiteY52" fmla="*/ 314325 h 4333875"/>
                  <a:gd name="connsiteX53" fmla="*/ 3409950 w 8601075"/>
                  <a:gd name="connsiteY53" fmla="*/ 190500 h 4333875"/>
                  <a:gd name="connsiteX54" fmla="*/ 3257550 w 8601075"/>
                  <a:gd name="connsiteY54" fmla="*/ 180975 h 4333875"/>
                  <a:gd name="connsiteX55" fmla="*/ 3209925 w 8601075"/>
                  <a:gd name="connsiteY55" fmla="*/ 104775 h 4333875"/>
                  <a:gd name="connsiteX56" fmla="*/ 3152775 w 8601075"/>
                  <a:gd name="connsiteY56" fmla="*/ 104775 h 4333875"/>
                  <a:gd name="connsiteX57" fmla="*/ 2990850 w 8601075"/>
                  <a:gd name="connsiteY57" fmla="*/ 0 h 4333875"/>
                  <a:gd name="connsiteX58" fmla="*/ 2933700 w 8601075"/>
                  <a:gd name="connsiteY58" fmla="*/ 114300 h 4333875"/>
                  <a:gd name="connsiteX59" fmla="*/ 2867025 w 8601075"/>
                  <a:gd name="connsiteY59" fmla="*/ 171450 h 4333875"/>
                  <a:gd name="connsiteX60" fmla="*/ 2867025 w 8601075"/>
                  <a:gd name="connsiteY60" fmla="*/ 171450 h 4333875"/>
                  <a:gd name="connsiteX61" fmla="*/ 2800350 w 8601075"/>
                  <a:gd name="connsiteY61" fmla="*/ 257175 h 4333875"/>
                  <a:gd name="connsiteX62" fmla="*/ 2724150 w 8601075"/>
                  <a:gd name="connsiteY62" fmla="*/ 304800 h 4333875"/>
                  <a:gd name="connsiteX63" fmla="*/ 2705100 w 8601075"/>
                  <a:gd name="connsiteY63" fmla="*/ 466725 h 4333875"/>
                  <a:gd name="connsiteX64" fmla="*/ 2762250 w 8601075"/>
                  <a:gd name="connsiteY64" fmla="*/ 571500 h 4333875"/>
                  <a:gd name="connsiteX65" fmla="*/ 2800350 w 8601075"/>
                  <a:gd name="connsiteY65" fmla="*/ 628650 h 4333875"/>
                  <a:gd name="connsiteX66" fmla="*/ 2752725 w 8601075"/>
                  <a:gd name="connsiteY66" fmla="*/ 781050 h 4333875"/>
                  <a:gd name="connsiteX67" fmla="*/ 2686050 w 8601075"/>
                  <a:gd name="connsiteY67" fmla="*/ 857250 h 4333875"/>
                  <a:gd name="connsiteX68" fmla="*/ 2609850 w 8601075"/>
                  <a:gd name="connsiteY68" fmla="*/ 857250 h 4333875"/>
                  <a:gd name="connsiteX69" fmla="*/ 2514600 w 8601075"/>
                  <a:gd name="connsiteY69" fmla="*/ 914400 h 4333875"/>
                  <a:gd name="connsiteX70" fmla="*/ 2400300 w 8601075"/>
                  <a:gd name="connsiteY70" fmla="*/ 866775 h 4333875"/>
                  <a:gd name="connsiteX71" fmla="*/ 2305050 w 8601075"/>
                  <a:gd name="connsiteY71" fmla="*/ 809625 h 4333875"/>
                  <a:gd name="connsiteX72" fmla="*/ 2200275 w 8601075"/>
                  <a:gd name="connsiteY72" fmla="*/ 752475 h 4333875"/>
                  <a:gd name="connsiteX73" fmla="*/ 2105025 w 8601075"/>
                  <a:gd name="connsiteY73" fmla="*/ 762000 h 4333875"/>
                  <a:gd name="connsiteX74" fmla="*/ 1990725 w 8601075"/>
                  <a:gd name="connsiteY74" fmla="*/ 762000 h 4333875"/>
                  <a:gd name="connsiteX75" fmla="*/ 1885950 w 8601075"/>
                  <a:gd name="connsiteY75" fmla="*/ 742950 h 4333875"/>
                  <a:gd name="connsiteX76" fmla="*/ 1800225 w 8601075"/>
                  <a:gd name="connsiteY76" fmla="*/ 638175 h 4333875"/>
                  <a:gd name="connsiteX77" fmla="*/ 1809750 w 8601075"/>
                  <a:gd name="connsiteY77" fmla="*/ 495300 h 4333875"/>
                  <a:gd name="connsiteX78" fmla="*/ 1733550 w 8601075"/>
                  <a:gd name="connsiteY78" fmla="*/ 466725 h 4333875"/>
                  <a:gd name="connsiteX79" fmla="*/ 1485900 w 8601075"/>
                  <a:gd name="connsiteY79" fmla="*/ 419100 h 4333875"/>
                  <a:gd name="connsiteX80" fmla="*/ 1457325 w 8601075"/>
                  <a:gd name="connsiteY80" fmla="*/ 323850 h 4333875"/>
                  <a:gd name="connsiteX81" fmla="*/ 1457325 w 8601075"/>
                  <a:gd name="connsiteY81" fmla="*/ 323850 h 4333875"/>
                  <a:gd name="connsiteX82" fmla="*/ 1323975 w 8601075"/>
                  <a:gd name="connsiteY82" fmla="*/ 285750 h 4333875"/>
                  <a:gd name="connsiteX83" fmla="*/ 1266825 w 8601075"/>
                  <a:gd name="connsiteY83" fmla="*/ 352425 h 4333875"/>
                  <a:gd name="connsiteX84" fmla="*/ 1009650 w 8601075"/>
                  <a:gd name="connsiteY84" fmla="*/ 390525 h 4333875"/>
                  <a:gd name="connsiteX85" fmla="*/ 828675 w 8601075"/>
                  <a:gd name="connsiteY85" fmla="*/ 447675 h 4333875"/>
                  <a:gd name="connsiteX86" fmla="*/ 619125 w 8601075"/>
                  <a:gd name="connsiteY86" fmla="*/ 533400 h 4333875"/>
                  <a:gd name="connsiteX87" fmla="*/ 619125 w 8601075"/>
                  <a:gd name="connsiteY87" fmla="*/ 533400 h 4333875"/>
                  <a:gd name="connsiteX88" fmla="*/ 561975 w 8601075"/>
                  <a:gd name="connsiteY88" fmla="*/ 61912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295275 w 8601075"/>
                  <a:gd name="connsiteY92" fmla="*/ 657225 h 4333875"/>
                  <a:gd name="connsiteX93" fmla="*/ 180975 w 8601075"/>
                  <a:gd name="connsiteY93" fmla="*/ 638175 h 4333875"/>
                  <a:gd name="connsiteX94" fmla="*/ 180975 w 8601075"/>
                  <a:gd name="connsiteY94" fmla="*/ 638175 h 4333875"/>
                  <a:gd name="connsiteX95" fmla="*/ 57150 w 8601075"/>
                  <a:gd name="connsiteY95" fmla="*/ 733425 h 4333875"/>
                  <a:gd name="connsiteX96" fmla="*/ 19050 w 8601075"/>
                  <a:gd name="connsiteY96" fmla="*/ 790575 h 4333875"/>
                  <a:gd name="connsiteX97" fmla="*/ 0 w 8601075"/>
                  <a:gd name="connsiteY97" fmla="*/ 876300 h 4333875"/>
                  <a:gd name="connsiteX98" fmla="*/ 57150 w 8601075"/>
                  <a:gd name="connsiteY98" fmla="*/ 923925 h 4333875"/>
                  <a:gd name="connsiteX99" fmla="*/ 57150 w 8601075"/>
                  <a:gd name="connsiteY99" fmla="*/ 923925 h 4333875"/>
                  <a:gd name="connsiteX100" fmla="*/ 209550 w 8601075"/>
                  <a:gd name="connsiteY100" fmla="*/ 1114425 h 4333875"/>
                  <a:gd name="connsiteX101" fmla="*/ 209550 w 8601075"/>
                  <a:gd name="connsiteY101" fmla="*/ 1114425 h 4333875"/>
                  <a:gd name="connsiteX102" fmla="*/ 266700 w 8601075"/>
                  <a:gd name="connsiteY102" fmla="*/ 1295400 h 4333875"/>
                  <a:gd name="connsiteX103" fmla="*/ 409575 w 8601075"/>
                  <a:gd name="connsiteY103" fmla="*/ 1276350 h 4333875"/>
                  <a:gd name="connsiteX104" fmla="*/ 466725 w 8601075"/>
                  <a:gd name="connsiteY104" fmla="*/ 1362075 h 4333875"/>
                  <a:gd name="connsiteX105" fmla="*/ 542925 w 8601075"/>
                  <a:gd name="connsiteY105" fmla="*/ 1428750 h 4333875"/>
                  <a:gd name="connsiteX106" fmla="*/ 628650 w 8601075"/>
                  <a:gd name="connsiteY106" fmla="*/ 1571625 h 4333875"/>
                  <a:gd name="connsiteX107" fmla="*/ 628650 w 8601075"/>
                  <a:gd name="connsiteY107" fmla="*/ 1704975 h 4333875"/>
                  <a:gd name="connsiteX108" fmla="*/ 676275 w 8601075"/>
                  <a:gd name="connsiteY108" fmla="*/ 1771650 h 4333875"/>
                  <a:gd name="connsiteX109" fmla="*/ 657225 w 8601075"/>
                  <a:gd name="connsiteY109" fmla="*/ 2000250 h 4333875"/>
                  <a:gd name="connsiteX110" fmla="*/ 619125 w 8601075"/>
                  <a:gd name="connsiteY110" fmla="*/ 2095500 h 4333875"/>
                  <a:gd name="connsiteX111" fmla="*/ 542925 w 8601075"/>
                  <a:gd name="connsiteY111" fmla="*/ 2228850 h 4333875"/>
                  <a:gd name="connsiteX112" fmla="*/ 485775 w 8601075"/>
                  <a:gd name="connsiteY112" fmla="*/ 2362200 h 4333875"/>
                  <a:gd name="connsiteX113" fmla="*/ 552450 w 8601075"/>
                  <a:gd name="connsiteY113" fmla="*/ 2486025 h 4333875"/>
                  <a:gd name="connsiteX114" fmla="*/ 771525 w 8601075"/>
                  <a:gd name="connsiteY114" fmla="*/ 2571750 h 4333875"/>
                  <a:gd name="connsiteX115" fmla="*/ 866775 w 8601075"/>
                  <a:gd name="connsiteY115" fmla="*/ 2571750 h 4333875"/>
                  <a:gd name="connsiteX116" fmla="*/ 914400 w 8601075"/>
                  <a:gd name="connsiteY116" fmla="*/ 2638425 h 4333875"/>
                  <a:gd name="connsiteX117" fmla="*/ 1066800 w 8601075"/>
                  <a:gd name="connsiteY117" fmla="*/ 2638425 h 4333875"/>
                  <a:gd name="connsiteX118" fmla="*/ 1285875 w 8601075"/>
                  <a:gd name="connsiteY118" fmla="*/ 2705100 h 4333875"/>
                  <a:gd name="connsiteX119" fmla="*/ 1438275 w 8601075"/>
                  <a:gd name="connsiteY119" fmla="*/ 2838450 h 4333875"/>
                  <a:gd name="connsiteX120" fmla="*/ 1485900 w 8601075"/>
                  <a:gd name="connsiteY120" fmla="*/ 2914650 h 4333875"/>
                  <a:gd name="connsiteX121" fmla="*/ 1657350 w 8601075"/>
                  <a:gd name="connsiteY121" fmla="*/ 3038475 h 4333875"/>
                  <a:gd name="connsiteX122" fmla="*/ 1752600 w 8601075"/>
                  <a:gd name="connsiteY122" fmla="*/ 3057525 h 4333875"/>
                  <a:gd name="connsiteX123" fmla="*/ 1724025 w 8601075"/>
                  <a:gd name="connsiteY123" fmla="*/ 3143250 h 4333875"/>
                  <a:gd name="connsiteX124" fmla="*/ 1724025 w 8601075"/>
                  <a:gd name="connsiteY124" fmla="*/ 3143250 h 4333875"/>
                  <a:gd name="connsiteX125" fmla="*/ 1781175 w 8601075"/>
                  <a:gd name="connsiteY125" fmla="*/ 3181350 h 4333875"/>
                  <a:gd name="connsiteX126" fmla="*/ 1819275 w 8601075"/>
                  <a:gd name="connsiteY126" fmla="*/ 3362325 h 4333875"/>
                  <a:gd name="connsiteX127" fmla="*/ 1828800 w 8601075"/>
                  <a:gd name="connsiteY127" fmla="*/ 3457575 h 4333875"/>
                  <a:gd name="connsiteX128" fmla="*/ 1971675 w 8601075"/>
                  <a:gd name="connsiteY128" fmla="*/ 3590925 h 4333875"/>
                  <a:gd name="connsiteX129" fmla="*/ 1990725 w 8601075"/>
                  <a:gd name="connsiteY129" fmla="*/ 3714750 h 4333875"/>
                  <a:gd name="connsiteX130" fmla="*/ 2200275 w 8601075"/>
                  <a:gd name="connsiteY130" fmla="*/ 3695700 h 4333875"/>
                  <a:gd name="connsiteX131" fmla="*/ 2886075 w 8601075"/>
                  <a:gd name="connsiteY131" fmla="*/ 3886200 h 4333875"/>
                  <a:gd name="connsiteX132" fmla="*/ 3038475 w 8601075"/>
                  <a:gd name="connsiteY132" fmla="*/ 3819525 h 4333875"/>
                  <a:gd name="connsiteX133" fmla="*/ 3105150 w 8601075"/>
                  <a:gd name="connsiteY133" fmla="*/ 3867150 h 4333875"/>
                  <a:gd name="connsiteX134" fmla="*/ 3181350 w 8601075"/>
                  <a:gd name="connsiteY134" fmla="*/ 3800475 h 4333875"/>
                  <a:gd name="connsiteX135" fmla="*/ 3590925 w 8601075"/>
                  <a:gd name="connsiteY135" fmla="*/ 3943350 h 4333875"/>
                  <a:gd name="connsiteX136" fmla="*/ 3686175 w 8601075"/>
                  <a:gd name="connsiteY136" fmla="*/ 4057650 h 4333875"/>
                  <a:gd name="connsiteX137" fmla="*/ 3838575 w 8601075"/>
                  <a:gd name="connsiteY137" fmla="*/ 4057650 h 4333875"/>
                  <a:gd name="connsiteX138" fmla="*/ 4162425 w 8601075"/>
                  <a:gd name="connsiteY138" fmla="*/ 4248150 h 4333875"/>
                  <a:gd name="connsiteX139" fmla="*/ 4391025 w 8601075"/>
                  <a:gd name="connsiteY139" fmla="*/ 4200525 h 4333875"/>
                  <a:gd name="connsiteX140" fmla="*/ 4410075 w 8601075"/>
                  <a:gd name="connsiteY140" fmla="*/ 4305300 h 4333875"/>
                  <a:gd name="connsiteX141" fmla="*/ 4505325 w 8601075"/>
                  <a:gd name="connsiteY141" fmla="*/ 4276725 h 4333875"/>
                  <a:gd name="connsiteX142" fmla="*/ 4572000 w 8601075"/>
                  <a:gd name="connsiteY142" fmla="*/ 4333875 h 4333875"/>
                  <a:gd name="connsiteX143" fmla="*/ 4591050 w 8601075"/>
                  <a:gd name="connsiteY143" fmla="*/ 4248150 h 4333875"/>
                  <a:gd name="connsiteX144" fmla="*/ 5295900 w 8601075"/>
                  <a:gd name="connsiteY144" fmla="*/ 3924300 h 4333875"/>
                  <a:gd name="connsiteX145" fmla="*/ 5353050 w 8601075"/>
                  <a:gd name="connsiteY145" fmla="*/ 3990975 h 4333875"/>
                  <a:gd name="connsiteX146" fmla="*/ 5524500 w 8601075"/>
                  <a:gd name="connsiteY146" fmla="*/ 3914775 h 4333875"/>
                  <a:gd name="connsiteX147" fmla="*/ 5667375 w 8601075"/>
                  <a:gd name="connsiteY147" fmla="*/ 3962400 h 4333875"/>
                  <a:gd name="connsiteX148" fmla="*/ 5753100 w 8601075"/>
                  <a:gd name="connsiteY148" fmla="*/ 3924300 h 4333875"/>
                  <a:gd name="connsiteX149" fmla="*/ 5905500 w 8601075"/>
                  <a:gd name="connsiteY149" fmla="*/ 3943350 h 4333875"/>
                  <a:gd name="connsiteX150" fmla="*/ 6000750 w 8601075"/>
                  <a:gd name="connsiteY150" fmla="*/ 3800475 h 4333875"/>
                  <a:gd name="connsiteX151" fmla="*/ 6153150 w 8601075"/>
                  <a:gd name="connsiteY151" fmla="*/ 3781425 h 4333875"/>
                  <a:gd name="connsiteX152" fmla="*/ 6257925 w 8601075"/>
                  <a:gd name="connsiteY152" fmla="*/ 3581400 h 4333875"/>
                  <a:gd name="connsiteX153" fmla="*/ 6448425 w 8601075"/>
                  <a:gd name="connsiteY153" fmla="*/ 3448050 h 4333875"/>
                  <a:gd name="connsiteX154" fmla="*/ 6581775 w 8601075"/>
                  <a:gd name="connsiteY154" fmla="*/ 3276600 h 4333875"/>
                  <a:gd name="connsiteX155" fmla="*/ 6496050 w 8601075"/>
                  <a:gd name="connsiteY155" fmla="*/ 3228975 h 4333875"/>
                  <a:gd name="connsiteX156" fmla="*/ 6438900 w 8601075"/>
                  <a:gd name="connsiteY156" fmla="*/ 3162300 h 4333875"/>
                  <a:gd name="connsiteX157" fmla="*/ 6419850 w 8601075"/>
                  <a:gd name="connsiteY157" fmla="*/ 3105150 h 4333875"/>
                  <a:gd name="connsiteX158" fmla="*/ 6362700 w 8601075"/>
                  <a:gd name="connsiteY158" fmla="*/ 3076575 h 4333875"/>
                  <a:gd name="connsiteX159" fmla="*/ 6410325 w 8601075"/>
                  <a:gd name="connsiteY159" fmla="*/ 3019425 h 4333875"/>
                  <a:gd name="connsiteX160" fmla="*/ 6438900 w 8601075"/>
                  <a:gd name="connsiteY160" fmla="*/ 2819400 h 4333875"/>
                  <a:gd name="connsiteX161" fmla="*/ 6496050 w 8601075"/>
                  <a:gd name="connsiteY161" fmla="*/ 2762250 h 4333875"/>
                  <a:gd name="connsiteX162" fmla="*/ 6657975 w 8601075"/>
                  <a:gd name="connsiteY162" fmla="*/ 2752725 h 4333875"/>
                  <a:gd name="connsiteX163" fmla="*/ 6781800 w 8601075"/>
                  <a:gd name="connsiteY163" fmla="*/ 2838450 h 4333875"/>
                  <a:gd name="connsiteX164" fmla="*/ 7010400 w 8601075"/>
                  <a:gd name="connsiteY164" fmla="*/ 2838450 h 4333875"/>
                  <a:gd name="connsiteX165" fmla="*/ 7162800 w 8601075"/>
                  <a:gd name="connsiteY165" fmla="*/ 2705100 h 4333875"/>
                  <a:gd name="connsiteX166" fmla="*/ 7229475 w 8601075"/>
                  <a:gd name="connsiteY166" fmla="*/ 2590800 h 4333875"/>
                  <a:gd name="connsiteX167" fmla="*/ 7248525 w 8601075"/>
                  <a:gd name="connsiteY167" fmla="*/ 2524125 h 4333875"/>
                  <a:gd name="connsiteX168" fmla="*/ 7372350 w 8601075"/>
                  <a:gd name="connsiteY168" fmla="*/ 2543175 h 4333875"/>
                  <a:gd name="connsiteX169" fmla="*/ 7553325 w 8601075"/>
                  <a:gd name="connsiteY169" fmla="*/ 2447925 h 4333875"/>
                  <a:gd name="connsiteX170" fmla="*/ 7620000 w 8601075"/>
                  <a:gd name="connsiteY170" fmla="*/ 2324100 h 4333875"/>
                  <a:gd name="connsiteX171" fmla="*/ 7696200 w 8601075"/>
                  <a:gd name="connsiteY171" fmla="*/ 2314575 h 4333875"/>
                  <a:gd name="connsiteX172" fmla="*/ 7658100 w 8601075"/>
                  <a:gd name="connsiteY172" fmla="*/ 2257425 h 4333875"/>
                  <a:gd name="connsiteX173" fmla="*/ 7753350 w 8601075"/>
                  <a:gd name="connsiteY173" fmla="*/ 2057400 h 4333875"/>
                  <a:gd name="connsiteX174" fmla="*/ 7934325 w 8601075"/>
                  <a:gd name="connsiteY174" fmla="*/ 2028825 h 4333875"/>
                  <a:gd name="connsiteX175" fmla="*/ 7953375 w 8601075"/>
                  <a:gd name="connsiteY175" fmla="*/ 1952625 h 4333875"/>
                  <a:gd name="connsiteX176" fmla="*/ 7953375 w 8601075"/>
                  <a:gd name="connsiteY176" fmla="*/ 1952625 h 4333875"/>
                  <a:gd name="connsiteX177" fmla="*/ 8010525 w 8601075"/>
                  <a:gd name="connsiteY177" fmla="*/ 1895475 h 4333875"/>
                  <a:gd name="connsiteX178" fmla="*/ 8048625 w 8601075"/>
                  <a:gd name="connsiteY178" fmla="*/ 1971675 h 4333875"/>
                  <a:gd name="connsiteX179" fmla="*/ 8077200 w 8601075"/>
                  <a:gd name="connsiteY179" fmla="*/ 1885950 h 4333875"/>
                  <a:gd name="connsiteX180" fmla="*/ 8220075 w 8601075"/>
                  <a:gd name="connsiteY180" fmla="*/ 1847850 h 4333875"/>
                  <a:gd name="connsiteX181" fmla="*/ 8296275 w 8601075"/>
                  <a:gd name="connsiteY181" fmla="*/ 1809750 h 4333875"/>
                  <a:gd name="connsiteX182" fmla="*/ 8324850 w 8601075"/>
                  <a:gd name="connsiteY182" fmla="*/ 1790700 h 4333875"/>
                  <a:gd name="connsiteX183" fmla="*/ 8410575 w 8601075"/>
                  <a:gd name="connsiteY183" fmla="*/ 1847850 h 4333875"/>
                  <a:gd name="connsiteX184" fmla="*/ 8505825 w 8601075"/>
                  <a:gd name="connsiteY184" fmla="*/ 1781175 h 4333875"/>
                  <a:gd name="connsiteX185" fmla="*/ 8572500 w 8601075"/>
                  <a:gd name="connsiteY185" fmla="*/ 1809750 h 4333875"/>
                  <a:gd name="connsiteX186" fmla="*/ 8601075 w 8601075"/>
                  <a:gd name="connsiteY186" fmla="*/ 1704975 h 4333875"/>
                  <a:gd name="connsiteX187" fmla="*/ 8553450 w 8601075"/>
                  <a:gd name="connsiteY187" fmla="*/ 1676400 h 4333875"/>
                  <a:gd name="connsiteX188" fmla="*/ 8534400 w 8601075"/>
                  <a:gd name="connsiteY188" fmla="*/ 1609725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124825 w 8601075"/>
                  <a:gd name="connsiteY192" fmla="*/ 1352550 h 4333875"/>
                  <a:gd name="connsiteX193" fmla="*/ 7924800 w 8601075"/>
                  <a:gd name="connsiteY193" fmla="*/ 1362075 h 4333875"/>
                  <a:gd name="connsiteX194" fmla="*/ 7867650 w 8601075"/>
                  <a:gd name="connsiteY194" fmla="*/ 1457325 h 4333875"/>
                  <a:gd name="connsiteX195" fmla="*/ 7896225 w 8601075"/>
                  <a:gd name="connsiteY195" fmla="*/ 1476375 h 4333875"/>
                  <a:gd name="connsiteX196" fmla="*/ 7858125 w 8601075"/>
                  <a:gd name="connsiteY196" fmla="*/ 1533525 h 4333875"/>
                  <a:gd name="connsiteX197" fmla="*/ 7658100 w 8601075"/>
                  <a:gd name="connsiteY197" fmla="*/ 1447800 h 4333875"/>
                  <a:gd name="connsiteX198" fmla="*/ 7515225 w 8601075"/>
                  <a:gd name="connsiteY198" fmla="*/ 1495425 h 4333875"/>
                  <a:gd name="connsiteX199" fmla="*/ 7467600 w 8601075"/>
                  <a:gd name="connsiteY199" fmla="*/ 1581150 h 4333875"/>
                  <a:gd name="connsiteX200" fmla="*/ 7296150 w 8601075"/>
                  <a:gd name="connsiteY20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10000 w 8601075"/>
                  <a:gd name="connsiteY48" fmla="*/ 514350 h 4333875"/>
                  <a:gd name="connsiteX49" fmla="*/ 3781425 w 8601075"/>
                  <a:gd name="connsiteY49" fmla="*/ 390525 h 4333875"/>
                  <a:gd name="connsiteX50" fmla="*/ 3771900 w 8601075"/>
                  <a:gd name="connsiteY50" fmla="*/ 352425 h 4333875"/>
                  <a:gd name="connsiteX51" fmla="*/ 3600450 w 8601075"/>
                  <a:gd name="connsiteY51" fmla="*/ 285750 h 4333875"/>
                  <a:gd name="connsiteX52" fmla="*/ 3533775 w 8601075"/>
                  <a:gd name="connsiteY52" fmla="*/ 314325 h 4333875"/>
                  <a:gd name="connsiteX53" fmla="*/ 3409950 w 8601075"/>
                  <a:gd name="connsiteY53" fmla="*/ 190500 h 4333875"/>
                  <a:gd name="connsiteX54" fmla="*/ 3257550 w 8601075"/>
                  <a:gd name="connsiteY54" fmla="*/ 180975 h 4333875"/>
                  <a:gd name="connsiteX55" fmla="*/ 3209925 w 8601075"/>
                  <a:gd name="connsiteY55" fmla="*/ 104775 h 4333875"/>
                  <a:gd name="connsiteX56" fmla="*/ 3152775 w 8601075"/>
                  <a:gd name="connsiteY56" fmla="*/ 104775 h 4333875"/>
                  <a:gd name="connsiteX57" fmla="*/ 2990850 w 8601075"/>
                  <a:gd name="connsiteY57" fmla="*/ 0 h 4333875"/>
                  <a:gd name="connsiteX58" fmla="*/ 2933700 w 8601075"/>
                  <a:gd name="connsiteY58" fmla="*/ 114300 h 4333875"/>
                  <a:gd name="connsiteX59" fmla="*/ 2867025 w 8601075"/>
                  <a:gd name="connsiteY59" fmla="*/ 171450 h 4333875"/>
                  <a:gd name="connsiteX60" fmla="*/ 2867025 w 8601075"/>
                  <a:gd name="connsiteY60" fmla="*/ 171450 h 4333875"/>
                  <a:gd name="connsiteX61" fmla="*/ 2800350 w 8601075"/>
                  <a:gd name="connsiteY61" fmla="*/ 257175 h 4333875"/>
                  <a:gd name="connsiteX62" fmla="*/ 2724150 w 8601075"/>
                  <a:gd name="connsiteY62" fmla="*/ 304800 h 4333875"/>
                  <a:gd name="connsiteX63" fmla="*/ 2705100 w 8601075"/>
                  <a:gd name="connsiteY63" fmla="*/ 466725 h 4333875"/>
                  <a:gd name="connsiteX64" fmla="*/ 2762250 w 8601075"/>
                  <a:gd name="connsiteY64" fmla="*/ 571500 h 4333875"/>
                  <a:gd name="connsiteX65" fmla="*/ 2800350 w 8601075"/>
                  <a:gd name="connsiteY65" fmla="*/ 628650 h 4333875"/>
                  <a:gd name="connsiteX66" fmla="*/ 2752725 w 8601075"/>
                  <a:gd name="connsiteY66" fmla="*/ 781050 h 4333875"/>
                  <a:gd name="connsiteX67" fmla="*/ 2686050 w 8601075"/>
                  <a:gd name="connsiteY67" fmla="*/ 857250 h 4333875"/>
                  <a:gd name="connsiteX68" fmla="*/ 2609850 w 8601075"/>
                  <a:gd name="connsiteY68" fmla="*/ 857250 h 4333875"/>
                  <a:gd name="connsiteX69" fmla="*/ 2514600 w 8601075"/>
                  <a:gd name="connsiteY69" fmla="*/ 914400 h 4333875"/>
                  <a:gd name="connsiteX70" fmla="*/ 2400300 w 8601075"/>
                  <a:gd name="connsiteY70" fmla="*/ 866775 h 4333875"/>
                  <a:gd name="connsiteX71" fmla="*/ 2305050 w 8601075"/>
                  <a:gd name="connsiteY71" fmla="*/ 809625 h 4333875"/>
                  <a:gd name="connsiteX72" fmla="*/ 2200275 w 8601075"/>
                  <a:gd name="connsiteY72" fmla="*/ 752475 h 4333875"/>
                  <a:gd name="connsiteX73" fmla="*/ 2105025 w 8601075"/>
                  <a:gd name="connsiteY73" fmla="*/ 762000 h 4333875"/>
                  <a:gd name="connsiteX74" fmla="*/ 1990725 w 8601075"/>
                  <a:gd name="connsiteY74" fmla="*/ 762000 h 4333875"/>
                  <a:gd name="connsiteX75" fmla="*/ 1885950 w 8601075"/>
                  <a:gd name="connsiteY75" fmla="*/ 742950 h 4333875"/>
                  <a:gd name="connsiteX76" fmla="*/ 1800225 w 8601075"/>
                  <a:gd name="connsiteY76" fmla="*/ 638175 h 4333875"/>
                  <a:gd name="connsiteX77" fmla="*/ 1809750 w 8601075"/>
                  <a:gd name="connsiteY77" fmla="*/ 495300 h 4333875"/>
                  <a:gd name="connsiteX78" fmla="*/ 1733550 w 8601075"/>
                  <a:gd name="connsiteY78" fmla="*/ 466725 h 4333875"/>
                  <a:gd name="connsiteX79" fmla="*/ 1485900 w 8601075"/>
                  <a:gd name="connsiteY79" fmla="*/ 419100 h 4333875"/>
                  <a:gd name="connsiteX80" fmla="*/ 1457325 w 8601075"/>
                  <a:gd name="connsiteY80" fmla="*/ 323850 h 4333875"/>
                  <a:gd name="connsiteX81" fmla="*/ 1457325 w 8601075"/>
                  <a:gd name="connsiteY81" fmla="*/ 323850 h 4333875"/>
                  <a:gd name="connsiteX82" fmla="*/ 1323975 w 8601075"/>
                  <a:gd name="connsiteY82" fmla="*/ 285750 h 4333875"/>
                  <a:gd name="connsiteX83" fmla="*/ 1266825 w 8601075"/>
                  <a:gd name="connsiteY83" fmla="*/ 352425 h 4333875"/>
                  <a:gd name="connsiteX84" fmla="*/ 1009650 w 8601075"/>
                  <a:gd name="connsiteY84" fmla="*/ 390525 h 4333875"/>
                  <a:gd name="connsiteX85" fmla="*/ 828675 w 8601075"/>
                  <a:gd name="connsiteY85" fmla="*/ 447675 h 4333875"/>
                  <a:gd name="connsiteX86" fmla="*/ 619125 w 8601075"/>
                  <a:gd name="connsiteY86" fmla="*/ 533400 h 4333875"/>
                  <a:gd name="connsiteX87" fmla="*/ 619125 w 8601075"/>
                  <a:gd name="connsiteY87" fmla="*/ 533400 h 4333875"/>
                  <a:gd name="connsiteX88" fmla="*/ 561975 w 8601075"/>
                  <a:gd name="connsiteY88" fmla="*/ 61912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295275 w 8601075"/>
                  <a:gd name="connsiteY92" fmla="*/ 657225 h 4333875"/>
                  <a:gd name="connsiteX93" fmla="*/ 180975 w 8601075"/>
                  <a:gd name="connsiteY93" fmla="*/ 638175 h 4333875"/>
                  <a:gd name="connsiteX94" fmla="*/ 180975 w 8601075"/>
                  <a:gd name="connsiteY94" fmla="*/ 638175 h 4333875"/>
                  <a:gd name="connsiteX95" fmla="*/ 57150 w 8601075"/>
                  <a:gd name="connsiteY95" fmla="*/ 733425 h 4333875"/>
                  <a:gd name="connsiteX96" fmla="*/ 19050 w 8601075"/>
                  <a:gd name="connsiteY96" fmla="*/ 790575 h 4333875"/>
                  <a:gd name="connsiteX97" fmla="*/ 0 w 8601075"/>
                  <a:gd name="connsiteY97" fmla="*/ 876300 h 4333875"/>
                  <a:gd name="connsiteX98" fmla="*/ 57150 w 8601075"/>
                  <a:gd name="connsiteY98" fmla="*/ 923925 h 4333875"/>
                  <a:gd name="connsiteX99" fmla="*/ 57150 w 8601075"/>
                  <a:gd name="connsiteY99" fmla="*/ 923925 h 4333875"/>
                  <a:gd name="connsiteX100" fmla="*/ 209550 w 8601075"/>
                  <a:gd name="connsiteY100" fmla="*/ 1114425 h 4333875"/>
                  <a:gd name="connsiteX101" fmla="*/ 209550 w 8601075"/>
                  <a:gd name="connsiteY101" fmla="*/ 1114425 h 4333875"/>
                  <a:gd name="connsiteX102" fmla="*/ 266700 w 8601075"/>
                  <a:gd name="connsiteY102" fmla="*/ 1295400 h 4333875"/>
                  <a:gd name="connsiteX103" fmla="*/ 409575 w 8601075"/>
                  <a:gd name="connsiteY103" fmla="*/ 1276350 h 4333875"/>
                  <a:gd name="connsiteX104" fmla="*/ 466725 w 8601075"/>
                  <a:gd name="connsiteY104" fmla="*/ 1362075 h 4333875"/>
                  <a:gd name="connsiteX105" fmla="*/ 542925 w 8601075"/>
                  <a:gd name="connsiteY105" fmla="*/ 1428750 h 4333875"/>
                  <a:gd name="connsiteX106" fmla="*/ 628650 w 8601075"/>
                  <a:gd name="connsiteY106" fmla="*/ 1571625 h 4333875"/>
                  <a:gd name="connsiteX107" fmla="*/ 628650 w 8601075"/>
                  <a:gd name="connsiteY107" fmla="*/ 1704975 h 4333875"/>
                  <a:gd name="connsiteX108" fmla="*/ 676275 w 8601075"/>
                  <a:gd name="connsiteY108" fmla="*/ 1771650 h 4333875"/>
                  <a:gd name="connsiteX109" fmla="*/ 657225 w 8601075"/>
                  <a:gd name="connsiteY109" fmla="*/ 2000250 h 4333875"/>
                  <a:gd name="connsiteX110" fmla="*/ 619125 w 8601075"/>
                  <a:gd name="connsiteY110" fmla="*/ 2095500 h 4333875"/>
                  <a:gd name="connsiteX111" fmla="*/ 542925 w 8601075"/>
                  <a:gd name="connsiteY111" fmla="*/ 2228850 h 4333875"/>
                  <a:gd name="connsiteX112" fmla="*/ 485775 w 8601075"/>
                  <a:gd name="connsiteY112" fmla="*/ 2362200 h 4333875"/>
                  <a:gd name="connsiteX113" fmla="*/ 552450 w 8601075"/>
                  <a:gd name="connsiteY113" fmla="*/ 2486025 h 4333875"/>
                  <a:gd name="connsiteX114" fmla="*/ 771525 w 8601075"/>
                  <a:gd name="connsiteY114" fmla="*/ 2571750 h 4333875"/>
                  <a:gd name="connsiteX115" fmla="*/ 866775 w 8601075"/>
                  <a:gd name="connsiteY115" fmla="*/ 2571750 h 4333875"/>
                  <a:gd name="connsiteX116" fmla="*/ 914400 w 8601075"/>
                  <a:gd name="connsiteY116" fmla="*/ 2638425 h 4333875"/>
                  <a:gd name="connsiteX117" fmla="*/ 1066800 w 8601075"/>
                  <a:gd name="connsiteY117" fmla="*/ 2638425 h 4333875"/>
                  <a:gd name="connsiteX118" fmla="*/ 1285875 w 8601075"/>
                  <a:gd name="connsiteY118" fmla="*/ 2705100 h 4333875"/>
                  <a:gd name="connsiteX119" fmla="*/ 1438275 w 8601075"/>
                  <a:gd name="connsiteY119" fmla="*/ 2838450 h 4333875"/>
                  <a:gd name="connsiteX120" fmla="*/ 1485900 w 8601075"/>
                  <a:gd name="connsiteY120" fmla="*/ 2914650 h 4333875"/>
                  <a:gd name="connsiteX121" fmla="*/ 1657350 w 8601075"/>
                  <a:gd name="connsiteY121" fmla="*/ 3038475 h 4333875"/>
                  <a:gd name="connsiteX122" fmla="*/ 1752600 w 8601075"/>
                  <a:gd name="connsiteY122" fmla="*/ 3057525 h 4333875"/>
                  <a:gd name="connsiteX123" fmla="*/ 1724025 w 8601075"/>
                  <a:gd name="connsiteY123" fmla="*/ 3143250 h 4333875"/>
                  <a:gd name="connsiteX124" fmla="*/ 1724025 w 8601075"/>
                  <a:gd name="connsiteY124" fmla="*/ 3143250 h 4333875"/>
                  <a:gd name="connsiteX125" fmla="*/ 1781175 w 8601075"/>
                  <a:gd name="connsiteY125" fmla="*/ 3181350 h 4333875"/>
                  <a:gd name="connsiteX126" fmla="*/ 1819275 w 8601075"/>
                  <a:gd name="connsiteY126" fmla="*/ 3362325 h 4333875"/>
                  <a:gd name="connsiteX127" fmla="*/ 1828800 w 8601075"/>
                  <a:gd name="connsiteY127" fmla="*/ 3457575 h 4333875"/>
                  <a:gd name="connsiteX128" fmla="*/ 1971675 w 8601075"/>
                  <a:gd name="connsiteY128" fmla="*/ 3590925 h 4333875"/>
                  <a:gd name="connsiteX129" fmla="*/ 1990725 w 8601075"/>
                  <a:gd name="connsiteY129" fmla="*/ 3714750 h 4333875"/>
                  <a:gd name="connsiteX130" fmla="*/ 2200275 w 8601075"/>
                  <a:gd name="connsiteY130" fmla="*/ 3695700 h 4333875"/>
                  <a:gd name="connsiteX131" fmla="*/ 2886075 w 8601075"/>
                  <a:gd name="connsiteY131" fmla="*/ 3886200 h 4333875"/>
                  <a:gd name="connsiteX132" fmla="*/ 3038475 w 8601075"/>
                  <a:gd name="connsiteY132" fmla="*/ 3819525 h 4333875"/>
                  <a:gd name="connsiteX133" fmla="*/ 3105150 w 8601075"/>
                  <a:gd name="connsiteY133" fmla="*/ 3867150 h 4333875"/>
                  <a:gd name="connsiteX134" fmla="*/ 3181350 w 8601075"/>
                  <a:gd name="connsiteY134" fmla="*/ 3800475 h 4333875"/>
                  <a:gd name="connsiteX135" fmla="*/ 3590925 w 8601075"/>
                  <a:gd name="connsiteY135" fmla="*/ 3943350 h 4333875"/>
                  <a:gd name="connsiteX136" fmla="*/ 3686175 w 8601075"/>
                  <a:gd name="connsiteY136" fmla="*/ 4057650 h 4333875"/>
                  <a:gd name="connsiteX137" fmla="*/ 3838575 w 8601075"/>
                  <a:gd name="connsiteY137" fmla="*/ 4057650 h 4333875"/>
                  <a:gd name="connsiteX138" fmla="*/ 4162425 w 8601075"/>
                  <a:gd name="connsiteY138" fmla="*/ 4248150 h 4333875"/>
                  <a:gd name="connsiteX139" fmla="*/ 4391025 w 8601075"/>
                  <a:gd name="connsiteY139" fmla="*/ 4200525 h 4333875"/>
                  <a:gd name="connsiteX140" fmla="*/ 4410075 w 8601075"/>
                  <a:gd name="connsiteY140" fmla="*/ 4305300 h 4333875"/>
                  <a:gd name="connsiteX141" fmla="*/ 4505325 w 8601075"/>
                  <a:gd name="connsiteY141" fmla="*/ 4276725 h 4333875"/>
                  <a:gd name="connsiteX142" fmla="*/ 4572000 w 8601075"/>
                  <a:gd name="connsiteY142" fmla="*/ 4333875 h 4333875"/>
                  <a:gd name="connsiteX143" fmla="*/ 4591050 w 8601075"/>
                  <a:gd name="connsiteY143" fmla="*/ 4248150 h 4333875"/>
                  <a:gd name="connsiteX144" fmla="*/ 5295900 w 8601075"/>
                  <a:gd name="connsiteY144" fmla="*/ 3924300 h 4333875"/>
                  <a:gd name="connsiteX145" fmla="*/ 5353050 w 8601075"/>
                  <a:gd name="connsiteY145" fmla="*/ 3990975 h 4333875"/>
                  <a:gd name="connsiteX146" fmla="*/ 5524500 w 8601075"/>
                  <a:gd name="connsiteY146" fmla="*/ 3914775 h 4333875"/>
                  <a:gd name="connsiteX147" fmla="*/ 5667375 w 8601075"/>
                  <a:gd name="connsiteY147" fmla="*/ 3962400 h 4333875"/>
                  <a:gd name="connsiteX148" fmla="*/ 5753100 w 8601075"/>
                  <a:gd name="connsiteY148" fmla="*/ 3924300 h 4333875"/>
                  <a:gd name="connsiteX149" fmla="*/ 5905500 w 8601075"/>
                  <a:gd name="connsiteY149" fmla="*/ 3943350 h 4333875"/>
                  <a:gd name="connsiteX150" fmla="*/ 6000750 w 8601075"/>
                  <a:gd name="connsiteY150" fmla="*/ 3800475 h 4333875"/>
                  <a:gd name="connsiteX151" fmla="*/ 6153150 w 8601075"/>
                  <a:gd name="connsiteY151" fmla="*/ 3781425 h 4333875"/>
                  <a:gd name="connsiteX152" fmla="*/ 6257925 w 8601075"/>
                  <a:gd name="connsiteY152" fmla="*/ 3581400 h 4333875"/>
                  <a:gd name="connsiteX153" fmla="*/ 6448425 w 8601075"/>
                  <a:gd name="connsiteY153" fmla="*/ 3448050 h 4333875"/>
                  <a:gd name="connsiteX154" fmla="*/ 6581775 w 8601075"/>
                  <a:gd name="connsiteY154" fmla="*/ 3276600 h 4333875"/>
                  <a:gd name="connsiteX155" fmla="*/ 6496050 w 8601075"/>
                  <a:gd name="connsiteY155" fmla="*/ 3228975 h 4333875"/>
                  <a:gd name="connsiteX156" fmla="*/ 6438900 w 8601075"/>
                  <a:gd name="connsiteY156" fmla="*/ 3162300 h 4333875"/>
                  <a:gd name="connsiteX157" fmla="*/ 6419850 w 8601075"/>
                  <a:gd name="connsiteY157" fmla="*/ 3105150 h 4333875"/>
                  <a:gd name="connsiteX158" fmla="*/ 6362700 w 8601075"/>
                  <a:gd name="connsiteY158" fmla="*/ 3076575 h 4333875"/>
                  <a:gd name="connsiteX159" fmla="*/ 6410325 w 8601075"/>
                  <a:gd name="connsiteY159" fmla="*/ 3019425 h 4333875"/>
                  <a:gd name="connsiteX160" fmla="*/ 6438900 w 8601075"/>
                  <a:gd name="connsiteY160" fmla="*/ 2819400 h 4333875"/>
                  <a:gd name="connsiteX161" fmla="*/ 6496050 w 8601075"/>
                  <a:gd name="connsiteY161" fmla="*/ 2762250 h 4333875"/>
                  <a:gd name="connsiteX162" fmla="*/ 6657975 w 8601075"/>
                  <a:gd name="connsiteY162" fmla="*/ 2752725 h 4333875"/>
                  <a:gd name="connsiteX163" fmla="*/ 6781800 w 8601075"/>
                  <a:gd name="connsiteY163" fmla="*/ 2838450 h 4333875"/>
                  <a:gd name="connsiteX164" fmla="*/ 7010400 w 8601075"/>
                  <a:gd name="connsiteY164" fmla="*/ 2838450 h 4333875"/>
                  <a:gd name="connsiteX165" fmla="*/ 7162800 w 8601075"/>
                  <a:gd name="connsiteY165" fmla="*/ 2705100 h 4333875"/>
                  <a:gd name="connsiteX166" fmla="*/ 7229475 w 8601075"/>
                  <a:gd name="connsiteY166" fmla="*/ 2590800 h 4333875"/>
                  <a:gd name="connsiteX167" fmla="*/ 7248525 w 8601075"/>
                  <a:gd name="connsiteY167" fmla="*/ 2524125 h 4333875"/>
                  <a:gd name="connsiteX168" fmla="*/ 7372350 w 8601075"/>
                  <a:gd name="connsiteY168" fmla="*/ 2543175 h 4333875"/>
                  <a:gd name="connsiteX169" fmla="*/ 7553325 w 8601075"/>
                  <a:gd name="connsiteY169" fmla="*/ 2447925 h 4333875"/>
                  <a:gd name="connsiteX170" fmla="*/ 7620000 w 8601075"/>
                  <a:gd name="connsiteY170" fmla="*/ 2324100 h 4333875"/>
                  <a:gd name="connsiteX171" fmla="*/ 7696200 w 8601075"/>
                  <a:gd name="connsiteY171" fmla="*/ 2314575 h 4333875"/>
                  <a:gd name="connsiteX172" fmla="*/ 7658100 w 8601075"/>
                  <a:gd name="connsiteY172" fmla="*/ 2257425 h 4333875"/>
                  <a:gd name="connsiteX173" fmla="*/ 7753350 w 8601075"/>
                  <a:gd name="connsiteY173" fmla="*/ 2057400 h 4333875"/>
                  <a:gd name="connsiteX174" fmla="*/ 7934325 w 8601075"/>
                  <a:gd name="connsiteY174" fmla="*/ 2028825 h 4333875"/>
                  <a:gd name="connsiteX175" fmla="*/ 7953375 w 8601075"/>
                  <a:gd name="connsiteY175" fmla="*/ 1952625 h 4333875"/>
                  <a:gd name="connsiteX176" fmla="*/ 7953375 w 8601075"/>
                  <a:gd name="connsiteY176" fmla="*/ 1952625 h 4333875"/>
                  <a:gd name="connsiteX177" fmla="*/ 8010525 w 8601075"/>
                  <a:gd name="connsiteY177" fmla="*/ 1895475 h 4333875"/>
                  <a:gd name="connsiteX178" fmla="*/ 8048625 w 8601075"/>
                  <a:gd name="connsiteY178" fmla="*/ 1971675 h 4333875"/>
                  <a:gd name="connsiteX179" fmla="*/ 8077200 w 8601075"/>
                  <a:gd name="connsiteY179" fmla="*/ 1885950 h 4333875"/>
                  <a:gd name="connsiteX180" fmla="*/ 8220075 w 8601075"/>
                  <a:gd name="connsiteY180" fmla="*/ 1847850 h 4333875"/>
                  <a:gd name="connsiteX181" fmla="*/ 8296275 w 8601075"/>
                  <a:gd name="connsiteY181" fmla="*/ 1809750 h 4333875"/>
                  <a:gd name="connsiteX182" fmla="*/ 8324850 w 8601075"/>
                  <a:gd name="connsiteY182" fmla="*/ 1790700 h 4333875"/>
                  <a:gd name="connsiteX183" fmla="*/ 8410575 w 8601075"/>
                  <a:gd name="connsiteY183" fmla="*/ 1847850 h 4333875"/>
                  <a:gd name="connsiteX184" fmla="*/ 8505825 w 8601075"/>
                  <a:gd name="connsiteY184" fmla="*/ 1781175 h 4333875"/>
                  <a:gd name="connsiteX185" fmla="*/ 8572500 w 8601075"/>
                  <a:gd name="connsiteY185" fmla="*/ 1809750 h 4333875"/>
                  <a:gd name="connsiteX186" fmla="*/ 8601075 w 8601075"/>
                  <a:gd name="connsiteY186" fmla="*/ 1704975 h 4333875"/>
                  <a:gd name="connsiteX187" fmla="*/ 8553450 w 8601075"/>
                  <a:gd name="connsiteY187" fmla="*/ 1676400 h 4333875"/>
                  <a:gd name="connsiteX188" fmla="*/ 8534400 w 8601075"/>
                  <a:gd name="connsiteY188" fmla="*/ 1609725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124825 w 8601075"/>
                  <a:gd name="connsiteY192" fmla="*/ 1352550 h 4333875"/>
                  <a:gd name="connsiteX193" fmla="*/ 7924800 w 8601075"/>
                  <a:gd name="connsiteY193" fmla="*/ 1362075 h 4333875"/>
                  <a:gd name="connsiteX194" fmla="*/ 7867650 w 8601075"/>
                  <a:gd name="connsiteY194" fmla="*/ 1457325 h 4333875"/>
                  <a:gd name="connsiteX195" fmla="*/ 7896225 w 8601075"/>
                  <a:gd name="connsiteY195" fmla="*/ 1476375 h 4333875"/>
                  <a:gd name="connsiteX196" fmla="*/ 7858125 w 8601075"/>
                  <a:gd name="connsiteY196" fmla="*/ 1533525 h 4333875"/>
                  <a:gd name="connsiteX197" fmla="*/ 7658100 w 8601075"/>
                  <a:gd name="connsiteY197" fmla="*/ 1447800 h 4333875"/>
                  <a:gd name="connsiteX198" fmla="*/ 7515225 w 8601075"/>
                  <a:gd name="connsiteY198" fmla="*/ 1495425 h 4333875"/>
                  <a:gd name="connsiteX199" fmla="*/ 7467600 w 8601075"/>
                  <a:gd name="connsiteY199" fmla="*/ 1581150 h 4333875"/>
                  <a:gd name="connsiteX200" fmla="*/ 7296150 w 8601075"/>
                  <a:gd name="connsiteY20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0000 w 8601075"/>
                  <a:gd name="connsiteY49" fmla="*/ 514350 h 4333875"/>
                  <a:gd name="connsiteX50" fmla="*/ 3781425 w 8601075"/>
                  <a:gd name="connsiteY50" fmla="*/ 390525 h 4333875"/>
                  <a:gd name="connsiteX51" fmla="*/ 3771900 w 8601075"/>
                  <a:gd name="connsiteY51" fmla="*/ 352425 h 4333875"/>
                  <a:gd name="connsiteX52" fmla="*/ 3600450 w 8601075"/>
                  <a:gd name="connsiteY52" fmla="*/ 285750 h 4333875"/>
                  <a:gd name="connsiteX53" fmla="*/ 3533775 w 8601075"/>
                  <a:gd name="connsiteY53" fmla="*/ 314325 h 4333875"/>
                  <a:gd name="connsiteX54" fmla="*/ 3409950 w 8601075"/>
                  <a:gd name="connsiteY54" fmla="*/ 190500 h 4333875"/>
                  <a:gd name="connsiteX55" fmla="*/ 3257550 w 8601075"/>
                  <a:gd name="connsiteY55" fmla="*/ 180975 h 4333875"/>
                  <a:gd name="connsiteX56" fmla="*/ 3209925 w 8601075"/>
                  <a:gd name="connsiteY56" fmla="*/ 104775 h 4333875"/>
                  <a:gd name="connsiteX57" fmla="*/ 3152775 w 8601075"/>
                  <a:gd name="connsiteY57" fmla="*/ 104775 h 4333875"/>
                  <a:gd name="connsiteX58" fmla="*/ 2990850 w 8601075"/>
                  <a:gd name="connsiteY58" fmla="*/ 0 h 4333875"/>
                  <a:gd name="connsiteX59" fmla="*/ 2933700 w 8601075"/>
                  <a:gd name="connsiteY59" fmla="*/ 114300 h 4333875"/>
                  <a:gd name="connsiteX60" fmla="*/ 2867025 w 8601075"/>
                  <a:gd name="connsiteY60" fmla="*/ 171450 h 4333875"/>
                  <a:gd name="connsiteX61" fmla="*/ 2867025 w 8601075"/>
                  <a:gd name="connsiteY61" fmla="*/ 171450 h 4333875"/>
                  <a:gd name="connsiteX62" fmla="*/ 2800350 w 8601075"/>
                  <a:gd name="connsiteY62" fmla="*/ 257175 h 4333875"/>
                  <a:gd name="connsiteX63" fmla="*/ 2724150 w 8601075"/>
                  <a:gd name="connsiteY63" fmla="*/ 304800 h 4333875"/>
                  <a:gd name="connsiteX64" fmla="*/ 2705100 w 8601075"/>
                  <a:gd name="connsiteY64" fmla="*/ 466725 h 4333875"/>
                  <a:gd name="connsiteX65" fmla="*/ 2762250 w 8601075"/>
                  <a:gd name="connsiteY65" fmla="*/ 571500 h 4333875"/>
                  <a:gd name="connsiteX66" fmla="*/ 2800350 w 8601075"/>
                  <a:gd name="connsiteY66" fmla="*/ 628650 h 4333875"/>
                  <a:gd name="connsiteX67" fmla="*/ 2752725 w 8601075"/>
                  <a:gd name="connsiteY67" fmla="*/ 781050 h 4333875"/>
                  <a:gd name="connsiteX68" fmla="*/ 2686050 w 8601075"/>
                  <a:gd name="connsiteY68" fmla="*/ 857250 h 4333875"/>
                  <a:gd name="connsiteX69" fmla="*/ 2609850 w 8601075"/>
                  <a:gd name="connsiteY69" fmla="*/ 857250 h 4333875"/>
                  <a:gd name="connsiteX70" fmla="*/ 2514600 w 8601075"/>
                  <a:gd name="connsiteY70" fmla="*/ 914400 h 4333875"/>
                  <a:gd name="connsiteX71" fmla="*/ 2400300 w 8601075"/>
                  <a:gd name="connsiteY71" fmla="*/ 866775 h 4333875"/>
                  <a:gd name="connsiteX72" fmla="*/ 2305050 w 8601075"/>
                  <a:gd name="connsiteY72" fmla="*/ 809625 h 4333875"/>
                  <a:gd name="connsiteX73" fmla="*/ 2200275 w 8601075"/>
                  <a:gd name="connsiteY73" fmla="*/ 752475 h 4333875"/>
                  <a:gd name="connsiteX74" fmla="*/ 2105025 w 8601075"/>
                  <a:gd name="connsiteY74" fmla="*/ 762000 h 4333875"/>
                  <a:gd name="connsiteX75" fmla="*/ 1990725 w 8601075"/>
                  <a:gd name="connsiteY75" fmla="*/ 762000 h 4333875"/>
                  <a:gd name="connsiteX76" fmla="*/ 1885950 w 8601075"/>
                  <a:gd name="connsiteY76" fmla="*/ 742950 h 4333875"/>
                  <a:gd name="connsiteX77" fmla="*/ 1800225 w 8601075"/>
                  <a:gd name="connsiteY77" fmla="*/ 638175 h 4333875"/>
                  <a:gd name="connsiteX78" fmla="*/ 1809750 w 8601075"/>
                  <a:gd name="connsiteY78" fmla="*/ 495300 h 4333875"/>
                  <a:gd name="connsiteX79" fmla="*/ 1733550 w 8601075"/>
                  <a:gd name="connsiteY79" fmla="*/ 466725 h 4333875"/>
                  <a:gd name="connsiteX80" fmla="*/ 1485900 w 8601075"/>
                  <a:gd name="connsiteY80" fmla="*/ 419100 h 4333875"/>
                  <a:gd name="connsiteX81" fmla="*/ 1457325 w 8601075"/>
                  <a:gd name="connsiteY81" fmla="*/ 323850 h 4333875"/>
                  <a:gd name="connsiteX82" fmla="*/ 1457325 w 8601075"/>
                  <a:gd name="connsiteY82" fmla="*/ 323850 h 4333875"/>
                  <a:gd name="connsiteX83" fmla="*/ 1323975 w 8601075"/>
                  <a:gd name="connsiteY83" fmla="*/ 285750 h 4333875"/>
                  <a:gd name="connsiteX84" fmla="*/ 1266825 w 8601075"/>
                  <a:gd name="connsiteY84" fmla="*/ 352425 h 4333875"/>
                  <a:gd name="connsiteX85" fmla="*/ 1009650 w 8601075"/>
                  <a:gd name="connsiteY85" fmla="*/ 390525 h 4333875"/>
                  <a:gd name="connsiteX86" fmla="*/ 828675 w 8601075"/>
                  <a:gd name="connsiteY86" fmla="*/ 447675 h 4333875"/>
                  <a:gd name="connsiteX87" fmla="*/ 619125 w 8601075"/>
                  <a:gd name="connsiteY87" fmla="*/ 533400 h 4333875"/>
                  <a:gd name="connsiteX88" fmla="*/ 619125 w 8601075"/>
                  <a:gd name="connsiteY88" fmla="*/ 533400 h 4333875"/>
                  <a:gd name="connsiteX89" fmla="*/ 561975 w 8601075"/>
                  <a:gd name="connsiteY89" fmla="*/ 61912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295275 w 8601075"/>
                  <a:gd name="connsiteY93" fmla="*/ 657225 h 4333875"/>
                  <a:gd name="connsiteX94" fmla="*/ 180975 w 8601075"/>
                  <a:gd name="connsiteY94" fmla="*/ 638175 h 4333875"/>
                  <a:gd name="connsiteX95" fmla="*/ 180975 w 8601075"/>
                  <a:gd name="connsiteY95" fmla="*/ 638175 h 4333875"/>
                  <a:gd name="connsiteX96" fmla="*/ 57150 w 8601075"/>
                  <a:gd name="connsiteY96" fmla="*/ 733425 h 4333875"/>
                  <a:gd name="connsiteX97" fmla="*/ 19050 w 8601075"/>
                  <a:gd name="connsiteY97" fmla="*/ 790575 h 4333875"/>
                  <a:gd name="connsiteX98" fmla="*/ 0 w 8601075"/>
                  <a:gd name="connsiteY98" fmla="*/ 876300 h 4333875"/>
                  <a:gd name="connsiteX99" fmla="*/ 57150 w 8601075"/>
                  <a:gd name="connsiteY99" fmla="*/ 923925 h 4333875"/>
                  <a:gd name="connsiteX100" fmla="*/ 57150 w 8601075"/>
                  <a:gd name="connsiteY100" fmla="*/ 923925 h 4333875"/>
                  <a:gd name="connsiteX101" fmla="*/ 209550 w 8601075"/>
                  <a:gd name="connsiteY101" fmla="*/ 1114425 h 4333875"/>
                  <a:gd name="connsiteX102" fmla="*/ 209550 w 8601075"/>
                  <a:gd name="connsiteY102" fmla="*/ 1114425 h 4333875"/>
                  <a:gd name="connsiteX103" fmla="*/ 266700 w 8601075"/>
                  <a:gd name="connsiteY103" fmla="*/ 1295400 h 4333875"/>
                  <a:gd name="connsiteX104" fmla="*/ 409575 w 8601075"/>
                  <a:gd name="connsiteY104" fmla="*/ 1276350 h 4333875"/>
                  <a:gd name="connsiteX105" fmla="*/ 466725 w 8601075"/>
                  <a:gd name="connsiteY105" fmla="*/ 1362075 h 4333875"/>
                  <a:gd name="connsiteX106" fmla="*/ 542925 w 8601075"/>
                  <a:gd name="connsiteY106" fmla="*/ 1428750 h 4333875"/>
                  <a:gd name="connsiteX107" fmla="*/ 628650 w 8601075"/>
                  <a:gd name="connsiteY107" fmla="*/ 1571625 h 4333875"/>
                  <a:gd name="connsiteX108" fmla="*/ 628650 w 8601075"/>
                  <a:gd name="connsiteY108" fmla="*/ 1704975 h 4333875"/>
                  <a:gd name="connsiteX109" fmla="*/ 676275 w 8601075"/>
                  <a:gd name="connsiteY109" fmla="*/ 1771650 h 4333875"/>
                  <a:gd name="connsiteX110" fmla="*/ 657225 w 8601075"/>
                  <a:gd name="connsiteY110" fmla="*/ 2000250 h 4333875"/>
                  <a:gd name="connsiteX111" fmla="*/ 619125 w 8601075"/>
                  <a:gd name="connsiteY111" fmla="*/ 2095500 h 4333875"/>
                  <a:gd name="connsiteX112" fmla="*/ 542925 w 8601075"/>
                  <a:gd name="connsiteY112" fmla="*/ 2228850 h 4333875"/>
                  <a:gd name="connsiteX113" fmla="*/ 485775 w 8601075"/>
                  <a:gd name="connsiteY113" fmla="*/ 2362200 h 4333875"/>
                  <a:gd name="connsiteX114" fmla="*/ 552450 w 8601075"/>
                  <a:gd name="connsiteY114" fmla="*/ 2486025 h 4333875"/>
                  <a:gd name="connsiteX115" fmla="*/ 771525 w 8601075"/>
                  <a:gd name="connsiteY115" fmla="*/ 2571750 h 4333875"/>
                  <a:gd name="connsiteX116" fmla="*/ 866775 w 8601075"/>
                  <a:gd name="connsiteY116" fmla="*/ 2571750 h 4333875"/>
                  <a:gd name="connsiteX117" fmla="*/ 914400 w 8601075"/>
                  <a:gd name="connsiteY117" fmla="*/ 2638425 h 4333875"/>
                  <a:gd name="connsiteX118" fmla="*/ 1066800 w 8601075"/>
                  <a:gd name="connsiteY118" fmla="*/ 2638425 h 4333875"/>
                  <a:gd name="connsiteX119" fmla="*/ 1285875 w 8601075"/>
                  <a:gd name="connsiteY119" fmla="*/ 2705100 h 4333875"/>
                  <a:gd name="connsiteX120" fmla="*/ 1438275 w 8601075"/>
                  <a:gd name="connsiteY120" fmla="*/ 2838450 h 4333875"/>
                  <a:gd name="connsiteX121" fmla="*/ 1485900 w 8601075"/>
                  <a:gd name="connsiteY121" fmla="*/ 2914650 h 4333875"/>
                  <a:gd name="connsiteX122" fmla="*/ 1657350 w 8601075"/>
                  <a:gd name="connsiteY122" fmla="*/ 3038475 h 4333875"/>
                  <a:gd name="connsiteX123" fmla="*/ 1752600 w 8601075"/>
                  <a:gd name="connsiteY123" fmla="*/ 3057525 h 4333875"/>
                  <a:gd name="connsiteX124" fmla="*/ 1724025 w 8601075"/>
                  <a:gd name="connsiteY124" fmla="*/ 3143250 h 4333875"/>
                  <a:gd name="connsiteX125" fmla="*/ 1724025 w 8601075"/>
                  <a:gd name="connsiteY125" fmla="*/ 3143250 h 4333875"/>
                  <a:gd name="connsiteX126" fmla="*/ 1781175 w 8601075"/>
                  <a:gd name="connsiteY126" fmla="*/ 3181350 h 4333875"/>
                  <a:gd name="connsiteX127" fmla="*/ 1819275 w 8601075"/>
                  <a:gd name="connsiteY127" fmla="*/ 3362325 h 4333875"/>
                  <a:gd name="connsiteX128" fmla="*/ 1828800 w 8601075"/>
                  <a:gd name="connsiteY128" fmla="*/ 3457575 h 4333875"/>
                  <a:gd name="connsiteX129" fmla="*/ 1971675 w 8601075"/>
                  <a:gd name="connsiteY129" fmla="*/ 3590925 h 4333875"/>
                  <a:gd name="connsiteX130" fmla="*/ 1990725 w 8601075"/>
                  <a:gd name="connsiteY130" fmla="*/ 3714750 h 4333875"/>
                  <a:gd name="connsiteX131" fmla="*/ 2200275 w 8601075"/>
                  <a:gd name="connsiteY131" fmla="*/ 3695700 h 4333875"/>
                  <a:gd name="connsiteX132" fmla="*/ 2886075 w 8601075"/>
                  <a:gd name="connsiteY132" fmla="*/ 3886200 h 4333875"/>
                  <a:gd name="connsiteX133" fmla="*/ 3038475 w 8601075"/>
                  <a:gd name="connsiteY133" fmla="*/ 3819525 h 4333875"/>
                  <a:gd name="connsiteX134" fmla="*/ 3105150 w 8601075"/>
                  <a:gd name="connsiteY134" fmla="*/ 3867150 h 4333875"/>
                  <a:gd name="connsiteX135" fmla="*/ 3181350 w 8601075"/>
                  <a:gd name="connsiteY135" fmla="*/ 3800475 h 4333875"/>
                  <a:gd name="connsiteX136" fmla="*/ 3590925 w 8601075"/>
                  <a:gd name="connsiteY136" fmla="*/ 3943350 h 4333875"/>
                  <a:gd name="connsiteX137" fmla="*/ 3686175 w 8601075"/>
                  <a:gd name="connsiteY137" fmla="*/ 4057650 h 4333875"/>
                  <a:gd name="connsiteX138" fmla="*/ 3838575 w 8601075"/>
                  <a:gd name="connsiteY138" fmla="*/ 4057650 h 4333875"/>
                  <a:gd name="connsiteX139" fmla="*/ 4162425 w 8601075"/>
                  <a:gd name="connsiteY139" fmla="*/ 4248150 h 4333875"/>
                  <a:gd name="connsiteX140" fmla="*/ 4391025 w 8601075"/>
                  <a:gd name="connsiteY140" fmla="*/ 4200525 h 4333875"/>
                  <a:gd name="connsiteX141" fmla="*/ 4410075 w 8601075"/>
                  <a:gd name="connsiteY141" fmla="*/ 4305300 h 4333875"/>
                  <a:gd name="connsiteX142" fmla="*/ 4505325 w 8601075"/>
                  <a:gd name="connsiteY142" fmla="*/ 4276725 h 4333875"/>
                  <a:gd name="connsiteX143" fmla="*/ 4572000 w 8601075"/>
                  <a:gd name="connsiteY143" fmla="*/ 4333875 h 4333875"/>
                  <a:gd name="connsiteX144" fmla="*/ 4591050 w 8601075"/>
                  <a:gd name="connsiteY144" fmla="*/ 4248150 h 4333875"/>
                  <a:gd name="connsiteX145" fmla="*/ 5295900 w 8601075"/>
                  <a:gd name="connsiteY145" fmla="*/ 3924300 h 4333875"/>
                  <a:gd name="connsiteX146" fmla="*/ 5353050 w 8601075"/>
                  <a:gd name="connsiteY146" fmla="*/ 3990975 h 4333875"/>
                  <a:gd name="connsiteX147" fmla="*/ 5524500 w 8601075"/>
                  <a:gd name="connsiteY147" fmla="*/ 3914775 h 4333875"/>
                  <a:gd name="connsiteX148" fmla="*/ 5667375 w 8601075"/>
                  <a:gd name="connsiteY148" fmla="*/ 3962400 h 4333875"/>
                  <a:gd name="connsiteX149" fmla="*/ 5753100 w 8601075"/>
                  <a:gd name="connsiteY149" fmla="*/ 3924300 h 4333875"/>
                  <a:gd name="connsiteX150" fmla="*/ 5905500 w 8601075"/>
                  <a:gd name="connsiteY150" fmla="*/ 3943350 h 4333875"/>
                  <a:gd name="connsiteX151" fmla="*/ 6000750 w 8601075"/>
                  <a:gd name="connsiteY151" fmla="*/ 3800475 h 4333875"/>
                  <a:gd name="connsiteX152" fmla="*/ 6153150 w 8601075"/>
                  <a:gd name="connsiteY152" fmla="*/ 3781425 h 4333875"/>
                  <a:gd name="connsiteX153" fmla="*/ 6257925 w 8601075"/>
                  <a:gd name="connsiteY153" fmla="*/ 3581400 h 4333875"/>
                  <a:gd name="connsiteX154" fmla="*/ 6448425 w 8601075"/>
                  <a:gd name="connsiteY154" fmla="*/ 3448050 h 4333875"/>
                  <a:gd name="connsiteX155" fmla="*/ 6581775 w 8601075"/>
                  <a:gd name="connsiteY155" fmla="*/ 3276600 h 4333875"/>
                  <a:gd name="connsiteX156" fmla="*/ 6496050 w 8601075"/>
                  <a:gd name="connsiteY156" fmla="*/ 3228975 h 4333875"/>
                  <a:gd name="connsiteX157" fmla="*/ 6438900 w 8601075"/>
                  <a:gd name="connsiteY157" fmla="*/ 3162300 h 4333875"/>
                  <a:gd name="connsiteX158" fmla="*/ 6419850 w 8601075"/>
                  <a:gd name="connsiteY158" fmla="*/ 3105150 h 4333875"/>
                  <a:gd name="connsiteX159" fmla="*/ 6362700 w 8601075"/>
                  <a:gd name="connsiteY159" fmla="*/ 3076575 h 4333875"/>
                  <a:gd name="connsiteX160" fmla="*/ 6410325 w 8601075"/>
                  <a:gd name="connsiteY160" fmla="*/ 3019425 h 4333875"/>
                  <a:gd name="connsiteX161" fmla="*/ 6438900 w 8601075"/>
                  <a:gd name="connsiteY161" fmla="*/ 2819400 h 4333875"/>
                  <a:gd name="connsiteX162" fmla="*/ 6496050 w 8601075"/>
                  <a:gd name="connsiteY162" fmla="*/ 2762250 h 4333875"/>
                  <a:gd name="connsiteX163" fmla="*/ 6657975 w 8601075"/>
                  <a:gd name="connsiteY163" fmla="*/ 2752725 h 4333875"/>
                  <a:gd name="connsiteX164" fmla="*/ 6781800 w 8601075"/>
                  <a:gd name="connsiteY164" fmla="*/ 2838450 h 4333875"/>
                  <a:gd name="connsiteX165" fmla="*/ 7010400 w 8601075"/>
                  <a:gd name="connsiteY165" fmla="*/ 2838450 h 4333875"/>
                  <a:gd name="connsiteX166" fmla="*/ 7162800 w 8601075"/>
                  <a:gd name="connsiteY166" fmla="*/ 2705100 h 4333875"/>
                  <a:gd name="connsiteX167" fmla="*/ 7229475 w 8601075"/>
                  <a:gd name="connsiteY167" fmla="*/ 2590800 h 4333875"/>
                  <a:gd name="connsiteX168" fmla="*/ 7248525 w 8601075"/>
                  <a:gd name="connsiteY168" fmla="*/ 2524125 h 4333875"/>
                  <a:gd name="connsiteX169" fmla="*/ 7372350 w 8601075"/>
                  <a:gd name="connsiteY169" fmla="*/ 2543175 h 4333875"/>
                  <a:gd name="connsiteX170" fmla="*/ 7553325 w 8601075"/>
                  <a:gd name="connsiteY170" fmla="*/ 2447925 h 4333875"/>
                  <a:gd name="connsiteX171" fmla="*/ 7620000 w 8601075"/>
                  <a:gd name="connsiteY171" fmla="*/ 2324100 h 4333875"/>
                  <a:gd name="connsiteX172" fmla="*/ 7696200 w 8601075"/>
                  <a:gd name="connsiteY172" fmla="*/ 2314575 h 4333875"/>
                  <a:gd name="connsiteX173" fmla="*/ 7658100 w 8601075"/>
                  <a:gd name="connsiteY173" fmla="*/ 2257425 h 4333875"/>
                  <a:gd name="connsiteX174" fmla="*/ 7753350 w 8601075"/>
                  <a:gd name="connsiteY174" fmla="*/ 2057400 h 4333875"/>
                  <a:gd name="connsiteX175" fmla="*/ 7934325 w 8601075"/>
                  <a:gd name="connsiteY175" fmla="*/ 2028825 h 4333875"/>
                  <a:gd name="connsiteX176" fmla="*/ 7953375 w 8601075"/>
                  <a:gd name="connsiteY176" fmla="*/ 1952625 h 4333875"/>
                  <a:gd name="connsiteX177" fmla="*/ 7953375 w 8601075"/>
                  <a:gd name="connsiteY177" fmla="*/ 1952625 h 4333875"/>
                  <a:gd name="connsiteX178" fmla="*/ 8010525 w 8601075"/>
                  <a:gd name="connsiteY178" fmla="*/ 1895475 h 4333875"/>
                  <a:gd name="connsiteX179" fmla="*/ 8048625 w 8601075"/>
                  <a:gd name="connsiteY179" fmla="*/ 1971675 h 4333875"/>
                  <a:gd name="connsiteX180" fmla="*/ 8077200 w 8601075"/>
                  <a:gd name="connsiteY180" fmla="*/ 1885950 h 4333875"/>
                  <a:gd name="connsiteX181" fmla="*/ 8220075 w 8601075"/>
                  <a:gd name="connsiteY181" fmla="*/ 1847850 h 4333875"/>
                  <a:gd name="connsiteX182" fmla="*/ 8296275 w 8601075"/>
                  <a:gd name="connsiteY182" fmla="*/ 1809750 h 4333875"/>
                  <a:gd name="connsiteX183" fmla="*/ 8324850 w 8601075"/>
                  <a:gd name="connsiteY183" fmla="*/ 1790700 h 4333875"/>
                  <a:gd name="connsiteX184" fmla="*/ 8410575 w 8601075"/>
                  <a:gd name="connsiteY184" fmla="*/ 1847850 h 4333875"/>
                  <a:gd name="connsiteX185" fmla="*/ 8505825 w 8601075"/>
                  <a:gd name="connsiteY185" fmla="*/ 1781175 h 4333875"/>
                  <a:gd name="connsiteX186" fmla="*/ 8572500 w 8601075"/>
                  <a:gd name="connsiteY186" fmla="*/ 1809750 h 4333875"/>
                  <a:gd name="connsiteX187" fmla="*/ 8601075 w 8601075"/>
                  <a:gd name="connsiteY187" fmla="*/ 1704975 h 4333875"/>
                  <a:gd name="connsiteX188" fmla="*/ 8553450 w 8601075"/>
                  <a:gd name="connsiteY188" fmla="*/ 1676400 h 4333875"/>
                  <a:gd name="connsiteX189" fmla="*/ 8534400 w 8601075"/>
                  <a:gd name="connsiteY189" fmla="*/ 1609725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124825 w 8601075"/>
                  <a:gd name="connsiteY193" fmla="*/ 1352550 h 4333875"/>
                  <a:gd name="connsiteX194" fmla="*/ 7924800 w 8601075"/>
                  <a:gd name="connsiteY194" fmla="*/ 1362075 h 4333875"/>
                  <a:gd name="connsiteX195" fmla="*/ 7867650 w 8601075"/>
                  <a:gd name="connsiteY195" fmla="*/ 1457325 h 4333875"/>
                  <a:gd name="connsiteX196" fmla="*/ 7896225 w 8601075"/>
                  <a:gd name="connsiteY196" fmla="*/ 1476375 h 4333875"/>
                  <a:gd name="connsiteX197" fmla="*/ 7858125 w 8601075"/>
                  <a:gd name="connsiteY197" fmla="*/ 1533525 h 4333875"/>
                  <a:gd name="connsiteX198" fmla="*/ 7658100 w 8601075"/>
                  <a:gd name="connsiteY198" fmla="*/ 1447800 h 4333875"/>
                  <a:gd name="connsiteX199" fmla="*/ 7515225 w 8601075"/>
                  <a:gd name="connsiteY199" fmla="*/ 1495425 h 4333875"/>
                  <a:gd name="connsiteX200" fmla="*/ 7467600 w 8601075"/>
                  <a:gd name="connsiteY200" fmla="*/ 1581150 h 4333875"/>
                  <a:gd name="connsiteX201" fmla="*/ 7296150 w 8601075"/>
                  <a:gd name="connsiteY20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81425 w 8601075"/>
                  <a:gd name="connsiteY50" fmla="*/ 390525 h 4333875"/>
                  <a:gd name="connsiteX51" fmla="*/ 3771900 w 8601075"/>
                  <a:gd name="connsiteY51" fmla="*/ 352425 h 4333875"/>
                  <a:gd name="connsiteX52" fmla="*/ 3600450 w 8601075"/>
                  <a:gd name="connsiteY52" fmla="*/ 285750 h 4333875"/>
                  <a:gd name="connsiteX53" fmla="*/ 3533775 w 8601075"/>
                  <a:gd name="connsiteY53" fmla="*/ 314325 h 4333875"/>
                  <a:gd name="connsiteX54" fmla="*/ 3409950 w 8601075"/>
                  <a:gd name="connsiteY54" fmla="*/ 190500 h 4333875"/>
                  <a:gd name="connsiteX55" fmla="*/ 3257550 w 8601075"/>
                  <a:gd name="connsiteY55" fmla="*/ 180975 h 4333875"/>
                  <a:gd name="connsiteX56" fmla="*/ 3209925 w 8601075"/>
                  <a:gd name="connsiteY56" fmla="*/ 104775 h 4333875"/>
                  <a:gd name="connsiteX57" fmla="*/ 3152775 w 8601075"/>
                  <a:gd name="connsiteY57" fmla="*/ 104775 h 4333875"/>
                  <a:gd name="connsiteX58" fmla="*/ 2990850 w 8601075"/>
                  <a:gd name="connsiteY58" fmla="*/ 0 h 4333875"/>
                  <a:gd name="connsiteX59" fmla="*/ 2933700 w 8601075"/>
                  <a:gd name="connsiteY59" fmla="*/ 114300 h 4333875"/>
                  <a:gd name="connsiteX60" fmla="*/ 2867025 w 8601075"/>
                  <a:gd name="connsiteY60" fmla="*/ 171450 h 4333875"/>
                  <a:gd name="connsiteX61" fmla="*/ 2867025 w 8601075"/>
                  <a:gd name="connsiteY61" fmla="*/ 171450 h 4333875"/>
                  <a:gd name="connsiteX62" fmla="*/ 2800350 w 8601075"/>
                  <a:gd name="connsiteY62" fmla="*/ 257175 h 4333875"/>
                  <a:gd name="connsiteX63" fmla="*/ 2724150 w 8601075"/>
                  <a:gd name="connsiteY63" fmla="*/ 304800 h 4333875"/>
                  <a:gd name="connsiteX64" fmla="*/ 2705100 w 8601075"/>
                  <a:gd name="connsiteY64" fmla="*/ 466725 h 4333875"/>
                  <a:gd name="connsiteX65" fmla="*/ 2762250 w 8601075"/>
                  <a:gd name="connsiteY65" fmla="*/ 571500 h 4333875"/>
                  <a:gd name="connsiteX66" fmla="*/ 2800350 w 8601075"/>
                  <a:gd name="connsiteY66" fmla="*/ 628650 h 4333875"/>
                  <a:gd name="connsiteX67" fmla="*/ 2752725 w 8601075"/>
                  <a:gd name="connsiteY67" fmla="*/ 781050 h 4333875"/>
                  <a:gd name="connsiteX68" fmla="*/ 2686050 w 8601075"/>
                  <a:gd name="connsiteY68" fmla="*/ 857250 h 4333875"/>
                  <a:gd name="connsiteX69" fmla="*/ 2609850 w 8601075"/>
                  <a:gd name="connsiteY69" fmla="*/ 857250 h 4333875"/>
                  <a:gd name="connsiteX70" fmla="*/ 2514600 w 8601075"/>
                  <a:gd name="connsiteY70" fmla="*/ 914400 h 4333875"/>
                  <a:gd name="connsiteX71" fmla="*/ 2400300 w 8601075"/>
                  <a:gd name="connsiteY71" fmla="*/ 866775 h 4333875"/>
                  <a:gd name="connsiteX72" fmla="*/ 2305050 w 8601075"/>
                  <a:gd name="connsiteY72" fmla="*/ 809625 h 4333875"/>
                  <a:gd name="connsiteX73" fmla="*/ 2200275 w 8601075"/>
                  <a:gd name="connsiteY73" fmla="*/ 752475 h 4333875"/>
                  <a:gd name="connsiteX74" fmla="*/ 2105025 w 8601075"/>
                  <a:gd name="connsiteY74" fmla="*/ 762000 h 4333875"/>
                  <a:gd name="connsiteX75" fmla="*/ 1990725 w 8601075"/>
                  <a:gd name="connsiteY75" fmla="*/ 762000 h 4333875"/>
                  <a:gd name="connsiteX76" fmla="*/ 1885950 w 8601075"/>
                  <a:gd name="connsiteY76" fmla="*/ 742950 h 4333875"/>
                  <a:gd name="connsiteX77" fmla="*/ 1800225 w 8601075"/>
                  <a:gd name="connsiteY77" fmla="*/ 638175 h 4333875"/>
                  <a:gd name="connsiteX78" fmla="*/ 1809750 w 8601075"/>
                  <a:gd name="connsiteY78" fmla="*/ 495300 h 4333875"/>
                  <a:gd name="connsiteX79" fmla="*/ 1733550 w 8601075"/>
                  <a:gd name="connsiteY79" fmla="*/ 466725 h 4333875"/>
                  <a:gd name="connsiteX80" fmla="*/ 1485900 w 8601075"/>
                  <a:gd name="connsiteY80" fmla="*/ 419100 h 4333875"/>
                  <a:gd name="connsiteX81" fmla="*/ 1457325 w 8601075"/>
                  <a:gd name="connsiteY81" fmla="*/ 323850 h 4333875"/>
                  <a:gd name="connsiteX82" fmla="*/ 1457325 w 8601075"/>
                  <a:gd name="connsiteY82" fmla="*/ 323850 h 4333875"/>
                  <a:gd name="connsiteX83" fmla="*/ 1323975 w 8601075"/>
                  <a:gd name="connsiteY83" fmla="*/ 285750 h 4333875"/>
                  <a:gd name="connsiteX84" fmla="*/ 1266825 w 8601075"/>
                  <a:gd name="connsiteY84" fmla="*/ 352425 h 4333875"/>
                  <a:gd name="connsiteX85" fmla="*/ 1009650 w 8601075"/>
                  <a:gd name="connsiteY85" fmla="*/ 390525 h 4333875"/>
                  <a:gd name="connsiteX86" fmla="*/ 828675 w 8601075"/>
                  <a:gd name="connsiteY86" fmla="*/ 447675 h 4333875"/>
                  <a:gd name="connsiteX87" fmla="*/ 619125 w 8601075"/>
                  <a:gd name="connsiteY87" fmla="*/ 533400 h 4333875"/>
                  <a:gd name="connsiteX88" fmla="*/ 619125 w 8601075"/>
                  <a:gd name="connsiteY88" fmla="*/ 533400 h 4333875"/>
                  <a:gd name="connsiteX89" fmla="*/ 561975 w 8601075"/>
                  <a:gd name="connsiteY89" fmla="*/ 61912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295275 w 8601075"/>
                  <a:gd name="connsiteY93" fmla="*/ 657225 h 4333875"/>
                  <a:gd name="connsiteX94" fmla="*/ 180975 w 8601075"/>
                  <a:gd name="connsiteY94" fmla="*/ 638175 h 4333875"/>
                  <a:gd name="connsiteX95" fmla="*/ 180975 w 8601075"/>
                  <a:gd name="connsiteY95" fmla="*/ 638175 h 4333875"/>
                  <a:gd name="connsiteX96" fmla="*/ 57150 w 8601075"/>
                  <a:gd name="connsiteY96" fmla="*/ 733425 h 4333875"/>
                  <a:gd name="connsiteX97" fmla="*/ 19050 w 8601075"/>
                  <a:gd name="connsiteY97" fmla="*/ 790575 h 4333875"/>
                  <a:gd name="connsiteX98" fmla="*/ 0 w 8601075"/>
                  <a:gd name="connsiteY98" fmla="*/ 876300 h 4333875"/>
                  <a:gd name="connsiteX99" fmla="*/ 57150 w 8601075"/>
                  <a:gd name="connsiteY99" fmla="*/ 923925 h 4333875"/>
                  <a:gd name="connsiteX100" fmla="*/ 57150 w 8601075"/>
                  <a:gd name="connsiteY100" fmla="*/ 923925 h 4333875"/>
                  <a:gd name="connsiteX101" fmla="*/ 209550 w 8601075"/>
                  <a:gd name="connsiteY101" fmla="*/ 1114425 h 4333875"/>
                  <a:gd name="connsiteX102" fmla="*/ 209550 w 8601075"/>
                  <a:gd name="connsiteY102" fmla="*/ 1114425 h 4333875"/>
                  <a:gd name="connsiteX103" fmla="*/ 266700 w 8601075"/>
                  <a:gd name="connsiteY103" fmla="*/ 1295400 h 4333875"/>
                  <a:gd name="connsiteX104" fmla="*/ 409575 w 8601075"/>
                  <a:gd name="connsiteY104" fmla="*/ 1276350 h 4333875"/>
                  <a:gd name="connsiteX105" fmla="*/ 466725 w 8601075"/>
                  <a:gd name="connsiteY105" fmla="*/ 1362075 h 4333875"/>
                  <a:gd name="connsiteX106" fmla="*/ 542925 w 8601075"/>
                  <a:gd name="connsiteY106" fmla="*/ 1428750 h 4333875"/>
                  <a:gd name="connsiteX107" fmla="*/ 628650 w 8601075"/>
                  <a:gd name="connsiteY107" fmla="*/ 1571625 h 4333875"/>
                  <a:gd name="connsiteX108" fmla="*/ 628650 w 8601075"/>
                  <a:gd name="connsiteY108" fmla="*/ 1704975 h 4333875"/>
                  <a:gd name="connsiteX109" fmla="*/ 676275 w 8601075"/>
                  <a:gd name="connsiteY109" fmla="*/ 1771650 h 4333875"/>
                  <a:gd name="connsiteX110" fmla="*/ 657225 w 8601075"/>
                  <a:gd name="connsiteY110" fmla="*/ 2000250 h 4333875"/>
                  <a:gd name="connsiteX111" fmla="*/ 619125 w 8601075"/>
                  <a:gd name="connsiteY111" fmla="*/ 2095500 h 4333875"/>
                  <a:gd name="connsiteX112" fmla="*/ 542925 w 8601075"/>
                  <a:gd name="connsiteY112" fmla="*/ 2228850 h 4333875"/>
                  <a:gd name="connsiteX113" fmla="*/ 485775 w 8601075"/>
                  <a:gd name="connsiteY113" fmla="*/ 2362200 h 4333875"/>
                  <a:gd name="connsiteX114" fmla="*/ 552450 w 8601075"/>
                  <a:gd name="connsiteY114" fmla="*/ 2486025 h 4333875"/>
                  <a:gd name="connsiteX115" fmla="*/ 771525 w 8601075"/>
                  <a:gd name="connsiteY115" fmla="*/ 2571750 h 4333875"/>
                  <a:gd name="connsiteX116" fmla="*/ 866775 w 8601075"/>
                  <a:gd name="connsiteY116" fmla="*/ 2571750 h 4333875"/>
                  <a:gd name="connsiteX117" fmla="*/ 914400 w 8601075"/>
                  <a:gd name="connsiteY117" fmla="*/ 2638425 h 4333875"/>
                  <a:gd name="connsiteX118" fmla="*/ 1066800 w 8601075"/>
                  <a:gd name="connsiteY118" fmla="*/ 2638425 h 4333875"/>
                  <a:gd name="connsiteX119" fmla="*/ 1285875 w 8601075"/>
                  <a:gd name="connsiteY119" fmla="*/ 2705100 h 4333875"/>
                  <a:gd name="connsiteX120" fmla="*/ 1438275 w 8601075"/>
                  <a:gd name="connsiteY120" fmla="*/ 2838450 h 4333875"/>
                  <a:gd name="connsiteX121" fmla="*/ 1485900 w 8601075"/>
                  <a:gd name="connsiteY121" fmla="*/ 2914650 h 4333875"/>
                  <a:gd name="connsiteX122" fmla="*/ 1657350 w 8601075"/>
                  <a:gd name="connsiteY122" fmla="*/ 3038475 h 4333875"/>
                  <a:gd name="connsiteX123" fmla="*/ 1752600 w 8601075"/>
                  <a:gd name="connsiteY123" fmla="*/ 3057525 h 4333875"/>
                  <a:gd name="connsiteX124" fmla="*/ 1724025 w 8601075"/>
                  <a:gd name="connsiteY124" fmla="*/ 3143250 h 4333875"/>
                  <a:gd name="connsiteX125" fmla="*/ 1724025 w 8601075"/>
                  <a:gd name="connsiteY125" fmla="*/ 3143250 h 4333875"/>
                  <a:gd name="connsiteX126" fmla="*/ 1781175 w 8601075"/>
                  <a:gd name="connsiteY126" fmla="*/ 3181350 h 4333875"/>
                  <a:gd name="connsiteX127" fmla="*/ 1819275 w 8601075"/>
                  <a:gd name="connsiteY127" fmla="*/ 3362325 h 4333875"/>
                  <a:gd name="connsiteX128" fmla="*/ 1828800 w 8601075"/>
                  <a:gd name="connsiteY128" fmla="*/ 3457575 h 4333875"/>
                  <a:gd name="connsiteX129" fmla="*/ 1971675 w 8601075"/>
                  <a:gd name="connsiteY129" fmla="*/ 3590925 h 4333875"/>
                  <a:gd name="connsiteX130" fmla="*/ 1990725 w 8601075"/>
                  <a:gd name="connsiteY130" fmla="*/ 3714750 h 4333875"/>
                  <a:gd name="connsiteX131" fmla="*/ 2200275 w 8601075"/>
                  <a:gd name="connsiteY131" fmla="*/ 3695700 h 4333875"/>
                  <a:gd name="connsiteX132" fmla="*/ 2886075 w 8601075"/>
                  <a:gd name="connsiteY132" fmla="*/ 3886200 h 4333875"/>
                  <a:gd name="connsiteX133" fmla="*/ 3038475 w 8601075"/>
                  <a:gd name="connsiteY133" fmla="*/ 3819525 h 4333875"/>
                  <a:gd name="connsiteX134" fmla="*/ 3105150 w 8601075"/>
                  <a:gd name="connsiteY134" fmla="*/ 3867150 h 4333875"/>
                  <a:gd name="connsiteX135" fmla="*/ 3181350 w 8601075"/>
                  <a:gd name="connsiteY135" fmla="*/ 3800475 h 4333875"/>
                  <a:gd name="connsiteX136" fmla="*/ 3590925 w 8601075"/>
                  <a:gd name="connsiteY136" fmla="*/ 3943350 h 4333875"/>
                  <a:gd name="connsiteX137" fmla="*/ 3686175 w 8601075"/>
                  <a:gd name="connsiteY137" fmla="*/ 4057650 h 4333875"/>
                  <a:gd name="connsiteX138" fmla="*/ 3838575 w 8601075"/>
                  <a:gd name="connsiteY138" fmla="*/ 4057650 h 4333875"/>
                  <a:gd name="connsiteX139" fmla="*/ 4162425 w 8601075"/>
                  <a:gd name="connsiteY139" fmla="*/ 4248150 h 4333875"/>
                  <a:gd name="connsiteX140" fmla="*/ 4391025 w 8601075"/>
                  <a:gd name="connsiteY140" fmla="*/ 4200525 h 4333875"/>
                  <a:gd name="connsiteX141" fmla="*/ 4410075 w 8601075"/>
                  <a:gd name="connsiteY141" fmla="*/ 4305300 h 4333875"/>
                  <a:gd name="connsiteX142" fmla="*/ 4505325 w 8601075"/>
                  <a:gd name="connsiteY142" fmla="*/ 4276725 h 4333875"/>
                  <a:gd name="connsiteX143" fmla="*/ 4572000 w 8601075"/>
                  <a:gd name="connsiteY143" fmla="*/ 4333875 h 4333875"/>
                  <a:gd name="connsiteX144" fmla="*/ 4591050 w 8601075"/>
                  <a:gd name="connsiteY144" fmla="*/ 4248150 h 4333875"/>
                  <a:gd name="connsiteX145" fmla="*/ 5295900 w 8601075"/>
                  <a:gd name="connsiteY145" fmla="*/ 3924300 h 4333875"/>
                  <a:gd name="connsiteX146" fmla="*/ 5353050 w 8601075"/>
                  <a:gd name="connsiteY146" fmla="*/ 3990975 h 4333875"/>
                  <a:gd name="connsiteX147" fmla="*/ 5524500 w 8601075"/>
                  <a:gd name="connsiteY147" fmla="*/ 3914775 h 4333875"/>
                  <a:gd name="connsiteX148" fmla="*/ 5667375 w 8601075"/>
                  <a:gd name="connsiteY148" fmla="*/ 3962400 h 4333875"/>
                  <a:gd name="connsiteX149" fmla="*/ 5753100 w 8601075"/>
                  <a:gd name="connsiteY149" fmla="*/ 3924300 h 4333875"/>
                  <a:gd name="connsiteX150" fmla="*/ 5905500 w 8601075"/>
                  <a:gd name="connsiteY150" fmla="*/ 3943350 h 4333875"/>
                  <a:gd name="connsiteX151" fmla="*/ 6000750 w 8601075"/>
                  <a:gd name="connsiteY151" fmla="*/ 3800475 h 4333875"/>
                  <a:gd name="connsiteX152" fmla="*/ 6153150 w 8601075"/>
                  <a:gd name="connsiteY152" fmla="*/ 3781425 h 4333875"/>
                  <a:gd name="connsiteX153" fmla="*/ 6257925 w 8601075"/>
                  <a:gd name="connsiteY153" fmla="*/ 3581400 h 4333875"/>
                  <a:gd name="connsiteX154" fmla="*/ 6448425 w 8601075"/>
                  <a:gd name="connsiteY154" fmla="*/ 3448050 h 4333875"/>
                  <a:gd name="connsiteX155" fmla="*/ 6581775 w 8601075"/>
                  <a:gd name="connsiteY155" fmla="*/ 3276600 h 4333875"/>
                  <a:gd name="connsiteX156" fmla="*/ 6496050 w 8601075"/>
                  <a:gd name="connsiteY156" fmla="*/ 3228975 h 4333875"/>
                  <a:gd name="connsiteX157" fmla="*/ 6438900 w 8601075"/>
                  <a:gd name="connsiteY157" fmla="*/ 3162300 h 4333875"/>
                  <a:gd name="connsiteX158" fmla="*/ 6419850 w 8601075"/>
                  <a:gd name="connsiteY158" fmla="*/ 3105150 h 4333875"/>
                  <a:gd name="connsiteX159" fmla="*/ 6362700 w 8601075"/>
                  <a:gd name="connsiteY159" fmla="*/ 3076575 h 4333875"/>
                  <a:gd name="connsiteX160" fmla="*/ 6410325 w 8601075"/>
                  <a:gd name="connsiteY160" fmla="*/ 3019425 h 4333875"/>
                  <a:gd name="connsiteX161" fmla="*/ 6438900 w 8601075"/>
                  <a:gd name="connsiteY161" fmla="*/ 2819400 h 4333875"/>
                  <a:gd name="connsiteX162" fmla="*/ 6496050 w 8601075"/>
                  <a:gd name="connsiteY162" fmla="*/ 2762250 h 4333875"/>
                  <a:gd name="connsiteX163" fmla="*/ 6657975 w 8601075"/>
                  <a:gd name="connsiteY163" fmla="*/ 2752725 h 4333875"/>
                  <a:gd name="connsiteX164" fmla="*/ 6781800 w 8601075"/>
                  <a:gd name="connsiteY164" fmla="*/ 2838450 h 4333875"/>
                  <a:gd name="connsiteX165" fmla="*/ 7010400 w 8601075"/>
                  <a:gd name="connsiteY165" fmla="*/ 2838450 h 4333875"/>
                  <a:gd name="connsiteX166" fmla="*/ 7162800 w 8601075"/>
                  <a:gd name="connsiteY166" fmla="*/ 2705100 h 4333875"/>
                  <a:gd name="connsiteX167" fmla="*/ 7229475 w 8601075"/>
                  <a:gd name="connsiteY167" fmla="*/ 2590800 h 4333875"/>
                  <a:gd name="connsiteX168" fmla="*/ 7248525 w 8601075"/>
                  <a:gd name="connsiteY168" fmla="*/ 2524125 h 4333875"/>
                  <a:gd name="connsiteX169" fmla="*/ 7372350 w 8601075"/>
                  <a:gd name="connsiteY169" fmla="*/ 2543175 h 4333875"/>
                  <a:gd name="connsiteX170" fmla="*/ 7553325 w 8601075"/>
                  <a:gd name="connsiteY170" fmla="*/ 2447925 h 4333875"/>
                  <a:gd name="connsiteX171" fmla="*/ 7620000 w 8601075"/>
                  <a:gd name="connsiteY171" fmla="*/ 2324100 h 4333875"/>
                  <a:gd name="connsiteX172" fmla="*/ 7696200 w 8601075"/>
                  <a:gd name="connsiteY172" fmla="*/ 2314575 h 4333875"/>
                  <a:gd name="connsiteX173" fmla="*/ 7658100 w 8601075"/>
                  <a:gd name="connsiteY173" fmla="*/ 2257425 h 4333875"/>
                  <a:gd name="connsiteX174" fmla="*/ 7753350 w 8601075"/>
                  <a:gd name="connsiteY174" fmla="*/ 2057400 h 4333875"/>
                  <a:gd name="connsiteX175" fmla="*/ 7934325 w 8601075"/>
                  <a:gd name="connsiteY175" fmla="*/ 2028825 h 4333875"/>
                  <a:gd name="connsiteX176" fmla="*/ 7953375 w 8601075"/>
                  <a:gd name="connsiteY176" fmla="*/ 1952625 h 4333875"/>
                  <a:gd name="connsiteX177" fmla="*/ 7953375 w 8601075"/>
                  <a:gd name="connsiteY177" fmla="*/ 1952625 h 4333875"/>
                  <a:gd name="connsiteX178" fmla="*/ 8010525 w 8601075"/>
                  <a:gd name="connsiteY178" fmla="*/ 1895475 h 4333875"/>
                  <a:gd name="connsiteX179" fmla="*/ 8048625 w 8601075"/>
                  <a:gd name="connsiteY179" fmla="*/ 1971675 h 4333875"/>
                  <a:gd name="connsiteX180" fmla="*/ 8077200 w 8601075"/>
                  <a:gd name="connsiteY180" fmla="*/ 1885950 h 4333875"/>
                  <a:gd name="connsiteX181" fmla="*/ 8220075 w 8601075"/>
                  <a:gd name="connsiteY181" fmla="*/ 1847850 h 4333875"/>
                  <a:gd name="connsiteX182" fmla="*/ 8296275 w 8601075"/>
                  <a:gd name="connsiteY182" fmla="*/ 1809750 h 4333875"/>
                  <a:gd name="connsiteX183" fmla="*/ 8324850 w 8601075"/>
                  <a:gd name="connsiteY183" fmla="*/ 1790700 h 4333875"/>
                  <a:gd name="connsiteX184" fmla="*/ 8410575 w 8601075"/>
                  <a:gd name="connsiteY184" fmla="*/ 1847850 h 4333875"/>
                  <a:gd name="connsiteX185" fmla="*/ 8505825 w 8601075"/>
                  <a:gd name="connsiteY185" fmla="*/ 1781175 h 4333875"/>
                  <a:gd name="connsiteX186" fmla="*/ 8572500 w 8601075"/>
                  <a:gd name="connsiteY186" fmla="*/ 1809750 h 4333875"/>
                  <a:gd name="connsiteX187" fmla="*/ 8601075 w 8601075"/>
                  <a:gd name="connsiteY187" fmla="*/ 1704975 h 4333875"/>
                  <a:gd name="connsiteX188" fmla="*/ 8553450 w 8601075"/>
                  <a:gd name="connsiteY188" fmla="*/ 1676400 h 4333875"/>
                  <a:gd name="connsiteX189" fmla="*/ 8534400 w 8601075"/>
                  <a:gd name="connsiteY189" fmla="*/ 1609725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124825 w 8601075"/>
                  <a:gd name="connsiteY193" fmla="*/ 1352550 h 4333875"/>
                  <a:gd name="connsiteX194" fmla="*/ 7924800 w 8601075"/>
                  <a:gd name="connsiteY194" fmla="*/ 1362075 h 4333875"/>
                  <a:gd name="connsiteX195" fmla="*/ 7867650 w 8601075"/>
                  <a:gd name="connsiteY195" fmla="*/ 1457325 h 4333875"/>
                  <a:gd name="connsiteX196" fmla="*/ 7896225 w 8601075"/>
                  <a:gd name="connsiteY196" fmla="*/ 1476375 h 4333875"/>
                  <a:gd name="connsiteX197" fmla="*/ 7858125 w 8601075"/>
                  <a:gd name="connsiteY197" fmla="*/ 1533525 h 4333875"/>
                  <a:gd name="connsiteX198" fmla="*/ 7658100 w 8601075"/>
                  <a:gd name="connsiteY198" fmla="*/ 1447800 h 4333875"/>
                  <a:gd name="connsiteX199" fmla="*/ 7515225 w 8601075"/>
                  <a:gd name="connsiteY199" fmla="*/ 1495425 h 4333875"/>
                  <a:gd name="connsiteX200" fmla="*/ 7467600 w 8601075"/>
                  <a:gd name="connsiteY200" fmla="*/ 1581150 h 4333875"/>
                  <a:gd name="connsiteX201" fmla="*/ 7296150 w 8601075"/>
                  <a:gd name="connsiteY20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1425 w 8601075"/>
                  <a:gd name="connsiteY51" fmla="*/ 390525 h 4333875"/>
                  <a:gd name="connsiteX52" fmla="*/ 3771900 w 8601075"/>
                  <a:gd name="connsiteY52" fmla="*/ 352425 h 4333875"/>
                  <a:gd name="connsiteX53" fmla="*/ 3600450 w 8601075"/>
                  <a:gd name="connsiteY53" fmla="*/ 285750 h 4333875"/>
                  <a:gd name="connsiteX54" fmla="*/ 3533775 w 8601075"/>
                  <a:gd name="connsiteY54" fmla="*/ 314325 h 4333875"/>
                  <a:gd name="connsiteX55" fmla="*/ 3409950 w 8601075"/>
                  <a:gd name="connsiteY55" fmla="*/ 190500 h 4333875"/>
                  <a:gd name="connsiteX56" fmla="*/ 3257550 w 8601075"/>
                  <a:gd name="connsiteY56" fmla="*/ 180975 h 4333875"/>
                  <a:gd name="connsiteX57" fmla="*/ 3209925 w 8601075"/>
                  <a:gd name="connsiteY57" fmla="*/ 104775 h 4333875"/>
                  <a:gd name="connsiteX58" fmla="*/ 3152775 w 8601075"/>
                  <a:gd name="connsiteY58" fmla="*/ 104775 h 4333875"/>
                  <a:gd name="connsiteX59" fmla="*/ 2990850 w 8601075"/>
                  <a:gd name="connsiteY59" fmla="*/ 0 h 4333875"/>
                  <a:gd name="connsiteX60" fmla="*/ 2933700 w 8601075"/>
                  <a:gd name="connsiteY60" fmla="*/ 114300 h 4333875"/>
                  <a:gd name="connsiteX61" fmla="*/ 2867025 w 8601075"/>
                  <a:gd name="connsiteY61" fmla="*/ 171450 h 4333875"/>
                  <a:gd name="connsiteX62" fmla="*/ 2867025 w 8601075"/>
                  <a:gd name="connsiteY62" fmla="*/ 171450 h 4333875"/>
                  <a:gd name="connsiteX63" fmla="*/ 2800350 w 8601075"/>
                  <a:gd name="connsiteY63" fmla="*/ 257175 h 4333875"/>
                  <a:gd name="connsiteX64" fmla="*/ 2724150 w 8601075"/>
                  <a:gd name="connsiteY64" fmla="*/ 304800 h 4333875"/>
                  <a:gd name="connsiteX65" fmla="*/ 2705100 w 8601075"/>
                  <a:gd name="connsiteY65" fmla="*/ 466725 h 4333875"/>
                  <a:gd name="connsiteX66" fmla="*/ 2762250 w 8601075"/>
                  <a:gd name="connsiteY66" fmla="*/ 571500 h 4333875"/>
                  <a:gd name="connsiteX67" fmla="*/ 2800350 w 8601075"/>
                  <a:gd name="connsiteY67" fmla="*/ 628650 h 4333875"/>
                  <a:gd name="connsiteX68" fmla="*/ 2752725 w 8601075"/>
                  <a:gd name="connsiteY68" fmla="*/ 781050 h 4333875"/>
                  <a:gd name="connsiteX69" fmla="*/ 2686050 w 8601075"/>
                  <a:gd name="connsiteY69" fmla="*/ 857250 h 4333875"/>
                  <a:gd name="connsiteX70" fmla="*/ 2609850 w 8601075"/>
                  <a:gd name="connsiteY70" fmla="*/ 857250 h 4333875"/>
                  <a:gd name="connsiteX71" fmla="*/ 2514600 w 8601075"/>
                  <a:gd name="connsiteY71" fmla="*/ 914400 h 4333875"/>
                  <a:gd name="connsiteX72" fmla="*/ 2400300 w 8601075"/>
                  <a:gd name="connsiteY72" fmla="*/ 866775 h 4333875"/>
                  <a:gd name="connsiteX73" fmla="*/ 2305050 w 8601075"/>
                  <a:gd name="connsiteY73" fmla="*/ 809625 h 4333875"/>
                  <a:gd name="connsiteX74" fmla="*/ 2200275 w 8601075"/>
                  <a:gd name="connsiteY74" fmla="*/ 752475 h 4333875"/>
                  <a:gd name="connsiteX75" fmla="*/ 2105025 w 8601075"/>
                  <a:gd name="connsiteY75" fmla="*/ 762000 h 4333875"/>
                  <a:gd name="connsiteX76" fmla="*/ 1990725 w 8601075"/>
                  <a:gd name="connsiteY76" fmla="*/ 762000 h 4333875"/>
                  <a:gd name="connsiteX77" fmla="*/ 1885950 w 8601075"/>
                  <a:gd name="connsiteY77" fmla="*/ 742950 h 4333875"/>
                  <a:gd name="connsiteX78" fmla="*/ 1800225 w 8601075"/>
                  <a:gd name="connsiteY78" fmla="*/ 638175 h 4333875"/>
                  <a:gd name="connsiteX79" fmla="*/ 1809750 w 8601075"/>
                  <a:gd name="connsiteY79" fmla="*/ 495300 h 4333875"/>
                  <a:gd name="connsiteX80" fmla="*/ 1733550 w 8601075"/>
                  <a:gd name="connsiteY80" fmla="*/ 466725 h 4333875"/>
                  <a:gd name="connsiteX81" fmla="*/ 1485900 w 8601075"/>
                  <a:gd name="connsiteY81" fmla="*/ 419100 h 4333875"/>
                  <a:gd name="connsiteX82" fmla="*/ 1457325 w 8601075"/>
                  <a:gd name="connsiteY82" fmla="*/ 323850 h 4333875"/>
                  <a:gd name="connsiteX83" fmla="*/ 1457325 w 8601075"/>
                  <a:gd name="connsiteY83" fmla="*/ 323850 h 4333875"/>
                  <a:gd name="connsiteX84" fmla="*/ 1323975 w 8601075"/>
                  <a:gd name="connsiteY84" fmla="*/ 285750 h 4333875"/>
                  <a:gd name="connsiteX85" fmla="*/ 1266825 w 8601075"/>
                  <a:gd name="connsiteY85" fmla="*/ 352425 h 4333875"/>
                  <a:gd name="connsiteX86" fmla="*/ 1009650 w 8601075"/>
                  <a:gd name="connsiteY86" fmla="*/ 390525 h 4333875"/>
                  <a:gd name="connsiteX87" fmla="*/ 828675 w 8601075"/>
                  <a:gd name="connsiteY87" fmla="*/ 447675 h 4333875"/>
                  <a:gd name="connsiteX88" fmla="*/ 619125 w 8601075"/>
                  <a:gd name="connsiteY88" fmla="*/ 533400 h 4333875"/>
                  <a:gd name="connsiteX89" fmla="*/ 619125 w 8601075"/>
                  <a:gd name="connsiteY89" fmla="*/ 533400 h 4333875"/>
                  <a:gd name="connsiteX90" fmla="*/ 561975 w 8601075"/>
                  <a:gd name="connsiteY90" fmla="*/ 61912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295275 w 8601075"/>
                  <a:gd name="connsiteY94" fmla="*/ 657225 h 4333875"/>
                  <a:gd name="connsiteX95" fmla="*/ 180975 w 8601075"/>
                  <a:gd name="connsiteY95" fmla="*/ 638175 h 4333875"/>
                  <a:gd name="connsiteX96" fmla="*/ 180975 w 8601075"/>
                  <a:gd name="connsiteY96" fmla="*/ 638175 h 4333875"/>
                  <a:gd name="connsiteX97" fmla="*/ 57150 w 8601075"/>
                  <a:gd name="connsiteY97" fmla="*/ 733425 h 4333875"/>
                  <a:gd name="connsiteX98" fmla="*/ 19050 w 8601075"/>
                  <a:gd name="connsiteY98" fmla="*/ 790575 h 4333875"/>
                  <a:gd name="connsiteX99" fmla="*/ 0 w 8601075"/>
                  <a:gd name="connsiteY99" fmla="*/ 876300 h 4333875"/>
                  <a:gd name="connsiteX100" fmla="*/ 57150 w 8601075"/>
                  <a:gd name="connsiteY100" fmla="*/ 923925 h 4333875"/>
                  <a:gd name="connsiteX101" fmla="*/ 57150 w 8601075"/>
                  <a:gd name="connsiteY101" fmla="*/ 923925 h 4333875"/>
                  <a:gd name="connsiteX102" fmla="*/ 209550 w 8601075"/>
                  <a:gd name="connsiteY102" fmla="*/ 1114425 h 4333875"/>
                  <a:gd name="connsiteX103" fmla="*/ 209550 w 8601075"/>
                  <a:gd name="connsiteY103" fmla="*/ 1114425 h 4333875"/>
                  <a:gd name="connsiteX104" fmla="*/ 266700 w 8601075"/>
                  <a:gd name="connsiteY104" fmla="*/ 1295400 h 4333875"/>
                  <a:gd name="connsiteX105" fmla="*/ 409575 w 8601075"/>
                  <a:gd name="connsiteY105" fmla="*/ 1276350 h 4333875"/>
                  <a:gd name="connsiteX106" fmla="*/ 466725 w 8601075"/>
                  <a:gd name="connsiteY106" fmla="*/ 1362075 h 4333875"/>
                  <a:gd name="connsiteX107" fmla="*/ 542925 w 8601075"/>
                  <a:gd name="connsiteY107" fmla="*/ 1428750 h 4333875"/>
                  <a:gd name="connsiteX108" fmla="*/ 628650 w 8601075"/>
                  <a:gd name="connsiteY108" fmla="*/ 1571625 h 4333875"/>
                  <a:gd name="connsiteX109" fmla="*/ 628650 w 8601075"/>
                  <a:gd name="connsiteY109" fmla="*/ 1704975 h 4333875"/>
                  <a:gd name="connsiteX110" fmla="*/ 676275 w 8601075"/>
                  <a:gd name="connsiteY110" fmla="*/ 1771650 h 4333875"/>
                  <a:gd name="connsiteX111" fmla="*/ 657225 w 8601075"/>
                  <a:gd name="connsiteY111" fmla="*/ 2000250 h 4333875"/>
                  <a:gd name="connsiteX112" fmla="*/ 619125 w 8601075"/>
                  <a:gd name="connsiteY112" fmla="*/ 2095500 h 4333875"/>
                  <a:gd name="connsiteX113" fmla="*/ 542925 w 8601075"/>
                  <a:gd name="connsiteY113" fmla="*/ 2228850 h 4333875"/>
                  <a:gd name="connsiteX114" fmla="*/ 485775 w 8601075"/>
                  <a:gd name="connsiteY114" fmla="*/ 2362200 h 4333875"/>
                  <a:gd name="connsiteX115" fmla="*/ 552450 w 8601075"/>
                  <a:gd name="connsiteY115" fmla="*/ 2486025 h 4333875"/>
                  <a:gd name="connsiteX116" fmla="*/ 771525 w 8601075"/>
                  <a:gd name="connsiteY116" fmla="*/ 2571750 h 4333875"/>
                  <a:gd name="connsiteX117" fmla="*/ 866775 w 8601075"/>
                  <a:gd name="connsiteY117" fmla="*/ 2571750 h 4333875"/>
                  <a:gd name="connsiteX118" fmla="*/ 914400 w 8601075"/>
                  <a:gd name="connsiteY118" fmla="*/ 2638425 h 4333875"/>
                  <a:gd name="connsiteX119" fmla="*/ 1066800 w 8601075"/>
                  <a:gd name="connsiteY119" fmla="*/ 2638425 h 4333875"/>
                  <a:gd name="connsiteX120" fmla="*/ 1285875 w 8601075"/>
                  <a:gd name="connsiteY120" fmla="*/ 2705100 h 4333875"/>
                  <a:gd name="connsiteX121" fmla="*/ 1438275 w 8601075"/>
                  <a:gd name="connsiteY121" fmla="*/ 2838450 h 4333875"/>
                  <a:gd name="connsiteX122" fmla="*/ 1485900 w 8601075"/>
                  <a:gd name="connsiteY122" fmla="*/ 2914650 h 4333875"/>
                  <a:gd name="connsiteX123" fmla="*/ 1657350 w 8601075"/>
                  <a:gd name="connsiteY123" fmla="*/ 3038475 h 4333875"/>
                  <a:gd name="connsiteX124" fmla="*/ 1752600 w 8601075"/>
                  <a:gd name="connsiteY124" fmla="*/ 3057525 h 4333875"/>
                  <a:gd name="connsiteX125" fmla="*/ 1724025 w 8601075"/>
                  <a:gd name="connsiteY125" fmla="*/ 3143250 h 4333875"/>
                  <a:gd name="connsiteX126" fmla="*/ 1724025 w 8601075"/>
                  <a:gd name="connsiteY126" fmla="*/ 3143250 h 4333875"/>
                  <a:gd name="connsiteX127" fmla="*/ 1781175 w 8601075"/>
                  <a:gd name="connsiteY127" fmla="*/ 3181350 h 4333875"/>
                  <a:gd name="connsiteX128" fmla="*/ 1819275 w 8601075"/>
                  <a:gd name="connsiteY128" fmla="*/ 3362325 h 4333875"/>
                  <a:gd name="connsiteX129" fmla="*/ 1828800 w 8601075"/>
                  <a:gd name="connsiteY129" fmla="*/ 3457575 h 4333875"/>
                  <a:gd name="connsiteX130" fmla="*/ 1971675 w 8601075"/>
                  <a:gd name="connsiteY130" fmla="*/ 3590925 h 4333875"/>
                  <a:gd name="connsiteX131" fmla="*/ 1990725 w 8601075"/>
                  <a:gd name="connsiteY131" fmla="*/ 3714750 h 4333875"/>
                  <a:gd name="connsiteX132" fmla="*/ 2200275 w 8601075"/>
                  <a:gd name="connsiteY132" fmla="*/ 3695700 h 4333875"/>
                  <a:gd name="connsiteX133" fmla="*/ 2886075 w 8601075"/>
                  <a:gd name="connsiteY133" fmla="*/ 3886200 h 4333875"/>
                  <a:gd name="connsiteX134" fmla="*/ 3038475 w 8601075"/>
                  <a:gd name="connsiteY134" fmla="*/ 3819525 h 4333875"/>
                  <a:gd name="connsiteX135" fmla="*/ 3105150 w 8601075"/>
                  <a:gd name="connsiteY135" fmla="*/ 3867150 h 4333875"/>
                  <a:gd name="connsiteX136" fmla="*/ 3181350 w 8601075"/>
                  <a:gd name="connsiteY136" fmla="*/ 3800475 h 4333875"/>
                  <a:gd name="connsiteX137" fmla="*/ 3590925 w 8601075"/>
                  <a:gd name="connsiteY137" fmla="*/ 3943350 h 4333875"/>
                  <a:gd name="connsiteX138" fmla="*/ 3686175 w 8601075"/>
                  <a:gd name="connsiteY138" fmla="*/ 4057650 h 4333875"/>
                  <a:gd name="connsiteX139" fmla="*/ 3838575 w 8601075"/>
                  <a:gd name="connsiteY139" fmla="*/ 4057650 h 4333875"/>
                  <a:gd name="connsiteX140" fmla="*/ 4162425 w 8601075"/>
                  <a:gd name="connsiteY140" fmla="*/ 4248150 h 4333875"/>
                  <a:gd name="connsiteX141" fmla="*/ 4391025 w 8601075"/>
                  <a:gd name="connsiteY141" fmla="*/ 4200525 h 4333875"/>
                  <a:gd name="connsiteX142" fmla="*/ 4410075 w 8601075"/>
                  <a:gd name="connsiteY142" fmla="*/ 4305300 h 4333875"/>
                  <a:gd name="connsiteX143" fmla="*/ 4505325 w 8601075"/>
                  <a:gd name="connsiteY143" fmla="*/ 4276725 h 4333875"/>
                  <a:gd name="connsiteX144" fmla="*/ 4572000 w 8601075"/>
                  <a:gd name="connsiteY144" fmla="*/ 4333875 h 4333875"/>
                  <a:gd name="connsiteX145" fmla="*/ 4591050 w 8601075"/>
                  <a:gd name="connsiteY145" fmla="*/ 4248150 h 4333875"/>
                  <a:gd name="connsiteX146" fmla="*/ 5295900 w 8601075"/>
                  <a:gd name="connsiteY146" fmla="*/ 3924300 h 4333875"/>
                  <a:gd name="connsiteX147" fmla="*/ 5353050 w 8601075"/>
                  <a:gd name="connsiteY147" fmla="*/ 3990975 h 4333875"/>
                  <a:gd name="connsiteX148" fmla="*/ 5524500 w 8601075"/>
                  <a:gd name="connsiteY148" fmla="*/ 3914775 h 4333875"/>
                  <a:gd name="connsiteX149" fmla="*/ 5667375 w 8601075"/>
                  <a:gd name="connsiteY149" fmla="*/ 3962400 h 4333875"/>
                  <a:gd name="connsiteX150" fmla="*/ 5753100 w 8601075"/>
                  <a:gd name="connsiteY150" fmla="*/ 3924300 h 4333875"/>
                  <a:gd name="connsiteX151" fmla="*/ 5905500 w 8601075"/>
                  <a:gd name="connsiteY151" fmla="*/ 3943350 h 4333875"/>
                  <a:gd name="connsiteX152" fmla="*/ 6000750 w 8601075"/>
                  <a:gd name="connsiteY152" fmla="*/ 3800475 h 4333875"/>
                  <a:gd name="connsiteX153" fmla="*/ 6153150 w 8601075"/>
                  <a:gd name="connsiteY153" fmla="*/ 3781425 h 4333875"/>
                  <a:gd name="connsiteX154" fmla="*/ 6257925 w 8601075"/>
                  <a:gd name="connsiteY154" fmla="*/ 3581400 h 4333875"/>
                  <a:gd name="connsiteX155" fmla="*/ 6448425 w 8601075"/>
                  <a:gd name="connsiteY155" fmla="*/ 3448050 h 4333875"/>
                  <a:gd name="connsiteX156" fmla="*/ 6581775 w 8601075"/>
                  <a:gd name="connsiteY156" fmla="*/ 3276600 h 4333875"/>
                  <a:gd name="connsiteX157" fmla="*/ 6496050 w 8601075"/>
                  <a:gd name="connsiteY157" fmla="*/ 3228975 h 4333875"/>
                  <a:gd name="connsiteX158" fmla="*/ 6438900 w 8601075"/>
                  <a:gd name="connsiteY158" fmla="*/ 3162300 h 4333875"/>
                  <a:gd name="connsiteX159" fmla="*/ 6419850 w 8601075"/>
                  <a:gd name="connsiteY159" fmla="*/ 3105150 h 4333875"/>
                  <a:gd name="connsiteX160" fmla="*/ 6362700 w 8601075"/>
                  <a:gd name="connsiteY160" fmla="*/ 3076575 h 4333875"/>
                  <a:gd name="connsiteX161" fmla="*/ 6410325 w 8601075"/>
                  <a:gd name="connsiteY161" fmla="*/ 3019425 h 4333875"/>
                  <a:gd name="connsiteX162" fmla="*/ 6438900 w 8601075"/>
                  <a:gd name="connsiteY162" fmla="*/ 2819400 h 4333875"/>
                  <a:gd name="connsiteX163" fmla="*/ 6496050 w 8601075"/>
                  <a:gd name="connsiteY163" fmla="*/ 2762250 h 4333875"/>
                  <a:gd name="connsiteX164" fmla="*/ 6657975 w 8601075"/>
                  <a:gd name="connsiteY164" fmla="*/ 2752725 h 4333875"/>
                  <a:gd name="connsiteX165" fmla="*/ 6781800 w 8601075"/>
                  <a:gd name="connsiteY165" fmla="*/ 2838450 h 4333875"/>
                  <a:gd name="connsiteX166" fmla="*/ 7010400 w 8601075"/>
                  <a:gd name="connsiteY166" fmla="*/ 2838450 h 4333875"/>
                  <a:gd name="connsiteX167" fmla="*/ 7162800 w 8601075"/>
                  <a:gd name="connsiteY167" fmla="*/ 2705100 h 4333875"/>
                  <a:gd name="connsiteX168" fmla="*/ 7229475 w 8601075"/>
                  <a:gd name="connsiteY168" fmla="*/ 2590800 h 4333875"/>
                  <a:gd name="connsiteX169" fmla="*/ 7248525 w 8601075"/>
                  <a:gd name="connsiteY169" fmla="*/ 2524125 h 4333875"/>
                  <a:gd name="connsiteX170" fmla="*/ 7372350 w 8601075"/>
                  <a:gd name="connsiteY170" fmla="*/ 2543175 h 4333875"/>
                  <a:gd name="connsiteX171" fmla="*/ 7553325 w 8601075"/>
                  <a:gd name="connsiteY171" fmla="*/ 2447925 h 4333875"/>
                  <a:gd name="connsiteX172" fmla="*/ 7620000 w 8601075"/>
                  <a:gd name="connsiteY172" fmla="*/ 2324100 h 4333875"/>
                  <a:gd name="connsiteX173" fmla="*/ 7696200 w 8601075"/>
                  <a:gd name="connsiteY173" fmla="*/ 2314575 h 4333875"/>
                  <a:gd name="connsiteX174" fmla="*/ 7658100 w 8601075"/>
                  <a:gd name="connsiteY174" fmla="*/ 2257425 h 4333875"/>
                  <a:gd name="connsiteX175" fmla="*/ 7753350 w 8601075"/>
                  <a:gd name="connsiteY175" fmla="*/ 2057400 h 4333875"/>
                  <a:gd name="connsiteX176" fmla="*/ 7934325 w 8601075"/>
                  <a:gd name="connsiteY176" fmla="*/ 2028825 h 4333875"/>
                  <a:gd name="connsiteX177" fmla="*/ 7953375 w 8601075"/>
                  <a:gd name="connsiteY177" fmla="*/ 1952625 h 4333875"/>
                  <a:gd name="connsiteX178" fmla="*/ 7953375 w 8601075"/>
                  <a:gd name="connsiteY178" fmla="*/ 1952625 h 4333875"/>
                  <a:gd name="connsiteX179" fmla="*/ 8010525 w 8601075"/>
                  <a:gd name="connsiteY179" fmla="*/ 1895475 h 4333875"/>
                  <a:gd name="connsiteX180" fmla="*/ 8048625 w 8601075"/>
                  <a:gd name="connsiteY180" fmla="*/ 1971675 h 4333875"/>
                  <a:gd name="connsiteX181" fmla="*/ 8077200 w 8601075"/>
                  <a:gd name="connsiteY181" fmla="*/ 1885950 h 4333875"/>
                  <a:gd name="connsiteX182" fmla="*/ 8220075 w 8601075"/>
                  <a:gd name="connsiteY182" fmla="*/ 1847850 h 4333875"/>
                  <a:gd name="connsiteX183" fmla="*/ 8296275 w 8601075"/>
                  <a:gd name="connsiteY183" fmla="*/ 1809750 h 4333875"/>
                  <a:gd name="connsiteX184" fmla="*/ 8324850 w 8601075"/>
                  <a:gd name="connsiteY184" fmla="*/ 1790700 h 4333875"/>
                  <a:gd name="connsiteX185" fmla="*/ 8410575 w 8601075"/>
                  <a:gd name="connsiteY185" fmla="*/ 1847850 h 4333875"/>
                  <a:gd name="connsiteX186" fmla="*/ 8505825 w 8601075"/>
                  <a:gd name="connsiteY186" fmla="*/ 1781175 h 4333875"/>
                  <a:gd name="connsiteX187" fmla="*/ 8572500 w 8601075"/>
                  <a:gd name="connsiteY187" fmla="*/ 1809750 h 4333875"/>
                  <a:gd name="connsiteX188" fmla="*/ 8601075 w 8601075"/>
                  <a:gd name="connsiteY188" fmla="*/ 1704975 h 4333875"/>
                  <a:gd name="connsiteX189" fmla="*/ 8553450 w 8601075"/>
                  <a:gd name="connsiteY189" fmla="*/ 1676400 h 4333875"/>
                  <a:gd name="connsiteX190" fmla="*/ 8534400 w 8601075"/>
                  <a:gd name="connsiteY190" fmla="*/ 1609725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124825 w 8601075"/>
                  <a:gd name="connsiteY194" fmla="*/ 1352550 h 4333875"/>
                  <a:gd name="connsiteX195" fmla="*/ 7924800 w 8601075"/>
                  <a:gd name="connsiteY195" fmla="*/ 1362075 h 4333875"/>
                  <a:gd name="connsiteX196" fmla="*/ 7867650 w 8601075"/>
                  <a:gd name="connsiteY196" fmla="*/ 1457325 h 4333875"/>
                  <a:gd name="connsiteX197" fmla="*/ 7896225 w 8601075"/>
                  <a:gd name="connsiteY197" fmla="*/ 1476375 h 4333875"/>
                  <a:gd name="connsiteX198" fmla="*/ 7858125 w 8601075"/>
                  <a:gd name="connsiteY198" fmla="*/ 1533525 h 4333875"/>
                  <a:gd name="connsiteX199" fmla="*/ 7658100 w 8601075"/>
                  <a:gd name="connsiteY199" fmla="*/ 1447800 h 4333875"/>
                  <a:gd name="connsiteX200" fmla="*/ 7515225 w 8601075"/>
                  <a:gd name="connsiteY200" fmla="*/ 1495425 h 4333875"/>
                  <a:gd name="connsiteX201" fmla="*/ 7467600 w 8601075"/>
                  <a:gd name="connsiteY201" fmla="*/ 1581150 h 4333875"/>
                  <a:gd name="connsiteX202" fmla="*/ 7296150 w 8601075"/>
                  <a:gd name="connsiteY20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810000 w 8601075"/>
                  <a:gd name="connsiteY51" fmla="*/ 350043 h 4333875"/>
                  <a:gd name="connsiteX52" fmla="*/ 3771900 w 8601075"/>
                  <a:gd name="connsiteY52" fmla="*/ 352425 h 4333875"/>
                  <a:gd name="connsiteX53" fmla="*/ 3600450 w 8601075"/>
                  <a:gd name="connsiteY53" fmla="*/ 285750 h 4333875"/>
                  <a:gd name="connsiteX54" fmla="*/ 3533775 w 8601075"/>
                  <a:gd name="connsiteY54" fmla="*/ 314325 h 4333875"/>
                  <a:gd name="connsiteX55" fmla="*/ 3409950 w 8601075"/>
                  <a:gd name="connsiteY55" fmla="*/ 190500 h 4333875"/>
                  <a:gd name="connsiteX56" fmla="*/ 3257550 w 8601075"/>
                  <a:gd name="connsiteY56" fmla="*/ 180975 h 4333875"/>
                  <a:gd name="connsiteX57" fmla="*/ 3209925 w 8601075"/>
                  <a:gd name="connsiteY57" fmla="*/ 104775 h 4333875"/>
                  <a:gd name="connsiteX58" fmla="*/ 3152775 w 8601075"/>
                  <a:gd name="connsiteY58" fmla="*/ 104775 h 4333875"/>
                  <a:gd name="connsiteX59" fmla="*/ 2990850 w 8601075"/>
                  <a:gd name="connsiteY59" fmla="*/ 0 h 4333875"/>
                  <a:gd name="connsiteX60" fmla="*/ 2933700 w 8601075"/>
                  <a:gd name="connsiteY60" fmla="*/ 114300 h 4333875"/>
                  <a:gd name="connsiteX61" fmla="*/ 2867025 w 8601075"/>
                  <a:gd name="connsiteY61" fmla="*/ 171450 h 4333875"/>
                  <a:gd name="connsiteX62" fmla="*/ 2867025 w 8601075"/>
                  <a:gd name="connsiteY62" fmla="*/ 171450 h 4333875"/>
                  <a:gd name="connsiteX63" fmla="*/ 2800350 w 8601075"/>
                  <a:gd name="connsiteY63" fmla="*/ 257175 h 4333875"/>
                  <a:gd name="connsiteX64" fmla="*/ 2724150 w 8601075"/>
                  <a:gd name="connsiteY64" fmla="*/ 304800 h 4333875"/>
                  <a:gd name="connsiteX65" fmla="*/ 2705100 w 8601075"/>
                  <a:gd name="connsiteY65" fmla="*/ 466725 h 4333875"/>
                  <a:gd name="connsiteX66" fmla="*/ 2762250 w 8601075"/>
                  <a:gd name="connsiteY66" fmla="*/ 571500 h 4333875"/>
                  <a:gd name="connsiteX67" fmla="*/ 2800350 w 8601075"/>
                  <a:gd name="connsiteY67" fmla="*/ 628650 h 4333875"/>
                  <a:gd name="connsiteX68" fmla="*/ 2752725 w 8601075"/>
                  <a:gd name="connsiteY68" fmla="*/ 781050 h 4333875"/>
                  <a:gd name="connsiteX69" fmla="*/ 2686050 w 8601075"/>
                  <a:gd name="connsiteY69" fmla="*/ 857250 h 4333875"/>
                  <a:gd name="connsiteX70" fmla="*/ 2609850 w 8601075"/>
                  <a:gd name="connsiteY70" fmla="*/ 857250 h 4333875"/>
                  <a:gd name="connsiteX71" fmla="*/ 2514600 w 8601075"/>
                  <a:gd name="connsiteY71" fmla="*/ 914400 h 4333875"/>
                  <a:gd name="connsiteX72" fmla="*/ 2400300 w 8601075"/>
                  <a:gd name="connsiteY72" fmla="*/ 866775 h 4333875"/>
                  <a:gd name="connsiteX73" fmla="*/ 2305050 w 8601075"/>
                  <a:gd name="connsiteY73" fmla="*/ 809625 h 4333875"/>
                  <a:gd name="connsiteX74" fmla="*/ 2200275 w 8601075"/>
                  <a:gd name="connsiteY74" fmla="*/ 752475 h 4333875"/>
                  <a:gd name="connsiteX75" fmla="*/ 2105025 w 8601075"/>
                  <a:gd name="connsiteY75" fmla="*/ 762000 h 4333875"/>
                  <a:gd name="connsiteX76" fmla="*/ 1990725 w 8601075"/>
                  <a:gd name="connsiteY76" fmla="*/ 762000 h 4333875"/>
                  <a:gd name="connsiteX77" fmla="*/ 1885950 w 8601075"/>
                  <a:gd name="connsiteY77" fmla="*/ 742950 h 4333875"/>
                  <a:gd name="connsiteX78" fmla="*/ 1800225 w 8601075"/>
                  <a:gd name="connsiteY78" fmla="*/ 638175 h 4333875"/>
                  <a:gd name="connsiteX79" fmla="*/ 1809750 w 8601075"/>
                  <a:gd name="connsiteY79" fmla="*/ 495300 h 4333875"/>
                  <a:gd name="connsiteX80" fmla="*/ 1733550 w 8601075"/>
                  <a:gd name="connsiteY80" fmla="*/ 466725 h 4333875"/>
                  <a:gd name="connsiteX81" fmla="*/ 1485900 w 8601075"/>
                  <a:gd name="connsiteY81" fmla="*/ 419100 h 4333875"/>
                  <a:gd name="connsiteX82" fmla="*/ 1457325 w 8601075"/>
                  <a:gd name="connsiteY82" fmla="*/ 323850 h 4333875"/>
                  <a:gd name="connsiteX83" fmla="*/ 1457325 w 8601075"/>
                  <a:gd name="connsiteY83" fmla="*/ 323850 h 4333875"/>
                  <a:gd name="connsiteX84" fmla="*/ 1323975 w 8601075"/>
                  <a:gd name="connsiteY84" fmla="*/ 285750 h 4333875"/>
                  <a:gd name="connsiteX85" fmla="*/ 1266825 w 8601075"/>
                  <a:gd name="connsiteY85" fmla="*/ 352425 h 4333875"/>
                  <a:gd name="connsiteX86" fmla="*/ 1009650 w 8601075"/>
                  <a:gd name="connsiteY86" fmla="*/ 390525 h 4333875"/>
                  <a:gd name="connsiteX87" fmla="*/ 828675 w 8601075"/>
                  <a:gd name="connsiteY87" fmla="*/ 447675 h 4333875"/>
                  <a:gd name="connsiteX88" fmla="*/ 619125 w 8601075"/>
                  <a:gd name="connsiteY88" fmla="*/ 533400 h 4333875"/>
                  <a:gd name="connsiteX89" fmla="*/ 619125 w 8601075"/>
                  <a:gd name="connsiteY89" fmla="*/ 533400 h 4333875"/>
                  <a:gd name="connsiteX90" fmla="*/ 561975 w 8601075"/>
                  <a:gd name="connsiteY90" fmla="*/ 61912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295275 w 8601075"/>
                  <a:gd name="connsiteY94" fmla="*/ 657225 h 4333875"/>
                  <a:gd name="connsiteX95" fmla="*/ 180975 w 8601075"/>
                  <a:gd name="connsiteY95" fmla="*/ 638175 h 4333875"/>
                  <a:gd name="connsiteX96" fmla="*/ 180975 w 8601075"/>
                  <a:gd name="connsiteY96" fmla="*/ 638175 h 4333875"/>
                  <a:gd name="connsiteX97" fmla="*/ 57150 w 8601075"/>
                  <a:gd name="connsiteY97" fmla="*/ 733425 h 4333875"/>
                  <a:gd name="connsiteX98" fmla="*/ 19050 w 8601075"/>
                  <a:gd name="connsiteY98" fmla="*/ 790575 h 4333875"/>
                  <a:gd name="connsiteX99" fmla="*/ 0 w 8601075"/>
                  <a:gd name="connsiteY99" fmla="*/ 876300 h 4333875"/>
                  <a:gd name="connsiteX100" fmla="*/ 57150 w 8601075"/>
                  <a:gd name="connsiteY100" fmla="*/ 923925 h 4333875"/>
                  <a:gd name="connsiteX101" fmla="*/ 57150 w 8601075"/>
                  <a:gd name="connsiteY101" fmla="*/ 923925 h 4333875"/>
                  <a:gd name="connsiteX102" fmla="*/ 209550 w 8601075"/>
                  <a:gd name="connsiteY102" fmla="*/ 1114425 h 4333875"/>
                  <a:gd name="connsiteX103" fmla="*/ 209550 w 8601075"/>
                  <a:gd name="connsiteY103" fmla="*/ 1114425 h 4333875"/>
                  <a:gd name="connsiteX104" fmla="*/ 266700 w 8601075"/>
                  <a:gd name="connsiteY104" fmla="*/ 1295400 h 4333875"/>
                  <a:gd name="connsiteX105" fmla="*/ 409575 w 8601075"/>
                  <a:gd name="connsiteY105" fmla="*/ 1276350 h 4333875"/>
                  <a:gd name="connsiteX106" fmla="*/ 466725 w 8601075"/>
                  <a:gd name="connsiteY106" fmla="*/ 1362075 h 4333875"/>
                  <a:gd name="connsiteX107" fmla="*/ 542925 w 8601075"/>
                  <a:gd name="connsiteY107" fmla="*/ 1428750 h 4333875"/>
                  <a:gd name="connsiteX108" fmla="*/ 628650 w 8601075"/>
                  <a:gd name="connsiteY108" fmla="*/ 1571625 h 4333875"/>
                  <a:gd name="connsiteX109" fmla="*/ 628650 w 8601075"/>
                  <a:gd name="connsiteY109" fmla="*/ 1704975 h 4333875"/>
                  <a:gd name="connsiteX110" fmla="*/ 676275 w 8601075"/>
                  <a:gd name="connsiteY110" fmla="*/ 1771650 h 4333875"/>
                  <a:gd name="connsiteX111" fmla="*/ 657225 w 8601075"/>
                  <a:gd name="connsiteY111" fmla="*/ 2000250 h 4333875"/>
                  <a:gd name="connsiteX112" fmla="*/ 619125 w 8601075"/>
                  <a:gd name="connsiteY112" fmla="*/ 2095500 h 4333875"/>
                  <a:gd name="connsiteX113" fmla="*/ 542925 w 8601075"/>
                  <a:gd name="connsiteY113" fmla="*/ 2228850 h 4333875"/>
                  <a:gd name="connsiteX114" fmla="*/ 485775 w 8601075"/>
                  <a:gd name="connsiteY114" fmla="*/ 2362200 h 4333875"/>
                  <a:gd name="connsiteX115" fmla="*/ 552450 w 8601075"/>
                  <a:gd name="connsiteY115" fmla="*/ 2486025 h 4333875"/>
                  <a:gd name="connsiteX116" fmla="*/ 771525 w 8601075"/>
                  <a:gd name="connsiteY116" fmla="*/ 2571750 h 4333875"/>
                  <a:gd name="connsiteX117" fmla="*/ 866775 w 8601075"/>
                  <a:gd name="connsiteY117" fmla="*/ 2571750 h 4333875"/>
                  <a:gd name="connsiteX118" fmla="*/ 914400 w 8601075"/>
                  <a:gd name="connsiteY118" fmla="*/ 2638425 h 4333875"/>
                  <a:gd name="connsiteX119" fmla="*/ 1066800 w 8601075"/>
                  <a:gd name="connsiteY119" fmla="*/ 2638425 h 4333875"/>
                  <a:gd name="connsiteX120" fmla="*/ 1285875 w 8601075"/>
                  <a:gd name="connsiteY120" fmla="*/ 2705100 h 4333875"/>
                  <a:gd name="connsiteX121" fmla="*/ 1438275 w 8601075"/>
                  <a:gd name="connsiteY121" fmla="*/ 2838450 h 4333875"/>
                  <a:gd name="connsiteX122" fmla="*/ 1485900 w 8601075"/>
                  <a:gd name="connsiteY122" fmla="*/ 2914650 h 4333875"/>
                  <a:gd name="connsiteX123" fmla="*/ 1657350 w 8601075"/>
                  <a:gd name="connsiteY123" fmla="*/ 3038475 h 4333875"/>
                  <a:gd name="connsiteX124" fmla="*/ 1752600 w 8601075"/>
                  <a:gd name="connsiteY124" fmla="*/ 3057525 h 4333875"/>
                  <a:gd name="connsiteX125" fmla="*/ 1724025 w 8601075"/>
                  <a:gd name="connsiteY125" fmla="*/ 3143250 h 4333875"/>
                  <a:gd name="connsiteX126" fmla="*/ 1724025 w 8601075"/>
                  <a:gd name="connsiteY126" fmla="*/ 3143250 h 4333875"/>
                  <a:gd name="connsiteX127" fmla="*/ 1781175 w 8601075"/>
                  <a:gd name="connsiteY127" fmla="*/ 3181350 h 4333875"/>
                  <a:gd name="connsiteX128" fmla="*/ 1819275 w 8601075"/>
                  <a:gd name="connsiteY128" fmla="*/ 3362325 h 4333875"/>
                  <a:gd name="connsiteX129" fmla="*/ 1828800 w 8601075"/>
                  <a:gd name="connsiteY129" fmla="*/ 3457575 h 4333875"/>
                  <a:gd name="connsiteX130" fmla="*/ 1971675 w 8601075"/>
                  <a:gd name="connsiteY130" fmla="*/ 3590925 h 4333875"/>
                  <a:gd name="connsiteX131" fmla="*/ 1990725 w 8601075"/>
                  <a:gd name="connsiteY131" fmla="*/ 3714750 h 4333875"/>
                  <a:gd name="connsiteX132" fmla="*/ 2200275 w 8601075"/>
                  <a:gd name="connsiteY132" fmla="*/ 3695700 h 4333875"/>
                  <a:gd name="connsiteX133" fmla="*/ 2886075 w 8601075"/>
                  <a:gd name="connsiteY133" fmla="*/ 3886200 h 4333875"/>
                  <a:gd name="connsiteX134" fmla="*/ 3038475 w 8601075"/>
                  <a:gd name="connsiteY134" fmla="*/ 3819525 h 4333875"/>
                  <a:gd name="connsiteX135" fmla="*/ 3105150 w 8601075"/>
                  <a:gd name="connsiteY135" fmla="*/ 3867150 h 4333875"/>
                  <a:gd name="connsiteX136" fmla="*/ 3181350 w 8601075"/>
                  <a:gd name="connsiteY136" fmla="*/ 3800475 h 4333875"/>
                  <a:gd name="connsiteX137" fmla="*/ 3590925 w 8601075"/>
                  <a:gd name="connsiteY137" fmla="*/ 3943350 h 4333875"/>
                  <a:gd name="connsiteX138" fmla="*/ 3686175 w 8601075"/>
                  <a:gd name="connsiteY138" fmla="*/ 4057650 h 4333875"/>
                  <a:gd name="connsiteX139" fmla="*/ 3838575 w 8601075"/>
                  <a:gd name="connsiteY139" fmla="*/ 4057650 h 4333875"/>
                  <a:gd name="connsiteX140" fmla="*/ 4162425 w 8601075"/>
                  <a:gd name="connsiteY140" fmla="*/ 4248150 h 4333875"/>
                  <a:gd name="connsiteX141" fmla="*/ 4391025 w 8601075"/>
                  <a:gd name="connsiteY141" fmla="*/ 4200525 h 4333875"/>
                  <a:gd name="connsiteX142" fmla="*/ 4410075 w 8601075"/>
                  <a:gd name="connsiteY142" fmla="*/ 4305300 h 4333875"/>
                  <a:gd name="connsiteX143" fmla="*/ 4505325 w 8601075"/>
                  <a:gd name="connsiteY143" fmla="*/ 4276725 h 4333875"/>
                  <a:gd name="connsiteX144" fmla="*/ 4572000 w 8601075"/>
                  <a:gd name="connsiteY144" fmla="*/ 4333875 h 4333875"/>
                  <a:gd name="connsiteX145" fmla="*/ 4591050 w 8601075"/>
                  <a:gd name="connsiteY145" fmla="*/ 4248150 h 4333875"/>
                  <a:gd name="connsiteX146" fmla="*/ 5295900 w 8601075"/>
                  <a:gd name="connsiteY146" fmla="*/ 3924300 h 4333875"/>
                  <a:gd name="connsiteX147" fmla="*/ 5353050 w 8601075"/>
                  <a:gd name="connsiteY147" fmla="*/ 3990975 h 4333875"/>
                  <a:gd name="connsiteX148" fmla="*/ 5524500 w 8601075"/>
                  <a:gd name="connsiteY148" fmla="*/ 3914775 h 4333875"/>
                  <a:gd name="connsiteX149" fmla="*/ 5667375 w 8601075"/>
                  <a:gd name="connsiteY149" fmla="*/ 3962400 h 4333875"/>
                  <a:gd name="connsiteX150" fmla="*/ 5753100 w 8601075"/>
                  <a:gd name="connsiteY150" fmla="*/ 3924300 h 4333875"/>
                  <a:gd name="connsiteX151" fmla="*/ 5905500 w 8601075"/>
                  <a:gd name="connsiteY151" fmla="*/ 3943350 h 4333875"/>
                  <a:gd name="connsiteX152" fmla="*/ 6000750 w 8601075"/>
                  <a:gd name="connsiteY152" fmla="*/ 3800475 h 4333875"/>
                  <a:gd name="connsiteX153" fmla="*/ 6153150 w 8601075"/>
                  <a:gd name="connsiteY153" fmla="*/ 3781425 h 4333875"/>
                  <a:gd name="connsiteX154" fmla="*/ 6257925 w 8601075"/>
                  <a:gd name="connsiteY154" fmla="*/ 3581400 h 4333875"/>
                  <a:gd name="connsiteX155" fmla="*/ 6448425 w 8601075"/>
                  <a:gd name="connsiteY155" fmla="*/ 3448050 h 4333875"/>
                  <a:gd name="connsiteX156" fmla="*/ 6581775 w 8601075"/>
                  <a:gd name="connsiteY156" fmla="*/ 3276600 h 4333875"/>
                  <a:gd name="connsiteX157" fmla="*/ 6496050 w 8601075"/>
                  <a:gd name="connsiteY157" fmla="*/ 3228975 h 4333875"/>
                  <a:gd name="connsiteX158" fmla="*/ 6438900 w 8601075"/>
                  <a:gd name="connsiteY158" fmla="*/ 3162300 h 4333875"/>
                  <a:gd name="connsiteX159" fmla="*/ 6419850 w 8601075"/>
                  <a:gd name="connsiteY159" fmla="*/ 3105150 h 4333875"/>
                  <a:gd name="connsiteX160" fmla="*/ 6362700 w 8601075"/>
                  <a:gd name="connsiteY160" fmla="*/ 3076575 h 4333875"/>
                  <a:gd name="connsiteX161" fmla="*/ 6410325 w 8601075"/>
                  <a:gd name="connsiteY161" fmla="*/ 3019425 h 4333875"/>
                  <a:gd name="connsiteX162" fmla="*/ 6438900 w 8601075"/>
                  <a:gd name="connsiteY162" fmla="*/ 2819400 h 4333875"/>
                  <a:gd name="connsiteX163" fmla="*/ 6496050 w 8601075"/>
                  <a:gd name="connsiteY163" fmla="*/ 2762250 h 4333875"/>
                  <a:gd name="connsiteX164" fmla="*/ 6657975 w 8601075"/>
                  <a:gd name="connsiteY164" fmla="*/ 2752725 h 4333875"/>
                  <a:gd name="connsiteX165" fmla="*/ 6781800 w 8601075"/>
                  <a:gd name="connsiteY165" fmla="*/ 2838450 h 4333875"/>
                  <a:gd name="connsiteX166" fmla="*/ 7010400 w 8601075"/>
                  <a:gd name="connsiteY166" fmla="*/ 2838450 h 4333875"/>
                  <a:gd name="connsiteX167" fmla="*/ 7162800 w 8601075"/>
                  <a:gd name="connsiteY167" fmla="*/ 2705100 h 4333875"/>
                  <a:gd name="connsiteX168" fmla="*/ 7229475 w 8601075"/>
                  <a:gd name="connsiteY168" fmla="*/ 2590800 h 4333875"/>
                  <a:gd name="connsiteX169" fmla="*/ 7248525 w 8601075"/>
                  <a:gd name="connsiteY169" fmla="*/ 2524125 h 4333875"/>
                  <a:gd name="connsiteX170" fmla="*/ 7372350 w 8601075"/>
                  <a:gd name="connsiteY170" fmla="*/ 2543175 h 4333875"/>
                  <a:gd name="connsiteX171" fmla="*/ 7553325 w 8601075"/>
                  <a:gd name="connsiteY171" fmla="*/ 2447925 h 4333875"/>
                  <a:gd name="connsiteX172" fmla="*/ 7620000 w 8601075"/>
                  <a:gd name="connsiteY172" fmla="*/ 2324100 h 4333875"/>
                  <a:gd name="connsiteX173" fmla="*/ 7696200 w 8601075"/>
                  <a:gd name="connsiteY173" fmla="*/ 2314575 h 4333875"/>
                  <a:gd name="connsiteX174" fmla="*/ 7658100 w 8601075"/>
                  <a:gd name="connsiteY174" fmla="*/ 2257425 h 4333875"/>
                  <a:gd name="connsiteX175" fmla="*/ 7753350 w 8601075"/>
                  <a:gd name="connsiteY175" fmla="*/ 2057400 h 4333875"/>
                  <a:gd name="connsiteX176" fmla="*/ 7934325 w 8601075"/>
                  <a:gd name="connsiteY176" fmla="*/ 2028825 h 4333875"/>
                  <a:gd name="connsiteX177" fmla="*/ 7953375 w 8601075"/>
                  <a:gd name="connsiteY177" fmla="*/ 1952625 h 4333875"/>
                  <a:gd name="connsiteX178" fmla="*/ 7953375 w 8601075"/>
                  <a:gd name="connsiteY178" fmla="*/ 1952625 h 4333875"/>
                  <a:gd name="connsiteX179" fmla="*/ 8010525 w 8601075"/>
                  <a:gd name="connsiteY179" fmla="*/ 1895475 h 4333875"/>
                  <a:gd name="connsiteX180" fmla="*/ 8048625 w 8601075"/>
                  <a:gd name="connsiteY180" fmla="*/ 1971675 h 4333875"/>
                  <a:gd name="connsiteX181" fmla="*/ 8077200 w 8601075"/>
                  <a:gd name="connsiteY181" fmla="*/ 1885950 h 4333875"/>
                  <a:gd name="connsiteX182" fmla="*/ 8220075 w 8601075"/>
                  <a:gd name="connsiteY182" fmla="*/ 1847850 h 4333875"/>
                  <a:gd name="connsiteX183" fmla="*/ 8296275 w 8601075"/>
                  <a:gd name="connsiteY183" fmla="*/ 1809750 h 4333875"/>
                  <a:gd name="connsiteX184" fmla="*/ 8324850 w 8601075"/>
                  <a:gd name="connsiteY184" fmla="*/ 1790700 h 4333875"/>
                  <a:gd name="connsiteX185" fmla="*/ 8410575 w 8601075"/>
                  <a:gd name="connsiteY185" fmla="*/ 1847850 h 4333875"/>
                  <a:gd name="connsiteX186" fmla="*/ 8505825 w 8601075"/>
                  <a:gd name="connsiteY186" fmla="*/ 1781175 h 4333875"/>
                  <a:gd name="connsiteX187" fmla="*/ 8572500 w 8601075"/>
                  <a:gd name="connsiteY187" fmla="*/ 1809750 h 4333875"/>
                  <a:gd name="connsiteX188" fmla="*/ 8601075 w 8601075"/>
                  <a:gd name="connsiteY188" fmla="*/ 1704975 h 4333875"/>
                  <a:gd name="connsiteX189" fmla="*/ 8553450 w 8601075"/>
                  <a:gd name="connsiteY189" fmla="*/ 1676400 h 4333875"/>
                  <a:gd name="connsiteX190" fmla="*/ 8534400 w 8601075"/>
                  <a:gd name="connsiteY190" fmla="*/ 1609725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124825 w 8601075"/>
                  <a:gd name="connsiteY194" fmla="*/ 1352550 h 4333875"/>
                  <a:gd name="connsiteX195" fmla="*/ 7924800 w 8601075"/>
                  <a:gd name="connsiteY195" fmla="*/ 1362075 h 4333875"/>
                  <a:gd name="connsiteX196" fmla="*/ 7867650 w 8601075"/>
                  <a:gd name="connsiteY196" fmla="*/ 1457325 h 4333875"/>
                  <a:gd name="connsiteX197" fmla="*/ 7896225 w 8601075"/>
                  <a:gd name="connsiteY197" fmla="*/ 1476375 h 4333875"/>
                  <a:gd name="connsiteX198" fmla="*/ 7858125 w 8601075"/>
                  <a:gd name="connsiteY198" fmla="*/ 1533525 h 4333875"/>
                  <a:gd name="connsiteX199" fmla="*/ 7658100 w 8601075"/>
                  <a:gd name="connsiteY199" fmla="*/ 1447800 h 4333875"/>
                  <a:gd name="connsiteX200" fmla="*/ 7515225 w 8601075"/>
                  <a:gd name="connsiteY200" fmla="*/ 1495425 h 4333875"/>
                  <a:gd name="connsiteX201" fmla="*/ 7467600 w 8601075"/>
                  <a:gd name="connsiteY201" fmla="*/ 1581150 h 4333875"/>
                  <a:gd name="connsiteX202" fmla="*/ 7296150 w 8601075"/>
                  <a:gd name="connsiteY20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00450 w 8601075"/>
                  <a:gd name="connsiteY54" fmla="*/ 285750 h 4333875"/>
                  <a:gd name="connsiteX55" fmla="*/ 3533775 w 8601075"/>
                  <a:gd name="connsiteY55" fmla="*/ 314325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533775 w 8601075"/>
                  <a:gd name="connsiteY55" fmla="*/ 314325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40881 w 8601075"/>
                  <a:gd name="connsiteY57" fmla="*/ 169068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2990850 w 8601075"/>
                  <a:gd name="connsiteY61" fmla="*/ 0 h 4333875"/>
                  <a:gd name="connsiteX62" fmla="*/ 2933700 w 8601075"/>
                  <a:gd name="connsiteY62" fmla="*/ 114300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33700 w 8601075"/>
                  <a:gd name="connsiteY62" fmla="*/ 114300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67025 w 8601075"/>
                  <a:gd name="connsiteY64" fmla="*/ 171450 h 4333875"/>
                  <a:gd name="connsiteX65" fmla="*/ 2867025 w 8601075"/>
                  <a:gd name="connsiteY65" fmla="*/ 171450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67025 w 8601075"/>
                  <a:gd name="connsiteY64" fmla="*/ 171450 h 4333875"/>
                  <a:gd name="connsiteX65" fmla="*/ 2852738 w 8601075"/>
                  <a:gd name="connsiteY65" fmla="*/ 138113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0350 w 8601075"/>
                  <a:gd name="connsiteY67" fmla="*/ 257175 h 4333875"/>
                  <a:gd name="connsiteX68" fmla="*/ 2724150 w 8601075"/>
                  <a:gd name="connsiteY68" fmla="*/ 304800 h 4333875"/>
                  <a:gd name="connsiteX69" fmla="*/ 2705100 w 8601075"/>
                  <a:gd name="connsiteY69" fmla="*/ 466725 h 4333875"/>
                  <a:gd name="connsiteX70" fmla="*/ 2762250 w 8601075"/>
                  <a:gd name="connsiteY70" fmla="*/ 571500 h 4333875"/>
                  <a:gd name="connsiteX71" fmla="*/ 2800350 w 8601075"/>
                  <a:gd name="connsiteY71" fmla="*/ 628650 h 4333875"/>
                  <a:gd name="connsiteX72" fmla="*/ 2752725 w 8601075"/>
                  <a:gd name="connsiteY72" fmla="*/ 781050 h 4333875"/>
                  <a:gd name="connsiteX73" fmla="*/ 2686050 w 8601075"/>
                  <a:gd name="connsiteY73" fmla="*/ 857250 h 4333875"/>
                  <a:gd name="connsiteX74" fmla="*/ 2609850 w 8601075"/>
                  <a:gd name="connsiteY74" fmla="*/ 857250 h 4333875"/>
                  <a:gd name="connsiteX75" fmla="*/ 2514600 w 8601075"/>
                  <a:gd name="connsiteY75" fmla="*/ 914400 h 4333875"/>
                  <a:gd name="connsiteX76" fmla="*/ 2400300 w 8601075"/>
                  <a:gd name="connsiteY76" fmla="*/ 866775 h 4333875"/>
                  <a:gd name="connsiteX77" fmla="*/ 2305050 w 8601075"/>
                  <a:gd name="connsiteY77" fmla="*/ 809625 h 4333875"/>
                  <a:gd name="connsiteX78" fmla="*/ 2200275 w 8601075"/>
                  <a:gd name="connsiteY78" fmla="*/ 752475 h 4333875"/>
                  <a:gd name="connsiteX79" fmla="*/ 2105025 w 8601075"/>
                  <a:gd name="connsiteY79" fmla="*/ 762000 h 4333875"/>
                  <a:gd name="connsiteX80" fmla="*/ 1990725 w 8601075"/>
                  <a:gd name="connsiteY80" fmla="*/ 762000 h 4333875"/>
                  <a:gd name="connsiteX81" fmla="*/ 1885950 w 8601075"/>
                  <a:gd name="connsiteY81" fmla="*/ 742950 h 4333875"/>
                  <a:gd name="connsiteX82" fmla="*/ 1800225 w 8601075"/>
                  <a:gd name="connsiteY82" fmla="*/ 638175 h 4333875"/>
                  <a:gd name="connsiteX83" fmla="*/ 1809750 w 8601075"/>
                  <a:gd name="connsiteY83" fmla="*/ 495300 h 4333875"/>
                  <a:gd name="connsiteX84" fmla="*/ 1733550 w 8601075"/>
                  <a:gd name="connsiteY84" fmla="*/ 466725 h 4333875"/>
                  <a:gd name="connsiteX85" fmla="*/ 1485900 w 8601075"/>
                  <a:gd name="connsiteY85" fmla="*/ 419100 h 4333875"/>
                  <a:gd name="connsiteX86" fmla="*/ 1457325 w 8601075"/>
                  <a:gd name="connsiteY86" fmla="*/ 323850 h 4333875"/>
                  <a:gd name="connsiteX87" fmla="*/ 1457325 w 8601075"/>
                  <a:gd name="connsiteY87" fmla="*/ 323850 h 4333875"/>
                  <a:gd name="connsiteX88" fmla="*/ 1323975 w 8601075"/>
                  <a:gd name="connsiteY88" fmla="*/ 285750 h 4333875"/>
                  <a:gd name="connsiteX89" fmla="*/ 1266825 w 8601075"/>
                  <a:gd name="connsiteY89" fmla="*/ 352425 h 4333875"/>
                  <a:gd name="connsiteX90" fmla="*/ 1009650 w 8601075"/>
                  <a:gd name="connsiteY90" fmla="*/ 390525 h 4333875"/>
                  <a:gd name="connsiteX91" fmla="*/ 828675 w 8601075"/>
                  <a:gd name="connsiteY91" fmla="*/ 447675 h 4333875"/>
                  <a:gd name="connsiteX92" fmla="*/ 619125 w 8601075"/>
                  <a:gd name="connsiteY92" fmla="*/ 533400 h 4333875"/>
                  <a:gd name="connsiteX93" fmla="*/ 619125 w 8601075"/>
                  <a:gd name="connsiteY93" fmla="*/ 533400 h 4333875"/>
                  <a:gd name="connsiteX94" fmla="*/ 561975 w 8601075"/>
                  <a:gd name="connsiteY94" fmla="*/ 61912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295275 w 8601075"/>
                  <a:gd name="connsiteY98" fmla="*/ 657225 h 4333875"/>
                  <a:gd name="connsiteX99" fmla="*/ 180975 w 8601075"/>
                  <a:gd name="connsiteY99" fmla="*/ 638175 h 4333875"/>
                  <a:gd name="connsiteX100" fmla="*/ 180975 w 8601075"/>
                  <a:gd name="connsiteY100" fmla="*/ 638175 h 4333875"/>
                  <a:gd name="connsiteX101" fmla="*/ 57150 w 8601075"/>
                  <a:gd name="connsiteY101" fmla="*/ 733425 h 4333875"/>
                  <a:gd name="connsiteX102" fmla="*/ 19050 w 8601075"/>
                  <a:gd name="connsiteY102" fmla="*/ 790575 h 4333875"/>
                  <a:gd name="connsiteX103" fmla="*/ 0 w 8601075"/>
                  <a:gd name="connsiteY103" fmla="*/ 876300 h 4333875"/>
                  <a:gd name="connsiteX104" fmla="*/ 57150 w 8601075"/>
                  <a:gd name="connsiteY104" fmla="*/ 923925 h 4333875"/>
                  <a:gd name="connsiteX105" fmla="*/ 57150 w 8601075"/>
                  <a:gd name="connsiteY105" fmla="*/ 923925 h 4333875"/>
                  <a:gd name="connsiteX106" fmla="*/ 209550 w 8601075"/>
                  <a:gd name="connsiteY106" fmla="*/ 1114425 h 4333875"/>
                  <a:gd name="connsiteX107" fmla="*/ 209550 w 8601075"/>
                  <a:gd name="connsiteY107" fmla="*/ 1114425 h 4333875"/>
                  <a:gd name="connsiteX108" fmla="*/ 266700 w 8601075"/>
                  <a:gd name="connsiteY108" fmla="*/ 1295400 h 4333875"/>
                  <a:gd name="connsiteX109" fmla="*/ 409575 w 8601075"/>
                  <a:gd name="connsiteY109" fmla="*/ 1276350 h 4333875"/>
                  <a:gd name="connsiteX110" fmla="*/ 466725 w 8601075"/>
                  <a:gd name="connsiteY110" fmla="*/ 1362075 h 4333875"/>
                  <a:gd name="connsiteX111" fmla="*/ 542925 w 8601075"/>
                  <a:gd name="connsiteY111" fmla="*/ 1428750 h 4333875"/>
                  <a:gd name="connsiteX112" fmla="*/ 628650 w 8601075"/>
                  <a:gd name="connsiteY112" fmla="*/ 1571625 h 4333875"/>
                  <a:gd name="connsiteX113" fmla="*/ 628650 w 8601075"/>
                  <a:gd name="connsiteY113" fmla="*/ 1704975 h 4333875"/>
                  <a:gd name="connsiteX114" fmla="*/ 676275 w 8601075"/>
                  <a:gd name="connsiteY114" fmla="*/ 1771650 h 4333875"/>
                  <a:gd name="connsiteX115" fmla="*/ 657225 w 8601075"/>
                  <a:gd name="connsiteY115" fmla="*/ 2000250 h 4333875"/>
                  <a:gd name="connsiteX116" fmla="*/ 619125 w 8601075"/>
                  <a:gd name="connsiteY116" fmla="*/ 2095500 h 4333875"/>
                  <a:gd name="connsiteX117" fmla="*/ 542925 w 8601075"/>
                  <a:gd name="connsiteY117" fmla="*/ 2228850 h 4333875"/>
                  <a:gd name="connsiteX118" fmla="*/ 485775 w 8601075"/>
                  <a:gd name="connsiteY118" fmla="*/ 2362200 h 4333875"/>
                  <a:gd name="connsiteX119" fmla="*/ 552450 w 8601075"/>
                  <a:gd name="connsiteY119" fmla="*/ 2486025 h 4333875"/>
                  <a:gd name="connsiteX120" fmla="*/ 771525 w 8601075"/>
                  <a:gd name="connsiteY120" fmla="*/ 2571750 h 4333875"/>
                  <a:gd name="connsiteX121" fmla="*/ 866775 w 8601075"/>
                  <a:gd name="connsiteY121" fmla="*/ 2571750 h 4333875"/>
                  <a:gd name="connsiteX122" fmla="*/ 914400 w 8601075"/>
                  <a:gd name="connsiteY122" fmla="*/ 2638425 h 4333875"/>
                  <a:gd name="connsiteX123" fmla="*/ 1066800 w 8601075"/>
                  <a:gd name="connsiteY123" fmla="*/ 2638425 h 4333875"/>
                  <a:gd name="connsiteX124" fmla="*/ 1285875 w 8601075"/>
                  <a:gd name="connsiteY124" fmla="*/ 2705100 h 4333875"/>
                  <a:gd name="connsiteX125" fmla="*/ 1438275 w 8601075"/>
                  <a:gd name="connsiteY125" fmla="*/ 2838450 h 4333875"/>
                  <a:gd name="connsiteX126" fmla="*/ 1485900 w 8601075"/>
                  <a:gd name="connsiteY126" fmla="*/ 2914650 h 4333875"/>
                  <a:gd name="connsiteX127" fmla="*/ 1657350 w 8601075"/>
                  <a:gd name="connsiteY127" fmla="*/ 3038475 h 4333875"/>
                  <a:gd name="connsiteX128" fmla="*/ 1752600 w 8601075"/>
                  <a:gd name="connsiteY128" fmla="*/ 3057525 h 4333875"/>
                  <a:gd name="connsiteX129" fmla="*/ 1724025 w 8601075"/>
                  <a:gd name="connsiteY129" fmla="*/ 3143250 h 4333875"/>
                  <a:gd name="connsiteX130" fmla="*/ 1724025 w 8601075"/>
                  <a:gd name="connsiteY130" fmla="*/ 3143250 h 4333875"/>
                  <a:gd name="connsiteX131" fmla="*/ 1781175 w 8601075"/>
                  <a:gd name="connsiteY131" fmla="*/ 3181350 h 4333875"/>
                  <a:gd name="connsiteX132" fmla="*/ 1819275 w 8601075"/>
                  <a:gd name="connsiteY132" fmla="*/ 3362325 h 4333875"/>
                  <a:gd name="connsiteX133" fmla="*/ 1828800 w 8601075"/>
                  <a:gd name="connsiteY133" fmla="*/ 3457575 h 4333875"/>
                  <a:gd name="connsiteX134" fmla="*/ 1971675 w 8601075"/>
                  <a:gd name="connsiteY134" fmla="*/ 3590925 h 4333875"/>
                  <a:gd name="connsiteX135" fmla="*/ 1990725 w 8601075"/>
                  <a:gd name="connsiteY135" fmla="*/ 3714750 h 4333875"/>
                  <a:gd name="connsiteX136" fmla="*/ 2200275 w 8601075"/>
                  <a:gd name="connsiteY136" fmla="*/ 3695700 h 4333875"/>
                  <a:gd name="connsiteX137" fmla="*/ 2886075 w 8601075"/>
                  <a:gd name="connsiteY137" fmla="*/ 3886200 h 4333875"/>
                  <a:gd name="connsiteX138" fmla="*/ 3038475 w 8601075"/>
                  <a:gd name="connsiteY138" fmla="*/ 3819525 h 4333875"/>
                  <a:gd name="connsiteX139" fmla="*/ 3105150 w 8601075"/>
                  <a:gd name="connsiteY139" fmla="*/ 3867150 h 4333875"/>
                  <a:gd name="connsiteX140" fmla="*/ 3181350 w 8601075"/>
                  <a:gd name="connsiteY140" fmla="*/ 3800475 h 4333875"/>
                  <a:gd name="connsiteX141" fmla="*/ 3590925 w 8601075"/>
                  <a:gd name="connsiteY141" fmla="*/ 3943350 h 4333875"/>
                  <a:gd name="connsiteX142" fmla="*/ 3686175 w 8601075"/>
                  <a:gd name="connsiteY142" fmla="*/ 4057650 h 4333875"/>
                  <a:gd name="connsiteX143" fmla="*/ 3838575 w 8601075"/>
                  <a:gd name="connsiteY143" fmla="*/ 4057650 h 4333875"/>
                  <a:gd name="connsiteX144" fmla="*/ 4162425 w 8601075"/>
                  <a:gd name="connsiteY144" fmla="*/ 4248150 h 4333875"/>
                  <a:gd name="connsiteX145" fmla="*/ 4391025 w 8601075"/>
                  <a:gd name="connsiteY145" fmla="*/ 4200525 h 4333875"/>
                  <a:gd name="connsiteX146" fmla="*/ 4410075 w 8601075"/>
                  <a:gd name="connsiteY146" fmla="*/ 4305300 h 4333875"/>
                  <a:gd name="connsiteX147" fmla="*/ 4505325 w 8601075"/>
                  <a:gd name="connsiteY147" fmla="*/ 4276725 h 4333875"/>
                  <a:gd name="connsiteX148" fmla="*/ 4572000 w 8601075"/>
                  <a:gd name="connsiteY148" fmla="*/ 4333875 h 4333875"/>
                  <a:gd name="connsiteX149" fmla="*/ 4591050 w 8601075"/>
                  <a:gd name="connsiteY149" fmla="*/ 4248150 h 4333875"/>
                  <a:gd name="connsiteX150" fmla="*/ 5295900 w 8601075"/>
                  <a:gd name="connsiteY150" fmla="*/ 3924300 h 4333875"/>
                  <a:gd name="connsiteX151" fmla="*/ 5353050 w 8601075"/>
                  <a:gd name="connsiteY151" fmla="*/ 3990975 h 4333875"/>
                  <a:gd name="connsiteX152" fmla="*/ 5524500 w 8601075"/>
                  <a:gd name="connsiteY152" fmla="*/ 3914775 h 4333875"/>
                  <a:gd name="connsiteX153" fmla="*/ 5667375 w 8601075"/>
                  <a:gd name="connsiteY153" fmla="*/ 3962400 h 4333875"/>
                  <a:gd name="connsiteX154" fmla="*/ 5753100 w 8601075"/>
                  <a:gd name="connsiteY154" fmla="*/ 3924300 h 4333875"/>
                  <a:gd name="connsiteX155" fmla="*/ 5905500 w 8601075"/>
                  <a:gd name="connsiteY155" fmla="*/ 3943350 h 4333875"/>
                  <a:gd name="connsiteX156" fmla="*/ 6000750 w 8601075"/>
                  <a:gd name="connsiteY156" fmla="*/ 3800475 h 4333875"/>
                  <a:gd name="connsiteX157" fmla="*/ 6153150 w 8601075"/>
                  <a:gd name="connsiteY157" fmla="*/ 3781425 h 4333875"/>
                  <a:gd name="connsiteX158" fmla="*/ 6257925 w 8601075"/>
                  <a:gd name="connsiteY158" fmla="*/ 3581400 h 4333875"/>
                  <a:gd name="connsiteX159" fmla="*/ 6448425 w 8601075"/>
                  <a:gd name="connsiteY159" fmla="*/ 3448050 h 4333875"/>
                  <a:gd name="connsiteX160" fmla="*/ 6581775 w 8601075"/>
                  <a:gd name="connsiteY160" fmla="*/ 3276600 h 4333875"/>
                  <a:gd name="connsiteX161" fmla="*/ 6496050 w 8601075"/>
                  <a:gd name="connsiteY161" fmla="*/ 3228975 h 4333875"/>
                  <a:gd name="connsiteX162" fmla="*/ 6438900 w 8601075"/>
                  <a:gd name="connsiteY162" fmla="*/ 3162300 h 4333875"/>
                  <a:gd name="connsiteX163" fmla="*/ 6419850 w 8601075"/>
                  <a:gd name="connsiteY163" fmla="*/ 3105150 h 4333875"/>
                  <a:gd name="connsiteX164" fmla="*/ 6362700 w 8601075"/>
                  <a:gd name="connsiteY164" fmla="*/ 3076575 h 4333875"/>
                  <a:gd name="connsiteX165" fmla="*/ 6410325 w 8601075"/>
                  <a:gd name="connsiteY165" fmla="*/ 3019425 h 4333875"/>
                  <a:gd name="connsiteX166" fmla="*/ 6438900 w 8601075"/>
                  <a:gd name="connsiteY166" fmla="*/ 2819400 h 4333875"/>
                  <a:gd name="connsiteX167" fmla="*/ 6496050 w 8601075"/>
                  <a:gd name="connsiteY167" fmla="*/ 2762250 h 4333875"/>
                  <a:gd name="connsiteX168" fmla="*/ 6657975 w 8601075"/>
                  <a:gd name="connsiteY168" fmla="*/ 2752725 h 4333875"/>
                  <a:gd name="connsiteX169" fmla="*/ 6781800 w 8601075"/>
                  <a:gd name="connsiteY169" fmla="*/ 2838450 h 4333875"/>
                  <a:gd name="connsiteX170" fmla="*/ 7010400 w 8601075"/>
                  <a:gd name="connsiteY170" fmla="*/ 2838450 h 4333875"/>
                  <a:gd name="connsiteX171" fmla="*/ 7162800 w 8601075"/>
                  <a:gd name="connsiteY171" fmla="*/ 2705100 h 4333875"/>
                  <a:gd name="connsiteX172" fmla="*/ 7229475 w 8601075"/>
                  <a:gd name="connsiteY172" fmla="*/ 2590800 h 4333875"/>
                  <a:gd name="connsiteX173" fmla="*/ 7248525 w 8601075"/>
                  <a:gd name="connsiteY173" fmla="*/ 2524125 h 4333875"/>
                  <a:gd name="connsiteX174" fmla="*/ 7372350 w 8601075"/>
                  <a:gd name="connsiteY174" fmla="*/ 2543175 h 4333875"/>
                  <a:gd name="connsiteX175" fmla="*/ 7553325 w 8601075"/>
                  <a:gd name="connsiteY175" fmla="*/ 2447925 h 4333875"/>
                  <a:gd name="connsiteX176" fmla="*/ 7620000 w 8601075"/>
                  <a:gd name="connsiteY176" fmla="*/ 2324100 h 4333875"/>
                  <a:gd name="connsiteX177" fmla="*/ 7696200 w 8601075"/>
                  <a:gd name="connsiteY177" fmla="*/ 2314575 h 4333875"/>
                  <a:gd name="connsiteX178" fmla="*/ 7658100 w 8601075"/>
                  <a:gd name="connsiteY178" fmla="*/ 2257425 h 4333875"/>
                  <a:gd name="connsiteX179" fmla="*/ 7753350 w 8601075"/>
                  <a:gd name="connsiteY179" fmla="*/ 2057400 h 4333875"/>
                  <a:gd name="connsiteX180" fmla="*/ 7934325 w 8601075"/>
                  <a:gd name="connsiteY180" fmla="*/ 2028825 h 4333875"/>
                  <a:gd name="connsiteX181" fmla="*/ 7953375 w 8601075"/>
                  <a:gd name="connsiteY181" fmla="*/ 1952625 h 4333875"/>
                  <a:gd name="connsiteX182" fmla="*/ 7953375 w 8601075"/>
                  <a:gd name="connsiteY182" fmla="*/ 1952625 h 4333875"/>
                  <a:gd name="connsiteX183" fmla="*/ 8010525 w 8601075"/>
                  <a:gd name="connsiteY183" fmla="*/ 1895475 h 4333875"/>
                  <a:gd name="connsiteX184" fmla="*/ 8048625 w 8601075"/>
                  <a:gd name="connsiteY184" fmla="*/ 1971675 h 4333875"/>
                  <a:gd name="connsiteX185" fmla="*/ 8077200 w 8601075"/>
                  <a:gd name="connsiteY185" fmla="*/ 1885950 h 4333875"/>
                  <a:gd name="connsiteX186" fmla="*/ 8220075 w 8601075"/>
                  <a:gd name="connsiteY186" fmla="*/ 1847850 h 4333875"/>
                  <a:gd name="connsiteX187" fmla="*/ 8296275 w 8601075"/>
                  <a:gd name="connsiteY187" fmla="*/ 1809750 h 4333875"/>
                  <a:gd name="connsiteX188" fmla="*/ 8324850 w 8601075"/>
                  <a:gd name="connsiteY188" fmla="*/ 1790700 h 4333875"/>
                  <a:gd name="connsiteX189" fmla="*/ 8410575 w 8601075"/>
                  <a:gd name="connsiteY189" fmla="*/ 1847850 h 4333875"/>
                  <a:gd name="connsiteX190" fmla="*/ 8505825 w 8601075"/>
                  <a:gd name="connsiteY190" fmla="*/ 1781175 h 4333875"/>
                  <a:gd name="connsiteX191" fmla="*/ 8572500 w 8601075"/>
                  <a:gd name="connsiteY191" fmla="*/ 1809750 h 4333875"/>
                  <a:gd name="connsiteX192" fmla="*/ 8601075 w 8601075"/>
                  <a:gd name="connsiteY192" fmla="*/ 1704975 h 4333875"/>
                  <a:gd name="connsiteX193" fmla="*/ 8553450 w 8601075"/>
                  <a:gd name="connsiteY193" fmla="*/ 1676400 h 4333875"/>
                  <a:gd name="connsiteX194" fmla="*/ 8534400 w 8601075"/>
                  <a:gd name="connsiteY194" fmla="*/ 1609725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124825 w 8601075"/>
                  <a:gd name="connsiteY198" fmla="*/ 1352550 h 4333875"/>
                  <a:gd name="connsiteX199" fmla="*/ 7924800 w 8601075"/>
                  <a:gd name="connsiteY199" fmla="*/ 1362075 h 4333875"/>
                  <a:gd name="connsiteX200" fmla="*/ 7867650 w 8601075"/>
                  <a:gd name="connsiteY200" fmla="*/ 1457325 h 4333875"/>
                  <a:gd name="connsiteX201" fmla="*/ 7896225 w 8601075"/>
                  <a:gd name="connsiteY201" fmla="*/ 1476375 h 4333875"/>
                  <a:gd name="connsiteX202" fmla="*/ 7858125 w 8601075"/>
                  <a:gd name="connsiteY202" fmla="*/ 1533525 h 4333875"/>
                  <a:gd name="connsiteX203" fmla="*/ 7658100 w 8601075"/>
                  <a:gd name="connsiteY203" fmla="*/ 1447800 h 4333875"/>
                  <a:gd name="connsiteX204" fmla="*/ 7515225 w 8601075"/>
                  <a:gd name="connsiteY204" fmla="*/ 1495425 h 4333875"/>
                  <a:gd name="connsiteX205" fmla="*/ 7467600 w 8601075"/>
                  <a:gd name="connsiteY205" fmla="*/ 1581150 h 4333875"/>
                  <a:gd name="connsiteX206" fmla="*/ 7296150 w 8601075"/>
                  <a:gd name="connsiteY20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17018 w 8601075"/>
                  <a:gd name="connsiteY67" fmla="*/ 230981 h 4333875"/>
                  <a:gd name="connsiteX68" fmla="*/ 2724150 w 8601075"/>
                  <a:gd name="connsiteY68" fmla="*/ 304800 h 4333875"/>
                  <a:gd name="connsiteX69" fmla="*/ 2705100 w 8601075"/>
                  <a:gd name="connsiteY69" fmla="*/ 466725 h 4333875"/>
                  <a:gd name="connsiteX70" fmla="*/ 2762250 w 8601075"/>
                  <a:gd name="connsiteY70" fmla="*/ 571500 h 4333875"/>
                  <a:gd name="connsiteX71" fmla="*/ 2800350 w 8601075"/>
                  <a:gd name="connsiteY71" fmla="*/ 628650 h 4333875"/>
                  <a:gd name="connsiteX72" fmla="*/ 2752725 w 8601075"/>
                  <a:gd name="connsiteY72" fmla="*/ 781050 h 4333875"/>
                  <a:gd name="connsiteX73" fmla="*/ 2686050 w 8601075"/>
                  <a:gd name="connsiteY73" fmla="*/ 857250 h 4333875"/>
                  <a:gd name="connsiteX74" fmla="*/ 2609850 w 8601075"/>
                  <a:gd name="connsiteY74" fmla="*/ 857250 h 4333875"/>
                  <a:gd name="connsiteX75" fmla="*/ 2514600 w 8601075"/>
                  <a:gd name="connsiteY75" fmla="*/ 914400 h 4333875"/>
                  <a:gd name="connsiteX76" fmla="*/ 2400300 w 8601075"/>
                  <a:gd name="connsiteY76" fmla="*/ 866775 h 4333875"/>
                  <a:gd name="connsiteX77" fmla="*/ 2305050 w 8601075"/>
                  <a:gd name="connsiteY77" fmla="*/ 809625 h 4333875"/>
                  <a:gd name="connsiteX78" fmla="*/ 2200275 w 8601075"/>
                  <a:gd name="connsiteY78" fmla="*/ 752475 h 4333875"/>
                  <a:gd name="connsiteX79" fmla="*/ 2105025 w 8601075"/>
                  <a:gd name="connsiteY79" fmla="*/ 762000 h 4333875"/>
                  <a:gd name="connsiteX80" fmla="*/ 1990725 w 8601075"/>
                  <a:gd name="connsiteY80" fmla="*/ 762000 h 4333875"/>
                  <a:gd name="connsiteX81" fmla="*/ 1885950 w 8601075"/>
                  <a:gd name="connsiteY81" fmla="*/ 742950 h 4333875"/>
                  <a:gd name="connsiteX82" fmla="*/ 1800225 w 8601075"/>
                  <a:gd name="connsiteY82" fmla="*/ 638175 h 4333875"/>
                  <a:gd name="connsiteX83" fmla="*/ 1809750 w 8601075"/>
                  <a:gd name="connsiteY83" fmla="*/ 495300 h 4333875"/>
                  <a:gd name="connsiteX84" fmla="*/ 1733550 w 8601075"/>
                  <a:gd name="connsiteY84" fmla="*/ 466725 h 4333875"/>
                  <a:gd name="connsiteX85" fmla="*/ 1485900 w 8601075"/>
                  <a:gd name="connsiteY85" fmla="*/ 419100 h 4333875"/>
                  <a:gd name="connsiteX86" fmla="*/ 1457325 w 8601075"/>
                  <a:gd name="connsiteY86" fmla="*/ 323850 h 4333875"/>
                  <a:gd name="connsiteX87" fmla="*/ 1457325 w 8601075"/>
                  <a:gd name="connsiteY87" fmla="*/ 323850 h 4333875"/>
                  <a:gd name="connsiteX88" fmla="*/ 1323975 w 8601075"/>
                  <a:gd name="connsiteY88" fmla="*/ 285750 h 4333875"/>
                  <a:gd name="connsiteX89" fmla="*/ 1266825 w 8601075"/>
                  <a:gd name="connsiteY89" fmla="*/ 352425 h 4333875"/>
                  <a:gd name="connsiteX90" fmla="*/ 1009650 w 8601075"/>
                  <a:gd name="connsiteY90" fmla="*/ 390525 h 4333875"/>
                  <a:gd name="connsiteX91" fmla="*/ 828675 w 8601075"/>
                  <a:gd name="connsiteY91" fmla="*/ 447675 h 4333875"/>
                  <a:gd name="connsiteX92" fmla="*/ 619125 w 8601075"/>
                  <a:gd name="connsiteY92" fmla="*/ 533400 h 4333875"/>
                  <a:gd name="connsiteX93" fmla="*/ 619125 w 8601075"/>
                  <a:gd name="connsiteY93" fmla="*/ 533400 h 4333875"/>
                  <a:gd name="connsiteX94" fmla="*/ 561975 w 8601075"/>
                  <a:gd name="connsiteY94" fmla="*/ 61912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295275 w 8601075"/>
                  <a:gd name="connsiteY98" fmla="*/ 657225 h 4333875"/>
                  <a:gd name="connsiteX99" fmla="*/ 180975 w 8601075"/>
                  <a:gd name="connsiteY99" fmla="*/ 638175 h 4333875"/>
                  <a:gd name="connsiteX100" fmla="*/ 180975 w 8601075"/>
                  <a:gd name="connsiteY100" fmla="*/ 638175 h 4333875"/>
                  <a:gd name="connsiteX101" fmla="*/ 57150 w 8601075"/>
                  <a:gd name="connsiteY101" fmla="*/ 733425 h 4333875"/>
                  <a:gd name="connsiteX102" fmla="*/ 19050 w 8601075"/>
                  <a:gd name="connsiteY102" fmla="*/ 790575 h 4333875"/>
                  <a:gd name="connsiteX103" fmla="*/ 0 w 8601075"/>
                  <a:gd name="connsiteY103" fmla="*/ 876300 h 4333875"/>
                  <a:gd name="connsiteX104" fmla="*/ 57150 w 8601075"/>
                  <a:gd name="connsiteY104" fmla="*/ 923925 h 4333875"/>
                  <a:gd name="connsiteX105" fmla="*/ 57150 w 8601075"/>
                  <a:gd name="connsiteY105" fmla="*/ 923925 h 4333875"/>
                  <a:gd name="connsiteX106" fmla="*/ 209550 w 8601075"/>
                  <a:gd name="connsiteY106" fmla="*/ 1114425 h 4333875"/>
                  <a:gd name="connsiteX107" fmla="*/ 209550 w 8601075"/>
                  <a:gd name="connsiteY107" fmla="*/ 1114425 h 4333875"/>
                  <a:gd name="connsiteX108" fmla="*/ 266700 w 8601075"/>
                  <a:gd name="connsiteY108" fmla="*/ 1295400 h 4333875"/>
                  <a:gd name="connsiteX109" fmla="*/ 409575 w 8601075"/>
                  <a:gd name="connsiteY109" fmla="*/ 1276350 h 4333875"/>
                  <a:gd name="connsiteX110" fmla="*/ 466725 w 8601075"/>
                  <a:gd name="connsiteY110" fmla="*/ 1362075 h 4333875"/>
                  <a:gd name="connsiteX111" fmla="*/ 542925 w 8601075"/>
                  <a:gd name="connsiteY111" fmla="*/ 1428750 h 4333875"/>
                  <a:gd name="connsiteX112" fmla="*/ 628650 w 8601075"/>
                  <a:gd name="connsiteY112" fmla="*/ 1571625 h 4333875"/>
                  <a:gd name="connsiteX113" fmla="*/ 628650 w 8601075"/>
                  <a:gd name="connsiteY113" fmla="*/ 1704975 h 4333875"/>
                  <a:gd name="connsiteX114" fmla="*/ 676275 w 8601075"/>
                  <a:gd name="connsiteY114" fmla="*/ 1771650 h 4333875"/>
                  <a:gd name="connsiteX115" fmla="*/ 657225 w 8601075"/>
                  <a:gd name="connsiteY115" fmla="*/ 2000250 h 4333875"/>
                  <a:gd name="connsiteX116" fmla="*/ 619125 w 8601075"/>
                  <a:gd name="connsiteY116" fmla="*/ 2095500 h 4333875"/>
                  <a:gd name="connsiteX117" fmla="*/ 542925 w 8601075"/>
                  <a:gd name="connsiteY117" fmla="*/ 2228850 h 4333875"/>
                  <a:gd name="connsiteX118" fmla="*/ 485775 w 8601075"/>
                  <a:gd name="connsiteY118" fmla="*/ 2362200 h 4333875"/>
                  <a:gd name="connsiteX119" fmla="*/ 552450 w 8601075"/>
                  <a:gd name="connsiteY119" fmla="*/ 2486025 h 4333875"/>
                  <a:gd name="connsiteX120" fmla="*/ 771525 w 8601075"/>
                  <a:gd name="connsiteY120" fmla="*/ 2571750 h 4333875"/>
                  <a:gd name="connsiteX121" fmla="*/ 866775 w 8601075"/>
                  <a:gd name="connsiteY121" fmla="*/ 2571750 h 4333875"/>
                  <a:gd name="connsiteX122" fmla="*/ 914400 w 8601075"/>
                  <a:gd name="connsiteY122" fmla="*/ 2638425 h 4333875"/>
                  <a:gd name="connsiteX123" fmla="*/ 1066800 w 8601075"/>
                  <a:gd name="connsiteY123" fmla="*/ 2638425 h 4333875"/>
                  <a:gd name="connsiteX124" fmla="*/ 1285875 w 8601075"/>
                  <a:gd name="connsiteY124" fmla="*/ 2705100 h 4333875"/>
                  <a:gd name="connsiteX125" fmla="*/ 1438275 w 8601075"/>
                  <a:gd name="connsiteY125" fmla="*/ 2838450 h 4333875"/>
                  <a:gd name="connsiteX126" fmla="*/ 1485900 w 8601075"/>
                  <a:gd name="connsiteY126" fmla="*/ 2914650 h 4333875"/>
                  <a:gd name="connsiteX127" fmla="*/ 1657350 w 8601075"/>
                  <a:gd name="connsiteY127" fmla="*/ 3038475 h 4333875"/>
                  <a:gd name="connsiteX128" fmla="*/ 1752600 w 8601075"/>
                  <a:gd name="connsiteY128" fmla="*/ 3057525 h 4333875"/>
                  <a:gd name="connsiteX129" fmla="*/ 1724025 w 8601075"/>
                  <a:gd name="connsiteY129" fmla="*/ 3143250 h 4333875"/>
                  <a:gd name="connsiteX130" fmla="*/ 1724025 w 8601075"/>
                  <a:gd name="connsiteY130" fmla="*/ 3143250 h 4333875"/>
                  <a:gd name="connsiteX131" fmla="*/ 1781175 w 8601075"/>
                  <a:gd name="connsiteY131" fmla="*/ 3181350 h 4333875"/>
                  <a:gd name="connsiteX132" fmla="*/ 1819275 w 8601075"/>
                  <a:gd name="connsiteY132" fmla="*/ 3362325 h 4333875"/>
                  <a:gd name="connsiteX133" fmla="*/ 1828800 w 8601075"/>
                  <a:gd name="connsiteY133" fmla="*/ 3457575 h 4333875"/>
                  <a:gd name="connsiteX134" fmla="*/ 1971675 w 8601075"/>
                  <a:gd name="connsiteY134" fmla="*/ 3590925 h 4333875"/>
                  <a:gd name="connsiteX135" fmla="*/ 1990725 w 8601075"/>
                  <a:gd name="connsiteY135" fmla="*/ 3714750 h 4333875"/>
                  <a:gd name="connsiteX136" fmla="*/ 2200275 w 8601075"/>
                  <a:gd name="connsiteY136" fmla="*/ 3695700 h 4333875"/>
                  <a:gd name="connsiteX137" fmla="*/ 2886075 w 8601075"/>
                  <a:gd name="connsiteY137" fmla="*/ 3886200 h 4333875"/>
                  <a:gd name="connsiteX138" fmla="*/ 3038475 w 8601075"/>
                  <a:gd name="connsiteY138" fmla="*/ 3819525 h 4333875"/>
                  <a:gd name="connsiteX139" fmla="*/ 3105150 w 8601075"/>
                  <a:gd name="connsiteY139" fmla="*/ 3867150 h 4333875"/>
                  <a:gd name="connsiteX140" fmla="*/ 3181350 w 8601075"/>
                  <a:gd name="connsiteY140" fmla="*/ 3800475 h 4333875"/>
                  <a:gd name="connsiteX141" fmla="*/ 3590925 w 8601075"/>
                  <a:gd name="connsiteY141" fmla="*/ 3943350 h 4333875"/>
                  <a:gd name="connsiteX142" fmla="*/ 3686175 w 8601075"/>
                  <a:gd name="connsiteY142" fmla="*/ 4057650 h 4333875"/>
                  <a:gd name="connsiteX143" fmla="*/ 3838575 w 8601075"/>
                  <a:gd name="connsiteY143" fmla="*/ 4057650 h 4333875"/>
                  <a:gd name="connsiteX144" fmla="*/ 4162425 w 8601075"/>
                  <a:gd name="connsiteY144" fmla="*/ 4248150 h 4333875"/>
                  <a:gd name="connsiteX145" fmla="*/ 4391025 w 8601075"/>
                  <a:gd name="connsiteY145" fmla="*/ 4200525 h 4333875"/>
                  <a:gd name="connsiteX146" fmla="*/ 4410075 w 8601075"/>
                  <a:gd name="connsiteY146" fmla="*/ 4305300 h 4333875"/>
                  <a:gd name="connsiteX147" fmla="*/ 4505325 w 8601075"/>
                  <a:gd name="connsiteY147" fmla="*/ 4276725 h 4333875"/>
                  <a:gd name="connsiteX148" fmla="*/ 4572000 w 8601075"/>
                  <a:gd name="connsiteY148" fmla="*/ 4333875 h 4333875"/>
                  <a:gd name="connsiteX149" fmla="*/ 4591050 w 8601075"/>
                  <a:gd name="connsiteY149" fmla="*/ 4248150 h 4333875"/>
                  <a:gd name="connsiteX150" fmla="*/ 5295900 w 8601075"/>
                  <a:gd name="connsiteY150" fmla="*/ 3924300 h 4333875"/>
                  <a:gd name="connsiteX151" fmla="*/ 5353050 w 8601075"/>
                  <a:gd name="connsiteY151" fmla="*/ 3990975 h 4333875"/>
                  <a:gd name="connsiteX152" fmla="*/ 5524500 w 8601075"/>
                  <a:gd name="connsiteY152" fmla="*/ 3914775 h 4333875"/>
                  <a:gd name="connsiteX153" fmla="*/ 5667375 w 8601075"/>
                  <a:gd name="connsiteY153" fmla="*/ 3962400 h 4333875"/>
                  <a:gd name="connsiteX154" fmla="*/ 5753100 w 8601075"/>
                  <a:gd name="connsiteY154" fmla="*/ 3924300 h 4333875"/>
                  <a:gd name="connsiteX155" fmla="*/ 5905500 w 8601075"/>
                  <a:gd name="connsiteY155" fmla="*/ 3943350 h 4333875"/>
                  <a:gd name="connsiteX156" fmla="*/ 6000750 w 8601075"/>
                  <a:gd name="connsiteY156" fmla="*/ 3800475 h 4333875"/>
                  <a:gd name="connsiteX157" fmla="*/ 6153150 w 8601075"/>
                  <a:gd name="connsiteY157" fmla="*/ 3781425 h 4333875"/>
                  <a:gd name="connsiteX158" fmla="*/ 6257925 w 8601075"/>
                  <a:gd name="connsiteY158" fmla="*/ 3581400 h 4333875"/>
                  <a:gd name="connsiteX159" fmla="*/ 6448425 w 8601075"/>
                  <a:gd name="connsiteY159" fmla="*/ 3448050 h 4333875"/>
                  <a:gd name="connsiteX160" fmla="*/ 6581775 w 8601075"/>
                  <a:gd name="connsiteY160" fmla="*/ 3276600 h 4333875"/>
                  <a:gd name="connsiteX161" fmla="*/ 6496050 w 8601075"/>
                  <a:gd name="connsiteY161" fmla="*/ 3228975 h 4333875"/>
                  <a:gd name="connsiteX162" fmla="*/ 6438900 w 8601075"/>
                  <a:gd name="connsiteY162" fmla="*/ 3162300 h 4333875"/>
                  <a:gd name="connsiteX163" fmla="*/ 6419850 w 8601075"/>
                  <a:gd name="connsiteY163" fmla="*/ 3105150 h 4333875"/>
                  <a:gd name="connsiteX164" fmla="*/ 6362700 w 8601075"/>
                  <a:gd name="connsiteY164" fmla="*/ 3076575 h 4333875"/>
                  <a:gd name="connsiteX165" fmla="*/ 6410325 w 8601075"/>
                  <a:gd name="connsiteY165" fmla="*/ 3019425 h 4333875"/>
                  <a:gd name="connsiteX166" fmla="*/ 6438900 w 8601075"/>
                  <a:gd name="connsiteY166" fmla="*/ 2819400 h 4333875"/>
                  <a:gd name="connsiteX167" fmla="*/ 6496050 w 8601075"/>
                  <a:gd name="connsiteY167" fmla="*/ 2762250 h 4333875"/>
                  <a:gd name="connsiteX168" fmla="*/ 6657975 w 8601075"/>
                  <a:gd name="connsiteY168" fmla="*/ 2752725 h 4333875"/>
                  <a:gd name="connsiteX169" fmla="*/ 6781800 w 8601075"/>
                  <a:gd name="connsiteY169" fmla="*/ 2838450 h 4333875"/>
                  <a:gd name="connsiteX170" fmla="*/ 7010400 w 8601075"/>
                  <a:gd name="connsiteY170" fmla="*/ 2838450 h 4333875"/>
                  <a:gd name="connsiteX171" fmla="*/ 7162800 w 8601075"/>
                  <a:gd name="connsiteY171" fmla="*/ 2705100 h 4333875"/>
                  <a:gd name="connsiteX172" fmla="*/ 7229475 w 8601075"/>
                  <a:gd name="connsiteY172" fmla="*/ 2590800 h 4333875"/>
                  <a:gd name="connsiteX173" fmla="*/ 7248525 w 8601075"/>
                  <a:gd name="connsiteY173" fmla="*/ 2524125 h 4333875"/>
                  <a:gd name="connsiteX174" fmla="*/ 7372350 w 8601075"/>
                  <a:gd name="connsiteY174" fmla="*/ 2543175 h 4333875"/>
                  <a:gd name="connsiteX175" fmla="*/ 7553325 w 8601075"/>
                  <a:gd name="connsiteY175" fmla="*/ 2447925 h 4333875"/>
                  <a:gd name="connsiteX176" fmla="*/ 7620000 w 8601075"/>
                  <a:gd name="connsiteY176" fmla="*/ 2324100 h 4333875"/>
                  <a:gd name="connsiteX177" fmla="*/ 7696200 w 8601075"/>
                  <a:gd name="connsiteY177" fmla="*/ 2314575 h 4333875"/>
                  <a:gd name="connsiteX178" fmla="*/ 7658100 w 8601075"/>
                  <a:gd name="connsiteY178" fmla="*/ 2257425 h 4333875"/>
                  <a:gd name="connsiteX179" fmla="*/ 7753350 w 8601075"/>
                  <a:gd name="connsiteY179" fmla="*/ 2057400 h 4333875"/>
                  <a:gd name="connsiteX180" fmla="*/ 7934325 w 8601075"/>
                  <a:gd name="connsiteY180" fmla="*/ 2028825 h 4333875"/>
                  <a:gd name="connsiteX181" fmla="*/ 7953375 w 8601075"/>
                  <a:gd name="connsiteY181" fmla="*/ 1952625 h 4333875"/>
                  <a:gd name="connsiteX182" fmla="*/ 7953375 w 8601075"/>
                  <a:gd name="connsiteY182" fmla="*/ 1952625 h 4333875"/>
                  <a:gd name="connsiteX183" fmla="*/ 8010525 w 8601075"/>
                  <a:gd name="connsiteY183" fmla="*/ 1895475 h 4333875"/>
                  <a:gd name="connsiteX184" fmla="*/ 8048625 w 8601075"/>
                  <a:gd name="connsiteY184" fmla="*/ 1971675 h 4333875"/>
                  <a:gd name="connsiteX185" fmla="*/ 8077200 w 8601075"/>
                  <a:gd name="connsiteY185" fmla="*/ 1885950 h 4333875"/>
                  <a:gd name="connsiteX186" fmla="*/ 8220075 w 8601075"/>
                  <a:gd name="connsiteY186" fmla="*/ 1847850 h 4333875"/>
                  <a:gd name="connsiteX187" fmla="*/ 8296275 w 8601075"/>
                  <a:gd name="connsiteY187" fmla="*/ 1809750 h 4333875"/>
                  <a:gd name="connsiteX188" fmla="*/ 8324850 w 8601075"/>
                  <a:gd name="connsiteY188" fmla="*/ 1790700 h 4333875"/>
                  <a:gd name="connsiteX189" fmla="*/ 8410575 w 8601075"/>
                  <a:gd name="connsiteY189" fmla="*/ 1847850 h 4333875"/>
                  <a:gd name="connsiteX190" fmla="*/ 8505825 w 8601075"/>
                  <a:gd name="connsiteY190" fmla="*/ 1781175 h 4333875"/>
                  <a:gd name="connsiteX191" fmla="*/ 8572500 w 8601075"/>
                  <a:gd name="connsiteY191" fmla="*/ 1809750 h 4333875"/>
                  <a:gd name="connsiteX192" fmla="*/ 8601075 w 8601075"/>
                  <a:gd name="connsiteY192" fmla="*/ 1704975 h 4333875"/>
                  <a:gd name="connsiteX193" fmla="*/ 8553450 w 8601075"/>
                  <a:gd name="connsiteY193" fmla="*/ 1676400 h 4333875"/>
                  <a:gd name="connsiteX194" fmla="*/ 8534400 w 8601075"/>
                  <a:gd name="connsiteY194" fmla="*/ 1609725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124825 w 8601075"/>
                  <a:gd name="connsiteY198" fmla="*/ 1352550 h 4333875"/>
                  <a:gd name="connsiteX199" fmla="*/ 7924800 w 8601075"/>
                  <a:gd name="connsiteY199" fmla="*/ 1362075 h 4333875"/>
                  <a:gd name="connsiteX200" fmla="*/ 7867650 w 8601075"/>
                  <a:gd name="connsiteY200" fmla="*/ 1457325 h 4333875"/>
                  <a:gd name="connsiteX201" fmla="*/ 7896225 w 8601075"/>
                  <a:gd name="connsiteY201" fmla="*/ 1476375 h 4333875"/>
                  <a:gd name="connsiteX202" fmla="*/ 7858125 w 8601075"/>
                  <a:gd name="connsiteY202" fmla="*/ 1533525 h 4333875"/>
                  <a:gd name="connsiteX203" fmla="*/ 7658100 w 8601075"/>
                  <a:gd name="connsiteY203" fmla="*/ 1447800 h 4333875"/>
                  <a:gd name="connsiteX204" fmla="*/ 7515225 w 8601075"/>
                  <a:gd name="connsiteY204" fmla="*/ 1495425 h 4333875"/>
                  <a:gd name="connsiteX205" fmla="*/ 7467600 w 8601075"/>
                  <a:gd name="connsiteY205" fmla="*/ 1581150 h 4333875"/>
                  <a:gd name="connsiteX206" fmla="*/ 7296150 w 8601075"/>
                  <a:gd name="connsiteY20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17018 w 8601075"/>
                  <a:gd name="connsiteY67" fmla="*/ 230981 h 4333875"/>
                  <a:gd name="connsiteX68" fmla="*/ 2759869 w 8601075"/>
                  <a:gd name="connsiteY68" fmla="*/ 242888 h 4333875"/>
                  <a:gd name="connsiteX69" fmla="*/ 2724150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4150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697957 w 8601075"/>
                  <a:gd name="connsiteY70" fmla="*/ 407194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62250 w 8601075"/>
                  <a:gd name="connsiteY72" fmla="*/ 571500 h 4333875"/>
                  <a:gd name="connsiteX73" fmla="*/ 2800350 w 8601075"/>
                  <a:gd name="connsiteY73" fmla="*/ 628650 h 4333875"/>
                  <a:gd name="connsiteX74" fmla="*/ 2752725 w 8601075"/>
                  <a:gd name="connsiteY74" fmla="*/ 781050 h 4333875"/>
                  <a:gd name="connsiteX75" fmla="*/ 2686050 w 8601075"/>
                  <a:gd name="connsiteY75" fmla="*/ 857250 h 4333875"/>
                  <a:gd name="connsiteX76" fmla="*/ 2609850 w 8601075"/>
                  <a:gd name="connsiteY76" fmla="*/ 857250 h 4333875"/>
                  <a:gd name="connsiteX77" fmla="*/ 2514600 w 8601075"/>
                  <a:gd name="connsiteY77" fmla="*/ 914400 h 4333875"/>
                  <a:gd name="connsiteX78" fmla="*/ 2400300 w 8601075"/>
                  <a:gd name="connsiteY78" fmla="*/ 866775 h 4333875"/>
                  <a:gd name="connsiteX79" fmla="*/ 2305050 w 8601075"/>
                  <a:gd name="connsiteY79" fmla="*/ 809625 h 4333875"/>
                  <a:gd name="connsiteX80" fmla="*/ 2200275 w 8601075"/>
                  <a:gd name="connsiteY80" fmla="*/ 752475 h 4333875"/>
                  <a:gd name="connsiteX81" fmla="*/ 2105025 w 8601075"/>
                  <a:gd name="connsiteY81" fmla="*/ 762000 h 4333875"/>
                  <a:gd name="connsiteX82" fmla="*/ 1990725 w 8601075"/>
                  <a:gd name="connsiteY82" fmla="*/ 762000 h 4333875"/>
                  <a:gd name="connsiteX83" fmla="*/ 1885950 w 8601075"/>
                  <a:gd name="connsiteY83" fmla="*/ 742950 h 4333875"/>
                  <a:gd name="connsiteX84" fmla="*/ 1800225 w 8601075"/>
                  <a:gd name="connsiteY84" fmla="*/ 638175 h 4333875"/>
                  <a:gd name="connsiteX85" fmla="*/ 1809750 w 8601075"/>
                  <a:gd name="connsiteY85" fmla="*/ 495300 h 4333875"/>
                  <a:gd name="connsiteX86" fmla="*/ 1733550 w 8601075"/>
                  <a:gd name="connsiteY86" fmla="*/ 466725 h 4333875"/>
                  <a:gd name="connsiteX87" fmla="*/ 1485900 w 8601075"/>
                  <a:gd name="connsiteY87" fmla="*/ 419100 h 4333875"/>
                  <a:gd name="connsiteX88" fmla="*/ 1457325 w 8601075"/>
                  <a:gd name="connsiteY88" fmla="*/ 323850 h 4333875"/>
                  <a:gd name="connsiteX89" fmla="*/ 1457325 w 8601075"/>
                  <a:gd name="connsiteY89" fmla="*/ 323850 h 4333875"/>
                  <a:gd name="connsiteX90" fmla="*/ 1323975 w 8601075"/>
                  <a:gd name="connsiteY90" fmla="*/ 285750 h 4333875"/>
                  <a:gd name="connsiteX91" fmla="*/ 1266825 w 8601075"/>
                  <a:gd name="connsiteY91" fmla="*/ 352425 h 4333875"/>
                  <a:gd name="connsiteX92" fmla="*/ 1009650 w 8601075"/>
                  <a:gd name="connsiteY92" fmla="*/ 390525 h 4333875"/>
                  <a:gd name="connsiteX93" fmla="*/ 828675 w 8601075"/>
                  <a:gd name="connsiteY93" fmla="*/ 447675 h 4333875"/>
                  <a:gd name="connsiteX94" fmla="*/ 619125 w 8601075"/>
                  <a:gd name="connsiteY94" fmla="*/ 533400 h 4333875"/>
                  <a:gd name="connsiteX95" fmla="*/ 619125 w 8601075"/>
                  <a:gd name="connsiteY95" fmla="*/ 533400 h 4333875"/>
                  <a:gd name="connsiteX96" fmla="*/ 561975 w 8601075"/>
                  <a:gd name="connsiteY96" fmla="*/ 61912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295275 w 8601075"/>
                  <a:gd name="connsiteY100" fmla="*/ 657225 h 4333875"/>
                  <a:gd name="connsiteX101" fmla="*/ 180975 w 8601075"/>
                  <a:gd name="connsiteY101" fmla="*/ 638175 h 4333875"/>
                  <a:gd name="connsiteX102" fmla="*/ 180975 w 8601075"/>
                  <a:gd name="connsiteY102" fmla="*/ 638175 h 4333875"/>
                  <a:gd name="connsiteX103" fmla="*/ 57150 w 8601075"/>
                  <a:gd name="connsiteY103" fmla="*/ 733425 h 4333875"/>
                  <a:gd name="connsiteX104" fmla="*/ 19050 w 8601075"/>
                  <a:gd name="connsiteY104" fmla="*/ 790575 h 4333875"/>
                  <a:gd name="connsiteX105" fmla="*/ 0 w 8601075"/>
                  <a:gd name="connsiteY105" fmla="*/ 876300 h 4333875"/>
                  <a:gd name="connsiteX106" fmla="*/ 57150 w 8601075"/>
                  <a:gd name="connsiteY106" fmla="*/ 923925 h 4333875"/>
                  <a:gd name="connsiteX107" fmla="*/ 57150 w 8601075"/>
                  <a:gd name="connsiteY107" fmla="*/ 923925 h 4333875"/>
                  <a:gd name="connsiteX108" fmla="*/ 209550 w 8601075"/>
                  <a:gd name="connsiteY108" fmla="*/ 1114425 h 4333875"/>
                  <a:gd name="connsiteX109" fmla="*/ 209550 w 8601075"/>
                  <a:gd name="connsiteY109" fmla="*/ 1114425 h 4333875"/>
                  <a:gd name="connsiteX110" fmla="*/ 266700 w 8601075"/>
                  <a:gd name="connsiteY110" fmla="*/ 1295400 h 4333875"/>
                  <a:gd name="connsiteX111" fmla="*/ 409575 w 8601075"/>
                  <a:gd name="connsiteY111" fmla="*/ 1276350 h 4333875"/>
                  <a:gd name="connsiteX112" fmla="*/ 466725 w 8601075"/>
                  <a:gd name="connsiteY112" fmla="*/ 1362075 h 4333875"/>
                  <a:gd name="connsiteX113" fmla="*/ 542925 w 8601075"/>
                  <a:gd name="connsiteY113" fmla="*/ 1428750 h 4333875"/>
                  <a:gd name="connsiteX114" fmla="*/ 628650 w 8601075"/>
                  <a:gd name="connsiteY114" fmla="*/ 1571625 h 4333875"/>
                  <a:gd name="connsiteX115" fmla="*/ 628650 w 8601075"/>
                  <a:gd name="connsiteY115" fmla="*/ 1704975 h 4333875"/>
                  <a:gd name="connsiteX116" fmla="*/ 676275 w 8601075"/>
                  <a:gd name="connsiteY116" fmla="*/ 1771650 h 4333875"/>
                  <a:gd name="connsiteX117" fmla="*/ 657225 w 8601075"/>
                  <a:gd name="connsiteY117" fmla="*/ 2000250 h 4333875"/>
                  <a:gd name="connsiteX118" fmla="*/ 619125 w 8601075"/>
                  <a:gd name="connsiteY118" fmla="*/ 2095500 h 4333875"/>
                  <a:gd name="connsiteX119" fmla="*/ 542925 w 8601075"/>
                  <a:gd name="connsiteY119" fmla="*/ 2228850 h 4333875"/>
                  <a:gd name="connsiteX120" fmla="*/ 485775 w 8601075"/>
                  <a:gd name="connsiteY120" fmla="*/ 2362200 h 4333875"/>
                  <a:gd name="connsiteX121" fmla="*/ 552450 w 8601075"/>
                  <a:gd name="connsiteY121" fmla="*/ 2486025 h 4333875"/>
                  <a:gd name="connsiteX122" fmla="*/ 771525 w 8601075"/>
                  <a:gd name="connsiteY122" fmla="*/ 2571750 h 4333875"/>
                  <a:gd name="connsiteX123" fmla="*/ 866775 w 8601075"/>
                  <a:gd name="connsiteY123" fmla="*/ 2571750 h 4333875"/>
                  <a:gd name="connsiteX124" fmla="*/ 914400 w 8601075"/>
                  <a:gd name="connsiteY124" fmla="*/ 2638425 h 4333875"/>
                  <a:gd name="connsiteX125" fmla="*/ 1066800 w 8601075"/>
                  <a:gd name="connsiteY125" fmla="*/ 2638425 h 4333875"/>
                  <a:gd name="connsiteX126" fmla="*/ 1285875 w 8601075"/>
                  <a:gd name="connsiteY126" fmla="*/ 2705100 h 4333875"/>
                  <a:gd name="connsiteX127" fmla="*/ 1438275 w 8601075"/>
                  <a:gd name="connsiteY127" fmla="*/ 2838450 h 4333875"/>
                  <a:gd name="connsiteX128" fmla="*/ 1485900 w 8601075"/>
                  <a:gd name="connsiteY128" fmla="*/ 2914650 h 4333875"/>
                  <a:gd name="connsiteX129" fmla="*/ 1657350 w 8601075"/>
                  <a:gd name="connsiteY129" fmla="*/ 3038475 h 4333875"/>
                  <a:gd name="connsiteX130" fmla="*/ 1752600 w 8601075"/>
                  <a:gd name="connsiteY130" fmla="*/ 3057525 h 4333875"/>
                  <a:gd name="connsiteX131" fmla="*/ 1724025 w 8601075"/>
                  <a:gd name="connsiteY131" fmla="*/ 3143250 h 4333875"/>
                  <a:gd name="connsiteX132" fmla="*/ 1724025 w 8601075"/>
                  <a:gd name="connsiteY132" fmla="*/ 3143250 h 4333875"/>
                  <a:gd name="connsiteX133" fmla="*/ 1781175 w 8601075"/>
                  <a:gd name="connsiteY133" fmla="*/ 3181350 h 4333875"/>
                  <a:gd name="connsiteX134" fmla="*/ 1819275 w 8601075"/>
                  <a:gd name="connsiteY134" fmla="*/ 3362325 h 4333875"/>
                  <a:gd name="connsiteX135" fmla="*/ 1828800 w 8601075"/>
                  <a:gd name="connsiteY135" fmla="*/ 3457575 h 4333875"/>
                  <a:gd name="connsiteX136" fmla="*/ 1971675 w 8601075"/>
                  <a:gd name="connsiteY136" fmla="*/ 3590925 h 4333875"/>
                  <a:gd name="connsiteX137" fmla="*/ 1990725 w 8601075"/>
                  <a:gd name="connsiteY137" fmla="*/ 3714750 h 4333875"/>
                  <a:gd name="connsiteX138" fmla="*/ 2200275 w 8601075"/>
                  <a:gd name="connsiteY138" fmla="*/ 3695700 h 4333875"/>
                  <a:gd name="connsiteX139" fmla="*/ 2886075 w 8601075"/>
                  <a:gd name="connsiteY139" fmla="*/ 3886200 h 4333875"/>
                  <a:gd name="connsiteX140" fmla="*/ 3038475 w 8601075"/>
                  <a:gd name="connsiteY140" fmla="*/ 3819525 h 4333875"/>
                  <a:gd name="connsiteX141" fmla="*/ 3105150 w 8601075"/>
                  <a:gd name="connsiteY141" fmla="*/ 3867150 h 4333875"/>
                  <a:gd name="connsiteX142" fmla="*/ 3181350 w 8601075"/>
                  <a:gd name="connsiteY142" fmla="*/ 3800475 h 4333875"/>
                  <a:gd name="connsiteX143" fmla="*/ 3590925 w 8601075"/>
                  <a:gd name="connsiteY143" fmla="*/ 3943350 h 4333875"/>
                  <a:gd name="connsiteX144" fmla="*/ 3686175 w 8601075"/>
                  <a:gd name="connsiteY144" fmla="*/ 4057650 h 4333875"/>
                  <a:gd name="connsiteX145" fmla="*/ 3838575 w 8601075"/>
                  <a:gd name="connsiteY145" fmla="*/ 4057650 h 4333875"/>
                  <a:gd name="connsiteX146" fmla="*/ 4162425 w 8601075"/>
                  <a:gd name="connsiteY146" fmla="*/ 4248150 h 4333875"/>
                  <a:gd name="connsiteX147" fmla="*/ 4391025 w 8601075"/>
                  <a:gd name="connsiteY147" fmla="*/ 4200525 h 4333875"/>
                  <a:gd name="connsiteX148" fmla="*/ 4410075 w 8601075"/>
                  <a:gd name="connsiteY148" fmla="*/ 4305300 h 4333875"/>
                  <a:gd name="connsiteX149" fmla="*/ 4505325 w 8601075"/>
                  <a:gd name="connsiteY149" fmla="*/ 4276725 h 4333875"/>
                  <a:gd name="connsiteX150" fmla="*/ 4572000 w 8601075"/>
                  <a:gd name="connsiteY150" fmla="*/ 4333875 h 4333875"/>
                  <a:gd name="connsiteX151" fmla="*/ 4591050 w 8601075"/>
                  <a:gd name="connsiteY151" fmla="*/ 4248150 h 4333875"/>
                  <a:gd name="connsiteX152" fmla="*/ 5295900 w 8601075"/>
                  <a:gd name="connsiteY152" fmla="*/ 3924300 h 4333875"/>
                  <a:gd name="connsiteX153" fmla="*/ 5353050 w 8601075"/>
                  <a:gd name="connsiteY153" fmla="*/ 3990975 h 4333875"/>
                  <a:gd name="connsiteX154" fmla="*/ 5524500 w 8601075"/>
                  <a:gd name="connsiteY154" fmla="*/ 3914775 h 4333875"/>
                  <a:gd name="connsiteX155" fmla="*/ 5667375 w 8601075"/>
                  <a:gd name="connsiteY155" fmla="*/ 3962400 h 4333875"/>
                  <a:gd name="connsiteX156" fmla="*/ 5753100 w 8601075"/>
                  <a:gd name="connsiteY156" fmla="*/ 3924300 h 4333875"/>
                  <a:gd name="connsiteX157" fmla="*/ 5905500 w 8601075"/>
                  <a:gd name="connsiteY157" fmla="*/ 3943350 h 4333875"/>
                  <a:gd name="connsiteX158" fmla="*/ 6000750 w 8601075"/>
                  <a:gd name="connsiteY158" fmla="*/ 3800475 h 4333875"/>
                  <a:gd name="connsiteX159" fmla="*/ 6153150 w 8601075"/>
                  <a:gd name="connsiteY159" fmla="*/ 3781425 h 4333875"/>
                  <a:gd name="connsiteX160" fmla="*/ 6257925 w 8601075"/>
                  <a:gd name="connsiteY160" fmla="*/ 3581400 h 4333875"/>
                  <a:gd name="connsiteX161" fmla="*/ 6448425 w 8601075"/>
                  <a:gd name="connsiteY161" fmla="*/ 3448050 h 4333875"/>
                  <a:gd name="connsiteX162" fmla="*/ 6581775 w 8601075"/>
                  <a:gd name="connsiteY162" fmla="*/ 3276600 h 4333875"/>
                  <a:gd name="connsiteX163" fmla="*/ 6496050 w 8601075"/>
                  <a:gd name="connsiteY163" fmla="*/ 3228975 h 4333875"/>
                  <a:gd name="connsiteX164" fmla="*/ 6438900 w 8601075"/>
                  <a:gd name="connsiteY164" fmla="*/ 3162300 h 4333875"/>
                  <a:gd name="connsiteX165" fmla="*/ 6419850 w 8601075"/>
                  <a:gd name="connsiteY165" fmla="*/ 3105150 h 4333875"/>
                  <a:gd name="connsiteX166" fmla="*/ 6362700 w 8601075"/>
                  <a:gd name="connsiteY166" fmla="*/ 3076575 h 4333875"/>
                  <a:gd name="connsiteX167" fmla="*/ 6410325 w 8601075"/>
                  <a:gd name="connsiteY167" fmla="*/ 3019425 h 4333875"/>
                  <a:gd name="connsiteX168" fmla="*/ 6438900 w 8601075"/>
                  <a:gd name="connsiteY168" fmla="*/ 2819400 h 4333875"/>
                  <a:gd name="connsiteX169" fmla="*/ 6496050 w 8601075"/>
                  <a:gd name="connsiteY169" fmla="*/ 2762250 h 4333875"/>
                  <a:gd name="connsiteX170" fmla="*/ 6657975 w 8601075"/>
                  <a:gd name="connsiteY170" fmla="*/ 2752725 h 4333875"/>
                  <a:gd name="connsiteX171" fmla="*/ 6781800 w 8601075"/>
                  <a:gd name="connsiteY171" fmla="*/ 2838450 h 4333875"/>
                  <a:gd name="connsiteX172" fmla="*/ 7010400 w 8601075"/>
                  <a:gd name="connsiteY172" fmla="*/ 2838450 h 4333875"/>
                  <a:gd name="connsiteX173" fmla="*/ 7162800 w 8601075"/>
                  <a:gd name="connsiteY173" fmla="*/ 2705100 h 4333875"/>
                  <a:gd name="connsiteX174" fmla="*/ 7229475 w 8601075"/>
                  <a:gd name="connsiteY174" fmla="*/ 2590800 h 4333875"/>
                  <a:gd name="connsiteX175" fmla="*/ 7248525 w 8601075"/>
                  <a:gd name="connsiteY175" fmla="*/ 2524125 h 4333875"/>
                  <a:gd name="connsiteX176" fmla="*/ 7372350 w 8601075"/>
                  <a:gd name="connsiteY176" fmla="*/ 2543175 h 4333875"/>
                  <a:gd name="connsiteX177" fmla="*/ 7553325 w 8601075"/>
                  <a:gd name="connsiteY177" fmla="*/ 2447925 h 4333875"/>
                  <a:gd name="connsiteX178" fmla="*/ 7620000 w 8601075"/>
                  <a:gd name="connsiteY178" fmla="*/ 2324100 h 4333875"/>
                  <a:gd name="connsiteX179" fmla="*/ 7696200 w 8601075"/>
                  <a:gd name="connsiteY179" fmla="*/ 2314575 h 4333875"/>
                  <a:gd name="connsiteX180" fmla="*/ 7658100 w 8601075"/>
                  <a:gd name="connsiteY180" fmla="*/ 2257425 h 4333875"/>
                  <a:gd name="connsiteX181" fmla="*/ 7753350 w 8601075"/>
                  <a:gd name="connsiteY181" fmla="*/ 2057400 h 4333875"/>
                  <a:gd name="connsiteX182" fmla="*/ 7934325 w 8601075"/>
                  <a:gd name="connsiteY182" fmla="*/ 2028825 h 4333875"/>
                  <a:gd name="connsiteX183" fmla="*/ 7953375 w 8601075"/>
                  <a:gd name="connsiteY183" fmla="*/ 1952625 h 4333875"/>
                  <a:gd name="connsiteX184" fmla="*/ 7953375 w 8601075"/>
                  <a:gd name="connsiteY184" fmla="*/ 1952625 h 4333875"/>
                  <a:gd name="connsiteX185" fmla="*/ 8010525 w 8601075"/>
                  <a:gd name="connsiteY185" fmla="*/ 1895475 h 4333875"/>
                  <a:gd name="connsiteX186" fmla="*/ 8048625 w 8601075"/>
                  <a:gd name="connsiteY186" fmla="*/ 1971675 h 4333875"/>
                  <a:gd name="connsiteX187" fmla="*/ 8077200 w 8601075"/>
                  <a:gd name="connsiteY187" fmla="*/ 1885950 h 4333875"/>
                  <a:gd name="connsiteX188" fmla="*/ 8220075 w 8601075"/>
                  <a:gd name="connsiteY188" fmla="*/ 1847850 h 4333875"/>
                  <a:gd name="connsiteX189" fmla="*/ 8296275 w 8601075"/>
                  <a:gd name="connsiteY189" fmla="*/ 1809750 h 4333875"/>
                  <a:gd name="connsiteX190" fmla="*/ 8324850 w 8601075"/>
                  <a:gd name="connsiteY190" fmla="*/ 1790700 h 4333875"/>
                  <a:gd name="connsiteX191" fmla="*/ 8410575 w 8601075"/>
                  <a:gd name="connsiteY191" fmla="*/ 1847850 h 4333875"/>
                  <a:gd name="connsiteX192" fmla="*/ 8505825 w 8601075"/>
                  <a:gd name="connsiteY192" fmla="*/ 1781175 h 4333875"/>
                  <a:gd name="connsiteX193" fmla="*/ 8572500 w 8601075"/>
                  <a:gd name="connsiteY193" fmla="*/ 1809750 h 4333875"/>
                  <a:gd name="connsiteX194" fmla="*/ 8601075 w 8601075"/>
                  <a:gd name="connsiteY194" fmla="*/ 1704975 h 4333875"/>
                  <a:gd name="connsiteX195" fmla="*/ 8553450 w 8601075"/>
                  <a:gd name="connsiteY195" fmla="*/ 1676400 h 4333875"/>
                  <a:gd name="connsiteX196" fmla="*/ 8534400 w 8601075"/>
                  <a:gd name="connsiteY196" fmla="*/ 1609725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124825 w 8601075"/>
                  <a:gd name="connsiteY200" fmla="*/ 1352550 h 4333875"/>
                  <a:gd name="connsiteX201" fmla="*/ 7924800 w 8601075"/>
                  <a:gd name="connsiteY201" fmla="*/ 1362075 h 4333875"/>
                  <a:gd name="connsiteX202" fmla="*/ 7867650 w 8601075"/>
                  <a:gd name="connsiteY202" fmla="*/ 1457325 h 4333875"/>
                  <a:gd name="connsiteX203" fmla="*/ 7896225 w 8601075"/>
                  <a:gd name="connsiteY203" fmla="*/ 1476375 h 4333875"/>
                  <a:gd name="connsiteX204" fmla="*/ 7858125 w 8601075"/>
                  <a:gd name="connsiteY204" fmla="*/ 1533525 h 4333875"/>
                  <a:gd name="connsiteX205" fmla="*/ 7658100 w 8601075"/>
                  <a:gd name="connsiteY205" fmla="*/ 1447800 h 4333875"/>
                  <a:gd name="connsiteX206" fmla="*/ 7515225 w 8601075"/>
                  <a:gd name="connsiteY206" fmla="*/ 1495425 h 4333875"/>
                  <a:gd name="connsiteX207" fmla="*/ 7467600 w 8601075"/>
                  <a:gd name="connsiteY207" fmla="*/ 1581150 h 4333875"/>
                  <a:gd name="connsiteX208" fmla="*/ 7296150 w 8601075"/>
                  <a:gd name="connsiteY20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62250 w 8601075"/>
                  <a:gd name="connsiteY73" fmla="*/ 571500 h 4333875"/>
                  <a:gd name="connsiteX74" fmla="*/ 2800350 w 8601075"/>
                  <a:gd name="connsiteY74" fmla="*/ 628650 h 4333875"/>
                  <a:gd name="connsiteX75" fmla="*/ 2752725 w 8601075"/>
                  <a:gd name="connsiteY75" fmla="*/ 781050 h 4333875"/>
                  <a:gd name="connsiteX76" fmla="*/ 2686050 w 8601075"/>
                  <a:gd name="connsiteY76" fmla="*/ 857250 h 4333875"/>
                  <a:gd name="connsiteX77" fmla="*/ 2609850 w 8601075"/>
                  <a:gd name="connsiteY77" fmla="*/ 857250 h 4333875"/>
                  <a:gd name="connsiteX78" fmla="*/ 2514600 w 8601075"/>
                  <a:gd name="connsiteY78" fmla="*/ 914400 h 4333875"/>
                  <a:gd name="connsiteX79" fmla="*/ 2400300 w 8601075"/>
                  <a:gd name="connsiteY79" fmla="*/ 866775 h 4333875"/>
                  <a:gd name="connsiteX80" fmla="*/ 2305050 w 8601075"/>
                  <a:gd name="connsiteY80" fmla="*/ 809625 h 4333875"/>
                  <a:gd name="connsiteX81" fmla="*/ 2200275 w 8601075"/>
                  <a:gd name="connsiteY81" fmla="*/ 752475 h 4333875"/>
                  <a:gd name="connsiteX82" fmla="*/ 2105025 w 8601075"/>
                  <a:gd name="connsiteY82" fmla="*/ 762000 h 4333875"/>
                  <a:gd name="connsiteX83" fmla="*/ 1990725 w 8601075"/>
                  <a:gd name="connsiteY83" fmla="*/ 762000 h 4333875"/>
                  <a:gd name="connsiteX84" fmla="*/ 1885950 w 8601075"/>
                  <a:gd name="connsiteY84" fmla="*/ 742950 h 4333875"/>
                  <a:gd name="connsiteX85" fmla="*/ 1800225 w 8601075"/>
                  <a:gd name="connsiteY85" fmla="*/ 638175 h 4333875"/>
                  <a:gd name="connsiteX86" fmla="*/ 1809750 w 8601075"/>
                  <a:gd name="connsiteY86" fmla="*/ 495300 h 4333875"/>
                  <a:gd name="connsiteX87" fmla="*/ 1733550 w 8601075"/>
                  <a:gd name="connsiteY87" fmla="*/ 466725 h 4333875"/>
                  <a:gd name="connsiteX88" fmla="*/ 1485900 w 8601075"/>
                  <a:gd name="connsiteY88" fmla="*/ 419100 h 4333875"/>
                  <a:gd name="connsiteX89" fmla="*/ 1457325 w 8601075"/>
                  <a:gd name="connsiteY89" fmla="*/ 323850 h 4333875"/>
                  <a:gd name="connsiteX90" fmla="*/ 1457325 w 8601075"/>
                  <a:gd name="connsiteY90" fmla="*/ 323850 h 4333875"/>
                  <a:gd name="connsiteX91" fmla="*/ 1323975 w 8601075"/>
                  <a:gd name="connsiteY91" fmla="*/ 285750 h 4333875"/>
                  <a:gd name="connsiteX92" fmla="*/ 1266825 w 8601075"/>
                  <a:gd name="connsiteY92" fmla="*/ 352425 h 4333875"/>
                  <a:gd name="connsiteX93" fmla="*/ 1009650 w 8601075"/>
                  <a:gd name="connsiteY93" fmla="*/ 390525 h 4333875"/>
                  <a:gd name="connsiteX94" fmla="*/ 828675 w 8601075"/>
                  <a:gd name="connsiteY94" fmla="*/ 447675 h 4333875"/>
                  <a:gd name="connsiteX95" fmla="*/ 619125 w 8601075"/>
                  <a:gd name="connsiteY95" fmla="*/ 533400 h 4333875"/>
                  <a:gd name="connsiteX96" fmla="*/ 619125 w 8601075"/>
                  <a:gd name="connsiteY96" fmla="*/ 533400 h 4333875"/>
                  <a:gd name="connsiteX97" fmla="*/ 561975 w 8601075"/>
                  <a:gd name="connsiteY97" fmla="*/ 61912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295275 w 8601075"/>
                  <a:gd name="connsiteY101" fmla="*/ 657225 h 4333875"/>
                  <a:gd name="connsiteX102" fmla="*/ 180975 w 8601075"/>
                  <a:gd name="connsiteY102" fmla="*/ 638175 h 4333875"/>
                  <a:gd name="connsiteX103" fmla="*/ 180975 w 8601075"/>
                  <a:gd name="connsiteY103" fmla="*/ 638175 h 4333875"/>
                  <a:gd name="connsiteX104" fmla="*/ 57150 w 8601075"/>
                  <a:gd name="connsiteY104" fmla="*/ 733425 h 4333875"/>
                  <a:gd name="connsiteX105" fmla="*/ 19050 w 8601075"/>
                  <a:gd name="connsiteY105" fmla="*/ 790575 h 4333875"/>
                  <a:gd name="connsiteX106" fmla="*/ 0 w 8601075"/>
                  <a:gd name="connsiteY106" fmla="*/ 876300 h 4333875"/>
                  <a:gd name="connsiteX107" fmla="*/ 57150 w 8601075"/>
                  <a:gd name="connsiteY107" fmla="*/ 923925 h 4333875"/>
                  <a:gd name="connsiteX108" fmla="*/ 57150 w 8601075"/>
                  <a:gd name="connsiteY108" fmla="*/ 923925 h 4333875"/>
                  <a:gd name="connsiteX109" fmla="*/ 209550 w 8601075"/>
                  <a:gd name="connsiteY109" fmla="*/ 1114425 h 4333875"/>
                  <a:gd name="connsiteX110" fmla="*/ 209550 w 8601075"/>
                  <a:gd name="connsiteY110" fmla="*/ 1114425 h 4333875"/>
                  <a:gd name="connsiteX111" fmla="*/ 266700 w 8601075"/>
                  <a:gd name="connsiteY111" fmla="*/ 1295400 h 4333875"/>
                  <a:gd name="connsiteX112" fmla="*/ 409575 w 8601075"/>
                  <a:gd name="connsiteY112" fmla="*/ 1276350 h 4333875"/>
                  <a:gd name="connsiteX113" fmla="*/ 466725 w 8601075"/>
                  <a:gd name="connsiteY113" fmla="*/ 1362075 h 4333875"/>
                  <a:gd name="connsiteX114" fmla="*/ 542925 w 8601075"/>
                  <a:gd name="connsiteY114" fmla="*/ 1428750 h 4333875"/>
                  <a:gd name="connsiteX115" fmla="*/ 628650 w 8601075"/>
                  <a:gd name="connsiteY115" fmla="*/ 1571625 h 4333875"/>
                  <a:gd name="connsiteX116" fmla="*/ 628650 w 8601075"/>
                  <a:gd name="connsiteY116" fmla="*/ 1704975 h 4333875"/>
                  <a:gd name="connsiteX117" fmla="*/ 676275 w 8601075"/>
                  <a:gd name="connsiteY117" fmla="*/ 1771650 h 4333875"/>
                  <a:gd name="connsiteX118" fmla="*/ 657225 w 8601075"/>
                  <a:gd name="connsiteY118" fmla="*/ 2000250 h 4333875"/>
                  <a:gd name="connsiteX119" fmla="*/ 619125 w 8601075"/>
                  <a:gd name="connsiteY119" fmla="*/ 2095500 h 4333875"/>
                  <a:gd name="connsiteX120" fmla="*/ 542925 w 8601075"/>
                  <a:gd name="connsiteY120" fmla="*/ 2228850 h 4333875"/>
                  <a:gd name="connsiteX121" fmla="*/ 485775 w 8601075"/>
                  <a:gd name="connsiteY121" fmla="*/ 2362200 h 4333875"/>
                  <a:gd name="connsiteX122" fmla="*/ 552450 w 8601075"/>
                  <a:gd name="connsiteY122" fmla="*/ 2486025 h 4333875"/>
                  <a:gd name="connsiteX123" fmla="*/ 771525 w 8601075"/>
                  <a:gd name="connsiteY123" fmla="*/ 2571750 h 4333875"/>
                  <a:gd name="connsiteX124" fmla="*/ 866775 w 8601075"/>
                  <a:gd name="connsiteY124" fmla="*/ 2571750 h 4333875"/>
                  <a:gd name="connsiteX125" fmla="*/ 914400 w 8601075"/>
                  <a:gd name="connsiteY125" fmla="*/ 2638425 h 4333875"/>
                  <a:gd name="connsiteX126" fmla="*/ 1066800 w 8601075"/>
                  <a:gd name="connsiteY126" fmla="*/ 2638425 h 4333875"/>
                  <a:gd name="connsiteX127" fmla="*/ 1285875 w 8601075"/>
                  <a:gd name="connsiteY127" fmla="*/ 2705100 h 4333875"/>
                  <a:gd name="connsiteX128" fmla="*/ 1438275 w 8601075"/>
                  <a:gd name="connsiteY128" fmla="*/ 2838450 h 4333875"/>
                  <a:gd name="connsiteX129" fmla="*/ 1485900 w 8601075"/>
                  <a:gd name="connsiteY129" fmla="*/ 2914650 h 4333875"/>
                  <a:gd name="connsiteX130" fmla="*/ 1657350 w 8601075"/>
                  <a:gd name="connsiteY130" fmla="*/ 3038475 h 4333875"/>
                  <a:gd name="connsiteX131" fmla="*/ 1752600 w 8601075"/>
                  <a:gd name="connsiteY131" fmla="*/ 3057525 h 4333875"/>
                  <a:gd name="connsiteX132" fmla="*/ 1724025 w 8601075"/>
                  <a:gd name="connsiteY132" fmla="*/ 3143250 h 4333875"/>
                  <a:gd name="connsiteX133" fmla="*/ 1724025 w 8601075"/>
                  <a:gd name="connsiteY133" fmla="*/ 3143250 h 4333875"/>
                  <a:gd name="connsiteX134" fmla="*/ 1781175 w 8601075"/>
                  <a:gd name="connsiteY134" fmla="*/ 3181350 h 4333875"/>
                  <a:gd name="connsiteX135" fmla="*/ 1819275 w 8601075"/>
                  <a:gd name="connsiteY135" fmla="*/ 3362325 h 4333875"/>
                  <a:gd name="connsiteX136" fmla="*/ 1828800 w 8601075"/>
                  <a:gd name="connsiteY136" fmla="*/ 3457575 h 4333875"/>
                  <a:gd name="connsiteX137" fmla="*/ 1971675 w 8601075"/>
                  <a:gd name="connsiteY137" fmla="*/ 3590925 h 4333875"/>
                  <a:gd name="connsiteX138" fmla="*/ 1990725 w 8601075"/>
                  <a:gd name="connsiteY138" fmla="*/ 3714750 h 4333875"/>
                  <a:gd name="connsiteX139" fmla="*/ 2200275 w 8601075"/>
                  <a:gd name="connsiteY139" fmla="*/ 3695700 h 4333875"/>
                  <a:gd name="connsiteX140" fmla="*/ 2886075 w 8601075"/>
                  <a:gd name="connsiteY140" fmla="*/ 3886200 h 4333875"/>
                  <a:gd name="connsiteX141" fmla="*/ 3038475 w 8601075"/>
                  <a:gd name="connsiteY141" fmla="*/ 3819525 h 4333875"/>
                  <a:gd name="connsiteX142" fmla="*/ 3105150 w 8601075"/>
                  <a:gd name="connsiteY142" fmla="*/ 3867150 h 4333875"/>
                  <a:gd name="connsiteX143" fmla="*/ 3181350 w 8601075"/>
                  <a:gd name="connsiteY143" fmla="*/ 3800475 h 4333875"/>
                  <a:gd name="connsiteX144" fmla="*/ 3590925 w 8601075"/>
                  <a:gd name="connsiteY144" fmla="*/ 3943350 h 4333875"/>
                  <a:gd name="connsiteX145" fmla="*/ 3686175 w 8601075"/>
                  <a:gd name="connsiteY145" fmla="*/ 4057650 h 4333875"/>
                  <a:gd name="connsiteX146" fmla="*/ 3838575 w 8601075"/>
                  <a:gd name="connsiteY146" fmla="*/ 4057650 h 4333875"/>
                  <a:gd name="connsiteX147" fmla="*/ 4162425 w 8601075"/>
                  <a:gd name="connsiteY147" fmla="*/ 4248150 h 4333875"/>
                  <a:gd name="connsiteX148" fmla="*/ 4391025 w 8601075"/>
                  <a:gd name="connsiteY148" fmla="*/ 4200525 h 4333875"/>
                  <a:gd name="connsiteX149" fmla="*/ 4410075 w 8601075"/>
                  <a:gd name="connsiteY149" fmla="*/ 4305300 h 4333875"/>
                  <a:gd name="connsiteX150" fmla="*/ 4505325 w 8601075"/>
                  <a:gd name="connsiteY150" fmla="*/ 4276725 h 4333875"/>
                  <a:gd name="connsiteX151" fmla="*/ 4572000 w 8601075"/>
                  <a:gd name="connsiteY151" fmla="*/ 4333875 h 4333875"/>
                  <a:gd name="connsiteX152" fmla="*/ 4591050 w 8601075"/>
                  <a:gd name="connsiteY152" fmla="*/ 4248150 h 4333875"/>
                  <a:gd name="connsiteX153" fmla="*/ 5295900 w 8601075"/>
                  <a:gd name="connsiteY153" fmla="*/ 3924300 h 4333875"/>
                  <a:gd name="connsiteX154" fmla="*/ 5353050 w 8601075"/>
                  <a:gd name="connsiteY154" fmla="*/ 3990975 h 4333875"/>
                  <a:gd name="connsiteX155" fmla="*/ 5524500 w 8601075"/>
                  <a:gd name="connsiteY155" fmla="*/ 3914775 h 4333875"/>
                  <a:gd name="connsiteX156" fmla="*/ 5667375 w 8601075"/>
                  <a:gd name="connsiteY156" fmla="*/ 3962400 h 4333875"/>
                  <a:gd name="connsiteX157" fmla="*/ 5753100 w 8601075"/>
                  <a:gd name="connsiteY157" fmla="*/ 3924300 h 4333875"/>
                  <a:gd name="connsiteX158" fmla="*/ 5905500 w 8601075"/>
                  <a:gd name="connsiteY158" fmla="*/ 3943350 h 4333875"/>
                  <a:gd name="connsiteX159" fmla="*/ 6000750 w 8601075"/>
                  <a:gd name="connsiteY159" fmla="*/ 3800475 h 4333875"/>
                  <a:gd name="connsiteX160" fmla="*/ 6153150 w 8601075"/>
                  <a:gd name="connsiteY160" fmla="*/ 3781425 h 4333875"/>
                  <a:gd name="connsiteX161" fmla="*/ 6257925 w 8601075"/>
                  <a:gd name="connsiteY161" fmla="*/ 3581400 h 4333875"/>
                  <a:gd name="connsiteX162" fmla="*/ 6448425 w 8601075"/>
                  <a:gd name="connsiteY162" fmla="*/ 3448050 h 4333875"/>
                  <a:gd name="connsiteX163" fmla="*/ 6581775 w 8601075"/>
                  <a:gd name="connsiteY163" fmla="*/ 3276600 h 4333875"/>
                  <a:gd name="connsiteX164" fmla="*/ 6496050 w 8601075"/>
                  <a:gd name="connsiteY164" fmla="*/ 3228975 h 4333875"/>
                  <a:gd name="connsiteX165" fmla="*/ 6438900 w 8601075"/>
                  <a:gd name="connsiteY165" fmla="*/ 3162300 h 4333875"/>
                  <a:gd name="connsiteX166" fmla="*/ 6419850 w 8601075"/>
                  <a:gd name="connsiteY166" fmla="*/ 3105150 h 4333875"/>
                  <a:gd name="connsiteX167" fmla="*/ 6362700 w 8601075"/>
                  <a:gd name="connsiteY167" fmla="*/ 3076575 h 4333875"/>
                  <a:gd name="connsiteX168" fmla="*/ 6410325 w 8601075"/>
                  <a:gd name="connsiteY168" fmla="*/ 3019425 h 4333875"/>
                  <a:gd name="connsiteX169" fmla="*/ 6438900 w 8601075"/>
                  <a:gd name="connsiteY169" fmla="*/ 2819400 h 4333875"/>
                  <a:gd name="connsiteX170" fmla="*/ 6496050 w 8601075"/>
                  <a:gd name="connsiteY170" fmla="*/ 2762250 h 4333875"/>
                  <a:gd name="connsiteX171" fmla="*/ 6657975 w 8601075"/>
                  <a:gd name="connsiteY171" fmla="*/ 2752725 h 4333875"/>
                  <a:gd name="connsiteX172" fmla="*/ 6781800 w 8601075"/>
                  <a:gd name="connsiteY172" fmla="*/ 2838450 h 4333875"/>
                  <a:gd name="connsiteX173" fmla="*/ 7010400 w 8601075"/>
                  <a:gd name="connsiteY173" fmla="*/ 2838450 h 4333875"/>
                  <a:gd name="connsiteX174" fmla="*/ 7162800 w 8601075"/>
                  <a:gd name="connsiteY174" fmla="*/ 2705100 h 4333875"/>
                  <a:gd name="connsiteX175" fmla="*/ 7229475 w 8601075"/>
                  <a:gd name="connsiteY175" fmla="*/ 2590800 h 4333875"/>
                  <a:gd name="connsiteX176" fmla="*/ 7248525 w 8601075"/>
                  <a:gd name="connsiteY176" fmla="*/ 2524125 h 4333875"/>
                  <a:gd name="connsiteX177" fmla="*/ 7372350 w 8601075"/>
                  <a:gd name="connsiteY177" fmla="*/ 2543175 h 4333875"/>
                  <a:gd name="connsiteX178" fmla="*/ 7553325 w 8601075"/>
                  <a:gd name="connsiteY178" fmla="*/ 2447925 h 4333875"/>
                  <a:gd name="connsiteX179" fmla="*/ 7620000 w 8601075"/>
                  <a:gd name="connsiteY179" fmla="*/ 2324100 h 4333875"/>
                  <a:gd name="connsiteX180" fmla="*/ 7696200 w 8601075"/>
                  <a:gd name="connsiteY180" fmla="*/ 2314575 h 4333875"/>
                  <a:gd name="connsiteX181" fmla="*/ 7658100 w 8601075"/>
                  <a:gd name="connsiteY181" fmla="*/ 2257425 h 4333875"/>
                  <a:gd name="connsiteX182" fmla="*/ 7753350 w 8601075"/>
                  <a:gd name="connsiteY182" fmla="*/ 2057400 h 4333875"/>
                  <a:gd name="connsiteX183" fmla="*/ 7934325 w 8601075"/>
                  <a:gd name="connsiteY183" fmla="*/ 2028825 h 4333875"/>
                  <a:gd name="connsiteX184" fmla="*/ 7953375 w 8601075"/>
                  <a:gd name="connsiteY184" fmla="*/ 1952625 h 4333875"/>
                  <a:gd name="connsiteX185" fmla="*/ 7953375 w 8601075"/>
                  <a:gd name="connsiteY185" fmla="*/ 1952625 h 4333875"/>
                  <a:gd name="connsiteX186" fmla="*/ 8010525 w 8601075"/>
                  <a:gd name="connsiteY186" fmla="*/ 1895475 h 4333875"/>
                  <a:gd name="connsiteX187" fmla="*/ 8048625 w 8601075"/>
                  <a:gd name="connsiteY187" fmla="*/ 1971675 h 4333875"/>
                  <a:gd name="connsiteX188" fmla="*/ 8077200 w 8601075"/>
                  <a:gd name="connsiteY188" fmla="*/ 1885950 h 4333875"/>
                  <a:gd name="connsiteX189" fmla="*/ 8220075 w 8601075"/>
                  <a:gd name="connsiteY189" fmla="*/ 1847850 h 4333875"/>
                  <a:gd name="connsiteX190" fmla="*/ 8296275 w 8601075"/>
                  <a:gd name="connsiteY190" fmla="*/ 1809750 h 4333875"/>
                  <a:gd name="connsiteX191" fmla="*/ 8324850 w 8601075"/>
                  <a:gd name="connsiteY191" fmla="*/ 1790700 h 4333875"/>
                  <a:gd name="connsiteX192" fmla="*/ 8410575 w 8601075"/>
                  <a:gd name="connsiteY192" fmla="*/ 1847850 h 4333875"/>
                  <a:gd name="connsiteX193" fmla="*/ 8505825 w 8601075"/>
                  <a:gd name="connsiteY193" fmla="*/ 1781175 h 4333875"/>
                  <a:gd name="connsiteX194" fmla="*/ 8572500 w 8601075"/>
                  <a:gd name="connsiteY194" fmla="*/ 1809750 h 4333875"/>
                  <a:gd name="connsiteX195" fmla="*/ 8601075 w 8601075"/>
                  <a:gd name="connsiteY195" fmla="*/ 1704975 h 4333875"/>
                  <a:gd name="connsiteX196" fmla="*/ 8553450 w 8601075"/>
                  <a:gd name="connsiteY196" fmla="*/ 1676400 h 4333875"/>
                  <a:gd name="connsiteX197" fmla="*/ 8534400 w 8601075"/>
                  <a:gd name="connsiteY197" fmla="*/ 1609725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124825 w 8601075"/>
                  <a:gd name="connsiteY201" fmla="*/ 1352550 h 4333875"/>
                  <a:gd name="connsiteX202" fmla="*/ 7924800 w 8601075"/>
                  <a:gd name="connsiteY202" fmla="*/ 1362075 h 4333875"/>
                  <a:gd name="connsiteX203" fmla="*/ 7867650 w 8601075"/>
                  <a:gd name="connsiteY203" fmla="*/ 1457325 h 4333875"/>
                  <a:gd name="connsiteX204" fmla="*/ 7896225 w 8601075"/>
                  <a:gd name="connsiteY204" fmla="*/ 1476375 h 4333875"/>
                  <a:gd name="connsiteX205" fmla="*/ 7858125 w 8601075"/>
                  <a:gd name="connsiteY205" fmla="*/ 1533525 h 4333875"/>
                  <a:gd name="connsiteX206" fmla="*/ 7658100 w 8601075"/>
                  <a:gd name="connsiteY206" fmla="*/ 1447800 h 4333875"/>
                  <a:gd name="connsiteX207" fmla="*/ 7515225 w 8601075"/>
                  <a:gd name="connsiteY207" fmla="*/ 1495425 h 4333875"/>
                  <a:gd name="connsiteX208" fmla="*/ 7467600 w 8601075"/>
                  <a:gd name="connsiteY208" fmla="*/ 1581150 h 4333875"/>
                  <a:gd name="connsiteX209" fmla="*/ 7296150 w 8601075"/>
                  <a:gd name="connsiteY20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800350 w 8601075"/>
                  <a:gd name="connsiteY74" fmla="*/ 628650 h 4333875"/>
                  <a:gd name="connsiteX75" fmla="*/ 2752725 w 8601075"/>
                  <a:gd name="connsiteY75" fmla="*/ 781050 h 4333875"/>
                  <a:gd name="connsiteX76" fmla="*/ 2686050 w 8601075"/>
                  <a:gd name="connsiteY76" fmla="*/ 857250 h 4333875"/>
                  <a:gd name="connsiteX77" fmla="*/ 2609850 w 8601075"/>
                  <a:gd name="connsiteY77" fmla="*/ 857250 h 4333875"/>
                  <a:gd name="connsiteX78" fmla="*/ 2514600 w 8601075"/>
                  <a:gd name="connsiteY78" fmla="*/ 914400 h 4333875"/>
                  <a:gd name="connsiteX79" fmla="*/ 2400300 w 8601075"/>
                  <a:gd name="connsiteY79" fmla="*/ 866775 h 4333875"/>
                  <a:gd name="connsiteX80" fmla="*/ 2305050 w 8601075"/>
                  <a:gd name="connsiteY80" fmla="*/ 809625 h 4333875"/>
                  <a:gd name="connsiteX81" fmla="*/ 2200275 w 8601075"/>
                  <a:gd name="connsiteY81" fmla="*/ 752475 h 4333875"/>
                  <a:gd name="connsiteX82" fmla="*/ 2105025 w 8601075"/>
                  <a:gd name="connsiteY82" fmla="*/ 762000 h 4333875"/>
                  <a:gd name="connsiteX83" fmla="*/ 1990725 w 8601075"/>
                  <a:gd name="connsiteY83" fmla="*/ 762000 h 4333875"/>
                  <a:gd name="connsiteX84" fmla="*/ 1885950 w 8601075"/>
                  <a:gd name="connsiteY84" fmla="*/ 742950 h 4333875"/>
                  <a:gd name="connsiteX85" fmla="*/ 1800225 w 8601075"/>
                  <a:gd name="connsiteY85" fmla="*/ 638175 h 4333875"/>
                  <a:gd name="connsiteX86" fmla="*/ 1809750 w 8601075"/>
                  <a:gd name="connsiteY86" fmla="*/ 495300 h 4333875"/>
                  <a:gd name="connsiteX87" fmla="*/ 1733550 w 8601075"/>
                  <a:gd name="connsiteY87" fmla="*/ 466725 h 4333875"/>
                  <a:gd name="connsiteX88" fmla="*/ 1485900 w 8601075"/>
                  <a:gd name="connsiteY88" fmla="*/ 419100 h 4333875"/>
                  <a:gd name="connsiteX89" fmla="*/ 1457325 w 8601075"/>
                  <a:gd name="connsiteY89" fmla="*/ 323850 h 4333875"/>
                  <a:gd name="connsiteX90" fmla="*/ 1457325 w 8601075"/>
                  <a:gd name="connsiteY90" fmla="*/ 323850 h 4333875"/>
                  <a:gd name="connsiteX91" fmla="*/ 1323975 w 8601075"/>
                  <a:gd name="connsiteY91" fmla="*/ 285750 h 4333875"/>
                  <a:gd name="connsiteX92" fmla="*/ 1266825 w 8601075"/>
                  <a:gd name="connsiteY92" fmla="*/ 352425 h 4333875"/>
                  <a:gd name="connsiteX93" fmla="*/ 1009650 w 8601075"/>
                  <a:gd name="connsiteY93" fmla="*/ 390525 h 4333875"/>
                  <a:gd name="connsiteX94" fmla="*/ 828675 w 8601075"/>
                  <a:gd name="connsiteY94" fmla="*/ 447675 h 4333875"/>
                  <a:gd name="connsiteX95" fmla="*/ 619125 w 8601075"/>
                  <a:gd name="connsiteY95" fmla="*/ 533400 h 4333875"/>
                  <a:gd name="connsiteX96" fmla="*/ 619125 w 8601075"/>
                  <a:gd name="connsiteY96" fmla="*/ 533400 h 4333875"/>
                  <a:gd name="connsiteX97" fmla="*/ 561975 w 8601075"/>
                  <a:gd name="connsiteY97" fmla="*/ 61912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295275 w 8601075"/>
                  <a:gd name="connsiteY101" fmla="*/ 657225 h 4333875"/>
                  <a:gd name="connsiteX102" fmla="*/ 180975 w 8601075"/>
                  <a:gd name="connsiteY102" fmla="*/ 638175 h 4333875"/>
                  <a:gd name="connsiteX103" fmla="*/ 180975 w 8601075"/>
                  <a:gd name="connsiteY103" fmla="*/ 638175 h 4333875"/>
                  <a:gd name="connsiteX104" fmla="*/ 57150 w 8601075"/>
                  <a:gd name="connsiteY104" fmla="*/ 733425 h 4333875"/>
                  <a:gd name="connsiteX105" fmla="*/ 19050 w 8601075"/>
                  <a:gd name="connsiteY105" fmla="*/ 790575 h 4333875"/>
                  <a:gd name="connsiteX106" fmla="*/ 0 w 8601075"/>
                  <a:gd name="connsiteY106" fmla="*/ 876300 h 4333875"/>
                  <a:gd name="connsiteX107" fmla="*/ 57150 w 8601075"/>
                  <a:gd name="connsiteY107" fmla="*/ 923925 h 4333875"/>
                  <a:gd name="connsiteX108" fmla="*/ 57150 w 8601075"/>
                  <a:gd name="connsiteY108" fmla="*/ 923925 h 4333875"/>
                  <a:gd name="connsiteX109" fmla="*/ 209550 w 8601075"/>
                  <a:gd name="connsiteY109" fmla="*/ 1114425 h 4333875"/>
                  <a:gd name="connsiteX110" fmla="*/ 209550 w 8601075"/>
                  <a:gd name="connsiteY110" fmla="*/ 1114425 h 4333875"/>
                  <a:gd name="connsiteX111" fmla="*/ 266700 w 8601075"/>
                  <a:gd name="connsiteY111" fmla="*/ 1295400 h 4333875"/>
                  <a:gd name="connsiteX112" fmla="*/ 409575 w 8601075"/>
                  <a:gd name="connsiteY112" fmla="*/ 1276350 h 4333875"/>
                  <a:gd name="connsiteX113" fmla="*/ 466725 w 8601075"/>
                  <a:gd name="connsiteY113" fmla="*/ 1362075 h 4333875"/>
                  <a:gd name="connsiteX114" fmla="*/ 542925 w 8601075"/>
                  <a:gd name="connsiteY114" fmla="*/ 1428750 h 4333875"/>
                  <a:gd name="connsiteX115" fmla="*/ 628650 w 8601075"/>
                  <a:gd name="connsiteY115" fmla="*/ 1571625 h 4333875"/>
                  <a:gd name="connsiteX116" fmla="*/ 628650 w 8601075"/>
                  <a:gd name="connsiteY116" fmla="*/ 1704975 h 4333875"/>
                  <a:gd name="connsiteX117" fmla="*/ 676275 w 8601075"/>
                  <a:gd name="connsiteY117" fmla="*/ 1771650 h 4333875"/>
                  <a:gd name="connsiteX118" fmla="*/ 657225 w 8601075"/>
                  <a:gd name="connsiteY118" fmla="*/ 2000250 h 4333875"/>
                  <a:gd name="connsiteX119" fmla="*/ 619125 w 8601075"/>
                  <a:gd name="connsiteY119" fmla="*/ 2095500 h 4333875"/>
                  <a:gd name="connsiteX120" fmla="*/ 542925 w 8601075"/>
                  <a:gd name="connsiteY120" fmla="*/ 2228850 h 4333875"/>
                  <a:gd name="connsiteX121" fmla="*/ 485775 w 8601075"/>
                  <a:gd name="connsiteY121" fmla="*/ 2362200 h 4333875"/>
                  <a:gd name="connsiteX122" fmla="*/ 552450 w 8601075"/>
                  <a:gd name="connsiteY122" fmla="*/ 2486025 h 4333875"/>
                  <a:gd name="connsiteX123" fmla="*/ 771525 w 8601075"/>
                  <a:gd name="connsiteY123" fmla="*/ 2571750 h 4333875"/>
                  <a:gd name="connsiteX124" fmla="*/ 866775 w 8601075"/>
                  <a:gd name="connsiteY124" fmla="*/ 2571750 h 4333875"/>
                  <a:gd name="connsiteX125" fmla="*/ 914400 w 8601075"/>
                  <a:gd name="connsiteY125" fmla="*/ 2638425 h 4333875"/>
                  <a:gd name="connsiteX126" fmla="*/ 1066800 w 8601075"/>
                  <a:gd name="connsiteY126" fmla="*/ 2638425 h 4333875"/>
                  <a:gd name="connsiteX127" fmla="*/ 1285875 w 8601075"/>
                  <a:gd name="connsiteY127" fmla="*/ 2705100 h 4333875"/>
                  <a:gd name="connsiteX128" fmla="*/ 1438275 w 8601075"/>
                  <a:gd name="connsiteY128" fmla="*/ 2838450 h 4333875"/>
                  <a:gd name="connsiteX129" fmla="*/ 1485900 w 8601075"/>
                  <a:gd name="connsiteY129" fmla="*/ 2914650 h 4333875"/>
                  <a:gd name="connsiteX130" fmla="*/ 1657350 w 8601075"/>
                  <a:gd name="connsiteY130" fmla="*/ 3038475 h 4333875"/>
                  <a:gd name="connsiteX131" fmla="*/ 1752600 w 8601075"/>
                  <a:gd name="connsiteY131" fmla="*/ 3057525 h 4333875"/>
                  <a:gd name="connsiteX132" fmla="*/ 1724025 w 8601075"/>
                  <a:gd name="connsiteY132" fmla="*/ 3143250 h 4333875"/>
                  <a:gd name="connsiteX133" fmla="*/ 1724025 w 8601075"/>
                  <a:gd name="connsiteY133" fmla="*/ 3143250 h 4333875"/>
                  <a:gd name="connsiteX134" fmla="*/ 1781175 w 8601075"/>
                  <a:gd name="connsiteY134" fmla="*/ 3181350 h 4333875"/>
                  <a:gd name="connsiteX135" fmla="*/ 1819275 w 8601075"/>
                  <a:gd name="connsiteY135" fmla="*/ 3362325 h 4333875"/>
                  <a:gd name="connsiteX136" fmla="*/ 1828800 w 8601075"/>
                  <a:gd name="connsiteY136" fmla="*/ 3457575 h 4333875"/>
                  <a:gd name="connsiteX137" fmla="*/ 1971675 w 8601075"/>
                  <a:gd name="connsiteY137" fmla="*/ 3590925 h 4333875"/>
                  <a:gd name="connsiteX138" fmla="*/ 1990725 w 8601075"/>
                  <a:gd name="connsiteY138" fmla="*/ 3714750 h 4333875"/>
                  <a:gd name="connsiteX139" fmla="*/ 2200275 w 8601075"/>
                  <a:gd name="connsiteY139" fmla="*/ 3695700 h 4333875"/>
                  <a:gd name="connsiteX140" fmla="*/ 2886075 w 8601075"/>
                  <a:gd name="connsiteY140" fmla="*/ 3886200 h 4333875"/>
                  <a:gd name="connsiteX141" fmla="*/ 3038475 w 8601075"/>
                  <a:gd name="connsiteY141" fmla="*/ 3819525 h 4333875"/>
                  <a:gd name="connsiteX142" fmla="*/ 3105150 w 8601075"/>
                  <a:gd name="connsiteY142" fmla="*/ 3867150 h 4333875"/>
                  <a:gd name="connsiteX143" fmla="*/ 3181350 w 8601075"/>
                  <a:gd name="connsiteY143" fmla="*/ 3800475 h 4333875"/>
                  <a:gd name="connsiteX144" fmla="*/ 3590925 w 8601075"/>
                  <a:gd name="connsiteY144" fmla="*/ 3943350 h 4333875"/>
                  <a:gd name="connsiteX145" fmla="*/ 3686175 w 8601075"/>
                  <a:gd name="connsiteY145" fmla="*/ 4057650 h 4333875"/>
                  <a:gd name="connsiteX146" fmla="*/ 3838575 w 8601075"/>
                  <a:gd name="connsiteY146" fmla="*/ 4057650 h 4333875"/>
                  <a:gd name="connsiteX147" fmla="*/ 4162425 w 8601075"/>
                  <a:gd name="connsiteY147" fmla="*/ 4248150 h 4333875"/>
                  <a:gd name="connsiteX148" fmla="*/ 4391025 w 8601075"/>
                  <a:gd name="connsiteY148" fmla="*/ 4200525 h 4333875"/>
                  <a:gd name="connsiteX149" fmla="*/ 4410075 w 8601075"/>
                  <a:gd name="connsiteY149" fmla="*/ 4305300 h 4333875"/>
                  <a:gd name="connsiteX150" fmla="*/ 4505325 w 8601075"/>
                  <a:gd name="connsiteY150" fmla="*/ 4276725 h 4333875"/>
                  <a:gd name="connsiteX151" fmla="*/ 4572000 w 8601075"/>
                  <a:gd name="connsiteY151" fmla="*/ 4333875 h 4333875"/>
                  <a:gd name="connsiteX152" fmla="*/ 4591050 w 8601075"/>
                  <a:gd name="connsiteY152" fmla="*/ 4248150 h 4333875"/>
                  <a:gd name="connsiteX153" fmla="*/ 5295900 w 8601075"/>
                  <a:gd name="connsiteY153" fmla="*/ 3924300 h 4333875"/>
                  <a:gd name="connsiteX154" fmla="*/ 5353050 w 8601075"/>
                  <a:gd name="connsiteY154" fmla="*/ 3990975 h 4333875"/>
                  <a:gd name="connsiteX155" fmla="*/ 5524500 w 8601075"/>
                  <a:gd name="connsiteY155" fmla="*/ 3914775 h 4333875"/>
                  <a:gd name="connsiteX156" fmla="*/ 5667375 w 8601075"/>
                  <a:gd name="connsiteY156" fmla="*/ 3962400 h 4333875"/>
                  <a:gd name="connsiteX157" fmla="*/ 5753100 w 8601075"/>
                  <a:gd name="connsiteY157" fmla="*/ 3924300 h 4333875"/>
                  <a:gd name="connsiteX158" fmla="*/ 5905500 w 8601075"/>
                  <a:gd name="connsiteY158" fmla="*/ 3943350 h 4333875"/>
                  <a:gd name="connsiteX159" fmla="*/ 6000750 w 8601075"/>
                  <a:gd name="connsiteY159" fmla="*/ 3800475 h 4333875"/>
                  <a:gd name="connsiteX160" fmla="*/ 6153150 w 8601075"/>
                  <a:gd name="connsiteY160" fmla="*/ 3781425 h 4333875"/>
                  <a:gd name="connsiteX161" fmla="*/ 6257925 w 8601075"/>
                  <a:gd name="connsiteY161" fmla="*/ 3581400 h 4333875"/>
                  <a:gd name="connsiteX162" fmla="*/ 6448425 w 8601075"/>
                  <a:gd name="connsiteY162" fmla="*/ 3448050 h 4333875"/>
                  <a:gd name="connsiteX163" fmla="*/ 6581775 w 8601075"/>
                  <a:gd name="connsiteY163" fmla="*/ 3276600 h 4333875"/>
                  <a:gd name="connsiteX164" fmla="*/ 6496050 w 8601075"/>
                  <a:gd name="connsiteY164" fmla="*/ 3228975 h 4333875"/>
                  <a:gd name="connsiteX165" fmla="*/ 6438900 w 8601075"/>
                  <a:gd name="connsiteY165" fmla="*/ 3162300 h 4333875"/>
                  <a:gd name="connsiteX166" fmla="*/ 6419850 w 8601075"/>
                  <a:gd name="connsiteY166" fmla="*/ 3105150 h 4333875"/>
                  <a:gd name="connsiteX167" fmla="*/ 6362700 w 8601075"/>
                  <a:gd name="connsiteY167" fmla="*/ 3076575 h 4333875"/>
                  <a:gd name="connsiteX168" fmla="*/ 6410325 w 8601075"/>
                  <a:gd name="connsiteY168" fmla="*/ 3019425 h 4333875"/>
                  <a:gd name="connsiteX169" fmla="*/ 6438900 w 8601075"/>
                  <a:gd name="connsiteY169" fmla="*/ 2819400 h 4333875"/>
                  <a:gd name="connsiteX170" fmla="*/ 6496050 w 8601075"/>
                  <a:gd name="connsiteY170" fmla="*/ 2762250 h 4333875"/>
                  <a:gd name="connsiteX171" fmla="*/ 6657975 w 8601075"/>
                  <a:gd name="connsiteY171" fmla="*/ 2752725 h 4333875"/>
                  <a:gd name="connsiteX172" fmla="*/ 6781800 w 8601075"/>
                  <a:gd name="connsiteY172" fmla="*/ 2838450 h 4333875"/>
                  <a:gd name="connsiteX173" fmla="*/ 7010400 w 8601075"/>
                  <a:gd name="connsiteY173" fmla="*/ 2838450 h 4333875"/>
                  <a:gd name="connsiteX174" fmla="*/ 7162800 w 8601075"/>
                  <a:gd name="connsiteY174" fmla="*/ 2705100 h 4333875"/>
                  <a:gd name="connsiteX175" fmla="*/ 7229475 w 8601075"/>
                  <a:gd name="connsiteY175" fmla="*/ 2590800 h 4333875"/>
                  <a:gd name="connsiteX176" fmla="*/ 7248525 w 8601075"/>
                  <a:gd name="connsiteY176" fmla="*/ 2524125 h 4333875"/>
                  <a:gd name="connsiteX177" fmla="*/ 7372350 w 8601075"/>
                  <a:gd name="connsiteY177" fmla="*/ 2543175 h 4333875"/>
                  <a:gd name="connsiteX178" fmla="*/ 7553325 w 8601075"/>
                  <a:gd name="connsiteY178" fmla="*/ 2447925 h 4333875"/>
                  <a:gd name="connsiteX179" fmla="*/ 7620000 w 8601075"/>
                  <a:gd name="connsiteY179" fmla="*/ 2324100 h 4333875"/>
                  <a:gd name="connsiteX180" fmla="*/ 7696200 w 8601075"/>
                  <a:gd name="connsiteY180" fmla="*/ 2314575 h 4333875"/>
                  <a:gd name="connsiteX181" fmla="*/ 7658100 w 8601075"/>
                  <a:gd name="connsiteY181" fmla="*/ 2257425 h 4333875"/>
                  <a:gd name="connsiteX182" fmla="*/ 7753350 w 8601075"/>
                  <a:gd name="connsiteY182" fmla="*/ 2057400 h 4333875"/>
                  <a:gd name="connsiteX183" fmla="*/ 7934325 w 8601075"/>
                  <a:gd name="connsiteY183" fmla="*/ 2028825 h 4333875"/>
                  <a:gd name="connsiteX184" fmla="*/ 7953375 w 8601075"/>
                  <a:gd name="connsiteY184" fmla="*/ 1952625 h 4333875"/>
                  <a:gd name="connsiteX185" fmla="*/ 7953375 w 8601075"/>
                  <a:gd name="connsiteY185" fmla="*/ 1952625 h 4333875"/>
                  <a:gd name="connsiteX186" fmla="*/ 8010525 w 8601075"/>
                  <a:gd name="connsiteY186" fmla="*/ 1895475 h 4333875"/>
                  <a:gd name="connsiteX187" fmla="*/ 8048625 w 8601075"/>
                  <a:gd name="connsiteY187" fmla="*/ 1971675 h 4333875"/>
                  <a:gd name="connsiteX188" fmla="*/ 8077200 w 8601075"/>
                  <a:gd name="connsiteY188" fmla="*/ 1885950 h 4333875"/>
                  <a:gd name="connsiteX189" fmla="*/ 8220075 w 8601075"/>
                  <a:gd name="connsiteY189" fmla="*/ 1847850 h 4333875"/>
                  <a:gd name="connsiteX190" fmla="*/ 8296275 w 8601075"/>
                  <a:gd name="connsiteY190" fmla="*/ 1809750 h 4333875"/>
                  <a:gd name="connsiteX191" fmla="*/ 8324850 w 8601075"/>
                  <a:gd name="connsiteY191" fmla="*/ 1790700 h 4333875"/>
                  <a:gd name="connsiteX192" fmla="*/ 8410575 w 8601075"/>
                  <a:gd name="connsiteY192" fmla="*/ 1847850 h 4333875"/>
                  <a:gd name="connsiteX193" fmla="*/ 8505825 w 8601075"/>
                  <a:gd name="connsiteY193" fmla="*/ 1781175 h 4333875"/>
                  <a:gd name="connsiteX194" fmla="*/ 8572500 w 8601075"/>
                  <a:gd name="connsiteY194" fmla="*/ 1809750 h 4333875"/>
                  <a:gd name="connsiteX195" fmla="*/ 8601075 w 8601075"/>
                  <a:gd name="connsiteY195" fmla="*/ 1704975 h 4333875"/>
                  <a:gd name="connsiteX196" fmla="*/ 8553450 w 8601075"/>
                  <a:gd name="connsiteY196" fmla="*/ 1676400 h 4333875"/>
                  <a:gd name="connsiteX197" fmla="*/ 8534400 w 8601075"/>
                  <a:gd name="connsiteY197" fmla="*/ 1609725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124825 w 8601075"/>
                  <a:gd name="connsiteY201" fmla="*/ 1352550 h 4333875"/>
                  <a:gd name="connsiteX202" fmla="*/ 7924800 w 8601075"/>
                  <a:gd name="connsiteY202" fmla="*/ 1362075 h 4333875"/>
                  <a:gd name="connsiteX203" fmla="*/ 7867650 w 8601075"/>
                  <a:gd name="connsiteY203" fmla="*/ 1457325 h 4333875"/>
                  <a:gd name="connsiteX204" fmla="*/ 7896225 w 8601075"/>
                  <a:gd name="connsiteY204" fmla="*/ 1476375 h 4333875"/>
                  <a:gd name="connsiteX205" fmla="*/ 7858125 w 8601075"/>
                  <a:gd name="connsiteY205" fmla="*/ 1533525 h 4333875"/>
                  <a:gd name="connsiteX206" fmla="*/ 7658100 w 8601075"/>
                  <a:gd name="connsiteY206" fmla="*/ 1447800 h 4333875"/>
                  <a:gd name="connsiteX207" fmla="*/ 7515225 w 8601075"/>
                  <a:gd name="connsiteY207" fmla="*/ 1495425 h 4333875"/>
                  <a:gd name="connsiteX208" fmla="*/ 7467600 w 8601075"/>
                  <a:gd name="connsiteY208" fmla="*/ 1581150 h 4333875"/>
                  <a:gd name="connsiteX209" fmla="*/ 7296150 w 8601075"/>
                  <a:gd name="connsiteY20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0350 w 8601075"/>
                  <a:gd name="connsiteY75" fmla="*/ 628650 h 4333875"/>
                  <a:gd name="connsiteX76" fmla="*/ 2752725 w 8601075"/>
                  <a:gd name="connsiteY76" fmla="*/ 781050 h 4333875"/>
                  <a:gd name="connsiteX77" fmla="*/ 2686050 w 8601075"/>
                  <a:gd name="connsiteY77" fmla="*/ 857250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6050 w 8601075"/>
                  <a:gd name="connsiteY77" fmla="*/ 857250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26519 w 8601075"/>
                  <a:gd name="connsiteY78" fmla="*/ 83820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26519 w 8601075"/>
                  <a:gd name="connsiteY78" fmla="*/ 838200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00300 w 8601075"/>
                  <a:gd name="connsiteY81" fmla="*/ 866775 h 4333875"/>
                  <a:gd name="connsiteX82" fmla="*/ 2305050 w 8601075"/>
                  <a:gd name="connsiteY82" fmla="*/ 809625 h 4333875"/>
                  <a:gd name="connsiteX83" fmla="*/ 2200275 w 8601075"/>
                  <a:gd name="connsiteY83" fmla="*/ 752475 h 4333875"/>
                  <a:gd name="connsiteX84" fmla="*/ 2105025 w 8601075"/>
                  <a:gd name="connsiteY84" fmla="*/ 762000 h 4333875"/>
                  <a:gd name="connsiteX85" fmla="*/ 1990725 w 8601075"/>
                  <a:gd name="connsiteY85" fmla="*/ 762000 h 4333875"/>
                  <a:gd name="connsiteX86" fmla="*/ 1885950 w 8601075"/>
                  <a:gd name="connsiteY86" fmla="*/ 742950 h 4333875"/>
                  <a:gd name="connsiteX87" fmla="*/ 1800225 w 8601075"/>
                  <a:gd name="connsiteY87" fmla="*/ 638175 h 4333875"/>
                  <a:gd name="connsiteX88" fmla="*/ 1809750 w 8601075"/>
                  <a:gd name="connsiteY88" fmla="*/ 495300 h 4333875"/>
                  <a:gd name="connsiteX89" fmla="*/ 1733550 w 8601075"/>
                  <a:gd name="connsiteY89" fmla="*/ 466725 h 4333875"/>
                  <a:gd name="connsiteX90" fmla="*/ 1485900 w 8601075"/>
                  <a:gd name="connsiteY90" fmla="*/ 419100 h 4333875"/>
                  <a:gd name="connsiteX91" fmla="*/ 1457325 w 8601075"/>
                  <a:gd name="connsiteY91" fmla="*/ 323850 h 4333875"/>
                  <a:gd name="connsiteX92" fmla="*/ 1457325 w 8601075"/>
                  <a:gd name="connsiteY92" fmla="*/ 323850 h 4333875"/>
                  <a:gd name="connsiteX93" fmla="*/ 1323975 w 8601075"/>
                  <a:gd name="connsiteY93" fmla="*/ 285750 h 4333875"/>
                  <a:gd name="connsiteX94" fmla="*/ 1266825 w 8601075"/>
                  <a:gd name="connsiteY94" fmla="*/ 352425 h 4333875"/>
                  <a:gd name="connsiteX95" fmla="*/ 1009650 w 8601075"/>
                  <a:gd name="connsiteY95" fmla="*/ 390525 h 4333875"/>
                  <a:gd name="connsiteX96" fmla="*/ 828675 w 8601075"/>
                  <a:gd name="connsiteY96" fmla="*/ 447675 h 4333875"/>
                  <a:gd name="connsiteX97" fmla="*/ 619125 w 8601075"/>
                  <a:gd name="connsiteY97" fmla="*/ 533400 h 4333875"/>
                  <a:gd name="connsiteX98" fmla="*/ 619125 w 8601075"/>
                  <a:gd name="connsiteY98" fmla="*/ 533400 h 4333875"/>
                  <a:gd name="connsiteX99" fmla="*/ 561975 w 8601075"/>
                  <a:gd name="connsiteY99" fmla="*/ 61912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295275 w 8601075"/>
                  <a:gd name="connsiteY103" fmla="*/ 657225 h 4333875"/>
                  <a:gd name="connsiteX104" fmla="*/ 180975 w 8601075"/>
                  <a:gd name="connsiteY104" fmla="*/ 638175 h 4333875"/>
                  <a:gd name="connsiteX105" fmla="*/ 180975 w 8601075"/>
                  <a:gd name="connsiteY105" fmla="*/ 638175 h 4333875"/>
                  <a:gd name="connsiteX106" fmla="*/ 57150 w 8601075"/>
                  <a:gd name="connsiteY106" fmla="*/ 733425 h 4333875"/>
                  <a:gd name="connsiteX107" fmla="*/ 19050 w 8601075"/>
                  <a:gd name="connsiteY107" fmla="*/ 790575 h 4333875"/>
                  <a:gd name="connsiteX108" fmla="*/ 0 w 8601075"/>
                  <a:gd name="connsiteY108" fmla="*/ 876300 h 4333875"/>
                  <a:gd name="connsiteX109" fmla="*/ 57150 w 8601075"/>
                  <a:gd name="connsiteY109" fmla="*/ 923925 h 4333875"/>
                  <a:gd name="connsiteX110" fmla="*/ 57150 w 8601075"/>
                  <a:gd name="connsiteY110" fmla="*/ 923925 h 4333875"/>
                  <a:gd name="connsiteX111" fmla="*/ 209550 w 8601075"/>
                  <a:gd name="connsiteY111" fmla="*/ 1114425 h 4333875"/>
                  <a:gd name="connsiteX112" fmla="*/ 209550 w 8601075"/>
                  <a:gd name="connsiteY112" fmla="*/ 1114425 h 4333875"/>
                  <a:gd name="connsiteX113" fmla="*/ 266700 w 8601075"/>
                  <a:gd name="connsiteY113" fmla="*/ 1295400 h 4333875"/>
                  <a:gd name="connsiteX114" fmla="*/ 409575 w 8601075"/>
                  <a:gd name="connsiteY114" fmla="*/ 1276350 h 4333875"/>
                  <a:gd name="connsiteX115" fmla="*/ 466725 w 8601075"/>
                  <a:gd name="connsiteY115" fmla="*/ 1362075 h 4333875"/>
                  <a:gd name="connsiteX116" fmla="*/ 542925 w 8601075"/>
                  <a:gd name="connsiteY116" fmla="*/ 1428750 h 4333875"/>
                  <a:gd name="connsiteX117" fmla="*/ 628650 w 8601075"/>
                  <a:gd name="connsiteY117" fmla="*/ 1571625 h 4333875"/>
                  <a:gd name="connsiteX118" fmla="*/ 628650 w 8601075"/>
                  <a:gd name="connsiteY118" fmla="*/ 1704975 h 4333875"/>
                  <a:gd name="connsiteX119" fmla="*/ 676275 w 8601075"/>
                  <a:gd name="connsiteY119" fmla="*/ 1771650 h 4333875"/>
                  <a:gd name="connsiteX120" fmla="*/ 657225 w 8601075"/>
                  <a:gd name="connsiteY120" fmla="*/ 2000250 h 4333875"/>
                  <a:gd name="connsiteX121" fmla="*/ 619125 w 8601075"/>
                  <a:gd name="connsiteY121" fmla="*/ 2095500 h 4333875"/>
                  <a:gd name="connsiteX122" fmla="*/ 542925 w 8601075"/>
                  <a:gd name="connsiteY122" fmla="*/ 2228850 h 4333875"/>
                  <a:gd name="connsiteX123" fmla="*/ 485775 w 8601075"/>
                  <a:gd name="connsiteY123" fmla="*/ 2362200 h 4333875"/>
                  <a:gd name="connsiteX124" fmla="*/ 552450 w 8601075"/>
                  <a:gd name="connsiteY124" fmla="*/ 2486025 h 4333875"/>
                  <a:gd name="connsiteX125" fmla="*/ 771525 w 8601075"/>
                  <a:gd name="connsiteY125" fmla="*/ 2571750 h 4333875"/>
                  <a:gd name="connsiteX126" fmla="*/ 866775 w 8601075"/>
                  <a:gd name="connsiteY126" fmla="*/ 2571750 h 4333875"/>
                  <a:gd name="connsiteX127" fmla="*/ 914400 w 8601075"/>
                  <a:gd name="connsiteY127" fmla="*/ 2638425 h 4333875"/>
                  <a:gd name="connsiteX128" fmla="*/ 1066800 w 8601075"/>
                  <a:gd name="connsiteY128" fmla="*/ 2638425 h 4333875"/>
                  <a:gd name="connsiteX129" fmla="*/ 1285875 w 8601075"/>
                  <a:gd name="connsiteY129" fmla="*/ 2705100 h 4333875"/>
                  <a:gd name="connsiteX130" fmla="*/ 1438275 w 8601075"/>
                  <a:gd name="connsiteY130" fmla="*/ 2838450 h 4333875"/>
                  <a:gd name="connsiteX131" fmla="*/ 1485900 w 8601075"/>
                  <a:gd name="connsiteY131" fmla="*/ 2914650 h 4333875"/>
                  <a:gd name="connsiteX132" fmla="*/ 1657350 w 8601075"/>
                  <a:gd name="connsiteY132" fmla="*/ 3038475 h 4333875"/>
                  <a:gd name="connsiteX133" fmla="*/ 1752600 w 8601075"/>
                  <a:gd name="connsiteY133" fmla="*/ 3057525 h 4333875"/>
                  <a:gd name="connsiteX134" fmla="*/ 1724025 w 8601075"/>
                  <a:gd name="connsiteY134" fmla="*/ 3143250 h 4333875"/>
                  <a:gd name="connsiteX135" fmla="*/ 1724025 w 8601075"/>
                  <a:gd name="connsiteY135" fmla="*/ 3143250 h 4333875"/>
                  <a:gd name="connsiteX136" fmla="*/ 1781175 w 8601075"/>
                  <a:gd name="connsiteY136" fmla="*/ 3181350 h 4333875"/>
                  <a:gd name="connsiteX137" fmla="*/ 1819275 w 8601075"/>
                  <a:gd name="connsiteY137" fmla="*/ 3362325 h 4333875"/>
                  <a:gd name="connsiteX138" fmla="*/ 1828800 w 8601075"/>
                  <a:gd name="connsiteY138" fmla="*/ 3457575 h 4333875"/>
                  <a:gd name="connsiteX139" fmla="*/ 1971675 w 8601075"/>
                  <a:gd name="connsiteY139" fmla="*/ 3590925 h 4333875"/>
                  <a:gd name="connsiteX140" fmla="*/ 1990725 w 8601075"/>
                  <a:gd name="connsiteY140" fmla="*/ 3714750 h 4333875"/>
                  <a:gd name="connsiteX141" fmla="*/ 2200275 w 8601075"/>
                  <a:gd name="connsiteY141" fmla="*/ 3695700 h 4333875"/>
                  <a:gd name="connsiteX142" fmla="*/ 2886075 w 8601075"/>
                  <a:gd name="connsiteY142" fmla="*/ 3886200 h 4333875"/>
                  <a:gd name="connsiteX143" fmla="*/ 3038475 w 8601075"/>
                  <a:gd name="connsiteY143" fmla="*/ 3819525 h 4333875"/>
                  <a:gd name="connsiteX144" fmla="*/ 3105150 w 8601075"/>
                  <a:gd name="connsiteY144" fmla="*/ 3867150 h 4333875"/>
                  <a:gd name="connsiteX145" fmla="*/ 3181350 w 8601075"/>
                  <a:gd name="connsiteY145" fmla="*/ 3800475 h 4333875"/>
                  <a:gd name="connsiteX146" fmla="*/ 3590925 w 8601075"/>
                  <a:gd name="connsiteY146" fmla="*/ 3943350 h 4333875"/>
                  <a:gd name="connsiteX147" fmla="*/ 3686175 w 8601075"/>
                  <a:gd name="connsiteY147" fmla="*/ 4057650 h 4333875"/>
                  <a:gd name="connsiteX148" fmla="*/ 3838575 w 8601075"/>
                  <a:gd name="connsiteY148" fmla="*/ 4057650 h 4333875"/>
                  <a:gd name="connsiteX149" fmla="*/ 4162425 w 8601075"/>
                  <a:gd name="connsiteY149" fmla="*/ 4248150 h 4333875"/>
                  <a:gd name="connsiteX150" fmla="*/ 4391025 w 8601075"/>
                  <a:gd name="connsiteY150" fmla="*/ 4200525 h 4333875"/>
                  <a:gd name="connsiteX151" fmla="*/ 4410075 w 8601075"/>
                  <a:gd name="connsiteY151" fmla="*/ 4305300 h 4333875"/>
                  <a:gd name="connsiteX152" fmla="*/ 4505325 w 8601075"/>
                  <a:gd name="connsiteY152" fmla="*/ 4276725 h 4333875"/>
                  <a:gd name="connsiteX153" fmla="*/ 4572000 w 8601075"/>
                  <a:gd name="connsiteY153" fmla="*/ 4333875 h 4333875"/>
                  <a:gd name="connsiteX154" fmla="*/ 4591050 w 8601075"/>
                  <a:gd name="connsiteY154" fmla="*/ 4248150 h 4333875"/>
                  <a:gd name="connsiteX155" fmla="*/ 5295900 w 8601075"/>
                  <a:gd name="connsiteY155" fmla="*/ 3924300 h 4333875"/>
                  <a:gd name="connsiteX156" fmla="*/ 5353050 w 8601075"/>
                  <a:gd name="connsiteY156" fmla="*/ 3990975 h 4333875"/>
                  <a:gd name="connsiteX157" fmla="*/ 5524500 w 8601075"/>
                  <a:gd name="connsiteY157" fmla="*/ 3914775 h 4333875"/>
                  <a:gd name="connsiteX158" fmla="*/ 5667375 w 8601075"/>
                  <a:gd name="connsiteY158" fmla="*/ 3962400 h 4333875"/>
                  <a:gd name="connsiteX159" fmla="*/ 5753100 w 8601075"/>
                  <a:gd name="connsiteY159" fmla="*/ 3924300 h 4333875"/>
                  <a:gd name="connsiteX160" fmla="*/ 5905500 w 8601075"/>
                  <a:gd name="connsiteY160" fmla="*/ 3943350 h 4333875"/>
                  <a:gd name="connsiteX161" fmla="*/ 6000750 w 8601075"/>
                  <a:gd name="connsiteY161" fmla="*/ 3800475 h 4333875"/>
                  <a:gd name="connsiteX162" fmla="*/ 6153150 w 8601075"/>
                  <a:gd name="connsiteY162" fmla="*/ 3781425 h 4333875"/>
                  <a:gd name="connsiteX163" fmla="*/ 6257925 w 8601075"/>
                  <a:gd name="connsiteY163" fmla="*/ 3581400 h 4333875"/>
                  <a:gd name="connsiteX164" fmla="*/ 6448425 w 8601075"/>
                  <a:gd name="connsiteY164" fmla="*/ 3448050 h 4333875"/>
                  <a:gd name="connsiteX165" fmla="*/ 6581775 w 8601075"/>
                  <a:gd name="connsiteY165" fmla="*/ 3276600 h 4333875"/>
                  <a:gd name="connsiteX166" fmla="*/ 6496050 w 8601075"/>
                  <a:gd name="connsiteY166" fmla="*/ 3228975 h 4333875"/>
                  <a:gd name="connsiteX167" fmla="*/ 6438900 w 8601075"/>
                  <a:gd name="connsiteY167" fmla="*/ 3162300 h 4333875"/>
                  <a:gd name="connsiteX168" fmla="*/ 6419850 w 8601075"/>
                  <a:gd name="connsiteY168" fmla="*/ 3105150 h 4333875"/>
                  <a:gd name="connsiteX169" fmla="*/ 6362700 w 8601075"/>
                  <a:gd name="connsiteY169" fmla="*/ 3076575 h 4333875"/>
                  <a:gd name="connsiteX170" fmla="*/ 6410325 w 8601075"/>
                  <a:gd name="connsiteY170" fmla="*/ 3019425 h 4333875"/>
                  <a:gd name="connsiteX171" fmla="*/ 6438900 w 8601075"/>
                  <a:gd name="connsiteY171" fmla="*/ 2819400 h 4333875"/>
                  <a:gd name="connsiteX172" fmla="*/ 6496050 w 8601075"/>
                  <a:gd name="connsiteY172" fmla="*/ 2762250 h 4333875"/>
                  <a:gd name="connsiteX173" fmla="*/ 6657975 w 8601075"/>
                  <a:gd name="connsiteY173" fmla="*/ 2752725 h 4333875"/>
                  <a:gd name="connsiteX174" fmla="*/ 6781800 w 8601075"/>
                  <a:gd name="connsiteY174" fmla="*/ 2838450 h 4333875"/>
                  <a:gd name="connsiteX175" fmla="*/ 7010400 w 8601075"/>
                  <a:gd name="connsiteY175" fmla="*/ 2838450 h 4333875"/>
                  <a:gd name="connsiteX176" fmla="*/ 7162800 w 8601075"/>
                  <a:gd name="connsiteY176" fmla="*/ 2705100 h 4333875"/>
                  <a:gd name="connsiteX177" fmla="*/ 7229475 w 8601075"/>
                  <a:gd name="connsiteY177" fmla="*/ 2590800 h 4333875"/>
                  <a:gd name="connsiteX178" fmla="*/ 7248525 w 8601075"/>
                  <a:gd name="connsiteY178" fmla="*/ 2524125 h 4333875"/>
                  <a:gd name="connsiteX179" fmla="*/ 7372350 w 8601075"/>
                  <a:gd name="connsiteY179" fmla="*/ 2543175 h 4333875"/>
                  <a:gd name="connsiteX180" fmla="*/ 7553325 w 8601075"/>
                  <a:gd name="connsiteY180" fmla="*/ 2447925 h 4333875"/>
                  <a:gd name="connsiteX181" fmla="*/ 7620000 w 8601075"/>
                  <a:gd name="connsiteY181" fmla="*/ 2324100 h 4333875"/>
                  <a:gd name="connsiteX182" fmla="*/ 7696200 w 8601075"/>
                  <a:gd name="connsiteY182" fmla="*/ 2314575 h 4333875"/>
                  <a:gd name="connsiteX183" fmla="*/ 7658100 w 8601075"/>
                  <a:gd name="connsiteY183" fmla="*/ 2257425 h 4333875"/>
                  <a:gd name="connsiteX184" fmla="*/ 7753350 w 8601075"/>
                  <a:gd name="connsiteY184" fmla="*/ 2057400 h 4333875"/>
                  <a:gd name="connsiteX185" fmla="*/ 7934325 w 8601075"/>
                  <a:gd name="connsiteY185" fmla="*/ 2028825 h 4333875"/>
                  <a:gd name="connsiteX186" fmla="*/ 7953375 w 8601075"/>
                  <a:gd name="connsiteY186" fmla="*/ 1952625 h 4333875"/>
                  <a:gd name="connsiteX187" fmla="*/ 7953375 w 8601075"/>
                  <a:gd name="connsiteY187" fmla="*/ 1952625 h 4333875"/>
                  <a:gd name="connsiteX188" fmla="*/ 8010525 w 8601075"/>
                  <a:gd name="connsiteY188" fmla="*/ 1895475 h 4333875"/>
                  <a:gd name="connsiteX189" fmla="*/ 8048625 w 8601075"/>
                  <a:gd name="connsiteY189" fmla="*/ 1971675 h 4333875"/>
                  <a:gd name="connsiteX190" fmla="*/ 8077200 w 8601075"/>
                  <a:gd name="connsiteY190" fmla="*/ 1885950 h 4333875"/>
                  <a:gd name="connsiteX191" fmla="*/ 8220075 w 8601075"/>
                  <a:gd name="connsiteY191" fmla="*/ 1847850 h 4333875"/>
                  <a:gd name="connsiteX192" fmla="*/ 8296275 w 8601075"/>
                  <a:gd name="connsiteY192" fmla="*/ 1809750 h 4333875"/>
                  <a:gd name="connsiteX193" fmla="*/ 8324850 w 8601075"/>
                  <a:gd name="connsiteY193" fmla="*/ 1790700 h 4333875"/>
                  <a:gd name="connsiteX194" fmla="*/ 8410575 w 8601075"/>
                  <a:gd name="connsiteY194" fmla="*/ 1847850 h 4333875"/>
                  <a:gd name="connsiteX195" fmla="*/ 8505825 w 8601075"/>
                  <a:gd name="connsiteY195" fmla="*/ 1781175 h 4333875"/>
                  <a:gd name="connsiteX196" fmla="*/ 8572500 w 8601075"/>
                  <a:gd name="connsiteY196" fmla="*/ 1809750 h 4333875"/>
                  <a:gd name="connsiteX197" fmla="*/ 8601075 w 8601075"/>
                  <a:gd name="connsiteY197" fmla="*/ 1704975 h 4333875"/>
                  <a:gd name="connsiteX198" fmla="*/ 8553450 w 8601075"/>
                  <a:gd name="connsiteY198" fmla="*/ 1676400 h 4333875"/>
                  <a:gd name="connsiteX199" fmla="*/ 8534400 w 8601075"/>
                  <a:gd name="connsiteY199" fmla="*/ 1609725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124825 w 8601075"/>
                  <a:gd name="connsiteY203" fmla="*/ 1352550 h 4333875"/>
                  <a:gd name="connsiteX204" fmla="*/ 7924800 w 8601075"/>
                  <a:gd name="connsiteY204" fmla="*/ 1362075 h 4333875"/>
                  <a:gd name="connsiteX205" fmla="*/ 7867650 w 8601075"/>
                  <a:gd name="connsiteY205" fmla="*/ 1457325 h 4333875"/>
                  <a:gd name="connsiteX206" fmla="*/ 7896225 w 8601075"/>
                  <a:gd name="connsiteY206" fmla="*/ 1476375 h 4333875"/>
                  <a:gd name="connsiteX207" fmla="*/ 7858125 w 8601075"/>
                  <a:gd name="connsiteY207" fmla="*/ 1533525 h 4333875"/>
                  <a:gd name="connsiteX208" fmla="*/ 7658100 w 8601075"/>
                  <a:gd name="connsiteY208" fmla="*/ 1447800 h 4333875"/>
                  <a:gd name="connsiteX209" fmla="*/ 7515225 w 8601075"/>
                  <a:gd name="connsiteY209" fmla="*/ 1495425 h 4333875"/>
                  <a:gd name="connsiteX210" fmla="*/ 7467600 w 8601075"/>
                  <a:gd name="connsiteY210" fmla="*/ 1581150 h 4333875"/>
                  <a:gd name="connsiteX211" fmla="*/ 7296150 w 8601075"/>
                  <a:gd name="connsiteY21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00300 w 8601075"/>
                  <a:gd name="connsiteY81" fmla="*/ 866775 h 4333875"/>
                  <a:gd name="connsiteX82" fmla="*/ 2305050 w 8601075"/>
                  <a:gd name="connsiteY82" fmla="*/ 809625 h 4333875"/>
                  <a:gd name="connsiteX83" fmla="*/ 2200275 w 8601075"/>
                  <a:gd name="connsiteY83" fmla="*/ 752475 h 4333875"/>
                  <a:gd name="connsiteX84" fmla="*/ 2105025 w 8601075"/>
                  <a:gd name="connsiteY84" fmla="*/ 762000 h 4333875"/>
                  <a:gd name="connsiteX85" fmla="*/ 1990725 w 8601075"/>
                  <a:gd name="connsiteY85" fmla="*/ 762000 h 4333875"/>
                  <a:gd name="connsiteX86" fmla="*/ 1885950 w 8601075"/>
                  <a:gd name="connsiteY86" fmla="*/ 742950 h 4333875"/>
                  <a:gd name="connsiteX87" fmla="*/ 1800225 w 8601075"/>
                  <a:gd name="connsiteY87" fmla="*/ 638175 h 4333875"/>
                  <a:gd name="connsiteX88" fmla="*/ 1809750 w 8601075"/>
                  <a:gd name="connsiteY88" fmla="*/ 495300 h 4333875"/>
                  <a:gd name="connsiteX89" fmla="*/ 1733550 w 8601075"/>
                  <a:gd name="connsiteY89" fmla="*/ 466725 h 4333875"/>
                  <a:gd name="connsiteX90" fmla="*/ 1485900 w 8601075"/>
                  <a:gd name="connsiteY90" fmla="*/ 419100 h 4333875"/>
                  <a:gd name="connsiteX91" fmla="*/ 1457325 w 8601075"/>
                  <a:gd name="connsiteY91" fmla="*/ 323850 h 4333875"/>
                  <a:gd name="connsiteX92" fmla="*/ 1457325 w 8601075"/>
                  <a:gd name="connsiteY92" fmla="*/ 323850 h 4333875"/>
                  <a:gd name="connsiteX93" fmla="*/ 1323975 w 8601075"/>
                  <a:gd name="connsiteY93" fmla="*/ 285750 h 4333875"/>
                  <a:gd name="connsiteX94" fmla="*/ 1266825 w 8601075"/>
                  <a:gd name="connsiteY94" fmla="*/ 352425 h 4333875"/>
                  <a:gd name="connsiteX95" fmla="*/ 1009650 w 8601075"/>
                  <a:gd name="connsiteY95" fmla="*/ 390525 h 4333875"/>
                  <a:gd name="connsiteX96" fmla="*/ 828675 w 8601075"/>
                  <a:gd name="connsiteY96" fmla="*/ 447675 h 4333875"/>
                  <a:gd name="connsiteX97" fmla="*/ 619125 w 8601075"/>
                  <a:gd name="connsiteY97" fmla="*/ 533400 h 4333875"/>
                  <a:gd name="connsiteX98" fmla="*/ 619125 w 8601075"/>
                  <a:gd name="connsiteY98" fmla="*/ 533400 h 4333875"/>
                  <a:gd name="connsiteX99" fmla="*/ 561975 w 8601075"/>
                  <a:gd name="connsiteY99" fmla="*/ 61912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295275 w 8601075"/>
                  <a:gd name="connsiteY103" fmla="*/ 657225 h 4333875"/>
                  <a:gd name="connsiteX104" fmla="*/ 180975 w 8601075"/>
                  <a:gd name="connsiteY104" fmla="*/ 638175 h 4333875"/>
                  <a:gd name="connsiteX105" fmla="*/ 180975 w 8601075"/>
                  <a:gd name="connsiteY105" fmla="*/ 638175 h 4333875"/>
                  <a:gd name="connsiteX106" fmla="*/ 57150 w 8601075"/>
                  <a:gd name="connsiteY106" fmla="*/ 733425 h 4333875"/>
                  <a:gd name="connsiteX107" fmla="*/ 19050 w 8601075"/>
                  <a:gd name="connsiteY107" fmla="*/ 790575 h 4333875"/>
                  <a:gd name="connsiteX108" fmla="*/ 0 w 8601075"/>
                  <a:gd name="connsiteY108" fmla="*/ 876300 h 4333875"/>
                  <a:gd name="connsiteX109" fmla="*/ 57150 w 8601075"/>
                  <a:gd name="connsiteY109" fmla="*/ 923925 h 4333875"/>
                  <a:gd name="connsiteX110" fmla="*/ 57150 w 8601075"/>
                  <a:gd name="connsiteY110" fmla="*/ 923925 h 4333875"/>
                  <a:gd name="connsiteX111" fmla="*/ 209550 w 8601075"/>
                  <a:gd name="connsiteY111" fmla="*/ 1114425 h 4333875"/>
                  <a:gd name="connsiteX112" fmla="*/ 209550 w 8601075"/>
                  <a:gd name="connsiteY112" fmla="*/ 1114425 h 4333875"/>
                  <a:gd name="connsiteX113" fmla="*/ 266700 w 8601075"/>
                  <a:gd name="connsiteY113" fmla="*/ 1295400 h 4333875"/>
                  <a:gd name="connsiteX114" fmla="*/ 409575 w 8601075"/>
                  <a:gd name="connsiteY114" fmla="*/ 1276350 h 4333875"/>
                  <a:gd name="connsiteX115" fmla="*/ 466725 w 8601075"/>
                  <a:gd name="connsiteY115" fmla="*/ 1362075 h 4333875"/>
                  <a:gd name="connsiteX116" fmla="*/ 542925 w 8601075"/>
                  <a:gd name="connsiteY116" fmla="*/ 1428750 h 4333875"/>
                  <a:gd name="connsiteX117" fmla="*/ 628650 w 8601075"/>
                  <a:gd name="connsiteY117" fmla="*/ 1571625 h 4333875"/>
                  <a:gd name="connsiteX118" fmla="*/ 628650 w 8601075"/>
                  <a:gd name="connsiteY118" fmla="*/ 1704975 h 4333875"/>
                  <a:gd name="connsiteX119" fmla="*/ 676275 w 8601075"/>
                  <a:gd name="connsiteY119" fmla="*/ 1771650 h 4333875"/>
                  <a:gd name="connsiteX120" fmla="*/ 657225 w 8601075"/>
                  <a:gd name="connsiteY120" fmla="*/ 2000250 h 4333875"/>
                  <a:gd name="connsiteX121" fmla="*/ 619125 w 8601075"/>
                  <a:gd name="connsiteY121" fmla="*/ 2095500 h 4333875"/>
                  <a:gd name="connsiteX122" fmla="*/ 542925 w 8601075"/>
                  <a:gd name="connsiteY122" fmla="*/ 2228850 h 4333875"/>
                  <a:gd name="connsiteX123" fmla="*/ 485775 w 8601075"/>
                  <a:gd name="connsiteY123" fmla="*/ 2362200 h 4333875"/>
                  <a:gd name="connsiteX124" fmla="*/ 552450 w 8601075"/>
                  <a:gd name="connsiteY124" fmla="*/ 2486025 h 4333875"/>
                  <a:gd name="connsiteX125" fmla="*/ 771525 w 8601075"/>
                  <a:gd name="connsiteY125" fmla="*/ 2571750 h 4333875"/>
                  <a:gd name="connsiteX126" fmla="*/ 866775 w 8601075"/>
                  <a:gd name="connsiteY126" fmla="*/ 2571750 h 4333875"/>
                  <a:gd name="connsiteX127" fmla="*/ 914400 w 8601075"/>
                  <a:gd name="connsiteY127" fmla="*/ 2638425 h 4333875"/>
                  <a:gd name="connsiteX128" fmla="*/ 1066800 w 8601075"/>
                  <a:gd name="connsiteY128" fmla="*/ 2638425 h 4333875"/>
                  <a:gd name="connsiteX129" fmla="*/ 1285875 w 8601075"/>
                  <a:gd name="connsiteY129" fmla="*/ 2705100 h 4333875"/>
                  <a:gd name="connsiteX130" fmla="*/ 1438275 w 8601075"/>
                  <a:gd name="connsiteY130" fmla="*/ 2838450 h 4333875"/>
                  <a:gd name="connsiteX131" fmla="*/ 1485900 w 8601075"/>
                  <a:gd name="connsiteY131" fmla="*/ 2914650 h 4333875"/>
                  <a:gd name="connsiteX132" fmla="*/ 1657350 w 8601075"/>
                  <a:gd name="connsiteY132" fmla="*/ 3038475 h 4333875"/>
                  <a:gd name="connsiteX133" fmla="*/ 1752600 w 8601075"/>
                  <a:gd name="connsiteY133" fmla="*/ 3057525 h 4333875"/>
                  <a:gd name="connsiteX134" fmla="*/ 1724025 w 8601075"/>
                  <a:gd name="connsiteY134" fmla="*/ 3143250 h 4333875"/>
                  <a:gd name="connsiteX135" fmla="*/ 1724025 w 8601075"/>
                  <a:gd name="connsiteY135" fmla="*/ 3143250 h 4333875"/>
                  <a:gd name="connsiteX136" fmla="*/ 1781175 w 8601075"/>
                  <a:gd name="connsiteY136" fmla="*/ 3181350 h 4333875"/>
                  <a:gd name="connsiteX137" fmla="*/ 1819275 w 8601075"/>
                  <a:gd name="connsiteY137" fmla="*/ 3362325 h 4333875"/>
                  <a:gd name="connsiteX138" fmla="*/ 1828800 w 8601075"/>
                  <a:gd name="connsiteY138" fmla="*/ 3457575 h 4333875"/>
                  <a:gd name="connsiteX139" fmla="*/ 1971675 w 8601075"/>
                  <a:gd name="connsiteY139" fmla="*/ 3590925 h 4333875"/>
                  <a:gd name="connsiteX140" fmla="*/ 1990725 w 8601075"/>
                  <a:gd name="connsiteY140" fmla="*/ 3714750 h 4333875"/>
                  <a:gd name="connsiteX141" fmla="*/ 2200275 w 8601075"/>
                  <a:gd name="connsiteY141" fmla="*/ 3695700 h 4333875"/>
                  <a:gd name="connsiteX142" fmla="*/ 2886075 w 8601075"/>
                  <a:gd name="connsiteY142" fmla="*/ 3886200 h 4333875"/>
                  <a:gd name="connsiteX143" fmla="*/ 3038475 w 8601075"/>
                  <a:gd name="connsiteY143" fmla="*/ 3819525 h 4333875"/>
                  <a:gd name="connsiteX144" fmla="*/ 3105150 w 8601075"/>
                  <a:gd name="connsiteY144" fmla="*/ 3867150 h 4333875"/>
                  <a:gd name="connsiteX145" fmla="*/ 3181350 w 8601075"/>
                  <a:gd name="connsiteY145" fmla="*/ 3800475 h 4333875"/>
                  <a:gd name="connsiteX146" fmla="*/ 3590925 w 8601075"/>
                  <a:gd name="connsiteY146" fmla="*/ 3943350 h 4333875"/>
                  <a:gd name="connsiteX147" fmla="*/ 3686175 w 8601075"/>
                  <a:gd name="connsiteY147" fmla="*/ 4057650 h 4333875"/>
                  <a:gd name="connsiteX148" fmla="*/ 3838575 w 8601075"/>
                  <a:gd name="connsiteY148" fmla="*/ 4057650 h 4333875"/>
                  <a:gd name="connsiteX149" fmla="*/ 4162425 w 8601075"/>
                  <a:gd name="connsiteY149" fmla="*/ 4248150 h 4333875"/>
                  <a:gd name="connsiteX150" fmla="*/ 4391025 w 8601075"/>
                  <a:gd name="connsiteY150" fmla="*/ 4200525 h 4333875"/>
                  <a:gd name="connsiteX151" fmla="*/ 4410075 w 8601075"/>
                  <a:gd name="connsiteY151" fmla="*/ 4305300 h 4333875"/>
                  <a:gd name="connsiteX152" fmla="*/ 4505325 w 8601075"/>
                  <a:gd name="connsiteY152" fmla="*/ 4276725 h 4333875"/>
                  <a:gd name="connsiteX153" fmla="*/ 4572000 w 8601075"/>
                  <a:gd name="connsiteY153" fmla="*/ 4333875 h 4333875"/>
                  <a:gd name="connsiteX154" fmla="*/ 4591050 w 8601075"/>
                  <a:gd name="connsiteY154" fmla="*/ 4248150 h 4333875"/>
                  <a:gd name="connsiteX155" fmla="*/ 5295900 w 8601075"/>
                  <a:gd name="connsiteY155" fmla="*/ 3924300 h 4333875"/>
                  <a:gd name="connsiteX156" fmla="*/ 5353050 w 8601075"/>
                  <a:gd name="connsiteY156" fmla="*/ 3990975 h 4333875"/>
                  <a:gd name="connsiteX157" fmla="*/ 5524500 w 8601075"/>
                  <a:gd name="connsiteY157" fmla="*/ 3914775 h 4333875"/>
                  <a:gd name="connsiteX158" fmla="*/ 5667375 w 8601075"/>
                  <a:gd name="connsiteY158" fmla="*/ 3962400 h 4333875"/>
                  <a:gd name="connsiteX159" fmla="*/ 5753100 w 8601075"/>
                  <a:gd name="connsiteY159" fmla="*/ 3924300 h 4333875"/>
                  <a:gd name="connsiteX160" fmla="*/ 5905500 w 8601075"/>
                  <a:gd name="connsiteY160" fmla="*/ 3943350 h 4333875"/>
                  <a:gd name="connsiteX161" fmla="*/ 6000750 w 8601075"/>
                  <a:gd name="connsiteY161" fmla="*/ 3800475 h 4333875"/>
                  <a:gd name="connsiteX162" fmla="*/ 6153150 w 8601075"/>
                  <a:gd name="connsiteY162" fmla="*/ 3781425 h 4333875"/>
                  <a:gd name="connsiteX163" fmla="*/ 6257925 w 8601075"/>
                  <a:gd name="connsiteY163" fmla="*/ 3581400 h 4333875"/>
                  <a:gd name="connsiteX164" fmla="*/ 6448425 w 8601075"/>
                  <a:gd name="connsiteY164" fmla="*/ 3448050 h 4333875"/>
                  <a:gd name="connsiteX165" fmla="*/ 6581775 w 8601075"/>
                  <a:gd name="connsiteY165" fmla="*/ 3276600 h 4333875"/>
                  <a:gd name="connsiteX166" fmla="*/ 6496050 w 8601075"/>
                  <a:gd name="connsiteY166" fmla="*/ 3228975 h 4333875"/>
                  <a:gd name="connsiteX167" fmla="*/ 6438900 w 8601075"/>
                  <a:gd name="connsiteY167" fmla="*/ 3162300 h 4333875"/>
                  <a:gd name="connsiteX168" fmla="*/ 6419850 w 8601075"/>
                  <a:gd name="connsiteY168" fmla="*/ 3105150 h 4333875"/>
                  <a:gd name="connsiteX169" fmla="*/ 6362700 w 8601075"/>
                  <a:gd name="connsiteY169" fmla="*/ 3076575 h 4333875"/>
                  <a:gd name="connsiteX170" fmla="*/ 6410325 w 8601075"/>
                  <a:gd name="connsiteY170" fmla="*/ 3019425 h 4333875"/>
                  <a:gd name="connsiteX171" fmla="*/ 6438900 w 8601075"/>
                  <a:gd name="connsiteY171" fmla="*/ 2819400 h 4333875"/>
                  <a:gd name="connsiteX172" fmla="*/ 6496050 w 8601075"/>
                  <a:gd name="connsiteY172" fmla="*/ 2762250 h 4333875"/>
                  <a:gd name="connsiteX173" fmla="*/ 6657975 w 8601075"/>
                  <a:gd name="connsiteY173" fmla="*/ 2752725 h 4333875"/>
                  <a:gd name="connsiteX174" fmla="*/ 6781800 w 8601075"/>
                  <a:gd name="connsiteY174" fmla="*/ 2838450 h 4333875"/>
                  <a:gd name="connsiteX175" fmla="*/ 7010400 w 8601075"/>
                  <a:gd name="connsiteY175" fmla="*/ 2838450 h 4333875"/>
                  <a:gd name="connsiteX176" fmla="*/ 7162800 w 8601075"/>
                  <a:gd name="connsiteY176" fmla="*/ 2705100 h 4333875"/>
                  <a:gd name="connsiteX177" fmla="*/ 7229475 w 8601075"/>
                  <a:gd name="connsiteY177" fmla="*/ 2590800 h 4333875"/>
                  <a:gd name="connsiteX178" fmla="*/ 7248525 w 8601075"/>
                  <a:gd name="connsiteY178" fmla="*/ 2524125 h 4333875"/>
                  <a:gd name="connsiteX179" fmla="*/ 7372350 w 8601075"/>
                  <a:gd name="connsiteY179" fmla="*/ 2543175 h 4333875"/>
                  <a:gd name="connsiteX180" fmla="*/ 7553325 w 8601075"/>
                  <a:gd name="connsiteY180" fmla="*/ 2447925 h 4333875"/>
                  <a:gd name="connsiteX181" fmla="*/ 7620000 w 8601075"/>
                  <a:gd name="connsiteY181" fmla="*/ 2324100 h 4333875"/>
                  <a:gd name="connsiteX182" fmla="*/ 7696200 w 8601075"/>
                  <a:gd name="connsiteY182" fmla="*/ 2314575 h 4333875"/>
                  <a:gd name="connsiteX183" fmla="*/ 7658100 w 8601075"/>
                  <a:gd name="connsiteY183" fmla="*/ 2257425 h 4333875"/>
                  <a:gd name="connsiteX184" fmla="*/ 7753350 w 8601075"/>
                  <a:gd name="connsiteY184" fmla="*/ 2057400 h 4333875"/>
                  <a:gd name="connsiteX185" fmla="*/ 7934325 w 8601075"/>
                  <a:gd name="connsiteY185" fmla="*/ 2028825 h 4333875"/>
                  <a:gd name="connsiteX186" fmla="*/ 7953375 w 8601075"/>
                  <a:gd name="connsiteY186" fmla="*/ 1952625 h 4333875"/>
                  <a:gd name="connsiteX187" fmla="*/ 7953375 w 8601075"/>
                  <a:gd name="connsiteY187" fmla="*/ 1952625 h 4333875"/>
                  <a:gd name="connsiteX188" fmla="*/ 8010525 w 8601075"/>
                  <a:gd name="connsiteY188" fmla="*/ 1895475 h 4333875"/>
                  <a:gd name="connsiteX189" fmla="*/ 8048625 w 8601075"/>
                  <a:gd name="connsiteY189" fmla="*/ 1971675 h 4333875"/>
                  <a:gd name="connsiteX190" fmla="*/ 8077200 w 8601075"/>
                  <a:gd name="connsiteY190" fmla="*/ 1885950 h 4333875"/>
                  <a:gd name="connsiteX191" fmla="*/ 8220075 w 8601075"/>
                  <a:gd name="connsiteY191" fmla="*/ 1847850 h 4333875"/>
                  <a:gd name="connsiteX192" fmla="*/ 8296275 w 8601075"/>
                  <a:gd name="connsiteY192" fmla="*/ 1809750 h 4333875"/>
                  <a:gd name="connsiteX193" fmla="*/ 8324850 w 8601075"/>
                  <a:gd name="connsiteY193" fmla="*/ 1790700 h 4333875"/>
                  <a:gd name="connsiteX194" fmla="*/ 8410575 w 8601075"/>
                  <a:gd name="connsiteY194" fmla="*/ 1847850 h 4333875"/>
                  <a:gd name="connsiteX195" fmla="*/ 8505825 w 8601075"/>
                  <a:gd name="connsiteY195" fmla="*/ 1781175 h 4333875"/>
                  <a:gd name="connsiteX196" fmla="*/ 8572500 w 8601075"/>
                  <a:gd name="connsiteY196" fmla="*/ 1809750 h 4333875"/>
                  <a:gd name="connsiteX197" fmla="*/ 8601075 w 8601075"/>
                  <a:gd name="connsiteY197" fmla="*/ 1704975 h 4333875"/>
                  <a:gd name="connsiteX198" fmla="*/ 8553450 w 8601075"/>
                  <a:gd name="connsiteY198" fmla="*/ 1676400 h 4333875"/>
                  <a:gd name="connsiteX199" fmla="*/ 8534400 w 8601075"/>
                  <a:gd name="connsiteY199" fmla="*/ 1609725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124825 w 8601075"/>
                  <a:gd name="connsiteY203" fmla="*/ 1352550 h 4333875"/>
                  <a:gd name="connsiteX204" fmla="*/ 7924800 w 8601075"/>
                  <a:gd name="connsiteY204" fmla="*/ 1362075 h 4333875"/>
                  <a:gd name="connsiteX205" fmla="*/ 7867650 w 8601075"/>
                  <a:gd name="connsiteY205" fmla="*/ 1457325 h 4333875"/>
                  <a:gd name="connsiteX206" fmla="*/ 7896225 w 8601075"/>
                  <a:gd name="connsiteY206" fmla="*/ 1476375 h 4333875"/>
                  <a:gd name="connsiteX207" fmla="*/ 7858125 w 8601075"/>
                  <a:gd name="connsiteY207" fmla="*/ 1533525 h 4333875"/>
                  <a:gd name="connsiteX208" fmla="*/ 7658100 w 8601075"/>
                  <a:gd name="connsiteY208" fmla="*/ 1447800 h 4333875"/>
                  <a:gd name="connsiteX209" fmla="*/ 7515225 w 8601075"/>
                  <a:gd name="connsiteY209" fmla="*/ 1495425 h 4333875"/>
                  <a:gd name="connsiteX210" fmla="*/ 7467600 w 8601075"/>
                  <a:gd name="connsiteY210" fmla="*/ 1581150 h 4333875"/>
                  <a:gd name="connsiteX211" fmla="*/ 7296150 w 8601075"/>
                  <a:gd name="connsiteY21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400300 w 8601075"/>
                  <a:gd name="connsiteY82" fmla="*/ 866775 h 4333875"/>
                  <a:gd name="connsiteX83" fmla="*/ 2305050 w 8601075"/>
                  <a:gd name="connsiteY83" fmla="*/ 809625 h 4333875"/>
                  <a:gd name="connsiteX84" fmla="*/ 2200275 w 8601075"/>
                  <a:gd name="connsiteY84" fmla="*/ 752475 h 4333875"/>
                  <a:gd name="connsiteX85" fmla="*/ 2105025 w 8601075"/>
                  <a:gd name="connsiteY85" fmla="*/ 762000 h 4333875"/>
                  <a:gd name="connsiteX86" fmla="*/ 1990725 w 8601075"/>
                  <a:gd name="connsiteY86" fmla="*/ 762000 h 4333875"/>
                  <a:gd name="connsiteX87" fmla="*/ 1885950 w 8601075"/>
                  <a:gd name="connsiteY87" fmla="*/ 742950 h 4333875"/>
                  <a:gd name="connsiteX88" fmla="*/ 1800225 w 8601075"/>
                  <a:gd name="connsiteY88" fmla="*/ 638175 h 4333875"/>
                  <a:gd name="connsiteX89" fmla="*/ 1809750 w 8601075"/>
                  <a:gd name="connsiteY89" fmla="*/ 495300 h 4333875"/>
                  <a:gd name="connsiteX90" fmla="*/ 1733550 w 8601075"/>
                  <a:gd name="connsiteY90" fmla="*/ 466725 h 4333875"/>
                  <a:gd name="connsiteX91" fmla="*/ 1485900 w 8601075"/>
                  <a:gd name="connsiteY91" fmla="*/ 419100 h 4333875"/>
                  <a:gd name="connsiteX92" fmla="*/ 1457325 w 8601075"/>
                  <a:gd name="connsiteY92" fmla="*/ 323850 h 4333875"/>
                  <a:gd name="connsiteX93" fmla="*/ 1457325 w 8601075"/>
                  <a:gd name="connsiteY93" fmla="*/ 323850 h 4333875"/>
                  <a:gd name="connsiteX94" fmla="*/ 1323975 w 8601075"/>
                  <a:gd name="connsiteY94" fmla="*/ 285750 h 4333875"/>
                  <a:gd name="connsiteX95" fmla="*/ 1266825 w 8601075"/>
                  <a:gd name="connsiteY95" fmla="*/ 352425 h 4333875"/>
                  <a:gd name="connsiteX96" fmla="*/ 1009650 w 8601075"/>
                  <a:gd name="connsiteY96" fmla="*/ 390525 h 4333875"/>
                  <a:gd name="connsiteX97" fmla="*/ 828675 w 8601075"/>
                  <a:gd name="connsiteY97" fmla="*/ 447675 h 4333875"/>
                  <a:gd name="connsiteX98" fmla="*/ 619125 w 8601075"/>
                  <a:gd name="connsiteY98" fmla="*/ 533400 h 4333875"/>
                  <a:gd name="connsiteX99" fmla="*/ 619125 w 8601075"/>
                  <a:gd name="connsiteY99" fmla="*/ 533400 h 4333875"/>
                  <a:gd name="connsiteX100" fmla="*/ 561975 w 8601075"/>
                  <a:gd name="connsiteY100" fmla="*/ 61912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295275 w 8601075"/>
                  <a:gd name="connsiteY104" fmla="*/ 657225 h 4333875"/>
                  <a:gd name="connsiteX105" fmla="*/ 180975 w 8601075"/>
                  <a:gd name="connsiteY105" fmla="*/ 638175 h 4333875"/>
                  <a:gd name="connsiteX106" fmla="*/ 180975 w 8601075"/>
                  <a:gd name="connsiteY106" fmla="*/ 638175 h 4333875"/>
                  <a:gd name="connsiteX107" fmla="*/ 57150 w 8601075"/>
                  <a:gd name="connsiteY107" fmla="*/ 733425 h 4333875"/>
                  <a:gd name="connsiteX108" fmla="*/ 19050 w 8601075"/>
                  <a:gd name="connsiteY108" fmla="*/ 790575 h 4333875"/>
                  <a:gd name="connsiteX109" fmla="*/ 0 w 8601075"/>
                  <a:gd name="connsiteY109" fmla="*/ 876300 h 4333875"/>
                  <a:gd name="connsiteX110" fmla="*/ 57150 w 8601075"/>
                  <a:gd name="connsiteY110" fmla="*/ 923925 h 4333875"/>
                  <a:gd name="connsiteX111" fmla="*/ 57150 w 8601075"/>
                  <a:gd name="connsiteY111" fmla="*/ 923925 h 4333875"/>
                  <a:gd name="connsiteX112" fmla="*/ 209550 w 8601075"/>
                  <a:gd name="connsiteY112" fmla="*/ 1114425 h 4333875"/>
                  <a:gd name="connsiteX113" fmla="*/ 209550 w 8601075"/>
                  <a:gd name="connsiteY113" fmla="*/ 1114425 h 4333875"/>
                  <a:gd name="connsiteX114" fmla="*/ 266700 w 8601075"/>
                  <a:gd name="connsiteY114" fmla="*/ 1295400 h 4333875"/>
                  <a:gd name="connsiteX115" fmla="*/ 409575 w 8601075"/>
                  <a:gd name="connsiteY115" fmla="*/ 1276350 h 4333875"/>
                  <a:gd name="connsiteX116" fmla="*/ 466725 w 8601075"/>
                  <a:gd name="connsiteY116" fmla="*/ 1362075 h 4333875"/>
                  <a:gd name="connsiteX117" fmla="*/ 542925 w 8601075"/>
                  <a:gd name="connsiteY117" fmla="*/ 1428750 h 4333875"/>
                  <a:gd name="connsiteX118" fmla="*/ 628650 w 8601075"/>
                  <a:gd name="connsiteY118" fmla="*/ 1571625 h 4333875"/>
                  <a:gd name="connsiteX119" fmla="*/ 628650 w 8601075"/>
                  <a:gd name="connsiteY119" fmla="*/ 1704975 h 4333875"/>
                  <a:gd name="connsiteX120" fmla="*/ 676275 w 8601075"/>
                  <a:gd name="connsiteY120" fmla="*/ 1771650 h 4333875"/>
                  <a:gd name="connsiteX121" fmla="*/ 657225 w 8601075"/>
                  <a:gd name="connsiteY121" fmla="*/ 2000250 h 4333875"/>
                  <a:gd name="connsiteX122" fmla="*/ 619125 w 8601075"/>
                  <a:gd name="connsiteY122" fmla="*/ 2095500 h 4333875"/>
                  <a:gd name="connsiteX123" fmla="*/ 542925 w 8601075"/>
                  <a:gd name="connsiteY123" fmla="*/ 2228850 h 4333875"/>
                  <a:gd name="connsiteX124" fmla="*/ 485775 w 8601075"/>
                  <a:gd name="connsiteY124" fmla="*/ 2362200 h 4333875"/>
                  <a:gd name="connsiteX125" fmla="*/ 552450 w 8601075"/>
                  <a:gd name="connsiteY125" fmla="*/ 2486025 h 4333875"/>
                  <a:gd name="connsiteX126" fmla="*/ 771525 w 8601075"/>
                  <a:gd name="connsiteY126" fmla="*/ 2571750 h 4333875"/>
                  <a:gd name="connsiteX127" fmla="*/ 866775 w 8601075"/>
                  <a:gd name="connsiteY127" fmla="*/ 2571750 h 4333875"/>
                  <a:gd name="connsiteX128" fmla="*/ 914400 w 8601075"/>
                  <a:gd name="connsiteY128" fmla="*/ 2638425 h 4333875"/>
                  <a:gd name="connsiteX129" fmla="*/ 1066800 w 8601075"/>
                  <a:gd name="connsiteY129" fmla="*/ 2638425 h 4333875"/>
                  <a:gd name="connsiteX130" fmla="*/ 1285875 w 8601075"/>
                  <a:gd name="connsiteY130" fmla="*/ 2705100 h 4333875"/>
                  <a:gd name="connsiteX131" fmla="*/ 1438275 w 8601075"/>
                  <a:gd name="connsiteY131" fmla="*/ 2838450 h 4333875"/>
                  <a:gd name="connsiteX132" fmla="*/ 1485900 w 8601075"/>
                  <a:gd name="connsiteY132" fmla="*/ 2914650 h 4333875"/>
                  <a:gd name="connsiteX133" fmla="*/ 1657350 w 8601075"/>
                  <a:gd name="connsiteY133" fmla="*/ 3038475 h 4333875"/>
                  <a:gd name="connsiteX134" fmla="*/ 1752600 w 8601075"/>
                  <a:gd name="connsiteY134" fmla="*/ 3057525 h 4333875"/>
                  <a:gd name="connsiteX135" fmla="*/ 1724025 w 8601075"/>
                  <a:gd name="connsiteY135" fmla="*/ 3143250 h 4333875"/>
                  <a:gd name="connsiteX136" fmla="*/ 1724025 w 8601075"/>
                  <a:gd name="connsiteY136" fmla="*/ 3143250 h 4333875"/>
                  <a:gd name="connsiteX137" fmla="*/ 1781175 w 8601075"/>
                  <a:gd name="connsiteY137" fmla="*/ 3181350 h 4333875"/>
                  <a:gd name="connsiteX138" fmla="*/ 1819275 w 8601075"/>
                  <a:gd name="connsiteY138" fmla="*/ 3362325 h 4333875"/>
                  <a:gd name="connsiteX139" fmla="*/ 1828800 w 8601075"/>
                  <a:gd name="connsiteY139" fmla="*/ 3457575 h 4333875"/>
                  <a:gd name="connsiteX140" fmla="*/ 1971675 w 8601075"/>
                  <a:gd name="connsiteY140" fmla="*/ 3590925 h 4333875"/>
                  <a:gd name="connsiteX141" fmla="*/ 1990725 w 8601075"/>
                  <a:gd name="connsiteY141" fmla="*/ 3714750 h 4333875"/>
                  <a:gd name="connsiteX142" fmla="*/ 2200275 w 8601075"/>
                  <a:gd name="connsiteY142" fmla="*/ 3695700 h 4333875"/>
                  <a:gd name="connsiteX143" fmla="*/ 2886075 w 8601075"/>
                  <a:gd name="connsiteY143" fmla="*/ 3886200 h 4333875"/>
                  <a:gd name="connsiteX144" fmla="*/ 3038475 w 8601075"/>
                  <a:gd name="connsiteY144" fmla="*/ 3819525 h 4333875"/>
                  <a:gd name="connsiteX145" fmla="*/ 3105150 w 8601075"/>
                  <a:gd name="connsiteY145" fmla="*/ 3867150 h 4333875"/>
                  <a:gd name="connsiteX146" fmla="*/ 3181350 w 8601075"/>
                  <a:gd name="connsiteY146" fmla="*/ 3800475 h 4333875"/>
                  <a:gd name="connsiteX147" fmla="*/ 3590925 w 8601075"/>
                  <a:gd name="connsiteY147" fmla="*/ 3943350 h 4333875"/>
                  <a:gd name="connsiteX148" fmla="*/ 3686175 w 8601075"/>
                  <a:gd name="connsiteY148" fmla="*/ 4057650 h 4333875"/>
                  <a:gd name="connsiteX149" fmla="*/ 3838575 w 8601075"/>
                  <a:gd name="connsiteY149" fmla="*/ 4057650 h 4333875"/>
                  <a:gd name="connsiteX150" fmla="*/ 4162425 w 8601075"/>
                  <a:gd name="connsiteY150" fmla="*/ 4248150 h 4333875"/>
                  <a:gd name="connsiteX151" fmla="*/ 4391025 w 8601075"/>
                  <a:gd name="connsiteY151" fmla="*/ 4200525 h 4333875"/>
                  <a:gd name="connsiteX152" fmla="*/ 4410075 w 8601075"/>
                  <a:gd name="connsiteY152" fmla="*/ 4305300 h 4333875"/>
                  <a:gd name="connsiteX153" fmla="*/ 4505325 w 8601075"/>
                  <a:gd name="connsiteY153" fmla="*/ 4276725 h 4333875"/>
                  <a:gd name="connsiteX154" fmla="*/ 4572000 w 8601075"/>
                  <a:gd name="connsiteY154" fmla="*/ 4333875 h 4333875"/>
                  <a:gd name="connsiteX155" fmla="*/ 4591050 w 8601075"/>
                  <a:gd name="connsiteY155" fmla="*/ 4248150 h 4333875"/>
                  <a:gd name="connsiteX156" fmla="*/ 5295900 w 8601075"/>
                  <a:gd name="connsiteY156" fmla="*/ 3924300 h 4333875"/>
                  <a:gd name="connsiteX157" fmla="*/ 5353050 w 8601075"/>
                  <a:gd name="connsiteY157" fmla="*/ 3990975 h 4333875"/>
                  <a:gd name="connsiteX158" fmla="*/ 5524500 w 8601075"/>
                  <a:gd name="connsiteY158" fmla="*/ 3914775 h 4333875"/>
                  <a:gd name="connsiteX159" fmla="*/ 5667375 w 8601075"/>
                  <a:gd name="connsiteY159" fmla="*/ 3962400 h 4333875"/>
                  <a:gd name="connsiteX160" fmla="*/ 5753100 w 8601075"/>
                  <a:gd name="connsiteY160" fmla="*/ 3924300 h 4333875"/>
                  <a:gd name="connsiteX161" fmla="*/ 5905500 w 8601075"/>
                  <a:gd name="connsiteY161" fmla="*/ 3943350 h 4333875"/>
                  <a:gd name="connsiteX162" fmla="*/ 6000750 w 8601075"/>
                  <a:gd name="connsiteY162" fmla="*/ 3800475 h 4333875"/>
                  <a:gd name="connsiteX163" fmla="*/ 6153150 w 8601075"/>
                  <a:gd name="connsiteY163" fmla="*/ 3781425 h 4333875"/>
                  <a:gd name="connsiteX164" fmla="*/ 6257925 w 8601075"/>
                  <a:gd name="connsiteY164" fmla="*/ 3581400 h 4333875"/>
                  <a:gd name="connsiteX165" fmla="*/ 6448425 w 8601075"/>
                  <a:gd name="connsiteY165" fmla="*/ 3448050 h 4333875"/>
                  <a:gd name="connsiteX166" fmla="*/ 6581775 w 8601075"/>
                  <a:gd name="connsiteY166" fmla="*/ 3276600 h 4333875"/>
                  <a:gd name="connsiteX167" fmla="*/ 6496050 w 8601075"/>
                  <a:gd name="connsiteY167" fmla="*/ 3228975 h 4333875"/>
                  <a:gd name="connsiteX168" fmla="*/ 6438900 w 8601075"/>
                  <a:gd name="connsiteY168" fmla="*/ 3162300 h 4333875"/>
                  <a:gd name="connsiteX169" fmla="*/ 6419850 w 8601075"/>
                  <a:gd name="connsiteY169" fmla="*/ 3105150 h 4333875"/>
                  <a:gd name="connsiteX170" fmla="*/ 6362700 w 8601075"/>
                  <a:gd name="connsiteY170" fmla="*/ 3076575 h 4333875"/>
                  <a:gd name="connsiteX171" fmla="*/ 6410325 w 8601075"/>
                  <a:gd name="connsiteY171" fmla="*/ 3019425 h 4333875"/>
                  <a:gd name="connsiteX172" fmla="*/ 6438900 w 8601075"/>
                  <a:gd name="connsiteY172" fmla="*/ 2819400 h 4333875"/>
                  <a:gd name="connsiteX173" fmla="*/ 6496050 w 8601075"/>
                  <a:gd name="connsiteY173" fmla="*/ 2762250 h 4333875"/>
                  <a:gd name="connsiteX174" fmla="*/ 6657975 w 8601075"/>
                  <a:gd name="connsiteY174" fmla="*/ 2752725 h 4333875"/>
                  <a:gd name="connsiteX175" fmla="*/ 6781800 w 8601075"/>
                  <a:gd name="connsiteY175" fmla="*/ 2838450 h 4333875"/>
                  <a:gd name="connsiteX176" fmla="*/ 7010400 w 8601075"/>
                  <a:gd name="connsiteY176" fmla="*/ 2838450 h 4333875"/>
                  <a:gd name="connsiteX177" fmla="*/ 7162800 w 8601075"/>
                  <a:gd name="connsiteY177" fmla="*/ 2705100 h 4333875"/>
                  <a:gd name="connsiteX178" fmla="*/ 7229475 w 8601075"/>
                  <a:gd name="connsiteY178" fmla="*/ 2590800 h 4333875"/>
                  <a:gd name="connsiteX179" fmla="*/ 7248525 w 8601075"/>
                  <a:gd name="connsiteY179" fmla="*/ 2524125 h 4333875"/>
                  <a:gd name="connsiteX180" fmla="*/ 7372350 w 8601075"/>
                  <a:gd name="connsiteY180" fmla="*/ 2543175 h 4333875"/>
                  <a:gd name="connsiteX181" fmla="*/ 7553325 w 8601075"/>
                  <a:gd name="connsiteY181" fmla="*/ 2447925 h 4333875"/>
                  <a:gd name="connsiteX182" fmla="*/ 7620000 w 8601075"/>
                  <a:gd name="connsiteY182" fmla="*/ 2324100 h 4333875"/>
                  <a:gd name="connsiteX183" fmla="*/ 7696200 w 8601075"/>
                  <a:gd name="connsiteY183" fmla="*/ 2314575 h 4333875"/>
                  <a:gd name="connsiteX184" fmla="*/ 7658100 w 8601075"/>
                  <a:gd name="connsiteY184" fmla="*/ 2257425 h 4333875"/>
                  <a:gd name="connsiteX185" fmla="*/ 7753350 w 8601075"/>
                  <a:gd name="connsiteY185" fmla="*/ 2057400 h 4333875"/>
                  <a:gd name="connsiteX186" fmla="*/ 7934325 w 8601075"/>
                  <a:gd name="connsiteY186" fmla="*/ 2028825 h 4333875"/>
                  <a:gd name="connsiteX187" fmla="*/ 7953375 w 8601075"/>
                  <a:gd name="connsiteY187" fmla="*/ 1952625 h 4333875"/>
                  <a:gd name="connsiteX188" fmla="*/ 7953375 w 8601075"/>
                  <a:gd name="connsiteY188" fmla="*/ 1952625 h 4333875"/>
                  <a:gd name="connsiteX189" fmla="*/ 8010525 w 8601075"/>
                  <a:gd name="connsiteY189" fmla="*/ 1895475 h 4333875"/>
                  <a:gd name="connsiteX190" fmla="*/ 8048625 w 8601075"/>
                  <a:gd name="connsiteY190" fmla="*/ 1971675 h 4333875"/>
                  <a:gd name="connsiteX191" fmla="*/ 8077200 w 8601075"/>
                  <a:gd name="connsiteY191" fmla="*/ 1885950 h 4333875"/>
                  <a:gd name="connsiteX192" fmla="*/ 8220075 w 8601075"/>
                  <a:gd name="connsiteY192" fmla="*/ 1847850 h 4333875"/>
                  <a:gd name="connsiteX193" fmla="*/ 8296275 w 8601075"/>
                  <a:gd name="connsiteY193" fmla="*/ 1809750 h 4333875"/>
                  <a:gd name="connsiteX194" fmla="*/ 8324850 w 8601075"/>
                  <a:gd name="connsiteY194" fmla="*/ 1790700 h 4333875"/>
                  <a:gd name="connsiteX195" fmla="*/ 8410575 w 8601075"/>
                  <a:gd name="connsiteY195" fmla="*/ 1847850 h 4333875"/>
                  <a:gd name="connsiteX196" fmla="*/ 8505825 w 8601075"/>
                  <a:gd name="connsiteY196" fmla="*/ 1781175 h 4333875"/>
                  <a:gd name="connsiteX197" fmla="*/ 8572500 w 8601075"/>
                  <a:gd name="connsiteY197" fmla="*/ 1809750 h 4333875"/>
                  <a:gd name="connsiteX198" fmla="*/ 8601075 w 8601075"/>
                  <a:gd name="connsiteY198" fmla="*/ 1704975 h 4333875"/>
                  <a:gd name="connsiteX199" fmla="*/ 8553450 w 8601075"/>
                  <a:gd name="connsiteY199" fmla="*/ 1676400 h 4333875"/>
                  <a:gd name="connsiteX200" fmla="*/ 8534400 w 8601075"/>
                  <a:gd name="connsiteY200" fmla="*/ 1609725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124825 w 8601075"/>
                  <a:gd name="connsiteY204" fmla="*/ 1352550 h 4333875"/>
                  <a:gd name="connsiteX205" fmla="*/ 7924800 w 8601075"/>
                  <a:gd name="connsiteY205" fmla="*/ 1362075 h 4333875"/>
                  <a:gd name="connsiteX206" fmla="*/ 7867650 w 8601075"/>
                  <a:gd name="connsiteY206" fmla="*/ 1457325 h 4333875"/>
                  <a:gd name="connsiteX207" fmla="*/ 7896225 w 8601075"/>
                  <a:gd name="connsiteY207" fmla="*/ 1476375 h 4333875"/>
                  <a:gd name="connsiteX208" fmla="*/ 7858125 w 8601075"/>
                  <a:gd name="connsiteY208" fmla="*/ 1533525 h 4333875"/>
                  <a:gd name="connsiteX209" fmla="*/ 7658100 w 8601075"/>
                  <a:gd name="connsiteY209" fmla="*/ 1447800 h 4333875"/>
                  <a:gd name="connsiteX210" fmla="*/ 7515225 w 8601075"/>
                  <a:gd name="connsiteY210" fmla="*/ 1495425 h 4333875"/>
                  <a:gd name="connsiteX211" fmla="*/ 7467600 w 8601075"/>
                  <a:gd name="connsiteY211" fmla="*/ 1581150 h 4333875"/>
                  <a:gd name="connsiteX212" fmla="*/ 7296150 w 8601075"/>
                  <a:gd name="connsiteY21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05050 w 8601075"/>
                  <a:gd name="connsiteY83" fmla="*/ 809625 h 4333875"/>
                  <a:gd name="connsiteX84" fmla="*/ 2200275 w 8601075"/>
                  <a:gd name="connsiteY84" fmla="*/ 752475 h 4333875"/>
                  <a:gd name="connsiteX85" fmla="*/ 2105025 w 8601075"/>
                  <a:gd name="connsiteY85" fmla="*/ 762000 h 4333875"/>
                  <a:gd name="connsiteX86" fmla="*/ 1990725 w 8601075"/>
                  <a:gd name="connsiteY86" fmla="*/ 762000 h 4333875"/>
                  <a:gd name="connsiteX87" fmla="*/ 1885950 w 8601075"/>
                  <a:gd name="connsiteY87" fmla="*/ 742950 h 4333875"/>
                  <a:gd name="connsiteX88" fmla="*/ 1800225 w 8601075"/>
                  <a:gd name="connsiteY88" fmla="*/ 638175 h 4333875"/>
                  <a:gd name="connsiteX89" fmla="*/ 1809750 w 8601075"/>
                  <a:gd name="connsiteY89" fmla="*/ 495300 h 4333875"/>
                  <a:gd name="connsiteX90" fmla="*/ 1733550 w 8601075"/>
                  <a:gd name="connsiteY90" fmla="*/ 466725 h 4333875"/>
                  <a:gd name="connsiteX91" fmla="*/ 1485900 w 8601075"/>
                  <a:gd name="connsiteY91" fmla="*/ 419100 h 4333875"/>
                  <a:gd name="connsiteX92" fmla="*/ 1457325 w 8601075"/>
                  <a:gd name="connsiteY92" fmla="*/ 323850 h 4333875"/>
                  <a:gd name="connsiteX93" fmla="*/ 1457325 w 8601075"/>
                  <a:gd name="connsiteY93" fmla="*/ 323850 h 4333875"/>
                  <a:gd name="connsiteX94" fmla="*/ 1323975 w 8601075"/>
                  <a:gd name="connsiteY94" fmla="*/ 285750 h 4333875"/>
                  <a:gd name="connsiteX95" fmla="*/ 1266825 w 8601075"/>
                  <a:gd name="connsiteY95" fmla="*/ 352425 h 4333875"/>
                  <a:gd name="connsiteX96" fmla="*/ 1009650 w 8601075"/>
                  <a:gd name="connsiteY96" fmla="*/ 390525 h 4333875"/>
                  <a:gd name="connsiteX97" fmla="*/ 828675 w 8601075"/>
                  <a:gd name="connsiteY97" fmla="*/ 447675 h 4333875"/>
                  <a:gd name="connsiteX98" fmla="*/ 619125 w 8601075"/>
                  <a:gd name="connsiteY98" fmla="*/ 533400 h 4333875"/>
                  <a:gd name="connsiteX99" fmla="*/ 619125 w 8601075"/>
                  <a:gd name="connsiteY99" fmla="*/ 533400 h 4333875"/>
                  <a:gd name="connsiteX100" fmla="*/ 561975 w 8601075"/>
                  <a:gd name="connsiteY100" fmla="*/ 61912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295275 w 8601075"/>
                  <a:gd name="connsiteY104" fmla="*/ 657225 h 4333875"/>
                  <a:gd name="connsiteX105" fmla="*/ 180975 w 8601075"/>
                  <a:gd name="connsiteY105" fmla="*/ 638175 h 4333875"/>
                  <a:gd name="connsiteX106" fmla="*/ 180975 w 8601075"/>
                  <a:gd name="connsiteY106" fmla="*/ 638175 h 4333875"/>
                  <a:gd name="connsiteX107" fmla="*/ 57150 w 8601075"/>
                  <a:gd name="connsiteY107" fmla="*/ 733425 h 4333875"/>
                  <a:gd name="connsiteX108" fmla="*/ 19050 w 8601075"/>
                  <a:gd name="connsiteY108" fmla="*/ 790575 h 4333875"/>
                  <a:gd name="connsiteX109" fmla="*/ 0 w 8601075"/>
                  <a:gd name="connsiteY109" fmla="*/ 876300 h 4333875"/>
                  <a:gd name="connsiteX110" fmla="*/ 57150 w 8601075"/>
                  <a:gd name="connsiteY110" fmla="*/ 923925 h 4333875"/>
                  <a:gd name="connsiteX111" fmla="*/ 57150 w 8601075"/>
                  <a:gd name="connsiteY111" fmla="*/ 923925 h 4333875"/>
                  <a:gd name="connsiteX112" fmla="*/ 209550 w 8601075"/>
                  <a:gd name="connsiteY112" fmla="*/ 1114425 h 4333875"/>
                  <a:gd name="connsiteX113" fmla="*/ 209550 w 8601075"/>
                  <a:gd name="connsiteY113" fmla="*/ 1114425 h 4333875"/>
                  <a:gd name="connsiteX114" fmla="*/ 266700 w 8601075"/>
                  <a:gd name="connsiteY114" fmla="*/ 1295400 h 4333875"/>
                  <a:gd name="connsiteX115" fmla="*/ 409575 w 8601075"/>
                  <a:gd name="connsiteY115" fmla="*/ 1276350 h 4333875"/>
                  <a:gd name="connsiteX116" fmla="*/ 466725 w 8601075"/>
                  <a:gd name="connsiteY116" fmla="*/ 1362075 h 4333875"/>
                  <a:gd name="connsiteX117" fmla="*/ 542925 w 8601075"/>
                  <a:gd name="connsiteY117" fmla="*/ 1428750 h 4333875"/>
                  <a:gd name="connsiteX118" fmla="*/ 628650 w 8601075"/>
                  <a:gd name="connsiteY118" fmla="*/ 1571625 h 4333875"/>
                  <a:gd name="connsiteX119" fmla="*/ 628650 w 8601075"/>
                  <a:gd name="connsiteY119" fmla="*/ 1704975 h 4333875"/>
                  <a:gd name="connsiteX120" fmla="*/ 676275 w 8601075"/>
                  <a:gd name="connsiteY120" fmla="*/ 1771650 h 4333875"/>
                  <a:gd name="connsiteX121" fmla="*/ 657225 w 8601075"/>
                  <a:gd name="connsiteY121" fmla="*/ 2000250 h 4333875"/>
                  <a:gd name="connsiteX122" fmla="*/ 619125 w 8601075"/>
                  <a:gd name="connsiteY122" fmla="*/ 2095500 h 4333875"/>
                  <a:gd name="connsiteX123" fmla="*/ 542925 w 8601075"/>
                  <a:gd name="connsiteY123" fmla="*/ 2228850 h 4333875"/>
                  <a:gd name="connsiteX124" fmla="*/ 485775 w 8601075"/>
                  <a:gd name="connsiteY124" fmla="*/ 2362200 h 4333875"/>
                  <a:gd name="connsiteX125" fmla="*/ 552450 w 8601075"/>
                  <a:gd name="connsiteY125" fmla="*/ 2486025 h 4333875"/>
                  <a:gd name="connsiteX126" fmla="*/ 771525 w 8601075"/>
                  <a:gd name="connsiteY126" fmla="*/ 2571750 h 4333875"/>
                  <a:gd name="connsiteX127" fmla="*/ 866775 w 8601075"/>
                  <a:gd name="connsiteY127" fmla="*/ 2571750 h 4333875"/>
                  <a:gd name="connsiteX128" fmla="*/ 914400 w 8601075"/>
                  <a:gd name="connsiteY128" fmla="*/ 2638425 h 4333875"/>
                  <a:gd name="connsiteX129" fmla="*/ 1066800 w 8601075"/>
                  <a:gd name="connsiteY129" fmla="*/ 2638425 h 4333875"/>
                  <a:gd name="connsiteX130" fmla="*/ 1285875 w 8601075"/>
                  <a:gd name="connsiteY130" fmla="*/ 2705100 h 4333875"/>
                  <a:gd name="connsiteX131" fmla="*/ 1438275 w 8601075"/>
                  <a:gd name="connsiteY131" fmla="*/ 2838450 h 4333875"/>
                  <a:gd name="connsiteX132" fmla="*/ 1485900 w 8601075"/>
                  <a:gd name="connsiteY132" fmla="*/ 2914650 h 4333875"/>
                  <a:gd name="connsiteX133" fmla="*/ 1657350 w 8601075"/>
                  <a:gd name="connsiteY133" fmla="*/ 3038475 h 4333875"/>
                  <a:gd name="connsiteX134" fmla="*/ 1752600 w 8601075"/>
                  <a:gd name="connsiteY134" fmla="*/ 3057525 h 4333875"/>
                  <a:gd name="connsiteX135" fmla="*/ 1724025 w 8601075"/>
                  <a:gd name="connsiteY135" fmla="*/ 3143250 h 4333875"/>
                  <a:gd name="connsiteX136" fmla="*/ 1724025 w 8601075"/>
                  <a:gd name="connsiteY136" fmla="*/ 3143250 h 4333875"/>
                  <a:gd name="connsiteX137" fmla="*/ 1781175 w 8601075"/>
                  <a:gd name="connsiteY137" fmla="*/ 3181350 h 4333875"/>
                  <a:gd name="connsiteX138" fmla="*/ 1819275 w 8601075"/>
                  <a:gd name="connsiteY138" fmla="*/ 3362325 h 4333875"/>
                  <a:gd name="connsiteX139" fmla="*/ 1828800 w 8601075"/>
                  <a:gd name="connsiteY139" fmla="*/ 3457575 h 4333875"/>
                  <a:gd name="connsiteX140" fmla="*/ 1971675 w 8601075"/>
                  <a:gd name="connsiteY140" fmla="*/ 3590925 h 4333875"/>
                  <a:gd name="connsiteX141" fmla="*/ 1990725 w 8601075"/>
                  <a:gd name="connsiteY141" fmla="*/ 3714750 h 4333875"/>
                  <a:gd name="connsiteX142" fmla="*/ 2200275 w 8601075"/>
                  <a:gd name="connsiteY142" fmla="*/ 3695700 h 4333875"/>
                  <a:gd name="connsiteX143" fmla="*/ 2886075 w 8601075"/>
                  <a:gd name="connsiteY143" fmla="*/ 3886200 h 4333875"/>
                  <a:gd name="connsiteX144" fmla="*/ 3038475 w 8601075"/>
                  <a:gd name="connsiteY144" fmla="*/ 3819525 h 4333875"/>
                  <a:gd name="connsiteX145" fmla="*/ 3105150 w 8601075"/>
                  <a:gd name="connsiteY145" fmla="*/ 3867150 h 4333875"/>
                  <a:gd name="connsiteX146" fmla="*/ 3181350 w 8601075"/>
                  <a:gd name="connsiteY146" fmla="*/ 3800475 h 4333875"/>
                  <a:gd name="connsiteX147" fmla="*/ 3590925 w 8601075"/>
                  <a:gd name="connsiteY147" fmla="*/ 3943350 h 4333875"/>
                  <a:gd name="connsiteX148" fmla="*/ 3686175 w 8601075"/>
                  <a:gd name="connsiteY148" fmla="*/ 4057650 h 4333875"/>
                  <a:gd name="connsiteX149" fmla="*/ 3838575 w 8601075"/>
                  <a:gd name="connsiteY149" fmla="*/ 4057650 h 4333875"/>
                  <a:gd name="connsiteX150" fmla="*/ 4162425 w 8601075"/>
                  <a:gd name="connsiteY150" fmla="*/ 4248150 h 4333875"/>
                  <a:gd name="connsiteX151" fmla="*/ 4391025 w 8601075"/>
                  <a:gd name="connsiteY151" fmla="*/ 4200525 h 4333875"/>
                  <a:gd name="connsiteX152" fmla="*/ 4410075 w 8601075"/>
                  <a:gd name="connsiteY152" fmla="*/ 4305300 h 4333875"/>
                  <a:gd name="connsiteX153" fmla="*/ 4505325 w 8601075"/>
                  <a:gd name="connsiteY153" fmla="*/ 4276725 h 4333875"/>
                  <a:gd name="connsiteX154" fmla="*/ 4572000 w 8601075"/>
                  <a:gd name="connsiteY154" fmla="*/ 4333875 h 4333875"/>
                  <a:gd name="connsiteX155" fmla="*/ 4591050 w 8601075"/>
                  <a:gd name="connsiteY155" fmla="*/ 4248150 h 4333875"/>
                  <a:gd name="connsiteX156" fmla="*/ 5295900 w 8601075"/>
                  <a:gd name="connsiteY156" fmla="*/ 3924300 h 4333875"/>
                  <a:gd name="connsiteX157" fmla="*/ 5353050 w 8601075"/>
                  <a:gd name="connsiteY157" fmla="*/ 3990975 h 4333875"/>
                  <a:gd name="connsiteX158" fmla="*/ 5524500 w 8601075"/>
                  <a:gd name="connsiteY158" fmla="*/ 3914775 h 4333875"/>
                  <a:gd name="connsiteX159" fmla="*/ 5667375 w 8601075"/>
                  <a:gd name="connsiteY159" fmla="*/ 3962400 h 4333875"/>
                  <a:gd name="connsiteX160" fmla="*/ 5753100 w 8601075"/>
                  <a:gd name="connsiteY160" fmla="*/ 3924300 h 4333875"/>
                  <a:gd name="connsiteX161" fmla="*/ 5905500 w 8601075"/>
                  <a:gd name="connsiteY161" fmla="*/ 3943350 h 4333875"/>
                  <a:gd name="connsiteX162" fmla="*/ 6000750 w 8601075"/>
                  <a:gd name="connsiteY162" fmla="*/ 3800475 h 4333875"/>
                  <a:gd name="connsiteX163" fmla="*/ 6153150 w 8601075"/>
                  <a:gd name="connsiteY163" fmla="*/ 3781425 h 4333875"/>
                  <a:gd name="connsiteX164" fmla="*/ 6257925 w 8601075"/>
                  <a:gd name="connsiteY164" fmla="*/ 3581400 h 4333875"/>
                  <a:gd name="connsiteX165" fmla="*/ 6448425 w 8601075"/>
                  <a:gd name="connsiteY165" fmla="*/ 3448050 h 4333875"/>
                  <a:gd name="connsiteX166" fmla="*/ 6581775 w 8601075"/>
                  <a:gd name="connsiteY166" fmla="*/ 3276600 h 4333875"/>
                  <a:gd name="connsiteX167" fmla="*/ 6496050 w 8601075"/>
                  <a:gd name="connsiteY167" fmla="*/ 3228975 h 4333875"/>
                  <a:gd name="connsiteX168" fmla="*/ 6438900 w 8601075"/>
                  <a:gd name="connsiteY168" fmla="*/ 3162300 h 4333875"/>
                  <a:gd name="connsiteX169" fmla="*/ 6419850 w 8601075"/>
                  <a:gd name="connsiteY169" fmla="*/ 3105150 h 4333875"/>
                  <a:gd name="connsiteX170" fmla="*/ 6362700 w 8601075"/>
                  <a:gd name="connsiteY170" fmla="*/ 3076575 h 4333875"/>
                  <a:gd name="connsiteX171" fmla="*/ 6410325 w 8601075"/>
                  <a:gd name="connsiteY171" fmla="*/ 3019425 h 4333875"/>
                  <a:gd name="connsiteX172" fmla="*/ 6438900 w 8601075"/>
                  <a:gd name="connsiteY172" fmla="*/ 2819400 h 4333875"/>
                  <a:gd name="connsiteX173" fmla="*/ 6496050 w 8601075"/>
                  <a:gd name="connsiteY173" fmla="*/ 2762250 h 4333875"/>
                  <a:gd name="connsiteX174" fmla="*/ 6657975 w 8601075"/>
                  <a:gd name="connsiteY174" fmla="*/ 2752725 h 4333875"/>
                  <a:gd name="connsiteX175" fmla="*/ 6781800 w 8601075"/>
                  <a:gd name="connsiteY175" fmla="*/ 2838450 h 4333875"/>
                  <a:gd name="connsiteX176" fmla="*/ 7010400 w 8601075"/>
                  <a:gd name="connsiteY176" fmla="*/ 2838450 h 4333875"/>
                  <a:gd name="connsiteX177" fmla="*/ 7162800 w 8601075"/>
                  <a:gd name="connsiteY177" fmla="*/ 2705100 h 4333875"/>
                  <a:gd name="connsiteX178" fmla="*/ 7229475 w 8601075"/>
                  <a:gd name="connsiteY178" fmla="*/ 2590800 h 4333875"/>
                  <a:gd name="connsiteX179" fmla="*/ 7248525 w 8601075"/>
                  <a:gd name="connsiteY179" fmla="*/ 2524125 h 4333875"/>
                  <a:gd name="connsiteX180" fmla="*/ 7372350 w 8601075"/>
                  <a:gd name="connsiteY180" fmla="*/ 2543175 h 4333875"/>
                  <a:gd name="connsiteX181" fmla="*/ 7553325 w 8601075"/>
                  <a:gd name="connsiteY181" fmla="*/ 2447925 h 4333875"/>
                  <a:gd name="connsiteX182" fmla="*/ 7620000 w 8601075"/>
                  <a:gd name="connsiteY182" fmla="*/ 2324100 h 4333875"/>
                  <a:gd name="connsiteX183" fmla="*/ 7696200 w 8601075"/>
                  <a:gd name="connsiteY183" fmla="*/ 2314575 h 4333875"/>
                  <a:gd name="connsiteX184" fmla="*/ 7658100 w 8601075"/>
                  <a:gd name="connsiteY184" fmla="*/ 2257425 h 4333875"/>
                  <a:gd name="connsiteX185" fmla="*/ 7753350 w 8601075"/>
                  <a:gd name="connsiteY185" fmla="*/ 2057400 h 4333875"/>
                  <a:gd name="connsiteX186" fmla="*/ 7934325 w 8601075"/>
                  <a:gd name="connsiteY186" fmla="*/ 2028825 h 4333875"/>
                  <a:gd name="connsiteX187" fmla="*/ 7953375 w 8601075"/>
                  <a:gd name="connsiteY187" fmla="*/ 1952625 h 4333875"/>
                  <a:gd name="connsiteX188" fmla="*/ 7953375 w 8601075"/>
                  <a:gd name="connsiteY188" fmla="*/ 1952625 h 4333875"/>
                  <a:gd name="connsiteX189" fmla="*/ 8010525 w 8601075"/>
                  <a:gd name="connsiteY189" fmla="*/ 1895475 h 4333875"/>
                  <a:gd name="connsiteX190" fmla="*/ 8048625 w 8601075"/>
                  <a:gd name="connsiteY190" fmla="*/ 1971675 h 4333875"/>
                  <a:gd name="connsiteX191" fmla="*/ 8077200 w 8601075"/>
                  <a:gd name="connsiteY191" fmla="*/ 1885950 h 4333875"/>
                  <a:gd name="connsiteX192" fmla="*/ 8220075 w 8601075"/>
                  <a:gd name="connsiteY192" fmla="*/ 1847850 h 4333875"/>
                  <a:gd name="connsiteX193" fmla="*/ 8296275 w 8601075"/>
                  <a:gd name="connsiteY193" fmla="*/ 1809750 h 4333875"/>
                  <a:gd name="connsiteX194" fmla="*/ 8324850 w 8601075"/>
                  <a:gd name="connsiteY194" fmla="*/ 1790700 h 4333875"/>
                  <a:gd name="connsiteX195" fmla="*/ 8410575 w 8601075"/>
                  <a:gd name="connsiteY195" fmla="*/ 1847850 h 4333875"/>
                  <a:gd name="connsiteX196" fmla="*/ 8505825 w 8601075"/>
                  <a:gd name="connsiteY196" fmla="*/ 1781175 h 4333875"/>
                  <a:gd name="connsiteX197" fmla="*/ 8572500 w 8601075"/>
                  <a:gd name="connsiteY197" fmla="*/ 1809750 h 4333875"/>
                  <a:gd name="connsiteX198" fmla="*/ 8601075 w 8601075"/>
                  <a:gd name="connsiteY198" fmla="*/ 1704975 h 4333875"/>
                  <a:gd name="connsiteX199" fmla="*/ 8553450 w 8601075"/>
                  <a:gd name="connsiteY199" fmla="*/ 1676400 h 4333875"/>
                  <a:gd name="connsiteX200" fmla="*/ 8534400 w 8601075"/>
                  <a:gd name="connsiteY200" fmla="*/ 1609725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124825 w 8601075"/>
                  <a:gd name="connsiteY204" fmla="*/ 1352550 h 4333875"/>
                  <a:gd name="connsiteX205" fmla="*/ 7924800 w 8601075"/>
                  <a:gd name="connsiteY205" fmla="*/ 1362075 h 4333875"/>
                  <a:gd name="connsiteX206" fmla="*/ 7867650 w 8601075"/>
                  <a:gd name="connsiteY206" fmla="*/ 1457325 h 4333875"/>
                  <a:gd name="connsiteX207" fmla="*/ 7896225 w 8601075"/>
                  <a:gd name="connsiteY207" fmla="*/ 1476375 h 4333875"/>
                  <a:gd name="connsiteX208" fmla="*/ 7858125 w 8601075"/>
                  <a:gd name="connsiteY208" fmla="*/ 1533525 h 4333875"/>
                  <a:gd name="connsiteX209" fmla="*/ 7658100 w 8601075"/>
                  <a:gd name="connsiteY209" fmla="*/ 1447800 h 4333875"/>
                  <a:gd name="connsiteX210" fmla="*/ 7515225 w 8601075"/>
                  <a:gd name="connsiteY210" fmla="*/ 1495425 h 4333875"/>
                  <a:gd name="connsiteX211" fmla="*/ 7467600 w 8601075"/>
                  <a:gd name="connsiteY211" fmla="*/ 1581150 h 4333875"/>
                  <a:gd name="connsiteX212" fmla="*/ 7296150 w 8601075"/>
                  <a:gd name="connsiteY21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305050 w 8601075"/>
                  <a:gd name="connsiteY84" fmla="*/ 809625 h 4333875"/>
                  <a:gd name="connsiteX85" fmla="*/ 2200275 w 8601075"/>
                  <a:gd name="connsiteY85" fmla="*/ 752475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00275 w 8601075"/>
                  <a:gd name="connsiteY85" fmla="*/ 752475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62175 w 8601075"/>
                  <a:gd name="connsiteY86" fmla="*/ 750094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1990725 w 8601075"/>
                  <a:gd name="connsiteY88" fmla="*/ 762000 h 4333875"/>
                  <a:gd name="connsiteX89" fmla="*/ 1885950 w 8601075"/>
                  <a:gd name="connsiteY89" fmla="*/ 742950 h 4333875"/>
                  <a:gd name="connsiteX90" fmla="*/ 1800225 w 8601075"/>
                  <a:gd name="connsiteY90" fmla="*/ 638175 h 4333875"/>
                  <a:gd name="connsiteX91" fmla="*/ 1809750 w 8601075"/>
                  <a:gd name="connsiteY91" fmla="*/ 495300 h 4333875"/>
                  <a:gd name="connsiteX92" fmla="*/ 1733550 w 8601075"/>
                  <a:gd name="connsiteY92" fmla="*/ 466725 h 4333875"/>
                  <a:gd name="connsiteX93" fmla="*/ 1485900 w 8601075"/>
                  <a:gd name="connsiteY93" fmla="*/ 419100 h 4333875"/>
                  <a:gd name="connsiteX94" fmla="*/ 1457325 w 8601075"/>
                  <a:gd name="connsiteY94" fmla="*/ 323850 h 4333875"/>
                  <a:gd name="connsiteX95" fmla="*/ 1457325 w 8601075"/>
                  <a:gd name="connsiteY95" fmla="*/ 323850 h 4333875"/>
                  <a:gd name="connsiteX96" fmla="*/ 1323975 w 8601075"/>
                  <a:gd name="connsiteY96" fmla="*/ 285750 h 4333875"/>
                  <a:gd name="connsiteX97" fmla="*/ 1266825 w 8601075"/>
                  <a:gd name="connsiteY97" fmla="*/ 352425 h 4333875"/>
                  <a:gd name="connsiteX98" fmla="*/ 1009650 w 8601075"/>
                  <a:gd name="connsiteY98" fmla="*/ 390525 h 4333875"/>
                  <a:gd name="connsiteX99" fmla="*/ 828675 w 8601075"/>
                  <a:gd name="connsiteY99" fmla="*/ 447675 h 4333875"/>
                  <a:gd name="connsiteX100" fmla="*/ 619125 w 8601075"/>
                  <a:gd name="connsiteY100" fmla="*/ 533400 h 4333875"/>
                  <a:gd name="connsiteX101" fmla="*/ 619125 w 8601075"/>
                  <a:gd name="connsiteY101" fmla="*/ 533400 h 4333875"/>
                  <a:gd name="connsiteX102" fmla="*/ 561975 w 8601075"/>
                  <a:gd name="connsiteY102" fmla="*/ 61912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295275 w 8601075"/>
                  <a:gd name="connsiteY106" fmla="*/ 657225 h 4333875"/>
                  <a:gd name="connsiteX107" fmla="*/ 180975 w 8601075"/>
                  <a:gd name="connsiteY107" fmla="*/ 638175 h 4333875"/>
                  <a:gd name="connsiteX108" fmla="*/ 180975 w 8601075"/>
                  <a:gd name="connsiteY108" fmla="*/ 638175 h 4333875"/>
                  <a:gd name="connsiteX109" fmla="*/ 57150 w 8601075"/>
                  <a:gd name="connsiteY109" fmla="*/ 733425 h 4333875"/>
                  <a:gd name="connsiteX110" fmla="*/ 19050 w 8601075"/>
                  <a:gd name="connsiteY110" fmla="*/ 790575 h 4333875"/>
                  <a:gd name="connsiteX111" fmla="*/ 0 w 8601075"/>
                  <a:gd name="connsiteY111" fmla="*/ 876300 h 4333875"/>
                  <a:gd name="connsiteX112" fmla="*/ 57150 w 8601075"/>
                  <a:gd name="connsiteY112" fmla="*/ 923925 h 4333875"/>
                  <a:gd name="connsiteX113" fmla="*/ 57150 w 8601075"/>
                  <a:gd name="connsiteY113" fmla="*/ 923925 h 4333875"/>
                  <a:gd name="connsiteX114" fmla="*/ 209550 w 8601075"/>
                  <a:gd name="connsiteY114" fmla="*/ 1114425 h 4333875"/>
                  <a:gd name="connsiteX115" fmla="*/ 209550 w 8601075"/>
                  <a:gd name="connsiteY115" fmla="*/ 1114425 h 4333875"/>
                  <a:gd name="connsiteX116" fmla="*/ 266700 w 8601075"/>
                  <a:gd name="connsiteY116" fmla="*/ 1295400 h 4333875"/>
                  <a:gd name="connsiteX117" fmla="*/ 409575 w 8601075"/>
                  <a:gd name="connsiteY117" fmla="*/ 1276350 h 4333875"/>
                  <a:gd name="connsiteX118" fmla="*/ 466725 w 8601075"/>
                  <a:gd name="connsiteY118" fmla="*/ 1362075 h 4333875"/>
                  <a:gd name="connsiteX119" fmla="*/ 542925 w 8601075"/>
                  <a:gd name="connsiteY119" fmla="*/ 1428750 h 4333875"/>
                  <a:gd name="connsiteX120" fmla="*/ 628650 w 8601075"/>
                  <a:gd name="connsiteY120" fmla="*/ 1571625 h 4333875"/>
                  <a:gd name="connsiteX121" fmla="*/ 628650 w 8601075"/>
                  <a:gd name="connsiteY121" fmla="*/ 1704975 h 4333875"/>
                  <a:gd name="connsiteX122" fmla="*/ 676275 w 8601075"/>
                  <a:gd name="connsiteY122" fmla="*/ 1771650 h 4333875"/>
                  <a:gd name="connsiteX123" fmla="*/ 657225 w 8601075"/>
                  <a:gd name="connsiteY123" fmla="*/ 2000250 h 4333875"/>
                  <a:gd name="connsiteX124" fmla="*/ 619125 w 8601075"/>
                  <a:gd name="connsiteY124" fmla="*/ 2095500 h 4333875"/>
                  <a:gd name="connsiteX125" fmla="*/ 542925 w 8601075"/>
                  <a:gd name="connsiteY125" fmla="*/ 2228850 h 4333875"/>
                  <a:gd name="connsiteX126" fmla="*/ 485775 w 8601075"/>
                  <a:gd name="connsiteY126" fmla="*/ 2362200 h 4333875"/>
                  <a:gd name="connsiteX127" fmla="*/ 552450 w 8601075"/>
                  <a:gd name="connsiteY127" fmla="*/ 2486025 h 4333875"/>
                  <a:gd name="connsiteX128" fmla="*/ 771525 w 8601075"/>
                  <a:gd name="connsiteY128" fmla="*/ 2571750 h 4333875"/>
                  <a:gd name="connsiteX129" fmla="*/ 866775 w 8601075"/>
                  <a:gd name="connsiteY129" fmla="*/ 2571750 h 4333875"/>
                  <a:gd name="connsiteX130" fmla="*/ 914400 w 8601075"/>
                  <a:gd name="connsiteY130" fmla="*/ 2638425 h 4333875"/>
                  <a:gd name="connsiteX131" fmla="*/ 1066800 w 8601075"/>
                  <a:gd name="connsiteY131" fmla="*/ 2638425 h 4333875"/>
                  <a:gd name="connsiteX132" fmla="*/ 1285875 w 8601075"/>
                  <a:gd name="connsiteY132" fmla="*/ 2705100 h 4333875"/>
                  <a:gd name="connsiteX133" fmla="*/ 1438275 w 8601075"/>
                  <a:gd name="connsiteY133" fmla="*/ 2838450 h 4333875"/>
                  <a:gd name="connsiteX134" fmla="*/ 1485900 w 8601075"/>
                  <a:gd name="connsiteY134" fmla="*/ 2914650 h 4333875"/>
                  <a:gd name="connsiteX135" fmla="*/ 1657350 w 8601075"/>
                  <a:gd name="connsiteY135" fmla="*/ 3038475 h 4333875"/>
                  <a:gd name="connsiteX136" fmla="*/ 1752600 w 8601075"/>
                  <a:gd name="connsiteY136" fmla="*/ 3057525 h 4333875"/>
                  <a:gd name="connsiteX137" fmla="*/ 1724025 w 8601075"/>
                  <a:gd name="connsiteY137" fmla="*/ 3143250 h 4333875"/>
                  <a:gd name="connsiteX138" fmla="*/ 1724025 w 8601075"/>
                  <a:gd name="connsiteY138" fmla="*/ 3143250 h 4333875"/>
                  <a:gd name="connsiteX139" fmla="*/ 1781175 w 8601075"/>
                  <a:gd name="connsiteY139" fmla="*/ 3181350 h 4333875"/>
                  <a:gd name="connsiteX140" fmla="*/ 1819275 w 8601075"/>
                  <a:gd name="connsiteY140" fmla="*/ 3362325 h 4333875"/>
                  <a:gd name="connsiteX141" fmla="*/ 1828800 w 8601075"/>
                  <a:gd name="connsiteY141" fmla="*/ 3457575 h 4333875"/>
                  <a:gd name="connsiteX142" fmla="*/ 1971675 w 8601075"/>
                  <a:gd name="connsiteY142" fmla="*/ 3590925 h 4333875"/>
                  <a:gd name="connsiteX143" fmla="*/ 1990725 w 8601075"/>
                  <a:gd name="connsiteY143" fmla="*/ 3714750 h 4333875"/>
                  <a:gd name="connsiteX144" fmla="*/ 2200275 w 8601075"/>
                  <a:gd name="connsiteY144" fmla="*/ 3695700 h 4333875"/>
                  <a:gd name="connsiteX145" fmla="*/ 2886075 w 8601075"/>
                  <a:gd name="connsiteY145" fmla="*/ 3886200 h 4333875"/>
                  <a:gd name="connsiteX146" fmla="*/ 3038475 w 8601075"/>
                  <a:gd name="connsiteY146" fmla="*/ 3819525 h 4333875"/>
                  <a:gd name="connsiteX147" fmla="*/ 3105150 w 8601075"/>
                  <a:gd name="connsiteY147" fmla="*/ 3867150 h 4333875"/>
                  <a:gd name="connsiteX148" fmla="*/ 3181350 w 8601075"/>
                  <a:gd name="connsiteY148" fmla="*/ 3800475 h 4333875"/>
                  <a:gd name="connsiteX149" fmla="*/ 3590925 w 8601075"/>
                  <a:gd name="connsiteY149" fmla="*/ 3943350 h 4333875"/>
                  <a:gd name="connsiteX150" fmla="*/ 3686175 w 8601075"/>
                  <a:gd name="connsiteY150" fmla="*/ 4057650 h 4333875"/>
                  <a:gd name="connsiteX151" fmla="*/ 3838575 w 8601075"/>
                  <a:gd name="connsiteY151" fmla="*/ 4057650 h 4333875"/>
                  <a:gd name="connsiteX152" fmla="*/ 4162425 w 8601075"/>
                  <a:gd name="connsiteY152" fmla="*/ 4248150 h 4333875"/>
                  <a:gd name="connsiteX153" fmla="*/ 4391025 w 8601075"/>
                  <a:gd name="connsiteY153" fmla="*/ 4200525 h 4333875"/>
                  <a:gd name="connsiteX154" fmla="*/ 4410075 w 8601075"/>
                  <a:gd name="connsiteY154" fmla="*/ 4305300 h 4333875"/>
                  <a:gd name="connsiteX155" fmla="*/ 4505325 w 8601075"/>
                  <a:gd name="connsiteY155" fmla="*/ 4276725 h 4333875"/>
                  <a:gd name="connsiteX156" fmla="*/ 4572000 w 8601075"/>
                  <a:gd name="connsiteY156" fmla="*/ 4333875 h 4333875"/>
                  <a:gd name="connsiteX157" fmla="*/ 4591050 w 8601075"/>
                  <a:gd name="connsiteY157" fmla="*/ 4248150 h 4333875"/>
                  <a:gd name="connsiteX158" fmla="*/ 5295900 w 8601075"/>
                  <a:gd name="connsiteY158" fmla="*/ 3924300 h 4333875"/>
                  <a:gd name="connsiteX159" fmla="*/ 5353050 w 8601075"/>
                  <a:gd name="connsiteY159" fmla="*/ 3990975 h 4333875"/>
                  <a:gd name="connsiteX160" fmla="*/ 5524500 w 8601075"/>
                  <a:gd name="connsiteY160" fmla="*/ 3914775 h 4333875"/>
                  <a:gd name="connsiteX161" fmla="*/ 5667375 w 8601075"/>
                  <a:gd name="connsiteY161" fmla="*/ 3962400 h 4333875"/>
                  <a:gd name="connsiteX162" fmla="*/ 5753100 w 8601075"/>
                  <a:gd name="connsiteY162" fmla="*/ 3924300 h 4333875"/>
                  <a:gd name="connsiteX163" fmla="*/ 5905500 w 8601075"/>
                  <a:gd name="connsiteY163" fmla="*/ 3943350 h 4333875"/>
                  <a:gd name="connsiteX164" fmla="*/ 6000750 w 8601075"/>
                  <a:gd name="connsiteY164" fmla="*/ 3800475 h 4333875"/>
                  <a:gd name="connsiteX165" fmla="*/ 6153150 w 8601075"/>
                  <a:gd name="connsiteY165" fmla="*/ 3781425 h 4333875"/>
                  <a:gd name="connsiteX166" fmla="*/ 6257925 w 8601075"/>
                  <a:gd name="connsiteY166" fmla="*/ 3581400 h 4333875"/>
                  <a:gd name="connsiteX167" fmla="*/ 6448425 w 8601075"/>
                  <a:gd name="connsiteY167" fmla="*/ 3448050 h 4333875"/>
                  <a:gd name="connsiteX168" fmla="*/ 6581775 w 8601075"/>
                  <a:gd name="connsiteY168" fmla="*/ 3276600 h 4333875"/>
                  <a:gd name="connsiteX169" fmla="*/ 6496050 w 8601075"/>
                  <a:gd name="connsiteY169" fmla="*/ 3228975 h 4333875"/>
                  <a:gd name="connsiteX170" fmla="*/ 6438900 w 8601075"/>
                  <a:gd name="connsiteY170" fmla="*/ 3162300 h 4333875"/>
                  <a:gd name="connsiteX171" fmla="*/ 6419850 w 8601075"/>
                  <a:gd name="connsiteY171" fmla="*/ 3105150 h 4333875"/>
                  <a:gd name="connsiteX172" fmla="*/ 6362700 w 8601075"/>
                  <a:gd name="connsiteY172" fmla="*/ 3076575 h 4333875"/>
                  <a:gd name="connsiteX173" fmla="*/ 6410325 w 8601075"/>
                  <a:gd name="connsiteY173" fmla="*/ 3019425 h 4333875"/>
                  <a:gd name="connsiteX174" fmla="*/ 6438900 w 8601075"/>
                  <a:gd name="connsiteY174" fmla="*/ 2819400 h 4333875"/>
                  <a:gd name="connsiteX175" fmla="*/ 6496050 w 8601075"/>
                  <a:gd name="connsiteY175" fmla="*/ 2762250 h 4333875"/>
                  <a:gd name="connsiteX176" fmla="*/ 6657975 w 8601075"/>
                  <a:gd name="connsiteY176" fmla="*/ 2752725 h 4333875"/>
                  <a:gd name="connsiteX177" fmla="*/ 6781800 w 8601075"/>
                  <a:gd name="connsiteY177" fmla="*/ 2838450 h 4333875"/>
                  <a:gd name="connsiteX178" fmla="*/ 7010400 w 8601075"/>
                  <a:gd name="connsiteY178" fmla="*/ 2838450 h 4333875"/>
                  <a:gd name="connsiteX179" fmla="*/ 7162800 w 8601075"/>
                  <a:gd name="connsiteY179" fmla="*/ 2705100 h 4333875"/>
                  <a:gd name="connsiteX180" fmla="*/ 7229475 w 8601075"/>
                  <a:gd name="connsiteY180" fmla="*/ 2590800 h 4333875"/>
                  <a:gd name="connsiteX181" fmla="*/ 7248525 w 8601075"/>
                  <a:gd name="connsiteY181" fmla="*/ 2524125 h 4333875"/>
                  <a:gd name="connsiteX182" fmla="*/ 7372350 w 8601075"/>
                  <a:gd name="connsiteY182" fmla="*/ 2543175 h 4333875"/>
                  <a:gd name="connsiteX183" fmla="*/ 7553325 w 8601075"/>
                  <a:gd name="connsiteY183" fmla="*/ 2447925 h 4333875"/>
                  <a:gd name="connsiteX184" fmla="*/ 7620000 w 8601075"/>
                  <a:gd name="connsiteY184" fmla="*/ 2324100 h 4333875"/>
                  <a:gd name="connsiteX185" fmla="*/ 7696200 w 8601075"/>
                  <a:gd name="connsiteY185" fmla="*/ 2314575 h 4333875"/>
                  <a:gd name="connsiteX186" fmla="*/ 7658100 w 8601075"/>
                  <a:gd name="connsiteY186" fmla="*/ 2257425 h 4333875"/>
                  <a:gd name="connsiteX187" fmla="*/ 7753350 w 8601075"/>
                  <a:gd name="connsiteY187" fmla="*/ 2057400 h 4333875"/>
                  <a:gd name="connsiteX188" fmla="*/ 7934325 w 8601075"/>
                  <a:gd name="connsiteY188" fmla="*/ 2028825 h 4333875"/>
                  <a:gd name="connsiteX189" fmla="*/ 7953375 w 8601075"/>
                  <a:gd name="connsiteY189" fmla="*/ 1952625 h 4333875"/>
                  <a:gd name="connsiteX190" fmla="*/ 7953375 w 8601075"/>
                  <a:gd name="connsiteY190" fmla="*/ 1952625 h 4333875"/>
                  <a:gd name="connsiteX191" fmla="*/ 8010525 w 8601075"/>
                  <a:gd name="connsiteY191" fmla="*/ 1895475 h 4333875"/>
                  <a:gd name="connsiteX192" fmla="*/ 8048625 w 8601075"/>
                  <a:gd name="connsiteY192" fmla="*/ 1971675 h 4333875"/>
                  <a:gd name="connsiteX193" fmla="*/ 8077200 w 8601075"/>
                  <a:gd name="connsiteY193" fmla="*/ 1885950 h 4333875"/>
                  <a:gd name="connsiteX194" fmla="*/ 8220075 w 8601075"/>
                  <a:gd name="connsiteY194" fmla="*/ 1847850 h 4333875"/>
                  <a:gd name="connsiteX195" fmla="*/ 8296275 w 8601075"/>
                  <a:gd name="connsiteY195" fmla="*/ 1809750 h 4333875"/>
                  <a:gd name="connsiteX196" fmla="*/ 8324850 w 8601075"/>
                  <a:gd name="connsiteY196" fmla="*/ 1790700 h 4333875"/>
                  <a:gd name="connsiteX197" fmla="*/ 8410575 w 8601075"/>
                  <a:gd name="connsiteY197" fmla="*/ 1847850 h 4333875"/>
                  <a:gd name="connsiteX198" fmla="*/ 8505825 w 8601075"/>
                  <a:gd name="connsiteY198" fmla="*/ 1781175 h 4333875"/>
                  <a:gd name="connsiteX199" fmla="*/ 8572500 w 8601075"/>
                  <a:gd name="connsiteY199" fmla="*/ 1809750 h 4333875"/>
                  <a:gd name="connsiteX200" fmla="*/ 8601075 w 8601075"/>
                  <a:gd name="connsiteY200" fmla="*/ 1704975 h 4333875"/>
                  <a:gd name="connsiteX201" fmla="*/ 8553450 w 8601075"/>
                  <a:gd name="connsiteY201" fmla="*/ 1676400 h 4333875"/>
                  <a:gd name="connsiteX202" fmla="*/ 8534400 w 8601075"/>
                  <a:gd name="connsiteY202" fmla="*/ 1609725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124825 w 8601075"/>
                  <a:gd name="connsiteY206" fmla="*/ 1352550 h 4333875"/>
                  <a:gd name="connsiteX207" fmla="*/ 7924800 w 8601075"/>
                  <a:gd name="connsiteY207" fmla="*/ 1362075 h 4333875"/>
                  <a:gd name="connsiteX208" fmla="*/ 7867650 w 8601075"/>
                  <a:gd name="connsiteY208" fmla="*/ 1457325 h 4333875"/>
                  <a:gd name="connsiteX209" fmla="*/ 7896225 w 8601075"/>
                  <a:gd name="connsiteY209" fmla="*/ 1476375 h 4333875"/>
                  <a:gd name="connsiteX210" fmla="*/ 7858125 w 8601075"/>
                  <a:gd name="connsiteY210" fmla="*/ 1533525 h 4333875"/>
                  <a:gd name="connsiteX211" fmla="*/ 7658100 w 8601075"/>
                  <a:gd name="connsiteY211" fmla="*/ 1447800 h 4333875"/>
                  <a:gd name="connsiteX212" fmla="*/ 7515225 w 8601075"/>
                  <a:gd name="connsiteY212" fmla="*/ 1495425 h 4333875"/>
                  <a:gd name="connsiteX213" fmla="*/ 7467600 w 8601075"/>
                  <a:gd name="connsiteY213" fmla="*/ 1581150 h 4333875"/>
                  <a:gd name="connsiteX214" fmla="*/ 7296150 w 8601075"/>
                  <a:gd name="connsiteY21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90725 w 8601075"/>
                  <a:gd name="connsiteY89" fmla="*/ 762000 h 4333875"/>
                  <a:gd name="connsiteX90" fmla="*/ 1885950 w 8601075"/>
                  <a:gd name="connsiteY90" fmla="*/ 742950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885950 w 8601075"/>
                  <a:gd name="connsiteY90" fmla="*/ 742950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852613 w 8601075"/>
                  <a:gd name="connsiteY90" fmla="*/ 728663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52613 w 8601075"/>
                  <a:gd name="connsiteY91" fmla="*/ 728663 h 4333875"/>
                  <a:gd name="connsiteX92" fmla="*/ 1800225 w 8601075"/>
                  <a:gd name="connsiteY92" fmla="*/ 638175 h 4333875"/>
                  <a:gd name="connsiteX93" fmla="*/ 1809750 w 8601075"/>
                  <a:gd name="connsiteY93" fmla="*/ 495300 h 4333875"/>
                  <a:gd name="connsiteX94" fmla="*/ 1733550 w 8601075"/>
                  <a:gd name="connsiteY94" fmla="*/ 466725 h 4333875"/>
                  <a:gd name="connsiteX95" fmla="*/ 1485900 w 8601075"/>
                  <a:gd name="connsiteY95" fmla="*/ 419100 h 4333875"/>
                  <a:gd name="connsiteX96" fmla="*/ 1457325 w 8601075"/>
                  <a:gd name="connsiteY96" fmla="*/ 323850 h 4333875"/>
                  <a:gd name="connsiteX97" fmla="*/ 1457325 w 8601075"/>
                  <a:gd name="connsiteY97" fmla="*/ 323850 h 4333875"/>
                  <a:gd name="connsiteX98" fmla="*/ 1323975 w 8601075"/>
                  <a:gd name="connsiteY98" fmla="*/ 285750 h 4333875"/>
                  <a:gd name="connsiteX99" fmla="*/ 1266825 w 8601075"/>
                  <a:gd name="connsiteY99" fmla="*/ 352425 h 4333875"/>
                  <a:gd name="connsiteX100" fmla="*/ 1009650 w 8601075"/>
                  <a:gd name="connsiteY100" fmla="*/ 390525 h 4333875"/>
                  <a:gd name="connsiteX101" fmla="*/ 828675 w 8601075"/>
                  <a:gd name="connsiteY101" fmla="*/ 447675 h 4333875"/>
                  <a:gd name="connsiteX102" fmla="*/ 619125 w 8601075"/>
                  <a:gd name="connsiteY102" fmla="*/ 533400 h 4333875"/>
                  <a:gd name="connsiteX103" fmla="*/ 619125 w 8601075"/>
                  <a:gd name="connsiteY103" fmla="*/ 533400 h 4333875"/>
                  <a:gd name="connsiteX104" fmla="*/ 561975 w 8601075"/>
                  <a:gd name="connsiteY104" fmla="*/ 61912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295275 w 8601075"/>
                  <a:gd name="connsiteY108" fmla="*/ 657225 h 4333875"/>
                  <a:gd name="connsiteX109" fmla="*/ 180975 w 8601075"/>
                  <a:gd name="connsiteY109" fmla="*/ 638175 h 4333875"/>
                  <a:gd name="connsiteX110" fmla="*/ 180975 w 8601075"/>
                  <a:gd name="connsiteY110" fmla="*/ 638175 h 4333875"/>
                  <a:gd name="connsiteX111" fmla="*/ 57150 w 8601075"/>
                  <a:gd name="connsiteY111" fmla="*/ 733425 h 4333875"/>
                  <a:gd name="connsiteX112" fmla="*/ 19050 w 8601075"/>
                  <a:gd name="connsiteY112" fmla="*/ 790575 h 4333875"/>
                  <a:gd name="connsiteX113" fmla="*/ 0 w 8601075"/>
                  <a:gd name="connsiteY113" fmla="*/ 876300 h 4333875"/>
                  <a:gd name="connsiteX114" fmla="*/ 57150 w 8601075"/>
                  <a:gd name="connsiteY114" fmla="*/ 923925 h 4333875"/>
                  <a:gd name="connsiteX115" fmla="*/ 57150 w 8601075"/>
                  <a:gd name="connsiteY115" fmla="*/ 923925 h 4333875"/>
                  <a:gd name="connsiteX116" fmla="*/ 209550 w 8601075"/>
                  <a:gd name="connsiteY116" fmla="*/ 1114425 h 4333875"/>
                  <a:gd name="connsiteX117" fmla="*/ 209550 w 8601075"/>
                  <a:gd name="connsiteY117" fmla="*/ 1114425 h 4333875"/>
                  <a:gd name="connsiteX118" fmla="*/ 266700 w 8601075"/>
                  <a:gd name="connsiteY118" fmla="*/ 1295400 h 4333875"/>
                  <a:gd name="connsiteX119" fmla="*/ 409575 w 8601075"/>
                  <a:gd name="connsiteY119" fmla="*/ 1276350 h 4333875"/>
                  <a:gd name="connsiteX120" fmla="*/ 466725 w 8601075"/>
                  <a:gd name="connsiteY120" fmla="*/ 1362075 h 4333875"/>
                  <a:gd name="connsiteX121" fmla="*/ 542925 w 8601075"/>
                  <a:gd name="connsiteY121" fmla="*/ 1428750 h 4333875"/>
                  <a:gd name="connsiteX122" fmla="*/ 628650 w 8601075"/>
                  <a:gd name="connsiteY122" fmla="*/ 1571625 h 4333875"/>
                  <a:gd name="connsiteX123" fmla="*/ 628650 w 8601075"/>
                  <a:gd name="connsiteY123" fmla="*/ 1704975 h 4333875"/>
                  <a:gd name="connsiteX124" fmla="*/ 676275 w 8601075"/>
                  <a:gd name="connsiteY124" fmla="*/ 1771650 h 4333875"/>
                  <a:gd name="connsiteX125" fmla="*/ 657225 w 8601075"/>
                  <a:gd name="connsiteY125" fmla="*/ 2000250 h 4333875"/>
                  <a:gd name="connsiteX126" fmla="*/ 619125 w 8601075"/>
                  <a:gd name="connsiteY126" fmla="*/ 2095500 h 4333875"/>
                  <a:gd name="connsiteX127" fmla="*/ 542925 w 8601075"/>
                  <a:gd name="connsiteY127" fmla="*/ 2228850 h 4333875"/>
                  <a:gd name="connsiteX128" fmla="*/ 485775 w 8601075"/>
                  <a:gd name="connsiteY128" fmla="*/ 2362200 h 4333875"/>
                  <a:gd name="connsiteX129" fmla="*/ 552450 w 8601075"/>
                  <a:gd name="connsiteY129" fmla="*/ 2486025 h 4333875"/>
                  <a:gd name="connsiteX130" fmla="*/ 771525 w 8601075"/>
                  <a:gd name="connsiteY130" fmla="*/ 2571750 h 4333875"/>
                  <a:gd name="connsiteX131" fmla="*/ 866775 w 8601075"/>
                  <a:gd name="connsiteY131" fmla="*/ 2571750 h 4333875"/>
                  <a:gd name="connsiteX132" fmla="*/ 914400 w 8601075"/>
                  <a:gd name="connsiteY132" fmla="*/ 2638425 h 4333875"/>
                  <a:gd name="connsiteX133" fmla="*/ 1066800 w 8601075"/>
                  <a:gd name="connsiteY133" fmla="*/ 2638425 h 4333875"/>
                  <a:gd name="connsiteX134" fmla="*/ 1285875 w 8601075"/>
                  <a:gd name="connsiteY134" fmla="*/ 2705100 h 4333875"/>
                  <a:gd name="connsiteX135" fmla="*/ 1438275 w 8601075"/>
                  <a:gd name="connsiteY135" fmla="*/ 2838450 h 4333875"/>
                  <a:gd name="connsiteX136" fmla="*/ 1485900 w 8601075"/>
                  <a:gd name="connsiteY136" fmla="*/ 2914650 h 4333875"/>
                  <a:gd name="connsiteX137" fmla="*/ 1657350 w 8601075"/>
                  <a:gd name="connsiteY137" fmla="*/ 3038475 h 4333875"/>
                  <a:gd name="connsiteX138" fmla="*/ 1752600 w 8601075"/>
                  <a:gd name="connsiteY138" fmla="*/ 3057525 h 4333875"/>
                  <a:gd name="connsiteX139" fmla="*/ 1724025 w 8601075"/>
                  <a:gd name="connsiteY139" fmla="*/ 3143250 h 4333875"/>
                  <a:gd name="connsiteX140" fmla="*/ 1724025 w 8601075"/>
                  <a:gd name="connsiteY140" fmla="*/ 3143250 h 4333875"/>
                  <a:gd name="connsiteX141" fmla="*/ 1781175 w 8601075"/>
                  <a:gd name="connsiteY141" fmla="*/ 3181350 h 4333875"/>
                  <a:gd name="connsiteX142" fmla="*/ 1819275 w 8601075"/>
                  <a:gd name="connsiteY142" fmla="*/ 3362325 h 4333875"/>
                  <a:gd name="connsiteX143" fmla="*/ 1828800 w 8601075"/>
                  <a:gd name="connsiteY143" fmla="*/ 3457575 h 4333875"/>
                  <a:gd name="connsiteX144" fmla="*/ 1971675 w 8601075"/>
                  <a:gd name="connsiteY144" fmla="*/ 3590925 h 4333875"/>
                  <a:gd name="connsiteX145" fmla="*/ 1990725 w 8601075"/>
                  <a:gd name="connsiteY145" fmla="*/ 3714750 h 4333875"/>
                  <a:gd name="connsiteX146" fmla="*/ 2200275 w 8601075"/>
                  <a:gd name="connsiteY146" fmla="*/ 3695700 h 4333875"/>
                  <a:gd name="connsiteX147" fmla="*/ 2886075 w 8601075"/>
                  <a:gd name="connsiteY147" fmla="*/ 3886200 h 4333875"/>
                  <a:gd name="connsiteX148" fmla="*/ 3038475 w 8601075"/>
                  <a:gd name="connsiteY148" fmla="*/ 3819525 h 4333875"/>
                  <a:gd name="connsiteX149" fmla="*/ 3105150 w 8601075"/>
                  <a:gd name="connsiteY149" fmla="*/ 3867150 h 4333875"/>
                  <a:gd name="connsiteX150" fmla="*/ 3181350 w 8601075"/>
                  <a:gd name="connsiteY150" fmla="*/ 3800475 h 4333875"/>
                  <a:gd name="connsiteX151" fmla="*/ 3590925 w 8601075"/>
                  <a:gd name="connsiteY151" fmla="*/ 3943350 h 4333875"/>
                  <a:gd name="connsiteX152" fmla="*/ 3686175 w 8601075"/>
                  <a:gd name="connsiteY152" fmla="*/ 4057650 h 4333875"/>
                  <a:gd name="connsiteX153" fmla="*/ 3838575 w 8601075"/>
                  <a:gd name="connsiteY153" fmla="*/ 4057650 h 4333875"/>
                  <a:gd name="connsiteX154" fmla="*/ 4162425 w 8601075"/>
                  <a:gd name="connsiteY154" fmla="*/ 4248150 h 4333875"/>
                  <a:gd name="connsiteX155" fmla="*/ 4391025 w 8601075"/>
                  <a:gd name="connsiteY155" fmla="*/ 4200525 h 4333875"/>
                  <a:gd name="connsiteX156" fmla="*/ 4410075 w 8601075"/>
                  <a:gd name="connsiteY156" fmla="*/ 4305300 h 4333875"/>
                  <a:gd name="connsiteX157" fmla="*/ 4505325 w 8601075"/>
                  <a:gd name="connsiteY157" fmla="*/ 4276725 h 4333875"/>
                  <a:gd name="connsiteX158" fmla="*/ 4572000 w 8601075"/>
                  <a:gd name="connsiteY158" fmla="*/ 4333875 h 4333875"/>
                  <a:gd name="connsiteX159" fmla="*/ 4591050 w 8601075"/>
                  <a:gd name="connsiteY159" fmla="*/ 4248150 h 4333875"/>
                  <a:gd name="connsiteX160" fmla="*/ 5295900 w 8601075"/>
                  <a:gd name="connsiteY160" fmla="*/ 3924300 h 4333875"/>
                  <a:gd name="connsiteX161" fmla="*/ 5353050 w 8601075"/>
                  <a:gd name="connsiteY161" fmla="*/ 3990975 h 4333875"/>
                  <a:gd name="connsiteX162" fmla="*/ 5524500 w 8601075"/>
                  <a:gd name="connsiteY162" fmla="*/ 3914775 h 4333875"/>
                  <a:gd name="connsiteX163" fmla="*/ 5667375 w 8601075"/>
                  <a:gd name="connsiteY163" fmla="*/ 3962400 h 4333875"/>
                  <a:gd name="connsiteX164" fmla="*/ 5753100 w 8601075"/>
                  <a:gd name="connsiteY164" fmla="*/ 3924300 h 4333875"/>
                  <a:gd name="connsiteX165" fmla="*/ 5905500 w 8601075"/>
                  <a:gd name="connsiteY165" fmla="*/ 3943350 h 4333875"/>
                  <a:gd name="connsiteX166" fmla="*/ 6000750 w 8601075"/>
                  <a:gd name="connsiteY166" fmla="*/ 3800475 h 4333875"/>
                  <a:gd name="connsiteX167" fmla="*/ 6153150 w 8601075"/>
                  <a:gd name="connsiteY167" fmla="*/ 3781425 h 4333875"/>
                  <a:gd name="connsiteX168" fmla="*/ 6257925 w 8601075"/>
                  <a:gd name="connsiteY168" fmla="*/ 3581400 h 4333875"/>
                  <a:gd name="connsiteX169" fmla="*/ 6448425 w 8601075"/>
                  <a:gd name="connsiteY169" fmla="*/ 3448050 h 4333875"/>
                  <a:gd name="connsiteX170" fmla="*/ 6581775 w 8601075"/>
                  <a:gd name="connsiteY170" fmla="*/ 3276600 h 4333875"/>
                  <a:gd name="connsiteX171" fmla="*/ 6496050 w 8601075"/>
                  <a:gd name="connsiteY171" fmla="*/ 3228975 h 4333875"/>
                  <a:gd name="connsiteX172" fmla="*/ 6438900 w 8601075"/>
                  <a:gd name="connsiteY172" fmla="*/ 3162300 h 4333875"/>
                  <a:gd name="connsiteX173" fmla="*/ 6419850 w 8601075"/>
                  <a:gd name="connsiteY173" fmla="*/ 3105150 h 4333875"/>
                  <a:gd name="connsiteX174" fmla="*/ 6362700 w 8601075"/>
                  <a:gd name="connsiteY174" fmla="*/ 3076575 h 4333875"/>
                  <a:gd name="connsiteX175" fmla="*/ 6410325 w 8601075"/>
                  <a:gd name="connsiteY175" fmla="*/ 3019425 h 4333875"/>
                  <a:gd name="connsiteX176" fmla="*/ 6438900 w 8601075"/>
                  <a:gd name="connsiteY176" fmla="*/ 2819400 h 4333875"/>
                  <a:gd name="connsiteX177" fmla="*/ 6496050 w 8601075"/>
                  <a:gd name="connsiteY177" fmla="*/ 2762250 h 4333875"/>
                  <a:gd name="connsiteX178" fmla="*/ 6657975 w 8601075"/>
                  <a:gd name="connsiteY178" fmla="*/ 2752725 h 4333875"/>
                  <a:gd name="connsiteX179" fmla="*/ 6781800 w 8601075"/>
                  <a:gd name="connsiteY179" fmla="*/ 2838450 h 4333875"/>
                  <a:gd name="connsiteX180" fmla="*/ 7010400 w 8601075"/>
                  <a:gd name="connsiteY180" fmla="*/ 2838450 h 4333875"/>
                  <a:gd name="connsiteX181" fmla="*/ 7162800 w 8601075"/>
                  <a:gd name="connsiteY181" fmla="*/ 2705100 h 4333875"/>
                  <a:gd name="connsiteX182" fmla="*/ 7229475 w 8601075"/>
                  <a:gd name="connsiteY182" fmla="*/ 2590800 h 4333875"/>
                  <a:gd name="connsiteX183" fmla="*/ 7248525 w 8601075"/>
                  <a:gd name="connsiteY183" fmla="*/ 2524125 h 4333875"/>
                  <a:gd name="connsiteX184" fmla="*/ 7372350 w 8601075"/>
                  <a:gd name="connsiteY184" fmla="*/ 2543175 h 4333875"/>
                  <a:gd name="connsiteX185" fmla="*/ 7553325 w 8601075"/>
                  <a:gd name="connsiteY185" fmla="*/ 2447925 h 4333875"/>
                  <a:gd name="connsiteX186" fmla="*/ 7620000 w 8601075"/>
                  <a:gd name="connsiteY186" fmla="*/ 2324100 h 4333875"/>
                  <a:gd name="connsiteX187" fmla="*/ 7696200 w 8601075"/>
                  <a:gd name="connsiteY187" fmla="*/ 2314575 h 4333875"/>
                  <a:gd name="connsiteX188" fmla="*/ 7658100 w 8601075"/>
                  <a:gd name="connsiteY188" fmla="*/ 2257425 h 4333875"/>
                  <a:gd name="connsiteX189" fmla="*/ 7753350 w 8601075"/>
                  <a:gd name="connsiteY189" fmla="*/ 2057400 h 4333875"/>
                  <a:gd name="connsiteX190" fmla="*/ 7934325 w 8601075"/>
                  <a:gd name="connsiteY190" fmla="*/ 2028825 h 4333875"/>
                  <a:gd name="connsiteX191" fmla="*/ 7953375 w 8601075"/>
                  <a:gd name="connsiteY191" fmla="*/ 1952625 h 4333875"/>
                  <a:gd name="connsiteX192" fmla="*/ 7953375 w 8601075"/>
                  <a:gd name="connsiteY192" fmla="*/ 1952625 h 4333875"/>
                  <a:gd name="connsiteX193" fmla="*/ 8010525 w 8601075"/>
                  <a:gd name="connsiteY193" fmla="*/ 1895475 h 4333875"/>
                  <a:gd name="connsiteX194" fmla="*/ 8048625 w 8601075"/>
                  <a:gd name="connsiteY194" fmla="*/ 1971675 h 4333875"/>
                  <a:gd name="connsiteX195" fmla="*/ 8077200 w 8601075"/>
                  <a:gd name="connsiteY195" fmla="*/ 1885950 h 4333875"/>
                  <a:gd name="connsiteX196" fmla="*/ 8220075 w 8601075"/>
                  <a:gd name="connsiteY196" fmla="*/ 1847850 h 4333875"/>
                  <a:gd name="connsiteX197" fmla="*/ 8296275 w 8601075"/>
                  <a:gd name="connsiteY197" fmla="*/ 1809750 h 4333875"/>
                  <a:gd name="connsiteX198" fmla="*/ 8324850 w 8601075"/>
                  <a:gd name="connsiteY198" fmla="*/ 1790700 h 4333875"/>
                  <a:gd name="connsiteX199" fmla="*/ 8410575 w 8601075"/>
                  <a:gd name="connsiteY199" fmla="*/ 1847850 h 4333875"/>
                  <a:gd name="connsiteX200" fmla="*/ 8505825 w 8601075"/>
                  <a:gd name="connsiteY200" fmla="*/ 1781175 h 4333875"/>
                  <a:gd name="connsiteX201" fmla="*/ 8572500 w 8601075"/>
                  <a:gd name="connsiteY201" fmla="*/ 1809750 h 4333875"/>
                  <a:gd name="connsiteX202" fmla="*/ 8601075 w 8601075"/>
                  <a:gd name="connsiteY202" fmla="*/ 1704975 h 4333875"/>
                  <a:gd name="connsiteX203" fmla="*/ 8553450 w 8601075"/>
                  <a:gd name="connsiteY203" fmla="*/ 1676400 h 4333875"/>
                  <a:gd name="connsiteX204" fmla="*/ 8534400 w 8601075"/>
                  <a:gd name="connsiteY204" fmla="*/ 1609725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124825 w 8601075"/>
                  <a:gd name="connsiteY208" fmla="*/ 1352550 h 4333875"/>
                  <a:gd name="connsiteX209" fmla="*/ 7924800 w 8601075"/>
                  <a:gd name="connsiteY209" fmla="*/ 1362075 h 4333875"/>
                  <a:gd name="connsiteX210" fmla="*/ 7867650 w 8601075"/>
                  <a:gd name="connsiteY210" fmla="*/ 1457325 h 4333875"/>
                  <a:gd name="connsiteX211" fmla="*/ 7896225 w 8601075"/>
                  <a:gd name="connsiteY211" fmla="*/ 1476375 h 4333875"/>
                  <a:gd name="connsiteX212" fmla="*/ 7858125 w 8601075"/>
                  <a:gd name="connsiteY212" fmla="*/ 1533525 h 4333875"/>
                  <a:gd name="connsiteX213" fmla="*/ 7658100 w 8601075"/>
                  <a:gd name="connsiteY213" fmla="*/ 1447800 h 4333875"/>
                  <a:gd name="connsiteX214" fmla="*/ 7515225 w 8601075"/>
                  <a:gd name="connsiteY214" fmla="*/ 1495425 h 4333875"/>
                  <a:gd name="connsiteX215" fmla="*/ 7467600 w 8601075"/>
                  <a:gd name="connsiteY215" fmla="*/ 1581150 h 4333875"/>
                  <a:gd name="connsiteX216" fmla="*/ 7296150 w 8601075"/>
                  <a:gd name="connsiteY21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809750 w 8601075"/>
                  <a:gd name="connsiteY94" fmla="*/ 495300 h 4333875"/>
                  <a:gd name="connsiteX95" fmla="*/ 1733550 w 8601075"/>
                  <a:gd name="connsiteY95" fmla="*/ 466725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3550 w 8601075"/>
                  <a:gd name="connsiteY95" fmla="*/ 466725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593056 w 8601075"/>
                  <a:gd name="connsiteY96" fmla="*/ 435769 h 4333875"/>
                  <a:gd name="connsiteX97" fmla="*/ 1485900 w 8601075"/>
                  <a:gd name="connsiteY97" fmla="*/ 419100 h 4333875"/>
                  <a:gd name="connsiteX98" fmla="*/ 1457325 w 8601075"/>
                  <a:gd name="connsiteY98" fmla="*/ 323850 h 4333875"/>
                  <a:gd name="connsiteX99" fmla="*/ 1457325 w 8601075"/>
                  <a:gd name="connsiteY99" fmla="*/ 323850 h 4333875"/>
                  <a:gd name="connsiteX100" fmla="*/ 1323975 w 8601075"/>
                  <a:gd name="connsiteY100" fmla="*/ 285750 h 4333875"/>
                  <a:gd name="connsiteX101" fmla="*/ 1266825 w 8601075"/>
                  <a:gd name="connsiteY101" fmla="*/ 352425 h 4333875"/>
                  <a:gd name="connsiteX102" fmla="*/ 1009650 w 8601075"/>
                  <a:gd name="connsiteY102" fmla="*/ 390525 h 4333875"/>
                  <a:gd name="connsiteX103" fmla="*/ 828675 w 8601075"/>
                  <a:gd name="connsiteY103" fmla="*/ 447675 h 4333875"/>
                  <a:gd name="connsiteX104" fmla="*/ 619125 w 8601075"/>
                  <a:gd name="connsiteY104" fmla="*/ 533400 h 4333875"/>
                  <a:gd name="connsiteX105" fmla="*/ 619125 w 8601075"/>
                  <a:gd name="connsiteY105" fmla="*/ 533400 h 4333875"/>
                  <a:gd name="connsiteX106" fmla="*/ 561975 w 8601075"/>
                  <a:gd name="connsiteY106" fmla="*/ 61912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295275 w 8601075"/>
                  <a:gd name="connsiteY110" fmla="*/ 657225 h 4333875"/>
                  <a:gd name="connsiteX111" fmla="*/ 180975 w 8601075"/>
                  <a:gd name="connsiteY111" fmla="*/ 638175 h 4333875"/>
                  <a:gd name="connsiteX112" fmla="*/ 180975 w 8601075"/>
                  <a:gd name="connsiteY112" fmla="*/ 638175 h 4333875"/>
                  <a:gd name="connsiteX113" fmla="*/ 57150 w 8601075"/>
                  <a:gd name="connsiteY113" fmla="*/ 733425 h 4333875"/>
                  <a:gd name="connsiteX114" fmla="*/ 19050 w 8601075"/>
                  <a:gd name="connsiteY114" fmla="*/ 790575 h 4333875"/>
                  <a:gd name="connsiteX115" fmla="*/ 0 w 8601075"/>
                  <a:gd name="connsiteY115" fmla="*/ 876300 h 4333875"/>
                  <a:gd name="connsiteX116" fmla="*/ 57150 w 8601075"/>
                  <a:gd name="connsiteY116" fmla="*/ 923925 h 4333875"/>
                  <a:gd name="connsiteX117" fmla="*/ 57150 w 8601075"/>
                  <a:gd name="connsiteY117" fmla="*/ 923925 h 4333875"/>
                  <a:gd name="connsiteX118" fmla="*/ 209550 w 8601075"/>
                  <a:gd name="connsiteY118" fmla="*/ 1114425 h 4333875"/>
                  <a:gd name="connsiteX119" fmla="*/ 209550 w 8601075"/>
                  <a:gd name="connsiteY119" fmla="*/ 1114425 h 4333875"/>
                  <a:gd name="connsiteX120" fmla="*/ 266700 w 8601075"/>
                  <a:gd name="connsiteY120" fmla="*/ 1295400 h 4333875"/>
                  <a:gd name="connsiteX121" fmla="*/ 409575 w 8601075"/>
                  <a:gd name="connsiteY121" fmla="*/ 1276350 h 4333875"/>
                  <a:gd name="connsiteX122" fmla="*/ 466725 w 8601075"/>
                  <a:gd name="connsiteY122" fmla="*/ 1362075 h 4333875"/>
                  <a:gd name="connsiteX123" fmla="*/ 542925 w 8601075"/>
                  <a:gd name="connsiteY123" fmla="*/ 1428750 h 4333875"/>
                  <a:gd name="connsiteX124" fmla="*/ 628650 w 8601075"/>
                  <a:gd name="connsiteY124" fmla="*/ 1571625 h 4333875"/>
                  <a:gd name="connsiteX125" fmla="*/ 628650 w 8601075"/>
                  <a:gd name="connsiteY125" fmla="*/ 1704975 h 4333875"/>
                  <a:gd name="connsiteX126" fmla="*/ 676275 w 8601075"/>
                  <a:gd name="connsiteY126" fmla="*/ 1771650 h 4333875"/>
                  <a:gd name="connsiteX127" fmla="*/ 657225 w 8601075"/>
                  <a:gd name="connsiteY127" fmla="*/ 2000250 h 4333875"/>
                  <a:gd name="connsiteX128" fmla="*/ 619125 w 8601075"/>
                  <a:gd name="connsiteY128" fmla="*/ 2095500 h 4333875"/>
                  <a:gd name="connsiteX129" fmla="*/ 542925 w 8601075"/>
                  <a:gd name="connsiteY129" fmla="*/ 2228850 h 4333875"/>
                  <a:gd name="connsiteX130" fmla="*/ 485775 w 8601075"/>
                  <a:gd name="connsiteY130" fmla="*/ 2362200 h 4333875"/>
                  <a:gd name="connsiteX131" fmla="*/ 552450 w 8601075"/>
                  <a:gd name="connsiteY131" fmla="*/ 2486025 h 4333875"/>
                  <a:gd name="connsiteX132" fmla="*/ 771525 w 8601075"/>
                  <a:gd name="connsiteY132" fmla="*/ 2571750 h 4333875"/>
                  <a:gd name="connsiteX133" fmla="*/ 866775 w 8601075"/>
                  <a:gd name="connsiteY133" fmla="*/ 2571750 h 4333875"/>
                  <a:gd name="connsiteX134" fmla="*/ 914400 w 8601075"/>
                  <a:gd name="connsiteY134" fmla="*/ 2638425 h 4333875"/>
                  <a:gd name="connsiteX135" fmla="*/ 1066800 w 8601075"/>
                  <a:gd name="connsiteY135" fmla="*/ 2638425 h 4333875"/>
                  <a:gd name="connsiteX136" fmla="*/ 1285875 w 8601075"/>
                  <a:gd name="connsiteY136" fmla="*/ 2705100 h 4333875"/>
                  <a:gd name="connsiteX137" fmla="*/ 1438275 w 8601075"/>
                  <a:gd name="connsiteY137" fmla="*/ 2838450 h 4333875"/>
                  <a:gd name="connsiteX138" fmla="*/ 1485900 w 8601075"/>
                  <a:gd name="connsiteY138" fmla="*/ 2914650 h 4333875"/>
                  <a:gd name="connsiteX139" fmla="*/ 1657350 w 8601075"/>
                  <a:gd name="connsiteY139" fmla="*/ 3038475 h 4333875"/>
                  <a:gd name="connsiteX140" fmla="*/ 1752600 w 8601075"/>
                  <a:gd name="connsiteY140" fmla="*/ 3057525 h 4333875"/>
                  <a:gd name="connsiteX141" fmla="*/ 1724025 w 8601075"/>
                  <a:gd name="connsiteY141" fmla="*/ 3143250 h 4333875"/>
                  <a:gd name="connsiteX142" fmla="*/ 1724025 w 8601075"/>
                  <a:gd name="connsiteY142" fmla="*/ 3143250 h 4333875"/>
                  <a:gd name="connsiteX143" fmla="*/ 1781175 w 8601075"/>
                  <a:gd name="connsiteY143" fmla="*/ 3181350 h 4333875"/>
                  <a:gd name="connsiteX144" fmla="*/ 1819275 w 8601075"/>
                  <a:gd name="connsiteY144" fmla="*/ 3362325 h 4333875"/>
                  <a:gd name="connsiteX145" fmla="*/ 1828800 w 8601075"/>
                  <a:gd name="connsiteY145" fmla="*/ 3457575 h 4333875"/>
                  <a:gd name="connsiteX146" fmla="*/ 1971675 w 8601075"/>
                  <a:gd name="connsiteY146" fmla="*/ 3590925 h 4333875"/>
                  <a:gd name="connsiteX147" fmla="*/ 1990725 w 8601075"/>
                  <a:gd name="connsiteY147" fmla="*/ 3714750 h 4333875"/>
                  <a:gd name="connsiteX148" fmla="*/ 2200275 w 8601075"/>
                  <a:gd name="connsiteY148" fmla="*/ 3695700 h 4333875"/>
                  <a:gd name="connsiteX149" fmla="*/ 2886075 w 8601075"/>
                  <a:gd name="connsiteY149" fmla="*/ 3886200 h 4333875"/>
                  <a:gd name="connsiteX150" fmla="*/ 3038475 w 8601075"/>
                  <a:gd name="connsiteY150" fmla="*/ 3819525 h 4333875"/>
                  <a:gd name="connsiteX151" fmla="*/ 3105150 w 8601075"/>
                  <a:gd name="connsiteY151" fmla="*/ 3867150 h 4333875"/>
                  <a:gd name="connsiteX152" fmla="*/ 3181350 w 8601075"/>
                  <a:gd name="connsiteY152" fmla="*/ 3800475 h 4333875"/>
                  <a:gd name="connsiteX153" fmla="*/ 3590925 w 8601075"/>
                  <a:gd name="connsiteY153" fmla="*/ 3943350 h 4333875"/>
                  <a:gd name="connsiteX154" fmla="*/ 3686175 w 8601075"/>
                  <a:gd name="connsiteY154" fmla="*/ 4057650 h 4333875"/>
                  <a:gd name="connsiteX155" fmla="*/ 3838575 w 8601075"/>
                  <a:gd name="connsiteY155" fmla="*/ 4057650 h 4333875"/>
                  <a:gd name="connsiteX156" fmla="*/ 4162425 w 8601075"/>
                  <a:gd name="connsiteY156" fmla="*/ 4248150 h 4333875"/>
                  <a:gd name="connsiteX157" fmla="*/ 4391025 w 8601075"/>
                  <a:gd name="connsiteY157" fmla="*/ 4200525 h 4333875"/>
                  <a:gd name="connsiteX158" fmla="*/ 4410075 w 8601075"/>
                  <a:gd name="connsiteY158" fmla="*/ 4305300 h 4333875"/>
                  <a:gd name="connsiteX159" fmla="*/ 4505325 w 8601075"/>
                  <a:gd name="connsiteY159" fmla="*/ 4276725 h 4333875"/>
                  <a:gd name="connsiteX160" fmla="*/ 4572000 w 8601075"/>
                  <a:gd name="connsiteY160" fmla="*/ 4333875 h 4333875"/>
                  <a:gd name="connsiteX161" fmla="*/ 4591050 w 8601075"/>
                  <a:gd name="connsiteY161" fmla="*/ 4248150 h 4333875"/>
                  <a:gd name="connsiteX162" fmla="*/ 5295900 w 8601075"/>
                  <a:gd name="connsiteY162" fmla="*/ 3924300 h 4333875"/>
                  <a:gd name="connsiteX163" fmla="*/ 5353050 w 8601075"/>
                  <a:gd name="connsiteY163" fmla="*/ 3990975 h 4333875"/>
                  <a:gd name="connsiteX164" fmla="*/ 5524500 w 8601075"/>
                  <a:gd name="connsiteY164" fmla="*/ 3914775 h 4333875"/>
                  <a:gd name="connsiteX165" fmla="*/ 5667375 w 8601075"/>
                  <a:gd name="connsiteY165" fmla="*/ 3962400 h 4333875"/>
                  <a:gd name="connsiteX166" fmla="*/ 5753100 w 8601075"/>
                  <a:gd name="connsiteY166" fmla="*/ 3924300 h 4333875"/>
                  <a:gd name="connsiteX167" fmla="*/ 5905500 w 8601075"/>
                  <a:gd name="connsiteY167" fmla="*/ 3943350 h 4333875"/>
                  <a:gd name="connsiteX168" fmla="*/ 6000750 w 8601075"/>
                  <a:gd name="connsiteY168" fmla="*/ 3800475 h 4333875"/>
                  <a:gd name="connsiteX169" fmla="*/ 6153150 w 8601075"/>
                  <a:gd name="connsiteY169" fmla="*/ 3781425 h 4333875"/>
                  <a:gd name="connsiteX170" fmla="*/ 6257925 w 8601075"/>
                  <a:gd name="connsiteY170" fmla="*/ 3581400 h 4333875"/>
                  <a:gd name="connsiteX171" fmla="*/ 6448425 w 8601075"/>
                  <a:gd name="connsiteY171" fmla="*/ 3448050 h 4333875"/>
                  <a:gd name="connsiteX172" fmla="*/ 6581775 w 8601075"/>
                  <a:gd name="connsiteY172" fmla="*/ 3276600 h 4333875"/>
                  <a:gd name="connsiteX173" fmla="*/ 6496050 w 8601075"/>
                  <a:gd name="connsiteY173" fmla="*/ 3228975 h 4333875"/>
                  <a:gd name="connsiteX174" fmla="*/ 6438900 w 8601075"/>
                  <a:gd name="connsiteY174" fmla="*/ 3162300 h 4333875"/>
                  <a:gd name="connsiteX175" fmla="*/ 6419850 w 8601075"/>
                  <a:gd name="connsiteY175" fmla="*/ 3105150 h 4333875"/>
                  <a:gd name="connsiteX176" fmla="*/ 6362700 w 8601075"/>
                  <a:gd name="connsiteY176" fmla="*/ 3076575 h 4333875"/>
                  <a:gd name="connsiteX177" fmla="*/ 6410325 w 8601075"/>
                  <a:gd name="connsiteY177" fmla="*/ 3019425 h 4333875"/>
                  <a:gd name="connsiteX178" fmla="*/ 6438900 w 8601075"/>
                  <a:gd name="connsiteY178" fmla="*/ 2819400 h 4333875"/>
                  <a:gd name="connsiteX179" fmla="*/ 6496050 w 8601075"/>
                  <a:gd name="connsiteY179" fmla="*/ 2762250 h 4333875"/>
                  <a:gd name="connsiteX180" fmla="*/ 6657975 w 8601075"/>
                  <a:gd name="connsiteY180" fmla="*/ 2752725 h 4333875"/>
                  <a:gd name="connsiteX181" fmla="*/ 6781800 w 8601075"/>
                  <a:gd name="connsiteY181" fmla="*/ 2838450 h 4333875"/>
                  <a:gd name="connsiteX182" fmla="*/ 7010400 w 8601075"/>
                  <a:gd name="connsiteY182" fmla="*/ 2838450 h 4333875"/>
                  <a:gd name="connsiteX183" fmla="*/ 7162800 w 8601075"/>
                  <a:gd name="connsiteY183" fmla="*/ 2705100 h 4333875"/>
                  <a:gd name="connsiteX184" fmla="*/ 7229475 w 8601075"/>
                  <a:gd name="connsiteY184" fmla="*/ 2590800 h 4333875"/>
                  <a:gd name="connsiteX185" fmla="*/ 7248525 w 8601075"/>
                  <a:gd name="connsiteY185" fmla="*/ 2524125 h 4333875"/>
                  <a:gd name="connsiteX186" fmla="*/ 7372350 w 8601075"/>
                  <a:gd name="connsiteY186" fmla="*/ 2543175 h 4333875"/>
                  <a:gd name="connsiteX187" fmla="*/ 7553325 w 8601075"/>
                  <a:gd name="connsiteY187" fmla="*/ 2447925 h 4333875"/>
                  <a:gd name="connsiteX188" fmla="*/ 7620000 w 8601075"/>
                  <a:gd name="connsiteY188" fmla="*/ 2324100 h 4333875"/>
                  <a:gd name="connsiteX189" fmla="*/ 7696200 w 8601075"/>
                  <a:gd name="connsiteY189" fmla="*/ 2314575 h 4333875"/>
                  <a:gd name="connsiteX190" fmla="*/ 7658100 w 8601075"/>
                  <a:gd name="connsiteY190" fmla="*/ 2257425 h 4333875"/>
                  <a:gd name="connsiteX191" fmla="*/ 7753350 w 8601075"/>
                  <a:gd name="connsiteY191" fmla="*/ 2057400 h 4333875"/>
                  <a:gd name="connsiteX192" fmla="*/ 7934325 w 8601075"/>
                  <a:gd name="connsiteY192" fmla="*/ 2028825 h 4333875"/>
                  <a:gd name="connsiteX193" fmla="*/ 7953375 w 8601075"/>
                  <a:gd name="connsiteY193" fmla="*/ 1952625 h 4333875"/>
                  <a:gd name="connsiteX194" fmla="*/ 7953375 w 8601075"/>
                  <a:gd name="connsiteY194" fmla="*/ 1952625 h 4333875"/>
                  <a:gd name="connsiteX195" fmla="*/ 8010525 w 8601075"/>
                  <a:gd name="connsiteY195" fmla="*/ 1895475 h 4333875"/>
                  <a:gd name="connsiteX196" fmla="*/ 8048625 w 8601075"/>
                  <a:gd name="connsiteY196" fmla="*/ 1971675 h 4333875"/>
                  <a:gd name="connsiteX197" fmla="*/ 8077200 w 8601075"/>
                  <a:gd name="connsiteY197" fmla="*/ 1885950 h 4333875"/>
                  <a:gd name="connsiteX198" fmla="*/ 8220075 w 8601075"/>
                  <a:gd name="connsiteY198" fmla="*/ 1847850 h 4333875"/>
                  <a:gd name="connsiteX199" fmla="*/ 8296275 w 8601075"/>
                  <a:gd name="connsiteY199" fmla="*/ 1809750 h 4333875"/>
                  <a:gd name="connsiteX200" fmla="*/ 8324850 w 8601075"/>
                  <a:gd name="connsiteY200" fmla="*/ 1790700 h 4333875"/>
                  <a:gd name="connsiteX201" fmla="*/ 8410575 w 8601075"/>
                  <a:gd name="connsiteY201" fmla="*/ 1847850 h 4333875"/>
                  <a:gd name="connsiteX202" fmla="*/ 8505825 w 8601075"/>
                  <a:gd name="connsiteY202" fmla="*/ 1781175 h 4333875"/>
                  <a:gd name="connsiteX203" fmla="*/ 8572500 w 8601075"/>
                  <a:gd name="connsiteY203" fmla="*/ 1809750 h 4333875"/>
                  <a:gd name="connsiteX204" fmla="*/ 8601075 w 8601075"/>
                  <a:gd name="connsiteY204" fmla="*/ 1704975 h 4333875"/>
                  <a:gd name="connsiteX205" fmla="*/ 8553450 w 8601075"/>
                  <a:gd name="connsiteY205" fmla="*/ 1676400 h 4333875"/>
                  <a:gd name="connsiteX206" fmla="*/ 8534400 w 8601075"/>
                  <a:gd name="connsiteY206" fmla="*/ 1609725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124825 w 8601075"/>
                  <a:gd name="connsiteY210" fmla="*/ 1352550 h 4333875"/>
                  <a:gd name="connsiteX211" fmla="*/ 7924800 w 8601075"/>
                  <a:gd name="connsiteY211" fmla="*/ 1362075 h 4333875"/>
                  <a:gd name="connsiteX212" fmla="*/ 7867650 w 8601075"/>
                  <a:gd name="connsiteY212" fmla="*/ 1457325 h 4333875"/>
                  <a:gd name="connsiteX213" fmla="*/ 7896225 w 8601075"/>
                  <a:gd name="connsiteY213" fmla="*/ 1476375 h 4333875"/>
                  <a:gd name="connsiteX214" fmla="*/ 7858125 w 8601075"/>
                  <a:gd name="connsiteY214" fmla="*/ 1533525 h 4333875"/>
                  <a:gd name="connsiteX215" fmla="*/ 7658100 w 8601075"/>
                  <a:gd name="connsiteY215" fmla="*/ 1447800 h 4333875"/>
                  <a:gd name="connsiteX216" fmla="*/ 7515225 w 8601075"/>
                  <a:gd name="connsiteY216" fmla="*/ 1495425 h 4333875"/>
                  <a:gd name="connsiteX217" fmla="*/ 7467600 w 8601075"/>
                  <a:gd name="connsiteY217" fmla="*/ 1581150 h 4333875"/>
                  <a:gd name="connsiteX218" fmla="*/ 7296150 w 8601075"/>
                  <a:gd name="connsiteY21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485900 w 8601075"/>
                  <a:gd name="connsiteY98" fmla="*/ 419100 h 4333875"/>
                  <a:gd name="connsiteX99" fmla="*/ 1457325 w 8601075"/>
                  <a:gd name="connsiteY99" fmla="*/ 323850 h 4333875"/>
                  <a:gd name="connsiteX100" fmla="*/ 1457325 w 8601075"/>
                  <a:gd name="connsiteY100" fmla="*/ 323850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85900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57325 w 8601075"/>
                  <a:gd name="connsiteY101" fmla="*/ 32385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57325 w 8601075"/>
                  <a:gd name="connsiteY101" fmla="*/ 32385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66850 w 8601075"/>
                  <a:gd name="connsiteY101" fmla="*/ 34290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02556 w 8601075"/>
                  <a:gd name="connsiteY101" fmla="*/ 373856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2556 w 8601075"/>
                  <a:gd name="connsiteY102" fmla="*/ 373856 h 4333875"/>
                  <a:gd name="connsiteX103" fmla="*/ 1323975 w 8601075"/>
                  <a:gd name="connsiteY103" fmla="*/ 285750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3975 w 8601075"/>
                  <a:gd name="connsiteY103" fmla="*/ 285750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073944 w 8601075"/>
                  <a:gd name="connsiteY105" fmla="*/ 407193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073944 w 8601075"/>
                  <a:gd name="connsiteY106" fmla="*/ 407193 h 4333875"/>
                  <a:gd name="connsiteX107" fmla="*/ 828675 w 8601075"/>
                  <a:gd name="connsiteY107" fmla="*/ 447675 h 4333875"/>
                  <a:gd name="connsiteX108" fmla="*/ 619125 w 8601075"/>
                  <a:gd name="connsiteY108" fmla="*/ 533400 h 4333875"/>
                  <a:gd name="connsiteX109" fmla="*/ 619125 w 8601075"/>
                  <a:gd name="connsiteY109" fmla="*/ 533400 h 4333875"/>
                  <a:gd name="connsiteX110" fmla="*/ 561975 w 8601075"/>
                  <a:gd name="connsiteY110" fmla="*/ 61912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447675 w 8601075"/>
                  <a:gd name="connsiteY113" fmla="*/ 638175 h 4333875"/>
                  <a:gd name="connsiteX114" fmla="*/ 295275 w 8601075"/>
                  <a:gd name="connsiteY114" fmla="*/ 657225 h 4333875"/>
                  <a:gd name="connsiteX115" fmla="*/ 180975 w 8601075"/>
                  <a:gd name="connsiteY115" fmla="*/ 638175 h 4333875"/>
                  <a:gd name="connsiteX116" fmla="*/ 180975 w 8601075"/>
                  <a:gd name="connsiteY116" fmla="*/ 638175 h 4333875"/>
                  <a:gd name="connsiteX117" fmla="*/ 57150 w 8601075"/>
                  <a:gd name="connsiteY117" fmla="*/ 733425 h 4333875"/>
                  <a:gd name="connsiteX118" fmla="*/ 19050 w 8601075"/>
                  <a:gd name="connsiteY118" fmla="*/ 790575 h 4333875"/>
                  <a:gd name="connsiteX119" fmla="*/ 0 w 8601075"/>
                  <a:gd name="connsiteY119" fmla="*/ 876300 h 4333875"/>
                  <a:gd name="connsiteX120" fmla="*/ 57150 w 8601075"/>
                  <a:gd name="connsiteY120" fmla="*/ 923925 h 4333875"/>
                  <a:gd name="connsiteX121" fmla="*/ 57150 w 8601075"/>
                  <a:gd name="connsiteY121" fmla="*/ 923925 h 4333875"/>
                  <a:gd name="connsiteX122" fmla="*/ 209550 w 8601075"/>
                  <a:gd name="connsiteY122" fmla="*/ 1114425 h 4333875"/>
                  <a:gd name="connsiteX123" fmla="*/ 209550 w 8601075"/>
                  <a:gd name="connsiteY123" fmla="*/ 1114425 h 4333875"/>
                  <a:gd name="connsiteX124" fmla="*/ 266700 w 8601075"/>
                  <a:gd name="connsiteY124" fmla="*/ 1295400 h 4333875"/>
                  <a:gd name="connsiteX125" fmla="*/ 409575 w 8601075"/>
                  <a:gd name="connsiteY125" fmla="*/ 1276350 h 4333875"/>
                  <a:gd name="connsiteX126" fmla="*/ 466725 w 8601075"/>
                  <a:gd name="connsiteY126" fmla="*/ 1362075 h 4333875"/>
                  <a:gd name="connsiteX127" fmla="*/ 542925 w 8601075"/>
                  <a:gd name="connsiteY127" fmla="*/ 1428750 h 4333875"/>
                  <a:gd name="connsiteX128" fmla="*/ 628650 w 8601075"/>
                  <a:gd name="connsiteY128" fmla="*/ 1571625 h 4333875"/>
                  <a:gd name="connsiteX129" fmla="*/ 628650 w 8601075"/>
                  <a:gd name="connsiteY129" fmla="*/ 1704975 h 4333875"/>
                  <a:gd name="connsiteX130" fmla="*/ 676275 w 8601075"/>
                  <a:gd name="connsiteY130" fmla="*/ 1771650 h 4333875"/>
                  <a:gd name="connsiteX131" fmla="*/ 657225 w 8601075"/>
                  <a:gd name="connsiteY131" fmla="*/ 2000250 h 4333875"/>
                  <a:gd name="connsiteX132" fmla="*/ 619125 w 8601075"/>
                  <a:gd name="connsiteY132" fmla="*/ 2095500 h 4333875"/>
                  <a:gd name="connsiteX133" fmla="*/ 542925 w 8601075"/>
                  <a:gd name="connsiteY133" fmla="*/ 2228850 h 4333875"/>
                  <a:gd name="connsiteX134" fmla="*/ 485775 w 8601075"/>
                  <a:gd name="connsiteY134" fmla="*/ 2362200 h 4333875"/>
                  <a:gd name="connsiteX135" fmla="*/ 552450 w 8601075"/>
                  <a:gd name="connsiteY135" fmla="*/ 2486025 h 4333875"/>
                  <a:gd name="connsiteX136" fmla="*/ 771525 w 8601075"/>
                  <a:gd name="connsiteY136" fmla="*/ 2571750 h 4333875"/>
                  <a:gd name="connsiteX137" fmla="*/ 866775 w 8601075"/>
                  <a:gd name="connsiteY137" fmla="*/ 2571750 h 4333875"/>
                  <a:gd name="connsiteX138" fmla="*/ 914400 w 8601075"/>
                  <a:gd name="connsiteY138" fmla="*/ 2638425 h 4333875"/>
                  <a:gd name="connsiteX139" fmla="*/ 1066800 w 8601075"/>
                  <a:gd name="connsiteY139" fmla="*/ 2638425 h 4333875"/>
                  <a:gd name="connsiteX140" fmla="*/ 1285875 w 8601075"/>
                  <a:gd name="connsiteY140" fmla="*/ 2705100 h 4333875"/>
                  <a:gd name="connsiteX141" fmla="*/ 1438275 w 8601075"/>
                  <a:gd name="connsiteY141" fmla="*/ 2838450 h 4333875"/>
                  <a:gd name="connsiteX142" fmla="*/ 1485900 w 8601075"/>
                  <a:gd name="connsiteY142" fmla="*/ 2914650 h 4333875"/>
                  <a:gd name="connsiteX143" fmla="*/ 1657350 w 8601075"/>
                  <a:gd name="connsiteY143" fmla="*/ 3038475 h 4333875"/>
                  <a:gd name="connsiteX144" fmla="*/ 1752600 w 8601075"/>
                  <a:gd name="connsiteY144" fmla="*/ 3057525 h 4333875"/>
                  <a:gd name="connsiteX145" fmla="*/ 1724025 w 8601075"/>
                  <a:gd name="connsiteY145" fmla="*/ 3143250 h 4333875"/>
                  <a:gd name="connsiteX146" fmla="*/ 1724025 w 8601075"/>
                  <a:gd name="connsiteY146" fmla="*/ 3143250 h 4333875"/>
                  <a:gd name="connsiteX147" fmla="*/ 1781175 w 8601075"/>
                  <a:gd name="connsiteY147" fmla="*/ 3181350 h 4333875"/>
                  <a:gd name="connsiteX148" fmla="*/ 1819275 w 8601075"/>
                  <a:gd name="connsiteY148" fmla="*/ 3362325 h 4333875"/>
                  <a:gd name="connsiteX149" fmla="*/ 1828800 w 8601075"/>
                  <a:gd name="connsiteY149" fmla="*/ 3457575 h 4333875"/>
                  <a:gd name="connsiteX150" fmla="*/ 1971675 w 8601075"/>
                  <a:gd name="connsiteY150" fmla="*/ 3590925 h 4333875"/>
                  <a:gd name="connsiteX151" fmla="*/ 1990725 w 8601075"/>
                  <a:gd name="connsiteY151" fmla="*/ 3714750 h 4333875"/>
                  <a:gd name="connsiteX152" fmla="*/ 2200275 w 8601075"/>
                  <a:gd name="connsiteY152" fmla="*/ 3695700 h 4333875"/>
                  <a:gd name="connsiteX153" fmla="*/ 2886075 w 8601075"/>
                  <a:gd name="connsiteY153" fmla="*/ 3886200 h 4333875"/>
                  <a:gd name="connsiteX154" fmla="*/ 3038475 w 8601075"/>
                  <a:gd name="connsiteY154" fmla="*/ 3819525 h 4333875"/>
                  <a:gd name="connsiteX155" fmla="*/ 3105150 w 8601075"/>
                  <a:gd name="connsiteY155" fmla="*/ 3867150 h 4333875"/>
                  <a:gd name="connsiteX156" fmla="*/ 3181350 w 8601075"/>
                  <a:gd name="connsiteY156" fmla="*/ 3800475 h 4333875"/>
                  <a:gd name="connsiteX157" fmla="*/ 3590925 w 8601075"/>
                  <a:gd name="connsiteY157" fmla="*/ 3943350 h 4333875"/>
                  <a:gd name="connsiteX158" fmla="*/ 3686175 w 8601075"/>
                  <a:gd name="connsiteY158" fmla="*/ 4057650 h 4333875"/>
                  <a:gd name="connsiteX159" fmla="*/ 3838575 w 8601075"/>
                  <a:gd name="connsiteY159" fmla="*/ 4057650 h 4333875"/>
                  <a:gd name="connsiteX160" fmla="*/ 4162425 w 8601075"/>
                  <a:gd name="connsiteY160" fmla="*/ 4248150 h 4333875"/>
                  <a:gd name="connsiteX161" fmla="*/ 4391025 w 8601075"/>
                  <a:gd name="connsiteY161" fmla="*/ 4200525 h 4333875"/>
                  <a:gd name="connsiteX162" fmla="*/ 4410075 w 8601075"/>
                  <a:gd name="connsiteY162" fmla="*/ 4305300 h 4333875"/>
                  <a:gd name="connsiteX163" fmla="*/ 4505325 w 8601075"/>
                  <a:gd name="connsiteY163" fmla="*/ 4276725 h 4333875"/>
                  <a:gd name="connsiteX164" fmla="*/ 4572000 w 8601075"/>
                  <a:gd name="connsiteY164" fmla="*/ 4333875 h 4333875"/>
                  <a:gd name="connsiteX165" fmla="*/ 4591050 w 8601075"/>
                  <a:gd name="connsiteY165" fmla="*/ 4248150 h 4333875"/>
                  <a:gd name="connsiteX166" fmla="*/ 5295900 w 8601075"/>
                  <a:gd name="connsiteY166" fmla="*/ 3924300 h 4333875"/>
                  <a:gd name="connsiteX167" fmla="*/ 5353050 w 8601075"/>
                  <a:gd name="connsiteY167" fmla="*/ 3990975 h 4333875"/>
                  <a:gd name="connsiteX168" fmla="*/ 5524500 w 8601075"/>
                  <a:gd name="connsiteY168" fmla="*/ 3914775 h 4333875"/>
                  <a:gd name="connsiteX169" fmla="*/ 5667375 w 8601075"/>
                  <a:gd name="connsiteY169" fmla="*/ 3962400 h 4333875"/>
                  <a:gd name="connsiteX170" fmla="*/ 5753100 w 8601075"/>
                  <a:gd name="connsiteY170" fmla="*/ 3924300 h 4333875"/>
                  <a:gd name="connsiteX171" fmla="*/ 5905500 w 8601075"/>
                  <a:gd name="connsiteY171" fmla="*/ 3943350 h 4333875"/>
                  <a:gd name="connsiteX172" fmla="*/ 6000750 w 8601075"/>
                  <a:gd name="connsiteY172" fmla="*/ 3800475 h 4333875"/>
                  <a:gd name="connsiteX173" fmla="*/ 6153150 w 8601075"/>
                  <a:gd name="connsiteY173" fmla="*/ 3781425 h 4333875"/>
                  <a:gd name="connsiteX174" fmla="*/ 6257925 w 8601075"/>
                  <a:gd name="connsiteY174" fmla="*/ 3581400 h 4333875"/>
                  <a:gd name="connsiteX175" fmla="*/ 6448425 w 8601075"/>
                  <a:gd name="connsiteY175" fmla="*/ 3448050 h 4333875"/>
                  <a:gd name="connsiteX176" fmla="*/ 6581775 w 8601075"/>
                  <a:gd name="connsiteY176" fmla="*/ 3276600 h 4333875"/>
                  <a:gd name="connsiteX177" fmla="*/ 6496050 w 8601075"/>
                  <a:gd name="connsiteY177" fmla="*/ 3228975 h 4333875"/>
                  <a:gd name="connsiteX178" fmla="*/ 6438900 w 8601075"/>
                  <a:gd name="connsiteY178" fmla="*/ 3162300 h 4333875"/>
                  <a:gd name="connsiteX179" fmla="*/ 6419850 w 8601075"/>
                  <a:gd name="connsiteY179" fmla="*/ 3105150 h 4333875"/>
                  <a:gd name="connsiteX180" fmla="*/ 6362700 w 8601075"/>
                  <a:gd name="connsiteY180" fmla="*/ 3076575 h 4333875"/>
                  <a:gd name="connsiteX181" fmla="*/ 6410325 w 8601075"/>
                  <a:gd name="connsiteY181" fmla="*/ 3019425 h 4333875"/>
                  <a:gd name="connsiteX182" fmla="*/ 6438900 w 8601075"/>
                  <a:gd name="connsiteY182" fmla="*/ 2819400 h 4333875"/>
                  <a:gd name="connsiteX183" fmla="*/ 6496050 w 8601075"/>
                  <a:gd name="connsiteY183" fmla="*/ 2762250 h 4333875"/>
                  <a:gd name="connsiteX184" fmla="*/ 6657975 w 8601075"/>
                  <a:gd name="connsiteY184" fmla="*/ 2752725 h 4333875"/>
                  <a:gd name="connsiteX185" fmla="*/ 6781800 w 8601075"/>
                  <a:gd name="connsiteY185" fmla="*/ 2838450 h 4333875"/>
                  <a:gd name="connsiteX186" fmla="*/ 7010400 w 8601075"/>
                  <a:gd name="connsiteY186" fmla="*/ 2838450 h 4333875"/>
                  <a:gd name="connsiteX187" fmla="*/ 7162800 w 8601075"/>
                  <a:gd name="connsiteY187" fmla="*/ 2705100 h 4333875"/>
                  <a:gd name="connsiteX188" fmla="*/ 7229475 w 8601075"/>
                  <a:gd name="connsiteY188" fmla="*/ 2590800 h 4333875"/>
                  <a:gd name="connsiteX189" fmla="*/ 7248525 w 8601075"/>
                  <a:gd name="connsiteY189" fmla="*/ 2524125 h 4333875"/>
                  <a:gd name="connsiteX190" fmla="*/ 7372350 w 8601075"/>
                  <a:gd name="connsiteY190" fmla="*/ 2543175 h 4333875"/>
                  <a:gd name="connsiteX191" fmla="*/ 7553325 w 8601075"/>
                  <a:gd name="connsiteY191" fmla="*/ 2447925 h 4333875"/>
                  <a:gd name="connsiteX192" fmla="*/ 7620000 w 8601075"/>
                  <a:gd name="connsiteY192" fmla="*/ 2324100 h 4333875"/>
                  <a:gd name="connsiteX193" fmla="*/ 7696200 w 8601075"/>
                  <a:gd name="connsiteY193" fmla="*/ 2314575 h 4333875"/>
                  <a:gd name="connsiteX194" fmla="*/ 7658100 w 8601075"/>
                  <a:gd name="connsiteY194" fmla="*/ 2257425 h 4333875"/>
                  <a:gd name="connsiteX195" fmla="*/ 7753350 w 8601075"/>
                  <a:gd name="connsiteY195" fmla="*/ 2057400 h 4333875"/>
                  <a:gd name="connsiteX196" fmla="*/ 7934325 w 8601075"/>
                  <a:gd name="connsiteY196" fmla="*/ 2028825 h 4333875"/>
                  <a:gd name="connsiteX197" fmla="*/ 7953375 w 8601075"/>
                  <a:gd name="connsiteY197" fmla="*/ 1952625 h 4333875"/>
                  <a:gd name="connsiteX198" fmla="*/ 7953375 w 8601075"/>
                  <a:gd name="connsiteY198" fmla="*/ 1952625 h 4333875"/>
                  <a:gd name="connsiteX199" fmla="*/ 8010525 w 8601075"/>
                  <a:gd name="connsiteY199" fmla="*/ 1895475 h 4333875"/>
                  <a:gd name="connsiteX200" fmla="*/ 8048625 w 8601075"/>
                  <a:gd name="connsiteY200" fmla="*/ 1971675 h 4333875"/>
                  <a:gd name="connsiteX201" fmla="*/ 8077200 w 8601075"/>
                  <a:gd name="connsiteY201" fmla="*/ 1885950 h 4333875"/>
                  <a:gd name="connsiteX202" fmla="*/ 8220075 w 8601075"/>
                  <a:gd name="connsiteY202" fmla="*/ 1847850 h 4333875"/>
                  <a:gd name="connsiteX203" fmla="*/ 8296275 w 8601075"/>
                  <a:gd name="connsiteY203" fmla="*/ 1809750 h 4333875"/>
                  <a:gd name="connsiteX204" fmla="*/ 8324850 w 8601075"/>
                  <a:gd name="connsiteY204" fmla="*/ 1790700 h 4333875"/>
                  <a:gd name="connsiteX205" fmla="*/ 8410575 w 8601075"/>
                  <a:gd name="connsiteY205" fmla="*/ 1847850 h 4333875"/>
                  <a:gd name="connsiteX206" fmla="*/ 8505825 w 8601075"/>
                  <a:gd name="connsiteY206" fmla="*/ 1781175 h 4333875"/>
                  <a:gd name="connsiteX207" fmla="*/ 8572500 w 8601075"/>
                  <a:gd name="connsiteY207" fmla="*/ 1809750 h 4333875"/>
                  <a:gd name="connsiteX208" fmla="*/ 8601075 w 8601075"/>
                  <a:gd name="connsiteY208" fmla="*/ 1704975 h 4333875"/>
                  <a:gd name="connsiteX209" fmla="*/ 8553450 w 8601075"/>
                  <a:gd name="connsiteY209" fmla="*/ 1676400 h 4333875"/>
                  <a:gd name="connsiteX210" fmla="*/ 8534400 w 8601075"/>
                  <a:gd name="connsiteY210" fmla="*/ 1609725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277225 w 8601075"/>
                  <a:gd name="connsiteY213" fmla="*/ 1409700 h 4333875"/>
                  <a:gd name="connsiteX214" fmla="*/ 8124825 w 8601075"/>
                  <a:gd name="connsiteY214" fmla="*/ 1352550 h 4333875"/>
                  <a:gd name="connsiteX215" fmla="*/ 7924800 w 8601075"/>
                  <a:gd name="connsiteY215" fmla="*/ 1362075 h 4333875"/>
                  <a:gd name="connsiteX216" fmla="*/ 7867650 w 8601075"/>
                  <a:gd name="connsiteY216" fmla="*/ 1457325 h 4333875"/>
                  <a:gd name="connsiteX217" fmla="*/ 7896225 w 8601075"/>
                  <a:gd name="connsiteY217" fmla="*/ 1476375 h 4333875"/>
                  <a:gd name="connsiteX218" fmla="*/ 7858125 w 8601075"/>
                  <a:gd name="connsiteY218" fmla="*/ 1533525 h 4333875"/>
                  <a:gd name="connsiteX219" fmla="*/ 7658100 w 8601075"/>
                  <a:gd name="connsiteY219" fmla="*/ 1447800 h 4333875"/>
                  <a:gd name="connsiteX220" fmla="*/ 7515225 w 8601075"/>
                  <a:gd name="connsiteY220" fmla="*/ 1495425 h 4333875"/>
                  <a:gd name="connsiteX221" fmla="*/ 7467600 w 8601075"/>
                  <a:gd name="connsiteY221" fmla="*/ 1581150 h 4333875"/>
                  <a:gd name="connsiteX222" fmla="*/ 7296150 w 8601075"/>
                  <a:gd name="connsiteY22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828675 w 8601075"/>
                  <a:gd name="connsiteY108" fmla="*/ 447675 h 4333875"/>
                  <a:gd name="connsiteX109" fmla="*/ 619125 w 8601075"/>
                  <a:gd name="connsiteY109" fmla="*/ 533400 h 4333875"/>
                  <a:gd name="connsiteX110" fmla="*/ 619125 w 8601075"/>
                  <a:gd name="connsiteY110" fmla="*/ 533400 h 4333875"/>
                  <a:gd name="connsiteX111" fmla="*/ 561975 w 8601075"/>
                  <a:gd name="connsiteY111" fmla="*/ 619125 h 4333875"/>
                  <a:gd name="connsiteX112" fmla="*/ 447675 w 8601075"/>
                  <a:gd name="connsiteY112" fmla="*/ 638175 h 4333875"/>
                  <a:gd name="connsiteX113" fmla="*/ 447675 w 8601075"/>
                  <a:gd name="connsiteY113" fmla="*/ 638175 h 4333875"/>
                  <a:gd name="connsiteX114" fmla="*/ 447675 w 8601075"/>
                  <a:gd name="connsiteY114" fmla="*/ 638175 h 4333875"/>
                  <a:gd name="connsiteX115" fmla="*/ 295275 w 8601075"/>
                  <a:gd name="connsiteY115" fmla="*/ 657225 h 4333875"/>
                  <a:gd name="connsiteX116" fmla="*/ 180975 w 8601075"/>
                  <a:gd name="connsiteY116" fmla="*/ 638175 h 4333875"/>
                  <a:gd name="connsiteX117" fmla="*/ 180975 w 8601075"/>
                  <a:gd name="connsiteY117" fmla="*/ 638175 h 4333875"/>
                  <a:gd name="connsiteX118" fmla="*/ 57150 w 8601075"/>
                  <a:gd name="connsiteY118" fmla="*/ 733425 h 4333875"/>
                  <a:gd name="connsiteX119" fmla="*/ 19050 w 8601075"/>
                  <a:gd name="connsiteY119" fmla="*/ 790575 h 4333875"/>
                  <a:gd name="connsiteX120" fmla="*/ 0 w 8601075"/>
                  <a:gd name="connsiteY120" fmla="*/ 876300 h 4333875"/>
                  <a:gd name="connsiteX121" fmla="*/ 57150 w 8601075"/>
                  <a:gd name="connsiteY121" fmla="*/ 923925 h 4333875"/>
                  <a:gd name="connsiteX122" fmla="*/ 57150 w 8601075"/>
                  <a:gd name="connsiteY122" fmla="*/ 923925 h 4333875"/>
                  <a:gd name="connsiteX123" fmla="*/ 209550 w 8601075"/>
                  <a:gd name="connsiteY123" fmla="*/ 1114425 h 4333875"/>
                  <a:gd name="connsiteX124" fmla="*/ 209550 w 8601075"/>
                  <a:gd name="connsiteY124" fmla="*/ 1114425 h 4333875"/>
                  <a:gd name="connsiteX125" fmla="*/ 266700 w 8601075"/>
                  <a:gd name="connsiteY125" fmla="*/ 1295400 h 4333875"/>
                  <a:gd name="connsiteX126" fmla="*/ 409575 w 8601075"/>
                  <a:gd name="connsiteY126" fmla="*/ 1276350 h 4333875"/>
                  <a:gd name="connsiteX127" fmla="*/ 466725 w 8601075"/>
                  <a:gd name="connsiteY127" fmla="*/ 1362075 h 4333875"/>
                  <a:gd name="connsiteX128" fmla="*/ 542925 w 8601075"/>
                  <a:gd name="connsiteY128" fmla="*/ 1428750 h 4333875"/>
                  <a:gd name="connsiteX129" fmla="*/ 628650 w 8601075"/>
                  <a:gd name="connsiteY129" fmla="*/ 1571625 h 4333875"/>
                  <a:gd name="connsiteX130" fmla="*/ 628650 w 8601075"/>
                  <a:gd name="connsiteY130" fmla="*/ 1704975 h 4333875"/>
                  <a:gd name="connsiteX131" fmla="*/ 676275 w 8601075"/>
                  <a:gd name="connsiteY131" fmla="*/ 1771650 h 4333875"/>
                  <a:gd name="connsiteX132" fmla="*/ 657225 w 8601075"/>
                  <a:gd name="connsiteY132" fmla="*/ 2000250 h 4333875"/>
                  <a:gd name="connsiteX133" fmla="*/ 619125 w 8601075"/>
                  <a:gd name="connsiteY133" fmla="*/ 2095500 h 4333875"/>
                  <a:gd name="connsiteX134" fmla="*/ 542925 w 8601075"/>
                  <a:gd name="connsiteY134" fmla="*/ 2228850 h 4333875"/>
                  <a:gd name="connsiteX135" fmla="*/ 485775 w 8601075"/>
                  <a:gd name="connsiteY135" fmla="*/ 2362200 h 4333875"/>
                  <a:gd name="connsiteX136" fmla="*/ 552450 w 8601075"/>
                  <a:gd name="connsiteY136" fmla="*/ 2486025 h 4333875"/>
                  <a:gd name="connsiteX137" fmla="*/ 771525 w 8601075"/>
                  <a:gd name="connsiteY137" fmla="*/ 2571750 h 4333875"/>
                  <a:gd name="connsiteX138" fmla="*/ 866775 w 8601075"/>
                  <a:gd name="connsiteY138" fmla="*/ 2571750 h 4333875"/>
                  <a:gd name="connsiteX139" fmla="*/ 914400 w 8601075"/>
                  <a:gd name="connsiteY139" fmla="*/ 2638425 h 4333875"/>
                  <a:gd name="connsiteX140" fmla="*/ 1066800 w 8601075"/>
                  <a:gd name="connsiteY140" fmla="*/ 2638425 h 4333875"/>
                  <a:gd name="connsiteX141" fmla="*/ 1285875 w 8601075"/>
                  <a:gd name="connsiteY141" fmla="*/ 2705100 h 4333875"/>
                  <a:gd name="connsiteX142" fmla="*/ 1438275 w 8601075"/>
                  <a:gd name="connsiteY142" fmla="*/ 2838450 h 4333875"/>
                  <a:gd name="connsiteX143" fmla="*/ 1485900 w 8601075"/>
                  <a:gd name="connsiteY143" fmla="*/ 2914650 h 4333875"/>
                  <a:gd name="connsiteX144" fmla="*/ 1657350 w 8601075"/>
                  <a:gd name="connsiteY144" fmla="*/ 3038475 h 4333875"/>
                  <a:gd name="connsiteX145" fmla="*/ 1752600 w 8601075"/>
                  <a:gd name="connsiteY145" fmla="*/ 3057525 h 4333875"/>
                  <a:gd name="connsiteX146" fmla="*/ 1724025 w 8601075"/>
                  <a:gd name="connsiteY146" fmla="*/ 3143250 h 4333875"/>
                  <a:gd name="connsiteX147" fmla="*/ 1724025 w 8601075"/>
                  <a:gd name="connsiteY147" fmla="*/ 3143250 h 4333875"/>
                  <a:gd name="connsiteX148" fmla="*/ 1781175 w 8601075"/>
                  <a:gd name="connsiteY148" fmla="*/ 3181350 h 4333875"/>
                  <a:gd name="connsiteX149" fmla="*/ 1819275 w 8601075"/>
                  <a:gd name="connsiteY149" fmla="*/ 3362325 h 4333875"/>
                  <a:gd name="connsiteX150" fmla="*/ 1828800 w 8601075"/>
                  <a:gd name="connsiteY150" fmla="*/ 3457575 h 4333875"/>
                  <a:gd name="connsiteX151" fmla="*/ 1971675 w 8601075"/>
                  <a:gd name="connsiteY151" fmla="*/ 3590925 h 4333875"/>
                  <a:gd name="connsiteX152" fmla="*/ 1990725 w 8601075"/>
                  <a:gd name="connsiteY152" fmla="*/ 3714750 h 4333875"/>
                  <a:gd name="connsiteX153" fmla="*/ 2200275 w 8601075"/>
                  <a:gd name="connsiteY153" fmla="*/ 3695700 h 4333875"/>
                  <a:gd name="connsiteX154" fmla="*/ 2886075 w 8601075"/>
                  <a:gd name="connsiteY154" fmla="*/ 3886200 h 4333875"/>
                  <a:gd name="connsiteX155" fmla="*/ 3038475 w 8601075"/>
                  <a:gd name="connsiteY155" fmla="*/ 3819525 h 4333875"/>
                  <a:gd name="connsiteX156" fmla="*/ 3105150 w 8601075"/>
                  <a:gd name="connsiteY156" fmla="*/ 3867150 h 4333875"/>
                  <a:gd name="connsiteX157" fmla="*/ 3181350 w 8601075"/>
                  <a:gd name="connsiteY157" fmla="*/ 3800475 h 4333875"/>
                  <a:gd name="connsiteX158" fmla="*/ 3590925 w 8601075"/>
                  <a:gd name="connsiteY158" fmla="*/ 3943350 h 4333875"/>
                  <a:gd name="connsiteX159" fmla="*/ 3686175 w 8601075"/>
                  <a:gd name="connsiteY159" fmla="*/ 4057650 h 4333875"/>
                  <a:gd name="connsiteX160" fmla="*/ 3838575 w 8601075"/>
                  <a:gd name="connsiteY160" fmla="*/ 4057650 h 4333875"/>
                  <a:gd name="connsiteX161" fmla="*/ 4162425 w 8601075"/>
                  <a:gd name="connsiteY161" fmla="*/ 4248150 h 4333875"/>
                  <a:gd name="connsiteX162" fmla="*/ 4391025 w 8601075"/>
                  <a:gd name="connsiteY162" fmla="*/ 4200525 h 4333875"/>
                  <a:gd name="connsiteX163" fmla="*/ 4410075 w 8601075"/>
                  <a:gd name="connsiteY163" fmla="*/ 4305300 h 4333875"/>
                  <a:gd name="connsiteX164" fmla="*/ 4505325 w 8601075"/>
                  <a:gd name="connsiteY164" fmla="*/ 4276725 h 4333875"/>
                  <a:gd name="connsiteX165" fmla="*/ 4572000 w 8601075"/>
                  <a:gd name="connsiteY165" fmla="*/ 4333875 h 4333875"/>
                  <a:gd name="connsiteX166" fmla="*/ 4591050 w 8601075"/>
                  <a:gd name="connsiteY166" fmla="*/ 4248150 h 4333875"/>
                  <a:gd name="connsiteX167" fmla="*/ 5295900 w 8601075"/>
                  <a:gd name="connsiteY167" fmla="*/ 3924300 h 4333875"/>
                  <a:gd name="connsiteX168" fmla="*/ 5353050 w 8601075"/>
                  <a:gd name="connsiteY168" fmla="*/ 3990975 h 4333875"/>
                  <a:gd name="connsiteX169" fmla="*/ 5524500 w 8601075"/>
                  <a:gd name="connsiteY169" fmla="*/ 3914775 h 4333875"/>
                  <a:gd name="connsiteX170" fmla="*/ 5667375 w 8601075"/>
                  <a:gd name="connsiteY170" fmla="*/ 3962400 h 4333875"/>
                  <a:gd name="connsiteX171" fmla="*/ 5753100 w 8601075"/>
                  <a:gd name="connsiteY171" fmla="*/ 3924300 h 4333875"/>
                  <a:gd name="connsiteX172" fmla="*/ 5905500 w 8601075"/>
                  <a:gd name="connsiteY172" fmla="*/ 3943350 h 4333875"/>
                  <a:gd name="connsiteX173" fmla="*/ 6000750 w 8601075"/>
                  <a:gd name="connsiteY173" fmla="*/ 3800475 h 4333875"/>
                  <a:gd name="connsiteX174" fmla="*/ 6153150 w 8601075"/>
                  <a:gd name="connsiteY174" fmla="*/ 3781425 h 4333875"/>
                  <a:gd name="connsiteX175" fmla="*/ 6257925 w 8601075"/>
                  <a:gd name="connsiteY175" fmla="*/ 3581400 h 4333875"/>
                  <a:gd name="connsiteX176" fmla="*/ 6448425 w 8601075"/>
                  <a:gd name="connsiteY176" fmla="*/ 3448050 h 4333875"/>
                  <a:gd name="connsiteX177" fmla="*/ 6581775 w 8601075"/>
                  <a:gd name="connsiteY177" fmla="*/ 3276600 h 4333875"/>
                  <a:gd name="connsiteX178" fmla="*/ 6496050 w 8601075"/>
                  <a:gd name="connsiteY178" fmla="*/ 3228975 h 4333875"/>
                  <a:gd name="connsiteX179" fmla="*/ 6438900 w 8601075"/>
                  <a:gd name="connsiteY179" fmla="*/ 3162300 h 4333875"/>
                  <a:gd name="connsiteX180" fmla="*/ 6419850 w 8601075"/>
                  <a:gd name="connsiteY180" fmla="*/ 3105150 h 4333875"/>
                  <a:gd name="connsiteX181" fmla="*/ 6362700 w 8601075"/>
                  <a:gd name="connsiteY181" fmla="*/ 3076575 h 4333875"/>
                  <a:gd name="connsiteX182" fmla="*/ 6410325 w 8601075"/>
                  <a:gd name="connsiteY182" fmla="*/ 3019425 h 4333875"/>
                  <a:gd name="connsiteX183" fmla="*/ 6438900 w 8601075"/>
                  <a:gd name="connsiteY183" fmla="*/ 2819400 h 4333875"/>
                  <a:gd name="connsiteX184" fmla="*/ 6496050 w 8601075"/>
                  <a:gd name="connsiteY184" fmla="*/ 2762250 h 4333875"/>
                  <a:gd name="connsiteX185" fmla="*/ 6657975 w 8601075"/>
                  <a:gd name="connsiteY185" fmla="*/ 2752725 h 4333875"/>
                  <a:gd name="connsiteX186" fmla="*/ 6781800 w 8601075"/>
                  <a:gd name="connsiteY186" fmla="*/ 2838450 h 4333875"/>
                  <a:gd name="connsiteX187" fmla="*/ 7010400 w 8601075"/>
                  <a:gd name="connsiteY187" fmla="*/ 2838450 h 4333875"/>
                  <a:gd name="connsiteX188" fmla="*/ 7162800 w 8601075"/>
                  <a:gd name="connsiteY188" fmla="*/ 2705100 h 4333875"/>
                  <a:gd name="connsiteX189" fmla="*/ 7229475 w 8601075"/>
                  <a:gd name="connsiteY189" fmla="*/ 2590800 h 4333875"/>
                  <a:gd name="connsiteX190" fmla="*/ 7248525 w 8601075"/>
                  <a:gd name="connsiteY190" fmla="*/ 2524125 h 4333875"/>
                  <a:gd name="connsiteX191" fmla="*/ 7372350 w 8601075"/>
                  <a:gd name="connsiteY191" fmla="*/ 2543175 h 4333875"/>
                  <a:gd name="connsiteX192" fmla="*/ 7553325 w 8601075"/>
                  <a:gd name="connsiteY192" fmla="*/ 2447925 h 4333875"/>
                  <a:gd name="connsiteX193" fmla="*/ 7620000 w 8601075"/>
                  <a:gd name="connsiteY193" fmla="*/ 2324100 h 4333875"/>
                  <a:gd name="connsiteX194" fmla="*/ 7696200 w 8601075"/>
                  <a:gd name="connsiteY194" fmla="*/ 2314575 h 4333875"/>
                  <a:gd name="connsiteX195" fmla="*/ 7658100 w 8601075"/>
                  <a:gd name="connsiteY195" fmla="*/ 2257425 h 4333875"/>
                  <a:gd name="connsiteX196" fmla="*/ 7753350 w 8601075"/>
                  <a:gd name="connsiteY196" fmla="*/ 2057400 h 4333875"/>
                  <a:gd name="connsiteX197" fmla="*/ 7934325 w 8601075"/>
                  <a:gd name="connsiteY197" fmla="*/ 2028825 h 4333875"/>
                  <a:gd name="connsiteX198" fmla="*/ 7953375 w 8601075"/>
                  <a:gd name="connsiteY198" fmla="*/ 1952625 h 4333875"/>
                  <a:gd name="connsiteX199" fmla="*/ 7953375 w 8601075"/>
                  <a:gd name="connsiteY199" fmla="*/ 1952625 h 4333875"/>
                  <a:gd name="connsiteX200" fmla="*/ 8010525 w 8601075"/>
                  <a:gd name="connsiteY200" fmla="*/ 1895475 h 4333875"/>
                  <a:gd name="connsiteX201" fmla="*/ 8048625 w 8601075"/>
                  <a:gd name="connsiteY201" fmla="*/ 1971675 h 4333875"/>
                  <a:gd name="connsiteX202" fmla="*/ 8077200 w 8601075"/>
                  <a:gd name="connsiteY202" fmla="*/ 1885950 h 4333875"/>
                  <a:gd name="connsiteX203" fmla="*/ 8220075 w 8601075"/>
                  <a:gd name="connsiteY203" fmla="*/ 1847850 h 4333875"/>
                  <a:gd name="connsiteX204" fmla="*/ 8296275 w 8601075"/>
                  <a:gd name="connsiteY204" fmla="*/ 1809750 h 4333875"/>
                  <a:gd name="connsiteX205" fmla="*/ 8324850 w 8601075"/>
                  <a:gd name="connsiteY205" fmla="*/ 1790700 h 4333875"/>
                  <a:gd name="connsiteX206" fmla="*/ 8410575 w 8601075"/>
                  <a:gd name="connsiteY206" fmla="*/ 1847850 h 4333875"/>
                  <a:gd name="connsiteX207" fmla="*/ 8505825 w 8601075"/>
                  <a:gd name="connsiteY207" fmla="*/ 1781175 h 4333875"/>
                  <a:gd name="connsiteX208" fmla="*/ 8572500 w 8601075"/>
                  <a:gd name="connsiteY208" fmla="*/ 1809750 h 4333875"/>
                  <a:gd name="connsiteX209" fmla="*/ 8601075 w 8601075"/>
                  <a:gd name="connsiteY209" fmla="*/ 1704975 h 4333875"/>
                  <a:gd name="connsiteX210" fmla="*/ 8553450 w 8601075"/>
                  <a:gd name="connsiteY210" fmla="*/ 1676400 h 4333875"/>
                  <a:gd name="connsiteX211" fmla="*/ 8534400 w 8601075"/>
                  <a:gd name="connsiteY211" fmla="*/ 1609725 h 4333875"/>
                  <a:gd name="connsiteX212" fmla="*/ 8277225 w 8601075"/>
                  <a:gd name="connsiteY212" fmla="*/ 1409700 h 4333875"/>
                  <a:gd name="connsiteX213" fmla="*/ 8277225 w 8601075"/>
                  <a:gd name="connsiteY213" fmla="*/ 1409700 h 4333875"/>
                  <a:gd name="connsiteX214" fmla="*/ 8277225 w 8601075"/>
                  <a:gd name="connsiteY214" fmla="*/ 1409700 h 4333875"/>
                  <a:gd name="connsiteX215" fmla="*/ 8124825 w 8601075"/>
                  <a:gd name="connsiteY215" fmla="*/ 1352550 h 4333875"/>
                  <a:gd name="connsiteX216" fmla="*/ 7924800 w 8601075"/>
                  <a:gd name="connsiteY216" fmla="*/ 1362075 h 4333875"/>
                  <a:gd name="connsiteX217" fmla="*/ 7867650 w 8601075"/>
                  <a:gd name="connsiteY217" fmla="*/ 1457325 h 4333875"/>
                  <a:gd name="connsiteX218" fmla="*/ 7896225 w 8601075"/>
                  <a:gd name="connsiteY218" fmla="*/ 1476375 h 4333875"/>
                  <a:gd name="connsiteX219" fmla="*/ 7858125 w 8601075"/>
                  <a:gd name="connsiteY219" fmla="*/ 1533525 h 4333875"/>
                  <a:gd name="connsiteX220" fmla="*/ 7658100 w 8601075"/>
                  <a:gd name="connsiteY220" fmla="*/ 1447800 h 4333875"/>
                  <a:gd name="connsiteX221" fmla="*/ 7515225 w 8601075"/>
                  <a:gd name="connsiteY221" fmla="*/ 1495425 h 4333875"/>
                  <a:gd name="connsiteX222" fmla="*/ 7467600 w 8601075"/>
                  <a:gd name="connsiteY222" fmla="*/ 1581150 h 4333875"/>
                  <a:gd name="connsiteX223" fmla="*/ 7296150 w 8601075"/>
                  <a:gd name="connsiteY22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828675 w 8601075"/>
                  <a:gd name="connsiteY109" fmla="*/ 447675 h 4333875"/>
                  <a:gd name="connsiteX110" fmla="*/ 619125 w 8601075"/>
                  <a:gd name="connsiteY110" fmla="*/ 533400 h 4333875"/>
                  <a:gd name="connsiteX111" fmla="*/ 619125 w 8601075"/>
                  <a:gd name="connsiteY111" fmla="*/ 533400 h 4333875"/>
                  <a:gd name="connsiteX112" fmla="*/ 561975 w 8601075"/>
                  <a:gd name="connsiteY112" fmla="*/ 619125 h 4333875"/>
                  <a:gd name="connsiteX113" fmla="*/ 447675 w 8601075"/>
                  <a:gd name="connsiteY113" fmla="*/ 638175 h 4333875"/>
                  <a:gd name="connsiteX114" fmla="*/ 447675 w 8601075"/>
                  <a:gd name="connsiteY114" fmla="*/ 638175 h 4333875"/>
                  <a:gd name="connsiteX115" fmla="*/ 447675 w 8601075"/>
                  <a:gd name="connsiteY115" fmla="*/ 638175 h 4333875"/>
                  <a:gd name="connsiteX116" fmla="*/ 295275 w 8601075"/>
                  <a:gd name="connsiteY116" fmla="*/ 657225 h 4333875"/>
                  <a:gd name="connsiteX117" fmla="*/ 180975 w 8601075"/>
                  <a:gd name="connsiteY117" fmla="*/ 638175 h 4333875"/>
                  <a:gd name="connsiteX118" fmla="*/ 180975 w 8601075"/>
                  <a:gd name="connsiteY118" fmla="*/ 638175 h 4333875"/>
                  <a:gd name="connsiteX119" fmla="*/ 57150 w 8601075"/>
                  <a:gd name="connsiteY119" fmla="*/ 733425 h 4333875"/>
                  <a:gd name="connsiteX120" fmla="*/ 19050 w 8601075"/>
                  <a:gd name="connsiteY120" fmla="*/ 790575 h 4333875"/>
                  <a:gd name="connsiteX121" fmla="*/ 0 w 8601075"/>
                  <a:gd name="connsiteY121" fmla="*/ 876300 h 4333875"/>
                  <a:gd name="connsiteX122" fmla="*/ 57150 w 8601075"/>
                  <a:gd name="connsiteY122" fmla="*/ 923925 h 4333875"/>
                  <a:gd name="connsiteX123" fmla="*/ 57150 w 8601075"/>
                  <a:gd name="connsiteY123" fmla="*/ 923925 h 4333875"/>
                  <a:gd name="connsiteX124" fmla="*/ 209550 w 8601075"/>
                  <a:gd name="connsiteY124" fmla="*/ 1114425 h 4333875"/>
                  <a:gd name="connsiteX125" fmla="*/ 209550 w 8601075"/>
                  <a:gd name="connsiteY125" fmla="*/ 1114425 h 4333875"/>
                  <a:gd name="connsiteX126" fmla="*/ 266700 w 8601075"/>
                  <a:gd name="connsiteY126" fmla="*/ 1295400 h 4333875"/>
                  <a:gd name="connsiteX127" fmla="*/ 409575 w 8601075"/>
                  <a:gd name="connsiteY127" fmla="*/ 1276350 h 4333875"/>
                  <a:gd name="connsiteX128" fmla="*/ 466725 w 8601075"/>
                  <a:gd name="connsiteY128" fmla="*/ 1362075 h 4333875"/>
                  <a:gd name="connsiteX129" fmla="*/ 542925 w 8601075"/>
                  <a:gd name="connsiteY129" fmla="*/ 1428750 h 4333875"/>
                  <a:gd name="connsiteX130" fmla="*/ 628650 w 8601075"/>
                  <a:gd name="connsiteY130" fmla="*/ 1571625 h 4333875"/>
                  <a:gd name="connsiteX131" fmla="*/ 628650 w 8601075"/>
                  <a:gd name="connsiteY131" fmla="*/ 1704975 h 4333875"/>
                  <a:gd name="connsiteX132" fmla="*/ 676275 w 8601075"/>
                  <a:gd name="connsiteY132" fmla="*/ 1771650 h 4333875"/>
                  <a:gd name="connsiteX133" fmla="*/ 657225 w 8601075"/>
                  <a:gd name="connsiteY133" fmla="*/ 2000250 h 4333875"/>
                  <a:gd name="connsiteX134" fmla="*/ 619125 w 8601075"/>
                  <a:gd name="connsiteY134" fmla="*/ 2095500 h 4333875"/>
                  <a:gd name="connsiteX135" fmla="*/ 542925 w 8601075"/>
                  <a:gd name="connsiteY135" fmla="*/ 2228850 h 4333875"/>
                  <a:gd name="connsiteX136" fmla="*/ 485775 w 8601075"/>
                  <a:gd name="connsiteY136" fmla="*/ 2362200 h 4333875"/>
                  <a:gd name="connsiteX137" fmla="*/ 552450 w 8601075"/>
                  <a:gd name="connsiteY137" fmla="*/ 2486025 h 4333875"/>
                  <a:gd name="connsiteX138" fmla="*/ 771525 w 8601075"/>
                  <a:gd name="connsiteY138" fmla="*/ 2571750 h 4333875"/>
                  <a:gd name="connsiteX139" fmla="*/ 866775 w 8601075"/>
                  <a:gd name="connsiteY139" fmla="*/ 2571750 h 4333875"/>
                  <a:gd name="connsiteX140" fmla="*/ 914400 w 8601075"/>
                  <a:gd name="connsiteY140" fmla="*/ 2638425 h 4333875"/>
                  <a:gd name="connsiteX141" fmla="*/ 1066800 w 8601075"/>
                  <a:gd name="connsiteY141" fmla="*/ 2638425 h 4333875"/>
                  <a:gd name="connsiteX142" fmla="*/ 1285875 w 8601075"/>
                  <a:gd name="connsiteY142" fmla="*/ 2705100 h 4333875"/>
                  <a:gd name="connsiteX143" fmla="*/ 1438275 w 8601075"/>
                  <a:gd name="connsiteY143" fmla="*/ 2838450 h 4333875"/>
                  <a:gd name="connsiteX144" fmla="*/ 1485900 w 8601075"/>
                  <a:gd name="connsiteY144" fmla="*/ 2914650 h 4333875"/>
                  <a:gd name="connsiteX145" fmla="*/ 1657350 w 8601075"/>
                  <a:gd name="connsiteY145" fmla="*/ 3038475 h 4333875"/>
                  <a:gd name="connsiteX146" fmla="*/ 1752600 w 8601075"/>
                  <a:gd name="connsiteY146" fmla="*/ 3057525 h 4333875"/>
                  <a:gd name="connsiteX147" fmla="*/ 1724025 w 8601075"/>
                  <a:gd name="connsiteY147" fmla="*/ 3143250 h 4333875"/>
                  <a:gd name="connsiteX148" fmla="*/ 1724025 w 8601075"/>
                  <a:gd name="connsiteY148" fmla="*/ 3143250 h 4333875"/>
                  <a:gd name="connsiteX149" fmla="*/ 1781175 w 8601075"/>
                  <a:gd name="connsiteY149" fmla="*/ 3181350 h 4333875"/>
                  <a:gd name="connsiteX150" fmla="*/ 1819275 w 8601075"/>
                  <a:gd name="connsiteY150" fmla="*/ 3362325 h 4333875"/>
                  <a:gd name="connsiteX151" fmla="*/ 1828800 w 8601075"/>
                  <a:gd name="connsiteY151" fmla="*/ 3457575 h 4333875"/>
                  <a:gd name="connsiteX152" fmla="*/ 1971675 w 8601075"/>
                  <a:gd name="connsiteY152" fmla="*/ 3590925 h 4333875"/>
                  <a:gd name="connsiteX153" fmla="*/ 1990725 w 8601075"/>
                  <a:gd name="connsiteY153" fmla="*/ 3714750 h 4333875"/>
                  <a:gd name="connsiteX154" fmla="*/ 2200275 w 8601075"/>
                  <a:gd name="connsiteY154" fmla="*/ 3695700 h 4333875"/>
                  <a:gd name="connsiteX155" fmla="*/ 2886075 w 8601075"/>
                  <a:gd name="connsiteY155" fmla="*/ 3886200 h 4333875"/>
                  <a:gd name="connsiteX156" fmla="*/ 3038475 w 8601075"/>
                  <a:gd name="connsiteY156" fmla="*/ 3819525 h 4333875"/>
                  <a:gd name="connsiteX157" fmla="*/ 3105150 w 8601075"/>
                  <a:gd name="connsiteY157" fmla="*/ 3867150 h 4333875"/>
                  <a:gd name="connsiteX158" fmla="*/ 3181350 w 8601075"/>
                  <a:gd name="connsiteY158" fmla="*/ 3800475 h 4333875"/>
                  <a:gd name="connsiteX159" fmla="*/ 3590925 w 8601075"/>
                  <a:gd name="connsiteY159" fmla="*/ 3943350 h 4333875"/>
                  <a:gd name="connsiteX160" fmla="*/ 3686175 w 8601075"/>
                  <a:gd name="connsiteY160" fmla="*/ 4057650 h 4333875"/>
                  <a:gd name="connsiteX161" fmla="*/ 3838575 w 8601075"/>
                  <a:gd name="connsiteY161" fmla="*/ 4057650 h 4333875"/>
                  <a:gd name="connsiteX162" fmla="*/ 4162425 w 8601075"/>
                  <a:gd name="connsiteY162" fmla="*/ 4248150 h 4333875"/>
                  <a:gd name="connsiteX163" fmla="*/ 4391025 w 8601075"/>
                  <a:gd name="connsiteY163" fmla="*/ 4200525 h 4333875"/>
                  <a:gd name="connsiteX164" fmla="*/ 4410075 w 8601075"/>
                  <a:gd name="connsiteY164" fmla="*/ 4305300 h 4333875"/>
                  <a:gd name="connsiteX165" fmla="*/ 4505325 w 8601075"/>
                  <a:gd name="connsiteY165" fmla="*/ 4276725 h 4333875"/>
                  <a:gd name="connsiteX166" fmla="*/ 4572000 w 8601075"/>
                  <a:gd name="connsiteY166" fmla="*/ 4333875 h 4333875"/>
                  <a:gd name="connsiteX167" fmla="*/ 4591050 w 8601075"/>
                  <a:gd name="connsiteY167" fmla="*/ 4248150 h 4333875"/>
                  <a:gd name="connsiteX168" fmla="*/ 5295900 w 8601075"/>
                  <a:gd name="connsiteY168" fmla="*/ 3924300 h 4333875"/>
                  <a:gd name="connsiteX169" fmla="*/ 5353050 w 8601075"/>
                  <a:gd name="connsiteY169" fmla="*/ 3990975 h 4333875"/>
                  <a:gd name="connsiteX170" fmla="*/ 5524500 w 8601075"/>
                  <a:gd name="connsiteY170" fmla="*/ 3914775 h 4333875"/>
                  <a:gd name="connsiteX171" fmla="*/ 5667375 w 8601075"/>
                  <a:gd name="connsiteY171" fmla="*/ 3962400 h 4333875"/>
                  <a:gd name="connsiteX172" fmla="*/ 5753100 w 8601075"/>
                  <a:gd name="connsiteY172" fmla="*/ 3924300 h 4333875"/>
                  <a:gd name="connsiteX173" fmla="*/ 5905500 w 8601075"/>
                  <a:gd name="connsiteY173" fmla="*/ 3943350 h 4333875"/>
                  <a:gd name="connsiteX174" fmla="*/ 6000750 w 8601075"/>
                  <a:gd name="connsiteY174" fmla="*/ 3800475 h 4333875"/>
                  <a:gd name="connsiteX175" fmla="*/ 6153150 w 8601075"/>
                  <a:gd name="connsiteY175" fmla="*/ 3781425 h 4333875"/>
                  <a:gd name="connsiteX176" fmla="*/ 6257925 w 8601075"/>
                  <a:gd name="connsiteY176" fmla="*/ 3581400 h 4333875"/>
                  <a:gd name="connsiteX177" fmla="*/ 6448425 w 8601075"/>
                  <a:gd name="connsiteY177" fmla="*/ 3448050 h 4333875"/>
                  <a:gd name="connsiteX178" fmla="*/ 6581775 w 8601075"/>
                  <a:gd name="connsiteY178" fmla="*/ 3276600 h 4333875"/>
                  <a:gd name="connsiteX179" fmla="*/ 6496050 w 8601075"/>
                  <a:gd name="connsiteY179" fmla="*/ 3228975 h 4333875"/>
                  <a:gd name="connsiteX180" fmla="*/ 6438900 w 8601075"/>
                  <a:gd name="connsiteY180" fmla="*/ 3162300 h 4333875"/>
                  <a:gd name="connsiteX181" fmla="*/ 6419850 w 8601075"/>
                  <a:gd name="connsiteY181" fmla="*/ 3105150 h 4333875"/>
                  <a:gd name="connsiteX182" fmla="*/ 6362700 w 8601075"/>
                  <a:gd name="connsiteY182" fmla="*/ 3076575 h 4333875"/>
                  <a:gd name="connsiteX183" fmla="*/ 6410325 w 8601075"/>
                  <a:gd name="connsiteY183" fmla="*/ 3019425 h 4333875"/>
                  <a:gd name="connsiteX184" fmla="*/ 6438900 w 8601075"/>
                  <a:gd name="connsiteY184" fmla="*/ 2819400 h 4333875"/>
                  <a:gd name="connsiteX185" fmla="*/ 6496050 w 8601075"/>
                  <a:gd name="connsiteY185" fmla="*/ 2762250 h 4333875"/>
                  <a:gd name="connsiteX186" fmla="*/ 6657975 w 8601075"/>
                  <a:gd name="connsiteY186" fmla="*/ 2752725 h 4333875"/>
                  <a:gd name="connsiteX187" fmla="*/ 6781800 w 8601075"/>
                  <a:gd name="connsiteY187" fmla="*/ 2838450 h 4333875"/>
                  <a:gd name="connsiteX188" fmla="*/ 7010400 w 8601075"/>
                  <a:gd name="connsiteY188" fmla="*/ 2838450 h 4333875"/>
                  <a:gd name="connsiteX189" fmla="*/ 7162800 w 8601075"/>
                  <a:gd name="connsiteY189" fmla="*/ 2705100 h 4333875"/>
                  <a:gd name="connsiteX190" fmla="*/ 7229475 w 8601075"/>
                  <a:gd name="connsiteY190" fmla="*/ 2590800 h 4333875"/>
                  <a:gd name="connsiteX191" fmla="*/ 7248525 w 8601075"/>
                  <a:gd name="connsiteY191" fmla="*/ 2524125 h 4333875"/>
                  <a:gd name="connsiteX192" fmla="*/ 7372350 w 8601075"/>
                  <a:gd name="connsiteY192" fmla="*/ 2543175 h 4333875"/>
                  <a:gd name="connsiteX193" fmla="*/ 7553325 w 8601075"/>
                  <a:gd name="connsiteY193" fmla="*/ 2447925 h 4333875"/>
                  <a:gd name="connsiteX194" fmla="*/ 7620000 w 8601075"/>
                  <a:gd name="connsiteY194" fmla="*/ 2324100 h 4333875"/>
                  <a:gd name="connsiteX195" fmla="*/ 7696200 w 8601075"/>
                  <a:gd name="connsiteY195" fmla="*/ 2314575 h 4333875"/>
                  <a:gd name="connsiteX196" fmla="*/ 7658100 w 8601075"/>
                  <a:gd name="connsiteY196" fmla="*/ 2257425 h 4333875"/>
                  <a:gd name="connsiteX197" fmla="*/ 7753350 w 8601075"/>
                  <a:gd name="connsiteY197" fmla="*/ 2057400 h 4333875"/>
                  <a:gd name="connsiteX198" fmla="*/ 7934325 w 8601075"/>
                  <a:gd name="connsiteY198" fmla="*/ 2028825 h 4333875"/>
                  <a:gd name="connsiteX199" fmla="*/ 7953375 w 8601075"/>
                  <a:gd name="connsiteY199" fmla="*/ 1952625 h 4333875"/>
                  <a:gd name="connsiteX200" fmla="*/ 7953375 w 8601075"/>
                  <a:gd name="connsiteY200" fmla="*/ 1952625 h 4333875"/>
                  <a:gd name="connsiteX201" fmla="*/ 8010525 w 8601075"/>
                  <a:gd name="connsiteY201" fmla="*/ 1895475 h 4333875"/>
                  <a:gd name="connsiteX202" fmla="*/ 8048625 w 8601075"/>
                  <a:gd name="connsiteY202" fmla="*/ 1971675 h 4333875"/>
                  <a:gd name="connsiteX203" fmla="*/ 8077200 w 8601075"/>
                  <a:gd name="connsiteY203" fmla="*/ 1885950 h 4333875"/>
                  <a:gd name="connsiteX204" fmla="*/ 8220075 w 8601075"/>
                  <a:gd name="connsiteY204" fmla="*/ 1847850 h 4333875"/>
                  <a:gd name="connsiteX205" fmla="*/ 8296275 w 8601075"/>
                  <a:gd name="connsiteY205" fmla="*/ 1809750 h 4333875"/>
                  <a:gd name="connsiteX206" fmla="*/ 8324850 w 8601075"/>
                  <a:gd name="connsiteY206" fmla="*/ 1790700 h 4333875"/>
                  <a:gd name="connsiteX207" fmla="*/ 8410575 w 8601075"/>
                  <a:gd name="connsiteY207" fmla="*/ 1847850 h 4333875"/>
                  <a:gd name="connsiteX208" fmla="*/ 8505825 w 8601075"/>
                  <a:gd name="connsiteY208" fmla="*/ 1781175 h 4333875"/>
                  <a:gd name="connsiteX209" fmla="*/ 8572500 w 8601075"/>
                  <a:gd name="connsiteY209" fmla="*/ 1809750 h 4333875"/>
                  <a:gd name="connsiteX210" fmla="*/ 8601075 w 8601075"/>
                  <a:gd name="connsiteY210" fmla="*/ 1704975 h 4333875"/>
                  <a:gd name="connsiteX211" fmla="*/ 8553450 w 8601075"/>
                  <a:gd name="connsiteY211" fmla="*/ 1676400 h 4333875"/>
                  <a:gd name="connsiteX212" fmla="*/ 8534400 w 8601075"/>
                  <a:gd name="connsiteY212" fmla="*/ 1609725 h 4333875"/>
                  <a:gd name="connsiteX213" fmla="*/ 8277225 w 8601075"/>
                  <a:gd name="connsiteY213" fmla="*/ 1409700 h 4333875"/>
                  <a:gd name="connsiteX214" fmla="*/ 8277225 w 8601075"/>
                  <a:gd name="connsiteY214" fmla="*/ 1409700 h 4333875"/>
                  <a:gd name="connsiteX215" fmla="*/ 8277225 w 8601075"/>
                  <a:gd name="connsiteY215" fmla="*/ 1409700 h 4333875"/>
                  <a:gd name="connsiteX216" fmla="*/ 8124825 w 8601075"/>
                  <a:gd name="connsiteY216" fmla="*/ 1352550 h 4333875"/>
                  <a:gd name="connsiteX217" fmla="*/ 7924800 w 8601075"/>
                  <a:gd name="connsiteY217" fmla="*/ 1362075 h 4333875"/>
                  <a:gd name="connsiteX218" fmla="*/ 7867650 w 8601075"/>
                  <a:gd name="connsiteY218" fmla="*/ 1457325 h 4333875"/>
                  <a:gd name="connsiteX219" fmla="*/ 7896225 w 8601075"/>
                  <a:gd name="connsiteY219" fmla="*/ 1476375 h 4333875"/>
                  <a:gd name="connsiteX220" fmla="*/ 7858125 w 8601075"/>
                  <a:gd name="connsiteY220" fmla="*/ 1533525 h 4333875"/>
                  <a:gd name="connsiteX221" fmla="*/ 7658100 w 8601075"/>
                  <a:gd name="connsiteY221" fmla="*/ 1447800 h 4333875"/>
                  <a:gd name="connsiteX222" fmla="*/ 7515225 w 8601075"/>
                  <a:gd name="connsiteY222" fmla="*/ 1495425 h 4333875"/>
                  <a:gd name="connsiteX223" fmla="*/ 7467600 w 8601075"/>
                  <a:gd name="connsiteY223" fmla="*/ 1581150 h 4333875"/>
                  <a:gd name="connsiteX224" fmla="*/ 7296150 w 8601075"/>
                  <a:gd name="connsiteY22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28675 w 8601075"/>
                  <a:gd name="connsiteY110" fmla="*/ 447675 h 4333875"/>
                  <a:gd name="connsiteX111" fmla="*/ 619125 w 8601075"/>
                  <a:gd name="connsiteY111" fmla="*/ 533400 h 4333875"/>
                  <a:gd name="connsiteX112" fmla="*/ 619125 w 8601075"/>
                  <a:gd name="connsiteY112" fmla="*/ 533400 h 4333875"/>
                  <a:gd name="connsiteX113" fmla="*/ 561975 w 8601075"/>
                  <a:gd name="connsiteY113" fmla="*/ 619125 h 4333875"/>
                  <a:gd name="connsiteX114" fmla="*/ 447675 w 8601075"/>
                  <a:gd name="connsiteY114" fmla="*/ 63817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295275 w 8601075"/>
                  <a:gd name="connsiteY117" fmla="*/ 657225 h 4333875"/>
                  <a:gd name="connsiteX118" fmla="*/ 180975 w 8601075"/>
                  <a:gd name="connsiteY118" fmla="*/ 638175 h 4333875"/>
                  <a:gd name="connsiteX119" fmla="*/ 180975 w 8601075"/>
                  <a:gd name="connsiteY119" fmla="*/ 638175 h 4333875"/>
                  <a:gd name="connsiteX120" fmla="*/ 57150 w 8601075"/>
                  <a:gd name="connsiteY120" fmla="*/ 733425 h 4333875"/>
                  <a:gd name="connsiteX121" fmla="*/ 19050 w 8601075"/>
                  <a:gd name="connsiteY121" fmla="*/ 790575 h 4333875"/>
                  <a:gd name="connsiteX122" fmla="*/ 0 w 8601075"/>
                  <a:gd name="connsiteY122" fmla="*/ 876300 h 4333875"/>
                  <a:gd name="connsiteX123" fmla="*/ 57150 w 8601075"/>
                  <a:gd name="connsiteY123" fmla="*/ 923925 h 4333875"/>
                  <a:gd name="connsiteX124" fmla="*/ 57150 w 8601075"/>
                  <a:gd name="connsiteY124" fmla="*/ 923925 h 4333875"/>
                  <a:gd name="connsiteX125" fmla="*/ 209550 w 8601075"/>
                  <a:gd name="connsiteY125" fmla="*/ 1114425 h 4333875"/>
                  <a:gd name="connsiteX126" fmla="*/ 209550 w 8601075"/>
                  <a:gd name="connsiteY126" fmla="*/ 1114425 h 4333875"/>
                  <a:gd name="connsiteX127" fmla="*/ 266700 w 8601075"/>
                  <a:gd name="connsiteY127" fmla="*/ 1295400 h 4333875"/>
                  <a:gd name="connsiteX128" fmla="*/ 409575 w 8601075"/>
                  <a:gd name="connsiteY128" fmla="*/ 1276350 h 4333875"/>
                  <a:gd name="connsiteX129" fmla="*/ 466725 w 8601075"/>
                  <a:gd name="connsiteY129" fmla="*/ 1362075 h 4333875"/>
                  <a:gd name="connsiteX130" fmla="*/ 542925 w 8601075"/>
                  <a:gd name="connsiteY130" fmla="*/ 1428750 h 4333875"/>
                  <a:gd name="connsiteX131" fmla="*/ 628650 w 8601075"/>
                  <a:gd name="connsiteY131" fmla="*/ 1571625 h 4333875"/>
                  <a:gd name="connsiteX132" fmla="*/ 628650 w 8601075"/>
                  <a:gd name="connsiteY132" fmla="*/ 1704975 h 4333875"/>
                  <a:gd name="connsiteX133" fmla="*/ 676275 w 8601075"/>
                  <a:gd name="connsiteY133" fmla="*/ 1771650 h 4333875"/>
                  <a:gd name="connsiteX134" fmla="*/ 657225 w 8601075"/>
                  <a:gd name="connsiteY134" fmla="*/ 2000250 h 4333875"/>
                  <a:gd name="connsiteX135" fmla="*/ 619125 w 8601075"/>
                  <a:gd name="connsiteY135" fmla="*/ 2095500 h 4333875"/>
                  <a:gd name="connsiteX136" fmla="*/ 542925 w 8601075"/>
                  <a:gd name="connsiteY136" fmla="*/ 2228850 h 4333875"/>
                  <a:gd name="connsiteX137" fmla="*/ 485775 w 8601075"/>
                  <a:gd name="connsiteY137" fmla="*/ 2362200 h 4333875"/>
                  <a:gd name="connsiteX138" fmla="*/ 552450 w 8601075"/>
                  <a:gd name="connsiteY138" fmla="*/ 2486025 h 4333875"/>
                  <a:gd name="connsiteX139" fmla="*/ 771525 w 8601075"/>
                  <a:gd name="connsiteY139" fmla="*/ 2571750 h 4333875"/>
                  <a:gd name="connsiteX140" fmla="*/ 866775 w 8601075"/>
                  <a:gd name="connsiteY140" fmla="*/ 2571750 h 4333875"/>
                  <a:gd name="connsiteX141" fmla="*/ 914400 w 8601075"/>
                  <a:gd name="connsiteY141" fmla="*/ 2638425 h 4333875"/>
                  <a:gd name="connsiteX142" fmla="*/ 1066800 w 8601075"/>
                  <a:gd name="connsiteY142" fmla="*/ 2638425 h 4333875"/>
                  <a:gd name="connsiteX143" fmla="*/ 1285875 w 8601075"/>
                  <a:gd name="connsiteY143" fmla="*/ 2705100 h 4333875"/>
                  <a:gd name="connsiteX144" fmla="*/ 1438275 w 8601075"/>
                  <a:gd name="connsiteY144" fmla="*/ 2838450 h 4333875"/>
                  <a:gd name="connsiteX145" fmla="*/ 1485900 w 8601075"/>
                  <a:gd name="connsiteY145" fmla="*/ 2914650 h 4333875"/>
                  <a:gd name="connsiteX146" fmla="*/ 1657350 w 8601075"/>
                  <a:gd name="connsiteY146" fmla="*/ 3038475 h 4333875"/>
                  <a:gd name="connsiteX147" fmla="*/ 1752600 w 8601075"/>
                  <a:gd name="connsiteY147" fmla="*/ 3057525 h 4333875"/>
                  <a:gd name="connsiteX148" fmla="*/ 1724025 w 8601075"/>
                  <a:gd name="connsiteY148" fmla="*/ 3143250 h 4333875"/>
                  <a:gd name="connsiteX149" fmla="*/ 1724025 w 8601075"/>
                  <a:gd name="connsiteY149" fmla="*/ 3143250 h 4333875"/>
                  <a:gd name="connsiteX150" fmla="*/ 1781175 w 8601075"/>
                  <a:gd name="connsiteY150" fmla="*/ 3181350 h 4333875"/>
                  <a:gd name="connsiteX151" fmla="*/ 1819275 w 8601075"/>
                  <a:gd name="connsiteY151" fmla="*/ 3362325 h 4333875"/>
                  <a:gd name="connsiteX152" fmla="*/ 1828800 w 8601075"/>
                  <a:gd name="connsiteY152" fmla="*/ 3457575 h 4333875"/>
                  <a:gd name="connsiteX153" fmla="*/ 1971675 w 8601075"/>
                  <a:gd name="connsiteY153" fmla="*/ 3590925 h 4333875"/>
                  <a:gd name="connsiteX154" fmla="*/ 1990725 w 8601075"/>
                  <a:gd name="connsiteY154" fmla="*/ 3714750 h 4333875"/>
                  <a:gd name="connsiteX155" fmla="*/ 2200275 w 8601075"/>
                  <a:gd name="connsiteY155" fmla="*/ 3695700 h 4333875"/>
                  <a:gd name="connsiteX156" fmla="*/ 2886075 w 8601075"/>
                  <a:gd name="connsiteY156" fmla="*/ 3886200 h 4333875"/>
                  <a:gd name="connsiteX157" fmla="*/ 3038475 w 8601075"/>
                  <a:gd name="connsiteY157" fmla="*/ 3819525 h 4333875"/>
                  <a:gd name="connsiteX158" fmla="*/ 3105150 w 8601075"/>
                  <a:gd name="connsiteY158" fmla="*/ 3867150 h 4333875"/>
                  <a:gd name="connsiteX159" fmla="*/ 3181350 w 8601075"/>
                  <a:gd name="connsiteY159" fmla="*/ 3800475 h 4333875"/>
                  <a:gd name="connsiteX160" fmla="*/ 3590925 w 8601075"/>
                  <a:gd name="connsiteY160" fmla="*/ 3943350 h 4333875"/>
                  <a:gd name="connsiteX161" fmla="*/ 3686175 w 8601075"/>
                  <a:gd name="connsiteY161" fmla="*/ 4057650 h 4333875"/>
                  <a:gd name="connsiteX162" fmla="*/ 3838575 w 8601075"/>
                  <a:gd name="connsiteY162" fmla="*/ 4057650 h 4333875"/>
                  <a:gd name="connsiteX163" fmla="*/ 4162425 w 8601075"/>
                  <a:gd name="connsiteY163" fmla="*/ 4248150 h 4333875"/>
                  <a:gd name="connsiteX164" fmla="*/ 4391025 w 8601075"/>
                  <a:gd name="connsiteY164" fmla="*/ 4200525 h 4333875"/>
                  <a:gd name="connsiteX165" fmla="*/ 4410075 w 8601075"/>
                  <a:gd name="connsiteY165" fmla="*/ 4305300 h 4333875"/>
                  <a:gd name="connsiteX166" fmla="*/ 4505325 w 8601075"/>
                  <a:gd name="connsiteY166" fmla="*/ 4276725 h 4333875"/>
                  <a:gd name="connsiteX167" fmla="*/ 4572000 w 8601075"/>
                  <a:gd name="connsiteY167" fmla="*/ 4333875 h 4333875"/>
                  <a:gd name="connsiteX168" fmla="*/ 4591050 w 8601075"/>
                  <a:gd name="connsiteY168" fmla="*/ 4248150 h 4333875"/>
                  <a:gd name="connsiteX169" fmla="*/ 5295900 w 8601075"/>
                  <a:gd name="connsiteY169" fmla="*/ 3924300 h 4333875"/>
                  <a:gd name="connsiteX170" fmla="*/ 5353050 w 8601075"/>
                  <a:gd name="connsiteY170" fmla="*/ 3990975 h 4333875"/>
                  <a:gd name="connsiteX171" fmla="*/ 5524500 w 8601075"/>
                  <a:gd name="connsiteY171" fmla="*/ 3914775 h 4333875"/>
                  <a:gd name="connsiteX172" fmla="*/ 5667375 w 8601075"/>
                  <a:gd name="connsiteY172" fmla="*/ 3962400 h 4333875"/>
                  <a:gd name="connsiteX173" fmla="*/ 5753100 w 8601075"/>
                  <a:gd name="connsiteY173" fmla="*/ 3924300 h 4333875"/>
                  <a:gd name="connsiteX174" fmla="*/ 5905500 w 8601075"/>
                  <a:gd name="connsiteY174" fmla="*/ 3943350 h 4333875"/>
                  <a:gd name="connsiteX175" fmla="*/ 6000750 w 8601075"/>
                  <a:gd name="connsiteY175" fmla="*/ 3800475 h 4333875"/>
                  <a:gd name="connsiteX176" fmla="*/ 6153150 w 8601075"/>
                  <a:gd name="connsiteY176" fmla="*/ 3781425 h 4333875"/>
                  <a:gd name="connsiteX177" fmla="*/ 6257925 w 8601075"/>
                  <a:gd name="connsiteY177" fmla="*/ 3581400 h 4333875"/>
                  <a:gd name="connsiteX178" fmla="*/ 6448425 w 8601075"/>
                  <a:gd name="connsiteY178" fmla="*/ 3448050 h 4333875"/>
                  <a:gd name="connsiteX179" fmla="*/ 6581775 w 8601075"/>
                  <a:gd name="connsiteY179" fmla="*/ 3276600 h 4333875"/>
                  <a:gd name="connsiteX180" fmla="*/ 6496050 w 8601075"/>
                  <a:gd name="connsiteY180" fmla="*/ 3228975 h 4333875"/>
                  <a:gd name="connsiteX181" fmla="*/ 6438900 w 8601075"/>
                  <a:gd name="connsiteY181" fmla="*/ 3162300 h 4333875"/>
                  <a:gd name="connsiteX182" fmla="*/ 6419850 w 8601075"/>
                  <a:gd name="connsiteY182" fmla="*/ 3105150 h 4333875"/>
                  <a:gd name="connsiteX183" fmla="*/ 6362700 w 8601075"/>
                  <a:gd name="connsiteY183" fmla="*/ 3076575 h 4333875"/>
                  <a:gd name="connsiteX184" fmla="*/ 6410325 w 8601075"/>
                  <a:gd name="connsiteY184" fmla="*/ 3019425 h 4333875"/>
                  <a:gd name="connsiteX185" fmla="*/ 6438900 w 8601075"/>
                  <a:gd name="connsiteY185" fmla="*/ 2819400 h 4333875"/>
                  <a:gd name="connsiteX186" fmla="*/ 6496050 w 8601075"/>
                  <a:gd name="connsiteY186" fmla="*/ 2762250 h 4333875"/>
                  <a:gd name="connsiteX187" fmla="*/ 6657975 w 8601075"/>
                  <a:gd name="connsiteY187" fmla="*/ 2752725 h 4333875"/>
                  <a:gd name="connsiteX188" fmla="*/ 6781800 w 8601075"/>
                  <a:gd name="connsiteY188" fmla="*/ 2838450 h 4333875"/>
                  <a:gd name="connsiteX189" fmla="*/ 7010400 w 8601075"/>
                  <a:gd name="connsiteY189" fmla="*/ 2838450 h 4333875"/>
                  <a:gd name="connsiteX190" fmla="*/ 7162800 w 8601075"/>
                  <a:gd name="connsiteY190" fmla="*/ 2705100 h 4333875"/>
                  <a:gd name="connsiteX191" fmla="*/ 7229475 w 8601075"/>
                  <a:gd name="connsiteY191" fmla="*/ 2590800 h 4333875"/>
                  <a:gd name="connsiteX192" fmla="*/ 7248525 w 8601075"/>
                  <a:gd name="connsiteY192" fmla="*/ 2524125 h 4333875"/>
                  <a:gd name="connsiteX193" fmla="*/ 7372350 w 8601075"/>
                  <a:gd name="connsiteY193" fmla="*/ 2543175 h 4333875"/>
                  <a:gd name="connsiteX194" fmla="*/ 7553325 w 8601075"/>
                  <a:gd name="connsiteY194" fmla="*/ 2447925 h 4333875"/>
                  <a:gd name="connsiteX195" fmla="*/ 7620000 w 8601075"/>
                  <a:gd name="connsiteY195" fmla="*/ 2324100 h 4333875"/>
                  <a:gd name="connsiteX196" fmla="*/ 7696200 w 8601075"/>
                  <a:gd name="connsiteY196" fmla="*/ 2314575 h 4333875"/>
                  <a:gd name="connsiteX197" fmla="*/ 7658100 w 8601075"/>
                  <a:gd name="connsiteY197" fmla="*/ 2257425 h 4333875"/>
                  <a:gd name="connsiteX198" fmla="*/ 7753350 w 8601075"/>
                  <a:gd name="connsiteY198" fmla="*/ 2057400 h 4333875"/>
                  <a:gd name="connsiteX199" fmla="*/ 7934325 w 8601075"/>
                  <a:gd name="connsiteY199" fmla="*/ 2028825 h 4333875"/>
                  <a:gd name="connsiteX200" fmla="*/ 7953375 w 8601075"/>
                  <a:gd name="connsiteY200" fmla="*/ 1952625 h 4333875"/>
                  <a:gd name="connsiteX201" fmla="*/ 7953375 w 8601075"/>
                  <a:gd name="connsiteY201" fmla="*/ 1952625 h 4333875"/>
                  <a:gd name="connsiteX202" fmla="*/ 8010525 w 8601075"/>
                  <a:gd name="connsiteY202" fmla="*/ 1895475 h 4333875"/>
                  <a:gd name="connsiteX203" fmla="*/ 8048625 w 8601075"/>
                  <a:gd name="connsiteY203" fmla="*/ 1971675 h 4333875"/>
                  <a:gd name="connsiteX204" fmla="*/ 8077200 w 8601075"/>
                  <a:gd name="connsiteY204" fmla="*/ 1885950 h 4333875"/>
                  <a:gd name="connsiteX205" fmla="*/ 8220075 w 8601075"/>
                  <a:gd name="connsiteY205" fmla="*/ 1847850 h 4333875"/>
                  <a:gd name="connsiteX206" fmla="*/ 8296275 w 8601075"/>
                  <a:gd name="connsiteY206" fmla="*/ 1809750 h 4333875"/>
                  <a:gd name="connsiteX207" fmla="*/ 8324850 w 8601075"/>
                  <a:gd name="connsiteY207" fmla="*/ 1790700 h 4333875"/>
                  <a:gd name="connsiteX208" fmla="*/ 8410575 w 8601075"/>
                  <a:gd name="connsiteY208" fmla="*/ 1847850 h 4333875"/>
                  <a:gd name="connsiteX209" fmla="*/ 8505825 w 8601075"/>
                  <a:gd name="connsiteY209" fmla="*/ 1781175 h 4333875"/>
                  <a:gd name="connsiteX210" fmla="*/ 8572500 w 8601075"/>
                  <a:gd name="connsiteY210" fmla="*/ 1809750 h 4333875"/>
                  <a:gd name="connsiteX211" fmla="*/ 8601075 w 8601075"/>
                  <a:gd name="connsiteY211" fmla="*/ 1704975 h 4333875"/>
                  <a:gd name="connsiteX212" fmla="*/ 8553450 w 8601075"/>
                  <a:gd name="connsiteY212" fmla="*/ 1676400 h 4333875"/>
                  <a:gd name="connsiteX213" fmla="*/ 8534400 w 8601075"/>
                  <a:gd name="connsiteY213" fmla="*/ 1609725 h 4333875"/>
                  <a:gd name="connsiteX214" fmla="*/ 8277225 w 8601075"/>
                  <a:gd name="connsiteY214" fmla="*/ 1409700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124825 w 8601075"/>
                  <a:gd name="connsiteY217" fmla="*/ 1352550 h 4333875"/>
                  <a:gd name="connsiteX218" fmla="*/ 7924800 w 8601075"/>
                  <a:gd name="connsiteY218" fmla="*/ 1362075 h 4333875"/>
                  <a:gd name="connsiteX219" fmla="*/ 7867650 w 8601075"/>
                  <a:gd name="connsiteY219" fmla="*/ 1457325 h 4333875"/>
                  <a:gd name="connsiteX220" fmla="*/ 7896225 w 8601075"/>
                  <a:gd name="connsiteY220" fmla="*/ 1476375 h 4333875"/>
                  <a:gd name="connsiteX221" fmla="*/ 7858125 w 8601075"/>
                  <a:gd name="connsiteY221" fmla="*/ 1533525 h 4333875"/>
                  <a:gd name="connsiteX222" fmla="*/ 7658100 w 8601075"/>
                  <a:gd name="connsiteY222" fmla="*/ 1447800 h 4333875"/>
                  <a:gd name="connsiteX223" fmla="*/ 7515225 w 8601075"/>
                  <a:gd name="connsiteY223" fmla="*/ 1495425 h 4333875"/>
                  <a:gd name="connsiteX224" fmla="*/ 7467600 w 8601075"/>
                  <a:gd name="connsiteY224" fmla="*/ 1581150 h 4333875"/>
                  <a:gd name="connsiteX225" fmla="*/ 7296150 w 8601075"/>
                  <a:gd name="connsiteY22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1063 w 8601075"/>
                  <a:gd name="connsiteY110" fmla="*/ 457200 h 4333875"/>
                  <a:gd name="connsiteX111" fmla="*/ 828675 w 8601075"/>
                  <a:gd name="connsiteY111" fmla="*/ 447675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1063 w 8601075"/>
                  <a:gd name="connsiteY110" fmla="*/ 457200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76275 w 8601075"/>
                  <a:gd name="connsiteY113" fmla="*/ 51435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571500 w 8601075"/>
                  <a:gd name="connsiteY113" fmla="*/ 545306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73894 w 8601075"/>
                  <a:gd name="connsiteY112" fmla="*/ 523875 h 4333875"/>
                  <a:gd name="connsiteX113" fmla="*/ 571500 w 8601075"/>
                  <a:gd name="connsiteY113" fmla="*/ 545306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673894 w 8601075"/>
                  <a:gd name="connsiteY113" fmla="*/ 523875 h 4333875"/>
                  <a:gd name="connsiteX114" fmla="*/ 571500 w 8601075"/>
                  <a:gd name="connsiteY114" fmla="*/ 545306 h 4333875"/>
                  <a:gd name="connsiteX115" fmla="*/ 561975 w 8601075"/>
                  <a:gd name="connsiteY115" fmla="*/ 61912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295275 w 8601075"/>
                  <a:gd name="connsiteY119" fmla="*/ 657225 h 4333875"/>
                  <a:gd name="connsiteX120" fmla="*/ 180975 w 8601075"/>
                  <a:gd name="connsiteY120" fmla="*/ 638175 h 4333875"/>
                  <a:gd name="connsiteX121" fmla="*/ 180975 w 8601075"/>
                  <a:gd name="connsiteY121" fmla="*/ 638175 h 4333875"/>
                  <a:gd name="connsiteX122" fmla="*/ 57150 w 8601075"/>
                  <a:gd name="connsiteY122" fmla="*/ 733425 h 4333875"/>
                  <a:gd name="connsiteX123" fmla="*/ 19050 w 8601075"/>
                  <a:gd name="connsiteY123" fmla="*/ 790575 h 4333875"/>
                  <a:gd name="connsiteX124" fmla="*/ 0 w 8601075"/>
                  <a:gd name="connsiteY124" fmla="*/ 876300 h 4333875"/>
                  <a:gd name="connsiteX125" fmla="*/ 57150 w 8601075"/>
                  <a:gd name="connsiteY125" fmla="*/ 923925 h 4333875"/>
                  <a:gd name="connsiteX126" fmla="*/ 57150 w 8601075"/>
                  <a:gd name="connsiteY126" fmla="*/ 923925 h 4333875"/>
                  <a:gd name="connsiteX127" fmla="*/ 209550 w 8601075"/>
                  <a:gd name="connsiteY127" fmla="*/ 1114425 h 4333875"/>
                  <a:gd name="connsiteX128" fmla="*/ 209550 w 8601075"/>
                  <a:gd name="connsiteY128" fmla="*/ 1114425 h 4333875"/>
                  <a:gd name="connsiteX129" fmla="*/ 266700 w 8601075"/>
                  <a:gd name="connsiteY129" fmla="*/ 1295400 h 4333875"/>
                  <a:gd name="connsiteX130" fmla="*/ 409575 w 8601075"/>
                  <a:gd name="connsiteY130" fmla="*/ 1276350 h 4333875"/>
                  <a:gd name="connsiteX131" fmla="*/ 466725 w 8601075"/>
                  <a:gd name="connsiteY131" fmla="*/ 1362075 h 4333875"/>
                  <a:gd name="connsiteX132" fmla="*/ 542925 w 8601075"/>
                  <a:gd name="connsiteY132" fmla="*/ 1428750 h 4333875"/>
                  <a:gd name="connsiteX133" fmla="*/ 628650 w 8601075"/>
                  <a:gd name="connsiteY133" fmla="*/ 1571625 h 4333875"/>
                  <a:gd name="connsiteX134" fmla="*/ 628650 w 8601075"/>
                  <a:gd name="connsiteY134" fmla="*/ 1704975 h 4333875"/>
                  <a:gd name="connsiteX135" fmla="*/ 676275 w 8601075"/>
                  <a:gd name="connsiteY135" fmla="*/ 1771650 h 4333875"/>
                  <a:gd name="connsiteX136" fmla="*/ 657225 w 8601075"/>
                  <a:gd name="connsiteY136" fmla="*/ 2000250 h 4333875"/>
                  <a:gd name="connsiteX137" fmla="*/ 619125 w 8601075"/>
                  <a:gd name="connsiteY137" fmla="*/ 2095500 h 4333875"/>
                  <a:gd name="connsiteX138" fmla="*/ 542925 w 8601075"/>
                  <a:gd name="connsiteY138" fmla="*/ 2228850 h 4333875"/>
                  <a:gd name="connsiteX139" fmla="*/ 485775 w 8601075"/>
                  <a:gd name="connsiteY139" fmla="*/ 2362200 h 4333875"/>
                  <a:gd name="connsiteX140" fmla="*/ 552450 w 8601075"/>
                  <a:gd name="connsiteY140" fmla="*/ 2486025 h 4333875"/>
                  <a:gd name="connsiteX141" fmla="*/ 771525 w 8601075"/>
                  <a:gd name="connsiteY141" fmla="*/ 2571750 h 4333875"/>
                  <a:gd name="connsiteX142" fmla="*/ 866775 w 8601075"/>
                  <a:gd name="connsiteY142" fmla="*/ 2571750 h 4333875"/>
                  <a:gd name="connsiteX143" fmla="*/ 914400 w 8601075"/>
                  <a:gd name="connsiteY143" fmla="*/ 2638425 h 4333875"/>
                  <a:gd name="connsiteX144" fmla="*/ 1066800 w 8601075"/>
                  <a:gd name="connsiteY144" fmla="*/ 2638425 h 4333875"/>
                  <a:gd name="connsiteX145" fmla="*/ 1285875 w 8601075"/>
                  <a:gd name="connsiteY145" fmla="*/ 2705100 h 4333875"/>
                  <a:gd name="connsiteX146" fmla="*/ 1438275 w 8601075"/>
                  <a:gd name="connsiteY146" fmla="*/ 2838450 h 4333875"/>
                  <a:gd name="connsiteX147" fmla="*/ 1485900 w 8601075"/>
                  <a:gd name="connsiteY147" fmla="*/ 2914650 h 4333875"/>
                  <a:gd name="connsiteX148" fmla="*/ 1657350 w 8601075"/>
                  <a:gd name="connsiteY148" fmla="*/ 3038475 h 4333875"/>
                  <a:gd name="connsiteX149" fmla="*/ 1752600 w 8601075"/>
                  <a:gd name="connsiteY149" fmla="*/ 3057525 h 4333875"/>
                  <a:gd name="connsiteX150" fmla="*/ 1724025 w 8601075"/>
                  <a:gd name="connsiteY150" fmla="*/ 3143250 h 4333875"/>
                  <a:gd name="connsiteX151" fmla="*/ 1724025 w 8601075"/>
                  <a:gd name="connsiteY151" fmla="*/ 3143250 h 4333875"/>
                  <a:gd name="connsiteX152" fmla="*/ 1781175 w 8601075"/>
                  <a:gd name="connsiteY152" fmla="*/ 3181350 h 4333875"/>
                  <a:gd name="connsiteX153" fmla="*/ 1819275 w 8601075"/>
                  <a:gd name="connsiteY153" fmla="*/ 3362325 h 4333875"/>
                  <a:gd name="connsiteX154" fmla="*/ 1828800 w 8601075"/>
                  <a:gd name="connsiteY154" fmla="*/ 3457575 h 4333875"/>
                  <a:gd name="connsiteX155" fmla="*/ 1971675 w 8601075"/>
                  <a:gd name="connsiteY155" fmla="*/ 3590925 h 4333875"/>
                  <a:gd name="connsiteX156" fmla="*/ 1990725 w 8601075"/>
                  <a:gd name="connsiteY156" fmla="*/ 3714750 h 4333875"/>
                  <a:gd name="connsiteX157" fmla="*/ 2200275 w 8601075"/>
                  <a:gd name="connsiteY157" fmla="*/ 3695700 h 4333875"/>
                  <a:gd name="connsiteX158" fmla="*/ 2886075 w 8601075"/>
                  <a:gd name="connsiteY158" fmla="*/ 3886200 h 4333875"/>
                  <a:gd name="connsiteX159" fmla="*/ 3038475 w 8601075"/>
                  <a:gd name="connsiteY159" fmla="*/ 3819525 h 4333875"/>
                  <a:gd name="connsiteX160" fmla="*/ 3105150 w 8601075"/>
                  <a:gd name="connsiteY160" fmla="*/ 3867150 h 4333875"/>
                  <a:gd name="connsiteX161" fmla="*/ 3181350 w 8601075"/>
                  <a:gd name="connsiteY161" fmla="*/ 3800475 h 4333875"/>
                  <a:gd name="connsiteX162" fmla="*/ 3590925 w 8601075"/>
                  <a:gd name="connsiteY162" fmla="*/ 3943350 h 4333875"/>
                  <a:gd name="connsiteX163" fmla="*/ 3686175 w 8601075"/>
                  <a:gd name="connsiteY163" fmla="*/ 4057650 h 4333875"/>
                  <a:gd name="connsiteX164" fmla="*/ 3838575 w 8601075"/>
                  <a:gd name="connsiteY164" fmla="*/ 4057650 h 4333875"/>
                  <a:gd name="connsiteX165" fmla="*/ 4162425 w 8601075"/>
                  <a:gd name="connsiteY165" fmla="*/ 4248150 h 4333875"/>
                  <a:gd name="connsiteX166" fmla="*/ 4391025 w 8601075"/>
                  <a:gd name="connsiteY166" fmla="*/ 4200525 h 4333875"/>
                  <a:gd name="connsiteX167" fmla="*/ 4410075 w 8601075"/>
                  <a:gd name="connsiteY167" fmla="*/ 4305300 h 4333875"/>
                  <a:gd name="connsiteX168" fmla="*/ 4505325 w 8601075"/>
                  <a:gd name="connsiteY168" fmla="*/ 4276725 h 4333875"/>
                  <a:gd name="connsiteX169" fmla="*/ 4572000 w 8601075"/>
                  <a:gd name="connsiteY169" fmla="*/ 4333875 h 4333875"/>
                  <a:gd name="connsiteX170" fmla="*/ 4591050 w 8601075"/>
                  <a:gd name="connsiteY170" fmla="*/ 4248150 h 4333875"/>
                  <a:gd name="connsiteX171" fmla="*/ 5295900 w 8601075"/>
                  <a:gd name="connsiteY171" fmla="*/ 3924300 h 4333875"/>
                  <a:gd name="connsiteX172" fmla="*/ 5353050 w 8601075"/>
                  <a:gd name="connsiteY172" fmla="*/ 3990975 h 4333875"/>
                  <a:gd name="connsiteX173" fmla="*/ 5524500 w 8601075"/>
                  <a:gd name="connsiteY173" fmla="*/ 3914775 h 4333875"/>
                  <a:gd name="connsiteX174" fmla="*/ 5667375 w 8601075"/>
                  <a:gd name="connsiteY174" fmla="*/ 3962400 h 4333875"/>
                  <a:gd name="connsiteX175" fmla="*/ 5753100 w 8601075"/>
                  <a:gd name="connsiteY175" fmla="*/ 3924300 h 4333875"/>
                  <a:gd name="connsiteX176" fmla="*/ 5905500 w 8601075"/>
                  <a:gd name="connsiteY176" fmla="*/ 3943350 h 4333875"/>
                  <a:gd name="connsiteX177" fmla="*/ 6000750 w 8601075"/>
                  <a:gd name="connsiteY177" fmla="*/ 3800475 h 4333875"/>
                  <a:gd name="connsiteX178" fmla="*/ 6153150 w 8601075"/>
                  <a:gd name="connsiteY178" fmla="*/ 3781425 h 4333875"/>
                  <a:gd name="connsiteX179" fmla="*/ 6257925 w 8601075"/>
                  <a:gd name="connsiteY179" fmla="*/ 3581400 h 4333875"/>
                  <a:gd name="connsiteX180" fmla="*/ 6448425 w 8601075"/>
                  <a:gd name="connsiteY180" fmla="*/ 3448050 h 4333875"/>
                  <a:gd name="connsiteX181" fmla="*/ 6581775 w 8601075"/>
                  <a:gd name="connsiteY181" fmla="*/ 3276600 h 4333875"/>
                  <a:gd name="connsiteX182" fmla="*/ 6496050 w 8601075"/>
                  <a:gd name="connsiteY182" fmla="*/ 3228975 h 4333875"/>
                  <a:gd name="connsiteX183" fmla="*/ 6438900 w 8601075"/>
                  <a:gd name="connsiteY183" fmla="*/ 3162300 h 4333875"/>
                  <a:gd name="connsiteX184" fmla="*/ 6419850 w 8601075"/>
                  <a:gd name="connsiteY184" fmla="*/ 3105150 h 4333875"/>
                  <a:gd name="connsiteX185" fmla="*/ 6362700 w 8601075"/>
                  <a:gd name="connsiteY185" fmla="*/ 3076575 h 4333875"/>
                  <a:gd name="connsiteX186" fmla="*/ 6410325 w 8601075"/>
                  <a:gd name="connsiteY186" fmla="*/ 3019425 h 4333875"/>
                  <a:gd name="connsiteX187" fmla="*/ 6438900 w 8601075"/>
                  <a:gd name="connsiteY187" fmla="*/ 2819400 h 4333875"/>
                  <a:gd name="connsiteX188" fmla="*/ 6496050 w 8601075"/>
                  <a:gd name="connsiteY188" fmla="*/ 2762250 h 4333875"/>
                  <a:gd name="connsiteX189" fmla="*/ 6657975 w 8601075"/>
                  <a:gd name="connsiteY189" fmla="*/ 2752725 h 4333875"/>
                  <a:gd name="connsiteX190" fmla="*/ 6781800 w 8601075"/>
                  <a:gd name="connsiteY190" fmla="*/ 2838450 h 4333875"/>
                  <a:gd name="connsiteX191" fmla="*/ 7010400 w 8601075"/>
                  <a:gd name="connsiteY191" fmla="*/ 2838450 h 4333875"/>
                  <a:gd name="connsiteX192" fmla="*/ 7162800 w 8601075"/>
                  <a:gd name="connsiteY192" fmla="*/ 2705100 h 4333875"/>
                  <a:gd name="connsiteX193" fmla="*/ 7229475 w 8601075"/>
                  <a:gd name="connsiteY193" fmla="*/ 2590800 h 4333875"/>
                  <a:gd name="connsiteX194" fmla="*/ 7248525 w 8601075"/>
                  <a:gd name="connsiteY194" fmla="*/ 2524125 h 4333875"/>
                  <a:gd name="connsiteX195" fmla="*/ 7372350 w 8601075"/>
                  <a:gd name="connsiteY195" fmla="*/ 2543175 h 4333875"/>
                  <a:gd name="connsiteX196" fmla="*/ 7553325 w 8601075"/>
                  <a:gd name="connsiteY196" fmla="*/ 2447925 h 4333875"/>
                  <a:gd name="connsiteX197" fmla="*/ 7620000 w 8601075"/>
                  <a:gd name="connsiteY197" fmla="*/ 2324100 h 4333875"/>
                  <a:gd name="connsiteX198" fmla="*/ 7696200 w 8601075"/>
                  <a:gd name="connsiteY198" fmla="*/ 2314575 h 4333875"/>
                  <a:gd name="connsiteX199" fmla="*/ 7658100 w 8601075"/>
                  <a:gd name="connsiteY199" fmla="*/ 2257425 h 4333875"/>
                  <a:gd name="connsiteX200" fmla="*/ 7753350 w 8601075"/>
                  <a:gd name="connsiteY200" fmla="*/ 2057400 h 4333875"/>
                  <a:gd name="connsiteX201" fmla="*/ 7934325 w 8601075"/>
                  <a:gd name="connsiteY201" fmla="*/ 2028825 h 4333875"/>
                  <a:gd name="connsiteX202" fmla="*/ 7953375 w 8601075"/>
                  <a:gd name="connsiteY202" fmla="*/ 1952625 h 4333875"/>
                  <a:gd name="connsiteX203" fmla="*/ 7953375 w 8601075"/>
                  <a:gd name="connsiteY203" fmla="*/ 1952625 h 4333875"/>
                  <a:gd name="connsiteX204" fmla="*/ 8010525 w 8601075"/>
                  <a:gd name="connsiteY204" fmla="*/ 1895475 h 4333875"/>
                  <a:gd name="connsiteX205" fmla="*/ 8048625 w 8601075"/>
                  <a:gd name="connsiteY205" fmla="*/ 1971675 h 4333875"/>
                  <a:gd name="connsiteX206" fmla="*/ 8077200 w 8601075"/>
                  <a:gd name="connsiteY206" fmla="*/ 1885950 h 4333875"/>
                  <a:gd name="connsiteX207" fmla="*/ 8220075 w 8601075"/>
                  <a:gd name="connsiteY207" fmla="*/ 1847850 h 4333875"/>
                  <a:gd name="connsiteX208" fmla="*/ 8296275 w 8601075"/>
                  <a:gd name="connsiteY208" fmla="*/ 1809750 h 4333875"/>
                  <a:gd name="connsiteX209" fmla="*/ 8324850 w 8601075"/>
                  <a:gd name="connsiteY209" fmla="*/ 1790700 h 4333875"/>
                  <a:gd name="connsiteX210" fmla="*/ 8410575 w 8601075"/>
                  <a:gd name="connsiteY210" fmla="*/ 1847850 h 4333875"/>
                  <a:gd name="connsiteX211" fmla="*/ 8505825 w 8601075"/>
                  <a:gd name="connsiteY211" fmla="*/ 1781175 h 4333875"/>
                  <a:gd name="connsiteX212" fmla="*/ 8572500 w 8601075"/>
                  <a:gd name="connsiteY212" fmla="*/ 1809750 h 4333875"/>
                  <a:gd name="connsiteX213" fmla="*/ 8601075 w 8601075"/>
                  <a:gd name="connsiteY213" fmla="*/ 1704975 h 4333875"/>
                  <a:gd name="connsiteX214" fmla="*/ 8553450 w 8601075"/>
                  <a:gd name="connsiteY214" fmla="*/ 1676400 h 4333875"/>
                  <a:gd name="connsiteX215" fmla="*/ 8534400 w 8601075"/>
                  <a:gd name="connsiteY215" fmla="*/ 1609725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124825 w 8601075"/>
                  <a:gd name="connsiteY219" fmla="*/ 1352550 h 4333875"/>
                  <a:gd name="connsiteX220" fmla="*/ 7924800 w 8601075"/>
                  <a:gd name="connsiteY220" fmla="*/ 1362075 h 4333875"/>
                  <a:gd name="connsiteX221" fmla="*/ 7867650 w 8601075"/>
                  <a:gd name="connsiteY221" fmla="*/ 1457325 h 4333875"/>
                  <a:gd name="connsiteX222" fmla="*/ 7896225 w 8601075"/>
                  <a:gd name="connsiteY222" fmla="*/ 1476375 h 4333875"/>
                  <a:gd name="connsiteX223" fmla="*/ 7858125 w 8601075"/>
                  <a:gd name="connsiteY223" fmla="*/ 1533525 h 4333875"/>
                  <a:gd name="connsiteX224" fmla="*/ 7658100 w 8601075"/>
                  <a:gd name="connsiteY224" fmla="*/ 1447800 h 4333875"/>
                  <a:gd name="connsiteX225" fmla="*/ 7515225 w 8601075"/>
                  <a:gd name="connsiteY225" fmla="*/ 1495425 h 4333875"/>
                  <a:gd name="connsiteX226" fmla="*/ 7467600 w 8601075"/>
                  <a:gd name="connsiteY226" fmla="*/ 1581150 h 4333875"/>
                  <a:gd name="connsiteX227" fmla="*/ 7296150 w 8601075"/>
                  <a:gd name="connsiteY22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1500 w 8601075"/>
                  <a:gd name="connsiteY115" fmla="*/ 545306 h 4333875"/>
                  <a:gd name="connsiteX116" fmla="*/ 561975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1975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83406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83406 w 8601075"/>
                  <a:gd name="connsiteY117" fmla="*/ 61912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7675 w 8601075"/>
                  <a:gd name="connsiteY120" fmla="*/ 638175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7675 w 8601075"/>
                  <a:gd name="connsiteY120" fmla="*/ 638175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76250 w 8601075"/>
                  <a:gd name="connsiteY119" fmla="*/ 664368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76250 w 8601075"/>
                  <a:gd name="connsiteY119" fmla="*/ 664368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295275 w 8601075"/>
                  <a:gd name="connsiteY122" fmla="*/ 657225 h 4333875"/>
                  <a:gd name="connsiteX123" fmla="*/ 180975 w 8601075"/>
                  <a:gd name="connsiteY123" fmla="*/ 638175 h 4333875"/>
                  <a:gd name="connsiteX124" fmla="*/ 180975 w 8601075"/>
                  <a:gd name="connsiteY124" fmla="*/ 638175 h 4333875"/>
                  <a:gd name="connsiteX125" fmla="*/ 57150 w 8601075"/>
                  <a:gd name="connsiteY125" fmla="*/ 733425 h 4333875"/>
                  <a:gd name="connsiteX126" fmla="*/ 19050 w 8601075"/>
                  <a:gd name="connsiteY126" fmla="*/ 790575 h 4333875"/>
                  <a:gd name="connsiteX127" fmla="*/ 0 w 8601075"/>
                  <a:gd name="connsiteY127" fmla="*/ 876300 h 4333875"/>
                  <a:gd name="connsiteX128" fmla="*/ 57150 w 8601075"/>
                  <a:gd name="connsiteY128" fmla="*/ 923925 h 4333875"/>
                  <a:gd name="connsiteX129" fmla="*/ 57150 w 8601075"/>
                  <a:gd name="connsiteY129" fmla="*/ 923925 h 4333875"/>
                  <a:gd name="connsiteX130" fmla="*/ 209550 w 8601075"/>
                  <a:gd name="connsiteY130" fmla="*/ 1114425 h 4333875"/>
                  <a:gd name="connsiteX131" fmla="*/ 209550 w 8601075"/>
                  <a:gd name="connsiteY131" fmla="*/ 1114425 h 4333875"/>
                  <a:gd name="connsiteX132" fmla="*/ 266700 w 8601075"/>
                  <a:gd name="connsiteY132" fmla="*/ 1295400 h 4333875"/>
                  <a:gd name="connsiteX133" fmla="*/ 409575 w 8601075"/>
                  <a:gd name="connsiteY133" fmla="*/ 1276350 h 4333875"/>
                  <a:gd name="connsiteX134" fmla="*/ 466725 w 8601075"/>
                  <a:gd name="connsiteY134" fmla="*/ 1362075 h 4333875"/>
                  <a:gd name="connsiteX135" fmla="*/ 542925 w 8601075"/>
                  <a:gd name="connsiteY135" fmla="*/ 1428750 h 4333875"/>
                  <a:gd name="connsiteX136" fmla="*/ 628650 w 8601075"/>
                  <a:gd name="connsiteY136" fmla="*/ 1571625 h 4333875"/>
                  <a:gd name="connsiteX137" fmla="*/ 628650 w 8601075"/>
                  <a:gd name="connsiteY137" fmla="*/ 1704975 h 4333875"/>
                  <a:gd name="connsiteX138" fmla="*/ 676275 w 8601075"/>
                  <a:gd name="connsiteY138" fmla="*/ 1771650 h 4333875"/>
                  <a:gd name="connsiteX139" fmla="*/ 657225 w 8601075"/>
                  <a:gd name="connsiteY139" fmla="*/ 2000250 h 4333875"/>
                  <a:gd name="connsiteX140" fmla="*/ 619125 w 8601075"/>
                  <a:gd name="connsiteY140" fmla="*/ 2095500 h 4333875"/>
                  <a:gd name="connsiteX141" fmla="*/ 542925 w 8601075"/>
                  <a:gd name="connsiteY141" fmla="*/ 2228850 h 4333875"/>
                  <a:gd name="connsiteX142" fmla="*/ 485775 w 8601075"/>
                  <a:gd name="connsiteY142" fmla="*/ 2362200 h 4333875"/>
                  <a:gd name="connsiteX143" fmla="*/ 552450 w 8601075"/>
                  <a:gd name="connsiteY143" fmla="*/ 2486025 h 4333875"/>
                  <a:gd name="connsiteX144" fmla="*/ 771525 w 8601075"/>
                  <a:gd name="connsiteY144" fmla="*/ 2571750 h 4333875"/>
                  <a:gd name="connsiteX145" fmla="*/ 866775 w 8601075"/>
                  <a:gd name="connsiteY145" fmla="*/ 2571750 h 4333875"/>
                  <a:gd name="connsiteX146" fmla="*/ 914400 w 8601075"/>
                  <a:gd name="connsiteY146" fmla="*/ 2638425 h 4333875"/>
                  <a:gd name="connsiteX147" fmla="*/ 1066800 w 8601075"/>
                  <a:gd name="connsiteY147" fmla="*/ 2638425 h 4333875"/>
                  <a:gd name="connsiteX148" fmla="*/ 1285875 w 8601075"/>
                  <a:gd name="connsiteY148" fmla="*/ 2705100 h 4333875"/>
                  <a:gd name="connsiteX149" fmla="*/ 1438275 w 8601075"/>
                  <a:gd name="connsiteY149" fmla="*/ 2838450 h 4333875"/>
                  <a:gd name="connsiteX150" fmla="*/ 1485900 w 8601075"/>
                  <a:gd name="connsiteY150" fmla="*/ 2914650 h 4333875"/>
                  <a:gd name="connsiteX151" fmla="*/ 1657350 w 8601075"/>
                  <a:gd name="connsiteY151" fmla="*/ 3038475 h 4333875"/>
                  <a:gd name="connsiteX152" fmla="*/ 1752600 w 8601075"/>
                  <a:gd name="connsiteY152" fmla="*/ 3057525 h 4333875"/>
                  <a:gd name="connsiteX153" fmla="*/ 1724025 w 8601075"/>
                  <a:gd name="connsiteY153" fmla="*/ 3143250 h 4333875"/>
                  <a:gd name="connsiteX154" fmla="*/ 1724025 w 8601075"/>
                  <a:gd name="connsiteY154" fmla="*/ 3143250 h 4333875"/>
                  <a:gd name="connsiteX155" fmla="*/ 1781175 w 8601075"/>
                  <a:gd name="connsiteY155" fmla="*/ 3181350 h 4333875"/>
                  <a:gd name="connsiteX156" fmla="*/ 1819275 w 8601075"/>
                  <a:gd name="connsiteY156" fmla="*/ 3362325 h 4333875"/>
                  <a:gd name="connsiteX157" fmla="*/ 1828800 w 8601075"/>
                  <a:gd name="connsiteY157" fmla="*/ 3457575 h 4333875"/>
                  <a:gd name="connsiteX158" fmla="*/ 1971675 w 8601075"/>
                  <a:gd name="connsiteY158" fmla="*/ 3590925 h 4333875"/>
                  <a:gd name="connsiteX159" fmla="*/ 1990725 w 8601075"/>
                  <a:gd name="connsiteY159" fmla="*/ 3714750 h 4333875"/>
                  <a:gd name="connsiteX160" fmla="*/ 2200275 w 8601075"/>
                  <a:gd name="connsiteY160" fmla="*/ 3695700 h 4333875"/>
                  <a:gd name="connsiteX161" fmla="*/ 2886075 w 8601075"/>
                  <a:gd name="connsiteY161" fmla="*/ 3886200 h 4333875"/>
                  <a:gd name="connsiteX162" fmla="*/ 3038475 w 8601075"/>
                  <a:gd name="connsiteY162" fmla="*/ 3819525 h 4333875"/>
                  <a:gd name="connsiteX163" fmla="*/ 3105150 w 8601075"/>
                  <a:gd name="connsiteY163" fmla="*/ 3867150 h 4333875"/>
                  <a:gd name="connsiteX164" fmla="*/ 3181350 w 8601075"/>
                  <a:gd name="connsiteY164" fmla="*/ 3800475 h 4333875"/>
                  <a:gd name="connsiteX165" fmla="*/ 3590925 w 8601075"/>
                  <a:gd name="connsiteY165" fmla="*/ 3943350 h 4333875"/>
                  <a:gd name="connsiteX166" fmla="*/ 3686175 w 8601075"/>
                  <a:gd name="connsiteY166" fmla="*/ 4057650 h 4333875"/>
                  <a:gd name="connsiteX167" fmla="*/ 3838575 w 8601075"/>
                  <a:gd name="connsiteY167" fmla="*/ 4057650 h 4333875"/>
                  <a:gd name="connsiteX168" fmla="*/ 4162425 w 8601075"/>
                  <a:gd name="connsiteY168" fmla="*/ 4248150 h 4333875"/>
                  <a:gd name="connsiteX169" fmla="*/ 4391025 w 8601075"/>
                  <a:gd name="connsiteY169" fmla="*/ 4200525 h 4333875"/>
                  <a:gd name="connsiteX170" fmla="*/ 4410075 w 8601075"/>
                  <a:gd name="connsiteY170" fmla="*/ 4305300 h 4333875"/>
                  <a:gd name="connsiteX171" fmla="*/ 4505325 w 8601075"/>
                  <a:gd name="connsiteY171" fmla="*/ 4276725 h 4333875"/>
                  <a:gd name="connsiteX172" fmla="*/ 4572000 w 8601075"/>
                  <a:gd name="connsiteY172" fmla="*/ 4333875 h 4333875"/>
                  <a:gd name="connsiteX173" fmla="*/ 4591050 w 8601075"/>
                  <a:gd name="connsiteY173" fmla="*/ 4248150 h 4333875"/>
                  <a:gd name="connsiteX174" fmla="*/ 5295900 w 8601075"/>
                  <a:gd name="connsiteY174" fmla="*/ 3924300 h 4333875"/>
                  <a:gd name="connsiteX175" fmla="*/ 5353050 w 8601075"/>
                  <a:gd name="connsiteY175" fmla="*/ 3990975 h 4333875"/>
                  <a:gd name="connsiteX176" fmla="*/ 5524500 w 8601075"/>
                  <a:gd name="connsiteY176" fmla="*/ 3914775 h 4333875"/>
                  <a:gd name="connsiteX177" fmla="*/ 5667375 w 8601075"/>
                  <a:gd name="connsiteY177" fmla="*/ 3962400 h 4333875"/>
                  <a:gd name="connsiteX178" fmla="*/ 5753100 w 8601075"/>
                  <a:gd name="connsiteY178" fmla="*/ 3924300 h 4333875"/>
                  <a:gd name="connsiteX179" fmla="*/ 5905500 w 8601075"/>
                  <a:gd name="connsiteY179" fmla="*/ 3943350 h 4333875"/>
                  <a:gd name="connsiteX180" fmla="*/ 6000750 w 8601075"/>
                  <a:gd name="connsiteY180" fmla="*/ 3800475 h 4333875"/>
                  <a:gd name="connsiteX181" fmla="*/ 6153150 w 8601075"/>
                  <a:gd name="connsiteY181" fmla="*/ 3781425 h 4333875"/>
                  <a:gd name="connsiteX182" fmla="*/ 6257925 w 8601075"/>
                  <a:gd name="connsiteY182" fmla="*/ 3581400 h 4333875"/>
                  <a:gd name="connsiteX183" fmla="*/ 6448425 w 8601075"/>
                  <a:gd name="connsiteY183" fmla="*/ 3448050 h 4333875"/>
                  <a:gd name="connsiteX184" fmla="*/ 6581775 w 8601075"/>
                  <a:gd name="connsiteY184" fmla="*/ 3276600 h 4333875"/>
                  <a:gd name="connsiteX185" fmla="*/ 6496050 w 8601075"/>
                  <a:gd name="connsiteY185" fmla="*/ 3228975 h 4333875"/>
                  <a:gd name="connsiteX186" fmla="*/ 6438900 w 8601075"/>
                  <a:gd name="connsiteY186" fmla="*/ 3162300 h 4333875"/>
                  <a:gd name="connsiteX187" fmla="*/ 6419850 w 8601075"/>
                  <a:gd name="connsiteY187" fmla="*/ 3105150 h 4333875"/>
                  <a:gd name="connsiteX188" fmla="*/ 6362700 w 8601075"/>
                  <a:gd name="connsiteY188" fmla="*/ 3076575 h 4333875"/>
                  <a:gd name="connsiteX189" fmla="*/ 6410325 w 8601075"/>
                  <a:gd name="connsiteY189" fmla="*/ 3019425 h 4333875"/>
                  <a:gd name="connsiteX190" fmla="*/ 6438900 w 8601075"/>
                  <a:gd name="connsiteY190" fmla="*/ 2819400 h 4333875"/>
                  <a:gd name="connsiteX191" fmla="*/ 6496050 w 8601075"/>
                  <a:gd name="connsiteY191" fmla="*/ 2762250 h 4333875"/>
                  <a:gd name="connsiteX192" fmla="*/ 6657975 w 8601075"/>
                  <a:gd name="connsiteY192" fmla="*/ 2752725 h 4333875"/>
                  <a:gd name="connsiteX193" fmla="*/ 6781800 w 8601075"/>
                  <a:gd name="connsiteY193" fmla="*/ 2838450 h 4333875"/>
                  <a:gd name="connsiteX194" fmla="*/ 7010400 w 8601075"/>
                  <a:gd name="connsiteY194" fmla="*/ 2838450 h 4333875"/>
                  <a:gd name="connsiteX195" fmla="*/ 7162800 w 8601075"/>
                  <a:gd name="connsiteY195" fmla="*/ 2705100 h 4333875"/>
                  <a:gd name="connsiteX196" fmla="*/ 7229475 w 8601075"/>
                  <a:gd name="connsiteY196" fmla="*/ 2590800 h 4333875"/>
                  <a:gd name="connsiteX197" fmla="*/ 7248525 w 8601075"/>
                  <a:gd name="connsiteY197" fmla="*/ 2524125 h 4333875"/>
                  <a:gd name="connsiteX198" fmla="*/ 7372350 w 8601075"/>
                  <a:gd name="connsiteY198" fmla="*/ 2543175 h 4333875"/>
                  <a:gd name="connsiteX199" fmla="*/ 7553325 w 8601075"/>
                  <a:gd name="connsiteY199" fmla="*/ 2447925 h 4333875"/>
                  <a:gd name="connsiteX200" fmla="*/ 7620000 w 8601075"/>
                  <a:gd name="connsiteY200" fmla="*/ 2324100 h 4333875"/>
                  <a:gd name="connsiteX201" fmla="*/ 7696200 w 8601075"/>
                  <a:gd name="connsiteY201" fmla="*/ 2314575 h 4333875"/>
                  <a:gd name="connsiteX202" fmla="*/ 7658100 w 8601075"/>
                  <a:gd name="connsiteY202" fmla="*/ 2257425 h 4333875"/>
                  <a:gd name="connsiteX203" fmla="*/ 7753350 w 8601075"/>
                  <a:gd name="connsiteY203" fmla="*/ 2057400 h 4333875"/>
                  <a:gd name="connsiteX204" fmla="*/ 7934325 w 8601075"/>
                  <a:gd name="connsiteY204" fmla="*/ 2028825 h 4333875"/>
                  <a:gd name="connsiteX205" fmla="*/ 7953375 w 8601075"/>
                  <a:gd name="connsiteY205" fmla="*/ 1952625 h 4333875"/>
                  <a:gd name="connsiteX206" fmla="*/ 7953375 w 8601075"/>
                  <a:gd name="connsiteY206" fmla="*/ 1952625 h 4333875"/>
                  <a:gd name="connsiteX207" fmla="*/ 8010525 w 8601075"/>
                  <a:gd name="connsiteY207" fmla="*/ 1895475 h 4333875"/>
                  <a:gd name="connsiteX208" fmla="*/ 8048625 w 8601075"/>
                  <a:gd name="connsiteY208" fmla="*/ 1971675 h 4333875"/>
                  <a:gd name="connsiteX209" fmla="*/ 8077200 w 8601075"/>
                  <a:gd name="connsiteY209" fmla="*/ 1885950 h 4333875"/>
                  <a:gd name="connsiteX210" fmla="*/ 8220075 w 8601075"/>
                  <a:gd name="connsiteY210" fmla="*/ 1847850 h 4333875"/>
                  <a:gd name="connsiteX211" fmla="*/ 8296275 w 8601075"/>
                  <a:gd name="connsiteY211" fmla="*/ 1809750 h 4333875"/>
                  <a:gd name="connsiteX212" fmla="*/ 8324850 w 8601075"/>
                  <a:gd name="connsiteY212" fmla="*/ 1790700 h 4333875"/>
                  <a:gd name="connsiteX213" fmla="*/ 8410575 w 8601075"/>
                  <a:gd name="connsiteY213" fmla="*/ 1847850 h 4333875"/>
                  <a:gd name="connsiteX214" fmla="*/ 8505825 w 8601075"/>
                  <a:gd name="connsiteY214" fmla="*/ 1781175 h 4333875"/>
                  <a:gd name="connsiteX215" fmla="*/ 8572500 w 8601075"/>
                  <a:gd name="connsiteY215" fmla="*/ 1809750 h 4333875"/>
                  <a:gd name="connsiteX216" fmla="*/ 8601075 w 8601075"/>
                  <a:gd name="connsiteY216" fmla="*/ 1704975 h 4333875"/>
                  <a:gd name="connsiteX217" fmla="*/ 8553450 w 8601075"/>
                  <a:gd name="connsiteY217" fmla="*/ 1676400 h 4333875"/>
                  <a:gd name="connsiteX218" fmla="*/ 8534400 w 8601075"/>
                  <a:gd name="connsiteY218" fmla="*/ 1609725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124825 w 8601075"/>
                  <a:gd name="connsiteY222" fmla="*/ 1352550 h 4333875"/>
                  <a:gd name="connsiteX223" fmla="*/ 7924800 w 8601075"/>
                  <a:gd name="connsiteY223" fmla="*/ 1362075 h 4333875"/>
                  <a:gd name="connsiteX224" fmla="*/ 7867650 w 8601075"/>
                  <a:gd name="connsiteY224" fmla="*/ 1457325 h 4333875"/>
                  <a:gd name="connsiteX225" fmla="*/ 7896225 w 8601075"/>
                  <a:gd name="connsiteY225" fmla="*/ 1476375 h 4333875"/>
                  <a:gd name="connsiteX226" fmla="*/ 7858125 w 8601075"/>
                  <a:gd name="connsiteY226" fmla="*/ 1533525 h 4333875"/>
                  <a:gd name="connsiteX227" fmla="*/ 7658100 w 8601075"/>
                  <a:gd name="connsiteY227" fmla="*/ 1447800 h 4333875"/>
                  <a:gd name="connsiteX228" fmla="*/ 7515225 w 8601075"/>
                  <a:gd name="connsiteY228" fmla="*/ 1495425 h 4333875"/>
                  <a:gd name="connsiteX229" fmla="*/ 7467600 w 8601075"/>
                  <a:gd name="connsiteY229" fmla="*/ 1581150 h 4333875"/>
                  <a:gd name="connsiteX230" fmla="*/ 7296150 w 8601075"/>
                  <a:gd name="connsiteY23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180975 w 8601075"/>
                  <a:gd name="connsiteY123" fmla="*/ 638175 h 4333875"/>
                  <a:gd name="connsiteX124" fmla="*/ 180975 w 8601075"/>
                  <a:gd name="connsiteY124" fmla="*/ 638175 h 4333875"/>
                  <a:gd name="connsiteX125" fmla="*/ 57150 w 8601075"/>
                  <a:gd name="connsiteY125" fmla="*/ 733425 h 4333875"/>
                  <a:gd name="connsiteX126" fmla="*/ 19050 w 8601075"/>
                  <a:gd name="connsiteY126" fmla="*/ 790575 h 4333875"/>
                  <a:gd name="connsiteX127" fmla="*/ 0 w 8601075"/>
                  <a:gd name="connsiteY127" fmla="*/ 876300 h 4333875"/>
                  <a:gd name="connsiteX128" fmla="*/ 57150 w 8601075"/>
                  <a:gd name="connsiteY128" fmla="*/ 923925 h 4333875"/>
                  <a:gd name="connsiteX129" fmla="*/ 57150 w 8601075"/>
                  <a:gd name="connsiteY129" fmla="*/ 923925 h 4333875"/>
                  <a:gd name="connsiteX130" fmla="*/ 209550 w 8601075"/>
                  <a:gd name="connsiteY130" fmla="*/ 1114425 h 4333875"/>
                  <a:gd name="connsiteX131" fmla="*/ 209550 w 8601075"/>
                  <a:gd name="connsiteY131" fmla="*/ 1114425 h 4333875"/>
                  <a:gd name="connsiteX132" fmla="*/ 266700 w 8601075"/>
                  <a:gd name="connsiteY132" fmla="*/ 1295400 h 4333875"/>
                  <a:gd name="connsiteX133" fmla="*/ 409575 w 8601075"/>
                  <a:gd name="connsiteY133" fmla="*/ 1276350 h 4333875"/>
                  <a:gd name="connsiteX134" fmla="*/ 466725 w 8601075"/>
                  <a:gd name="connsiteY134" fmla="*/ 1362075 h 4333875"/>
                  <a:gd name="connsiteX135" fmla="*/ 542925 w 8601075"/>
                  <a:gd name="connsiteY135" fmla="*/ 1428750 h 4333875"/>
                  <a:gd name="connsiteX136" fmla="*/ 628650 w 8601075"/>
                  <a:gd name="connsiteY136" fmla="*/ 1571625 h 4333875"/>
                  <a:gd name="connsiteX137" fmla="*/ 628650 w 8601075"/>
                  <a:gd name="connsiteY137" fmla="*/ 1704975 h 4333875"/>
                  <a:gd name="connsiteX138" fmla="*/ 676275 w 8601075"/>
                  <a:gd name="connsiteY138" fmla="*/ 1771650 h 4333875"/>
                  <a:gd name="connsiteX139" fmla="*/ 657225 w 8601075"/>
                  <a:gd name="connsiteY139" fmla="*/ 2000250 h 4333875"/>
                  <a:gd name="connsiteX140" fmla="*/ 619125 w 8601075"/>
                  <a:gd name="connsiteY140" fmla="*/ 2095500 h 4333875"/>
                  <a:gd name="connsiteX141" fmla="*/ 542925 w 8601075"/>
                  <a:gd name="connsiteY141" fmla="*/ 2228850 h 4333875"/>
                  <a:gd name="connsiteX142" fmla="*/ 485775 w 8601075"/>
                  <a:gd name="connsiteY142" fmla="*/ 2362200 h 4333875"/>
                  <a:gd name="connsiteX143" fmla="*/ 552450 w 8601075"/>
                  <a:gd name="connsiteY143" fmla="*/ 2486025 h 4333875"/>
                  <a:gd name="connsiteX144" fmla="*/ 771525 w 8601075"/>
                  <a:gd name="connsiteY144" fmla="*/ 2571750 h 4333875"/>
                  <a:gd name="connsiteX145" fmla="*/ 866775 w 8601075"/>
                  <a:gd name="connsiteY145" fmla="*/ 2571750 h 4333875"/>
                  <a:gd name="connsiteX146" fmla="*/ 914400 w 8601075"/>
                  <a:gd name="connsiteY146" fmla="*/ 2638425 h 4333875"/>
                  <a:gd name="connsiteX147" fmla="*/ 1066800 w 8601075"/>
                  <a:gd name="connsiteY147" fmla="*/ 2638425 h 4333875"/>
                  <a:gd name="connsiteX148" fmla="*/ 1285875 w 8601075"/>
                  <a:gd name="connsiteY148" fmla="*/ 2705100 h 4333875"/>
                  <a:gd name="connsiteX149" fmla="*/ 1438275 w 8601075"/>
                  <a:gd name="connsiteY149" fmla="*/ 2838450 h 4333875"/>
                  <a:gd name="connsiteX150" fmla="*/ 1485900 w 8601075"/>
                  <a:gd name="connsiteY150" fmla="*/ 2914650 h 4333875"/>
                  <a:gd name="connsiteX151" fmla="*/ 1657350 w 8601075"/>
                  <a:gd name="connsiteY151" fmla="*/ 3038475 h 4333875"/>
                  <a:gd name="connsiteX152" fmla="*/ 1752600 w 8601075"/>
                  <a:gd name="connsiteY152" fmla="*/ 3057525 h 4333875"/>
                  <a:gd name="connsiteX153" fmla="*/ 1724025 w 8601075"/>
                  <a:gd name="connsiteY153" fmla="*/ 3143250 h 4333875"/>
                  <a:gd name="connsiteX154" fmla="*/ 1724025 w 8601075"/>
                  <a:gd name="connsiteY154" fmla="*/ 3143250 h 4333875"/>
                  <a:gd name="connsiteX155" fmla="*/ 1781175 w 8601075"/>
                  <a:gd name="connsiteY155" fmla="*/ 3181350 h 4333875"/>
                  <a:gd name="connsiteX156" fmla="*/ 1819275 w 8601075"/>
                  <a:gd name="connsiteY156" fmla="*/ 3362325 h 4333875"/>
                  <a:gd name="connsiteX157" fmla="*/ 1828800 w 8601075"/>
                  <a:gd name="connsiteY157" fmla="*/ 3457575 h 4333875"/>
                  <a:gd name="connsiteX158" fmla="*/ 1971675 w 8601075"/>
                  <a:gd name="connsiteY158" fmla="*/ 3590925 h 4333875"/>
                  <a:gd name="connsiteX159" fmla="*/ 1990725 w 8601075"/>
                  <a:gd name="connsiteY159" fmla="*/ 3714750 h 4333875"/>
                  <a:gd name="connsiteX160" fmla="*/ 2200275 w 8601075"/>
                  <a:gd name="connsiteY160" fmla="*/ 3695700 h 4333875"/>
                  <a:gd name="connsiteX161" fmla="*/ 2886075 w 8601075"/>
                  <a:gd name="connsiteY161" fmla="*/ 3886200 h 4333875"/>
                  <a:gd name="connsiteX162" fmla="*/ 3038475 w 8601075"/>
                  <a:gd name="connsiteY162" fmla="*/ 3819525 h 4333875"/>
                  <a:gd name="connsiteX163" fmla="*/ 3105150 w 8601075"/>
                  <a:gd name="connsiteY163" fmla="*/ 3867150 h 4333875"/>
                  <a:gd name="connsiteX164" fmla="*/ 3181350 w 8601075"/>
                  <a:gd name="connsiteY164" fmla="*/ 3800475 h 4333875"/>
                  <a:gd name="connsiteX165" fmla="*/ 3590925 w 8601075"/>
                  <a:gd name="connsiteY165" fmla="*/ 3943350 h 4333875"/>
                  <a:gd name="connsiteX166" fmla="*/ 3686175 w 8601075"/>
                  <a:gd name="connsiteY166" fmla="*/ 4057650 h 4333875"/>
                  <a:gd name="connsiteX167" fmla="*/ 3838575 w 8601075"/>
                  <a:gd name="connsiteY167" fmla="*/ 4057650 h 4333875"/>
                  <a:gd name="connsiteX168" fmla="*/ 4162425 w 8601075"/>
                  <a:gd name="connsiteY168" fmla="*/ 4248150 h 4333875"/>
                  <a:gd name="connsiteX169" fmla="*/ 4391025 w 8601075"/>
                  <a:gd name="connsiteY169" fmla="*/ 4200525 h 4333875"/>
                  <a:gd name="connsiteX170" fmla="*/ 4410075 w 8601075"/>
                  <a:gd name="connsiteY170" fmla="*/ 4305300 h 4333875"/>
                  <a:gd name="connsiteX171" fmla="*/ 4505325 w 8601075"/>
                  <a:gd name="connsiteY171" fmla="*/ 4276725 h 4333875"/>
                  <a:gd name="connsiteX172" fmla="*/ 4572000 w 8601075"/>
                  <a:gd name="connsiteY172" fmla="*/ 4333875 h 4333875"/>
                  <a:gd name="connsiteX173" fmla="*/ 4591050 w 8601075"/>
                  <a:gd name="connsiteY173" fmla="*/ 4248150 h 4333875"/>
                  <a:gd name="connsiteX174" fmla="*/ 5295900 w 8601075"/>
                  <a:gd name="connsiteY174" fmla="*/ 3924300 h 4333875"/>
                  <a:gd name="connsiteX175" fmla="*/ 5353050 w 8601075"/>
                  <a:gd name="connsiteY175" fmla="*/ 3990975 h 4333875"/>
                  <a:gd name="connsiteX176" fmla="*/ 5524500 w 8601075"/>
                  <a:gd name="connsiteY176" fmla="*/ 3914775 h 4333875"/>
                  <a:gd name="connsiteX177" fmla="*/ 5667375 w 8601075"/>
                  <a:gd name="connsiteY177" fmla="*/ 3962400 h 4333875"/>
                  <a:gd name="connsiteX178" fmla="*/ 5753100 w 8601075"/>
                  <a:gd name="connsiteY178" fmla="*/ 3924300 h 4333875"/>
                  <a:gd name="connsiteX179" fmla="*/ 5905500 w 8601075"/>
                  <a:gd name="connsiteY179" fmla="*/ 3943350 h 4333875"/>
                  <a:gd name="connsiteX180" fmla="*/ 6000750 w 8601075"/>
                  <a:gd name="connsiteY180" fmla="*/ 3800475 h 4333875"/>
                  <a:gd name="connsiteX181" fmla="*/ 6153150 w 8601075"/>
                  <a:gd name="connsiteY181" fmla="*/ 3781425 h 4333875"/>
                  <a:gd name="connsiteX182" fmla="*/ 6257925 w 8601075"/>
                  <a:gd name="connsiteY182" fmla="*/ 3581400 h 4333875"/>
                  <a:gd name="connsiteX183" fmla="*/ 6448425 w 8601075"/>
                  <a:gd name="connsiteY183" fmla="*/ 3448050 h 4333875"/>
                  <a:gd name="connsiteX184" fmla="*/ 6581775 w 8601075"/>
                  <a:gd name="connsiteY184" fmla="*/ 3276600 h 4333875"/>
                  <a:gd name="connsiteX185" fmla="*/ 6496050 w 8601075"/>
                  <a:gd name="connsiteY185" fmla="*/ 3228975 h 4333875"/>
                  <a:gd name="connsiteX186" fmla="*/ 6438900 w 8601075"/>
                  <a:gd name="connsiteY186" fmla="*/ 3162300 h 4333875"/>
                  <a:gd name="connsiteX187" fmla="*/ 6419850 w 8601075"/>
                  <a:gd name="connsiteY187" fmla="*/ 3105150 h 4333875"/>
                  <a:gd name="connsiteX188" fmla="*/ 6362700 w 8601075"/>
                  <a:gd name="connsiteY188" fmla="*/ 3076575 h 4333875"/>
                  <a:gd name="connsiteX189" fmla="*/ 6410325 w 8601075"/>
                  <a:gd name="connsiteY189" fmla="*/ 3019425 h 4333875"/>
                  <a:gd name="connsiteX190" fmla="*/ 6438900 w 8601075"/>
                  <a:gd name="connsiteY190" fmla="*/ 2819400 h 4333875"/>
                  <a:gd name="connsiteX191" fmla="*/ 6496050 w 8601075"/>
                  <a:gd name="connsiteY191" fmla="*/ 2762250 h 4333875"/>
                  <a:gd name="connsiteX192" fmla="*/ 6657975 w 8601075"/>
                  <a:gd name="connsiteY192" fmla="*/ 2752725 h 4333875"/>
                  <a:gd name="connsiteX193" fmla="*/ 6781800 w 8601075"/>
                  <a:gd name="connsiteY193" fmla="*/ 2838450 h 4333875"/>
                  <a:gd name="connsiteX194" fmla="*/ 7010400 w 8601075"/>
                  <a:gd name="connsiteY194" fmla="*/ 2838450 h 4333875"/>
                  <a:gd name="connsiteX195" fmla="*/ 7162800 w 8601075"/>
                  <a:gd name="connsiteY195" fmla="*/ 2705100 h 4333875"/>
                  <a:gd name="connsiteX196" fmla="*/ 7229475 w 8601075"/>
                  <a:gd name="connsiteY196" fmla="*/ 2590800 h 4333875"/>
                  <a:gd name="connsiteX197" fmla="*/ 7248525 w 8601075"/>
                  <a:gd name="connsiteY197" fmla="*/ 2524125 h 4333875"/>
                  <a:gd name="connsiteX198" fmla="*/ 7372350 w 8601075"/>
                  <a:gd name="connsiteY198" fmla="*/ 2543175 h 4333875"/>
                  <a:gd name="connsiteX199" fmla="*/ 7553325 w 8601075"/>
                  <a:gd name="connsiteY199" fmla="*/ 2447925 h 4333875"/>
                  <a:gd name="connsiteX200" fmla="*/ 7620000 w 8601075"/>
                  <a:gd name="connsiteY200" fmla="*/ 2324100 h 4333875"/>
                  <a:gd name="connsiteX201" fmla="*/ 7696200 w 8601075"/>
                  <a:gd name="connsiteY201" fmla="*/ 2314575 h 4333875"/>
                  <a:gd name="connsiteX202" fmla="*/ 7658100 w 8601075"/>
                  <a:gd name="connsiteY202" fmla="*/ 2257425 h 4333875"/>
                  <a:gd name="connsiteX203" fmla="*/ 7753350 w 8601075"/>
                  <a:gd name="connsiteY203" fmla="*/ 2057400 h 4333875"/>
                  <a:gd name="connsiteX204" fmla="*/ 7934325 w 8601075"/>
                  <a:gd name="connsiteY204" fmla="*/ 2028825 h 4333875"/>
                  <a:gd name="connsiteX205" fmla="*/ 7953375 w 8601075"/>
                  <a:gd name="connsiteY205" fmla="*/ 1952625 h 4333875"/>
                  <a:gd name="connsiteX206" fmla="*/ 7953375 w 8601075"/>
                  <a:gd name="connsiteY206" fmla="*/ 1952625 h 4333875"/>
                  <a:gd name="connsiteX207" fmla="*/ 8010525 w 8601075"/>
                  <a:gd name="connsiteY207" fmla="*/ 1895475 h 4333875"/>
                  <a:gd name="connsiteX208" fmla="*/ 8048625 w 8601075"/>
                  <a:gd name="connsiteY208" fmla="*/ 1971675 h 4333875"/>
                  <a:gd name="connsiteX209" fmla="*/ 8077200 w 8601075"/>
                  <a:gd name="connsiteY209" fmla="*/ 1885950 h 4333875"/>
                  <a:gd name="connsiteX210" fmla="*/ 8220075 w 8601075"/>
                  <a:gd name="connsiteY210" fmla="*/ 1847850 h 4333875"/>
                  <a:gd name="connsiteX211" fmla="*/ 8296275 w 8601075"/>
                  <a:gd name="connsiteY211" fmla="*/ 1809750 h 4333875"/>
                  <a:gd name="connsiteX212" fmla="*/ 8324850 w 8601075"/>
                  <a:gd name="connsiteY212" fmla="*/ 1790700 h 4333875"/>
                  <a:gd name="connsiteX213" fmla="*/ 8410575 w 8601075"/>
                  <a:gd name="connsiteY213" fmla="*/ 1847850 h 4333875"/>
                  <a:gd name="connsiteX214" fmla="*/ 8505825 w 8601075"/>
                  <a:gd name="connsiteY214" fmla="*/ 1781175 h 4333875"/>
                  <a:gd name="connsiteX215" fmla="*/ 8572500 w 8601075"/>
                  <a:gd name="connsiteY215" fmla="*/ 1809750 h 4333875"/>
                  <a:gd name="connsiteX216" fmla="*/ 8601075 w 8601075"/>
                  <a:gd name="connsiteY216" fmla="*/ 1704975 h 4333875"/>
                  <a:gd name="connsiteX217" fmla="*/ 8553450 w 8601075"/>
                  <a:gd name="connsiteY217" fmla="*/ 1676400 h 4333875"/>
                  <a:gd name="connsiteX218" fmla="*/ 8534400 w 8601075"/>
                  <a:gd name="connsiteY218" fmla="*/ 1609725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124825 w 8601075"/>
                  <a:gd name="connsiteY222" fmla="*/ 1352550 h 4333875"/>
                  <a:gd name="connsiteX223" fmla="*/ 7924800 w 8601075"/>
                  <a:gd name="connsiteY223" fmla="*/ 1362075 h 4333875"/>
                  <a:gd name="connsiteX224" fmla="*/ 7867650 w 8601075"/>
                  <a:gd name="connsiteY224" fmla="*/ 1457325 h 4333875"/>
                  <a:gd name="connsiteX225" fmla="*/ 7896225 w 8601075"/>
                  <a:gd name="connsiteY225" fmla="*/ 1476375 h 4333875"/>
                  <a:gd name="connsiteX226" fmla="*/ 7858125 w 8601075"/>
                  <a:gd name="connsiteY226" fmla="*/ 1533525 h 4333875"/>
                  <a:gd name="connsiteX227" fmla="*/ 7658100 w 8601075"/>
                  <a:gd name="connsiteY227" fmla="*/ 1447800 h 4333875"/>
                  <a:gd name="connsiteX228" fmla="*/ 7515225 w 8601075"/>
                  <a:gd name="connsiteY228" fmla="*/ 1495425 h 4333875"/>
                  <a:gd name="connsiteX229" fmla="*/ 7467600 w 8601075"/>
                  <a:gd name="connsiteY229" fmla="*/ 1581150 h 4333875"/>
                  <a:gd name="connsiteX230" fmla="*/ 7296150 w 8601075"/>
                  <a:gd name="connsiteY23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180975 w 8601075"/>
                  <a:gd name="connsiteY124" fmla="*/ 638175 h 4333875"/>
                  <a:gd name="connsiteX125" fmla="*/ 180975 w 8601075"/>
                  <a:gd name="connsiteY125" fmla="*/ 638175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180975 w 8601075"/>
                  <a:gd name="connsiteY124" fmla="*/ 638175 h 4333875"/>
                  <a:gd name="connsiteX125" fmla="*/ 180975 w 8601075"/>
                  <a:gd name="connsiteY125" fmla="*/ 623888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57150 w 8601075"/>
                  <a:gd name="connsiteY127" fmla="*/ 733425 h 4333875"/>
                  <a:gd name="connsiteX128" fmla="*/ 19050 w 8601075"/>
                  <a:gd name="connsiteY128" fmla="*/ 790575 h 4333875"/>
                  <a:gd name="connsiteX129" fmla="*/ 0 w 8601075"/>
                  <a:gd name="connsiteY129" fmla="*/ 876300 h 4333875"/>
                  <a:gd name="connsiteX130" fmla="*/ 57150 w 8601075"/>
                  <a:gd name="connsiteY130" fmla="*/ 923925 h 4333875"/>
                  <a:gd name="connsiteX131" fmla="*/ 57150 w 8601075"/>
                  <a:gd name="connsiteY131" fmla="*/ 923925 h 4333875"/>
                  <a:gd name="connsiteX132" fmla="*/ 209550 w 8601075"/>
                  <a:gd name="connsiteY132" fmla="*/ 1114425 h 4333875"/>
                  <a:gd name="connsiteX133" fmla="*/ 209550 w 8601075"/>
                  <a:gd name="connsiteY133" fmla="*/ 1114425 h 4333875"/>
                  <a:gd name="connsiteX134" fmla="*/ 266700 w 8601075"/>
                  <a:gd name="connsiteY134" fmla="*/ 1295400 h 4333875"/>
                  <a:gd name="connsiteX135" fmla="*/ 409575 w 8601075"/>
                  <a:gd name="connsiteY135" fmla="*/ 1276350 h 4333875"/>
                  <a:gd name="connsiteX136" fmla="*/ 466725 w 8601075"/>
                  <a:gd name="connsiteY136" fmla="*/ 1362075 h 4333875"/>
                  <a:gd name="connsiteX137" fmla="*/ 542925 w 8601075"/>
                  <a:gd name="connsiteY137" fmla="*/ 1428750 h 4333875"/>
                  <a:gd name="connsiteX138" fmla="*/ 628650 w 8601075"/>
                  <a:gd name="connsiteY138" fmla="*/ 1571625 h 4333875"/>
                  <a:gd name="connsiteX139" fmla="*/ 628650 w 8601075"/>
                  <a:gd name="connsiteY139" fmla="*/ 1704975 h 4333875"/>
                  <a:gd name="connsiteX140" fmla="*/ 676275 w 8601075"/>
                  <a:gd name="connsiteY140" fmla="*/ 1771650 h 4333875"/>
                  <a:gd name="connsiteX141" fmla="*/ 657225 w 8601075"/>
                  <a:gd name="connsiteY141" fmla="*/ 2000250 h 4333875"/>
                  <a:gd name="connsiteX142" fmla="*/ 619125 w 8601075"/>
                  <a:gd name="connsiteY142" fmla="*/ 2095500 h 4333875"/>
                  <a:gd name="connsiteX143" fmla="*/ 542925 w 8601075"/>
                  <a:gd name="connsiteY143" fmla="*/ 2228850 h 4333875"/>
                  <a:gd name="connsiteX144" fmla="*/ 485775 w 8601075"/>
                  <a:gd name="connsiteY144" fmla="*/ 2362200 h 4333875"/>
                  <a:gd name="connsiteX145" fmla="*/ 552450 w 8601075"/>
                  <a:gd name="connsiteY145" fmla="*/ 2486025 h 4333875"/>
                  <a:gd name="connsiteX146" fmla="*/ 771525 w 8601075"/>
                  <a:gd name="connsiteY146" fmla="*/ 2571750 h 4333875"/>
                  <a:gd name="connsiteX147" fmla="*/ 866775 w 8601075"/>
                  <a:gd name="connsiteY147" fmla="*/ 2571750 h 4333875"/>
                  <a:gd name="connsiteX148" fmla="*/ 914400 w 8601075"/>
                  <a:gd name="connsiteY148" fmla="*/ 2638425 h 4333875"/>
                  <a:gd name="connsiteX149" fmla="*/ 1066800 w 8601075"/>
                  <a:gd name="connsiteY149" fmla="*/ 2638425 h 4333875"/>
                  <a:gd name="connsiteX150" fmla="*/ 1285875 w 8601075"/>
                  <a:gd name="connsiteY150" fmla="*/ 2705100 h 4333875"/>
                  <a:gd name="connsiteX151" fmla="*/ 1438275 w 8601075"/>
                  <a:gd name="connsiteY151" fmla="*/ 2838450 h 4333875"/>
                  <a:gd name="connsiteX152" fmla="*/ 1485900 w 8601075"/>
                  <a:gd name="connsiteY152" fmla="*/ 2914650 h 4333875"/>
                  <a:gd name="connsiteX153" fmla="*/ 1657350 w 8601075"/>
                  <a:gd name="connsiteY153" fmla="*/ 3038475 h 4333875"/>
                  <a:gd name="connsiteX154" fmla="*/ 1752600 w 8601075"/>
                  <a:gd name="connsiteY154" fmla="*/ 3057525 h 4333875"/>
                  <a:gd name="connsiteX155" fmla="*/ 1724025 w 8601075"/>
                  <a:gd name="connsiteY155" fmla="*/ 3143250 h 4333875"/>
                  <a:gd name="connsiteX156" fmla="*/ 1724025 w 8601075"/>
                  <a:gd name="connsiteY156" fmla="*/ 3143250 h 4333875"/>
                  <a:gd name="connsiteX157" fmla="*/ 1781175 w 8601075"/>
                  <a:gd name="connsiteY157" fmla="*/ 3181350 h 4333875"/>
                  <a:gd name="connsiteX158" fmla="*/ 1819275 w 8601075"/>
                  <a:gd name="connsiteY158" fmla="*/ 3362325 h 4333875"/>
                  <a:gd name="connsiteX159" fmla="*/ 1828800 w 8601075"/>
                  <a:gd name="connsiteY159" fmla="*/ 3457575 h 4333875"/>
                  <a:gd name="connsiteX160" fmla="*/ 1971675 w 8601075"/>
                  <a:gd name="connsiteY160" fmla="*/ 3590925 h 4333875"/>
                  <a:gd name="connsiteX161" fmla="*/ 1990725 w 8601075"/>
                  <a:gd name="connsiteY161" fmla="*/ 3714750 h 4333875"/>
                  <a:gd name="connsiteX162" fmla="*/ 2200275 w 8601075"/>
                  <a:gd name="connsiteY162" fmla="*/ 3695700 h 4333875"/>
                  <a:gd name="connsiteX163" fmla="*/ 2886075 w 8601075"/>
                  <a:gd name="connsiteY163" fmla="*/ 3886200 h 4333875"/>
                  <a:gd name="connsiteX164" fmla="*/ 3038475 w 8601075"/>
                  <a:gd name="connsiteY164" fmla="*/ 3819525 h 4333875"/>
                  <a:gd name="connsiteX165" fmla="*/ 3105150 w 8601075"/>
                  <a:gd name="connsiteY165" fmla="*/ 3867150 h 4333875"/>
                  <a:gd name="connsiteX166" fmla="*/ 3181350 w 8601075"/>
                  <a:gd name="connsiteY166" fmla="*/ 3800475 h 4333875"/>
                  <a:gd name="connsiteX167" fmla="*/ 3590925 w 8601075"/>
                  <a:gd name="connsiteY167" fmla="*/ 3943350 h 4333875"/>
                  <a:gd name="connsiteX168" fmla="*/ 3686175 w 8601075"/>
                  <a:gd name="connsiteY168" fmla="*/ 4057650 h 4333875"/>
                  <a:gd name="connsiteX169" fmla="*/ 3838575 w 8601075"/>
                  <a:gd name="connsiteY169" fmla="*/ 4057650 h 4333875"/>
                  <a:gd name="connsiteX170" fmla="*/ 4162425 w 8601075"/>
                  <a:gd name="connsiteY170" fmla="*/ 4248150 h 4333875"/>
                  <a:gd name="connsiteX171" fmla="*/ 4391025 w 8601075"/>
                  <a:gd name="connsiteY171" fmla="*/ 4200525 h 4333875"/>
                  <a:gd name="connsiteX172" fmla="*/ 4410075 w 8601075"/>
                  <a:gd name="connsiteY172" fmla="*/ 4305300 h 4333875"/>
                  <a:gd name="connsiteX173" fmla="*/ 4505325 w 8601075"/>
                  <a:gd name="connsiteY173" fmla="*/ 4276725 h 4333875"/>
                  <a:gd name="connsiteX174" fmla="*/ 4572000 w 8601075"/>
                  <a:gd name="connsiteY174" fmla="*/ 4333875 h 4333875"/>
                  <a:gd name="connsiteX175" fmla="*/ 4591050 w 8601075"/>
                  <a:gd name="connsiteY175" fmla="*/ 4248150 h 4333875"/>
                  <a:gd name="connsiteX176" fmla="*/ 5295900 w 8601075"/>
                  <a:gd name="connsiteY176" fmla="*/ 3924300 h 4333875"/>
                  <a:gd name="connsiteX177" fmla="*/ 5353050 w 8601075"/>
                  <a:gd name="connsiteY177" fmla="*/ 3990975 h 4333875"/>
                  <a:gd name="connsiteX178" fmla="*/ 5524500 w 8601075"/>
                  <a:gd name="connsiteY178" fmla="*/ 3914775 h 4333875"/>
                  <a:gd name="connsiteX179" fmla="*/ 5667375 w 8601075"/>
                  <a:gd name="connsiteY179" fmla="*/ 3962400 h 4333875"/>
                  <a:gd name="connsiteX180" fmla="*/ 5753100 w 8601075"/>
                  <a:gd name="connsiteY180" fmla="*/ 3924300 h 4333875"/>
                  <a:gd name="connsiteX181" fmla="*/ 5905500 w 8601075"/>
                  <a:gd name="connsiteY181" fmla="*/ 3943350 h 4333875"/>
                  <a:gd name="connsiteX182" fmla="*/ 6000750 w 8601075"/>
                  <a:gd name="connsiteY182" fmla="*/ 3800475 h 4333875"/>
                  <a:gd name="connsiteX183" fmla="*/ 6153150 w 8601075"/>
                  <a:gd name="connsiteY183" fmla="*/ 3781425 h 4333875"/>
                  <a:gd name="connsiteX184" fmla="*/ 6257925 w 8601075"/>
                  <a:gd name="connsiteY184" fmla="*/ 3581400 h 4333875"/>
                  <a:gd name="connsiteX185" fmla="*/ 6448425 w 8601075"/>
                  <a:gd name="connsiteY185" fmla="*/ 3448050 h 4333875"/>
                  <a:gd name="connsiteX186" fmla="*/ 6581775 w 8601075"/>
                  <a:gd name="connsiteY186" fmla="*/ 3276600 h 4333875"/>
                  <a:gd name="connsiteX187" fmla="*/ 6496050 w 8601075"/>
                  <a:gd name="connsiteY187" fmla="*/ 3228975 h 4333875"/>
                  <a:gd name="connsiteX188" fmla="*/ 6438900 w 8601075"/>
                  <a:gd name="connsiteY188" fmla="*/ 3162300 h 4333875"/>
                  <a:gd name="connsiteX189" fmla="*/ 6419850 w 8601075"/>
                  <a:gd name="connsiteY189" fmla="*/ 3105150 h 4333875"/>
                  <a:gd name="connsiteX190" fmla="*/ 6362700 w 8601075"/>
                  <a:gd name="connsiteY190" fmla="*/ 3076575 h 4333875"/>
                  <a:gd name="connsiteX191" fmla="*/ 6410325 w 8601075"/>
                  <a:gd name="connsiteY191" fmla="*/ 3019425 h 4333875"/>
                  <a:gd name="connsiteX192" fmla="*/ 6438900 w 8601075"/>
                  <a:gd name="connsiteY192" fmla="*/ 2819400 h 4333875"/>
                  <a:gd name="connsiteX193" fmla="*/ 6496050 w 8601075"/>
                  <a:gd name="connsiteY193" fmla="*/ 2762250 h 4333875"/>
                  <a:gd name="connsiteX194" fmla="*/ 6657975 w 8601075"/>
                  <a:gd name="connsiteY194" fmla="*/ 2752725 h 4333875"/>
                  <a:gd name="connsiteX195" fmla="*/ 6781800 w 8601075"/>
                  <a:gd name="connsiteY195" fmla="*/ 2838450 h 4333875"/>
                  <a:gd name="connsiteX196" fmla="*/ 7010400 w 8601075"/>
                  <a:gd name="connsiteY196" fmla="*/ 2838450 h 4333875"/>
                  <a:gd name="connsiteX197" fmla="*/ 7162800 w 8601075"/>
                  <a:gd name="connsiteY197" fmla="*/ 2705100 h 4333875"/>
                  <a:gd name="connsiteX198" fmla="*/ 7229475 w 8601075"/>
                  <a:gd name="connsiteY198" fmla="*/ 2590800 h 4333875"/>
                  <a:gd name="connsiteX199" fmla="*/ 7248525 w 8601075"/>
                  <a:gd name="connsiteY199" fmla="*/ 2524125 h 4333875"/>
                  <a:gd name="connsiteX200" fmla="*/ 7372350 w 8601075"/>
                  <a:gd name="connsiteY200" fmla="*/ 2543175 h 4333875"/>
                  <a:gd name="connsiteX201" fmla="*/ 7553325 w 8601075"/>
                  <a:gd name="connsiteY201" fmla="*/ 2447925 h 4333875"/>
                  <a:gd name="connsiteX202" fmla="*/ 7620000 w 8601075"/>
                  <a:gd name="connsiteY202" fmla="*/ 2324100 h 4333875"/>
                  <a:gd name="connsiteX203" fmla="*/ 7696200 w 8601075"/>
                  <a:gd name="connsiteY203" fmla="*/ 2314575 h 4333875"/>
                  <a:gd name="connsiteX204" fmla="*/ 7658100 w 8601075"/>
                  <a:gd name="connsiteY204" fmla="*/ 2257425 h 4333875"/>
                  <a:gd name="connsiteX205" fmla="*/ 7753350 w 8601075"/>
                  <a:gd name="connsiteY205" fmla="*/ 2057400 h 4333875"/>
                  <a:gd name="connsiteX206" fmla="*/ 7934325 w 8601075"/>
                  <a:gd name="connsiteY206" fmla="*/ 2028825 h 4333875"/>
                  <a:gd name="connsiteX207" fmla="*/ 7953375 w 8601075"/>
                  <a:gd name="connsiteY207" fmla="*/ 1952625 h 4333875"/>
                  <a:gd name="connsiteX208" fmla="*/ 7953375 w 8601075"/>
                  <a:gd name="connsiteY208" fmla="*/ 1952625 h 4333875"/>
                  <a:gd name="connsiteX209" fmla="*/ 8010525 w 8601075"/>
                  <a:gd name="connsiteY209" fmla="*/ 1895475 h 4333875"/>
                  <a:gd name="connsiteX210" fmla="*/ 8048625 w 8601075"/>
                  <a:gd name="connsiteY210" fmla="*/ 1971675 h 4333875"/>
                  <a:gd name="connsiteX211" fmla="*/ 8077200 w 8601075"/>
                  <a:gd name="connsiteY211" fmla="*/ 1885950 h 4333875"/>
                  <a:gd name="connsiteX212" fmla="*/ 8220075 w 8601075"/>
                  <a:gd name="connsiteY212" fmla="*/ 1847850 h 4333875"/>
                  <a:gd name="connsiteX213" fmla="*/ 8296275 w 8601075"/>
                  <a:gd name="connsiteY213" fmla="*/ 1809750 h 4333875"/>
                  <a:gd name="connsiteX214" fmla="*/ 8324850 w 8601075"/>
                  <a:gd name="connsiteY214" fmla="*/ 1790700 h 4333875"/>
                  <a:gd name="connsiteX215" fmla="*/ 8410575 w 8601075"/>
                  <a:gd name="connsiteY215" fmla="*/ 1847850 h 4333875"/>
                  <a:gd name="connsiteX216" fmla="*/ 8505825 w 8601075"/>
                  <a:gd name="connsiteY216" fmla="*/ 1781175 h 4333875"/>
                  <a:gd name="connsiteX217" fmla="*/ 8572500 w 8601075"/>
                  <a:gd name="connsiteY217" fmla="*/ 1809750 h 4333875"/>
                  <a:gd name="connsiteX218" fmla="*/ 8601075 w 8601075"/>
                  <a:gd name="connsiteY218" fmla="*/ 1704975 h 4333875"/>
                  <a:gd name="connsiteX219" fmla="*/ 8553450 w 8601075"/>
                  <a:gd name="connsiteY219" fmla="*/ 1676400 h 4333875"/>
                  <a:gd name="connsiteX220" fmla="*/ 8534400 w 8601075"/>
                  <a:gd name="connsiteY220" fmla="*/ 1609725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124825 w 8601075"/>
                  <a:gd name="connsiteY224" fmla="*/ 1352550 h 4333875"/>
                  <a:gd name="connsiteX225" fmla="*/ 7924800 w 8601075"/>
                  <a:gd name="connsiteY225" fmla="*/ 1362075 h 4333875"/>
                  <a:gd name="connsiteX226" fmla="*/ 7867650 w 8601075"/>
                  <a:gd name="connsiteY226" fmla="*/ 1457325 h 4333875"/>
                  <a:gd name="connsiteX227" fmla="*/ 7896225 w 8601075"/>
                  <a:gd name="connsiteY227" fmla="*/ 1476375 h 4333875"/>
                  <a:gd name="connsiteX228" fmla="*/ 7858125 w 8601075"/>
                  <a:gd name="connsiteY228" fmla="*/ 1533525 h 4333875"/>
                  <a:gd name="connsiteX229" fmla="*/ 7658100 w 8601075"/>
                  <a:gd name="connsiteY229" fmla="*/ 1447800 h 4333875"/>
                  <a:gd name="connsiteX230" fmla="*/ 7515225 w 8601075"/>
                  <a:gd name="connsiteY230" fmla="*/ 1495425 h 4333875"/>
                  <a:gd name="connsiteX231" fmla="*/ 7467600 w 8601075"/>
                  <a:gd name="connsiteY231" fmla="*/ 1581150 h 4333875"/>
                  <a:gd name="connsiteX232" fmla="*/ 7296150 w 8601075"/>
                  <a:gd name="connsiteY23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57150 w 8601075"/>
                  <a:gd name="connsiteY128" fmla="*/ 733425 h 4333875"/>
                  <a:gd name="connsiteX129" fmla="*/ 19050 w 8601075"/>
                  <a:gd name="connsiteY129" fmla="*/ 790575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19050 w 8601075"/>
                  <a:gd name="connsiteY129" fmla="*/ 790575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0 w 8601075"/>
                  <a:gd name="connsiteY129" fmla="*/ 816769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33338 w 8601075"/>
                  <a:gd name="connsiteY129" fmla="*/ 812006 h 4333875"/>
                  <a:gd name="connsiteX130" fmla="*/ 0 w 8601075"/>
                  <a:gd name="connsiteY130" fmla="*/ 816769 h 4333875"/>
                  <a:gd name="connsiteX131" fmla="*/ 0 w 8601075"/>
                  <a:gd name="connsiteY131" fmla="*/ 876300 h 4333875"/>
                  <a:gd name="connsiteX132" fmla="*/ 57150 w 8601075"/>
                  <a:gd name="connsiteY132" fmla="*/ 923925 h 4333875"/>
                  <a:gd name="connsiteX133" fmla="*/ 57150 w 8601075"/>
                  <a:gd name="connsiteY133" fmla="*/ 923925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0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239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26194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239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26194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16781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16781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57150 w 8601075"/>
                  <a:gd name="connsiteY133" fmla="*/ 923925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209550 w 8601075"/>
                  <a:gd name="connsiteY136" fmla="*/ 1114425 h 4333875"/>
                  <a:gd name="connsiteX137" fmla="*/ 209550 w 8601075"/>
                  <a:gd name="connsiteY137" fmla="*/ 1114425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209550 w 8601075"/>
                  <a:gd name="connsiteY136" fmla="*/ 1114425 h 4333875"/>
                  <a:gd name="connsiteX137" fmla="*/ 169069 w 8601075"/>
                  <a:gd name="connsiteY137" fmla="*/ 1085850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14325 w 8601075"/>
                  <a:gd name="connsiteY138" fmla="*/ 127635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97656 w 8601075"/>
                  <a:gd name="connsiteY138" fmla="*/ 1273969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97656 w 8601075"/>
                  <a:gd name="connsiteY138" fmla="*/ 1273969 h 4333875"/>
                  <a:gd name="connsiteX139" fmla="*/ 361950 w 8601075"/>
                  <a:gd name="connsiteY139" fmla="*/ 1254919 h 4333875"/>
                  <a:gd name="connsiteX140" fmla="*/ 409575 w 8601075"/>
                  <a:gd name="connsiteY140" fmla="*/ 1276350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9575 w 8601075"/>
                  <a:gd name="connsiteY140" fmla="*/ 1276350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628650 w 8601075"/>
                  <a:gd name="connsiteY145" fmla="*/ 1704975 h 4333875"/>
                  <a:gd name="connsiteX146" fmla="*/ 676275 w 8601075"/>
                  <a:gd name="connsiteY146" fmla="*/ 1771650 h 4333875"/>
                  <a:gd name="connsiteX147" fmla="*/ 657225 w 8601075"/>
                  <a:gd name="connsiteY147" fmla="*/ 2000250 h 4333875"/>
                  <a:gd name="connsiteX148" fmla="*/ 619125 w 8601075"/>
                  <a:gd name="connsiteY148" fmla="*/ 2095500 h 4333875"/>
                  <a:gd name="connsiteX149" fmla="*/ 542925 w 8601075"/>
                  <a:gd name="connsiteY149" fmla="*/ 2228850 h 4333875"/>
                  <a:gd name="connsiteX150" fmla="*/ 485775 w 8601075"/>
                  <a:gd name="connsiteY150" fmla="*/ 2362200 h 4333875"/>
                  <a:gd name="connsiteX151" fmla="*/ 552450 w 8601075"/>
                  <a:gd name="connsiteY151" fmla="*/ 2486025 h 4333875"/>
                  <a:gd name="connsiteX152" fmla="*/ 771525 w 8601075"/>
                  <a:gd name="connsiteY152" fmla="*/ 2571750 h 4333875"/>
                  <a:gd name="connsiteX153" fmla="*/ 866775 w 8601075"/>
                  <a:gd name="connsiteY153" fmla="*/ 2571750 h 4333875"/>
                  <a:gd name="connsiteX154" fmla="*/ 914400 w 8601075"/>
                  <a:gd name="connsiteY154" fmla="*/ 2638425 h 4333875"/>
                  <a:gd name="connsiteX155" fmla="*/ 1066800 w 8601075"/>
                  <a:gd name="connsiteY155" fmla="*/ 2638425 h 4333875"/>
                  <a:gd name="connsiteX156" fmla="*/ 1285875 w 8601075"/>
                  <a:gd name="connsiteY156" fmla="*/ 2705100 h 4333875"/>
                  <a:gd name="connsiteX157" fmla="*/ 1438275 w 8601075"/>
                  <a:gd name="connsiteY157" fmla="*/ 2838450 h 4333875"/>
                  <a:gd name="connsiteX158" fmla="*/ 1485900 w 8601075"/>
                  <a:gd name="connsiteY158" fmla="*/ 2914650 h 4333875"/>
                  <a:gd name="connsiteX159" fmla="*/ 1657350 w 8601075"/>
                  <a:gd name="connsiteY159" fmla="*/ 3038475 h 4333875"/>
                  <a:gd name="connsiteX160" fmla="*/ 1752600 w 8601075"/>
                  <a:gd name="connsiteY160" fmla="*/ 3057525 h 4333875"/>
                  <a:gd name="connsiteX161" fmla="*/ 1724025 w 8601075"/>
                  <a:gd name="connsiteY161" fmla="*/ 3143250 h 4333875"/>
                  <a:gd name="connsiteX162" fmla="*/ 1724025 w 8601075"/>
                  <a:gd name="connsiteY162" fmla="*/ 3143250 h 4333875"/>
                  <a:gd name="connsiteX163" fmla="*/ 1781175 w 8601075"/>
                  <a:gd name="connsiteY163" fmla="*/ 3181350 h 4333875"/>
                  <a:gd name="connsiteX164" fmla="*/ 1819275 w 8601075"/>
                  <a:gd name="connsiteY164" fmla="*/ 3362325 h 4333875"/>
                  <a:gd name="connsiteX165" fmla="*/ 1828800 w 8601075"/>
                  <a:gd name="connsiteY165" fmla="*/ 3457575 h 4333875"/>
                  <a:gd name="connsiteX166" fmla="*/ 1971675 w 8601075"/>
                  <a:gd name="connsiteY166" fmla="*/ 3590925 h 4333875"/>
                  <a:gd name="connsiteX167" fmla="*/ 1990725 w 8601075"/>
                  <a:gd name="connsiteY167" fmla="*/ 3714750 h 4333875"/>
                  <a:gd name="connsiteX168" fmla="*/ 2200275 w 8601075"/>
                  <a:gd name="connsiteY168" fmla="*/ 3695700 h 4333875"/>
                  <a:gd name="connsiteX169" fmla="*/ 2886075 w 8601075"/>
                  <a:gd name="connsiteY169" fmla="*/ 3886200 h 4333875"/>
                  <a:gd name="connsiteX170" fmla="*/ 3038475 w 8601075"/>
                  <a:gd name="connsiteY170" fmla="*/ 3819525 h 4333875"/>
                  <a:gd name="connsiteX171" fmla="*/ 3105150 w 8601075"/>
                  <a:gd name="connsiteY171" fmla="*/ 3867150 h 4333875"/>
                  <a:gd name="connsiteX172" fmla="*/ 3181350 w 8601075"/>
                  <a:gd name="connsiteY172" fmla="*/ 3800475 h 4333875"/>
                  <a:gd name="connsiteX173" fmla="*/ 3590925 w 8601075"/>
                  <a:gd name="connsiteY173" fmla="*/ 3943350 h 4333875"/>
                  <a:gd name="connsiteX174" fmla="*/ 3686175 w 8601075"/>
                  <a:gd name="connsiteY174" fmla="*/ 4057650 h 4333875"/>
                  <a:gd name="connsiteX175" fmla="*/ 3838575 w 8601075"/>
                  <a:gd name="connsiteY175" fmla="*/ 4057650 h 4333875"/>
                  <a:gd name="connsiteX176" fmla="*/ 4162425 w 8601075"/>
                  <a:gd name="connsiteY176" fmla="*/ 4248150 h 4333875"/>
                  <a:gd name="connsiteX177" fmla="*/ 4391025 w 8601075"/>
                  <a:gd name="connsiteY177" fmla="*/ 4200525 h 4333875"/>
                  <a:gd name="connsiteX178" fmla="*/ 4410075 w 8601075"/>
                  <a:gd name="connsiteY178" fmla="*/ 4305300 h 4333875"/>
                  <a:gd name="connsiteX179" fmla="*/ 4505325 w 8601075"/>
                  <a:gd name="connsiteY179" fmla="*/ 4276725 h 4333875"/>
                  <a:gd name="connsiteX180" fmla="*/ 4572000 w 8601075"/>
                  <a:gd name="connsiteY180" fmla="*/ 4333875 h 4333875"/>
                  <a:gd name="connsiteX181" fmla="*/ 4591050 w 8601075"/>
                  <a:gd name="connsiteY181" fmla="*/ 4248150 h 4333875"/>
                  <a:gd name="connsiteX182" fmla="*/ 5295900 w 8601075"/>
                  <a:gd name="connsiteY182" fmla="*/ 3924300 h 4333875"/>
                  <a:gd name="connsiteX183" fmla="*/ 5353050 w 8601075"/>
                  <a:gd name="connsiteY183" fmla="*/ 3990975 h 4333875"/>
                  <a:gd name="connsiteX184" fmla="*/ 5524500 w 8601075"/>
                  <a:gd name="connsiteY184" fmla="*/ 3914775 h 4333875"/>
                  <a:gd name="connsiteX185" fmla="*/ 5667375 w 8601075"/>
                  <a:gd name="connsiteY185" fmla="*/ 3962400 h 4333875"/>
                  <a:gd name="connsiteX186" fmla="*/ 5753100 w 8601075"/>
                  <a:gd name="connsiteY186" fmla="*/ 3924300 h 4333875"/>
                  <a:gd name="connsiteX187" fmla="*/ 5905500 w 8601075"/>
                  <a:gd name="connsiteY187" fmla="*/ 3943350 h 4333875"/>
                  <a:gd name="connsiteX188" fmla="*/ 6000750 w 8601075"/>
                  <a:gd name="connsiteY188" fmla="*/ 3800475 h 4333875"/>
                  <a:gd name="connsiteX189" fmla="*/ 6153150 w 8601075"/>
                  <a:gd name="connsiteY189" fmla="*/ 3781425 h 4333875"/>
                  <a:gd name="connsiteX190" fmla="*/ 6257925 w 8601075"/>
                  <a:gd name="connsiteY190" fmla="*/ 3581400 h 4333875"/>
                  <a:gd name="connsiteX191" fmla="*/ 6448425 w 8601075"/>
                  <a:gd name="connsiteY191" fmla="*/ 3448050 h 4333875"/>
                  <a:gd name="connsiteX192" fmla="*/ 6581775 w 8601075"/>
                  <a:gd name="connsiteY192" fmla="*/ 3276600 h 4333875"/>
                  <a:gd name="connsiteX193" fmla="*/ 6496050 w 8601075"/>
                  <a:gd name="connsiteY193" fmla="*/ 3228975 h 4333875"/>
                  <a:gd name="connsiteX194" fmla="*/ 6438900 w 8601075"/>
                  <a:gd name="connsiteY194" fmla="*/ 3162300 h 4333875"/>
                  <a:gd name="connsiteX195" fmla="*/ 6419850 w 8601075"/>
                  <a:gd name="connsiteY195" fmla="*/ 3105150 h 4333875"/>
                  <a:gd name="connsiteX196" fmla="*/ 6362700 w 8601075"/>
                  <a:gd name="connsiteY196" fmla="*/ 3076575 h 4333875"/>
                  <a:gd name="connsiteX197" fmla="*/ 6410325 w 8601075"/>
                  <a:gd name="connsiteY197" fmla="*/ 3019425 h 4333875"/>
                  <a:gd name="connsiteX198" fmla="*/ 6438900 w 8601075"/>
                  <a:gd name="connsiteY198" fmla="*/ 2819400 h 4333875"/>
                  <a:gd name="connsiteX199" fmla="*/ 6496050 w 8601075"/>
                  <a:gd name="connsiteY199" fmla="*/ 2762250 h 4333875"/>
                  <a:gd name="connsiteX200" fmla="*/ 6657975 w 8601075"/>
                  <a:gd name="connsiteY200" fmla="*/ 2752725 h 4333875"/>
                  <a:gd name="connsiteX201" fmla="*/ 6781800 w 8601075"/>
                  <a:gd name="connsiteY201" fmla="*/ 2838450 h 4333875"/>
                  <a:gd name="connsiteX202" fmla="*/ 7010400 w 8601075"/>
                  <a:gd name="connsiteY202" fmla="*/ 2838450 h 4333875"/>
                  <a:gd name="connsiteX203" fmla="*/ 7162800 w 8601075"/>
                  <a:gd name="connsiteY203" fmla="*/ 2705100 h 4333875"/>
                  <a:gd name="connsiteX204" fmla="*/ 7229475 w 8601075"/>
                  <a:gd name="connsiteY204" fmla="*/ 2590800 h 4333875"/>
                  <a:gd name="connsiteX205" fmla="*/ 7248525 w 8601075"/>
                  <a:gd name="connsiteY205" fmla="*/ 2524125 h 4333875"/>
                  <a:gd name="connsiteX206" fmla="*/ 7372350 w 8601075"/>
                  <a:gd name="connsiteY206" fmla="*/ 2543175 h 4333875"/>
                  <a:gd name="connsiteX207" fmla="*/ 7553325 w 8601075"/>
                  <a:gd name="connsiteY207" fmla="*/ 2447925 h 4333875"/>
                  <a:gd name="connsiteX208" fmla="*/ 7620000 w 8601075"/>
                  <a:gd name="connsiteY208" fmla="*/ 2324100 h 4333875"/>
                  <a:gd name="connsiteX209" fmla="*/ 7696200 w 8601075"/>
                  <a:gd name="connsiteY209" fmla="*/ 2314575 h 4333875"/>
                  <a:gd name="connsiteX210" fmla="*/ 7658100 w 8601075"/>
                  <a:gd name="connsiteY210" fmla="*/ 2257425 h 4333875"/>
                  <a:gd name="connsiteX211" fmla="*/ 7753350 w 8601075"/>
                  <a:gd name="connsiteY211" fmla="*/ 2057400 h 4333875"/>
                  <a:gd name="connsiteX212" fmla="*/ 7934325 w 8601075"/>
                  <a:gd name="connsiteY212" fmla="*/ 2028825 h 4333875"/>
                  <a:gd name="connsiteX213" fmla="*/ 7953375 w 8601075"/>
                  <a:gd name="connsiteY213" fmla="*/ 1952625 h 4333875"/>
                  <a:gd name="connsiteX214" fmla="*/ 7953375 w 8601075"/>
                  <a:gd name="connsiteY214" fmla="*/ 1952625 h 4333875"/>
                  <a:gd name="connsiteX215" fmla="*/ 8010525 w 8601075"/>
                  <a:gd name="connsiteY215" fmla="*/ 1895475 h 4333875"/>
                  <a:gd name="connsiteX216" fmla="*/ 8048625 w 8601075"/>
                  <a:gd name="connsiteY216" fmla="*/ 1971675 h 4333875"/>
                  <a:gd name="connsiteX217" fmla="*/ 8077200 w 8601075"/>
                  <a:gd name="connsiteY217" fmla="*/ 1885950 h 4333875"/>
                  <a:gd name="connsiteX218" fmla="*/ 8220075 w 8601075"/>
                  <a:gd name="connsiteY218" fmla="*/ 1847850 h 4333875"/>
                  <a:gd name="connsiteX219" fmla="*/ 8296275 w 8601075"/>
                  <a:gd name="connsiteY219" fmla="*/ 1809750 h 4333875"/>
                  <a:gd name="connsiteX220" fmla="*/ 8324850 w 8601075"/>
                  <a:gd name="connsiteY220" fmla="*/ 1790700 h 4333875"/>
                  <a:gd name="connsiteX221" fmla="*/ 8410575 w 8601075"/>
                  <a:gd name="connsiteY221" fmla="*/ 1847850 h 4333875"/>
                  <a:gd name="connsiteX222" fmla="*/ 8505825 w 8601075"/>
                  <a:gd name="connsiteY222" fmla="*/ 1781175 h 4333875"/>
                  <a:gd name="connsiteX223" fmla="*/ 8572500 w 8601075"/>
                  <a:gd name="connsiteY223" fmla="*/ 1809750 h 4333875"/>
                  <a:gd name="connsiteX224" fmla="*/ 8601075 w 8601075"/>
                  <a:gd name="connsiteY224" fmla="*/ 1704975 h 4333875"/>
                  <a:gd name="connsiteX225" fmla="*/ 8553450 w 8601075"/>
                  <a:gd name="connsiteY225" fmla="*/ 1676400 h 4333875"/>
                  <a:gd name="connsiteX226" fmla="*/ 8534400 w 8601075"/>
                  <a:gd name="connsiteY226" fmla="*/ 1609725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124825 w 8601075"/>
                  <a:gd name="connsiteY230" fmla="*/ 1352550 h 4333875"/>
                  <a:gd name="connsiteX231" fmla="*/ 7924800 w 8601075"/>
                  <a:gd name="connsiteY231" fmla="*/ 1362075 h 4333875"/>
                  <a:gd name="connsiteX232" fmla="*/ 7867650 w 8601075"/>
                  <a:gd name="connsiteY232" fmla="*/ 1457325 h 4333875"/>
                  <a:gd name="connsiteX233" fmla="*/ 7896225 w 8601075"/>
                  <a:gd name="connsiteY233" fmla="*/ 1476375 h 4333875"/>
                  <a:gd name="connsiteX234" fmla="*/ 7858125 w 8601075"/>
                  <a:gd name="connsiteY234" fmla="*/ 1533525 h 4333875"/>
                  <a:gd name="connsiteX235" fmla="*/ 7658100 w 8601075"/>
                  <a:gd name="connsiteY235" fmla="*/ 1447800 h 4333875"/>
                  <a:gd name="connsiteX236" fmla="*/ 7515225 w 8601075"/>
                  <a:gd name="connsiteY236" fmla="*/ 1495425 h 4333875"/>
                  <a:gd name="connsiteX237" fmla="*/ 7467600 w 8601075"/>
                  <a:gd name="connsiteY237" fmla="*/ 1581150 h 4333875"/>
                  <a:gd name="connsiteX238" fmla="*/ 7296150 w 8601075"/>
                  <a:gd name="connsiteY23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628650 w 8601075"/>
                  <a:gd name="connsiteY146" fmla="*/ 1704975 h 4333875"/>
                  <a:gd name="connsiteX147" fmla="*/ 676275 w 8601075"/>
                  <a:gd name="connsiteY147" fmla="*/ 1771650 h 4333875"/>
                  <a:gd name="connsiteX148" fmla="*/ 657225 w 8601075"/>
                  <a:gd name="connsiteY148" fmla="*/ 2000250 h 4333875"/>
                  <a:gd name="connsiteX149" fmla="*/ 619125 w 8601075"/>
                  <a:gd name="connsiteY149" fmla="*/ 2095500 h 4333875"/>
                  <a:gd name="connsiteX150" fmla="*/ 542925 w 8601075"/>
                  <a:gd name="connsiteY150" fmla="*/ 2228850 h 4333875"/>
                  <a:gd name="connsiteX151" fmla="*/ 485775 w 8601075"/>
                  <a:gd name="connsiteY151" fmla="*/ 2362200 h 4333875"/>
                  <a:gd name="connsiteX152" fmla="*/ 552450 w 8601075"/>
                  <a:gd name="connsiteY152" fmla="*/ 2486025 h 4333875"/>
                  <a:gd name="connsiteX153" fmla="*/ 771525 w 8601075"/>
                  <a:gd name="connsiteY153" fmla="*/ 2571750 h 4333875"/>
                  <a:gd name="connsiteX154" fmla="*/ 866775 w 8601075"/>
                  <a:gd name="connsiteY154" fmla="*/ 2571750 h 4333875"/>
                  <a:gd name="connsiteX155" fmla="*/ 914400 w 8601075"/>
                  <a:gd name="connsiteY155" fmla="*/ 2638425 h 4333875"/>
                  <a:gd name="connsiteX156" fmla="*/ 1066800 w 8601075"/>
                  <a:gd name="connsiteY156" fmla="*/ 2638425 h 4333875"/>
                  <a:gd name="connsiteX157" fmla="*/ 1285875 w 8601075"/>
                  <a:gd name="connsiteY157" fmla="*/ 2705100 h 4333875"/>
                  <a:gd name="connsiteX158" fmla="*/ 1438275 w 8601075"/>
                  <a:gd name="connsiteY158" fmla="*/ 2838450 h 4333875"/>
                  <a:gd name="connsiteX159" fmla="*/ 1485900 w 8601075"/>
                  <a:gd name="connsiteY159" fmla="*/ 2914650 h 4333875"/>
                  <a:gd name="connsiteX160" fmla="*/ 1657350 w 8601075"/>
                  <a:gd name="connsiteY160" fmla="*/ 3038475 h 4333875"/>
                  <a:gd name="connsiteX161" fmla="*/ 1752600 w 8601075"/>
                  <a:gd name="connsiteY161" fmla="*/ 3057525 h 4333875"/>
                  <a:gd name="connsiteX162" fmla="*/ 1724025 w 8601075"/>
                  <a:gd name="connsiteY162" fmla="*/ 3143250 h 4333875"/>
                  <a:gd name="connsiteX163" fmla="*/ 1724025 w 8601075"/>
                  <a:gd name="connsiteY163" fmla="*/ 3143250 h 4333875"/>
                  <a:gd name="connsiteX164" fmla="*/ 1781175 w 8601075"/>
                  <a:gd name="connsiteY164" fmla="*/ 3181350 h 4333875"/>
                  <a:gd name="connsiteX165" fmla="*/ 1819275 w 8601075"/>
                  <a:gd name="connsiteY165" fmla="*/ 3362325 h 4333875"/>
                  <a:gd name="connsiteX166" fmla="*/ 1828800 w 8601075"/>
                  <a:gd name="connsiteY166" fmla="*/ 3457575 h 4333875"/>
                  <a:gd name="connsiteX167" fmla="*/ 1971675 w 8601075"/>
                  <a:gd name="connsiteY167" fmla="*/ 3590925 h 4333875"/>
                  <a:gd name="connsiteX168" fmla="*/ 1990725 w 8601075"/>
                  <a:gd name="connsiteY168" fmla="*/ 3714750 h 4333875"/>
                  <a:gd name="connsiteX169" fmla="*/ 2200275 w 8601075"/>
                  <a:gd name="connsiteY169" fmla="*/ 3695700 h 4333875"/>
                  <a:gd name="connsiteX170" fmla="*/ 2886075 w 8601075"/>
                  <a:gd name="connsiteY170" fmla="*/ 3886200 h 4333875"/>
                  <a:gd name="connsiteX171" fmla="*/ 3038475 w 8601075"/>
                  <a:gd name="connsiteY171" fmla="*/ 3819525 h 4333875"/>
                  <a:gd name="connsiteX172" fmla="*/ 3105150 w 8601075"/>
                  <a:gd name="connsiteY172" fmla="*/ 3867150 h 4333875"/>
                  <a:gd name="connsiteX173" fmla="*/ 3181350 w 8601075"/>
                  <a:gd name="connsiteY173" fmla="*/ 3800475 h 4333875"/>
                  <a:gd name="connsiteX174" fmla="*/ 3590925 w 8601075"/>
                  <a:gd name="connsiteY174" fmla="*/ 3943350 h 4333875"/>
                  <a:gd name="connsiteX175" fmla="*/ 3686175 w 8601075"/>
                  <a:gd name="connsiteY175" fmla="*/ 4057650 h 4333875"/>
                  <a:gd name="connsiteX176" fmla="*/ 3838575 w 8601075"/>
                  <a:gd name="connsiteY176" fmla="*/ 4057650 h 4333875"/>
                  <a:gd name="connsiteX177" fmla="*/ 4162425 w 8601075"/>
                  <a:gd name="connsiteY177" fmla="*/ 4248150 h 4333875"/>
                  <a:gd name="connsiteX178" fmla="*/ 4391025 w 8601075"/>
                  <a:gd name="connsiteY178" fmla="*/ 4200525 h 4333875"/>
                  <a:gd name="connsiteX179" fmla="*/ 4410075 w 8601075"/>
                  <a:gd name="connsiteY179" fmla="*/ 4305300 h 4333875"/>
                  <a:gd name="connsiteX180" fmla="*/ 4505325 w 8601075"/>
                  <a:gd name="connsiteY180" fmla="*/ 4276725 h 4333875"/>
                  <a:gd name="connsiteX181" fmla="*/ 4572000 w 8601075"/>
                  <a:gd name="connsiteY181" fmla="*/ 4333875 h 4333875"/>
                  <a:gd name="connsiteX182" fmla="*/ 4591050 w 8601075"/>
                  <a:gd name="connsiteY182" fmla="*/ 4248150 h 4333875"/>
                  <a:gd name="connsiteX183" fmla="*/ 5295900 w 8601075"/>
                  <a:gd name="connsiteY183" fmla="*/ 3924300 h 4333875"/>
                  <a:gd name="connsiteX184" fmla="*/ 5353050 w 8601075"/>
                  <a:gd name="connsiteY184" fmla="*/ 3990975 h 4333875"/>
                  <a:gd name="connsiteX185" fmla="*/ 5524500 w 8601075"/>
                  <a:gd name="connsiteY185" fmla="*/ 3914775 h 4333875"/>
                  <a:gd name="connsiteX186" fmla="*/ 5667375 w 8601075"/>
                  <a:gd name="connsiteY186" fmla="*/ 3962400 h 4333875"/>
                  <a:gd name="connsiteX187" fmla="*/ 5753100 w 8601075"/>
                  <a:gd name="connsiteY187" fmla="*/ 3924300 h 4333875"/>
                  <a:gd name="connsiteX188" fmla="*/ 5905500 w 8601075"/>
                  <a:gd name="connsiteY188" fmla="*/ 3943350 h 4333875"/>
                  <a:gd name="connsiteX189" fmla="*/ 6000750 w 8601075"/>
                  <a:gd name="connsiteY189" fmla="*/ 3800475 h 4333875"/>
                  <a:gd name="connsiteX190" fmla="*/ 6153150 w 8601075"/>
                  <a:gd name="connsiteY190" fmla="*/ 3781425 h 4333875"/>
                  <a:gd name="connsiteX191" fmla="*/ 6257925 w 8601075"/>
                  <a:gd name="connsiteY191" fmla="*/ 3581400 h 4333875"/>
                  <a:gd name="connsiteX192" fmla="*/ 6448425 w 8601075"/>
                  <a:gd name="connsiteY192" fmla="*/ 3448050 h 4333875"/>
                  <a:gd name="connsiteX193" fmla="*/ 6581775 w 8601075"/>
                  <a:gd name="connsiteY193" fmla="*/ 3276600 h 4333875"/>
                  <a:gd name="connsiteX194" fmla="*/ 6496050 w 8601075"/>
                  <a:gd name="connsiteY194" fmla="*/ 3228975 h 4333875"/>
                  <a:gd name="connsiteX195" fmla="*/ 6438900 w 8601075"/>
                  <a:gd name="connsiteY195" fmla="*/ 3162300 h 4333875"/>
                  <a:gd name="connsiteX196" fmla="*/ 6419850 w 8601075"/>
                  <a:gd name="connsiteY196" fmla="*/ 3105150 h 4333875"/>
                  <a:gd name="connsiteX197" fmla="*/ 6362700 w 8601075"/>
                  <a:gd name="connsiteY197" fmla="*/ 3076575 h 4333875"/>
                  <a:gd name="connsiteX198" fmla="*/ 6410325 w 8601075"/>
                  <a:gd name="connsiteY198" fmla="*/ 3019425 h 4333875"/>
                  <a:gd name="connsiteX199" fmla="*/ 6438900 w 8601075"/>
                  <a:gd name="connsiteY199" fmla="*/ 2819400 h 4333875"/>
                  <a:gd name="connsiteX200" fmla="*/ 6496050 w 8601075"/>
                  <a:gd name="connsiteY200" fmla="*/ 2762250 h 4333875"/>
                  <a:gd name="connsiteX201" fmla="*/ 6657975 w 8601075"/>
                  <a:gd name="connsiteY201" fmla="*/ 2752725 h 4333875"/>
                  <a:gd name="connsiteX202" fmla="*/ 6781800 w 8601075"/>
                  <a:gd name="connsiteY202" fmla="*/ 2838450 h 4333875"/>
                  <a:gd name="connsiteX203" fmla="*/ 7010400 w 8601075"/>
                  <a:gd name="connsiteY203" fmla="*/ 2838450 h 4333875"/>
                  <a:gd name="connsiteX204" fmla="*/ 7162800 w 8601075"/>
                  <a:gd name="connsiteY204" fmla="*/ 2705100 h 4333875"/>
                  <a:gd name="connsiteX205" fmla="*/ 7229475 w 8601075"/>
                  <a:gd name="connsiteY205" fmla="*/ 2590800 h 4333875"/>
                  <a:gd name="connsiteX206" fmla="*/ 7248525 w 8601075"/>
                  <a:gd name="connsiteY206" fmla="*/ 2524125 h 4333875"/>
                  <a:gd name="connsiteX207" fmla="*/ 7372350 w 8601075"/>
                  <a:gd name="connsiteY207" fmla="*/ 2543175 h 4333875"/>
                  <a:gd name="connsiteX208" fmla="*/ 7553325 w 8601075"/>
                  <a:gd name="connsiteY208" fmla="*/ 2447925 h 4333875"/>
                  <a:gd name="connsiteX209" fmla="*/ 7620000 w 8601075"/>
                  <a:gd name="connsiteY209" fmla="*/ 2324100 h 4333875"/>
                  <a:gd name="connsiteX210" fmla="*/ 7696200 w 8601075"/>
                  <a:gd name="connsiteY210" fmla="*/ 2314575 h 4333875"/>
                  <a:gd name="connsiteX211" fmla="*/ 7658100 w 8601075"/>
                  <a:gd name="connsiteY211" fmla="*/ 2257425 h 4333875"/>
                  <a:gd name="connsiteX212" fmla="*/ 7753350 w 8601075"/>
                  <a:gd name="connsiteY212" fmla="*/ 2057400 h 4333875"/>
                  <a:gd name="connsiteX213" fmla="*/ 7934325 w 8601075"/>
                  <a:gd name="connsiteY213" fmla="*/ 2028825 h 4333875"/>
                  <a:gd name="connsiteX214" fmla="*/ 7953375 w 8601075"/>
                  <a:gd name="connsiteY214" fmla="*/ 1952625 h 4333875"/>
                  <a:gd name="connsiteX215" fmla="*/ 7953375 w 8601075"/>
                  <a:gd name="connsiteY215" fmla="*/ 1952625 h 4333875"/>
                  <a:gd name="connsiteX216" fmla="*/ 8010525 w 8601075"/>
                  <a:gd name="connsiteY216" fmla="*/ 1895475 h 4333875"/>
                  <a:gd name="connsiteX217" fmla="*/ 8048625 w 8601075"/>
                  <a:gd name="connsiteY217" fmla="*/ 1971675 h 4333875"/>
                  <a:gd name="connsiteX218" fmla="*/ 8077200 w 8601075"/>
                  <a:gd name="connsiteY218" fmla="*/ 1885950 h 4333875"/>
                  <a:gd name="connsiteX219" fmla="*/ 8220075 w 8601075"/>
                  <a:gd name="connsiteY219" fmla="*/ 1847850 h 4333875"/>
                  <a:gd name="connsiteX220" fmla="*/ 8296275 w 8601075"/>
                  <a:gd name="connsiteY220" fmla="*/ 1809750 h 4333875"/>
                  <a:gd name="connsiteX221" fmla="*/ 8324850 w 8601075"/>
                  <a:gd name="connsiteY221" fmla="*/ 1790700 h 4333875"/>
                  <a:gd name="connsiteX222" fmla="*/ 8410575 w 8601075"/>
                  <a:gd name="connsiteY222" fmla="*/ 1847850 h 4333875"/>
                  <a:gd name="connsiteX223" fmla="*/ 8505825 w 8601075"/>
                  <a:gd name="connsiteY223" fmla="*/ 1781175 h 4333875"/>
                  <a:gd name="connsiteX224" fmla="*/ 8572500 w 8601075"/>
                  <a:gd name="connsiteY224" fmla="*/ 1809750 h 4333875"/>
                  <a:gd name="connsiteX225" fmla="*/ 8601075 w 8601075"/>
                  <a:gd name="connsiteY225" fmla="*/ 1704975 h 4333875"/>
                  <a:gd name="connsiteX226" fmla="*/ 8553450 w 8601075"/>
                  <a:gd name="connsiteY226" fmla="*/ 1676400 h 4333875"/>
                  <a:gd name="connsiteX227" fmla="*/ 8534400 w 8601075"/>
                  <a:gd name="connsiteY227" fmla="*/ 1609725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124825 w 8601075"/>
                  <a:gd name="connsiteY231" fmla="*/ 1352550 h 4333875"/>
                  <a:gd name="connsiteX232" fmla="*/ 7924800 w 8601075"/>
                  <a:gd name="connsiteY232" fmla="*/ 1362075 h 4333875"/>
                  <a:gd name="connsiteX233" fmla="*/ 7867650 w 8601075"/>
                  <a:gd name="connsiteY233" fmla="*/ 1457325 h 4333875"/>
                  <a:gd name="connsiteX234" fmla="*/ 7896225 w 8601075"/>
                  <a:gd name="connsiteY234" fmla="*/ 1476375 h 4333875"/>
                  <a:gd name="connsiteX235" fmla="*/ 7858125 w 8601075"/>
                  <a:gd name="connsiteY235" fmla="*/ 1533525 h 4333875"/>
                  <a:gd name="connsiteX236" fmla="*/ 7658100 w 8601075"/>
                  <a:gd name="connsiteY236" fmla="*/ 1447800 h 4333875"/>
                  <a:gd name="connsiteX237" fmla="*/ 7515225 w 8601075"/>
                  <a:gd name="connsiteY237" fmla="*/ 1495425 h 4333875"/>
                  <a:gd name="connsiteX238" fmla="*/ 7467600 w 8601075"/>
                  <a:gd name="connsiteY238" fmla="*/ 1581150 h 4333875"/>
                  <a:gd name="connsiteX239" fmla="*/ 7296150 w 8601075"/>
                  <a:gd name="connsiteY23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676275 w 8601075"/>
                  <a:gd name="connsiteY147" fmla="*/ 1771650 h 4333875"/>
                  <a:gd name="connsiteX148" fmla="*/ 657225 w 8601075"/>
                  <a:gd name="connsiteY148" fmla="*/ 2000250 h 4333875"/>
                  <a:gd name="connsiteX149" fmla="*/ 619125 w 8601075"/>
                  <a:gd name="connsiteY149" fmla="*/ 2095500 h 4333875"/>
                  <a:gd name="connsiteX150" fmla="*/ 542925 w 8601075"/>
                  <a:gd name="connsiteY150" fmla="*/ 2228850 h 4333875"/>
                  <a:gd name="connsiteX151" fmla="*/ 485775 w 8601075"/>
                  <a:gd name="connsiteY151" fmla="*/ 2362200 h 4333875"/>
                  <a:gd name="connsiteX152" fmla="*/ 552450 w 8601075"/>
                  <a:gd name="connsiteY152" fmla="*/ 2486025 h 4333875"/>
                  <a:gd name="connsiteX153" fmla="*/ 771525 w 8601075"/>
                  <a:gd name="connsiteY153" fmla="*/ 2571750 h 4333875"/>
                  <a:gd name="connsiteX154" fmla="*/ 866775 w 8601075"/>
                  <a:gd name="connsiteY154" fmla="*/ 2571750 h 4333875"/>
                  <a:gd name="connsiteX155" fmla="*/ 914400 w 8601075"/>
                  <a:gd name="connsiteY155" fmla="*/ 2638425 h 4333875"/>
                  <a:gd name="connsiteX156" fmla="*/ 1066800 w 8601075"/>
                  <a:gd name="connsiteY156" fmla="*/ 2638425 h 4333875"/>
                  <a:gd name="connsiteX157" fmla="*/ 1285875 w 8601075"/>
                  <a:gd name="connsiteY157" fmla="*/ 2705100 h 4333875"/>
                  <a:gd name="connsiteX158" fmla="*/ 1438275 w 8601075"/>
                  <a:gd name="connsiteY158" fmla="*/ 2838450 h 4333875"/>
                  <a:gd name="connsiteX159" fmla="*/ 1485900 w 8601075"/>
                  <a:gd name="connsiteY159" fmla="*/ 2914650 h 4333875"/>
                  <a:gd name="connsiteX160" fmla="*/ 1657350 w 8601075"/>
                  <a:gd name="connsiteY160" fmla="*/ 3038475 h 4333875"/>
                  <a:gd name="connsiteX161" fmla="*/ 1752600 w 8601075"/>
                  <a:gd name="connsiteY161" fmla="*/ 3057525 h 4333875"/>
                  <a:gd name="connsiteX162" fmla="*/ 1724025 w 8601075"/>
                  <a:gd name="connsiteY162" fmla="*/ 3143250 h 4333875"/>
                  <a:gd name="connsiteX163" fmla="*/ 1724025 w 8601075"/>
                  <a:gd name="connsiteY163" fmla="*/ 3143250 h 4333875"/>
                  <a:gd name="connsiteX164" fmla="*/ 1781175 w 8601075"/>
                  <a:gd name="connsiteY164" fmla="*/ 3181350 h 4333875"/>
                  <a:gd name="connsiteX165" fmla="*/ 1819275 w 8601075"/>
                  <a:gd name="connsiteY165" fmla="*/ 3362325 h 4333875"/>
                  <a:gd name="connsiteX166" fmla="*/ 1828800 w 8601075"/>
                  <a:gd name="connsiteY166" fmla="*/ 3457575 h 4333875"/>
                  <a:gd name="connsiteX167" fmla="*/ 1971675 w 8601075"/>
                  <a:gd name="connsiteY167" fmla="*/ 3590925 h 4333875"/>
                  <a:gd name="connsiteX168" fmla="*/ 1990725 w 8601075"/>
                  <a:gd name="connsiteY168" fmla="*/ 3714750 h 4333875"/>
                  <a:gd name="connsiteX169" fmla="*/ 2200275 w 8601075"/>
                  <a:gd name="connsiteY169" fmla="*/ 3695700 h 4333875"/>
                  <a:gd name="connsiteX170" fmla="*/ 2886075 w 8601075"/>
                  <a:gd name="connsiteY170" fmla="*/ 3886200 h 4333875"/>
                  <a:gd name="connsiteX171" fmla="*/ 3038475 w 8601075"/>
                  <a:gd name="connsiteY171" fmla="*/ 3819525 h 4333875"/>
                  <a:gd name="connsiteX172" fmla="*/ 3105150 w 8601075"/>
                  <a:gd name="connsiteY172" fmla="*/ 3867150 h 4333875"/>
                  <a:gd name="connsiteX173" fmla="*/ 3181350 w 8601075"/>
                  <a:gd name="connsiteY173" fmla="*/ 3800475 h 4333875"/>
                  <a:gd name="connsiteX174" fmla="*/ 3590925 w 8601075"/>
                  <a:gd name="connsiteY174" fmla="*/ 3943350 h 4333875"/>
                  <a:gd name="connsiteX175" fmla="*/ 3686175 w 8601075"/>
                  <a:gd name="connsiteY175" fmla="*/ 4057650 h 4333875"/>
                  <a:gd name="connsiteX176" fmla="*/ 3838575 w 8601075"/>
                  <a:gd name="connsiteY176" fmla="*/ 4057650 h 4333875"/>
                  <a:gd name="connsiteX177" fmla="*/ 4162425 w 8601075"/>
                  <a:gd name="connsiteY177" fmla="*/ 4248150 h 4333875"/>
                  <a:gd name="connsiteX178" fmla="*/ 4391025 w 8601075"/>
                  <a:gd name="connsiteY178" fmla="*/ 4200525 h 4333875"/>
                  <a:gd name="connsiteX179" fmla="*/ 4410075 w 8601075"/>
                  <a:gd name="connsiteY179" fmla="*/ 4305300 h 4333875"/>
                  <a:gd name="connsiteX180" fmla="*/ 4505325 w 8601075"/>
                  <a:gd name="connsiteY180" fmla="*/ 4276725 h 4333875"/>
                  <a:gd name="connsiteX181" fmla="*/ 4572000 w 8601075"/>
                  <a:gd name="connsiteY181" fmla="*/ 4333875 h 4333875"/>
                  <a:gd name="connsiteX182" fmla="*/ 4591050 w 8601075"/>
                  <a:gd name="connsiteY182" fmla="*/ 4248150 h 4333875"/>
                  <a:gd name="connsiteX183" fmla="*/ 5295900 w 8601075"/>
                  <a:gd name="connsiteY183" fmla="*/ 3924300 h 4333875"/>
                  <a:gd name="connsiteX184" fmla="*/ 5353050 w 8601075"/>
                  <a:gd name="connsiteY184" fmla="*/ 3990975 h 4333875"/>
                  <a:gd name="connsiteX185" fmla="*/ 5524500 w 8601075"/>
                  <a:gd name="connsiteY185" fmla="*/ 3914775 h 4333875"/>
                  <a:gd name="connsiteX186" fmla="*/ 5667375 w 8601075"/>
                  <a:gd name="connsiteY186" fmla="*/ 3962400 h 4333875"/>
                  <a:gd name="connsiteX187" fmla="*/ 5753100 w 8601075"/>
                  <a:gd name="connsiteY187" fmla="*/ 3924300 h 4333875"/>
                  <a:gd name="connsiteX188" fmla="*/ 5905500 w 8601075"/>
                  <a:gd name="connsiteY188" fmla="*/ 3943350 h 4333875"/>
                  <a:gd name="connsiteX189" fmla="*/ 6000750 w 8601075"/>
                  <a:gd name="connsiteY189" fmla="*/ 3800475 h 4333875"/>
                  <a:gd name="connsiteX190" fmla="*/ 6153150 w 8601075"/>
                  <a:gd name="connsiteY190" fmla="*/ 3781425 h 4333875"/>
                  <a:gd name="connsiteX191" fmla="*/ 6257925 w 8601075"/>
                  <a:gd name="connsiteY191" fmla="*/ 3581400 h 4333875"/>
                  <a:gd name="connsiteX192" fmla="*/ 6448425 w 8601075"/>
                  <a:gd name="connsiteY192" fmla="*/ 3448050 h 4333875"/>
                  <a:gd name="connsiteX193" fmla="*/ 6581775 w 8601075"/>
                  <a:gd name="connsiteY193" fmla="*/ 3276600 h 4333875"/>
                  <a:gd name="connsiteX194" fmla="*/ 6496050 w 8601075"/>
                  <a:gd name="connsiteY194" fmla="*/ 3228975 h 4333875"/>
                  <a:gd name="connsiteX195" fmla="*/ 6438900 w 8601075"/>
                  <a:gd name="connsiteY195" fmla="*/ 3162300 h 4333875"/>
                  <a:gd name="connsiteX196" fmla="*/ 6419850 w 8601075"/>
                  <a:gd name="connsiteY196" fmla="*/ 3105150 h 4333875"/>
                  <a:gd name="connsiteX197" fmla="*/ 6362700 w 8601075"/>
                  <a:gd name="connsiteY197" fmla="*/ 3076575 h 4333875"/>
                  <a:gd name="connsiteX198" fmla="*/ 6410325 w 8601075"/>
                  <a:gd name="connsiteY198" fmla="*/ 3019425 h 4333875"/>
                  <a:gd name="connsiteX199" fmla="*/ 6438900 w 8601075"/>
                  <a:gd name="connsiteY199" fmla="*/ 2819400 h 4333875"/>
                  <a:gd name="connsiteX200" fmla="*/ 6496050 w 8601075"/>
                  <a:gd name="connsiteY200" fmla="*/ 2762250 h 4333875"/>
                  <a:gd name="connsiteX201" fmla="*/ 6657975 w 8601075"/>
                  <a:gd name="connsiteY201" fmla="*/ 2752725 h 4333875"/>
                  <a:gd name="connsiteX202" fmla="*/ 6781800 w 8601075"/>
                  <a:gd name="connsiteY202" fmla="*/ 2838450 h 4333875"/>
                  <a:gd name="connsiteX203" fmla="*/ 7010400 w 8601075"/>
                  <a:gd name="connsiteY203" fmla="*/ 2838450 h 4333875"/>
                  <a:gd name="connsiteX204" fmla="*/ 7162800 w 8601075"/>
                  <a:gd name="connsiteY204" fmla="*/ 2705100 h 4333875"/>
                  <a:gd name="connsiteX205" fmla="*/ 7229475 w 8601075"/>
                  <a:gd name="connsiteY205" fmla="*/ 2590800 h 4333875"/>
                  <a:gd name="connsiteX206" fmla="*/ 7248525 w 8601075"/>
                  <a:gd name="connsiteY206" fmla="*/ 2524125 h 4333875"/>
                  <a:gd name="connsiteX207" fmla="*/ 7372350 w 8601075"/>
                  <a:gd name="connsiteY207" fmla="*/ 2543175 h 4333875"/>
                  <a:gd name="connsiteX208" fmla="*/ 7553325 w 8601075"/>
                  <a:gd name="connsiteY208" fmla="*/ 2447925 h 4333875"/>
                  <a:gd name="connsiteX209" fmla="*/ 7620000 w 8601075"/>
                  <a:gd name="connsiteY209" fmla="*/ 2324100 h 4333875"/>
                  <a:gd name="connsiteX210" fmla="*/ 7696200 w 8601075"/>
                  <a:gd name="connsiteY210" fmla="*/ 2314575 h 4333875"/>
                  <a:gd name="connsiteX211" fmla="*/ 7658100 w 8601075"/>
                  <a:gd name="connsiteY211" fmla="*/ 2257425 h 4333875"/>
                  <a:gd name="connsiteX212" fmla="*/ 7753350 w 8601075"/>
                  <a:gd name="connsiteY212" fmla="*/ 2057400 h 4333875"/>
                  <a:gd name="connsiteX213" fmla="*/ 7934325 w 8601075"/>
                  <a:gd name="connsiteY213" fmla="*/ 2028825 h 4333875"/>
                  <a:gd name="connsiteX214" fmla="*/ 7953375 w 8601075"/>
                  <a:gd name="connsiteY214" fmla="*/ 1952625 h 4333875"/>
                  <a:gd name="connsiteX215" fmla="*/ 7953375 w 8601075"/>
                  <a:gd name="connsiteY215" fmla="*/ 1952625 h 4333875"/>
                  <a:gd name="connsiteX216" fmla="*/ 8010525 w 8601075"/>
                  <a:gd name="connsiteY216" fmla="*/ 1895475 h 4333875"/>
                  <a:gd name="connsiteX217" fmla="*/ 8048625 w 8601075"/>
                  <a:gd name="connsiteY217" fmla="*/ 1971675 h 4333875"/>
                  <a:gd name="connsiteX218" fmla="*/ 8077200 w 8601075"/>
                  <a:gd name="connsiteY218" fmla="*/ 1885950 h 4333875"/>
                  <a:gd name="connsiteX219" fmla="*/ 8220075 w 8601075"/>
                  <a:gd name="connsiteY219" fmla="*/ 1847850 h 4333875"/>
                  <a:gd name="connsiteX220" fmla="*/ 8296275 w 8601075"/>
                  <a:gd name="connsiteY220" fmla="*/ 1809750 h 4333875"/>
                  <a:gd name="connsiteX221" fmla="*/ 8324850 w 8601075"/>
                  <a:gd name="connsiteY221" fmla="*/ 1790700 h 4333875"/>
                  <a:gd name="connsiteX222" fmla="*/ 8410575 w 8601075"/>
                  <a:gd name="connsiteY222" fmla="*/ 1847850 h 4333875"/>
                  <a:gd name="connsiteX223" fmla="*/ 8505825 w 8601075"/>
                  <a:gd name="connsiteY223" fmla="*/ 1781175 h 4333875"/>
                  <a:gd name="connsiteX224" fmla="*/ 8572500 w 8601075"/>
                  <a:gd name="connsiteY224" fmla="*/ 1809750 h 4333875"/>
                  <a:gd name="connsiteX225" fmla="*/ 8601075 w 8601075"/>
                  <a:gd name="connsiteY225" fmla="*/ 1704975 h 4333875"/>
                  <a:gd name="connsiteX226" fmla="*/ 8553450 w 8601075"/>
                  <a:gd name="connsiteY226" fmla="*/ 1676400 h 4333875"/>
                  <a:gd name="connsiteX227" fmla="*/ 8534400 w 8601075"/>
                  <a:gd name="connsiteY227" fmla="*/ 1609725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124825 w 8601075"/>
                  <a:gd name="connsiteY231" fmla="*/ 1352550 h 4333875"/>
                  <a:gd name="connsiteX232" fmla="*/ 7924800 w 8601075"/>
                  <a:gd name="connsiteY232" fmla="*/ 1362075 h 4333875"/>
                  <a:gd name="connsiteX233" fmla="*/ 7867650 w 8601075"/>
                  <a:gd name="connsiteY233" fmla="*/ 1457325 h 4333875"/>
                  <a:gd name="connsiteX234" fmla="*/ 7896225 w 8601075"/>
                  <a:gd name="connsiteY234" fmla="*/ 1476375 h 4333875"/>
                  <a:gd name="connsiteX235" fmla="*/ 7858125 w 8601075"/>
                  <a:gd name="connsiteY235" fmla="*/ 1533525 h 4333875"/>
                  <a:gd name="connsiteX236" fmla="*/ 7658100 w 8601075"/>
                  <a:gd name="connsiteY236" fmla="*/ 1447800 h 4333875"/>
                  <a:gd name="connsiteX237" fmla="*/ 7515225 w 8601075"/>
                  <a:gd name="connsiteY237" fmla="*/ 1495425 h 4333875"/>
                  <a:gd name="connsiteX238" fmla="*/ 7467600 w 8601075"/>
                  <a:gd name="connsiteY238" fmla="*/ 1581150 h 4333875"/>
                  <a:gd name="connsiteX239" fmla="*/ 7296150 w 8601075"/>
                  <a:gd name="connsiteY23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76275 w 8601075"/>
                  <a:gd name="connsiteY148" fmla="*/ 1771650 h 4333875"/>
                  <a:gd name="connsiteX149" fmla="*/ 657225 w 8601075"/>
                  <a:gd name="connsiteY149" fmla="*/ 2000250 h 4333875"/>
                  <a:gd name="connsiteX150" fmla="*/ 619125 w 8601075"/>
                  <a:gd name="connsiteY150" fmla="*/ 2095500 h 4333875"/>
                  <a:gd name="connsiteX151" fmla="*/ 542925 w 8601075"/>
                  <a:gd name="connsiteY151" fmla="*/ 2228850 h 4333875"/>
                  <a:gd name="connsiteX152" fmla="*/ 485775 w 8601075"/>
                  <a:gd name="connsiteY152" fmla="*/ 2362200 h 4333875"/>
                  <a:gd name="connsiteX153" fmla="*/ 552450 w 8601075"/>
                  <a:gd name="connsiteY153" fmla="*/ 2486025 h 4333875"/>
                  <a:gd name="connsiteX154" fmla="*/ 771525 w 8601075"/>
                  <a:gd name="connsiteY154" fmla="*/ 2571750 h 4333875"/>
                  <a:gd name="connsiteX155" fmla="*/ 866775 w 8601075"/>
                  <a:gd name="connsiteY155" fmla="*/ 2571750 h 4333875"/>
                  <a:gd name="connsiteX156" fmla="*/ 914400 w 8601075"/>
                  <a:gd name="connsiteY156" fmla="*/ 2638425 h 4333875"/>
                  <a:gd name="connsiteX157" fmla="*/ 1066800 w 8601075"/>
                  <a:gd name="connsiteY157" fmla="*/ 2638425 h 4333875"/>
                  <a:gd name="connsiteX158" fmla="*/ 1285875 w 8601075"/>
                  <a:gd name="connsiteY158" fmla="*/ 2705100 h 4333875"/>
                  <a:gd name="connsiteX159" fmla="*/ 1438275 w 8601075"/>
                  <a:gd name="connsiteY159" fmla="*/ 2838450 h 4333875"/>
                  <a:gd name="connsiteX160" fmla="*/ 1485900 w 8601075"/>
                  <a:gd name="connsiteY160" fmla="*/ 2914650 h 4333875"/>
                  <a:gd name="connsiteX161" fmla="*/ 1657350 w 8601075"/>
                  <a:gd name="connsiteY161" fmla="*/ 3038475 h 4333875"/>
                  <a:gd name="connsiteX162" fmla="*/ 1752600 w 8601075"/>
                  <a:gd name="connsiteY162" fmla="*/ 3057525 h 4333875"/>
                  <a:gd name="connsiteX163" fmla="*/ 1724025 w 8601075"/>
                  <a:gd name="connsiteY163" fmla="*/ 3143250 h 4333875"/>
                  <a:gd name="connsiteX164" fmla="*/ 1724025 w 8601075"/>
                  <a:gd name="connsiteY164" fmla="*/ 3143250 h 4333875"/>
                  <a:gd name="connsiteX165" fmla="*/ 1781175 w 8601075"/>
                  <a:gd name="connsiteY165" fmla="*/ 3181350 h 4333875"/>
                  <a:gd name="connsiteX166" fmla="*/ 1819275 w 8601075"/>
                  <a:gd name="connsiteY166" fmla="*/ 3362325 h 4333875"/>
                  <a:gd name="connsiteX167" fmla="*/ 1828800 w 8601075"/>
                  <a:gd name="connsiteY167" fmla="*/ 3457575 h 4333875"/>
                  <a:gd name="connsiteX168" fmla="*/ 1971675 w 8601075"/>
                  <a:gd name="connsiteY168" fmla="*/ 3590925 h 4333875"/>
                  <a:gd name="connsiteX169" fmla="*/ 1990725 w 8601075"/>
                  <a:gd name="connsiteY169" fmla="*/ 3714750 h 4333875"/>
                  <a:gd name="connsiteX170" fmla="*/ 2200275 w 8601075"/>
                  <a:gd name="connsiteY170" fmla="*/ 3695700 h 4333875"/>
                  <a:gd name="connsiteX171" fmla="*/ 2886075 w 8601075"/>
                  <a:gd name="connsiteY171" fmla="*/ 3886200 h 4333875"/>
                  <a:gd name="connsiteX172" fmla="*/ 3038475 w 8601075"/>
                  <a:gd name="connsiteY172" fmla="*/ 3819525 h 4333875"/>
                  <a:gd name="connsiteX173" fmla="*/ 3105150 w 8601075"/>
                  <a:gd name="connsiteY173" fmla="*/ 3867150 h 4333875"/>
                  <a:gd name="connsiteX174" fmla="*/ 3181350 w 8601075"/>
                  <a:gd name="connsiteY174" fmla="*/ 3800475 h 4333875"/>
                  <a:gd name="connsiteX175" fmla="*/ 3590925 w 8601075"/>
                  <a:gd name="connsiteY175" fmla="*/ 3943350 h 4333875"/>
                  <a:gd name="connsiteX176" fmla="*/ 3686175 w 8601075"/>
                  <a:gd name="connsiteY176" fmla="*/ 4057650 h 4333875"/>
                  <a:gd name="connsiteX177" fmla="*/ 3838575 w 8601075"/>
                  <a:gd name="connsiteY177" fmla="*/ 4057650 h 4333875"/>
                  <a:gd name="connsiteX178" fmla="*/ 4162425 w 8601075"/>
                  <a:gd name="connsiteY178" fmla="*/ 4248150 h 4333875"/>
                  <a:gd name="connsiteX179" fmla="*/ 4391025 w 8601075"/>
                  <a:gd name="connsiteY179" fmla="*/ 4200525 h 4333875"/>
                  <a:gd name="connsiteX180" fmla="*/ 4410075 w 8601075"/>
                  <a:gd name="connsiteY180" fmla="*/ 4305300 h 4333875"/>
                  <a:gd name="connsiteX181" fmla="*/ 4505325 w 8601075"/>
                  <a:gd name="connsiteY181" fmla="*/ 4276725 h 4333875"/>
                  <a:gd name="connsiteX182" fmla="*/ 4572000 w 8601075"/>
                  <a:gd name="connsiteY182" fmla="*/ 4333875 h 4333875"/>
                  <a:gd name="connsiteX183" fmla="*/ 4591050 w 8601075"/>
                  <a:gd name="connsiteY183" fmla="*/ 4248150 h 4333875"/>
                  <a:gd name="connsiteX184" fmla="*/ 5295900 w 8601075"/>
                  <a:gd name="connsiteY184" fmla="*/ 3924300 h 4333875"/>
                  <a:gd name="connsiteX185" fmla="*/ 5353050 w 8601075"/>
                  <a:gd name="connsiteY185" fmla="*/ 3990975 h 4333875"/>
                  <a:gd name="connsiteX186" fmla="*/ 5524500 w 8601075"/>
                  <a:gd name="connsiteY186" fmla="*/ 3914775 h 4333875"/>
                  <a:gd name="connsiteX187" fmla="*/ 5667375 w 8601075"/>
                  <a:gd name="connsiteY187" fmla="*/ 3962400 h 4333875"/>
                  <a:gd name="connsiteX188" fmla="*/ 5753100 w 8601075"/>
                  <a:gd name="connsiteY188" fmla="*/ 3924300 h 4333875"/>
                  <a:gd name="connsiteX189" fmla="*/ 5905500 w 8601075"/>
                  <a:gd name="connsiteY189" fmla="*/ 3943350 h 4333875"/>
                  <a:gd name="connsiteX190" fmla="*/ 6000750 w 8601075"/>
                  <a:gd name="connsiteY190" fmla="*/ 3800475 h 4333875"/>
                  <a:gd name="connsiteX191" fmla="*/ 6153150 w 8601075"/>
                  <a:gd name="connsiteY191" fmla="*/ 3781425 h 4333875"/>
                  <a:gd name="connsiteX192" fmla="*/ 6257925 w 8601075"/>
                  <a:gd name="connsiteY192" fmla="*/ 3581400 h 4333875"/>
                  <a:gd name="connsiteX193" fmla="*/ 6448425 w 8601075"/>
                  <a:gd name="connsiteY193" fmla="*/ 3448050 h 4333875"/>
                  <a:gd name="connsiteX194" fmla="*/ 6581775 w 8601075"/>
                  <a:gd name="connsiteY194" fmla="*/ 3276600 h 4333875"/>
                  <a:gd name="connsiteX195" fmla="*/ 6496050 w 8601075"/>
                  <a:gd name="connsiteY195" fmla="*/ 3228975 h 4333875"/>
                  <a:gd name="connsiteX196" fmla="*/ 6438900 w 8601075"/>
                  <a:gd name="connsiteY196" fmla="*/ 3162300 h 4333875"/>
                  <a:gd name="connsiteX197" fmla="*/ 6419850 w 8601075"/>
                  <a:gd name="connsiteY197" fmla="*/ 3105150 h 4333875"/>
                  <a:gd name="connsiteX198" fmla="*/ 6362700 w 8601075"/>
                  <a:gd name="connsiteY198" fmla="*/ 3076575 h 4333875"/>
                  <a:gd name="connsiteX199" fmla="*/ 6410325 w 8601075"/>
                  <a:gd name="connsiteY199" fmla="*/ 3019425 h 4333875"/>
                  <a:gd name="connsiteX200" fmla="*/ 6438900 w 8601075"/>
                  <a:gd name="connsiteY200" fmla="*/ 2819400 h 4333875"/>
                  <a:gd name="connsiteX201" fmla="*/ 6496050 w 8601075"/>
                  <a:gd name="connsiteY201" fmla="*/ 2762250 h 4333875"/>
                  <a:gd name="connsiteX202" fmla="*/ 6657975 w 8601075"/>
                  <a:gd name="connsiteY202" fmla="*/ 2752725 h 4333875"/>
                  <a:gd name="connsiteX203" fmla="*/ 6781800 w 8601075"/>
                  <a:gd name="connsiteY203" fmla="*/ 2838450 h 4333875"/>
                  <a:gd name="connsiteX204" fmla="*/ 7010400 w 8601075"/>
                  <a:gd name="connsiteY204" fmla="*/ 2838450 h 4333875"/>
                  <a:gd name="connsiteX205" fmla="*/ 7162800 w 8601075"/>
                  <a:gd name="connsiteY205" fmla="*/ 2705100 h 4333875"/>
                  <a:gd name="connsiteX206" fmla="*/ 7229475 w 8601075"/>
                  <a:gd name="connsiteY206" fmla="*/ 2590800 h 4333875"/>
                  <a:gd name="connsiteX207" fmla="*/ 7248525 w 8601075"/>
                  <a:gd name="connsiteY207" fmla="*/ 2524125 h 4333875"/>
                  <a:gd name="connsiteX208" fmla="*/ 7372350 w 8601075"/>
                  <a:gd name="connsiteY208" fmla="*/ 2543175 h 4333875"/>
                  <a:gd name="connsiteX209" fmla="*/ 7553325 w 8601075"/>
                  <a:gd name="connsiteY209" fmla="*/ 2447925 h 4333875"/>
                  <a:gd name="connsiteX210" fmla="*/ 7620000 w 8601075"/>
                  <a:gd name="connsiteY210" fmla="*/ 2324100 h 4333875"/>
                  <a:gd name="connsiteX211" fmla="*/ 7696200 w 8601075"/>
                  <a:gd name="connsiteY211" fmla="*/ 2314575 h 4333875"/>
                  <a:gd name="connsiteX212" fmla="*/ 7658100 w 8601075"/>
                  <a:gd name="connsiteY212" fmla="*/ 2257425 h 4333875"/>
                  <a:gd name="connsiteX213" fmla="*/ 7753350 w 8601075"/>
                  <a:gd name="connsiteY213" fmla="*/ 2057400 h 4333875"/>
                  <a:gd name="connsiteX214" fmla="*/ 7934325 w 8601075"/>
                  <a:gd name="connsiteY214" fmla="*/ 2028825 h 4333875"/>
                  <a:gd name="connsiteX215" fmla="*/ 7953375 w 8601075"/>
                  <a:gd name="connsiteY215" fmla="*/ 1952625 h 4333875"/>
                  <a:gd name="connsiteX216" fmla="*/ 7953375 w 8601075"/>
                  <a:gd name="connsiteY216" fmla="*/ 1952625 h 4333875"/>
                  <a:gd name="connsiteX217" fmla="*/ 8010525 w 8601075"/>
                  <a:gd name="connsiteY217" fmla="*/ 1895475 h 4333875"/>
                  <a:gd name="connsiteX218" fmla="*/ 8048625 w 8601075"/>
                  <a:gd name="connsiteY218" fmla="*/ 1971675 h 4333875"/>
                  <a:gd name="connsiteX219" fmla="*/ 8077200 w 8601075"/>
                  <a:gd name="connsiteY219" fmla="*/ 1885950 h 4333875"/>
                  <a:gd name="connsiteX220" fmla="*/ 8220075 w 8601075"/>
                  <a:gd name="connsiteY220" fmla="*/ 1847850 h 4333875"/>
                  <a:gd name="connsiteX221" fmla="*/ 8296275 w 8601075"/>
                  <a:gd name="connsiteY221" fmla="*/ 1809750 h 4333875"/>
                  <a:gd name="connsiteX222" fmla="*/ 8324850 w 8601075"/>
                  <a:gd name="connsiteY222" fmla="*/ 1790700 h 4333875"/>
                  <a:gd name="connsiteX223" fmla="*/ 8410575 w 8601075"/>
                  <a:gd name="connsiteY223" fmla="*/ 1847850 h 4333875"/>
                  <a:gd name="connsiteX224" fmla="*/ 8505825 w 8601075"/>
                  <a:gd name="connsiteY224" fmla="*/ 1781175 h 4333875"/>
                  <a:gd name="connsiteX225" fmla="*/ 8572500 w 8601075"/>
                  <a:gd name="connsiteY225" fmla="*/ 1809750 h 4333875"/>
                  <a:gd name="connsiteX226" fmla="*/ 8601075 w 8601075"/>
                  <a:gd name="connsiteY226" fmla="*/ 1704975 h 4333875"/>
                  <a:gd name="connsiteX227" fmla="*/ 8553450 w 8601075"/>
                  <a:gd name="connsiteY227" fmla="*/ 1676400 h 4333875"/>
                  <a:gd name="connsiteX228" fmla="*/ 8534400 w 8601075"/>
                  <a:gd name="connsiteY228" fmla="*/ 1609725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124825 w 8601075"/>
                  <a:gd name="connsiteY232" fmla="*/ 1352550 h 4333875"/>
                  <a:gd name="connsiteX233" fmla="*/ 7924800 w 8601075"/>
                  <a:gd name="connsiteY233" fmla="*/ 1362075 h 4333875"/>
                  <a:gd name="connsiteX234" fmla="*/ 7867650 w 8601075"/>
                  <a:gd name="connsiteY234" fmla="*/ 1457325 h 4333875"/>
                  <a:gd name="connsiteX235" fmla="*/ 7896225 w 8601075"/>
                  <a:gd name="connsiteY235" fmla="*/ 1476375 h 4333875"/>
                  <a:gd name="connsiteX236" fmla="*/ 7858125 w 8601075"/>
                  <a:gd name="connsiteY236" fmla="*/ 1533525 h 4333875"/>
                  <a:gd name="connsiteX237" fmla="*/ 7658100 w 8601075"/>
                  <a:gd name="connsiteY237" fmla="*/ 1447800 h 4333875"/>
                  <a:gd name="connsiteX238" fmla="*/ 7515225 w 8601075"/>
                  <a:gd name="connsiteY238" fmla="*/ 1495425 h 4333875"/>
                  <a:gd name="connsiteX239" fmla="*/ 7467600 w 8601075"/>
                  <a:gd name="connsiteY239" fmla="*/ 1581150 h 4333875"/>
                  <a:gd name="connsiteX240" fmla="*/ 7296150 w 8601075"/>
                  <a:gd name="connsiteY24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76275 w 8601075"/>
                  <a:gd name="connsiteY149" fmla="*/ 1771650 h 4333875"/>
                  <a:gd name="connsiteX150" fmla="*/ 657225 w 8601075"/>
                  <a:gd name="connsiteY150" fmla="*/ 2000250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57225 w 8601075"/>
                  <a:gd name="connsiteY150" fmla="*/ 2000250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33413 w 8601075"/>
                  <a:gd name="connsiteY151" fmla="*/ 211455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33413 w 8601075"/>
                  <a:gd name="connsiteY152" fmla="*/ 2114550 h 4333875"/>
                  <a:gd name="connsiteX153" fmla="*/ 542925 w 8601075"/>
                  <a:gd name="connsiteY153" fmla="*/ 2228850 h 4333875"/>
                  <a:gd name="connsiteX154" fmla="*/ 485775 w 8601075"/>
                  <a:gd name="connsiteY154" fmla="*/ 2362200 h 4333875"/>
                  <a:gd name="connsiteX155" fmla="*/ 552450 w 8601075"/>
                  <a:gd name="connsiteY155" fmla="*/ 2486025 h 4333875"/>
                  <a:gd name="connsiteX156" fmla="*/ 771525 w 8601075"/>
                  <a:gd name="connsiteY156" fmla="*/ 2571750 h 4333875"/>
                  <a:gd name="connsiteX157" fmla="*/ 866775 w 8601075"/>
                  <a:gd name="connsiteY157" fmla="*/ 2571750 h 4333875"/>
                  <a:gd name="connsiteX158" fmla="*/ 914400 w 8601075"/>
                  <a:gd name="connsiteY158" fmla="*/ 2638425 h 4333875"/>
                  <a:gd name="connsiteX159" fmla="*/ 1066800 w 8601075"/>
                  <a:gd name="connsiteY159" fmla="*/ 2638425 h 4333875"/>
                  <a:gd name="connsiteX160" fmla="*/ 1285875 w 8601075"/>
                  <a:gd name="connsiteY160" fmla="*/ 2705100 h 4333875"/>
                  <a:gd name="connsiteX161" fmla="*/ 1438275 w 8601075"/>
                  <a:gd name="connsiteY161" fmla="*/ 2838450 h 4333875"/>
                  <a:gd name="connsiteX162" fmla="*/ 1485900 w 8601075"/>
                  <a:gd name="connsiteY162" fmla="*/ 2914650 h 4333875"/>
                  <a:gd name="connsiteX163" fmla="*/ 1657350 w 8601075"/>
                  <a:gd name="connsiteY163" fmla="*/ 3038475 h 4333875"/>
                  <a:gd name="connsiteX164" fmla="*/ 1752600 w 8601075"/>
                  <a:gd name="connsiteY164" fmla="*/ 3057525 h 4333875"/>
                  <a:gd name="connsiteX165" fmla="*/ 1724025 w 8601075"/>
                  <a:gd name="connsiteY165" fmla="*/ 3143250 h 4333875"/>
                  <a:gd name="connsiteX166" fmla="*/ 1724025 w 8601075"/>
                  <a:gd name="connsiteY166" fmla="*/ 3143250 h 4333875"/>
                  <a:gd name="connsiteX167" fmla="*/ 1781175 w 8601075"/>
                  <a:gd name="connsiteY167" fmla="*/ 3181350 h 4333875"/>
                  <a:gd name="connsiteX168" fmla="*/ 1819275 w 8601075"/>
                  <a:gd name="connsiteY168" fmla="*/ 3362325 h 4333875"/>
                  <a:gd name="connsiteX169" fmla="*/ 1828800 w 8601075"/>
                  <a:gd name="connsiteY169" fmla="*/ 3457575 h 4333875"/>
                  <a:gd name="connsiteX170" fmla="*/ 1971675 w 8601075"/>
                  <a:gd name="connsiteY170" fmla="*/ 3590925 h 4333875"/>
                  <a:gd name="connsiteX171" fmla="*/ 1990725 w 8601075"/>
                  <a:gd name="connsiteY171" fmla="*/ 3714750 h 4333875"/>
                  <a:gd name="connsiteX172" fmla="*/ 2200275 w 8601075"/>
                  <a:gd name="connsiteY172" fmla="*/ 3695700 h 4333875"/>
                  <a:gd name="connsiteX173" fmla="*/ 2886075 w 8601075"/>
                  <a:gd name="connsiteY173" fmla="*/ 3886200 h 4333875"/>
                  <a:gd name="connsiteX174" fmla="*/ 3038475 w 8601075"/>
                  <a:gd name="connsiteY174" fmla="*/ 3819525 h 4333875"/>
                  <a:gd name="connsiteX175" fmla="*/ 3105150 w 8601075"/>
                  <a:gd name="connsiteY175" fmla="*/ 3867150 h 4333875"/>
                  <a:gd name="connsiteX176" fmla="*/ 3181350 w 8601075"/>
                  <a:gd name="connsiteY176" fmla="*/ 3800475 h 4333875"/>
                  <a:gd name="connsiteX177" fmla="*/ 3590925 w 8601075"/>
                  <a:gd name="connsiteY177" fmla="*/ 3943350 h 4333875"/>
                  <a:gd name="connsiteX178" fmla="*/ 3686175 w 8601075"/>
                  <a:gd name="connsiteY178" fmla="*/ 4057650 h 4333875"/>
                  <a:gd name="connsiteX179" fmla="*/ 3838575 w 8601075"/>
                  <a:gd name="connsiteY179" fmla="*/ 4057650 h 4333875"/>
                  <a:gd name="connsiteX180" fmla="*/ 4162425 w 8601075"/>
                  <a:gd name="connsiteY180" fmla="*/ 4248150 h 4333875"/>
                  <a:gd name="connsiteX181" fmla="*/ 4391025 w 8601075"/>
                  <a:gd name="connsiteY181" fmla="*/ 4200525 h 4333875"/>
                  <a:gd name="connsiteX182" fmla="*/ 4410075 w 8601075"/>
                  <a:gd name="connsiteY182" fmla="*/ 4305300 h 4333875"/>
                  <a:gd name="connsiteX183" fmla="*/ 4505325 w 8601075"/>
                  <a:gd name="connsiteY183" fmla="*/ 4276725 h 4333875"/>
                  <a:gd name="connsiteX184" fmla="*/ 4572000 w 8601075"/>
                  <a:gd name="connsiteY184" fmla="*/ 4333875 h 4333875"/>
                  <a:gd name="connsiteX185" fmla="*/ 4591050 w 8601075"/>
                  <a:gd name="connsiteY185" fmla="*/ 4248150 h 4333875"/>
                  <a:gd name="connsiteX186" fmla="*/ 5295900 w 8601075"/>
                  <a:gd name="connsiteY186" fmla="*/ 3924300 h 4333875"/>
                  <a:gd name="connsiteX187" fmla="*/ 5353050 w 8601075"/>
                  <a:gd name="connsiteY187" fmla="*/ 3990975 h 4333875"/>
                  <a:gd name="connsiteX188" fmla="*/ 5524500 w 8601075"/>
                  <a:gd name="connsiteY188" fmla="*/ 3914775 h 4333875"/>
                  <a:gd name="connsiteX189" fmla="*/ 5667375 w 8601075"/>
                  <a:gd name="connsiteY189" fmla="*/ 3962400 h 4333875"/>
                  <a:gd name="connsiteX190" fmla="*/ 5753100 w 8601075"/>
                  <a:gd name="connsiteY190" fmla="*/ 3924300 h 4333875"/>
                  <a:gd name="connsiteX191" fmla="*/ 5905500 w 8601075"/>
                  <a:gd name="connsiteY191" fmla="*/ 3943350 h 4333875"/>
                  <a:gd name="connsiteX192" fmla="*/ 6000750 w 8601075"/>
                  <a:gd name="connsiteY192" fmla="*/ 3800475 h 4333875"/>
                  <a:gd name="connsiteX193" fmla="*/ 6153150 w 8601075"/>
                  <a:gd name="connsiteY193" fmla="*/ 3781425 h 4333875"/>
                  <a:gd name="connsiteX194" fmla="*/ 6257925 w 8601075"/>
                  <a:gd name="connsiteY194" fmla="*/ 3581400 h 4333875"/>
                  <a:gd name="connsiteX195" fmla="*/ 6448425 w 8601075"/>
                  <a:gd name="connsiteY195" fmla="*/ 3448050 h 4333875"/>
                  <a:gd name="connsiteX196" fmla="*/ 6581775 w 8601075"/>
                  <a:gd name="connsiteY196" fmla="*/ 3276600 h 4333875"/>
                  <a:gd name="connsiteX197" fmla="*/ 6496050 w 8601075"/>
                  <a:gd name="connsiteY197" fmla="*/ 3228975 h 4333875"/>
                  <a:gd name="connsiteX198" fmla="*/ 6438900 w 8601075"/>
                  <a:gd name="connsiteY198" fmla="*/ 3162300 h 4333875"/>
                  <a:gd name="connsiteX199" fmla="*/ 6419850 w 8601075"/>
                  <a:gd name="connsiteY199" fmla="*/ 3105150 h 4333875"/>
                  <a:gd name="connsiteX200" fmla="*/ 6362700 w 8601075"/>
                  <a:gd name="connsiteY200" fmla="*/ 3076575 h 4333875"/>
                  <a:gd name="connsiteX201" fmla="*/ 6410325 w 8601075"/>
                  <a:gd name="connsiteY201" fmla="*/ 3019425 h 4333875"/>
                  <a:gd name="connsiteX202" fmla="*/ 6438900 w 8601075"/>
                  <a:gd name="connsiteY202" fmla="*/ 2819400 h 4333875"/>
                  <a:gd name="connsiteX203" fmla="*/ 6496050 w 8601075"/>
                  <a:gd name="connsiteY203" fmla="*/ 2762250 h 4333875"/>
                  <a:gd name="connsiteX204" fmla="*/ 6657975 w 8601075"/>
                  <a:gd name="connsiteY204" fmla="*/ 2752725 h 4333875"/>
                  <a:gd name="connsiteX205" fmla="*/ 6781800 w 8601075"/>
                  <a:gd name="connsiteY205" fmla="*/ 2838450 h 4333875"/>
                  <a:gd name="connsiteX206" fmla="*/ 7010400 w 8601075"/>
                  <a:gd name="connsiteY206" fmla="*/ 2838450 h 4333875"/>
                  <a:gd name="connsiteX207" fmla="*/ 7162800 w 8601075"/>
                  <a:gd name="connsiteY207" fmla="*/ 2705100 h 4333875"/>
                  <a:gd name="connsiteX208" fmla="*/ 7229475 w 8601075"/>
                  <a:gd name="connsiteY208" fmla="*/ 2590800 h 4333875"/>
                  <a:gd name="connsiteX209" fmla="*/ 7248525 w 8601075"/>
                  <a:gd name="connsiteY209" fmla="*/ 2524125 h 4333875"/>
                  <a:gd name="connsiteX210" fmla="*/ 7372350 w 8601075"/>
                  <a:gd name="connsiteY210" fmla="*/ 2543175 h 4333875"/>
                  <a:gd name="connsiteX211" fmla="*/ 7553325 w 8601075"/>
                  <a:gd name="connsiteY211" fmla="*/ 2447925 h 4333875"/>
                  <a:gd name="connsiteX212" fmla="*/ 7620000 w 8601075"/>
                  <a:gd name="connsiteY212" fmla="*/ 2324100 h 4333875"/>
                  <a:gd name="connsiteX213" fmla="*/ 7696200 w 8601075"/>
                  <a:gd name="connsiteY213" fmla="*/ 2314575 h 4333875"/>
                  <a:gd name="connsiteX214" fmla="*/ 7658100 w 8601075"/>
                  <a:gd name="connsiteY214" fmla="*/ 2257425 h 4333875"/>
                  <a:gd name="connsiteX215" fmla="*/ 7753350 w 8601075"/>
                  <a:gd name="connsiteY215" fmla="*/ 2057400 h 4333875"/>
                  <a:gd name="connsiteX216" fmla="*/ 7934325 w 8601075"/>
                  <a:gd name="connsiteY216" fmla="*/ 2028825 h 4333875"/>
                  <a:gd name="connsiteX217" fmla="*/ 7953375 w 8601075"/>
                  <a:gd name="connsiteY217" fmla="*/ 1952625 h 4333875"/>
                  <a:gd name="connsiteX218" fmla="*/ 7953375 w 8601075"/>
                  <a:gd name="connsiteY218" fmla="*/ 1952625 h 4333875"/>
                  <a:gd name="connsiteX219" fmla="*/ 8010525 w 8601075"/>
                  <a:gd name="connsiteY219" fmla="*/ 1895475 h 4333875"/>
                  <a:gd name="connsiteX220" fmla="*/ 8048625 w 8601075"/>
                  <a:gd name="connsiteY220" fmla="*/ 1971675 h 4333875"/>
                  <a:gd name="connsiteX221" fmla="*/ 8077200 w 8601075"/>
                  <a:gd name="connsiteY221" fmla="*/ 1885950 h 4333875"/>
                  <a:gd name="connsiteX222" fmla="*/ 8220075 w 8601075"/>
                  <a:gd name="connsiteY222" fmla="*/ 1847850 h 4333875"/>
                  <a:gd name="connsiteX223" fmla="*/ 8296275 w 8601075"/>
                  <a:gd name="connsiteY223" fmla="*/ 1809750 h 4333875"/>
                  <a:gd name="connsiteX224" fmla="*/ 8324850 w 8601075"/>
                  <a:gd name="connsiteY224" fmla="*/ 1790700 h 4333875"/>
                  <a:gd name="connsiteX225" fmla="*/ 8410575 w 8601075"/>
                  <a:gd name="connsiteY225" fmla="*/ 1847850 h 4333875"/>
                  <a:gd name="connsiteX226" fmla="*/ 8505825 w 8601075"/>
                  <a:gd name="connsiteY226" fmla="*/ 1781175 h 4333875"/>
                  <a:gd name="connsiteX227" fmla="*/ 8572500 w 8601075"/>
                  <a:gd name="connsiteY227" fmla="*/ 1809750 h 4333875"/>
                  <a:gd name="connsiteX228" fmla="*/ 8601075 w 8601075"/>
                  <a:gd name="connsiteY228" fmla="*/ 1704975 h 4333875"/>
                  <a:gd name="connsiteX229" fmla="*/ 8553450 w 8601075"/>
                  <a:gd name="connsiteY229" fmla="*/ 1676400 h 4333875"/>
                  <a:gd name="connsiteX230" fmla="*/ 8534400 w 8601075"/>
                  <a:gd name="connsiteY230" fmla="*/ 1609725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124825 w 8601075"/>
                  <a:gd name="connsiteY234" fmla="*/ 1352550 h 4333875"/>
                  <a:gd name="connsiteX235" fmla="*/ 7924800 w 8601075"/>
                  <a:gd name="connsiteY235" fmla="*/ 1362075 h 4333875"/>
                  <a:gd name="connsiteX236" fmla="*/ 7867650 w 8601075"/>
                  <a:gd name="connsiteY236" fmla="*/ 1457325 h 4333875"/>
                  <a:gd name="connsiteX237" fmla="*/ 7896225 w 8601075"/>
                  <a:gd name="connsiteY237" fmla="*/ 1476375 h 4333875"/>
                  <a:gd name="connsiteX238" fmla="*/ 7858125 w 8601075"/>
                  <a:gd name="connsiteY238" fmla="*/ 1533525 h 4333875"/>
                  <a:gd name="connsiteX239" fmla="*/ 7658100 w 8601075"/>
                  <a:gd name="connsiteY239" fmla="*/ 1447800 h 4333875"/>
                  <a:gd name="connsiteX240" fmla="*/ 7515225 w 8601075"/>
                  <a:gd name="connsiteY240" fmla="*/ 1495425 h 4333875"/>
                  <a:gd name="connsiteX241" fmla="*/ 7467600 w 8601075"/>
                  <a:gd name="connsiteY241" fmla="*/ 1581150 h 4333875"/>
                  <a:gd name="connsiteX242" fmla="*/ 7296150 w 8601075"/>
                  <a:gd name="connsiteY24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42925 w 8601075"/>
                  <a:gd name="connsiteY154" fmla="*/ 2228850 h 4333875"/>
                  <a:gd name="connsiteX155" fmla="*/ 485775 w 8601075"/>
                  <a:gd name="connsiteY155" fmla="*/ 2362200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85775 w 8601075"/>
                  <a:gd name="connsiteY155" fmla="*/ 2362200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40544 w 8601075"/>
                  <a:gd name="connsiteY156" fmla="*/ 2462213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40544 w 8601075"/>
                  <a:gd name="connsiteY157" fmla="*/ 2462213 h 4333875"/>
                  <a:gd name="connsiteX158" fmla="*/ 771525 w 8601075"/>
                  <a:gd name="connsiteY158" fmla="*/ 2571750 h 4333875"/>
                  <a:gd name="connsiteX159" fmla="*/ 866775 w 8601075"/>
                  <a:gd name="connsiteY159" fmla="*/ 2571750 h 4333875"/>
                  <a:gd name="connsiteX160" fmla="*/ 914400 w 8601075"/>
                  <a:gd name="connsiteY160" fmla="*/ 2638425 h 4333875"/>
                  <a:gd name="connsiteX161" fmla="*/ 1066800 w 8601075"/>
                  <a:gd name="connsiteY161" fmla="*/ 2638425 h 4333875"/>
                  <a:gd name="connsiteX162" fmla="*/ 1285875 w 8601075"/>
                  <a:gd name="connsiteY162" fmla="*/ 2705100 h 4333875"/>
                  <a:gd name="connsiteX163" fmla="*/ 1438275 w 8601075"/>
                  <a:gd name="connsiteY163" fmla="*/ 2838450 h 4333875"/>
                  <a:gd name="connsiteX164" fmla="*/ 1485900 w 8601075"/>
                  <a:gd name="connsiteY164" fmla="*/ 2914650 h 4333875"/>
                  <a:gd name="connsiteX165" fmla="*/ 1657350 w 8601075"/>
                  <a:gd name="connsiteY165" fmla="*/ 3038475 h 4333875"/>
                  <a:gd name="connsiteX166" fmla="*/ 1752600 w 8601075"/>
                  <a:gd name="connsiteY166" fmla="*/ 3057525 h 4333875"/>
                  <a:gd name="connsiteX167" fmla="*/ 1724025 w 8601075"/>
                  <a:gd name="connsiteY167" fmla="*/ 3143250 h 4333875"/>
                  <a:gd name="connsiteX168" fmla="*/ 1724025 w 8601075"/>
                  <a:gd name="connsiteY168" fmla="*/ 3143250 h 4333875"/>
                  <a:gd name="connsiteX169" fmla="*/ 1781175 w 8601075"/>
                  <a:gd name="connsiteY169" fmla="*/ 3181350 h 4333875"/>
                  <a:gd name="connsiteX170" fmla="*/ 1819275 w 8601075"/>
                  <a:gd name="connsiteY170" fmla="*/ 3362325 h 4333875"/>
                  <a:gd name="connsiteX171" fmla="*/ 1828800 w 8601075"/>
                  <a:gd name="connsiteY171" fmla="*/ 3457575 h 4333875"/>
                  <a:gd name="connsiteX172" fmla="*/ 1971675 w 8601075"/>
                  <a:gd name="connsiteY172" fmla="*/ 3590925 h 4333875"/>
                  <a:gd name="connsiteX173" fmla="*/ 1990725 w 8601075"/>
                  <a:gd name="connsiteY173" fmla="*/ 3714750 h 4333875"/>
                  <a:gd name="connsiteX174" fmla="*/ 2200275 w 8601075"/>
                  <a:gd name="connsiteY174" fmla="*/ 3695700 h 4333875"/>
                  <a:gd name="connsiteX175" fmla="*/ 2886075 w 8601075"/>
                  <a:gd name="connsiteY175" fmla="*/ 3886200 h 4333875"/>
                  <a:gd name="connsiteX176" fmla="*/ 3038475 w 8601075"/>
                  <a:gd name="connsiteY176" fmla="*/ 3819525 h 4333875"/>
                  <a:gd name="connsiteX177" fmla="*/ 3105150 w 8601075"/>
                  <a:gd name="connsiteY177" fmla="*/ 3867150 h 4333875"/>
                  <a:gd name="connsiteX178" fmla="*/ 3181350 w 8601075"/>
                  <a:gd name="connsiteY178" fmla="*/ 3800475 h 4333875"/>
                  <a:gd name="connsiteX179" fmla="*/ 3590925 w 8601075"/>
                  <a:gd name="connsiteY179" fmla="*/ 3943350 h 4333875"/>
                  <a:gd name="connsiteX180" fmla="*/ 3686175 w 8601075"/>
                  <a:gd name="connsiteY180" fmla="*/ 4057650 h 4333875"/>
                  <a:gd name="connsiteX181" fmla="*/ 3838575 w 8601075"/>
                  <a:gd name="connsiteY181" fmla="*/ 4057650 h 4333875"/>
                  <a:gd name="connsiteX182" fmla="*/ 4162425 w 8601075"/>
                  <a:gd name="connsiteY182" fmla="*/ 4248150 h 4333875"/>
                  <a:gd name="connsiteX183" fmla="*/ 4391025 w 8601075"/>
                  <a:gd name="connsiteY183" fmla="*/ 4200525 h 4333875"/>
                  <a:gd name="connsiteX184" fmla="*/ 4410075 w 8601075"/>
                  <a:gd name="connsiteY184" fmla="*/ 4305300 h 4333875"/>
                  <a:gd name="connsiteX185" fmla="*/ 4505325 w 8601075"/>
                  <a:gd name="connsiteY185" fmla="*/ 4276725 h 4333875"/>
                  <a:gd name="connsiteX186" fmla="*/ 4572000 w 8601075"/>
                  <a:gd name="connsiteY186" fmla="*/ 4333875 h 4333875"/>
                  <a:gd name="connsiteX187" fmla="*/ 4591050 w 8601075"/>
                  <a:gd name="connsiteY187" fmla="*/ 4248150 h 4333875"/>
                  <a:gd name="connsiteX188" fmla="*/ 5295900 w 8601075"/>
                  <a:gd name="connsiteY188" fmla="*/ 3924300 h 4333875"/>
                  <a:gd name="connsiteX189" fmla="*/ 5353050 w 8601075"/>
                  <a:gd name="connsiteY189" fmla="*/ 3990975 h 4333875"/>
                  <a:gd name="connsiteX190" fmla="*/ 5524500 w 8601075"/>
                  <a:gd name="connsiteY190" fmla="*/ 3914775 h 4333875"/>
                  <a:gd name="connsiteX191" fmla="*/ 5667375 w 8601075"/>
                  <a:gd name="connsiteY191" fmla="*/ 3962400 h 4333875"/>
                  <a:gd name="connsiteX192" fmla="*/ 5753100 w 8601075"/>
                  <a:gd name="connsiteY192" fmla="*/ 3924300 h 4333875"/>
                  <a:gd name="connsiteX193" fmla="*/ 5905500 w 8601075"/>
                  <a:gd name="connsiteY193" fmla="*/ 3943350 h 4333875"/>
                  <a:gd name="connsiteX194" fmla="*/ 6000750 w 8601075"/>
                  <a:gd name="connsiteY194" fmla="*/ 3800475 h 4333875"/>
                  <a:gd name="connsiteX195" fmla="*/ 6153150 w 8601075"/>
                  <a:gd name="connsiteY195" fmla="*/ 3781425 h 4333875"/>
                  <a:gd name="connsiteX196" fmla="*/ 6257925 w 8601075"/>
                  <a:gd name="connsiteY196" fmla="*/ 3581400 h 4333875"/>
                  <a:gd name="connsiteX197" fmla="*/ 6448425 w 8601075"/>
                  <a:gd name="connsiteY197" fmla="*/ 3448050 h 4333875"/>
                  <a:gd name="connsiteX198" fmla="*/ 6581775 w 8601075"/>
                  <a:gd name="connsiteY198" fmla="*/ 3276600 h 4333875"/>
                  <a:gd name="connsiteX199" fmla="*/ 6496050 w 8601075"/>
                  <a:gd name="connsiteY199" fmla="*/ 3228975 h 4333875"/>
                  <a:gd name="connsiteX200" fmla="*/ 6438900 w 8601075"/>
                  <a:gd name="connsiteY200" fmla="*/ 3162300 h 4333875"/>
                  <a:gd name="connsiteX201" fmla="*/ 6419850 w 8601075"/>
                  <a:gd name="connsiteY201" fmla="*/ 3105150 h 4333875"/>
                  <a:gd name="connsiteX202" fmla="*/ 6362700 w 8601075"/>
                  <a:gd name="connsiteY202" fmla="*/ 3076575 h 4333875"/>
                  <a:gd name="connsiteX203" fmla="*/ 6410325 w 8601075"/>
                  <a:gd name="connsiteY203" fmla="*/ 3019425 h 4333875"/>
                  <a:gd name="connsiteX204" fmla="*/ 6438900 w 8601075"/>
                  <a:gd name="connsiteY204" fmla="*/ 2819400 h 4333875"/>
                  <a:gd name="connsiteX205" fmla="*/ 6496050 w 8601075"/>
                  <a:gd name="connsiteY205" fmla="*/ 2762250 h 4333875"/>
                  <a:gd name="connsiteX206" fmla="*/ 6657975 w 8601075"/>
                  <a:gd name="connsiteY206" fmla="*/ 2752725 h 4333875"/>
                  <a:gd name="connsiteX207" fmla="*/ 6781800 w 8601075"/>
                  <a:gd name="connsiteY207" fmla="*/ 2838450 h 4333875"/>
                  <a:gd name="connsiteX208" fmla="*/ 7010400 w 8601075"/>
                  <a:gd name="connsiteY208" fmla="*/ 2838450 h 4333875"/>
                  <a:gd name="connsiteX209" fmla="*/ 7162800 w 8601075"/>
                  <a:gd name="connsiteY209" fmla="*/ 2705100 h 4333875"/>
                  <a:gd name="connsiteX210" fmla="*/ 7229475 w 8601075"/>
                  <a:gd name="connsiteY210" fmla="*/ 2590800 h 4333875"/>
                  <a:gd name="connsiteX211" fmla="*/ 7248525 w 8601075"/>
                  <a:gd name="connsiteY211" fmla="*/ 2524125 h 4333875"/>
                  <a:gd name="connsiteX212" fmla="*/ 7372350 w 8601075"/>
                  <a:gd name="connsiteY212" fmla="*/ 2543175 h 4333875"/>
                  <a:gd name="connsiteX213" fmla="*/ 7553325 w 8601075"/>
                  <a:gd name="connsiteY213" fmla="*/ 2447925 h 4333875"/>
                  <a:gd name="connsiteX214" fmla="*/ 7620000 w 8601075"/>
                  <a:gd name="connsiteY214" fmla="*/ 2324100 h 4333875"/>
                  <a:gd name="connsiteX215" fmla="*/ 7696200 w 8601075"/>
                  <a:gd name="connsiteY215" fmla="*/ 2314575 h 4333875"/>
                  <a:gd name="connsiteX216" fmla="*/ 7658100 w 8601075"/>
                  <a:gd name="connsiteY216" fmla="*/ 2257425 h 4333875"/>
                  <a:gd name="connsiteX217" fmla="*/ 7753350 w 8601075"/>
                  <a:gd name="connsiteY217" fmla="*/ 2057400 h 4333875"/>
                  <a:gd name="connsiteX218" fmla="*/ 7934325 w 8601075"/>
                  <a:gd name="connsiteY218" fmla="*/ 2028825 h 4333875"/>
                  <a:gd name="connsiteX219" fmla="*/ 7953375 w 8601075"/>
                  <a:gd name="connsiteY219" fmla="*/ 1952625 h 4333875"/>
                  <a:gd name="connsiteX220" fmla="*/ 7953375 w 8601075"/>
                  <a:gd name="connsiteY220" fmla="*/ 1952625 h 4333875"/>
                  <a:gd name="connsiteX221" fmla="*/ 8010525 w 8601075"/>
                  <a:gd name="connsiteY221" fmla="*/ 1895475 h 4333875"/>
                  <a:gd name="connsiteX222" fmla="*/ 8048625 w 8601075"/>
                  <a:gd name="connsiteY222" fmla="*/ 1971675 h 4333875"/>
                  <a:gd name="connsiteX223" fmla="*/ 8077200 w 8601075"/>
                  <a:gd name="connsiteY223" fmla="*/ 1885950 h 4333875"/>
                  <a:gd name="connsiteX224" fmla="*/ 8220075 w 8601075"/>
                  <a:gd name="connsiteY224" fmla="*/ 1847850 h 4333875"/>
                  <a:gd name="connsiteX225" fmla="*/ 8296275 w 8601075"/>
                  <a:gd name="connsiteY225" fmla="*/ 1809750 h 4333875"/>
                  <a:gd name="connsiteX226" fmla="*/ 8324850 w 8601075"/>
                  <a:gd name="connsiteY226" fmla="*/ 1790700 h 4333875"/>
                  <a:gd name="connsiteX227" fmla="*/ 8410575 w 8601075"/>
                  <a:gd name="connsiteY227" fmla="*/ 1847850 h 4333875"/>
                  <a:gd name="connsiteX228" fmla="*/ 8505825 w 8601075"/>
                  <a:gd name="connsiteY228" fmla="*/ 1781175 h 4333875"/>
                  <a:gd name="connsiteX229" fmla="*/ 8572500 w 8601075"/>
                  <a:gd name="connsiteY229" fmla="*/ 1809750 h 4333875"/>
                  <a:gd name="connsiteX230" fmla="*/ 8601075 w 8601075"/>
                  <a:gd name="connsiteY230" fmla="*/ 1704975 h 4333875"/>
                  <a:gd name="connsiteX231" fmla="*/ 8553450 w 8601075"/>
                  <a:gd name="connsiteY231" fmla="*/ 1676400 h 4333875"/>
                  <a:gd name="connsiteX232" fmla="*/ 8534400 w 8601075"/>
                  <a:gd name="connsiteY232" fmla="*/ 1609725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277225 w 8601075"/>
                  <a:gd name="connsiteY235" fmla="*/ 1409700 h 4333875"/>
                  <a:gd name="connsiteX236" fmla="*/ 8124825 w 8601075"/>
                  <a:gd name="connsiteY236" fmla="*/ 1352550 h 4333875"/>
                  <a:gd name="connsiteX237" fmla="*/ 7924800 w 8601075"/>
                  <a:gd name="connsiteY237" fmla="*/ 1362075 h 4333875"/>
                  <a:gd name="connsiteX238" fmla="*/ 7867650 w 8601075"/>
                  <a:gd name="connsiteY238" fmla="*/ 1457325 h 4333875"/>
                  <a:gd name="connsiteX239" fmla="*/ 7896225 w 8601075"/>
                  <a:gd name="connsiteY239" fmla="*/ 1476375 h 4333875"/>
                  <a:gd name="connsiteX240" fmla="*/ 7858125 w 8601075"/>
                  <a:gd name="connsiteY240" fmla="*/ 1533525 h 4333875"/>
                  <a:gd name="connsiteX241" fmla="*/ 7658100 w 8601075"/>
                  <a:gd name="connsiteY241" fmla="*/ 1447800 h 4333875"/>
                  <a:gd name="connsiteX242" fmla="*/ 7515225 w 8601075"/>
                  <a:gd name="connsiteY242" fmla="*/ 1495425 h 4333875"/>
                  <a:gd name="connsiteX243" fmla="*/ 7467600 w 8601075"/>
                  <a:gd name="connsiteY243" fmla="*/ 1581150 h 4333875"/>
                  <a:gd name="connsiteX244" fmla="*/ 7296150 w 8601075"/>
                  <a:gd name="connsiteY24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771525 w 8601075"/>
                  <a:gd name="connsiteY159" fmla="*/ 2571750 h 4333875"/>
                  <a:gd name="connsiteX160" fmla="*/ 866775 w 8601075"/>
                  <a:gd name="connsiteY160" fmla="*/ 2571750 h 4333875"/>
                  <a:gd name="connsiteX161" fmla="*/ 914400 w 8601075"/>
                  <a:gd name="connsiteY161" fmla="*/ 2638425 h 4333875"/>
                  <a:gd name="connsiteX162" fmla="*/ 1066800 w 8601075"/>
                  <a:gd name="connsiteY162" fmla="*/ 2638425 h 4333875"/>
                  <a:gd name="connsiteX163" fmla="*/ 1285875 w 8601075"/>
                  <a:gd name="connsiteY163" fmla="*/ 2705100 h 4333875"/>
                  <a:gd name="connsiteX164" fmla="*/ 1438275 w 8601075"/>
                  <a:gd name="connsiteY164" fmla="*/ 2838450 h 4333875"/>
                  <a:gd name="connsiteX165" fmla="*/ 1485900 w 8601075"/>
                  <a:gd name="connsiteY165" fmla="*/ 2914650 h 4333875"/>
                  <a:gd name="connsiteX166" fmla="*/ 1657350 w 8601075"/>
                  <a:gd name="connsiteY166" fmla="*/ 3038475 h 4333875"/>
                  <a:gd name="connsiteX167" fmla="*/ 1752600 w 8601075"/>
                  <a:gd name="connsiteY167" fmla="*/ 3057525 h 4333875"/>
                  <a:gd name="connsiteX168" fmla="*/ 1724025 w 8601075"/>
                  <a:gd name="connsiteY168" fmla="*/ 3143250 h 4333875"/>
                  <a:gd name="connsiteX169" fmla="*/ 1724025 w 8601075"/>
                  <a:gd name="connsiteY169" fmla="*/ 3143250 h 4333875"/>
                  <a:gd name="connsiteX170" fmla="*/ 1781175 w 8601075"/>
                  <a:gd name="connsiteY170" fmla="*/ 3181350 h 4333875"/>
                  <a:gd name="connsiteX171" fmla="*/ 1819275 w 8601075"/>
                  <a:gd name="connsiteY171" fmla="*/ 3362325 h 4333875"/>
                  <a:gd name="connsiteX172" fmla="*/ 1828800 w 8601075"/>
                  <a:gd name="connsiteY172" fmla="*/ 3457575 h 4333875"/>
                  <a:gd name="connsiteX173" fmla="*/ 1971675 w 8601075"/>
                  <a:gd name="connsiteY173" fmla="*/ 3590925 h 4333875"/>
                  <a:gd name="connsiteX174" fmla="*/ 1990725 w 8601075"/>
                  <a:gd name="connsiteY174" fmla="*/ 3714750 h 4333875"/>
                  <a:gd name="connsiteX175" fmla="*/ 2200275 w 8601075"/>
                  <a:gd name="connsiteY175" fmla="*/ 3695700 h 4333875"/>
                  <a:gd name="connsiteX176" fmla="*/ 2886075 w 8601075"/>
                  <a:gd name="connsiteY176" fmla="*/ 3886200 h 4333875"/>
                  <a:gd name="connsiteX177" fmla="*/ 3038475 w 8601075"/>
                  <a:gd name="connsiteY177" fmla="*/ 3819525 h 4333875"/>
                  <a:gd name="connsiteX178" fmla="*/ 3105150 w 8601075"/>
                  <a:gd name="connsiteY178" fmla="*/ 3867150 h 4333875"/>
                  <a:gd name="connsiteX179" fmla="*/ 3181350 w 8601075"/>
                  <a:gd name="connsiteY179" fmla="*/ 3800475 h 4333875"/>
                  <a:gd name="connsiteX180" fmla="*/ 3590925 w 8601075"/>
                  <a:gd name="connsiteY180" fmla="*/ 3943350 h 4333875"/>
                  <a:gd name="connsiteX181" fmla="*/ 3686175 w 8601075"/>
                  <a:gd name="connsiteY181" fmla="*/ 4057650 h 4333875"/>
                  <a:gd name="connsiteX182" fmla="*/ 3838575 w 8601075"/>
                  <a:gd name="connsiteY182" fmla="*/ 4057650 h 4333875"/>
                  <a:gd name="connsiteX183" fmla="*/ 4162425 w 8601075"/>
                  <a:gd name="connsiteY183" fmla="*/ 4248150 h 4333875"/>
                  <a:gd name="connsiteX184" fmla="*/ 4391025 w 8601075"/>
                  <a:gd name="connsiteY184" fmla="*/ 4200525 h 4333875"/>
                  <a:gd name="connsiteX185" fmla="*/ 4410075 w 8601075"/>
                  <a:gd name="connsiteY185" fmla="*/ 4305300 h 4333875"/>
                  <a:gd name="connsiteX186" fmla="*/ 4505325 w 8601075"/>
                  <a:gd name="connsiteY186" fmla="*/ 4276725 h 4333875"/>
                  <a:gd name="connsiteX187" fmla="*/ 4572000 w 8601075"/>
                  <a:gd name="connsiteY187" fmla="*/ 4333875 h 4333875"/>
                  <a:gd name="connsiteX188" fmla="*/ 4591050 w 8601075"/>
                  <a:gd name="connsiteY188" fmla="*/ 4248150 h 4333875"/>
                  <a:gd name="connsiteX189" fmla="*/ 5295900 w 8601075"/>
                  <a:gd name="connsiteY189" fmla="*/ 3924300 h 4333875"/>
                  <a:gd name="connsiteX190" fmla="*/ 5353050 w 8601075"/>
                  <a:gd name="connsiteY190" fmla="*/ 3990975 h 4333875"/>
                  <a:gd name="connsiteX191" fmla="*/ 5524500 w 8601075"/>
                  <a:gd name="connsiteY191" fmla="*/ 3914775 h 4333875"/>
                  <a:gd name="connsiteX192" fmla="*/ 5667375 w 8601075"/>
                  <a:gd name="connsiteY192" fmla="*/ 3962400 h 4333875"/>
                  <a:gd name="connsiteX193" fmla="*/ 5753100 w 8601075"/>
                  <a:gd name="connsiteY193" fmla="*/ 3924300 h 4333875"/>
                  <a:gd name="connsiteX194" fmla="*/ 5905500 w 8601075"/>
                  <a:gd name="connsiteY194" fmla="*/ 3943350 h 4333875"/>
                  <a:gd name="connsiteX195" fmla="*/ 6000750 w 8601075"/>
                  <a:gd name="connsiteY195" fmla="*/ 3800475 h 4333875"/>
                  <a:gd name="connsiteX196" fmla="*/ 6153150 w 8601075"/>
                  <a:gd name="connsiteY196" fmla="*/ 3781425 h 4333875"/>
                  <a:gd name="connsiteX197" fmla="*/ 6257925 w 8601075"/>
                  <a:gd name="connsiteY197" fmla="*/ 3581400 h 4333875"/>
                  <a:gd name="connsiteX198" fmla="*/ 6448425 w 8601075"/>
                  <a:gd name="connsiteY198" fmla="*/ 3448050 h 4333875"/>
                  <a:gd name="connsiteX199" fmla="*/ 6581775 w 8601075"/>
                  <a:gd name="connsiteY199" fmla="*/ 3276600 h 4333875"/>
                  <a:gd name="connsiteX200" fmla="*/ 6496050 w 8601075"/>
                  <a:gd name="connsiteY200" fmla="*/ 3228975 h 4333875"/>
                  <a:gd name="connsiteX201" fmla="*/ 6438900 w 8601075"/>
                  <a:gd name="connsiteY201" fmla="*/ 3162300 h 4333875"/>
                  <a:gd name="connsiteX202" fmla="*/ 6419850 w 8601075"/>
                  <a:gd name="connsiteY202" fmla="*/ 3105150 h 4333875"/>
                  <a:gd name="connsiteX203" fmla="*/ 6362700 w 8601075"/>
                  <a:gd name="connsiteY203" fmla="*/ 3076575 h 4333875"/>
                  <a:gd name="connsiteX204" fmla="*/ 6410325 w 8601075"/>
                  <a:gd name="connsiteY204" fmla="*/ 3019425 h 4333875"/>
                  <a:gd name="connsiteX205" fmla="*/ 6438900 w 8601075"/>
                  <a:gd name="connsiteY205" fmla="*/ 2819400 h 4333875"/>
                  <a:gd name="connsiteX206" fmla="*/ 6496050 w 8601075"/>
                  <a:gd name="connsiteY206" fmla="*/ 2762250 h 4333875"/>
                  <a:gd name="connsiteX207" fmla="*/ 6657975 w 8601075"/>
                  <a:gd name="connsiteY207" fmla="*/ 2752725 h 4333875"/>
                  <a:gd name="connsiteX208" fmla="*/ 6781800 w 8601075"/>
                  <a:gd name="connsiteY208" fmla="*/ 2838450 h 4333875"/>
                  <a:gd name="connsiteX209" fmla="*/ 7010400 w 8601075"/>
                  <a:gd name="connsiteY209" fmla="*/ 2838450 h 4333875"/>
                  <a:gd name="connsiteX210" fmla="*/ 7162800 w 8601075"/>
                  <a:gd name="connsiteY210" fmla="*/ 2705100 h 4333875"/>
                  <a:gd name="connsiteX211" fmla="*/ 7229475 w 8601075"/>
                  <a:gd name="connsiteY211" fmla="*/ 2590800 h 4333875"/>
                  <a:gd name="connsiteX212" fmla="*/ 7248525 w 8601075"/>
                  <a:gd name="connsiteY212" fmla="*/ 2524125 h 4333875"/>
                  <a:gd name="connsiteX213" fmla="*/ 7372350 w 8601075"/>
                  <a:gd name="connsiteY213" fmla="*/ 2543175 h 4333875"/>
                  <a:gd name="connsiteX214" fmla="*/ 7553325 w 8601075"/>
                  <a:gd name="connsiteY214" fmla="*/ 2447925 h 4333875"/>
                  <a:gd name="connsiteX215" fmla="*/ 7620000 w 8601075"/>
                  <a:gd name="connsiteY215" fmla="*/ 2324100 h 4333875"/>
                  <a:gd name="connsiteX216" fmla="*/ 7696200 w 8601075"/>
                  <a:gd name="connsiteY216" fmla="*/ 2314575 h 4333875"/>
                  <a:gd name="connsiteX217" fmla="*/ 7658100 w 8601075"/>
                  <a:gd name="connsiteY217" fmla="*/ 2257425 h 4333875"/>
                  <a:gd name="connsiteX218" fmla="*/ 7753350 w 8601075"/>
                  <a:gd name="connsiteY218" fmla="*/ 2057400 h 4333875"/>
                  <a:gd name="connsiteX219" fmla="*/ 7934325 w 8601075"/>
                  <a:gd name="connsiteY219" fmla="*/ 2028825 h 4333875"/>
                  <a:gd name="connsiteX220" fmla="*/ 7953375 w 8601075"/>
                  <a:gd name="connsiteY220" fmla="*/ 1952625 h 4333875"/>
                  <a:gd name="connsiteX221" fmla="*/ 7953375 w 8601075"/>
                  <a:gd name="connsiteY221" fmla="*/ 1952625 h 4333875"/>
                  <a:gd name="connsiteX222" fmla="*/ 8010525 w 8601075"/>
                  <a:gd name="connsiteY222" fmla="*/ 1895475 h 4333875"/>
                  <a:gd name="connsiteX223" fmla="*/ 8048625 w 8601075"/>
                  <a:gd name="connsiteY223" fmla="*/ 1971675 h 4333875"/>
                  <a:gd name="connsiteX224" fmla="*/ 8077200 w 8601075"/>
                  <a:gd name="connsiteY224" fmla="*/ 1885950 h 4333875"/>
                  <a:gd name="connsiteX225" fmla="*/ 8220075 w 8601075"/>
                  <a:gd name="connsiteY225" fmla="*/ 1847850 h 4333875"/>
                  <a:gd name="connsiteX226" fmla="*/ 8296275 w 8601075"/>
                  <a:gd name="connsiteY226" fmla="*/ 1809750 h 4333875"/>
                  <a:gd name="connsiteX227" fmla="*/ 8324850 w 8601075"/>
                  <a:gd name="connsiteY227" fmla="*/ 1790700 h 4333875"/>
                  <a:gd name="connsiteX228" fmla="*/ 8410575 w 8601075"/>
                  <a:gd name="connsiteY228" fmla="*/ 1847850 h 4333875"/>
                  <a:gd name="connsiteX229" fmla="*/ 8505825 w 8601075"/>
                  <a:gd name="connsiteY229" fmla="*/ 1781175 h 4333875"/>
                  <a:gd name="connsiteX230" fmla="*/ 8572500 w 8601075"/>
                  <a:gd name="connsiteY230" fmla="*/ 1809750 h 4333875"/>
                  <a:gd name="connsiteX231" fmla="*/ 8601075 w 8601075"/>
                  <a:gd name="connsiteY231" fmla="*/ 1704975 h 4333875"/>
                  <a:gd name="connsiteX232" fmla="*/ 8553450 w 8601075"/>
                  <a:gd name="connsiteY232" fmla="*/ 1676400 h 4333875"/>
                  <a:gd name="connsiteX233" fmla="*/ 8534400 w 8601075"/>
                  <a:gd name="connsiteY233" fmla="*/ 1609725 h 4333875"/>
                  <a:gd name="connsiteX234" fmla="*/ 8277225 w 8601075"/>
                  <a:gd name="connsiteY234" fmla="*/ 1409700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124825 w 8601075"/>
                  <a:gd name="connsiteY237" fmla="*/ 1352550 h 4333875"/>
                  <a:gd name="connsiteX238" fmla="*/ 7924800 w 8601075"/>
                  <a:gd name="connsiteY238" fmla="*/ 1362075 h 4333875"/>
                  <a:gd name="connsiteX239" fmla="*/ 7867650 w 8601075"/>
                  <a:gd name="connsiteY239" fmla="*/ 1457325 h 4333875"/>
                  <a:gd name="connsiteX240" fmla="*/ 7896225 w 8601075"/>
                  <a:gd name="connsiteY240" fmla="*/ 1476375 h 4333875"/>
                  <a:gd name="connsiteX241" fmla="*/ 7858125 w 8601075"/>
                  <a:gd name="connsiteY241" fmla="*/ 1533525 h 4333875"/>
                  <a:gd name="connsiteX242" fmla="*/ 7658100 w 8601075"/>
                  <a:gd name="connsiteY242" fmla="*/ 1447800 h 4333875"/>
                  <a:gd name="connsiteX243" fmla="*/ 7515225 w 8601075"/>
                  <a:gd name="connsiteY243" fmla="*/ 1495425 h 4333875"/>
                  <a:gd name="connsiteX244" fmla="*/ 7467600 w 8601075"/>
                  <a:gd name="connsiteY244" fmla="*/ 1581150 h 4333875"/>
                  <a:gd name="connsiteX245" fmla="*/ 7296150 w 8601075"/>
                  <a:gd name="connsiteY24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71525 w 8601075"/>
                  <a:gd name="connsiteY160" fmla="*/ 2571750 h 4333875"/>
                  <a:gd name="connsiteX161" fmla="*/ 866775 w 8601075"/>
                  <a:gd name="connsiteY161" fmla="*/ 2571750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66775 w 8601075"/>
                  <a:gd name="connsiteY161" fmla="*/ 2571750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52600 w 8601075"/>
                  <a:gd name="connsiteY169" fmla="*/ 3057525 h 4333875"/>
                  <a:gd name="connsiteX170" fmla="*/ 1724025 w 8601075"/>
                  <a:gd name="connsiteY170" fmla="*/ 3143250 h 4333875"/>
                  <a:gd name="connsiteX171" fmla="*/ 1724025 w 8601075"/>
                  <a:gd name="connsiteY171" fmla="*/ 3143250 h 4333875"/>
                  <a:gd name="connsiteX172" fmla="*/ 1781175 w 8601075"/>
                  <a:gd name="connsiteY172" fmla="*/ 3181350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24025 w 8601075"/>
                  <a:gd name="connsiteY170" fmla="*/ 3143250 h 4333875"/>
                  <a:gd name="connsiteX171" fmla="*/ 1724025 w 8601075"/>
                  <a:gd name="connsiteY171" fmla="*/ 3143250 h 4333875"/>
                  <a:gd name="connsiteX172" fmla="*/ 1781175 w 8601075"/>
                  <a:gd name="connsiteY172" fmla="*/ 3181350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4025 w 8601075"/>
                  <a:gd name="connsiteY172" fmla="*/ 3143250 h 4333875"/>
                  <a:gd name="connsiteX173" fmla="*/ 1781175 w 8601075"/>
                  <a:gd name="connsiteY173" fmla="*/ 3181350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8787 w 8601075"/>
                  <a:gd name="connsiteY172" fmla="*/ 3136107 h 4333875"/>
                  <a:gd name="connsiteX173" fmla="*/ 1781175 w 8601075"/>
                  <a:gd name="connsiteY173" fmla="*/ 3181350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8787 w 8601075"/>
                  <a:gd name="connsiteY172" fmla="*/ 3136107 h 4333875"/>
                  <a:gd name="connsiteX173" fmla="*/ 1776413 w 8601075"/>
                  <a:gd name="connsiteY173" fmla="*/ 3169444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59769 w 8601075"/>
                  <a:gd name="connsiteY176" fmla="*/ 369570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66913 w 8601075"/>
                  <a:gd name="connsiteY176" fmla="*/ 3705225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66913 w 8601075"/>
                  <a:gd name="connsiteY177" fmla="*/ 3705225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200275 w 8601075"/>
                  <a:gd name="connsiteY179" fmla="*/ 3695700 h 4333875"/>
                  <a:gd name="connsiteX180" fmla="*/ 2886075 w 8601075"/>
                  <a:gd name="connsiteY180" fmla="*/ 3886200 h 4333875"/>
                  <a:gd name="connsiteX181" fmla="*/ 3038475 w 8601075"/>
                  <a:gd name="connsiteY181" fmla="*/ 3819525 h 4333875"/>
                  <a:gd name="connsiteX182" fmla="*/ 3105150 w 8601075"/>
                  <a:gd name="connsiteY182" fmla="*/ 3867150 h 4333875"/>
                  <a:gd name="connsiteX183" fmla="*/ 3181350 w 8601075"/>
                  <a:gd name="connsiteY183" fmla="*/ 3800475 h 4333875"/>
                  <a:gd name="connsiteX184" fmla="*/ 3590925 w 8601075"/>
                  <a:gd name="connsiteY184" fmla="*/ 3943350 h 4333875"/>
                  <a:gd name="connsiteX185" fmla="*/ 3686175 w 8601075"/>
                  <a:gd name="connsiteY185" fmla="*/ 4057650 h 4333875"/>
                  <a:gd name="connsiteX186" fmla="*/ 3838575 w 8601075"/>
                  <a:gd name="connsiteY186" fmla="*/ 4057650 h 4333875"/>
                  <a:gd name="connsiteX187" fmla="*/ 4162425 w 8601075"/>
                  <a:gd name="connsiteY187" fmla="*/ 4248150 h 4333875"/>
                  <a:gd name="connsiteX188" fmla="*/ 4391025 w 8601075"/>
                  <a:gd name="connsiteY188" fmla="*/ 4200525 h 4333875"/>
                  <a:gd name="connsiteX189" fmla="*/ 4410075 w 8601075"/>
                  <a:gd name="connsiteY189" fmla="*/ 4305300 h 4333875"/>
                  <a:gd name="connsiteX190" fmla="*/ 4505325 w 8601075"/>
                  <a:gd name="connsiteY190" fmla="*/ 4276725 h 4333875"/>
                  <a:gd name="connsiteX191" fmla="*/ 4572000 w 8601075"/>
                  <a:gd name="connsiteY191" fmla="*/ 4333875 h 4333875"/>
                  <a:gd name="connsiteX192" fmla="*/ 4591050 w 8601075"/>
                  <a:gd name="connsiteY192" fmla="*/ 4248150 h 4333875"/>
                  <a:gd name="connsiteX193" fmla="*/ 5295900 w 8601075"/>
                  <a:gd name="connsiteY193" fmla="*/ 3924300 h 4333875"/>
                  <a:gd name="connsiteX194" fmla="*/ 5353050 w 8601075"/>
                  <a:gd name="connsiteY194" fmla="*/ 3990975 h 4333875"/>
                  <a:gd name="connsiteX195" fmla="*/ 5524500 w 8601075"/>
                  <a:gd name="connsiteY195" fmla="*/ 3914775 h 4333875"/>
                  <a:gd name="connsiteX196" fmla="*/ 5667375 w 8601075"/>
                  <a:gd name="connsiteY196" fmla="*/ 3962400 h 4333875"/>
                  <a:gd name="connsiteX197" fmla="*/ 5753100 w 8601075"/>
                  <a:gd name="connsiteY197" fmla="*/ 3924300 h 4333875"/>
                  <a:gd name="connsiteX198" fmla="*/ 5905500 w 8601075"/>
                  <a:gd name="connsiteY198" fmla="*/ 3943350 h 4333875"/>
                  <a:gd name="connsiteX199" fmla="*/ 6000750 w 8601075"/>
                  <a:gd name="connsiteY199" fmla="*/ 3800475 h 4333875"/>
                  <a:gd name="connsiteX200" fmla="*/ 6153150 w 8601075"/>
                  <a:gd name="connsiteY200" fmla="*/ 3781425 h 4333875"/>
                  <a:gd name="connsiteX201" fmla="*/ 6257925 w 8601075"/>
                  <a:gd name="connsiteY201" fmla="*/ 3581400 h 4333875"/>
                  <a:gd name="connsiteX202" fmla="*/ 6448425 w 8601075"/>
                  <a:gd name="connsiteY202" fmla="*/ 3448050 h 4333875"/>
                  <a:gd name="connsiteX203" fmla="*/ 6581775 w 8601075"/>
                  <a:gd name="connsiteY203" fmla="*/ 3276600 h 4333875"/>
                  <a:gd name="connsiteX204" fmla="*/ 6496050 w 8601075"/>
                  <a:gd name="connsiteY204" fmla="*/ 3228975 h 4333875"/>
                  <a:gd name="connsiteX205" fmla="*/ 6438900 w 8601075"/>
                  <a:gd name="connsiteY205" fmla="*/ 3162300 h 4333875"/>
                  <a:gd name="connsiteX206" fmla="*/ 6419850 w 8601075"/>
                  <a:gd name="connsiteY206" fmla="*/ 3105150 h 4333875"/>
                  <a:gd name="connsiteX207" fmla="*/ 6362700 w 8601075"/>
                  <a:gd name="connsiteY207" fmla="*/ 3076575 h 4333875"/>
                  <a:gd name="connsiteX208" fmla="*/ 6410325 w 8601075"/>
                  <a:gd name="connsiteY208" fmla="*/ 3019425 h 4333875"/>
                  <a:gd name="connsiteX209" fmla="*/ 6438900 w 8601075"/>
                  <a:gd name="connsiteY209" fmla="*/ 2819400 h 4333875"/>
                  <a:gd name="connsiteX210" fmla="*/ 6496050 w 8601075"/>
                  <a:gd name="connsiteY210" fmla="*/ 2762250 h 4333875"/>
                  <a:gd name="connsiteX211" fmla="*/ 6657975 w 8601075"/>
                  <a:gd name="connsiteY211" fmla="*/ 2752725 h 4333875"/>
                  <a:gd name="connsiteX212" fmla="*/ 6781800 w 8601075"/>
                  <a:gd name="connsiteY212" fmla="*/ 2838450 h 4333875"/>
                  <a:gd name="connsiteX213" fmla="*/ 7010400 w 8601075"/>
                  <a:gd name="connsiteY213" fmla="*/ 2838450 h 4333875"/>
                  <a:gd name="connsiteX214" fmla="*/ 7162800 w 8601075"/>
                  <a:gd name="connsiteY214" fmla="*/ 2705100 h 4333875"/>
                  <a:gd name="connsiteX215" fmla="*/ 7229475 w 8601075"/>
                  <a:gd name="connsiteY215" fmla="*/ 2590800 h 4333875"/>
                  <a:gd name="connsiteX216" fmla="*/ 7248525 w 8601075"/>
                  <a:gd name="connsiteY216" fmla="*/ 2524125 h 4333875"/>
                  <a:gd name="connsiteX217" fmla="*/ 7372350 w 8601075"/>
                  <a:gd name="connsiteY217" fmla="*/ 2543175 h 4333875"/>
                  <a:gd name="connsiteX218" fmla="*/ 7553325 w 8601075"/>
                  <a:gd name="connsiteY218" fmla="*/ 2447925 h 4333875"/>
                  <a:gd name="connsiteX219" fmla="*/ 7620000 w 8601075"/>
                  <a:gd name="connsiteY219" fmla="*/ 2324100 h 4333875"/>
                  <a:gd name="connsiteX220" fmla="*/ 7696200 w 8601075"/>
                  <a:gd name="connsiteY220" fmla="*/ 2314575 h 4333875"/>
                  <a:gd name="connsiteX221" fmla="*/ 7658100 w 8601075"/>
                  <a:gd name="connsiteY221" fmla="*/ 2257425 h 4333875"/>
                  <a:gd name="connsiteX222" fmla="*/ 7753350 w 8601075"/>
                  <a:gd name="connsiteY222" fmla="*/ 2057400 h 4333875"/>
                  <a:gd name="connsiteX223" fmla="*/ 7934325 w 8601075"/>
                  <a:gd name="connsiteY223" fmla="*/ 2028825 h 4333875"/>
                  <a:gd name="connsiteX224" fmla="*/ 7953375 w 8601075"/>
                  <a:gd name="connsiteY224" fmla="*/ 1952625 h 4333875"/>
                  <a:gd name="connsiteX225" fmla="*/ 7953375 w 8601075"/>
                  <a:gd name="connsiteY225" fmla="*/ 1952625 h 4333875"/>
                  <a:gd name="connsiteX226" fmla="*/ 8010525 w 8601075"/>
                  <a:gd name="connsiteY226" fmla="*/ 1895475 h 4333875"/>
                  <a:gd name="connsiteX227" fmla="*/ 8048625 w 8601075"/>
                  <a:gd name="connsiteY227" fmla="*/ 1971675 h 4333875"/>
                  <a:gd name="connsiteX228" fmla="*/ 8077200 w 8601075"/>
                  <a:gd name="connsiteY228" fmla="*/ 1885950 h 4333875"/>
                  <a:gd name="connsiteX229" fmla="*/ 8220075 w 8601075"/>
                  <a:gd name="connsiteY229" fmla="*/ 1847850 h 4333875"/>
                  <a:gd name="connsiteX230" fmla="*/ 8296275 w 8601075"/>
                  <a:gd name="connsiteY230" fmla="*/ 1809750 h 4333875"/>
                  <a:gd name="connsiteX231" fmla="*/ 8324850 w 8601075"/>
                  <a:gd name="connsiteY231" fmla="*/ 1790700 h 4333875"/>
                  <a:gd name="connsiteX232" fmla="*/ 8410575 w 8601075"/>
                  <a:gd name="connsiteY232" fmla="*/ 1847850 h 4333875"/>
                  <a:gd name="connsiteX233" fmla="*/ 8505825 w 8601075"/>
                  <a:gd name="connsiteY233" fmla="*/ 1781175 h 4333875"/>
                  <a:gd name="connsiteX234" fmla="*/ 8572500 w 8601075"/>
                  <a:gd name="connsiteY234" fmla="*/ 1809750 h 4333875"/>
                  <a:gd name="connsiteX235" fmla="*/ 8601075 w 8601075"/>
                  <a:gd name="connsiteY235" fmla="*/ 1704975 h 4333875"/>
                  <a:gd name="connsiteX236" fmla="*/ 8553450 w 8601075"/>
                  <a:gd name="connsiteY236" fmla="*/ 1676400 h 4333875"/>
                  <a:gd name="connsiteX237" fmla="*/ 8534400 w 8601075"/>
                  <a:gd name="connsiteY237" fmla="*/ 1609725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124825 w 8601075"/>
                  <a:gd name="connsiteY241" fmla="*/ 1352550 h 4333875"/>
                  <a:gd name="connsiteX242" fmla="*/ 7924800 w 8601075"/>
                  <a:gd name="connsiteY242" fmla="*/ 1362075 h 4333875"/>
                  <a:gd name="connsiteX243" fmla="*/ 7867650 w 8601075"/>
                  <a:gd name="connsiteY243" fmla="*/ 1457325 h 4333875"/>
                  <a:gd name="connsiteX244" fmla="*/ 7896225 w 8601075"/>
                  <a:gd name="connsiteY244" fmla="*/ 1476375 h 4333875"/>
                  <a:gd name="connsiteX245" fmla="*/ 7858125 w 8601075"/>
                  <a:gd name="connsiteY245" fmla="*/ 1533525 h 4333875"/>
                  <a:gd name="connsiteX246" fmla="*/ 7658100 w 8601075"/>
                  <a:gd name="connsiteY246" fmla="*/ 1447800 h 4333875"/>
                  <a:gd name="connsiteX247" fmla="*/ 7515225 w 8601075"/>
                  <a:gd name="connsiteY247" fmla="*/ 1495425 h 4333875"/>
                  <a:gd name="connsiteX248" fmla="*/ 7467600 w 8601075"/>
                  <a:gd name="connsiteY248" fmla="*/ 1581150 h 4333875"/>
                  <a:gd name="connsiteX249" fmla="*/ 7296150 w 8601075"/>
                  <a:gd name="connsiteY24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886075 w 8601075"/>
                  <a:gd name="connsiteY180" fmla="*/ 3886200 h 4333875"/>
                  <a:gd name="connsiteX181" fmla="*/ 3038475 w 8601075"/>
                  <a:gd name="connsiteY181" fmla="*/ 3819525 h 4333875"/>
                  <a:gd name="connsiteX182" fmla="*/ 3105150 w 8601075"/>
                  <a:gd name="connsiteY182" fmla="*/ 3867150 h 4333875"/>
                  <a:gd name="connsiteX183" fmla="*/ 3181350 w 8601075"/>
                  <a:gd name="connsiteY183" fmla="*/ 3800475 h 4333875"/>
                  <a:gd name="connsiteX184" fmla="*/ 3590925 w 8601075"/>
                  <a:gd name="connsiteY184" fmla="*/ 3943350 h 4333875"/>
                  <a:gd name="connsiteX185" fmla="*/ 3686175 w 8601075"/>
                  <a:gd name="connsiteY185" fmla="*/ 4057650 h 4333875"/>
                  <a:gd name="connsiteX186" fmla="*/ 3838575 w 8601075"/>
                  <a:gd name="connsiteY186" fmla="*/ 4057650 h 4333875"/>
                  <a:gd name="connsiteX187" fmla="*/ 4162425 w 8601075"/>
                  <a:gd name="connsiteY187" fmla="*/ 4248150 h 4333875"/>
                  <a:gd name="connsiteX188" fmla="*/ 4391025 w 8601075"/>
                  <a:gd name="connsiteY188" fmla="*/ 4200525 h 4333875"/>
                  <a:gd name="connsiteX189" fmla="*/ 4410075 w 8601075"/>
                  <a:gd name="connsiteY189" fmla="*/ 4305300 h 4333875"/>
                  <a:gd name="connsiteX190" fmla="*/ 4505325 w 8601075"/>
                  <a:gd name="connsiteY190" fmla="*/ 4276725 h 4333875"/>
                  <a:gd name="connsiteX191" fmla="*/ 4572000 w 8601075"/>
                  <a:gd name="connsiteY191" fmla="*/ 4333875 h 4333875"/>
                  <a:gd name="connsiteX192" fmla="*/ 4591050 w 8601075"/>
                  <a:gd name="connsiteY192" fmla="*/ 4248150 h 4333875"/>
                  <a:gd name="connsiteX193" fmla="*/ 5295900 w 8601075"/>
                  <a:gd name="connsiteY193" fmla="*/ 3924300 h 4333875"/>
                  <a:gd name="connsiteX194" fmla="*/ 5353050 w 8601075"/>
                  <a:gd name="connsiteY194" fmla="*/ 3990975 h 4333875"/>
                  <a:gd name="connsiteX195" fmla="*/ 5524500 w 8601075"/>
                  <a:gd name="connsiteY195" fmla="*/ 3914775 h 4333875"/>
                  <a:gd name="connsiteX196" fmla="*/ 5667375 w 8601075"/>
                  <a:gd name="connsiteY196" fmla="*/ 3962400 h 4333875"/>
                  <a:gd name="connsiteX197" fmla="*/ 5753100 w 8601075"/>
                  <a:gd name="connsiteY197" fmla="*/ 3924300 h 4333875"/>
                  <a:gd name="connsiteX198" fmla="*/ 5905500 w 8601075"/>
                  <a:gd name="connsiteY198" fmla="*/ 3943350 h 4333875"/>
                  <a:gd name="connsiteX199" fmla="*/ 6000750 w 8601075"/>
                  <a:gd name="connsiteY199" fmla="*/ 3800475 h 4333875"/>
                  <a:gd name="connsiteX200" fmla="*/ 6153150 w 8601075"/>
                  <a:gd name="connsiteY200" fmla="*/ 3781425 h 4333875"/>
                  <a:gd name="connsiteX201" fmla="*/ 6257925 w 8601075"/>
                  <a:gd name="connsiteY201" fmla="*/ 3581400 h 4333875"/>
                  <a:gd name="connsiteX202" fmla="*/ 6448425 w 8601075"/>
                  <a:gd name="connsiteY202" fmla="*/ 3448050 h 4333875"/>
                  <a:gd name="connsiteX203" fmla="*/ 6581775 w 8601075"/>
                  <a:gd name="connsiteY203" fmla="*/ 3276600 h 4333875"/>
                  <a:gd name="connsiteX204" fmla="*/ 6496050 w 8601075"/>
                  <a:gd name="connsiteY204" fmla="*/ 3228975 h 4333875"/>
                  <a:gd name="connsiteX205" fmla="*/ 6438900 w 8601075"/>
                  <a:gd name="connsiteY205" fmla="*/ 3162300 h 4333875"/>
                  <a:gd name="connsiteX206" fmla="*/ 6419850 w 8601075"/>
                  <a:gd name="connsiteY206" fmla="*/ 3105150 h 4333875"/>
                  <a:gd name="connsiteX207" fmla="*/ 6362700 w 8601075"/>
                  <a:gd name="connsiteY207" fmla="*/ 3076575 h 4333875"/>
                  <a:gd name="connsiteX208" fmla="*/ 6410325 w 8601075"/>
                  <a:gd name="connsiteY208" fmla="*/ 3019425 h 4333875"/>
                  <a:gd name="connsiteX209" fmla="*/ 6438900 w 8601075"/>
                  <a:gd name="connsiteY209" fmla="*/ 2819400 h 4333875"/>
                  <a:gd name="connsiteX210" fmla="*/ 6496050 w 8601075"/>
                  <a:gd name="connsiteY210" fmla="*/ 2762250 h 4333875"/>
                  <a:gd name="connsiteX211" fmla="*/ 6657975 w 8601075"/>
                  <a:gd name="connsiteY211" fmla="*/ 2752725 h 4333875"/>
                  <a:gd name="connsiteX212" fmla="*/ 6781800 w 8601075"/>
                  <a:gd name="connsiteY212" fmla="*/ 2838450 h 4333875"/>
                  <a:gd name="connsiteX213" fmla="*/ 7010400 w 8601075"/>
                  <a:gd name="connsiteY213" fmla="*/ 2838450 h 4333875"/>
                  <a:gd name="connsiteX214" fmla="*/ 7162800 w 8601075"/>
                  <a:gd name="connsiteY214" fmla="*/ 2705100 h 4333875"/>
                  <a:gd name="connsiteX215" fmla="*/ 7229475 w 8601075"/>
                  <a:gd name="connsiteY215" fmla="*/ 2590800 h 4333875"/>
                  <a:gd name="connsiteX216" fmla="*/ 7248525 w 8601075"/>
                  <a:gd name="connsiteY216" fmla="*/ 2524125 h 4333875"/>
                  <a:gd name="connsiteX217" fmla="*/ 7372350 w 8601075"/>
                  <a:gd name="connsiteY217" fmla="*/ 2543175 h 4333875"/>
                  <a:gd name="connsiteX218" fmla="*/ 7553325 w 8601075"/>
                  <a:gd name="connsiteY218" fmla="*/ 2447925 h 4333875"/>
                  <a:gd name="connsiteX219" fmla="*/ 7620000 w 8601075"/>
                  <a:gd name="connsiteY219" fmla="*/ 2324100 h 4333875"/>
                  <a:gd name="connsiteX220" fmla="*/ 7696200 w 8601075"/>
                  <a:gd name="connsiteY220" fmla="*/ 2314575 h 4333875"/>
                  <a:gd name="connsiteX221" fmla="*/ 7658100 w 8601075"/>
                  <a:gd name="connsiteY221" fmla="*/ 2257425 h 4333875"/>
                  <a:gd name="connsiteX222" fmla="*/ 7753350 w 8601075"/>
                  <a:gd name="connsiteY222" fmla="*/ 2057400 h 4333875"/>
                  <a:gd name="connsiteX223" fmla="*/ 7934325 w 8601075"/>
                  <a:gd name="connsiteY223" fmla="*/ 2028825 h 4333875"/>
                  <a:gd name="connsiteX224" fmla="*/ 7953375 w 8601075"/>
                  <a:gd name="connsiteY224" fmla="*/ 1952625 h 4333875"/>
                  <a:gd name="connsiteX225" fmla="*/ 7953375 w 8601075"/>
                  <a:gd name="connsiteY225" fmla="*/ 1952625 h 4333875"/>
                  <a:gd name="connsiteX226" fmla="*/ 8010525 w 8601075"/>
                  <a:gd name="connsiteY226" fmla="*/ 1895475 h 4333875"/>
                  <a:gd name="connsiteX227" fmla="*/ 8048625 w 8601075"/>
                  <a:gd name="connsiteY227" fmla="*/ 1971675 h 4333875"/>
                  <a:gd name="connsiteX228" fmla="*/ 8077200 w 8601075"/>
                  <a:gd name="connsiteY228" fmla="*/ 1885950 h 4333875"/>
                  <a:gd name="connsiteX229" fmla="*/ 8220075 w 8601075"/>
                  <a:gd name="connsiteY229" fmla="*/ 1847850 h 4333875"/>
                  <a:gd name="connsiteX230" fmla="*/ 8296275 w 8601075"/>
                  <a:gd name="connsiteY230" fmla="*/ 1809750 h 4333875"/>
                  <a:gd name="connsiteX231" fmla="*/ 8324850 w 8601075"/>
                  <a:gd name="connsiteY231" fmla="*/ 1790700 h 4333875"/>
                  <a:gd name="connsiteX232" fmla="*/ 8410575 w 8601075"/>
                  <a:gd name="connsiteY232" fmla="*/ 1847850 h 4333875"/>
                  <a:gd name="connsiteX233" fmla="*/ 8505825 w 8601075"/>
                  <a:gd name="connsiteY233" fmla="*/ 1781175 h 4333875"/>
                  <a:gd name="connsiteX234" fmla="*/ 8572500 w 8601075"/>
                  <a:gd name="connsiteY234" fmla="*/ 1809750 h 4333875"/>
                  <a:gd name="connsiteX235" fmla="*/ 8601075 w 8601075"/>
                  <a:gd name="connsiteY235" fmla="*/ 1704975 h 4333875"/>
                  <a:gd name="connsiteX236" fmla="*/ 8553450 w 8601075"/>
                  <a:gd name="connsiteY236" fmla="*/ 1676400 h 4333875"/>
                  <a:gd name="connsiteX237" fmla="*/ 8534400 w 8601075"/>
                  <a:gd name="connsiteY237" fmla="*/ 1609725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124825 w 8601075"/>
                  <a:gd name="connsiteY241" fmla="*/ 1352550 h 4333875"/>
                  <a:gd name="connsiteX242" fmla="*/ 7924800 w 8601075"/>
                  <a:gd name="connsiteY242" fmla="*/ 1362075 h 4333875"/>
                  <a:gd name="connsiteX243" fmla="*/ 7867650 w 8601075"/>
                  <a:gd name="connsiteY243" fmla="*/ 1457325 h 4333875"/>
                  <a:gd name="connsiteX244" fmla="*/ 7896225 w 8601075"/>
                  <a:gd name="connsiteY244" fmla="*/ 1476375 h 4333875"/>
                  <a:gd name="connsiteX245" fmla="*/ 7858125 w 8601075"/>
                  <a:gd name="connsiteY245" fmla="*/ 1533525 h 4333875"/>
                  <a:gd name="connsiteX246" fmla="*/ 7658100 w 8601075"/>
                  <a:gd name="connsiteY246" fmla="*/ 1447800 h 4333875"/>
                  <a:gd name="connsiteX247" fmla="*/ 7515225 w 8601075"/>
                  <a:gd name="connsiteY247" fmla="*/ 1495425 h 4333875"/>
                  <a:gd name="connsiteX248" fmla="*/ 7467600 w 8601075"/>
                  <a:gd name="connsiteY248" fmla="*/ 1581150 h 4333875"/>
                  <a:gd name="connsiteX249" fmla="*/ 7296150 w 8601075"/>
                  <a:gd name="connsiteY24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86075 w 8601075"/>
                  <a:gd name="connsiteY181" fmla="*/ 3886200 h 4333875"/>
                  <a:gd name="connsiteX182" fmla="*/ 3038475 w 8601075"/>
                  <a:gd name="connsiteY182" fmla="*/ 3819525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38475 w 8601075"/>
                  <a:gd name="connsiteY182" fmla="*/ 3819525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38575 w 8601075"/>
                  <a:gd name="connsiteY188" fmla="*/ 4057650 h 4333875"/>
                  <a:gd name="connsiteX189" fmla="*/ 4162425 w 8601075"/>
                  <a:gd name="connsiteY189" fmla="*/ 424815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2425 w 8601075"/>
                  <a:gd name="connsiteY189" fmla="*/ 424815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29087 w 8601075"/>
                  <a:gd name="connsiteY189" fmla="*/ 4214812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79119 w 8601075"/>
                  <a:gd name="connsiteY190" fmla="*/ 4193381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395788 w 8601075"/>
                  <a:gd name="connsiteY191" fmla="*/ 4279106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395788 w 8601075"/>
                  <a:gd name="connsiteY191" fmla="*/ 4279106 h 4333875"/>
                  <a:gd name="connsiteX192" fmla="*/ 4481513 w 8601075"/>
                  <a:gd name="connsiteY192" fmla="*/ 4274343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591050 w 8601075"/>
                  <a:gd name="connsiteY194" fmla="*/ 4248150 h 4305300"/>
                  <a:gd name="connsiteX195" fmla="*/ 5295900 w 8601075"/>
                  <a:gd name="connsiteY195" fmla="*/ 3924300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95900 w 8601075"/>
                  <a:gd name="connsiteY195" fmla="*/ 3924300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448425 w 8601075"/>
                  <a:gd name="connsiteY205" fmla="*/ 3448050 h 4305300"/>
                  <a:gd name="connsiteX206" fmla="*/ 6581775 w 8601075"/>
                  <a:gd name="connsiteY206" fmla="*/ 3276600 h 4305300"/>
                  <a:gd name="connsiteX207" fmla="*/ 6496050 w 8601075"/>
                  <a:gd name="connsiteY207" fmla="*/ 3228975 h 4305300"/>
                  <a:gd name="connsiteX208" fmla="*/ 6438900 w 8601075"/>
                  <a:gd name="connsiteY208" fmla="*/ 3162300 h 4305300"/>
                  <a:gd name="connsiteX209" fmla="*/ 6419850 w 8601075"/>
                  <a:gd name="connsiteY209" fmla="*/ 3105150 h 4305300"/>
                  <a:gd name="connsiteX210" fmla="*/ 6362700 w 8601075"/>
                  <a:gd name="connsiteY210" fmla="*/ 3076575 h 4305300"/>
                  <a:gd name="connsiteX211" fmla="*/ 6410325 w 8601075"/>
                  <a:gd name="connsiteY211" fmla="*/ 3019425 h 4305300"/>
                  <a:gd name="connsiteX212" fmla="*/ 6438900 w 8601075"/>
                  <a:gd name="connsiteY212" fmla="*/ 2819400 h 4305300"/>
                  <a:gd name="connsiteX213" fmla="*/ 6496050 w 8601075"/>
                  <a:gd name="connsiteY213" fmla="*/ 2762250 h 4305300"/>
                  <a:gd name="connsiteX214" fmla="*/ 6657975 w 8601075"/>
                  <a:gd name="connsiteY214" fmla="*/ 2752725 h 4305300"/>
                  <a:gd name="connsiteX215" fmla="*/ 6781800 w 8601075"/>
                  <a:gd name="connsiteY215" fmla="*/ 2838450 h 4305300"/>
                  <a:gd name="connsiteX216" fmla="*/ 7010400 w 8601075"/>
                  <a:gd name="connsiteY216" fmla="*/ 2838450 h 4305300"/>
                  <a:gd name="connsiteX217" fmla="*/ 7162800 w 8601075"/>
                  <a:gd name="connsiteY217" fmla="*/ 2705100 h 4305300"/>
                  <a:gd name="connsiteX218" fmla="*/ 7229475 w 8601075"/>
                  <a:gd name="connsiteY218" fmla="*/ 2590800 h 4305300"/>
                  <a:gd name="connsiteX219" fmla="*/ 7248525 w 8601075"/>
                  <a:gd name="connsiteY219" fmla="*/ 2524125 h 4305300"/>
                  <a:gd name="connsiteX220" fmla="*/ 7372350 w 8601075"/>
                  <a:gd name="connsiteY220" fmla="*/ 2543175 h 4305300"/>
                  <a:gd name="connsiteX221" fmla="*/ 7553325 w 8601075"/>
                  <a:gd name="connsiteY221" fmla="*/ 2447925 h 4305300"/>
                  <a:gd name="connsiteX222" fmla="*/ 7620000 w 8601075"/>
                  <a:gd name="connsiteY222" fmla="*/ 2324100 h 4305300"/>
                  <a:gd name="connsiteX223" fmla="*/ 7696200 w 8601075"/>
                  <a:gd name="connsiteY223" fmla="*/ 2314575 h 4305300"/>
                  <a:gd name="connsiteX224" fmla="*/ 7658100 w 8601075"/>
                  <a:gd name="connsiteY224" fmla="*/ 2257425 h 4305300"/>
                  <a:gd name="connsiteX225" fmla="*/ 7753350 w 8601075"/>
                  <a:gd name="connsiteY225" fmla="*/ 2057400 h 4305300"/>
                  <a:gd name="connsiteX226" fmla="*/ 7934325 w 8601075"/>
                  <a:gd name="connsiteY226" fmla="*/ 2028825 h 4305300"/>
                  <a:gd name="connsiteX227" fmla="*/ 7953375 w 8601075"/>
                  <a:gd name="connsiteY227" fmla="*/ 1952625 h 4305300"/>
                  <a:gd name="connsiteX228" fmla="*/ 7953375 w 8601075"/>
                  <a:gd name="connsiteY228" fmla="*/ 1952625 h 4305300"/>
                  <a:gd name="connsiteX229" fmla="*/ 8010525 w 8601075"/>
                  <a:gd name="connsiteY229" fmla="*/ 1895475 h 4305300"/>
                  <a:gd name="connsiteX230" fmla="*/ 8048625 w 8601075"/>
                  <a:gd name="connsiteY230" fmla="*/ 1971675 h 4305300"/>
                  <a:gd name="connsiteX231" fmla="*/ 8077200 w 8601075"/>
                  <a:gd name="connsiteY231" fmla="*/ 1885950 h 4305300"/>
                  <a:gd name="connsiteX232" fmla="*/ 8220075 w 8601075"/>
                  <a:gd name="connsiteY232" fmla="*/ 1847850 h 4305300"/>
                  <a:gd name="connsiteX233" fmla="*/ 8296275 w 8601075"/>
                  <a:gd name="connsiteY233" fmla="*/ 1809750 h 4305300"/>
                  <a:gd name="connsiteX234" fmla="*/ 8324850 w 8601075"/>
                  <a:gd name="connsiteY234" fmla="*/ 1790700 h 4305300"/>
                  <a:gd name="connsiteX235" fmla="*/ 8410575 w 8601075"/>
                  <a:gd name="connsiteY235" fmla="*/ 1847850 h 4305300"/>
                  <a:gd name="connsiteX236" fmla="*/ 8505825 w 8601075"/>
                  <a:gd name="connsiteY236" fmla="*/ 1781175 h 4305300"/>
                  <a:gd name="connsiteX237" fmla="*/ 8572500 w 8601075"/>
                  <a:gd name="connsiteY237" fmla="*/ 1809750 h 4305300"/>
                  <a:gd name="connsiteX238" fmla="*/ 8601075 w 8601075"/>
                  <a:gd name="connsiteY238" fmla="*/ 1704975 h 4305300"/>
                  <a:gd name="connsiteX239" fmla="*/ 8553450 w 8601075"/>
                  <a:gd name="connsiteY239" fmla="*/ 1676400 h 4305300"/>
                  <a:gd name="connsiteX240" fmla="*/ 8534400 w 8601075"/>
                  <a:gd name="connsiteY240" fmla="*/ 1609725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277225 w 8601075"/>
                  <a:gd name="connsiteY243" fmla="*/ 1409700 h 4305300"/>
                  <a:gd name="connsiteX244" fmla="*/ 8124825 w 8601075"/>
                  <a:gd name="connsiteY244" fmla="*/ 1352550 h 4305300"/>
                  <a:gd name="connsiteX245" fmla="*/ 7924800 w 8601075"/>
                  <a:gd name="connsiteY245" fmla="*/ 1362075 h 4305300"/>
                  <a:gd name="connsiteX246" fmla="*/ 7867650 w 8601075"/>
                  <a:gd name="connsiteY246" fmla="*/ 1457325 h 4305300"/>
                  <a:gd name="connsiteX247" fmla="*/ 7896225 w 8601075"/>
                  <a:gd name="connsiteY247" fmla="*/ 1476375 h 4305300"/>
                  <a:gd name="connsiteX248" fmla="*/ 7858125 w 8601075"/>
                  <a:gd name="connsiteY248" fmla="*/ 1533525 h 4305300"/>
                  <a:gd name="connsiteX249" fmla="*/ 7658100 w 8601075"/>
                  <a:gd name="connsiteY249" fmla="*/ 1447800 h 4305300"/>
                  <a:gd name="connsiteX250" fmla="*/ 7515225 w 8601075"/>
                  <a:gd name="connsiteY250" fmla="*/ 1495425 h 4305300"/>
                  <a:gd name="connsiteX251" fmla="*/ 7467600 w 8601075"/>
                  <a:gd name="connsiteY251" fmla="*/ 1581150 h 4305300"/>
                  <a:gd name="connsiteX252" fmla="*/ 7296150 w 8601075"/>
                  <a:gd name="connsiteY25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448425 w 8601075"/>
                  <a:gd name="connsiteY206" fmla="*/ 3448050 h 4305300"/>
                  <a:gd name="connsiteX207" fmla="*/ 6581775 w 8601075"/>
                  <a:gd name="connsiteY207" fmla="*/ 3276600 h 4305300"/>
                  <a:gd name="connsiteX208" fmla="*/ 6496050 w 8601075"/>
                  <a:gd name="connsiteY208" fmla="*/ 3228975 h 4305300"/>
                  <a:gd name="connsiteX209" fmla="*/ 6438900 w 8601075"/>
                  <a:gd name="connsiteY209" fmla="*/ 3162300 h 4305300"/>
                  <a:gd name="connsiteX210" fmla="*/ 6419850 w 8601075"/>
                  <a:gd name="connsiteY210" fmla="*/ 3105150 h 4305300"/>
                  <a:gd name="connsiteX211" fmla="*/ 6362700 w 8601075"/>
                  <a:gd name="connsiteY211" fmla="*/ 3076575 h 4305300"/>
                  <a:gd name="connsiteX212" fmla="*/ 6410325 w 8601075"/>
                  <a:gd name="connsiteY212" fmla="*/ 3019425 h 4305300"/>
                  <a:gd name="connsiteX213" fmla="*/ 6438900 w 8601075"/>
                  <a:gd name="connsiteY213" fmla="*/ 2819400 h 4305300"/>
                  <a:gd name="connsiteX214" fmla="*/ 6496050 w 8601075"/>
                  <a:gd name="connsiteY214" fmla="*/ 2762250 h 4305300"/>
                  <a:gd name="connsiteX215" fmla="*/ 6657975 w 8601075"/>
                  <a:gd name="connsiteY215" fmla="*/ 2752725 h 4305300"/>
                  <a:gd name="connsiteX216" fmla="*/ 6781800 w 8601075"/>
                  <a:gd name="connsiteY216" fmla="*/ 2838450 h 4305300"/>
                  <a:gd name="connsiteX217" fmla="*/ 7010400 w 8601075"/>
                  <a:gd name="connsiteY217" fmla="*/ 2838450 h 4305300"/>
                  <a:gd name="connsiteX218" fmla="*/ 7162800 w 8601075"/>
                  <a:gd name="connsiteY218" fmla="*/ 2705100 h 4305300"/>
                  <a:gd name="connsiteX219" fmla="*/ 7229475 w 8601075"/>
                  <a:gd name="connsiteY219" fmla="*/ 2590800 h 4305300"/>
                  <a:gd name="connsiteX220" fmla="*/ 7248525 w 8601075"/>
                  <a:gd name="connsiteY220" fmla="*/ 2524125 h 4305300"/>
                  <a:gd name="connsiteX221" fmla="*/ 7372350 w 8601075"/>
                  <a:gd name="connsiteY221" fmla="*/ 2543175 h 4305300"/>
                  <a:gd name="connsiteX222" fmla="*/ 7553325 w 8601075"/>
                  <a:gd name="connsiteY222" fmla="*/ 2447925 h 4305300"/>
                  <a:gd name="connsiteX223" fmla="*/ 7620000 w 8601075"/>
                  <a:gd name="connsiteY223" fmla="*/ 2324100 h 4305300"/>
                  <a:gd name="connsiteX224" fmla="*/ 7696200 w 8601075"/>
                  <a:gd name="connsiteY224" fmla="*/ 2314575 h 4305300"/>
                  <a:gd name="connsiteX225" fmla="*/ 7658100 w 8601075"/>
                  <a:gd name="connsiteY225" fmla="*/ 2257425 h 4305300"/>
                  <a:gd name="connsiteX226" fmla="*/ 7753350 w 8601075"/>
                  <a:gd name="connsiteY226" fmla="*/ 2057400 h 4305300"/>
                  <a:gd name="connsiteX227" fmla="*/ 7934325 w 8601075"/>
                  <a:gd name="connsiteY227" fmla="*/ 2028825 h 4305300"/>
                  <a:gd name="connsiteX228" fmla="*/ 7953375 w 8601075"/>
                  <a:gd name="connsiteY228" fmla="*/ 1952625 h 4305300"/>
                  <a:gd name="connsiteX229" fmla="*/ 7953375 w 8601075"/>
                  <a:gd name="connsiteY229" fmla="*/ 1952625 h 4305300"/>
                  <a:gd name="connsiteX230" fmla="*/ 8010525 w 8601075"/>
                  <a:gd name="connsiteY230" fmla="*/ 1895475 h 4305300"/>
                  <a:gd name="connsiteX231" fmla="*/ 8048625 w 8601075"/>
                  <a:gd name="connsiteY231" fmla="*/ 1971675 h 4305300"/>
                  <a:gd name="connsiteX232" fmla="*/ 8077200 w 8601075"/>
                  <a:gd name="connsiteY232" fmla="*/ 1885950 h 4305300"/>
                  <a:gd name="connsiteX233" fmla="*/ 8220075 w 8601075"/>
                  <a:gd name="connsiteY233" fmla="*/ 1847850 h 4305300"/>
                  <a:gd name="connsiteX234" fmla="*/ 8296275 w 8601075"/>
                  <a:gd name="connsiteY234" fmla="*/ 1809750 h 4305300"/>
                  <a:gd name="connsiteX235" fmla="*/ 8324850 w 8601075"/>
                  <a:gd name="connsiteY235" fmla="*/ 1790700 h 4305300"/>
                  <a:gd name="connsiteX236" fmla="*/ 8410575 w 8601075"/>
                  <a:gd name="connsiteY236" fmla="*/ 1847850 h 4305300"/>
                  <a:gd name="connsiteX237" fmla="*/ 8505825 w 8601075"/>
                  <a:gd name="connsiteY237" fmla="*/ 1781175 h 4305300"/>
                  <a:gd name="connsiteX238" fmla="*/ 8572500 w 8601075"/>
                  <a:gd name="connsiteY238" fmla="*/ 1809750 h 4305300"/>
                  <a:gd name="connsiteX239" fmla="*/ 8601075 w 8601075"/>
                  <a:gd name="connsiteY239" fmla="*/ 1704975 h 4305300"/>
                  <a:gd name="connsiteX240" fmla="*/ 8553450 w 8601075"/>
                  <a:gd name="connsiteY240" fmla="*/ 1676400 h 4305300"/>
                  <a:gd name="connsiteX241" fmla="*/ 8534400 w 8601075"/>
                  <a:gd name="connsiteY241" fmla="*/ 1609725 h 4305300"/>
                  <a:gd name="connsiteX242" fmla="*/ 8277225 w 8601075"/>
                  <a:gd name="connsiteY242" fmla="*/ 1409700 h 4305300"/>
                  <a:gd name="connsiteX243" fmla="*/ 8277225 w 8601075"/>
                  <a:gd name="connsiteY243" fmla="*/ 1409700 h 4305300"/>
                  <a:gd name="connsiteX244" fmla="*/ 8277225 w 8601075"/>
                  <a:gd name="connsiteY244" fmla="*/ 1409700 h 4305300"/>
                  <a:gd name="connsiteX245" fmla="*/ 8124825 w 8601075"/>
                  <a:gd name="connsiteY245" fmla="*/ 1352550 h 4305300"/>
                  <a:gd name="connsiteX246" fmla="*/ 7924800 w 8601075"/>
                  <a:gd name="connsiteY246" fmla="*/ 1362075 h 4305300"/>
                  <a:gd name="connsiteX247" fmla="*/ 7867650 w 8601075"/>
                  <a:gd name="connsiteY247" fmla="*/ 1457325 h 4305300"/>
                  <a:gd name="connsiteX248" fmla="*/ 7896225 w 8601075"/>
                  <a:gd name="connsiteY248" fmla="*/ 1476375 h 4305300"/>
                  <a:gd name="connsiteX249" fmla="*/ 7858125 w 8601075"/>
                  <a:gd name="connsiteY249" fmla="*/ 1533525 h 4305300"/>
                  <a:gd name="connsiteX250" fmla="*/ 7658100 w 8601075"/>
                  <a:gd name="connsiteY250" fmla="*/ 1447800 h 4305300"/>
                  <a:gd name="connsiteX251" fmla="*/ 7515225 w 8601075"/>
                  <a:gd name="connsiteY251" fmla="*/ 1495425 h 4305300"/>
                  <a:gd name="connsiteX252" fmla="*/ 7467600 w 8601075"/>
                  <a:gd name="connsiteY252" fmla="*/ 1581150 h 4305300"/>
                  <a:gd name="connsiteX253" fmla="*/ 7296150 w 8601075"/>
                  <a:gd name="connsiteY25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48425 w 8601075"/>
                  <a:gd name="connsiteY207" fmla="*/ 3448050 h 4305300"/>
                  <a:gd name="connsiteX208" fmla="*/ 6581775 w 8601075"/>
                  <a:gd name="connsiteY208" fmla="*/ 3276600 h 4305300"/>
                  <a:gd name="connsiteX209" fmla="*/ 6496050 w 8601075"/>
                  <a:gd name="connsiteY209" fmla="*/ 3228975 h 4305300"/>
                  <a:gd name="connsiteX210" fmla="*/ 6438900 w 8601075"/>
                  <a:gd name="connsiteY210" fmla="*/ 3162300 h 4305300"/>
                  <a:gd name="connsiteX211" fmla="*/ 6419850 w 8601075"/>
                  <a:gd name="connsiteY211" fmla="*/ 3105150 h 4305300"/>
                  <a:gd name="connsiteX212" fmla="*/ 6362700 w 8601075"/>
                  <a:gd name="connsiteY212" fmla="*/ 3076575 h 4305300"/>
                  <a:gd name="connsiteX213" fmla="*/ 6410325 w 8601075"/>
                  <a:gd name="connsiteY213" fmla="*/ 3019425 h 4305300"/>
                  <a:gd name="connsiteX214" fmla="*/ 6438900 w 8601075"/>
                  <a:gd name="connsiteY214" fmla="*/ 2819400 h 4305300"/>
                  <a:gd name="connsiteX215" fmla="*/ 6496050 w 8601075"/>
                  <a:gd name="connsiteY215" fmla="*/ 2762250 h 4305300"/>
                  <a:gd name="connsiteX216" fmla="*/ 6657975 w 8601075"/>
                  <a:gd name="connsiteY216" fmla="*/ 2752725 h 4305300"/>
                  <a:gd name="connsiteX217" fmla="*/ 6781800 w 8601075"/>
                  <a:gd name="connsiteY217" fmla="*/ 2838450 h 4305300"/>
                  <a:gd name="connsiteX218" fmla="*/ 7010400 w 8601075"/>
                  <a:gd name="connsiteY218" fmla="*/ 2838450 h 4305300"/>
                  <a:gd name="connsiteX219" fmla="*/ 7162800 w 8601075"/>
                  <a:gd name="connsiteY219" fmla="*/ 2705100 h 4305300"/>
                  <a:gd name="connsiteX220" fmla="*/ 7229475 w 8601075"/>
                  <a:gd name="connsiteY220" fmla="*/ 2590800 h 4305300"/>
                  <a:gd name="connsiteX221" fmla="*/ 7248525 w 8601075"/>
                  <a:gd name="connsiteY221" fmla="*/ 2524125 h 4305300"/>
                  <a:gd name="connsiteX222" fmla="*/ 7372350 w 8601075"/>
                  <a:gd name="connsiteY222" fmla="*/ 2543175 h 4305300"/>
                  <a:gd name="connsiteX223" fmla="*/ 7553325 w 8601075"/>
                  <a:gd name="connsiteY223" fmla="*/ 2447925 h 4305300"/>
                  <a:gd name="connsiteX224" fmla="*/ 7620000 w 8601075"/>
                  <a:gd name="connsiteY224" fmla="*/ 2324100 h 4305300"/>
                  <a:gd name="connsiteX225" fmla="*/ 7696200 w 8601075"/>
                  <a:gd name="connsiteY225" fmla="*/ 2314575 h 4305300"/>
                  <a:gd name="connsiteX226" fmla="*/ 7658100 w 8601075"/>
                  <a:gd name="connsiteY226" fmla="*/ 2257425 h 4305300"/>
                  <a:gd name="connsiteX227" fmla="*/ 7753350 w 8601075"/>
                  <a:gd name="connsiteY227" fmla="*/ 2057400 h 4305300"/>
                  <a:gd name="connsiteX228" fmla="*/ 7934325 w 8601075"/>
                  <a:gd name="connsiteY228" fmla="*/ 2028825 h 4305300"/>
                  <a:gd name="connsiteX229" fmla="*/ 7953375 w 8601075"/>
                  <a:gd name="connsiteY229" fmla="*/ 1952625 h 4305300"/>
                  <a:gd name="connsiteX230" fmla="*/ 7953375 w 8601075"/>
                  <a:gd name="connsiteY230" fmla="*/ 1952625 h 4305300"/>
                  <a:gd name="connsiteX231" fmla="*/ 8010525 w 8601075"/>
                  <a:gd name="connsiteY231" fmla="*/ 1895475 h 4305300"/>
                  <a:gd name="connsiteX232" fmla="*/ 8048625 w 8601075"/>
                  <a:gd name="connsiteY232" fmla="*/ 1971675 h 4305300"/>
                  <a:gd name="connsiteX233" fmla="*/ 8077200 w 8601075"/>
                  <a:gd name="connsiteY233" fmla="*/ 1885950 h 4305300"/>
                  <a:gd name="connsiteX234" fmla="*/ 8220075 w 8601075"/>
                  <a:gd name="connsiteY234" fmla="*/ 1847850 h 4305300"/>
                  <a:gd name="connsiteX235" fmla="*/ 8296275 w 8601075"/>
                  <a:gd name="connsiteY235" fmla="*/ 1809750 h 4305300"/>
                  <a:gd name="connsiteX236" fmla="*/ 8324850 w 8601075"/>
                  <a:gd name="connsiteY236" fmla="*/ 1790700 h 4305300"/>
                  <a:gd name="connsiteX237" fmla="*/ 8410575 w 8601075"/>
                  <a:gd name="connsiteY237" fmla="*/ 1847850 h 4305300"/>
                  <a:gd name="connsiteX238" fmla="*/ 8505825 w 8601075"/>
                  <a:gd name="connsiteY238" fmla="*/ 1781175 h 4305300"/>
                  <a:gd name="connsiteX239" fmla="*/ 8572500 w 8601075"/>
                  <a:gd name="connsiteY239" fmla="*/ 1809750 h 4305300"/>
                  <a:gd name="connsiteX240" fmla="*/ 8601075 w 8601075"/>
                  <a:gd name="connsiteY240" fmla="*/ 1704975 h 4305300"/>
                  <a:gd name="connsiteX241" fmla="*/ 8553450 w 8601075"/>
                  <a:gd name="connsiteY241" fmla="*/ 1676400 h 4305300"/>
                  <a:gd name="connsiteX242" fmla="*/ 8534400 w 8601075"/>
                  <a:gd name="connsiteY242" fmla="*/ 1609725 h 4305300"/>
                  <a:gd name="connsiteX243" fmla="*/ 8277225 w 8601075"/>
                  <a:gd name="connsiteY243" fmla="*/ 1409700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124825 w 8601075"/>
                  <a:gd name="connsiteY246" fmla="*/ 1352550 h 4305300"/>
                  <a:gd name="connsiteX247" fmla="*/ 7924800 w 8601075"/>
                  <a:gd name="connsiteY247" fmla="*/ 1362075 h 4305300"/>
                  <a:gd name="connsiteX248" fmla="*/ 7867650 w 8601075"/>
                  <a:gd name="connsiteY248" fmla="*/ 1457325 h 4305300"/>
                  <a:gd name="connsiteX249" fmla="*/ 7896225 w 8601075"/>
                  <a:gd name="connsiteY249" fmla="*/ 1476375 h 4305300"/>
                  <a:gd name="connsiteX250" fmla="*/ 7858125 w 8601075"/>
                  <a:gd name="connsiteY250" fmla="*/ 1533525 h 4305300"/>
                  <a:gd name="connsiteX251" fmla="*/ 7658100 w 8601075"/>
                  <a:gd name="connsiteY251" fmla="*/ 1447800 h 4305300"/>
                  <a:gd name="connsiteX252" fmla="*/ 7515225 w 8601075"/>
                  <a:gd name="connsiteY252" fmla="*/ 1495425 h 4305300"/>
                  <a:gd name="connsiteX253" fmla="*/ 7467600 w 8601075"/>
                  <a:gd name="connsiteY253" fmla="*/ 1581150 h 4305300"/>
                  <a:gd name="connsiteX254" fmla="*/ 7296150 w 8601075"/>
                  <a:gd name="connsiteY25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48425 w 8601075"/>
                  <a:gd name="connsiteY208" fmla="*/ 3448050 h 4305300"/>
                  <a:gd name="connsiteX209" fmla="*/ 6581775 w 8601075"/>
                  <a:gd name="connsiteY209" fmla="*/ 3276600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81775 w 8601075"/>
                  <a:gd name="connsiteY209" fmla="*/ 3276600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496050 w 8601075"/>
                  <a:gd name="connsiteY211" fmla="*/ 3228975 h 4305300"/>
                  <a:gd name="connsiteX212" fmla="*/ 6438900 w 8601075"/>
                  <a:gd name="connsiteY212" fmla="*/ 3162300 h 4305300"/>
                  <a:gd name="connsiteX213" fmla="*/ 6419850 w 8601075"/>
                  <a:gd name="connsiteY213" fmla="*/ 3105150 h 4305300"/>
                  <a:gd name="connsiteX214" fmla="*/ 6362700 w 8601075"/>
                  <a:gd name="connsiteY214" fmla="*/ 3076575 h 4305300"/>
                  <a:gd name="connsiteX215" fmla="*/ 6410325 w 8601075"/>
                  <a:gd name="connsiteY215" fmla="*/ 3019425 h 4305300"/>
                  <a:gd name="connsiteX216" fmla="*/ 6438900 w 8601075"/>
                  <a:gd name="connsiteY216" fmla="*/ 2819400 h 4305300"/>
                  <a:gd name="connsiteX217" fmla="*/ 6496050 w 8601075"/>
                  <a:gd name="connsiteY217" fmla="*/ 2762250 h 4305300"/>
                  <a:gd name="connsiteX218" fmla="*/ 6657975 w 8601075"/>
                  <a:gd name="connsiteY218" fmla="*/ 2752725 h 4305300"/>
                  <a:gd name="connsiteX219" fmla="*/ 6781800 w 8601075"/>
                  <a:gd name="connsiteY219" fmla="*/ 2838450 h 4305300"/>
                  <a:gd name="connsiteX220" fmla="*/ 7010400 w 8601075"/>
                  <a:gd name="connsiteY220" fmla="*/ 2838450 h 4305300"/>
                  <a:gd name="connsiteX221" fmla="*/ 7162800 w 8601075"/>
                  <a:gd name="connsiteY221" fmla="*/ 2705100 h 4305300"/>
                  <a:gd name="connsiteX222" fmla="*/ 7229475 w 8601075"/>
                  <a:gd name="connsiteY222" fmla="*/ 2590800 h 4305300"/>
                  <a:gd name="connsiteX223" fmla="*/ 7248525 w 8601075"/>
                  <a:gd name="connsiteY223" fmla="*/ 2524125 h 4305300"/>
                  <a:gd name="connsiteX224" fmla="*/ 7372350 w 8601075"/>
                  <a:gd name="connsiteY224" fmla="*/ 2543175 h 4305300"/>
                  <a:gd name="connsiteX225" fmla="*/ 7553325 w 8601075"/>
                  <a:gd name="connsiteY225" fmla="*/ 2447925 h 4305300"/>
                  <a:gd name="connsiteX226" fmla="*/ 7620000 w 8601075"/>
                  <a:gd name="connsiteY226" fmla="*/ 2324100 h 4305300"/>
                  <a:gd name="connsiteX227" fmla="*/ 7696200 w 8601075"/>
                  <a:gd name="connsiteY227" fmla="*/ 2314575 h 4305300"/>
                  <a:gd name="connsiteX228" fmla="*/ 7658100 w 8601075"/>
                  <a:gd name="connsiteY228" fmla="*/ 2257425 h 4305300"/>
                  <a:gd name="connsiteX229" fmla="*/ 7753350 w 8601075"/>
                  <a:gd name="connsiteY229" fmla="*/ 2057400 h 4305300"/>
                  <a:gd name="connsiteX230" fmla="*/ 7934325 w 8601075"/>
                  <a:gd name="connsiteY230" fmla="*/ 2028825 h 4305300"/>
                  <a:gd name="connsiteX231" fmla="*/ 7953375 w 8601075"/>
                  <a:gd name="connsiteY231" fmla="*/ 1952625 h 4305300"/>
                  <a:gd name="connsiteX232" fmla="*/ 7953375 w 8601075"/>
                  <a:gd name="connsiteY232" fmla="*/ 1952625 h 4305300"/>
                  <a:gd name="connsiteX233" fmla="*/ 8010525 w 8601075"/>
                  <a:gd name="connsiteY233" fmla="*/ 1895475 h 4305300"/>
                  <a:gd name="connsiteX234" fmla="*/ 8048625 w 8601075"/>
                  <a:gd name="connsiteY234" fmla="*/ 1971675 h 4305300"/>
                  <a:gd name="connsiteX235" fmla="*/ 8077200 w 8601075"/>
                  <a:gd name="connsiteY235" fmla="*/ 1885950 h 4305300"/>
                  <a:gd name="connsiteX236" fmla="*/ 8220075 w 8601075"/>
                  <a:gd name="connsiteY236" fmla="*/ 1847850 h 4305300"/>
                  <a:gd name="connsiteX237" fmla="*/ 8296275 w 8601075"/>
                  <a:gd name="connsiteY237" fmla="*/ 1809750 h 4305300"/>
                  <a:gd name="connsiteX238" fmla="*/ 8324850 w 8601075"/>
                  <a:gd name="connsiteY238" fmla="*/ 1790700 h 4305300"/>
                  <a:gd name="connsiteX239" fmla="*/ 8410575 w 8601075"/>
                  <a:gd name="connsiteY239" fmla="*/ 1847850 h 4305300"/>
                  <a:gd name="connsiteX240" fmla="*/ 8505825 w 8601075"/>
                  <a:gd name="connsiteY240" fmla="*/ 1781175 h 4305300"/>
                  <a:gd name="connsiteX241" fmla="*/ 8572500 w 8601075"/>
                  <a:gd name="connsiteY241" fmla="*/ 1809750 h 4305300"/>
                  <a:gd name="connsiteX242" fmla="*/ 8601075 w 8601075"/>
                  <a:gd name="connsiteY242" fmla="*/ 1704975 h 4305300"/>
                  <a:gd name="connsiteX243" fmla="*/ 8553450 w 8601075"/>
                  <a:gd name="connsiteY243" fmla="*/ 1676400 h 4305300"/>
                  <a:gd name="connsiteX244" fmla="*/ 8534400 w 8601075"/>
                  <a:gd name="connsiteY244" fmla="*/ 1609725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124825 w 8601075"/>
                  <a:gd name="connsiteY248" fmla="*/ 1352550 h 4305300"/>
                  <a:gd name="connsiteX249" fmla="*/ 7924800 w 8601075"/>
                  <a:gd name="connsiteY249" fmla="*/ 1362075 h 4305300"/>
                  <a:gd name="connsiteX250" fmla="*/ 7867650 w 8601075"/>
                  <a:gd name="connsiteY250" fmla="*/ 1457325 h 4305300"/>
                  <a:gd name="connsiteX251" fmla="*/ 7896225 w 8601075"/>
                  <a:gd name="connsiteY251" fmla="*/ 1476375 h 4305300"/>
                  <a:gd name="connsiteX252" fmla="*/ 7858125 w 8601075"/>
                  <a:gd name="connsiteY252" fmla="*/ 1533525 h 4305300"/>
                  <a:gd name="connsiteX253" fmla="*/ 7658100 w 8601075"/>
                  <a:gd name="connsiteY253" fmla="*/ 1447800 h 4305300"/>
                  <a:gd name="connsiteX254" fmla="*/ 7515225 w 8601075"/>
                  <a:gd name="connsiteY254" fmla="*/ 1495425 h 4305300"/>
                  <a:gd name="connsiteX255" fmla="*/ 7467600 w 8601075"/>
                  <a:gd name="connsiteY255" fmla="*/ 1581150 h 4305300"/>
                  <a:gd name="connsiteX256" fmla="*/ 7296150 w 8601075"/>
                  <a:gd name="connsiteY256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6050 w 8601075"/>
                  <a:gd name="connsiteY212" fmla="*/ 3228975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62700 w 8601075"/>
                  <a:gd name="connsiteY215" fmla="*/ 3076575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62700 w 8601075"/>
                  <a:gd name="connsiteY215" fmla="*/ 3076575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7010400 w 8601075"/>
                  <a:gd name="connsiteY222" fmla="*/ 2838450 h 4305300"/>
                  <a:gd name="connsiteX223" fmla="*/ 7162800 w 8601075"/>
                  <a:gd name="connsiteY223" fmla="*/ 2705100 h 4305300"/>
                  <a:gd name="connsiteX224" fmla="*/ 7229475 w 8601075"/>
                  <a:gd name="connsiteY224" fmla="*/ 2590800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29475 w 8601075"/>
                  <a:gd name="connsiteY224" fmla="*/ 2590800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34238 w 8601075"/>
                  <a:gd name="connsiteY225" fmla="*/ 2540794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934325 w 8601075"/>
                  <a:gd name="connsiteY233" fmla="*/ 2028825 h 4305300"/>
                  <a:gd name="connsiteX234" fmla="*/ 7953375 w 8601075"/>
                  <a:gd name="connsiteY234" fmla="*/ 1952625 h 4305300"/>
                  <a:gd name="connsiteX235" fmla="*/ 7953375 w 8601075"/>
                  <a:gd name="connsiteY235" fmla="*/ 1952625 h 4305300"/>
                  <a:gd name="connsiteX236" fmla="*/ 8010525 w 8601075"/>
                  <a:gd name="connsiteY236" fmla="*/ 1895475 h 4305300"/>
                  <a:gd name="connsiteX237" fmla="*/ 8048625 w 8601075"/>
                  <a:gd name="connsiteY237" fmla="*/ 1971675 h 4305300"/>
                  <a:gd name="connsiteX238" fmla="*/ 8077200 w 8601075"/>
                  <a:gd name="connsiteY238" fmla="*/ 1885950 h 4305300"/>
                  <a:gd name="connsiteX239" fmla="*/ 8220075 w 8601075"/>
                  <a:gd name="connsiteY239" fmla="*/ 1847850 h 4305300"/>
                  <a:gd name="connsiteX240" fmla="*/ 8296275 w 8601075"/>
                  <a:gd name="connsiteY240" fmla="*/ 1809750 h 4305300"/>
                  <a:gd name="connsiteX241" fmla="*/ 8324850 w 8601075"/>
                  <a:gd name="connsiteY241" fmla="*/ 1790700 h 4305300"/>
                  <a:gd name="connsiteX242" fmla="*/ 8410575 w 8601075"/>
                  <a:gd name="connsiteY242" fmla="*/ 1847850 h 4305300"/>
                  <a:gd name="connsiteX243" fmla="*/ 8505825 w 8601075"/>
                  <a:gd name="connsiteY243" fmla="*/ 1781175 h 4305300"/>
                  <a:gd name="connsiteX244" fmla="*/ 8572500 w 8601075"/>
                  <a:gd name="connsiteY244" fmla="*/ 1809750 h 4305300"/>
                  <a:gd name="connsiteX245" fmla="*/ 8601075 w 8601075"/>
                  <a:gd name="connsiteY245" fmla="*/ 1704975 h 4305300"/>
                  <a:gd name="connsiteX246" fmla="*/ 8553450 w 8601075"/>
                  <a:gd name="connsiteY246" fmla="*/ 1676400 h 4305300"/>
                  <a:gd name="connsiteX247" fmla="*/ 8534400 w 8601075"/>
                  <a:gd name="connsiteY247" fmla="*/ 1609725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124825 w 8601075"/>
                  <a:gd name="connsiteY251" fmla="*/ 1352550 h 4305300"/>
                  <a:gd name="connsiteX252" fmla="*/ 7924800 w 8601075"/>
                  <a:gd name="connsiteY252" fmla="*/ 1362075 h 4305300"/>
                  <a:gd name="connsiteX253" fmla="*/ 7867650 w 8601075"/>
                  <a:gd name="connsiteY253" fmla="*/ 1457325 h 4305300"/>
                  <a:gd name="connsiteX254" fmla="*/ 7896225 w 8601075"/>
                  <a:gd name="connsiteY254" fmla="*/ 1476375 h 4305300"/>
                  <a:gd name="connsiteX255" fmla="*/ 7858125 w 8601075"/>
                  <a:gd name="connsiteY255" fmla="*/ 1533525 h 4305300"/>
                  <a:gd name="connsiteX256" fmla="*/ 7658100 w 8601075"/>
                  <a:gd name="connsiteY256" fmla="*/ 1447800 h 4305300"/>
                  <a:gd name="connsiteX257" fmla="*/ 7515225 w 8601075"/>
                  <a:gd name="connsiteY257" fmla="*/ 1495425 h 4305300"/>
                  <a:gd name="connsiteX258" fmla="*/ 7467600 w 8601075"/>
                  <a:gd name="connsiteY258" fmla="*/ 1581150 h 4305300"/>
                  <a:gd name="connsiteX259" fmla="*/ 7296150 w 8601075"/>
                  <a:gd name="connsiteY25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934325 w 8601075"/>
                  <a:gd name="connsiteY234" fmla="*/ 2028825 h 4305300"/>
                  <a:gd name="connsiteX235" fmla="*/ 7953375 w 8601075"/>
                  <a:gd name="connsiteY235" fmla="*/ 1952625 h 4305300"/>
                  <a:gd name="connsiteX236" fmla="*/ 7953375 w 8601075"/>
                  <a:gd name="connsiteY236" fmla="*/ 1952625 h 4305300"/>
                  <a:gd name="connsiteX237" fmla="*/ 8010525 w 8601075"/>
                  <a:gd name="connsiteY237" fmla="*/ 1895475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28825 h 4305300"/>
                  <a:gd name="connsiteX236" fmla="*/ 7953375 w 8601075"/>
                  <a:gd name="connsiteY236" fmla="*/ 1952625 h 4305300"/>
                  <a:gd name="connsiteX237" fmla="*/ 7953375 w 8601075"/>
                  <a:gd name="connsiteY237" fmla="*/ 1952625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53375 w 8601075"/>
                  <a:gd name="connsiteY237" fmla="*/ 1952625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43850 w 8601075"/>
                  <a:gd name="connsiteY237" fmla="*/ 1957388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43850 w 8601075"/>
                  <a:gd name="connsiteY237" fmla="*/ 1957388 h 4305300"/>
                  <a:gd name="connsiteX238" fmla="*/ 7967662 w 8601075"/>
                  <a:gd name="connsiteY238" fmla="*/ 1909763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67662 w 8601075"/>
                  <a:gd name="connsiteY237" fmla="*/ 1909763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67662 w 8601075"/>
                  <a:gd name="connsiteY237" fmla="*/ 1909763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58150 w 8601075"/>
                  <a:gd name="connsiteY239" fmla="*/ 1909762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58150 w 8601075"/>
                  <a:gd name="connsiteY239" fmla="*/ 1909762 h 4305300"/>
                  <a:gd name="connsiteX240" fmla="*/ 8155781 w 8601075"/>
                  <a:gd name="connsiteY240" fmla="*/ 1835944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55781 w 8601075"/>
                  <a:gd name="connsiteY240" fmla="*/ 1835944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410575 w 8601075"/>
                  <a:gd name="connsiteY245" fmla="*/ 1847850 h 4305300"/>
                  <a:gd name="connsiteX246" fmla="*/ 8505825 w 8601075"/>
                  <a:gd name="connsiteY246" fmla="*/ 1781175 h 4305300"/>
                  <a:gd name="connsiteX247" fmla="*/ 8572500 w 8601075"/>
                  <a:gd name="connsiteY247" fmla="*/ 1809750 h 4305300"/>
                  <a:gd name="connsiteX248" fmla="*/ 8601075 w 8601075"/>
                  <a:gd name="connsiteY248" fmla="*/ 1704975 h 4305300"/>
                  <a:gd name="connsiteX249" fmla="*/ 8553450 w 8601075"/>
                  <a:gd name="connsiteY249" fmla="*/ 1676400 h 4305300"/>
                  <a:gd name="connsiteX250" fmla="*/ 8534400 w 8601075"/>
                  <a:gd name="connsiteY250" fmla="*/ 1609725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124825 w 8601075"/>
                  <a:gd name="connsiteY254" fmla="*/ 1352550 h 4305300"/>
                  <a:gd name="connsiteX255" fmla="*/ 7924800 w 8601075"/>
                  <a:gd name="connsiteY255" fmla="*/ 1362075 h 4305300"/>
                  <a:gd name="connsiteX256" fmla="*/ 7867650 w 8601075"/>
                  <a:gd name="connsiteY256" fmla="*/ 1457325 h 4305300"/>
                  <a:gd name="connsiteX257" fmla="*/ 7896225 w 8601075"/>
                  <a:gd name="connsiteY257" fmla="*/ 1476375 h 4305300"/>
                  <a:gd name="connsiteX258" fmla="*/ 7858125 w 8601075"/>
                  <a:gd name="connsiteY258" fmla="*/ 1533525 h 4305300"/>
                  <a:gd name="connsiteX259" fmla="*/ 7658100 w 8601075"/>
                  <a:gd name="connsiteY259" fmla="*/ 1447800 h 4305300"/>
                  <a:gd name="connsiteX260" fmla="*/ 7515225 w 8601075"/>
                  <a:gd name="connsiteY260" fmla="*/ 1495425 h 4305300"/>
                  <a:gd name="connsiteX261" fmla="*/ 7467600 w 8601075"/>
                  <a:gd name="connsiteY261" fmla="*/ 1581150 h 4305300"/>
                  <a:gd name="connsiteX262" fmla="*/ 7296150 w 8601075"/>
                  <a:gd name="connsiteY26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505825 w 8601075"/>
                  <a:gd name="connsiteY246" fmla="*/ 1781175 h 4305300"/>
                  <a:gd name="connsiteX247" fmla="*/ 8572500 w 8601075"/>
                  <a:gd name="connsiteY247" fmla="*/ 1809750 h 4305300"/>
                  <a:gd name="connsiteX248" fmla="*/ 8601075 w 8601075"/>
                  <a:gd name="connsiteY248" fmla="*/ 1704975 h 4305300"/>
                  <a:gd name="connsiteX249" fmla="*/ 8553450 w 8601075"/>
                  <a:gd name="connsiteY249" fmla="*/ 1676400 h 4305300"/>
                  <a:gd name="connsiteX250" fmla="*/ 8534400 w 8601075"/>
                  <a:gd name="connsiteY250" fmla="*/ 1609725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124825 w 8601075"/>
                  <a:gd name="connsiteY254" fmla="*/ 1352550 h 4305300"/>
                  <a:gd name="connsiteX255" fmla="*/ 7924800 w 8601075"/>
                  <a:gd name="connsiteY255" fmla="*/ 1362075 h 4305300"/>
                  <a:gd name="connsiteX256" fmla="*/ 7867650 w 8601075"/>
                  <a:gd name="connsiteY256" fmla="*/ 1457325 h 4305300"/>
                  <a:gd name="connsiteX257" fmla="*/ 7896225 w 8601075"/>
                  <a:gd name="connsiteY257" fmla="*/ 1476375 h 4305300"/>
                  <a:gd name="connsiteX258" fmla="*/ 7858125 w 8601075"/>
                  <a:gd name="connsiteY258" fmla="*/ 1533525 h 4305300"/>
                  <a:gd name="connsiteX259" fmla="*/ 7658100 w 8601075"/>
                  <a:gd name="connsiteY259" fmla="*/ 1447800 h 4305300"/>
                  <a:gd name="connsiteX260" fmla="*/ 7515225 w 8601075"/>
                  <a:gd name="connsiteY260" fmla="*/ 1495425 h 4305300"/>
                  <a:gd name="connsiteX261" fmla="*/ 7467600 w 8601075"/>
                  <a:gd name="connsiteY261" fmla="*/ 1581150 h 4305300"/>
                  <a:gd name="connsiteX262" fmla="*/ 7296150 w 8601075"/>
                  <a:gd name="connsiteY26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505825 w 8601075"/>
                  <a:gd name="connsiteY247" fmla="*/ 1781175 h 4305300"/>
                  <a:gd name="connsiteX248" fmla="*/ 8572500 w 8601075"/>
                  <a:gd name="connsiteY248" fmla="*/ 1809750 h 4305300"/>
                  <a:gd name="connsiteX249" fmla="*/ 8601075 w 8601075"/>
                  <a:gd name="connsiteY249" fmla="*/ 1704975 h 4305300"/>
                  <a:gd name="connsiteX250" fmla="*/ 8553450 w 8601075"/>
                  <a:gd name="connsiteY250" fmla="*/ 1676400 h 4305300"/>
                  <a:gd name="connsiteX251" fmla="*/ 8534400 w 8601075"/>
                  <a:gd name="connsiteY251" fmla="*/ 1609725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124825 w 8601075"/>
                  <a:gd name="connsiteY255" fmla="*/ 1352550 h 4305300"/>
                  <a:gd name="connsiteX256" fmla="*/ 7924800 w 8601075"/>
                  <a:gd name="connsiteY256" fmla="*/ 1362075 h 4305300"/>
                  <a:gd name="connsiteX257" fmla="*/ 7867650 w 8601075"/>
                  <a:gd name="connsiteY257" fmla="*/ 1457325 h 4305300"/>
                  <a:gd name="connsiteX258" fmla="*/ 7896225 w 8601075"/>
                  <a:gd name="connsiteY258" fmla="*/ 1476375 h 4305300"/>
                  <a:gd name="connsiteX259" fmla="*/ 7858125 w 8601075"/>
                  <a:gd name="connsiteY259" fmla="*/ 1533525 h 4305300"/>
                  <a:gd name="connsiteX260" fmla="*/ 7658100 w 8601075"/>
                  <a:gd name="connsiteY260" fmla="*/ 1447800 h 4305300"/>
                  <a:gd name="connsiteX261" fmla="*/ 7515225 w 8601075"/>
                  <a:gd name="connsiteY261" fmla="*/ 1495425 h 4305300"/>
                  <a:gd name="connsiteX262" fmla="*/ 7467600 w 8601075"/>
                  <a:gd name="connsiteY262" fmla="*/ 1581150 h 4305300"/>
                  <a:gd name="connsiteX263" fmla="*/ 7296150 w 8601075"/>
                  <a:gd name="connsiteY26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72500 w 8601075"/>
                  <a:gd name="connsiteY248" fmla="*/ 1809750 h 4305300"/>
                  <a:gd name="connsiteX249" fmla="*/ 8601075 w 8601075"/>
                  <a:gd name="connsiteY249" fmla="*/ 1704975 h 4305300"/>
                  <a:gd name="connsiteX250" fmla="*/ 8553450 w 8601075"/>
                  <a:gd name="connsiteY250" fmla="*/ 1676400 h 4305300"/>
                  <a:gd name="connsiteX251" fmla="*/ 8534400 w 8601075"/>
                  <a:gd name="connsiteY251" fmla="*/ 1609725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124825 w 8601075"/>
                  <a:gd name="connsiteY255" fmla="*/ 1352550 h 4305300"/>
                  <a:gd name="connsiteX256" fmla="*/ 7924800 w 8601075"/>
                  <a:gd name="connsiteY256" fmla="*/ 1362075 h 4305300"/>
                  <a:gd name="connsiteX257" fmla="*/ 7867650 w 8601075"/>
                  <a:gd name="connsiteY257" fmla="*/ 1457325 h 4305300"/>
                  <a:gd name="connsiteX258" fmla="*/ 7896225 w 8601075"/>
                  <a:gd name="connsiteY258" fmla="*/ 1476375 h 4305300"/>
                  <a:gd name="connsiteX259" fmla="*/ 7858125 w 8601075"/>
                  <a:gd name="connsiteY259" fmla="*/ 1533525 h 4305300"/>
                  <a:gd name="connsiteX260" fmla="*/ 7658100 w 8601075"/>
                  <a:gd name="connsiteY260" fmla="*/ 1447800 h 4305300"/>
                  <a:gd name="connsiteX261" fmla="*/ 7515225 w 8601075"/>
                  <a:gd name="connsiteY261" fmla="*/ 1495425 h 4305300"/>
                  <a:gd name="connsiteX262" fmla="*/ 7467600 w 8601075"/>
                  <a:gd name="connsiteY262" fmla="*/ 1581150 h 4305300"/>
                  <a:gd name="connsiteX263" fmla="*/ 7296150 w 8601075"/>
                  <a:gd name="connsiteY26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72500 w 8601075"/>
                  <a:gd name="connsiteY248" fmla="*/ 1809750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3450 w 8601075"/>
                  <a:gd name="connsiteY251" fmla="*/ 1676400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3450 w 8601075"/>
                  <a:gd name="connsiteY251" fmla="*/ 1676400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277225 w 8601075"/>
                  <a:gd name="connsiteY256" fmla="*/ 1409700 h 4305300"/>
                  <a:gd name="connsiteX257" fmla="*/ 8124825 w 8601075"/>
                  <a:gd name="connsiteY257" fmla="*/ 1352550 h 4305300"/>
                  <a:gd name="connsiteX258" fmla="*/ 7924800 w 8601075"/>
                  <a:gd name="connsiteY258" fmla="*/ 1362075 h 4305300"/>
                  <a:gd name="connsiteX259" fmla="*/ 7867650 w 8601075"/>
                  <a:gd name="connsiteY259" fmla="*/ 1457325 h 4305300"/>
                  <a:gd name="connsiteX260" fmla="*/ 7896225 w 8601075"/>
                  <a:gd name="connsiteY260" fmla="*/ 1476375 h 4305300"/>
                  <a:gd name="connsiteX261" fmla="*/ 7858125 w 8601075"/>
                  <a:gd name="connsiteY261" fmla="*/ 1533525 h 4305300"/>
                  <a:gd name="connsiteX262" fmla="*/ 7658100 w 8601075"/>
                  <a:gd name="connsiteY262" fmla="*/ 1447800 h 4305300"/>
                  <a:gd name="connsiteX263" fmla="*/ 7515225 w 8601075"/>
                  <a:gd name="connsiteY263" fmla="*/ 1495425 h 4305300"/>
                  <a:gd name="connsiteX264" fmla="*/ 7467600 w 8601075"/>
                  <a:gd name="connsiteY264" fmla="*/ 1581150 h 4305300"/>
                  <a:gd name="connsiteX265" fmla="*/ 7296150 w 8601075"/>
                  <a:gd name="connsiteY26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277225 w 8601075"/>
                  <a:gd name="connsiteY255" fmla="*/ 1409700 h 4305300"/>
                  <a:gd name="connsiteX256" fmla="*/ 8277225 w 8601075"/>
                  <a:gd name="connsiteY256" fmla="*/ 1409700 h 4305300"/>
                  <a:gd name="connsiteX257" fmla="*/ 8277225 w 8601075"/>
                  <a:gd name="connsiteY257" fmla="*/ 1409700 h 4305300"/>
                  <a:gd name="connsiteX258" fmla="*/ 8124825 w 8601075"/>
                  <a:gd name="connsiteY258" fmla="*/ 1352550 h 4305300"/>
                  <a:gd name="connsiteX259" fmla="*/ 7924800 w 8601075"/>
                  <a:gd name="connsiteY259" fmla="*/ 1362075 h 4305300"/>
                  <a:gd name="connsiteX260" fmla="*/ 7867650 w 8601075"/>
                  <a:gd name="connsiteY260" fmla="*/ 1457325 h 4305300"/>
                  <a:gd name="connsiteX261" fmla="*/ 7896225 w 8601075"/>
                  <a:gd name="connsiteY261" fmla="*/ 1476375 h 4305300"/>
                  <a:gd name="connsiteX262" fmla="*/ 7858125 w 8601075"/>
                  <a:gd name="connsiteY262" fmla="*/ 1533525 h 4305300"/>
                  <a:gd name="connsiteX263" fmla="*/ 7658100 w 8601075"/>
                  <a:gd name="connsiteY263" fmla="*/ 1447800 h 4305300"/>
                  <a:gd name="connsiteX264" fmla="*/ 7515225 w 8601075"/>
                  <a:gd name="connsiteY264" fmla="*/ 1495425 h 4305300"/>
                  <a:gd name="connsiteX265" fmla="*/ 7467600 w 8601075"/>
                  <a:gd name="connsiteY265" fmla="*/ 1581150 h 4305300"/>
                  <a:gd name="connsiteX266" fmla="*/ 7296150 w 8601075"/>
                  <a:gd name="connsiteY266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277225 w 8601075"/>
                  <a:gd name="connsiteY256" fmla="*/ 1409700 h 4305300"/>
                  <a:gd name="connsiteX257" fmla="*/ 8277225 w 8601075"/>
                  <a:gd name="connsiteY257" fmla="*/ 1409700 h 4305300"/>
                  <a:gd name="connsiteX258" fmla="*/ 8277225 w 8601075"/>
                  <a:gd name="connsiteY258" fmla="*/ 1409700 h 4305300"/>
                  <a:gd name="connsiteX259" fmla="*/ 8124825 w 8601075"/>
                  <a:gd name="connsiteY259" fmla="*/ 1352550 h 4305300"/>
                  <a:gd name="connsiteX260" fmla="*/ 7924800 w 8601075"/>
                  <a:gd name="connsiteY260" fmla="*/ 1362075 h 4305300"/>
                  <a:gd name="connsiteX261" fmla="*/ 7867650 w 8601075"/>
                  <a:gd name="connsiteY261" fmla="*/ 1457325 h 4305300"/>
                  <a:gd name="connsiteX262" fmla="*/ 7896225 w 8601075"/>
                  <a:gd name="connsiteY262" fmla="*/ 1476375 h 4305300"/>
                  <a:gd name="connsiteX263" fmla="*/ 7858125 w 8601075"/>
                  <a:gd name="connsiteY263" fmla="*/ 1533525 h 4305300"/>
                  <a:gd name="connsiteX264" fmla="*/ 7658100 w 8601075"/>
                  <a:gd name="connsiteY264" fmla="*/ 1447800 h 4305300"/>
                  <a:gd name="connsiteX265" fmla="*/ 7515225 w 8601075"/>
                  <a:gd name="connsiteY265" fmla="*/ 1495425 h 4305300"/>
                  <a:gd name="connsiteX266" fmla="*/ 7467600 w 8601075"/>
                  <a:gd name="connsiteY266" fmla="*/ 1581150 h 4305300"/>
                  <a:gd name="connsiteX267" fmla="*/ 7296150 w 8601075"/>
                  <a:gd name="connsiteY26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277225 w 8601075"/>
                  <a:gd name="connsiteY257" fmla="*/ 1409700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124825 w 8601075"/>
                  <a:gd name="connsiteY260" fmla="*/ 1352550 h 4305300"/>
                  <a:gd name="connsiteX261" fmla="*/ 7924800 w 8601075"/>
                  <a:gd name="connsiteY261" fmla="*/ 1362075 h 4305300"/>
                  <a:gd name="connsiteX262" fmla="*/ 7867650 w 8601075"/>
                  <a:gd name="connsiteY262" fmla="*/ 1457325 h 4305300"/>
                  <a:gd name="connsiteX263" fmla="*/ 7896225 w 8601075"/>
                  <a:gd name="connsiteY263" fmla="*/ 1476375 h 4305300"/>
                  <a:gd name="connsiteX264" fmla="*/ 7858125 w 8601075"/>
                  <a:gd name="connsiteY264" fmla="*/ 1533525 h 4305300"/>
                  <a:gd name="connsiteX265" fmla="*/ 7658100 w 8601075"/>
                  <a:gd name="connsiteY265" fmla="*/ 1447800 h 4305300"/>
                  <a:gd name="connsiteX266" fmla="*/ 7515225 w 8601075"/>
                  <a:gd name="connsiteY266" fmla="*/ 1495425 h 4305300"/>
                  <a:gd name="connsiteX267" fmla="*/ 7467600 w 8601075"/>
                  <a:gd name="connsiteY267" fmla="*/ 1581150 h 4305300"/>
                  <a:gd name="connsiteX268" fmla="*/ 7296150 w 8601075"/>
                  <a:gd name="connsiteY26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81988 w 8601075"/>
                  <a:gd name="connsiteY260" fmla="*/ 1421607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124825 w 8601075"/>
                  <a:gd name="connsiteY260" fmla="*/ 1352550 h 4305300"/>
                  <a:gd name="connsiteX261" fmla="*/ 7924800 w 8601075"/>
                  <a:gd name="connsiteY261" fmla="*/ 1362075 h 4305300"/>
                  <a:gd name="connsiteX262" fmla="*/ 7867650 w 8601075"/>
                  <a:gd name="connsiteY262" fmla="*/ 1457325 h 4305300"/>
                  <a:gd name="connsiteX263" fmla="*/ 7896225 w 8601075"/>
                  <a:gd name="connsiteY263" fmla="*/ 1476375 h 4305300"/>
                  <a:gd name="connsiteX264" fmla="*/ 7858125 w 8601075"/>
                  <a:gd name="connsiteY264" fmla="*/ 1533525 h 4305300"/>
                  <a:gd name="connsiteX265" fmla="*/ 7658100 w 8601075"/>
                  <a:gd name="connsiteY265" fmla="*/ 1447800 h 4305300"/>
                  <a:gd name="connsiteX266" fmla="*/ 7515225 w 8601075"/>
                  <a:gd name="connsiteY266" fmla="*/ 1495425 h 4305300"/>
                  <a:gd name="connsiteX267" fmla="*/ 7467600 w 8601075"/>
                  <a:gd name="connsiteY267" fmla="*/ 1581150 h 4305300"/>
                  <a:gd name="connsiteX268" fmla="*/ 7296150 w 8601075"/>
                  <a:gd name="connsiteY26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96225 w 8601075"/>
                  <a:gd name="connsiteY265" fmla="*/ 1476375 h 4305300"/>
                  <a:gd name="connsiteX266" fmla="*/ 7858125 w 8601075"/>
                  <a:gd name="connsiteY266" fmla="*/ 1533525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58125 w 8601075"/>
                  <a:gd name="connsiteY266" fmla="*/ 1533525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24750 w 8601075"/>
                  <a:gd name="connsiteY268" fmla="*/ 1485900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98569 w 8601075"/>
                  <a:gd name="connsiteY268" fmla="*/ 1488281 h 4305300"/>
                  <a:gd name="connsiteX269" fmla="*/ 7524750 w 8601075"/>
                  <a:gd name="connsiteY269" fmla="*/ 1485900 h 4305300"/>
                  <a:gd name="connsiteX270" fmla="*/ 7467600 w 8601075"/>
                  <a:gd name="connsiteY270" fmla="*/ 1581150 h 4305300"/>
                  <a:gd name="connsiteX271" fmla="*/ 7296150 w 8601075"/>
                  <a:gd name="connsiteY271" fmla="*/ 1466850 h 4305300"/>
                  <a:gd name="connsiteX0" fmla="*/ 7329488 w 8601075"/>
                  <a:gd name="connsiteY0" fmla="*/ 1483519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98569 w 8601075"/>
                  <a:gd name="connsiteY268" fmla="*/ 1488281 h 4305300"/>
                  <a:gd name="connsiteX269" fmla="*/ 7524750 w 8601075"/>
                  <a:gd name="connsiteY269" fmla="*/ 1485900 h 4305300"/>
                  <a:gd name="connsiteX270" fmla="*/ 7467600 w 8601075"/>
                  <a:gd name="connsiteY270" fmla="*/ 1581150 h 4305300"/>
                  <a:gd name="connsiteX271" fmla="*/ 7329488 w 8601075"/>
                  <a:gd name="connsiteY27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1875 w 8601075"/>
                  <a:gd name="connsiteY2" fmla="*/ 1323975 h 4305300"/>
                  <a:gd name="connsiteX3" fmla="*/ 7372350 w 8601075"/>
                  <a:gd name="connsiteY3" fmla="*/ 1190625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190625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424738 w 8601075"/>
                  <a:gd name="connsiteY4" fmla="*/ 1131094 h 4305300"/>
                  <a:gd name="connsiteX5" fmla="*/ 7419975 w 8601075"/>
                  <a:gd name="connsiteY5" fmla="*/ 1047750 h 4305300"/>
                  <a:gd name="connsiteX6" fmla="*/ 7486650 w 8601075"/>
                  <a:gd name="connsiteY6" fmla="*/ 638175 h 4305300"/>
                  <a:gd name="connsiteX7" fmla="*/ 7343775 w 8601075"/>
                  <a:gd name="connsiteY7" fmla="*/ 647700 h 4305300"/>
                  <a:gd name="connsiteX8" fmla="*/ 7172325 w 8601075"/>
                  <a:gd name="connsiteY8" fmla="*/ 742950 h 4305300"/>
                  <a:gd name="connsiteX9" fmla="*/ 7010400 w 8601075"/>
                  <a:gd name="connsiteY9" fmla="*/ 609600 h 4305300"/>
                  <a:gd name="connsiteX10" fmla="*/ 6877050 w 8601075"/>
                  <a:gd name="connsiteY10" fmla="*/ 600075 h 4305300"/>
                  <a:gd name="connsiteX11" fmla="*/ 6600825 w 8601075"/>
                  <a:gd name="connsiteY11" fmla="*/ 904875 h 4305300"/>
                  <a:gd name="connsiteX12" fmla="*/ 6600825 w 8601075"/>
                  <a:gd name="connsiteY12" fmla="*/ 904875 h 4305300"/>
                  <a:gd name="connsiteX13" fmla="*/ 6534150 w 8601075"/>
                  <a:gd name="connsiteY13" fmla="*/ 942975 h 4305300"/>
                  <a:gd name="connsiteX14" fmla="*/ 6534150 w 8601075"/>
                  <a:gd name="connsiteY14" fmla="*/ 942975 h 4305300"/>
                  <a:gd name="connsiteX15" fmla="*/ 6362700 w 8601075"/>
                  <a:gd name="connsiteY15" fmla="*/ 1009650 h 4305300"/>
                  <a:gd name="connsiteX16" fmla="*/ 6238875 w 8601075"/>
                  <a:gd name="connsiteY16" fmla="*/ 1057275 h 4305300"/>
                  <a:gd name="connsiteX17" fmla="*/ 6115050 w 8601075"/>
                  <a:gd name="connsiteY17" fmla="*/ 1114425 h 4305300"/>
                  <a:gd name="connsiteX18" fmla="*/ 5962650 w 8601075"/>
                  <a:gd name="connsiteY18" fmla="*/ 1190625 h 4305300"/>
                  <a:gd name="connsiteX19" fmla="*/ 5895975 w 8601075"/>
                  <a:gd name="connsiteY19" fmla="*/ 1143000 h 4305300"/>
                  <a:gd name="connsiteX20" fmla="*/ 5895975 w 8601075"/>
                  <a:gd name="connsiteY20" fmla="*/ 1143000 h 4305300"/>
                  <a:gd name="connsiteX21" fmla="*/ 5676900 w 8601075"/>
                  <a:gd name="connsiteY21" fmla="*/ 1181100 h 4305300"/>
                  <a:gd name="connsiteX22" fmla="*/ 5600700 w 8601075"/>
                  <a:gd name="connsiteY22" fmla="*/ 1114425 h 4305300"/>
                  <a:gd name="connsiteX23" fmla="*/ 5391150 w 8601075"/>
                  <a:gd name="connsiteY23" fmla="*/ 1123950 h 4305300"/>
                  <a:gd name="connsiteX24" fmla="*/ 5334000 w 8601075"/>
                  <a:gd name="connsiteY24" fmla="*/ 1066800 h 4305300"/>
                  <a:gd name="connsiteX25" fmla="*/ 5248275 w 8601075"/>
                  <a:gd name="connsiteY25" fmla="*/ 981075 h 4305300"/>
                  <a:gd name="connsiteX26" fmla="*/ 5238750 w 8601075"/>
                  <a:gd name="connsiteY26" fmla="*/ 895350 h 4305300"/>
                  <a:gd name="connsiteX27" fmla="*/ 5133975 w 8601075"/>
                  <a:gd name="connsiteY27" fmla="*/ 895350 h 4305300"/>
                  <a:gd name="connsiteX28" fmla="*/ 4991100 w 8601075"/>
                  <a:gd name="connsiteY28" fmla="*/ 838200 h 4305300"/>
                  <a:gd name="connsiteX29" fmla="*/ 4905375 w 8601075"/>
                  <a:gd name="connsiteY29" fmla="*/ 771525 h 4305300"/>
                  <a:gd name="connsiteX30" fmla="*/ 4905375 w 8601075"/>
                  <a:gd name="connsiteY30" fmla="*/ 771525 h 4305300"/>
                  <a:gd name="connsiteX31" fmla="*/ 4781550 w 8601075"/>
                  <a:gd name="connsiteY31" fmla="*/ 762000 h 4305300"/>
                  <a:gd name="connsiteX32" fmla="*/ 4648200 w 8601075"/>
                  <a:gd name="connsiteY32" fmla="*/ 714375 h 4305300"/>
                  <a:gd name="connsiteX33" fmla="*/ 4581525 w 8601075"/>
                  <a:gd name="connsiteY33" fmla="*/ 695325 h 4305300"/>
                  <a:gd name="connsiteX34" fmla="*/ 4495800 w 8601075"/>
                  <a:gd name="connsiteY34" fmla="*/ 742950 h 4305300"/>
                  <a:gd name="connsiteX35" fmla="*/ 4343400 w 8601075"/>
                  <a:gd name="connsiteY35" fmla="*/ 781050 h 4305300"/>
                  <a:gd name="connsiteX36" fmla="*/ 4252913 w 8601075"/>
                  <a:gd name="connsiteY36" fmla="*/ 862013 h 4305300"/>
                  <a:gd name="connsiteX37" fmla="*/ 4205287 w 8601075"/>
                  <a:gd name="connsiteY37" fmla="*/ 823913 h 4305300"/>
                  <a:gd name="connsiteX38" fmla="*/ 4183856 w 8601075"/>
                  <a:gd name="connsiteY38" fmla="*/ 854868 h 4305300"/>
                  <a:gd name="connsiteX39" fmla="*/ 4110038 w 8601075"/>
                  <a:gd name="connsiteY39" fmla="*/ 804863 h 4305300"/>
                  <a:gd name="connsiteX40" fmla="*/ 4071938 w 8601075"/>
                  <a:gd name="connsiteY40" fmla="*/ 812006 h 4305300"/>
                  <a:gd name="connsiteX41" fmla="*/ 4050506 w 8601075"/>
                  <a:gd name="connsiteY41" fmla="*/ 773906 h 4305300"/>
                  <a:gd name="connsiteX42" fmla="*/ 3990975 w 8601075"/>
                  <a:gd name="connsiteY42" fmla="*/ 778669 h 4305300"/>
                  <a:gd name="connsiteX43" fmla="*/ 3945731 w 8601075"/>
                  <a:gd name="connsiteY43" fmla="*/ 750094 h 4305300"/>
                  <a:gd name="connsiteX44" fmla="*/ 3907631 w 8601075"/>
                  <a:gd name="connsiteY44" fmla="*/ 747713 h 4305300"/>
                  <a:gd name="connsiteX45" fmla="*/ 3888581 w 8601075"/>
                  <a:gd name="connsiteY45" fmla="*/ 700087 h 4305300"/>
                  <a:gd name="connsiteX46" fmla="*/ 3874294 w 8601075"/>
                  <a:gd name="connsiteY46" fmla="*/ 669131 h 4305300"/>
                  <a:gd name="connsiteX47" fmla="*/ 3829050 w 8601075"/>
                  <a:gd name="connsiteY47" fmla="*/ 678656 h 4305300"/>
                  <a:gd name="connsiteX48" fmla="*/ 3810000 w 8601075"/>
                  <a:gd name="connsiteY48" fmla="*/ 642938 h 4305300"/>
                  <a:gd name="connsiteX49" fmla="*/ 3831432 w 8601075"/>
                  <a:gd name="connsiteY49" fmla="*/ 588169 h 4305300"/>
                  <a:gd name="connsiteX50" fmla="*/ 3800475 w 8601075"/>
                  <a:gd name="connsiteY50" fmla="*/ 561975 h 4305300"/>
                  <a:gd name="connsiteX51" fmla="*/ 3817144 w 8601075"/>
                  <a:gd name="connsiteY51" fmla="*/ 519113 h 4305300"/>
                  <a:gd name="connsiteX52" fmla="*/ 3790950 w 8601075"/>
                  <a:gd name="connsiteY52" fmla="*/ 476250 h 4305300"/>
                  <a:gd name="connsiteX53" fmla="*/ 3786188 w 8601075"/>
                  <a:gd name="connsiteY53" fmla="*/ 414338 h 4305300"/>
                  <a:gd name="connsiteX54" fmla="*/ 3810000 w 8601075"/>
                  <a:gd name="connsiteY54" fmla="*/ 350043 h 4305300"/>
                  <a:gd name="connsiteX55" fmla="*/ 3771900 w 8601075"/>
                  <a:gd name="connsiteY55" fmla="*/ 352425 h 4305300"/>
                  <a:gd name="connsiteX56" fmla="*/ 3652838 w 8601075"/>
                  <a:gd name="connsiteY56" fmla="*/ 295275 h 4305300"/>
                  <a:gd name="connsiteX57" fmla="*/ 3614737 w 8601075"/>
                  <a:gd name="connsiteY57" fmla="*/ 300037 h 4305300"/>
                  <a:gd name="connsiteX58" fmla="*/ 3409950 w 8601075"/>
                  <a:gd name="connsiteY58" fmla="*/ 190500 h 4305300"/>
                  <a:gd name="connsiteX59" fmla="*/ 3305175 w 8601075"/>
                  <a:gd name="connsiteY59" fmla="*/ 159544 h 4305300"/>
                  <a:gd name="connsiteX60" fmla="*/ 3240881 w 8601075"/>
                  <a:gd name="connsiteY60" fmla="*/ 169068 h 4305300"/>
                  <a:gd name="connsiteX61" fmla="*/ 3209925 w 8601075"/>
                  <a:gd name="connsiteY61" fmla="*/ 104775 h 4305300"/>
                  <a:gd name="connsiteX62" fmla="*/ 3152775 w 8601075"/>
                  <a:gd name="connsiteY62" fmla="*/ 104775 h 4305300"/>
                  <a:gd name="connsiteX63" fmla="*/ 3014662 w 8601075"/>
                  <a:gd name="connsiteY63" fmla="*/ 0 h 4305300"/>
                  <a:gd name="connsiteX64" fmla="*/ 2981325 w 8601075"/>
                  <a:gd name="connsiteY64" fmla="*/ 59532 h 4305300"/>
                  <a:gd name="connsiteX65" fmla="*/ 2926556 w 8601075"/>
                  <a:gd name="connsiteY65" fmla="*/ 128588 h 4305300"/>
                  <a:gd name="connsiteX66" fmla="*/ 2883694 w 8601075"/>
                  <a:gd name="connsiteY66" fmla="*/ 145256 h 4305300"/>
                  <a:gd name="connsiteX67" fmla="*/ 2852738 w 8601075"/>
                  <a:gd name="connsiteY67" fmla="*/ 138113 h 4305300"/>
                  <a:gd name="connsiteX68" fmla="*/ 2828925 w 8601075"/>
                  <a:gd name="connsiteY68" fmla="*/ 166688 h 4305300"/>
                  <a:gd name="connsiteX69" fmla="*/ 2802731 w 8601075"/>
                  <a:gd name="connsiteY69" fmla="*/ 245269 h 4305300"/>
                  <a:gd name="connsiteX70" fmla="*/ 2759869 w 8601075"/>
                  <a:gd name="connsiteY70" fmla="*/ 242888 h 4305300"/>
                  <a:gd name="connsiteX71" fmla="*/ 2728912 w 8601075"/>
                  <a:gd name="connsiteY71" fmla="*/ 304800 h 4305300"/>
                  <a:gd name="connsiteX72" fmla="*/ 2724150 w 8601075"/>
                  <a:gd name="connsiteY72" fmla="*/ 369094 h 4305300"/>
                  <a:gd name="connsiteX73" fmla="*/ 2697957 w 8601075"/>
                  <a:gd name="connsiteY73" fmla="*/ 407194 h 4305300"/>
                  <a:gd name="connsiteX74" fmla="*/ 2724150 w 8601075"/>
                  <a:gd name="connsiteY74" fmla="*/ 466725 h 4305300"/>
                  <a:gd name="connsiteX75" fmla="*/ 2726531 w 8601075"/>
                  <a:gd name="connsiteY75" fmla="*/ 535781 h 4305300"/>
                  <a:gd name="connsiteX76" fmla="*/ 2755106 w 8601075"/>
                  <a:gd name="connsiteY76" fmla="*/ 588169 h 4305300"/>
                  <a:gd name="connsiteX77" fmla="*/ 2802732 w 8601075"/>
                  <a:gd name="connsiteY77" fmla="*/ 642938 h 4305300"/>
                  <a:gd name="connsiteX78" fmla="*/ 2752725 w 8601075"/>
                  <a:gd name="connsiteY78" fmla="*/ 781050 h 4305300"/>
                  <a:gd name="connsiteX79" fmla="*/ 2683669 w 8601075"/>
                  <a:gd name="connsiteY79" fmla="*/ 847725 h 4305300"/>
                  <a:gd name="connsiteX80" fmla="*/ 2612231 w 8601075"/>
                  <a:gd name="connsiteY80" fmla="*/ 842963 h 4305300"/>
                  <a:gd name="connsiteX81" fmla="*/ 2574131 w 8601075"/>
                  <a:gd name="connsiteY81" fmla="*/ 900113 h 4305300"/>
                  <a:gd name="connsiteX82" fmla="*/ 2514600 w 8601075"/>
                  <a:gd name="connsiteY82" fmla="*/ 914400 h 4305300"/>
                  <a:gd name="connsiteX83" fmla="*/ 2445544 w 8601075"/>
                  <a:gd name="connsiteY83" fmla="*/ 854869 h 4305300"/>
                  <a:gd name="connsiteX84" fmla="*/ 2390775 w 8601075"/>
                  <a:gd name="connsiteY84" fmla="*/ 826294 h 4305300"/>
                  <a:gd name="connsiteX85" fmla="*/ 2347913 w 8601075"/>
                  <a:gd name="connsiteY85" fmla="*/ 840581 h 4305300"/>
                  <a:gd name="connsiteX86" fmla="*/ 2295525 w 8601075"/>
                  <a:gd name="connsiteY86" fmla="*/ 823913 h 4305300"/>
                  <a:gd name="connsiteX87" fmla="*/ 2228850 w 8601075"/>
                  <a:gd name="connsiteY87" fmla="*/ 769144 h 4305300"/>
                  <a:gd name="connsiteX88" fmla="*/ 2183606 w 8601075"/>
                  <a:gd name="connsiteY88" fmla="*/ 781050 h 4305300"/>
                  <a:gd name="connsiteX89" fmla="*/ 2162175 w 8601075"/>
                  <a:gd name="connsiteY89" fmla="*/ 750094 h 4305300"/>
                  <a:gd name="connsiteX90" fmla="*/ 2105025 w 8601075"/>
                  <a:gd name="connsiteY90" fmla="*/ 790575 h 4305300"/>
                  <a:gd name="connsiteX91" fmla="*/ 1988344 w 8601075"/>
                  <a:gd name="connsiteY91" fmla="*/ 769144 h 4305300"/>
                  <a:gd name="connsiteX92" fmla="*/ 1938338 w 8601075"/>
                  <a:gd name="connsiteY92" fmla="*/ 716756 h 4305300"/>
                  <a:gd name="connsiteX93" fmla="*/ 1895475 w 8601075"/>
                  <a:gd name="connsiteY93" fmla="*/ 702469 h 4305300"/>
                  <a:gd name="connsiteX94" fmla="*/ 1852613 w 8601075"/>
                  <a:gd name="connsiteY94" fmla="*/ 728663 h 4305300"/>
                  <a:gd name="connsiteX95" fmla="*/ 1800225 w 8601075"/>
                  <a:gd name="connsiteY95" fmla="*/ 638175 h 4305300"/>
                  <a:gd name="connsiteX96" fmla="*/ 1790700 w 8601075"/>
                  <a:gd name="connsiteY96" fmla="*/ 490537 h 4305300"/>
                  <a:gd name="connsiteX97" fmla="*/ 1738312 w 8601075"/>
                  <a:gd name="connsiteY97" fmla="*/ 483393 h 4305300"/>
                  <a:gd name="connsiteX98" fmla="*/ 1647825 w 8601075"/>
                  <a:gd name="connsiteY98" fmla="*/ 473869 h 4305300"/>
                  <a:gd name="connsiteX99" fmla="*/ 1593056 w 8601075"/>
                  <a:gd name="connsiteY99" fmla="*/ 435769 h 4305300"/>
                  <a:gd name="connsiteX100" fmla="*/ 1524000 w 8601075"/>
                  <a:gd name="connsiteY100" fmla="*/ 445294 h 4305300"/>
                  <a:gd name="connsiteX101" fmla="*/ 1478756 w 8601075"/>
                  <a:gd name="connsiteY101" fmla="*/ 419100 h 4305300"/>
                  <a:gd name="connsiteX102" fmla="*/ 1469232 w 8601075"/>
                  <a:gd name="connsiteY102" fmla="*/ 347663 h 4305300"/>
                  <a:gd name="connsiteX103" fmla="*/ 1445419 w 8601075"/>
                  <a:gd name="connsiteY103" fmla="*/ 333375 h 4305300"/>
                  <a:gd name="connsiteX104" fmla="*/ 1407319 w 8601075"/>
                  <a:gd name="connsiteY104" fmla="*/ 380999 h 4305300"/>
                  <a:gd name="connsiteX105" fmla="*/ 1328737 w 8601075"/>
                  <a:gd name="connsiteY105" fmla="*/ 307181 h 4305300"/>
                  <a:gd name="connsiteX106" fmla="*/ 1288256 w 8601075"/>
                  <a:gd name="connsiteY106" fmla="*/ 347663 h 4305300"/>
                  <a:gd name="connsiteX107" fmla="*/ 1212056 w 8601075"/>
                  <a:gd name="connsiteY107" fmla="*/ 333375 h 4305300"/>
                  <a:gd name="connsiteX108" fmla="*/ 1133475 w 8601075"/>
                  <a:gd name="connsiteY108" fmla="*/ 359569 h 4305300"/>
                  <a:gd name="connsiteX109" fmla="*/ 1073944 w 8601075"/>
                  <a:gd name="connsiteY109" fmla="*/ 407193 h 4305300"/>
                  <a:gd name="connsiteX110" fmla="*/ 1000125 w 8601075"/>
                  <a:gd name="connsiteY110" fmla="*/ 419100 h 4305300"/>
                  <a:gd name="connsiteX111" fmla="*/ 964406 w 8601075"/>
                  <a:gd name="connsiteY111" fmla="*/ 411956 h 4305300"/>
                  <a:gd name="connsiteX112" fmla="*/ 885826 w 8601075"/>
                  <a:gd name="connsiteY112" fmla="*/ 442913 h 4305300"/>
                  <a:gd name="connsiteX113" fmla="*/ 864394 w 8601075"/>
                  <a:gd name="connsiteY113" fmla="*/ 471488 h 4305300"/>
                  <a:gd name="connsiteX114" fmla="*/ 797719 w 8601075"/>
                  <a:gd name="connsiteY114" fmla="*/ 461963 h 4305300"/>
                  <a:gd name="connsiteX115" fmla="*/ 728663 w 8601075"/>
                  <a:gd name="connsiteY115" fmla="*/ 485775 h 4305300"/>
                  <a:gd name="connsiteX116" fmla="*/ 673894 w 8601075"/>
                  <a:gd name="connsiteY116" fmla="*/ 523875 h 4305300"/>
                  <a:gd name="connsiteX117" fmla="*/ 578644 w 8601075"/>
                  <a:gd name="connsiteY117" fmla="*/ 538162 h 4305300"/>
                  <a:gd name="connsiteX118" fmla="*/ 564356 w 8601075"/>
                  <a:gd name="connsiteY118" fmla="*/ 559594 h 4305300"/>
                  <a:gd name="connsiteX119" fmla="*/ 576262 w 8601075"/>
                  <a:gd name="connsiteY119" fmla="*/ 604838 h 4305300"/>
                  <a:gd name="connsiteX120" fmla="*/ 476251 w 8601075"/>
                  <a:gd name="connsiteY120" fmla="*/ 657225 h 4305300"/>
                  <a:gd name="connsiteX121" fmla="*/ 438150 w 8601075"/>
                  <a:gd name="connsiteY121" fmla="*/ 628649 h 4305300"/>
                  <a:gd name="connsiteX122" fmla="*/ 407194 w 8601075"/>
                  <a:gd name="connsiteY122" fmla="*/ 685800 h 4305300"/>
                  <a:gd name="connsiteX123" fmla="*/ 350044 w 8601075"/>
                  <a:gd name="connsiteY123" fmla="*/ 647700 h 4305300"/>
                  <a:gd name="connsiteX124" fmla="*/ 314325 w 8601075"/>
                  <a:gd name="connsiteY124" fmla="*/ 676275 h 4305300"/>
                  <a:gd name="connsiteX125" fmla="*/ 278606 w 8601075"/>
                  <a:gd name="connsiteY125" fmla="*/ 640556 h 4305300"/>
                  <a:gd name="connsiteX126" fmla="*/ 226219 w 8601075"/>
                  <a:gd name="connsiteY126" fmla="*/ 652463 h 4305300"/>
                  <a:gd name="connsiteX127" fmla="*/ 180975 w 8601075"/>
                  <a:gd name="connsiteY127" fmla="*/ 623888 h 4305300"/>
                  <a:gd name="connsiteX128" fmla="*/ 157163 w 8601075"/>
                  <a:gd name="connsiteY128" fmla="*/ 642938 h 4305300"/>
                  <a:gd name="connsiteX129" fmla="*/ 133350 w 8601075"/>
                  <a:gd name="connsiteY129" fmla="*/ 702469 h 4305300"/>
                  <a:gd name="connsiteX130" fmla="*/ 61913 w 8601075"/>
                  <a:gd name="connsiteY130" fmla="*/ 740568 h 4305300"/>
                  <a:gd name="connsiteX131" fmla="*/ 28575 w 8601075"/>
                  <a:gd name="connsiteY131" fmla="*/ 769144 h 4305300"/>
                  <a:gd name="connsiteX132" fmla="*/ 33338 w 8601075"/>
                  <a:gd name="connsiteY132" fmla="*/ 812006 h 4305300"/>
                  <a:gd name="connsiteX133" fmla="*/ 0 w 8601075"/>
                  <a:gd name="connsiteY133" fmla="*/ 816769 h 4305300"/>
                  <a:gd name="connsiteX134" fmla="*/ 4763 w 8601075"/>
                  <a:gd name="connsiteY134" fmla="*/ 840581 h 4305300"/>
                  <a:gd name="connsiteX135" fmla="*/ 61912 w 8601075"/>
                  <a:gd name="connsiteY135" fmla="*/ 914400 h 4305300"/>
                  <a:gd name="connsiteX136" fmla="*/ 23813 w 8601075"/>
                  <a:gd name="connsiteY136" fmla="*/ 962025 h 4305300"/>
                  <a:gd name="connsiteX137" fmla="*/ 78581 w 8601075"/>
                  <a:gd name="connsiteY137" fmla="*/ 997744 h 4305300"/>
                  <a:gd name="connsiteX138" fmla="*/ 169069 w 8601075"/>
                  <a:gd name="connsiteY138" fmla="*/ 1085850 h 4305300"/>
                  <a:gd name="connsiteX139" fmla="*/ 171450 w 8601075"/>
                  <a:gd name="connsiteY139" fmla="*/ 1145381 h 4305300"/>
                  <a:gd name="connsiteX140" fmla="*/ 307181 w 8601075"/>
                  <a:gd name="connsiteY140" fmla="*/ 1278732 h 4305300"/>
                  <a:gd name="connsiteX141" fmla="*/ 361950 w 8601075"/>
                  <a:gd name="connsiteY141" fmla="*/ 1254919 h 4305300"/>
                  <a:gd name="connsiteX142" fmla="*/ 400050 w 8601075"/>
                  <a:gd name="connsiteY142" fmla="*/ 1281112 h 4305300"/>
                  <a:gd name="connsiteX143" fmla="*/ 414338 w 8601075"/>
                  <a:gd name="connsiteY143" fmla="*/ 1331118 h 4305300"/>
                  <a:gd name="connsiteX144" fmla="*/ 457200 w 8601075"/>
                  <a:gd name="connsiteY144" fmla="*/ 1366838 h 4305300"/>
                  <a:gd name="connsiteX145" fmla="*/ 497681 w 8601075"/>
                  <a:gd name="connsiteY145" fmla="*/ 1354931 h 4305300"/>
                  <a:gd name="connsiteX146" fmla="*/ 516731 w 8601075"/>
                  <a:gd name="connsiteY146" fmla="*/ 1412081 h 4305300"/>
                  <a:gd name="connsiteX147" fmla="*/ 564356 w 8601075"/>
                  <a:gd name="connsiteY147" fmla="*/ 1454944 h 4305300"/>
                  <a:gd name="connsiteX148" fmla="*/ 588169 w 8601075"/>
                  <a:gd name="connsiteY148" fmla="*/ 1557338 h 4305300"/>
                  <a:gd name="connsiteX149" fmla="*/ 585788 w 8601075"/>
                  <a:gd name="connsiteY149" fmla="*/ 1604963 h 4305300"/>
                  <a:gd name="connsiteX150" fmla="*/ 621506 w 8601075"/>
                  <a:gd name="connsiteY150" fmla="*/ 1704975 h 4305300"/>
                  <a:gd name="connsiteX151" fmla="*/ 666750 w 8601075"/>
                  <a:gd name="connsiteY151" fmla="*/ 1762125 h 4305300"/>
                  <a:gd name="connsiteX152" fmla="*/ 683418 w 8601075"/>
                  <a:gd name="connsiteY152" fmla="*/ 1919287 h 4305300"/>
                  <a:gd name="connsiteX153" fmla="*/ 650081 w 8601075"/>
                  <a:gd name="connsiteY153" fmla="*/ 1981200 h 4305300"/>
                  <a:gd name="connsiteX154" fmla="*/ 619125 w 8601075"/>
                  <a:gd name="connsiteY154" fmla="*/ 2057400 h 4305300"/>
                  <a:gd name="connsiteX155" fmla="*/ 633413 w 8601075"/>
                  <a:gd name="connsiteY155" fmla="*/ 2114550 h 4305300"/>
                  <a:gd name="connsiteX156" fmla="*/ 535781 w 8601075"/>
                  <a:gd name="connsiteY156" fmla="*/ 2221707 h 4305300"/>
                  <a:gd name="connsiteX157" fmla="*/ 492919 w 8601075"/>
                  <a:gd name="connsiteY157" fmla="*/ 2336006 h 4305300"/>
                  <a:gd name="connsiteX158" fmla="*/ 526256 w 8601075"/>
                  <a:gd name="connsiteY158" fmla="*/ 2376488 h 4305300"/>
                  <a:gd name="connsiteX159" fmla="*/ 509588 w 8601075"/>
                  <a:gd name="connsiteY159" fmla="*/ 2405063 h 4305300"/>
                  <a:gd name="connsiteX160" fmla="*/ 540544 w 8601075"/>
                  <a:gd name="connsiteY160" fmla="*/ 2462213 h 4305300"/>
                  <a:gd name="connsiteX161" fmla="*/ 569119 w 8601075"/>
                  <a:gd name="connsiteY161" fmla="*/ 2462213 h 4305300"/>
                  <a:gd name="connsiteX162" fmla="*/ 731044 w 8601075"/>
                  <a:gd name="connsiteY162" fmla="*/ 2564606 h 4305300"/>
                  <a:gd name="connsiteX163" fmla="*/ 835819 w 8601075"/>
                  <a:gd name="connsiteY163" fmla="*/ 2562225 h 4305300"/>
                  <a:gd name="connsiteX164" fmla="*/ 914400 w 8601075"/>
                  <a:gd name="connsiteY164" fmla="*/ 2616994 h 4305300"/>
                  <a:gd name="connsiteX165" fmla="*/ 1045368 w 8601075"/>
                  <a:gd name="connsiteY165" fmla="*/ 2619375 h 4305300"/>
                  <a:gd name="connsiteX166" fmla="*/ 1235868 w 8601075"/>
                  <a:gd name="connsiteY166" fmla="*/ 2688431 h 4305300"/>
                  <a:gd name="connsiteX167" fmla="*/ 1438275 w 8601075"/>
                  <a:gd name="connsiteY167" fmla="*/ 2838450 h 4305300"/>
                  <a:gd name="connsiteX168" fmla="*/ 1471612 w 8601075"/>
                  <a:gd name="connsiteY168" fmla="*/ 2905125 h 4305300"/>
                  <a:gd name="connsiteX169" fmla="*/ 1638300 w 8601075"/>
                  <a:gd name="connsiteY169" fmla="*/ 3031331 h 4305300"/>
                  <a:gd name="connsiteX170" fmla="*/ 1709738 w 8601075"/>
                  <a:gd name="connsiteY170" fmla="*/ 3026569 h 4305300"/>
                  <a:gd name="connsiteX171" fmla="*/ 1745457 w 8601075"/>
                  <a:gd name="connsiteY171" fmla="*/ 3050381 h 4305300"/>
                  <a:gd name="connsiteX172" fmla="*/ 1716881 w 8601075"/>
                  <a:gd name="connsiteY172" fmla="*/ 3090863 h 4305300"/>
                  <a:gd name="connsiteX173" fmla="*/ 1724025 w 8601075"/>
                  <a:gd name="connsiteY173" fmla="*/ 3143250 h 4305300"/>
                  <a:gd name="connsiteX174" fmla="*/ 1776413 w 8601075"/>
                  <a:gd name="connsiteY174" fmla="*/ 3169444 h 4305300"/>
                  <a:gd name="connsiteX175" fmla="*/ 1838325 w 8601075"/>
                  <a:gd name="connsiteY175" fmla="*/ 3393282 h 4305300"/>
                  <a:gd name="connsiteX176" fmla="*/ 1828800 w 8601075"/>
                  <a:gd name="connsiteY176" fmla="*/ 3457575 h 4305300"/>
                  <a:gd name="connsiteX177" fmla="*/ 1964531 w 8601075"/>
                  <a:gd name="connsiteY177" fmla="*/ 3624263 h 4305300"/>
                  <a:gd name="connsiteX178" fmla="*/ 1983581 w 8601075"/>
                  <a:gd name="connsiteY178" fmla="*/ 3674269 h 4305300"/>
                  <a:gd name="connsiteX179" fmla="*/ 1957388 w 8601075"/>
                  <a:gd name="connsiteY179" fmla="*/ 3693319 h 4305300"/>
                  <a:gd name="connsiteX180" fmla="*/ 2059781 w 8601075"/>
                  <a:gd name="connsiteY180" fmla="*/ 3702844 h 4305300"/>
                  <a:gd name="connsiteX181" fmla="*/ 2171700 w 8601075"/>
                  <a:gd name="connsiteY181" fmla="*/ 3690938 h 4305300"/>
                  <a:gd name="connsiteX182" fmla="*/ 2450306 w 8601075"/>
                  <a:gd name="connsiteY182" fmla="*/ 3774281 h 4305300"/>
                  <a:gd name="connsiteX183" fmla="*/ 2857500 w 8601075"/>
                  <a:gd name="connsiteY183" fmla="*/ 3855244 h 4305300"/>
                  <a:gd name="connsiteX184" fmla="*/ 3055144 w 8601075"/>
                  <a:gd name="connsiteY184" fmla="*/ 3824287 h 4305300"/>
                  <a:gd name="connsiteX185" fmla="*/ 3100388 w 8601075"/>
                  <a:gd name="connsiteY185" fmla="*/ 3836193 h 4305300"/>
                  <a:gd name="connsiteX186" fmla="*/ 3155156 w 8601075"/>
                  <a:gd name="connsiteY186" fmla="*/ 3812382 h 4305300"/>
                  <a:gd name="connsiteX187" fmla="*/ 3548062 w 8601075"/>
                  <a:gd name="connsiteY187" fmla="*/ 3902869 h 4305300"/>
                  <a:gd name="connsiteX188" fmla="*/ 3631407 w 8601075"/>
                  <a:gd name="connsiteY188" fmla="*/ 4000500 h 4305300"/>
                  <a:gd name="connsiteX189" fmla="*/ 3750469 w 8601075"/>
                  <a:gd name="connsiteY189" fmla="*/ 4071938 h 4305300"/>
                  <a:gd name="connsiteX190" fmla="*/ 3810000 w 8601075"/>
                  <a:gd name="connsiteY190" fmla="*/ 4055269 h 4305300"/>
                  <a:gd name="connsiteX191" fmla="*/ 4160043 w 8601075"/>
                  <a:gd name="connsiteY191" fmla="*/ 4229100 h 4305300"/>
                  <a:gd name="connsiteX192" fmla="*/ 4386263 w 8601075"/>
                  <a:gd name="connsiteY192" fmla="*/ 4200525 h 4305300"/>
                  <a:gd name="connsiteX193" fmla="*/ 4395788 w 8601075"/>
                  <a:gd name="connsiteY193" fmla="*/ 4279106 h 4305300"/>
                  <a:gd name="connsiteX194" fmla="*/ 4481513 w 8601075"/>
                  <a:gd name="connsiteY194" fmla="*/ 4274343 h 4305300"/>
                  <a:gd name="connsiteX195" fmla="*/ 4560094 w 8601075"/>
                  <a:gd name="connsiteY195" fmla="*/ 4305300 h 4305300"/>
                  <a:gd name="connsiteX196" fmla="*/ 4602956 w 8601075"/>
                  <a:gd name="connsiteY196" fmla="*/ 4245769 h 4305300"/>
                  <a:gd name="connsiteX197" fmla="*/ 5274469 w 8601075"/>
                  <a:gd name="connsiteY197" fmla="*/ 3926681 h 4305300"/>
                  <a:gd name="connsiteX198" fmla="*/ 5362575 w 8601075"/>
                  <a:gd name="connsiteY198" fmla="*/ 3955257 h 4305300"/>
                  <a:gd name="connsiteX199" fmla="*/ 5493544 w 8601075"/>
                  <a:gd name="connsiteY199" fmla="*/ 3926681 h 4305300"/>
                  <a:gd name="connsiteX200" fmla="*/ 5672137 w 8601075"/>
                  <a:gd name="connsiteY200" fmla="*/ 3943350 h 4305300"/>
                  <a:gd name="connsiteX201" fmla="*/ 5729288 w 8601075"/>
                  <a:gd name="connsiteY201" fmla="*/ 3917157 h 4305300"/>
                  <a:gd name="connsiteX202" fmla="*/ 5862637 w 8601075"/>
                  <a:gd name="connsiteY202" fmla="*/ 3914775 h 4305300"/>
                  <a:gd name="connsiteX203" fmla="*/ 5995987 w 8601075"/>
                  <a:gd name="connsiteY203" fmla="*/ 3817144 h 4305300"/>
                  <a:gd name="connsiteX204" fmla="*/ 6062662 w 8601075"/>
                  <a:gd name="connsiteY204" fmla="*/ 3810000 h 4305300"/>
                  <a:gd name="connsiteX205" fmla="*/ 6160294 w 8601075"/>
                  <a:gd name="connsiteY205" fmla="*/ 3736181 h 4305300"/>
                  <a:gd name="connsiteX206" fmla="*/ 6234113 w 8601075"/>
                  <a:gd name="connsiteY206" fmla="*/ 3667125 h 4305300"/>
                  <a:gd name="connsiteX207" fmla="*/ 6243638 w 8601075"/>
                  <a:gd name="connsiteY207" fmla="*/ 3605213 h 4305300"/>
                  <a:gd name="connsiteX208" fmla="*/ 6276975 w 8601075"/>
                  <a:gd name="connsiteY208" fmla="*/ 3536156 h 4305300"/>
                  <a:gd name="connsiteX209" fmla="*/ 6429375 w 8601075"/>
                  <a:gd name="connsiteY209" fmla="*/ 3429000 h 4305300"/>
                  <a:gd name="connsiteX210" fmla="*/ 6462713 w 8601075"/>
                  <a:gd name="connsiteY210" fmla="*/ 3433763 h 4305300"/>
                  <a:gd name="connsiteX211" fmla="*/ 6515100 w 8601075"/>
                  <a:gd name="connsiteY211" fmla="*/ 3355181 h 4305300"/>
                  <a:gd name="connsiteX212" fmla="*/ 6562725 w 8601075"/>
                  <a:gd name="connsiteY212" fmla="*/ 3317081 h 4305300"/>
                  <a:gd name="connsiteX213" fmla="*/ 6548438 w 8601075"/>
                  <a:gd name="connsiteY213" fmla="*/ 3248025 h 4305300"/>
                  <a:gd name="connsiteX214" fmla="*/ 6498431 w 8601075"/>
                  <a:gd name="connsiteY214" fmla="*/ 3217068 h 4305300"/>
                  <a:gd name="connsiteX215" fmla="*/ 6438900 w 8601075"/>
                  <a:gd name="connsiteY215" fmla="*/ 3162300 h 4305300"/>
                  <a:gd name="connsiteX216" fmla="*/ 6419850 w 8601075"/>
                  <a:gd name="connsiteY216" fmla="*/ 3105150 h 4305300"/>
                  <a:gd name="connsiteX217" fmla="*/ 6384131 w 8601075"/>
                  <a:gd name="connsiteY217" fmla="*/ 3071813 h 4305300"/>
                  <a:gd name="connsiteX218" fmla="*/ 6410325 w 8601075"/>
                  <a:gd name="connsiteY218" fmla="*/ 3019425 h 4305300"/>
                  <a:gd name="connsiteX219" fmla="*/ 6450806 w 8601075"/>
                  <a:gd name="connsiteY219" fmla="*/ 2840831 h 4305300"/>
                  <a:gd name="connsiteX220" fmla="*/ 6491288 w 8601075"/>
                  <a:gd name="connsiteY220" fmla="*/ 2774156 h 4305300"/>
                  <a:gd name="connsiteX221" fmla="*/ 6636544 w 8601075"/>
                  <a:gd name="connsiteY221" fmla="*/ 2757487 h 4305300"/>
                  <a:gd name="connsiteX222" fmla="*/ 6705600 w 8601075"/>
                  <a:gd name="connsiteY222" fmla="*/ 2814638 h 4305300"/>
                  <a:gd name="connsiteX223" fmla="*/ 6781800 w 8601075"/>
                  <a:gd name="connsiteY223" fmla="*/ 2838450 h 4305300"/>
                  <a:gd name="connsiteX224" fmla="*/ 6986587 w 8601075"/>
                  <a:gd name="connsiteY224" fmla="*/ 2843213 h 4305300"/>
                  <a:gd name="connsiteX225" fmla="*/ 7162800 w 8601075"/>
                  <a:gd name="connsiteY225" fmla="*/ 2705100 h 4305300"/>
                  <a:gd name="connsiteX226" fmla="*/ 7219950 w 8601075"/>
                  <a:gd name="connsiteY226" fmla="*/ 2614612 h 4305300"/>
                  <a:gd name="connsiteX227" fmla="*/ 7246144 w 8601075"/>
                  <a:gd name="connsiteY227" fmla="*/ 2531269 h 4305300"/>
                  <a:gd name="connsiteX228" fmla="*/ 7377112 w 8601075"/>
                  <a:gd name="connsiteY228" fmla="*/ 2531269 h 4305300"/>
                  <a:gd name="connsiteX229" fmla="*/ 7550944 w 8601075"/>
                  <a:gd name="connsiteY229" fmla="*/ 2474118 h 4305300"/>
                  <a:gd name="connsiteX230" fmla="*/ 7610475 w 8601075"/>
                  <a:gd name="connsiteY230" fmla="*/ 2362200 h 4305300"/>
                  <a:gd name="connsiteX231" fmla="*/ 7674769 w 8601075"/>
                  <a:gd name="connsiteY231" fmla="*/ 2326481 h 4305300"/>
                  <a:gd name="connsiteX232" fmla="*/ 7653338 w 8601075"/>
                  <a:gd name="connsiteY232" fmla="*/ 2281238 h 4305300"/>
                  <a:gd name="connsiteX233" fmla="*/ 7731919 w 8601075"/>
                  <a:gd name="connsiteY233" fmla="*/ 2112168 h 4305300"/>
                  <a:gd name="connsiteX234" fmla="*/ 7786688 w 8601075"/>
                  <a:gd name="connsiteY234" fmla="*/ 2052638 h 4305300"/>
                  <a:gd name="connsiteX235" fmla="*/ 7824788 w 8601075"/>
                  <a:gd name="connsiteY235" fmla="*/ 2047875 h 4305300"/>
                  <a:gd name="connsiteX236" fmla="*/ 7870031 w 8601075"/>
                  <a:gd name="connsiteY236" fmla="*/ 2052638 h 4305300"/>
                  <a:gd name="connsiteX237" fmla="*/ 7934325 w 8601075"/>
                  <a:gd name="connsiteY237" fmla="*/ 2019300 h 4305300"/>
                  <a:gd name="connsiteX238" fmla="*/ 7943850 w 8601075"/>
                  <a:gd name="connsiteY238" fmla="*/ 1955006 h 4305300"/>
                  <a:gd name="connsiteX239" fmla="*/ 7984330 w 8601075"/>
                  <a:gd name="connsiteY239" fmla="*/ 1919288 h 4305300"/>
                  <a:gd name="connsiteX240" fmla="*/ 8043863 w 8601075"/>
                  <a:gd name="connsiteY240" fmla="*/ 1959768 h 4305300"/>
                  <a:gd name="connsiteX241" fmla="*/ 8070057 w 8601075"/>
                  <a:gd name="connsiteY241" fmla="*/ 1909762 h 4305300"/>
                  <a:gd name="connsiteX242" fmla="*/ 8165306 w 8601075"/>
                  <a:gd name="connsiteY242" fmla="*/ 1840706 h 4305300"/>
                  <a:gd name="connsiteX243" fmla="*/ 8227219 w 8601075"/>
                  <a:gd name="connsiteY243" fmla="*/ 1847850 h 4305300"/>
                  <a:gd name="connsiteX244" fmla="*/ 8277225 w 8601075"/>
                  <a:gd name="connsiteY244" fmla="*/ 1828800 h 4305300"/>
                  <a:gd name="connsiteX245" fmla="*/ 8315325 w 8601075"/>
                  <a:gd name="connsiteY245" fmla="*/ 1800225 h 4305300"/>
                  <a:gd name="connsiteX246" fmla="*/ 8348663 w 8601075"/>
                  <a:gd name="connsiteY246" fmla="*/ 1797844 h 4305300"/>
                  <a:gd name="connsiteX247" fmla="*/ 8384381 w 8601075"/>
                  <a:gd name="connsiteY247" fmla="*/ 1828800 h 4305300"/>
                  <a:gd name="connsiteX248" fmla="*/ 8443913 w 8601075"/>
                  <a:gd name="connsiteY248" fmla="*/ 1828800 h 4305300"/>
                  <a:gd name="connsiteX249" fmla="*/ 8482012 w 8601075"/>
                  <a:gd name="connsiteY249" fmla="*/ 1809750 h 4305300"/>
                  <a:gd name="connsiteX250" fmla="*/ 8565356 w 8601075"/>
                  <a:gd name="connsiteY250" fmla="*/ 1812132 h 4305300"/>
                  <a:gd name="connsiteX251" fmla="*/ 8596313 w 8601075"/>
                  <a:gd name="connsiteY251" fmla="*/ 1766888 h 4305300"/>
                  <a:gd name="connsiteX252" fmla="*/ 8601075 w 8601075"/>
                  <a:gd name="connsiteY252" fmla="*/ 1704975 h 4305300"/>
                  <a:gd name="connsiteX253" fmla="*/ 8551068 w 8601075"/>
                  <a:gd name="connsiteY253" fmla="*/ 1664494 h 4305300"/>
                  <a:gd name="connsiteX254" fmla="*/ 8534400 w 8601075"/>
                  <a:gd name="connsiteY254" fmla="*/ 1609725 h 4305300"/>
                  <a:gd name="connsiteX255" fmla="*/ 8443913 w 8601075"/>
                  <a:gd name="connsiteY255" fmla="*/ 1547813 h 4305300"/>
                  <a:gd name="connsiteX256" fmla="*/ 8403431 w 8601075"/>
                  <a:gd name="connsiteY256" fmla="*/ 1526381 h 4305300"/>
                  <a:gd name="connsiteX257" fmla="*/ 8365331 w 8601075"/>
                  <a:gd name="connsiteY257" fmla="*/ 1481138 h 4305300"/>
                  <a:gd name="connsiteX258" fmla="*/ 8334375 w 8601075"/>
                  <a:gd name="connsiteY258" fmla="*/ 1478756 h 4305300"/>
                  <a:gd name="connsiteX259" fmla="*/ 8317706 w 8601075"/>
                  <a:gd name="connsiteY259" fmla="*/ 1426369 h 4305300"/>
                  <a:gd name="connsiteX260" fmla="*/ 8277225 w 8601075"/>
                  <a:gd name="connsiteY260" fmla="*/ 1409700 h 4305300"/>
                  <a:gd name="connsiteX261" fmla="*/ 8277225 w 8601075"/>
                  <a:gd name="connsiteY261" fmla="*/ 1409700 h 4305300"/>
                  <a:gd name="connsiteX262" fmla="*/ 8236744 w 8601075"/>
                  <a:gd name="connsiteY262" fmla="*/ 1414463 h 4305300"/>
                  <a:gd name="connsiteX263" fmla="*/ 8151018 w 8601075"/>
                  <a:gd name="connsiteY263" fmla="*/ 1340644 h 4305300"/>
                  <a:gd name="connsiteX264" fmla="*/ 7970044 w 8601075"/>
                  <a:gd name="connsiteY264" fmla="*/ 1340643 h 4305300"/>
                  <a:gd name="connsiteX265" fmla="*/ 7917656 w 8601075"/>
                  <a:gd name="connsiteY265" fmla="*/ 1378744 h 4305300"/>
                  <a:gd name="connsiteX266" fmla="*/ 7867650 w 8601075"/>
                  <a:gd name="connsiteY266" fmla="*/ 1457325 h 4305300"/>
                  <a:gd name="connsiteX267" fmla="*/ 7884319 w 8601075"/>
                  <a:gd name="connsiteY267" fmla="*/ 1478756 h 4305300"/>
                  <a:gd name="connsiteX268" fmla="*/ 7839075 w 8601075"/>
                  <a:gd name="connsiteY268" fmla="*/ 1528762 h 4305300"/>
                  <a:gd name="connsiteX269" fmla="*/ 7689056 w 8601075"/>
                  <a:gd name="connsiteY269" fmla="*/ 1452562 h 4305300"/>
                  <a:gd name="connsiteX270" fmla="*/ 7598569 w 8601075"/>
                  <a:gd name="connsiteY270" fmla="*/ 1488281 h 4305300"/>
                  <a:gd name="connsiteX271" fmla="*/ 7524750 w 8601075"/>
                  <a:gd name="connsiteY271" fmla="*/ 1485900 h 4305300"/>
                  <a:gd name="connsiteX272" fmla="*/ 7467600 w 8601075"/>
                  <a:gd name="connsiteY272" fmla="*/ 1581150 h 4305300"/>
                  <a:gd name="connsiteX273" fmla="*/ 7329488 w 8601075"/>
                  <a:gd name="connsiteY27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19975 w 8601075"/>
                  <a:gd name="connsiteY6" fmla="*/ 1047750 h 4305300"/>
                  <a:gd name="connsiteX7" fmla="*/ 7486650 w 8601075"/>
                  <a:gd name="connsiteY7" fmla="*/ 638175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486650 w 8601075"/>
                  <a:gd name="connsiteY7" fmla="*/ 638175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43775 w 8601075"/>
                  <a:gd name="connsiteY9" fmla="*/ 647700 h 4305300"/>
                  <a:gd name="connsiteX10" fmla="*/ 7172325 w 8601075"/>
                  <a:gd name="connsiteY10" fmla="*/ 742950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72325 w 8601075"/>
                  <a:gd name="connsiteY10" fmla="*/ 742950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00075 h 4305300"/>
                  <a:gd name="connsiteX14" fmla="*/ 6600825 w 8601075"/>
                  <a:gd name="connsiteY14" fmla="*/ 904875 h 4305300"/>
                  <a:gd name="connsiteX15" fmla="*/ 6600825 w 8601075"/>
                  <a:gd name="connsiteY15" fmla="*/ 904875 h 4305300"/>
                  <a:gd name="connsiteX16" fmla="*/ 6534150 w 8601075"/>
                  <a:gd name="connsiteY16" fmla="*/ 942975 h 4305300"/>
                  <a:gd name="connsiteX17" fmla="*/ 6534150 w 8601075"/>
                  <a:gd name="connsiteY17" fmla="*/ 942975 h 4305300"/>
                  <a:gd name="connsiteX18" fmla="*/ 6362700 w 8601075"/>
                  <a:gd name="connsiteY18" fmla="*/ 1009650 h 4305300"/>
                  <a:gd name="connsiteX19" fmla="*/ 6238875 w 8601075"/>
                  <a:gd name="connsiteY19" fmla="*/ 1057275 h 4305300"/>
                  <a:gd name="connsiteX20" fmla="*/ 6115050 w 8601075"/>
                  <a:gd name="connsiteY20" fmla="*/ 1114425 h 4305300"/>
                  <a:gd name="connsiteX21" fmla="*/ 5962650 w 8601075"/>
                  <a:gd name="connsiteY21" fmla="*/ 1190625 h 4305300"/>
                  <a:gd name="connsiteX22" fmla="*/ 5895975 w 8601075"/>
                  <a:gd name="connsiteY22" fmla="*/ 1143000 h 4305300"/>
                  <a:gd name="connsiteX23" fmla="*/ 5895975 w 8601075"/>
                  <a:gd name="connsiteY23" fmla="*/ 1143000 h 4305300"/>
                  <a:gd name="connsiteX24" fmla="*/ 5676900 w 8601075"/>
                  <a:gd name="connsiteY24" fmla="*/ 1181100 h 4305300"/>
                  <a:gd name="connsiteX25" fmla="*/ 5600700 w 8601075"/>
                  <a:gd name="connsiteY25" fmla="*/ 1114425 h 4305300"/>
                  <a:gd name="connsiteX26" fmla="*/ 5391150 w 8601075"/>
                  <a:gd name="connsiteY26" fmla="*/ 1123950 h 4305300"/>
                  <a:gd name="connsiteX27" fmla="*/ 5334000 w 8601075"/>
                  <a:gd name="connsiteY27" fmla="*/ 1066800 h 4305300"/>
                  <a:gd name="connsiteX28" fmla="*/ 5248275 w 8601075"/>
                  <a:gd name="connsiteY28" fmla="*/ 981075 h 4305300"/>
                  <a:gd name="connsiteX29" fmla="*/ 5238750 w 8601075"/>
                  <a:gd name="connsiteY29" fmla="*/ 895350 h 4305300"/>
                  <a:gd name="connsiteX30" fmla="*/ 5133975 w 8601075"/>
                  <a:gd name="connsiteY30" fmla="*/ 895350 h 4305300"/>
                  <a:gd name="connsiteX31" fmla="*/ 4991100 w 8601075"/>
                  <a:gd name="connsiteY31" fmla="*/ 838200 h 4305300"/>
                  <a:gd name="connsiteX32" fmla="*/ 4905375 w 8601075"/>
                  <a:gd name="connsiteY32" fmla="*/ 771525 h 4305300"/>
                  <a:gd name="connsiteX33" fmla="*/ 4905375 w 8601075"/>
                  <a:gd name="connsiteY33" fmla="*/ 771525 h 4305300"/>
                  <a:gd name="connsiteX34" fmla="*/ 4781550 w 8601075"/>
                  <a:gd name="connsiteY34" fmla="*/ 762000 h 4305300"/>
                  <a:gd name="connsiteX35" fmla="*/ 4648200 w 8601075"/>
                  <a:gd name="connsiteY35" fmla="*/ 714375 h 4305300"/>
                  <a:gd name="connsiteX36" fmla="*/ 4581525 w 8601075"/>
                  <a:gd name="connsiteY36" fmla="*/ 695325 h 4305300"/>
                  <a:gd name="connsiteX37" fmla="*/ 4495800 w 8601075"/>
                  <a:gd name="connsiteY37" fmla="*/ 742950 h 4305300"/>
                  <a:gd name="connsiteX38" fmla="*/ 4343400 w 8601075"/>
                  <a:gd name="connsiteY38" fmla="*/ 781050 h 4305300"/>
                  <a:gd name="connsiteX39" fmla="*/ 4252913 w 8601075"/>
                  <a:gd name="connsiteY39" fmla="*/ 862013 h 4305300"/>
                  <a:gd name="connsiteX40" fmla="*/ 4205287 w 8601075"/>
                  <a:gd name="connsiteY40" fmla="*/ 823913 h 4305300"/>
                  <a:gd name="connsiteX41" fmla="*/ 4183856 w 8601075"/>
                  <a:gd name="connsiteY41" fmla="*/ 854868 h 4305300"/>
                  <a:gd name="connsiteX42" fmla="*/ 4110038 w 8601075"/>
                  <a:gd name="connsiteY42" fmla="*/ 804863 h 4305300"/>
                  <a:gd name="connsiteX43" fmla="*/ 4071938 w 8601075"/>
                  <a:gd name="connsiteY43" fmla="*/ 812006 h 4305300"/>
                  <a:gd name="connsiteX44" fmla="*/ 4050506 w 8601075"/>
                  <a:gd name="connsiteY44" fmla="*/ 773906 h 4305300"/>
                  <a:gd name="connsiteX45" fmla="*/ 3990975 w 8601075"/>
                  <a:gd name="connsiteY45" fmla="*/ 778669 h 4305300"/>
                  <a:gd name="connsiteX46" fmla="*/ 3945731 w 8601075"/>
                  <a:gd name="connsiteY46" fmla="*/ 750094 h 4305300"/>
                  <a:gd name="connsiteX47" fmla="*/ 3907631 w 8601075"/>
                  <a:gd name="connsiteY47" fmla="*/ 747713 h 4305300"/>
                  <a:gd name="connsiteX48" fmla="*/ 3888581 w 8601075"/>
                  <a:gd name="connsiteY48" fmla="*/ 700087 h 4305300"/>
                  <a:gd name="connsiteX49" fmla="*/ 3874294 w 8601075"/>
                  <a:gd name="connsiteY49" fmla="*/ 669131 h 4305300"/>
                  <a:gd name="connsiteX50" fmla="*/ 3829050 w 8601075"/>
                  <a:gd name="connsiteY50" fmla="*/ 678656 h 4305300"/>
                  <a:gd name="connsiteX51" fmla="*/ 3810000 w 8601075"/>
                  <a:gd name="connsiteY51" fmla="*/ 642938 h 4305300"/>
                  <a:gd name="connsiteX52" fmla="*/ 3831432 w 8601075"/>
                  <a:gd name="connsiteY52" fmla="*/ 588169 h 4305300"/>
                  <a:gd name="connsiteX53" fmla="*/ 3800475 w 8601075"/>
                  <a:gd name="connsiteY53" fmla="*/ 561975 h 4305300"/>
                  <a:gd name="connsiteX54" fmla="*/ 3817144 w 8601075"/>
                  <a:gd name="connsiteY54" fmla="*/ 519113 h 4305300"/>
                  <a:gd name="connsiteX55" fmla="*/ 3790950 w 8601075"/>
                  <a:gd name="connsiteY55" fmla="*/ 476250 h 4305300"/>
                  <a:gd name="connsiteX56" fmla="*/ 3786188 w 8601075"/>
                  <a:gd name="connsiteY56" fmla="*/ 414338 h 4305300"/>
                  <a:gd name="connsiteX57" fmla="*/ 3810000 w 8601075"/>
                  <a:gd name="connsiteY57" fmla="*/ 350043 h 4305300"/>
                  <a:gd name="connsiteX58" fmla="*/ 3771900 w 8601075"/>
                  <a:gd name="connsiteY58" fmla="*/ 352425 h 4305300"/>
                  <a:gd name="connsiteX59" fmla="*/ 3652838 w 8601075"/>
                  <a:gd name="connsiteY59" fmla="*/ 295275 h 4305300"/>
                  <a:gd name="connsiteX60" fmla="*/ 3614737 w 8601075"/>
                  <a:gd name="connsiteY60" fmla="*/ 300037 h 4305300"/>
                  <a:gd name="connsiteX61" fmla="*/ 3409950 w 8601075"/>
                  <a:gd name="connsiteY61" fmla="*/ 190500 h 4305300"/>
                  <a:gd name="connsiteX62" fmla="*/ 3305175 w 8601075"/>
                  <a:gd name="connsiteY62" fmla="*/ 159544 h 4305300"/>
                  <a:gd name="connsiteX63" fmla="*/ 3240881 w 8601075"/>
                  <a:gd name="connsiteY63" fmla="*/ 169068 h 4305300"/>
                  <a:gd name="connsiteX64" fmla="*/ 3209925 w 8601075"/>
                  <a:gd name="connsiteY64" fmla="*/ 104775 h 4305300"/>
                  <a:gd name="connsiteX65" fmla="*/ 3152775 w 8601075"/>
                  <a:gd name="connsiteY65" fmla="*/ 104775 h 4305300"/>
                  <a:gd name="connsiteX66" fmla="*/ 3014662 w 8601075"/>
                  <a:gd name="connsiteY66" fmla="*/ 0 h 4305300"/>
                  <a:gd name="connsiteX67" fmla="*/ 2981325 w 8601075"/>
                  <a:gd name="connsiteY67" fmla="*/ 59532 h 4305300"/>
                  <a:gd name="connsiteX68" fmla="*/ 2926556 w 8601075"/>
                  <a:gd name="connsiteY68" fmla="*/ 128588 h 4305300"/>
                  <a:gd name="connsiteX69" fmla="*/ 2883694 w 8601075"/>
                  <a:gd name="connsiteY69" fmla="*/ 145256 h 4305300"/>
                  <a:gd name="connsiteX70" fmla="*/ 2852738 w 8601075"/>
                  <a:gd name="connsiteY70" fmla="*/ 138113 h 4305300"/>
                  <a:gd name="connsiteX71" fmla="*/ 2828925 w 8601075"/>
                  <a:gd name="connsiteY71" fmla="*/ 166688 h 4305300"/>
                  <a:gd name="connsiteX72" fmla="*/ 2802731 w 8601075"/>
                  <a:gd name="connsiteY72" fmla="*/ 245269 h 4305300"/>
                  <a:gd name="connsiteX73" fmla="*/ 2759869 w 8601075"/>
                  <a:gd name="connsiteY73" fmla="*/ 242888 h 4305300"/>
                  <a:gd name="connsiteX74" fmla="*/ 2728912 w 8601075"/>
                  <a:gd name="connsiteY74" fmla="*/ 304800 h 4305300"/>
                  <a:gd name="connsiteX75" fmla="*/ 2724150 w 8601075"/>
                  <a:gd name="connsiteY75" fmla="*/ 369094 h 4305300"/>
                  <a:gd name="connsiteX76" fmla="*/ 2697957 w 8601075"/>
                  <a:gd name="connsiteY76" fmla="*/ 407194 h 4305300"/>
                  <a:gd name="connsiteX77" fmla="*/ 2724150 w 8601075"/>
                  <a:gd name="connsiteY77" fmla="*/ 466725 h 4305300"/>
                  <a:gd name="connsiteX78" fmla="*/ 2726531 w 8601075"/>
                  <a:gd name="connsiteY78" fmla="*/ 535781 h 4305300"/>
                  <a:gd name="connsiteX79" fmla="*/ 2755106 w 8601075"/>
                  <a:gd name="connsiteY79" fmla="*/ 588169 h 4305300"/>
                  <a:gd name="connsiteX80" fmla="*/ 2802732 w 8601075"/>
                  <a:gd name="connsiteY80" fmla="*/ 642938 h 4305300"/>
                  <a:gd name="connsiteX81" fmla="*/ 2752725 w 8601075"/>
                  <a:gd name="connsiteY81" fmla="*/ 781050 h 4305300"/>
                  <a:gd name="connsiteX82" fmla="*/ 2683669 w 8601075"/>
                  <a:gd name="connsiteY82" fmla="*/ 847725 h 4305300"/>
                  <a:gd name="connsiteX83" fmla="*/ 2612231 w 8601075"/>
                  <a:gd name="connsiteY83" fmla="*/ 842963 h 4305300"/>
                  <a:gd name="connsiteX84" fmla="*/ 2574131 w 8601075"/>
                  <a:gd name="connsiteY84" fmla="*/ 900113 h 4305300"/>
                  <a:gd name="connsiteX85" fmla="*/ 2514600 w 8601075"/>
                  <a:gd name="connsiteY85" fmla="*/ 914400 h 4305300"/>
                  <a:gd name="connsiteX86" fmla="*/ 2445544 w 8601075"/>
                  <a:gd name="connsiteY86" fmla="*/ 854869 h 4305300"/>
                  <a:gd name="connsiteX87" fmla="*/ 2390775 w 8601075"/>
                  <a:gd name="connsiteY87" fmla="*/ 826294 h 4305300"/>
                  <a:gd name="connsiteX88" fmla="*/ 2347913 w 8601075"/>
                  <a:gd name="connsiteY88" fmla="*/ 840581 h 4305300"/>
                  <a:gd name="connsiteX89" fmla="*/ 2295525 w 8601075"/>
                  <a:gd name="connsiteY89" fmla="*/ 823913 h 4305300"/>
                  <a:gd name="connsiteX90" fmla="*/ 2228850 w 8601075"/>
                  <a:gd name="connsiteY90" fmla="*/ 769144 h 4305300"/>
                  <a:gd name="connsiteX91" fmla="*/ 2183606 w 8601075"/>
                  <a:gd name="connsiteY91" fmla="*/ 781050 h 4305300"/>
                  <a:gd name="connsiteX92" fmla="*/ 2162175 w 8601075"/>
                  <a:gd name="connsiteY92" fmla="*/ 750094 h 4305300"/>
                  <a:gd name="connsiteX93" fmla="*/ 2105025 w 8601075"/>
                  <a:gd name="connsiteY93" fmla="*/ 790575 h 4305300"/>
                  <a:gd name="connsiteX94" fmla="*/ 1988344 w 8601075"/>
                  <a:gd name="connsiteY94" fmla="*/ 769144 h 4305300"/>
                  <a:gd name="connsiteX95" fmla="*/ 1938338 w 8601075"/>
                  <a:gd name="connsiteY95" fmla="*/ 716756 h 4305300"/>
                  <a:gd name="connsiteX96" fmla="*/ 1895475 w 8601075"/>
                  <a:gd name="connsiteY96" fmla="*/ 702469 h 4305300"/>
                  <a:gd name="connsiteX97" fmla="*/ 1852613 w 8601075"/>
                  <a:gd name="connsiteY97" fmla="*/ 728663 h 4305300"/>
                  <a:gd name="connsiteX98" fmla="*/ 1800225 w 8601075"/>
                  <a:gd name="connsiteY98" fmla="*/ 638175 h 4305300"/>
                  <a:gd name="connsiteX99" fmla="*/ 1790700 w 8601075"/>
                  <a:gd name="connsiteY99" fmla="*/ 490537 h 4305300"/>
                  <a:gd name="connsiteX100" fmla="*/ 1738312 w 8601075"/>
                  <a:gd name="connsiteY100" fmla="*/ 483393 h 4305300"/>
                  <a:gd name="connsiteX101" fmla="*/ 1647825 w 8601075"/>
                  <a:gd name="connsiteY101" fmla="*/ 473869 h 4305300"/>
                  <a:gd name="connsiteX102" fmla="*/ 1593056 w 8601075"/>
                  <a:gd name="connsiteY102" fmla="*/ 435769 h 4305300"/>
                  <a:gd name="connsiteX103" fmla="*/ 1524000 w 8601075"/>
                  <a:gd name="connsiteY103" fmla="*/ 445294 h 4305300"/>
                  <a:gd name="connsiteX104" fmla="*/ 1478756 w 8601075"/>
                  <a:gd name="connsiteY104" fmla="*/ 419100 h 4305300"/>
                  <a:gd name="connsiteX105" fmla="*/ 1469232 w 8601075"/>
                  <a:gd name="connsiteY105" fmla="*/ 347663 h 4305300"/>
                  <a:gd name="connsiteX106" fmla="*/ 1445419 w 8601075"/>
                  <a:gd name="connsiteY106" fmla="*/ 333375 h 4305300"/>
                  <a:gd name="connsiteX107" fmla="*/ 1407319 w 8601075"/>
                  <a:gd name="connsiteY107" fmla="*/ 380999 h 4305300"/>
                  <a:gd name="connsiteX108" fmla="*/ 1328737 w 8601075"/>
                  <a:gd name="connsiteY108" fmla="*/ 307181 h 4305300"/>
                  <a:gd name="connsiteX109" fmla="*/ 1288256 w 8601075"/>
                  <a:gd name="connsiteY109" fmla="*/ 347663 h 4305300"/>
                  <a:gd name="connsiteX110" fmla="*/ 1212056 w 8601075"/>
                  <a:gd name="connsiteY110" fmla="*/ 333375 h 4305300"/>
                  <a:gd name="connsiteX111" fmla="*/ 1133475 w 8601075"/>
                  <a:gd name="connsiteY111" fmla="*/ 359569 h 4305300"/>
                  <a:gd name="connsiteX112" fmla="*/ 1073944 w 8601075"/>
                  <a:gd name="connsiteY112" fmla="*/ 407193 h 4305300"/>
                  <a:gd name="connsiteX113" fmla="*/ 1000125 w 8601075"/>
                  <a:gd name="connsiteY113" fmla="*/ 419100 h 4305300"/>
                  <a:gd name="connsiteX114" fmla="*/ 964406 w 8601075"/>
                  <a:gd name="connsiteY114" fmla="*/ 411956 h 4305300"/>
                  <a:gd name="connsiteX115" fmla="*/ 885826 w 8601075"/>
                  <a:gd name="connsiteY115" fmla="*/ 442913 h 4305300"/>
                  <a:gd name="connsiteX116" fmla="*/ 864394 w 8601075"/>
                  <a:gd name="connsiteY116" fmla="*/ 471488 h 4305300"/>
                  <a:gd name="connsiteX117" fmla="*/ 797719 w 8601075"/>
                  <a:gd name="connsiteY117" fmla="*/ 461963 h 4305300"/>
                  <a:gd name="connsiteX118" fmla="*/ 728663 w 8601075"/>
                  <a:gd name="connsiteY118" fmla="*/ 485775 h 4305300"/>
                  <a:gd name="connsiteX119" fmla="*/ 673894 w 8601075"/>
                  <a:gd name="connsiteY119" fmla="*/ 523875 h 4305300"/>
                  <a:gd name="connsiteX120" fmla="*/ 578644 w 8601075"/>
                  <a:gd name="connsiteY120" fmla="*/ 538162 h 4305300"/>
                  <a:gd name="connsiteX121" fmla="*/ 564356 w 8601075"/>
                  <a:gd name="connsiteY121" fmla="*/ 559594 h 4305300"/>
                  <a:gd name="connsiteX122" fmla="*/ 576262 w 8601075"/>
                  <a:gd name="connsiteY122" fmla="*/ 604838 h 4305300"/>
                  <a:gd name="connsiteX123" fmla="*/ 476251 w 8601075"/>
                  <a:gd name="connsiteY123" fmla="*/ 657225 h 4305300"/>
                  <a:gd name="connsiteX124" fmla="*/ 438150 w 8601075"/>
                  <a:gd name="connsiteY124" fmla="*/ 628649 h 4305300"/>
                  <a:gd name="connsiteX125" fmla="*/ 407194 w 8601075"/>
                  <a:gd name="connsiteY125" fmla="*/ 685800 h 4305300"/>
                  <a:gd name="connsiteX126" fmla="*/ 350044 w 8601075"/>
                  <a:gd name="connsiteY126" fmla="*/ 647700 h 4305300"/>
                  <a:gd name="connsiteX127" fmla="*/ 314325 w 8601075"/>
                  <a:gd name="connsiteY127" fmla="*/ 676275 h 4305300"/>
                  <a:gd name="connsiteX128" fmla="*/ 278606 w 8601075"/>
                  <a:gd name="connsiteY128" fmla="*/ 640556 h 4305300"/>
                  <a:gd name="connsiteX129" fmla="*/ 226219 w 8601075"/>
                  <a:gd name="connsiteY129" fmla="*/ 652463 h 4305300"/>
                  <a:gd name="connsiteX130" fmla="*/ 180975 w 8601075"/>
                  <a:gd name="connsiteY130" fmla="*/ 623888 h 4305300"/>
                  <a:gd name="connsiteX131" fmla="*/ 157163 w 8601075"/>
                  <a:gd name="connsiteY131" fmla="*/ 642938 h 4305300"/>
                  <a:gd name="connsiteX132" fmla="*/ 133350 w 8601075"/>
                  <a:gd name="connsiteY132" fmla="*/ 702469 h 4305300"/>
                  <a:gd name="connsiteX133" fmla="*/ 61913 w 8601075"/>
                  <a:gd name="connsiteY133" fmla="*/ 740568 h 4305300"/>
                  <a:gd name="connsiteX134" fmla="*/ 28575 w 8601075"/>
                  <a:gd name="connsiteY134" fmla="*/ 769144 h 4305300"/>
                  <a:gd name="connsiteX135" fmla="*/ 33338 w 8601075"/>
                  <a:gd name="connsiteY135" fmla="*/ 812006 h 4305300"/>
                  <a:gd name="connsiteX136" fmla="*/ 0 w 8601075"/>
                  <a:gd name="connsiteY136" fmla="*/ 816769 h 4305300"/>
                  <a:gd name="connsiteX137" fmla="*/ 4763 w 8601075"/>
                  <a:gd name="connsiteY137" fmla="*/ 840581 h 4305300"/>
                  <a:gd name="connsiteX138" fmla="*/ 61912 w 8601075"/>
                  <a:gd name="connsiteY138" fmla="*/ 914400 h 4305300"/>
                  <a:gd name="connsiteX139" fmla="*/ 23813 w 8601075"/>
                  <a:gd name="connsiteY139" fmla="*/ 962025 h 4305300"/>
                  <a:gd name="connsiteX140" fmla="*/ 78581 w 8601075"/>
                  <a:gd name="connsiteY140" fmla="*/ 997744 h 4305300"/>
                  <a:gd name="connsiteX141" fmla="*/ 169069 w 8601075"/>
                  <a:gd name="connsiteY141" fmla="*/ 1085850 h 4305300"/>
                  <a:gd name="connsiteX142" fmla="*/ 171450 w 8601075"/>
                  <a:gd name="connsiteY142" fmla="*/ 1145381 h 4305300"/>
                  <a:gd name="connsiteX143" fmla="*/ 307181 w 8601075"/>
                  <a:gd name="connsiteY143" fmla="*/ 1278732 h 4305300"/>
                  <a:gd name="connsiteX144" fmla="*/ 361950 w 8601075"/>
                  <a:gd name="connsiteY144" fmla="*/ 1254919 h 4305300"/>
                  <a:gd name="connsiteX145" fmla="*/ 400050 w 8601075"/>
                  <a:gd name="connsiteY145" fmla="*/ 1281112 h 4305300"/>
                  <a:gd name="connsiteX146" fmla="*/ 414338 w 8601075"/>
                  <a:gd name="connsiteY146" fmla="*/ 1331118 h 4305300"/>
                  <a:gd name="connsiteX147" fmla="*/ 457200 w 8601075"/>
                  <a:gd name="connsiteY147" fmla="*/ 1366838 h 4305300"/>
                  <a:gd name="connsiteX148" fmla="*/ 497681 w 8601075"/>
                  <a:gd name="connsiteY148" fmla="*/ 1354931 h 4305300"/>
                  <a:gd name="connsiteX149" fmla="*/ 516731 w 8601075"/>
                  <a:gd name="connsiteY149" fmla="*/ 1412081 h 4305300"/>
                  <a:gd name="connsiteX150" fmla="*/ 564356 w 8601075"/>
                  <a:gd name="connsiteY150" fmla="*/ 1454944 h 4305300"/>
                  <a:gd name="connsiteX151" fmla="*/ 588169 w 8601075"/>
                  <a:gd name="connsiteY151" fmla="*/ 1557338 h 4305300"/>
                  <a:gd name="connsiteX152" fmla="*/ 585788 w 8601075"/>
                  <a:gd name="connsiteY152" fmla="*/ 1604963 h 4305300"/>
                  <a:gd name="connsiteX153" fmla="*/ 621506 w 8601075"/>
                  <a:gd name="connsiteY153" fmla="*/ 1704975 h 4305300"/>
                  <a:gd name="connsiteX154" fmla="*/ 666750 w 8601075"/>
                  <a:gd name="connsiteY154" fmla="*/ 1762125 h 4305300"/>
                  <a:gd name="connsiteX155" fmla="*/ 683418 w 8601075"/>
                  <a:gd name="connsiteY155" fmla="*/ 1919287 h 4305300"/>
                  <a:gd name="connsiteX156" fmla="*/ 650081 w 8601075"/>
                  <a:gd name="connsiteY156" fmla="*/ 1981200 h 4305300"/>
                  <a:gd name="connsiteX157" fmla="*/ 619125 w 8601075"/>
                  <a:gd name="connsiteY157" fmla="*/ 2057400 h 4305300"/>
                  <a:gd name="connsiteX158" fmla="*/ 633413 w 8601075"/>
                  <a:gd name="connsiteY158" fmla="*/ 2114550 h 4305300"/>
                  <a:gd name="connsiteX159" fmla="*/ 535781 w 8601075"/>
                  <a:gd name="connsiteY159" fmla="*/ 2221707 h 4305300"/>
                  <a:gd name="connsiteX160" fmla="*/ 492919 w 8601075"/>
                  <a:gd name="connsiteY160" fmla="*/ 2336006 h 4305300"/>
                  <a:gd name="connsiteX161" fmla="*/ 526256 w 8601075"/>
                  <a:gd name="connsiteY161" fmla="*/ 2376488 h 4305300"/>
                  <a:gd name="connsiteX162" fmla="*/ 509588 w 8601075"/>
                  <a:gd name="connsiteY162" fmla="*/ 2405063 h 4305300"/>
                  <a:gd name="connsiteX163" fmla="*/ 540544 w 8601075"/>
                  <a:gd name="connsiteY163" fmla="*/ 2462213 h 4305300"/>
                  <a:gd name="connsiteX164" fmla="*/ 569119 w 8601075"/>
                  <a:gd name="connsiteY164" fmla="*/ 2462213 h 4305300"/>
                  <a:gd name="connsiteX165" fmla="*/ 731044 w 8601075"/>
                  <a:gd name="connsiteY165" fmla="*/ 2564606 h 4305300"/>
                  <a:gd name="connsiteX166" fmla="*/ 835819 w 8601075"/>
                  <a:gd name="connsiteY166" fmla="*/ 2562225 h 4305300"/>
                  <a:gd name="connsiteX167" fmla="*/ 914400 w 8601075"/>
                  <a:gd name="connsiteY167" fmla="*/ 2616994 h 4305300"/>
                  <a:gd name="connsiteX168" fmla="*/ 1045368 w 8601075"/>
                  <a:gd name="connsiteY168" fmla="*/ 2619375 h 4305300"/>
                  <a:gd name="connsiteX169" fmla="*/ 1235868 w 8601075"/>
                  <a:gd name="connsiteY169" fmla="*/ 2688431 h 4305300"/>
                  <a:gd name="connsiteX170" fmla="*/ 1438275 w 8601075"/>
                  <a:gd name="connsiteY170" fmla="*/ 2838450 h 4305300"/>
                  <a:gd name="connsiteX171" fmla="*/ 1471612 w 8601075"/>
                  <a:gd name="connsiteY171" fmla="*/ 2905125 h 4305300"/>
                  <a:gd name="connsiteX172" fmla="*/ 1638300 w 8601075"/>
                  <a:gd name="connsiteY172" fmla="*/ 3031331 h 4305300"/>
                  <a:gd name="connsiteX173" fmla="*/ 1709738 w 8601075"/>
                  <a:gd name="connsiteY173" fmla="*/ 3026569 h 4305300"/>
                  <a:gd name="connsiteX174" fmla="*/ 1745457 w 8601075"/>
                  <a:gd name="connsiteY174" fmla="*/ 3050381 h 4305300"/>
                  <a:gd name="connsiteX175" fmla="*/ 1716881 w 8601075"/>
                  <a:gd name="connsiteY175" fmla="*/ 3090863 h 4305300"/>
                  <a:gd name="connsiteX176" fmla="*/ 1724025 w 8601075"/>
                  <a:gd name="connsiteY176" fmla="*/ 3143250 h 4305300"/>
                  <a:gd name="connsiteX177" fmla="*/ 1776413 w 8601075"/>
                  <a:gd name="connsiteY177" fmla="*/ 3169444 h 4305300"/>
                  <a:gd name="connsiteX178" fmla="*/ 1838325 w 8601075"/>
                  <a:gd name="connsiteY178" fmla="*/ 3393282 h 4305300"/>
                  <a:gd name="connsiteX179" fmla="*/ 1828800 w 8601075"/>
                  <a:gd name="connsiteY179" fmla="*/ 3457575 h 4305300"/>
                  <a:gd name="connsiteX180" fmla="*/ 1964531 w 8601075"/>
                  <a:gd name="connsiteY180" fmla="*/ 3624263 h 4305300"/>
                  <a:gd name="connsiteX181" fmla="*/ 1983581 w 8601075"/>
                  <a:gd name="connsiteY181" fmla="*/ 3674269 h 4305300"/>
                  <a:gd name="connsiteX182" fmla="*/ 1957388 w 8601075"/>
                  <a:gd name="connsiteY182" fmla="*/ 3693319 h 4305300"/>
                  <a:gd name="connsiteX183" fmla="*/ 2059781 w 8601075"/>
                  <a:gd name="connsiteY183" fmla="*/ 3702844 h 4305300"/>
                  <a:gd name="connsiteX184" fmla="*/ 2171700 w 8601075"/>
                  <a:gd name="connsiteY184" fmla="*/ 3690938 h 4305300"/>
                  <a:gd name="connsiteX185" fmla="*/ 2450306 w 8601075"/>
                  <a:gd name="connsiteY185" fmla="*/ 3774281 h 4305300"/>
                  <a:gd name="connsiteX186" fmla="*/ 2857500 w 8601075"/>
                  <a:gd name="connsiteY186" fmla="*/ 3855244 h 4305300"/>
                  <a:gd name="connsiteX187" fmla="*/ 3055144 w 8601075"/>
                  <a:gd name="connsiteY187" fmla="*/ 3824287 h 4305300"/>
                  <a:gd name="connsiteX188" fmla="*/ 3100388 w 8601075"/>
                  <a:gd name="connsiteY188" fmla="*/ 3836193 h 4305300"/>
                  <a:gd name="connsiteX189" fmla="*/ 3155156 w 8601075"/>
                  <a:gd name="connsiteY189" fmla="*/ 3812382 h 4305300"/>
                  <a:gd name="connsiteX190" fmla="*/ 3548062 w 8601075"/>
                  <a:gd name="connsiteY190" fmla="*/ 3902869 h 4305300"/>
                  <a:gd name="connsiteX191" fmla="*/ 3631407 w 8601075"/>
                  <a:gd name="connsiteY191" fmla="*/ 4000500 h 4305300"/>
                  <a:gd name="connsiteX192" fmla="*/ 3750469 w 8601075"/>
                  <a:gd name="connsiteY192" fmla="*/ 4071938 h 4305300"/>
                  <a:gd name="connsiteX193" fmla="*/ 3810000 w 8601075"/>
                  <a:gd name="connsiteY193" fmla="*/ 4055269 h 4305300"/>
                  <a:gd name="connsiteX194" fmla="*/ 4160043 w 8601075"/>
                  <a:gd name="connsiteY194" fmla="*/ 4229100 h 4305300"/>
                  <a:gd name="connsiteX195" fmla="*/ 4386263 w 8601075"/>
                  <a:gd name="connsiteY195" fmla="*/ 4200525 h 4305300"/>
                  <a:gd name="connsiteX196" fmla="*/ 4395788 w 8601075"/>
                  <a:gd name="connsiteY196" fmla="*/ 4279106 h 4305300"/>
                  <a:gd name="connsiteX197" fmla="*/ 4481513 w 8601075"/>
                  <a:gd name="connsiteY197" fmla="*/ 4274343 h 4305300"/>
                  <a:gd name="connsiteX198" fmla="*/ 4560094 w 8601075"/>
                  <a:gd name="connsiteY198" fmla="*/ 4305300 h 4305300"/>
                  <a:gd name="connsiteX199" fmla="*/ 4602956 w 8601075"/>
                  <a:gd name="connsiteY199" fmla="*/ 4245769 h 4305300"/>
                  <a:gd name="connsiteX200" fmla="*/ 5274469 w 8601075"/>
                  <a:gd name="connsiteY200" fmla="*/ 3926681 h 4305300"/>
                  <a:gd name="connsiteX201" fmla="*/ 5362575 w 8601075"/>
                  <a:gd name="connsiteY201" fmla="*/ 3955257 h 4305300"/>
                  <a:gd name="connsiteX202" fmla="*/ 5493544 w 8601075"/>
                  <a:gd name="connsiteY202" fmla="*/ 3926681 h 4305300"/>
                  <a:gd name="connsiteX203" fmla="*/ 5672137 w 8601075"/>
                  <a:gd name="connsiteY203" fmla="*/ 3943350 h 4305300"/>
                  <a:gd name="connsiteX204" fmla="*/ 5729288 w 8601075"/>
                  <a:gd name="connsiteY204" fmla="*/ 3917157 h 4305300"/>
                  <a:gd name="connsiteX205" fmla="*/ 5862637 w 8601075"/>
                  <a:gd name="connsiteY205" fmla="*/ 3914775 h 4305300"/>
                  <a:gd name="connsiteX206" fmla="*/ 5995987 w 8601075"/>
                  <a:gd name="connsiteY206" fmla="*/ 3817144 h 4305300"/>
                  <a:gd name="connsiteX207" fmla="*/ 6062662 w 8601075"/>
                  <a:gd name="connsiteY207" fmla="*/ 3810000 h 4305300"/>
                  <a:gd name="connsiteX208" fmla="*/ 6160294 w 8601075"/>
                  <a:gd name="connsiteY208" fmla="*/ 3736181 h 4305300"/>
                  <a:gd name="connsiteX209" fmla="*/ 6234113 w 8601075"/>
                  <a:gd name="connsiteY209" fmla="*/ 3667125 h 4305300"/>
                  <a:gd name="connsiteX210" fmla="*/ 6243638 w 8601075"/>
                  <a:gd name="connsiteY210" fmla="*/ 3605213 h 4305300"/>
                  <a:gd name="connsiteX211" fmla="*/ 6276975 w 8601075"/>
                  <a:gd name="connsiteY211" fmla="*/ 3536156 h 4305300"/>
                  <a:gd name="connsiteX212" fmla="*/ 6429375 w 8601075"/>
                  <a:gd name="connsiteY212" fmla="*/ 3429000 h 4305300"/>
                  <a:gd name="connsiteX213" fmla="*/ 6462713 w 8601075"/>
                  <a:gd name="connsiteY213" fmla="*/ 3433763 h 4305300"/>
                  <a:gd name="connsiteX214" fmla="*/ 6515100 w 8601075"/>
                  <a:gd name="connsiteY214" fmla="*/ 3355181 h 4305300"/>
                  <a:gd name="connsiteX215" fmla="*/ 6562725 w 8601075"/>
                  <a:gd name="connsiteY215" fmla="*/ 3317081 h 4305300"/>
                  <a:gd name="connsiteX216" fmla="*/ 6548438 w 8601075"/>
                  <a:gd name="connsiteY216" fmla="*/ 3248025 h 4305300"/>
                  <a:gd name="connsiteX217" fmla="*/ 6498431 w 8601075"/>
                  <a:gd name="connsiteY217" fmla="*/ 3217068 h 4305300"/>
                  <a:gd name="connsiteX218" fmla="*/ 6438900 w 8601075"/>
                  <a:gd name="connsiteY218" fmla="*/ 3162300 h 4305300"/>
                  <a:gd name="connsiteX219" fmla="*/ 6419850 w 8601075"/>
                  <a:gd name="connsiteY219" fmla="*/ 3105150 h 4305300"/>
                  <a:gd name="connsiteX220" fmla="*/ 6384131 w 8601075"/>
                  <a:gd name="connsiteY220" fmla="*/ 3071813 h 4305300"/>
                  <a:gd name="connsiteX221" fmla="*/ 6410325 w 8601075"/>
                  <a:gd name="connsiteY221" fmla="*/ 3019425 h 4305300"/>
                  <a:gd name="connsiteX222" fmla="*/ 6450806 w 8601075"/>
                  <a:gd name="connsiteY222" fmla="*/ 2840831 h 4305300"/>
                  <a:gd name="connsiteX223" fmla="*/ 6491288 w 8601075"/>
                  <a:gd name="connsiteY223" fmla="*/ 2774156 h 4305300"/>
                  <a:gd name="connsiteX224" fmla="*/ 6636544 w 8601075"/>
                  <a:gd name="connsiteY224" fmla="*/ 2757487 h 4305300"/>
                  <a:gd name="connsiteX225" fmla="*/ 6705600 w 8601075"/>
                  <a:gd name="connsiteY225" fmla="*/ 2814638 h 4305300"/>
                  <a:gd name="connsiteX226" fmla="*/ 6781800 w 8601075"/>
                  <a:gd name="connsiteY226" fmla="*/ 2838450 h 4305300"/>
                  <a:gd name="connsiteX227" fmla="*/ 6986587 w 8601075"/>
                  <a:gd name="connsiteY227" fmla="*/ 2843213 h 4305300"/>
                  <a:gd name="connsiteX228" fmla="*/ 7162800 w 8601075"/>
                  <a:gd name="connsiteY228" fmla="*/ 2705100 h 4305300"/>
                  <a:gd name="connsiteX229" fmla="*/ 7219950 w 8601075"/>
                  <a:gd name="connsiteY229" fmla="*/ 2614612 h 4305300"/>
                  <a:gd name="connsiteX230" fmla="*/ 7246144 w 8601075"/>
                  <a:gd name="connsiteY230" fmla="*/ 2531269 h 4305300"/>
                  <a:gd name="connsiteX231" fmla="*/ 7377112 w 8601075"/>
                  <a:gd name="connsiteY231" fmla="*/ 2531269 h 4305300"/>
                  <a:gd name="connsiteX232" fmla="*/ 7550944 w 8601075"/>
                  <a:gd name="connsiteY232" fmla="*/ 2474118 h 4305300"/>
                  <a:gd name="connsiteX233" fmla="*/ 7610475 w 8601075"/>
                  <a:gd name="connsiteY233" fmla="*/ 2362200 h 4305300"/>
                  <a:gd name="connsiteX234" fmla="*/ 7674769 w 8601075"/>
                  <a:gd name="connsiteY234" fmla="*/ 2326481 h 4305300"/>
                  <a:gd name="connsiteX235" fmla="*/ 7653338 w 8601075"/>
                  <a:gd name="connsiteY235" fmla="*/ 2281238 h 4305300"/>
                  <a:gd name="connsiteX236" fmla="*/ 7731919 w 8601075"/>
                  <a:gd name="connsiteY236" fmla="*/ 2112168 h 4305300"/>
                  <a:gd name="connsiteX237" fmla="*/ 7786688 w 8601075"/>
                  <a:gd name="connsiteY237" fmla="*/ 2052638 h 4305300"/>
                  <a:gd name="connsiteX238" fmla="*/ 7824788 w 8601075"/>
                  <a:gd name="connsiteY238" fmla="*/ 2047875 h 4305300"/>
                  <a:gd name="connsiteX239" fmla="*/ 7870031 w 8601075"/>
                  <a:gd name="connsiteY239" fmla="*/ 2052638 h 4305300"/>
                  <a:gd name="connsiteX240" fmla="*/ 7934325 w 8601075"/>
                  <a:gd name="connsiteY240" fmla="*/ 2019300 h 4305300"/>
                  <a:gd name="connsiteX241" fmla="*/ 7943850 w 8601075"/>
                  <a:gd name="connsiteY241" fmla="*/ 1955006 h 4305300"/>
                  <a:gd name="connsiteX242" fmla="*/ 7984330 w 8601075"/>
                  <a:gd name="connsiteY242" fmla="*/ 1919288 h 4305300"/>
                  <a:gd name="connsiteX243" fmla="*/ 8043863 w 8601075"/>
                  <a:gd name="connsiteY243" fmla="*/ 1959768 h 4305300"/>
                  <a:gd name="connsiteX244" fmla="*/ 8070057 w 8601075"/>
                  <a:gd name="connsiteY244" fmla="*/ 1909762 h 4305300"/>
                  <a:gd name="connsiteX245" fmla="*/ 8165306 w 8601075"/>
                  <a:gd name="connsiteY245" fmla="*/ 1840706 h 4305300"/>
                  <a:gd name="connsiteX246" fmla="*/ 8227219 w 8601075"/>
                  <a:gd name="connsiteY246" fmla="*/ 1847850 h 4305300"/>
                  <a:gd name="connsiteX247" fmla="*/ 8277225 w 8601075"/>
                  <a:gd name="connsiteY247" fmla="*/ 1828800 h 4305300"/>
                  <a:gd name="connsiteX248" fmla="*/ 8315325 w 8601075"/>
                  <a:gd name="connsiteY248" fmla="*/ 1800225 h 4305300"/>
                  <a:gd name="connsiteX249" fmla="*/ 8348663 w 8601075"/>
                  <a:gd name="connsiteY249" fmla="*/ 1797844 h 4305300"/>
                  <a:gd name="connsiteX250" fmla="*/ 8384381 w 8601075"/>
                  <a:gd name="connsiteY250" fmla="*/ 1828800 h 4305300"/>
                  <a:gd name="connsiteX251" fmla="*/ 8443913 w 8601075"/>
                  <a:gd name="connsiteY251" fmla="*/ 1828800 h 4305300"/>
                  <a:gd name="connsiteX252" fmla="*/ 8482012 w 8601075"/>
                  <a:gd name="connsiteY252" fmla="*/ 1809750 h 4305300"/>
                  <a:gd name="connsiteX253" fmla="*/ 8565356 w 8601075"/>
                  <a:gd name="connsiteY253" fmla="*/ 1812132 h 4305300"/>
                  <a:gd name="connsiteX254" fmla="*/ 8596313 w 8601075"/>
                  <a:gd name="connsiteY254" fmla="*/ 1766888 h 4305300"/>
                  <a:gd name="connsiteX255" fmla="*/ 8601075 w 8601075"/>
                  <a:gd name="connsiteY255" fmla="*/ 1704975 h 4305300"/>
                  <a:gd name="connsiteX256" fmla="*/ 8551068 w 8601075"/>
                  <a:gd name="connsiteY256" fmla="*/ 1664494 h 4305300"/>
                  <a:gd name="connsiteX257" fmla="*/ 8534400 w 8601075"/>
                  <a:gd name="connsiteY257" fmla="*/ 1609725 h 4305300"/>
                  <a:gd name="connsiteX258" fmla="*/ 8443913 w 8601075"/>
                  <a:gd name="connsiteY258" fmla="*/ 1547813 h 4305300"/>
                  <a:gd name="connsiteX259" fmla="*/ 8403431 w 8601075"/>
                  <a:gd name="connsiteY259" fmla="*/ 1526381 h 4305300"/>
                  <a:gd name="connsiteX260" fmla="*/ 8365331 w 8601075"/>
                  <a:gd name="connsiteY260" fmla="*/ 1481138 h 4305300"/>
                  <a:gd name="connsiteX261" fmla="*/ 8334375 w 8601075"/>
                  <a:gd name="connsiteY261" fmla="*/ 1478756 h 4305300"/>
                  <a:gd name="connsiteX262" fmla="*/ 8317706 w 8601075"/>
                  <a:gd name="connsiteY262" fmla="*/ 1426369 h 4305300"/>
                  <a:gd name="connsiteX263" fmla="*/ 8277225 w 8601075"/>
                  <a:gd name="connsiteY263" fmla="*/ 1409700 h 4305300"/>
                  <a:gd name="connsiteX264" fmla="*/ 8277225 w 8601075"/>
                  <a:gd name="connsiteY264" fmla="*/ 1409700 h 4305300"/>
                  <a:gd name="connsiteX265" fmla="*/ 8236744 w 8601075"/>
                  <a:gd name="connsiteY265" fmla="*/ 1414463 h 4305300"/>
                  <a:gd name="connsiteX266" fmla="*/ 8151018 w 8601075"/>
                  <a:gd name="connsiteY266" fmla="*/ 1340644 h 4305300"/>
                  <a:gd name="connsiteX267" fmla="*/ 7970044 w 8601075"/>
                  <a:gd name="connsiteY267" fmla="*/ 1340643 h 4305300"/>
                  <a:gd name="connsiteX268" fmla="*/ 7917656 w 8601075"/>
                  <a:gd name="connsiteY268" fmla="*/ 1378744 h 4305300"/>
                  <a:gd name="connsiteX269" fmla="*/ 7867650 w 8601075"/>
                  <a:gd name="connsiteY269" fmla="*/ 1457325 h 4305300"/>
                  <a:gd name="connsiteX270" fmla="*/ 7884319 w 8601075"/>
                  <a:gd name="connsiteY270" fmla="*/ 1478756 h 4305300"/>
                  <a:gd name="connsiteX271" fmla="*/ 7839075 w 8601075"/>
                  <a:gd name="connsiteY271" fmla="*/ 1528762 h 4305300"/>
                  <a:gd name="connsiteX272" fmla="*/ 7689056 w 8601075"/>
                  <a:gd name="connsiteY272" fmla="*/ 1452562 h 4305300"/>
                  <a:gd name="connsiteX273" fmla="*/ 7598569 w 8601075"/>
                  <a:gd name="connsiteY273" fmla="*/ 1488281 h 4305300"/>
                  <a:gd name="connsiteX274" fmla="*/ 7524750 w 8601075"/>
                  <a:gd name="connsiteY274" fmla="*/ 1485900 h 4305300"/>
                  <a:gd name="connsiteX275" fmla="*/ 7467600 w 8601075"/>
                  <a:gd name="connsiteY275" fmla="*/ 1581150 h 4305300"/>
                  <a:gd name="connsiteX276" fmla="*/ 7329488 w 8601075"/>
                  <a:gd name="connsiteY276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600825 w 8601075"/>
                  <a:gd name="connsiteY14" fmla="*/ 904875 h 4305300"/>
                  <a:gd name="connsiteX15" fmla="*/ 6600825 w 8601075"/>
                  <a:gd name="connsiteY15" fmla="*/ 904875 h 4305300"/>
                  <a:gd name="connsiteX16" fmla="*/ 6534150 w 8601075"/>
                  <a:gd name="connsiteY16" fmla="*/ 942975 h 4305300"/>
                  <a:gd name="connsiteX17" fmla="*/ 6534150 w 8601075"/>
                  <a:gd name="connsiteY17" fmla="*/ 942975 h 4305300"/>
                  <a:gd name="connsiteX18" fmla="*/ 6362700 w 8601075"/>
                  <a:gd name="connsiteY18" fmla="*/ 1009650 h 4305300"/>
                  <a:gd name="connsiteX19" fmla="*/ 6238875 w 8601075"/>
                  <a:gd name="connsiteY19" fmla="*/ 1057275 h 4305300"/>
                  <a:gd name="connsiteX20" fmla="*/ 6115050 w 8601075"/>
                  <a:gd name="connsiteY20" fmla="*/ 1114425 h 4305300"/>
                  <a:gd name="connsiteX21" fmla="*/ 5962650 w 8601075"/>
                  <a:gd name="connsiteY21" fmla="*/ 1190625 h 4305300"/>
                  <a:gd name="connsiteX22" fmla="*/ 5895975 w 8601075"/>
                  <a:gd name="connsiteY22" fmla="*/ 1143000 h 4305300"/>
                  <a:gd name="connsiteX23" fmla="*/ 5895975 w 8601075"/>
                  <a:gd name="connsiteY23" fmla="*/ 1143000 h 4305300"/>
                  <a:gd name="connsiteX24" fmla="*/ 5676900 w 8601075"/>
                  <a:gd name="connsiteY24" fmla="*/ 1181100 h 4305300"/>
                  <a:gd name="connsiteX25" fmla="*/ 5600700 w 8601075"/>
                  <a:gd name="connsiteY25" fmla="*/ 1114425 h 4305300"/>
                  <a:gd name="connsiteX26" fmla="*/ 5391150 w 8601075"/>
                  <a:gd name="connsiteY26" fmla="*/ 1123950 h 4305300"/>
                  <a:gd name="connsiteX27" fmla="*/ 5334000 w 8601075"/>
                  <a:gd name="connsiteY27" fmla="*/ 1066800 h 4305300"/>
                  <a:gd name="connsiteX28" fmla="*/ 5248275 w 8601075"/>
                  <a:gd name="connsiteY28" fmla="*/ 981075 h 4305300"/>
                  <a:gd name="connsiteX29" fmla="*/ 5238750 w 8601075"/>
                  <a:gd name="connsiteY29" fmla="*/ 895350 h 4305300"/>
                  <a:gd name="connsiteX30" fmla="*/ 5133975 w 8601075"/>
                  <a:gd name="connsiteY30" fmla="*/ 895350 h 4305300"/>
                  <a:gd name="connsiteX31" fmla="*/ 4991100 w 8601075"/>
                  <a:gd name="connsiteY31" fmla="*/ 838200 h 4305300"/>
                  <a:gd name="connsiteX32" fmla="*/ 4905375 w 8601075"/>
                  <a:gd name="connsiteY32" fmla="*/ 771525 h 4305300"/>
                  <a:gd name="connsiteX33" fmla="*/ 4905375 w 8601075"/>
                  <a:gd name="connsiteY33" fmla="*/ 771525 h 4305300"/>
                  <a:gd name="connsiteX34" fmla="*/ 4781550 w 8601075"/>
                  <a:gd name="connsiteY34" fmla="*/ 762000 h 4305300"/>
                  <a:gd name="connsiteX35" fmla="*/ 4648200 w 8601075"/>
                  <a:gd name="connsiteY35" fmla="*/ 714375 h 4305300"/>
                  <a:gd name="connsiteX36" fmla="*/ 4581525 w 8601075"/>
                  <a:gd name="connsiteY36" fmla="*/ 695325 h 4305300"/>
                  <a:gd name="connsiteX37" fmla="*/ 4495800 w 8601075"/>
                  <a:gd name="connsiteY37" fmla="*/ 742950 h 4305300"/>
                  <a:gd name="connsiteX38" fmla="*/ 4343400 w 8601075"/>
                  <a:gd name="connsiteY38" fmla="*/ 781050 h 4305300"/>
                  <a:gd name="connsiteX39" fmla="*/ 4252913 w 8601075"/>
                  <a:gd name="connsiteY39" fmla="*/ 862013 h 4305300"/>
                  <a:gd name="connsiteX40" fmla="*/ 4205287 w 8601075"/>
                  <a:gd name="connsiteY40" fmla="*/ 823913 h 4305300"/>
                  <a:gd name="connsiteX41" fmla="*/ 4183856 w 8601075"/>
                  <a:gd name="connsiteY41" fmla="*/ 854868 h 4305300"/>
                  <a:gd name="connsiteX42" fmla="*/ 4110038 w 8601075"/>
                  <a:gd name="connsiteY42" fmla="*/ 804863 h 4305300"/>
                  <a:gd name="connsiteX43" fmla="*/ 4071938 w 8601075"/>
                  <a:gd name="connsiteY43" fmla="*/ 812006 h 4305300"/>
                  <a:gd name="connsiteX44" fmla="*/ 4050506 w 8601075"/>
                  <a:gd name="connsiteY44" fmla="*/ 773906 h 4305300"/>
                  <a:gd name="connsiteX45" fmla="*/ 3990975 w 8601075"/>
                  <a:gd name="connsiteY45" fmla="*/ 778669 h 4305300"/>
                  <a:gd name="connsiteX46" fmla="*/ 3945731 w 8601075"/>
                  <a:gd name="connsiteY46" fmla="*/ 750094 h 4305300"/>
                  <a:gd name="connsiteX47" fmla="*/ 3907631 w 8601075"/>
                  <a:gd name="connsiteY47" fmla="*/ 747713 h 4305300"/>
                  <a:gd name="connsiteX48" fmla="*/ 3888581 w 8601075"/>
                  <a:gd name="connsiteY48" fmla="*/ 700087 h 4305300"/>
                  <a:gd name="connsiteX49" fmla="*/ 3874294 w 8601075"/>
                  <a:gd name="connsiteY49" fmla="*/ 669131 h 4305300"/>
                  <a:gd name="connsiteX50" fmla="*/ 3829050 w 8601075"/>
                  <a:gd name="connsiteY50" fmla="*/ 678656 h 4305300"/>
                  <a:gd name="connsiteX51" fmla="*/ 3810000 w 8601075"/>
                  <a:gd name="connsiteY51" fmla="*/ 642938 h 4305300"/>
                  <a:gd name="connsiteX52" fmla="*/ 3831432 w 8601075"/>
                  <a:gd name="connsiteY52" fmla="*/ 588169 h 4305300"/>
                  <a:gd name="connsiteX53" fmla="*/ 3800475 w 8601075"/>
                  <a:gd name="connsiteY53" fmla="*/ 561975 h 4305300"/>
                  <a:gd name="connsiteX54" fmla="*/ 3817144 w 8601075"/>
                  <a:gd name="connsiteY54" fmla="*/ 519113 h 4305300"/>
                  <a:gd name="connsiteX55" fmla="*/ 3790950 w 8601075"/>
                  <a:gd name="connsiteY55" fmla="*/ 476250 h 4305300"/>
                  <a:gd name="connsiteX56" fmla="*/ 3786188 w 8601075"/>
                  <a:gd name="connsiteY56" fmla="*/ 414338 h 4305300"/>
                  <a:gd name="connsiteX57" fmla="*/ 3810000 w 8601075"/>
                  <a:gd name="connsiteY57" fmla="*/ 350043 h 4305300"/>
                  <a:gd name="connsiteX58" fmla="*/ 3771900 w 8601075"/>
                  <a:gd name="connsiteY58" fmla="*/ 352425 h 4305300"/>
                  <a:gd name="connsiteX59" fmla="*/ 3652838 w 8601075"/>
                  <a:gd name="connsiteY59" fmla="*/ 295275 h 4305300"/>
                  <a:gd name="connsiteX60" fmla="*/ 3614737 w 8601075"/>
                  <a:gd name="connsiteY60" fmla="*/ 300037 h 4305300"/>
                  <a:gd name="connsiteX61" fmla="*/ 3409950 w 8601075"/>
                  <a:gd name="connsiteY61" fmla="*/ 190500 h 4305300"/>
                  <a:gd name="connsiteX62" fmla="*/ 3305175 w 8601075"/>
                  <a:gd name="connsiteY62" fmla="*/ 159544 h 4305300"/>
                  <a:gd name="connsiteX63" fmla="*/ 3240881 w 8601075"/>
                  <a:gd name="connsiteY63" fmla="*/ 169068 h 4305300"/>
                  <a:gd name="connsiteX64" fmla="*/ 3209925 w 8601075"/>
                  <a:gd name="connsiteY64" fmla="*/ 104775 h 4305300"/>
                  <a:gd name="connsiteX65" fmla="*/ 3152775 w 8601075"/>
                  <a:gd name="connsiteY65" fmla="*/ 104775 h 4305300"/>
                  <a:gd name="connsiteX66" fmla="*/ 3014662 w 8601075"/>
                  <a:gd name="connsiteY66" fmla="*/ 0 h 4305300"/>
                  <a:gd name="connsiteX67" fmla="*/ 2981325 w 8601075"/>
                  <a:gd name="connsiteY67" fmla="*/ 59532 h 4305300"/>
                  <a:gd name="connsiteX68" fmla="*/ 2926556 w 8601075"/>
                  <a:gd name="connsiteY68" fmla="*/ 128588 h 4305300"/>
                  <a:gd name="connsiteX69" fmla="*/ 2883694 w 8601075"/>
                  <a:gd name="connsiteY69" fmla="*/ 145256 h 4305300"/>
                  <a:gd name="connsiteX70" fmla="*/ 2852738 w 8601075"/>
                  <a:gd name="connsiteY70" fmla="*/ 138113 h 4305300"/>
                  <a:gd name="connsiteX71" fmla="*/ 2828925 w 8601075"/>
                  <a:gd name="connsiteY71" fmla="*/ 166688 h 4305300"/>
                  <a:gd name="connsiteX72" fmla="*/ 2802731 w 8601075"/>
                  <a:gd name="connsiteY72" fmla="*/ 245269 h 4305300"/>
                  <a:gd name="connsiteX73" fmla="*/ 2759869 w 8601075"/>
                  <a:gd name="connsiteY73" fmla="*/ 242888 h 4305300"/>
                  <a:gd name="connsiteX74" fmla="*/ 2728912 w 8601075"/>
                  <a:gd name="connsiteY74" fmla="*/ 304800 h 4305300"/>
                  <a:gd name="connsiteX75" fmla="*/ 2724150 w 8601075"/>
                  <a:gd name="connsiteY75" fmla="*/ 369094 h 4305300"/>
                  <a:gd name="connsiteX76" fmla="*/ 2697957 w 8601075"/>
                  <a:gd name="connsiteY76" fmla="*/ 407194 h 4305300"/>
                  <a:gd name="connsiteX77" fmla="*/ 2724150 w 8601075"/>
                  <a:gd name="connsiteY77" fmla="*/ 466725 h 4305300"/>
                  <a:gd name="connsiteX78" fmla="*/ 2726531 w 8601075"/>
                  <a:gd name="connsiteY78" fmla="*/ 535781 h 4305300"/>
                  <a:gd name="connsiteX79" fmla="*/ 2755106 w 8601075"/>
                  <a:gd name="connsiteY79" fmla="*/ 588169 h 4305300"/>
                  <a:gd name="connsiteX80" fmla="*/ 2802732 w 8601075"/>
                  <a:gd name="connsiteY80" fmla="*/ 642938 h 4305300"/>
                  <a:gd name="connsiteX81" fmla="*/ 2752725 w 8601075"/>
                  <a:gd name="connsiteY81" fmla="*/ 781050 h 4305300"/>
                  <a:gd name="connsiteX82" fmla="*/ 2683669 w 8601075"/>
                  <a:gd name="connsiteY82" fmla="*/ 847725 h 4305300"/>
                  <a:gd name="connsiteX83" fmla="*/ 2612231 w 8601075"/>
                  <a:gd name="connsiteY83" fmla="*/ 842963 h 4305300"/>
                  <a:gd name="connsiteX84" fmla="*/ 2574131 w 8601075"/>
                  <a:gd name="connsiteY84" fmla="*/ 900113 h 4305300"/>
                  <a:gd name="connsiteX85" fmla="*/ 2514600 w 8601075"/>
                  <a:gd name="connsiteY85" fmla="*/ 914400 h 4305300"/>
                  <a:gd name="connsiteX86" fmla="*/ 2445544 w 8601075"/>
                  <a:gd name="connsiteY86" fmla="*/ 854869 h 4305300"/>
                  <a:gd name="connsiteX87" fmla="*/ 2390775 w 8601075"/>
                  <a:gd name="connsiteY87" fmla="*/ 826294 h 4305300"/>
                  <a:gd name="connsiteX88" fmla="*/ 2347913 w 8601075"/>
                  <a:gd name="connsiteY88" fmla="*/ 840581 h 4305300"/>
                  <a:gd name="connsiteX89" fmla="*/ 2295525 w 8601075"/>
                  <a:gd name="connsiteY89" fmla="*/ 823913 h 4305300"/>
                  <a:gd name="connsiteX90" fmla="*/ 2228850 w 8601075"/>
                  <a:gd name="connsiteY90" fmla="*/ 769144 h 4305300"/>
                  <a:gd name="connsiteX91" fmla="*/ 2183606 w 8601075"/>
                  <a:gd name="connsiteY91" fmla="*/ 781050 h 4305300"/>
                  <a:gd name="connsiteX92" fmla="*/ 2162175 w 8601075"/>
                  <a:gd name="connsiteY92" fmla="*/ 750094 h 4305300"/>
                  <a:gd name="connsiteX93" fmla="*/ 2105025 w 8601075"/>
                  <a:gd name="connsiteY93" fmla="*/ 790575 h 4305300"/>
                  <a:gd name="connsiteX94" fmla="*/ 1988344 w 8601075"/>
                  <a:gd name="connsiteY94" fmla="*/ 769144 h 4305300"/>
                  <a:gd name="connsiteX95" fmla="*/ 1938338 w 8601075"/>
                  <a:gd name="connsiteY95" fmla="*/ 716756 h 4305300"/>
                  <a:gd name="connsiteX96" fmla="*/ 1895475 w 8601075"/>
                  <a:gd name="connsiteY96" fmla="*/ 702469 h 4305300"/>
                  <a:gd name="connsiteX97" fmla="*/ 1852613 w 8601075"/>
                  <a:gd name="connsiteY97" fmla="*/ 728663 h 4305300"/>
                  <a:gd name="connsiteX98" fmla="*/ 1800225 w 8601075"/>
                  <a:gd name="connsiteY98" fmla="*/ 638175 h 4305300"/>
                  <a:gd name="connsiteX99" fmla="*/ 1790700 w 8601075"/>
                  <a:gd name="connsiteY99" fmla="*/ 490537 h 4305300"/>
                  <a:gd name="connsiteX100" fmla="*/ 1738312 w 8601075"/>
                  <a:gd name="connsiteY100" fmla="*/ 483393 h 4305300"/>
                  <a:gd name="connsiteX101" fmla="*/ 1647825 w 8601075"/>
                  <a:gd name="connsiteY101" fmla="*/ 473869 h 4305300"/>
                  <a:gd name="connsiteX102" fmla="*/ 1593056 w 8601075"/>
                  <a:gd name="connsiteY102" fmla="*/ 435769 h 4305300"/>
                  <a:gd name="connsiteX103" fmla="*/ 1524000 w 8601075"/>
                  <a:gd name="connsiteY103" fmla="*/ 445294 h 4305300"/>
                  <a:gd name="connsiteX104" fmla="*/ 1478756 w 8601075"/>
                  <a:gd name="connsiteY104" fmla="*/ 419100 h 4305300"/>
                  <a:gd name="connsiteX105" fmla="*/ 1469232 w 8601075"/>
                  <a:gd name="connsiteY105" fmla="*/ 347663 h 4305300"/>
                  <a:gd name="connsiteX106" fmla="*/ 1445419 w 8601075"/>
                  <a:gd name="connsiteY106" fmla="*/ 333375 h 4305300"/>
                  <a:gd name="connsiteX107" fmla="*/ 1407319 w 8601075"/>
                  <a:gd name="connsiteY107" fmla="*/ 380999 h 4305300"/>
                  <a:gd name="connsiteX108" fmla="*/ 1328737 w 8601075"/>
                  <a:gd name="connsiteY108" fmla="*/ 307181 h 4305300"/>
                  <a:gd name="connsiteX109" fmla="*/ 1288256 w 8601075"/>
                  <a:gd name="connsiteY109" fmla="*/ 347663 h 4305300"/>
                  <a:gd name="connsiteX110" fmla="*/ 1212056 w 8601075"/>
                  <a:gd name="connsiteY110" fmla="*/ 333375 h 4305300"/>
                  <a:gd name="connsiteX111" fmla="*/ 1133475 w 8601075"/>
                  <a:gd name="connsiteY111" fmla="*/ 359569 h 4305300"/>
                  <a:gd name="connsiteX112" fmla="*/ 1073944 w 8601075"/>
                  <a:gd name="connsiteY112" fmla="*/ 407193 h 4305300"/>
                  <a:gd name="connsiteX113" fmla="*/ 1000125 w 8601075"/>
                  <a:gd name="connsiteY113" fmla="*/ 419100 h 4305300"/>
                  <a:gd name="connsiteX114" fmla="*/ 964406 w 8601075"/>
                  <a:gd name="connsiteY114" fmla="*/ 411956 h 4305300"/>
                  <a:gd name="connsiteX115" fmla="*/ 885826 w 8601075"/>
                  <a:gd name="connsiteY115" fmla="*/ 442913 h 4305300"/>
                  <a:gd name="connsiteX116" fmla="*/ 864394 w 8601075"/>
                  <a:gd name="connsiteY116" fmla="*/ 471488 h 4305300"/>
                  <a:gd name="connsiteX117" fmla="*/ 797719 w 8601075"/>
                  <a:gd name="connsiteY117" fmla="*/ 461963 h 4305300"/>
                  <a:gd name="connsiteX118" fmla="*/ 728663 w 8601075"/>
                  <a:gd name="connsiteY118" fmla="*/ 485775 h 4305300"/>
                  <a:gd name="connsiteX119" fmla="*/ 673894 w 8601075"/>
                  <a:gd name="connsiteY119" fmla="*/ 523875 h 4305300"/>
                  <a:gd name="connsiteX120" fmla="*/ 578644 w 8601075"/>
                  <a:gd name="connsiteY120" fmla="*/ 538162 h 4305300"/>
                  <a:gd name="connsiteX121" fmla="*/ 564356 w 8601075"/>
                  <a:gd name="connsiteY121" fmla="*/ 559594 h 4305300"/>
                  <a:gd name="connsiteX122" fmla="*/ 576262 w 8601075"/>
                  <a:gd name="connsiteY122" fmla="*/ 604838 h 4305300"/>
                  <a:gd name="connsiteX123" fmla="*/ 476251 w 8601075"/>
                  <a:gd name="connsiteY123" fmla="*/ 657225 h 4305300"/>
                  <a:gd name="connsiteX124" fmla="*/ 438150 w 8601075"/>
                  <a:gd name="connsiteY124" fmla="*/ 628649 h 4305300"/>
                  <a:gd name="connsiteX125" fmla="*/ 407194 w 8601075"/>
                  <a:gd name="connsiteY125" fmla="*/ 685800 h 4305300"/>
                  <a:gd name="connsiteX126" fmla="*/ 350044 w 8601075"/>
                  <a:gd name="connsiteY126" fmla="*/ 647700 h 4305300"/>
                  <a:gd name="connsiteX127" fmla="*/ 314325 w 8601075"/>
                  <a:gd name="connsiteY127" fmla="*/ 676275 h 4305300"/>
                  <a:gd name="connsiteX128" fmla="*/ 278606 w 8601075"/>
                  <a:gd name="connsiteY128" fmla="*/ 640556 h 4305300"/>
                  <a:gd name="connsiteX129" fmla="*/ 226219 w 8601075"/>
                  <a:gd name="connsiteY129" fmla="*/ 652463 h 4305300"/>
                  <a:gd name="connsiteX130" fmla="*/ 180975 w 8601075"/>
                  <a:gd name="connsiteY130" fmla="*/ 623888 h 4305300"/>
                  <a:gd name="connsiteX131" fmla="*/ 157163 w 8601075"/>
                  <a:gd name="connsiteY131" fmla="*/ 642938 h 4305300"/>
                  <a:gd name="connsiteX132" fmla="*/ 133350 w 8601075"/>
                  <a:gd name="connsiteY132" fmla="*/ 702469 h 4305300"/>
                  <a:gd name="connsiteX133" fmla="*/ 61913 w 8601075"/>
                  <a:gd name="connsiteY133" fmla="*/ 740568 h 4305300"/>
                  <a:gd name="connsiteX134" fmla="*/ 28575 w 8601075"/>
                  <a:gd name="connsiteY134" fmla="*/ 769144 h 4305300"/>
                  <a:gd name="connsiteX135" fmla="*/ 33338 w 8601075"/>
                  <a:gd name="connsiteY135" fmla="*/ 812006 h 4305300"/>
                  <a:gd name="connsiteX136" fmla="*/ 0 w 8601075"/>
                  <a:gd name="connsiteY136" fmla="*/ 816769 h 4305300"/>
                  <a:gd name="connsiteX137" fmla="*/ 4763 w 8601075"/>
                  <a:gd name="connsiteY137" fmla="*/ 840581 h 4305300"/>
                  <a:gd name="connsiteX138" fmla="*/ 61912 w 8601075"/>
                  <a:gd name="connsiteY138" fmla="*/ 914400 h 4305300"/>
                  <a:gd name="connsiteX139" fmla="*/ 23813 w 8601075"/>
                  <a:gd name="connsiteY139" fmla="*/ 962025 h 4305300"/>
                  <a:gd name="connsiteX140" fmla="*/ 78581 w 8601075"/>
                  <a:gd name="connsiteY140" fmla="*/ 997744 h 4305300"/>
                  <a:gd name="connsiteX141" fmla="*/ 169069 w 8601075"/>
                  <a:gd name="connsiteY141" fmla="*/ 1085850 h 4305300"/>
                  <a:gd name="connsiteX142" fmla="*/ 171450 w 8601075"/>
                  <a:gd name="connsiteY142" fmla="*/ 1145381 h 4305300"/>
                  <a:gd name="connsiteX143" fmla="*/ 307181 w 8601075"/>
                  <a:gd name="connsiteY143" fmla="*/ 1278732 h 4305300"/>
                  <a:gd name="connsiteX144" fmla="*/ 361950 w 8601075"/>
                  <a:gd name="connsiteY144" fmla="*/ 1254919 h 4305300"/>
                  <a:gd name="connsiteX145" fmla="*/ 400050 w 8601075"/>
                  <a:gd name="connsiteY145" fmla="*/ 1281112 h 4305300"/>
                  <a:gd name="connsiteX146" fmla="*/ 414338 w 8601075"/>
                  <a:gd name="connsiteY146" fmla="*/ 1331118 h 4305300"/>
                  <a:gd name="connsiteX147" fmla="*/ 457200 w 8601075"/>
                  <a:gd name="connsiteY147" fmla="*/ 1366838 h 4305300"/>
                  <a:gd name="connsiteX148" fmla="*/ 497681 w 8601075"/>
                  <a:gd name="connsiteY148" fmla="*/ 1354931 h 4305300"/>
                  <a:gd name="connsiteX149" fmla="*/ 516731 w 8601075"/>
                  <a:gd name="connsiteY149" fmla="*/ 1412081 h 4305300"/>
                  <a:gd name="connsiteX150" fmla="*/ 564356 w 8601075"/>
                  <a:gd name="connsiteY150" fmla="*/ 1454944 h 4305300"/>
                  <a:gd name="connsiteX151" fmla="*/ 588169 w 8601075"/>
                  <a:gd name="connsiteY151" fmla="*/ 1557338 h 4305300"/>
                  <a:gd name="connsiteX152" fmla="*/ 585788 w 8601075"/>
                  <a:gd name="connsiteY152" fmla="*/ 1604963 h 4305300"/>
                  <a:gd name="connsiteX153" fmla="*/ 621506 w 8601075"/>
                  <a:gd name="connsiteY153" fmla="*/ 1704975 h 4305300"/>
                  <a:gd name="connsiteX154" fmla="*/ 666750 w 8601075"/>
                  <a:gd name="connsiteY154" fmla="*/ 1762125 h 4305300"/>
                  <a:gd name="connsiteX155" fmla="*/ 683418 w 8601075"/>
                  <a:gd name="connsiteY155" fmla="*/ 1919287 h 4305300"/>
                  <a:gd name="connsiteX156" fmla="*/ 650081 w 8601075"/>
                  <a:gd name="connsiteY156" fmla="*/ 1981200 h 4305300"/>
                  <a:gd name="connsiteX157" fmla="*/ 619125 w 8601075"/>
                  <a:gd name="connsiteY157" fmla="*/ 2057400 h 4305300"/>
                  <a:gd name="connsiteX158" fmla="*/ 633413 w 8601075"/>
                  <a:gd name="connsiteY158" fmla="*/ 2114550 h 4305300"/>
                  <a:gd name="connsiteX159" fmla="*/ 535781 w 8601075"/>
                  <a:gd name="connsiteY159" fmla="*/ 2221707 h 4305300"/>
                  <a:gd name="connsiteX160" fmla="*/ 492919 w 8601075"/>
                  <a:gd name="connsiteY160" fmla="*/ 2336006 h 4305300"/>
                  <a:gd name="connsiteX161" fmla="*/ 526256 w 8601075"/>
                  <a:gd name="connsiteY161" fmla="*/ 2376488 h 4305300"/>
                  <a:gd name="connsiteX162" fmla="*/ 509588 w 8601075"/>
                  <a:gd name="connsiteY162" fmla="*/ 2405063 h 4305300"/>
                  <a:gd name="connsiteX163" fmla="*/ 540544 w 8601075"/>
                  <a:gd name="connsiteY163" fmla="*/ 2462213 h 4305300"/>
                  <a:gd name="connsiteX164" fmla="*/ 569119 w 8601075"/>
                  <a:gd name="connsiteY164" fmla="*/ 2462213 h 4305300"/>
                  <a:gd name="connsiteX165" fmla="*/ 731044 w 8601075"/>
                  <a:gd name="connsiteY165" fmla="*/ 2564606 h 4305300"/>
                  <a:gd name="connsiteX166" fmla="*/ 835819 w 8601075"/>
                  <a:gd name="connsiteY166" fmla="*/ 2562225 h 4305300"/>
                  <a:gd name="connsiteX167" fmla="*/ 914400 w 8601075"/>
                  <a:gd name="connsiteY167" fmla="*/ 2616994 h 4305300"/>
                  <a:gd name="connsiteX168" fmla="*/ 1045368 w 8601075"/>
                  <a:gd name="connsiteY168" fmla="*/ 2619375 h 4305300"/>
                  <a:gd name="connsiteX169" fmla="*/ 1235868 w 8601075"/>
                  <a:gd name="connsiteY169" fmla="*/ 2688431 h 4305300"/>
                  <a:gd name="connsiteX170" fmla="*/ 1438275 w 8601075"/>
                  <a:gd name="connsiteY170" fmla="*/ 2838450 h 4305300"/>
                  <a:gd name="connsiteX171" fmla="*/ 1471612 w 8601075"/>
                  <a:gd name="connsiteY171" fmla="*/ 2905125 h 4305300"/>
                  <a:gd name="connsiteX172" fmla="*/ 1638300 w 8601075"/>
                  <a:gd name="connsiteY172" fmla="*/ 3031331 h 4305300"/>
                  <a:gd name="connsiteX173" fmla="*/ 1709738 w 8601075"/>
                  <a:gd name="connsiteY173" fmla="*/ 3026569 h 4305300"/>
                  <a:gd name="connsiteX174" fmla="*/ 1745457 w 8601075"/>
                  <a:gd name="connsiteY174" fmla="*/ 3050381 h 4305300"/>
                  <a:gd name="connsiteX175" fmla="*/ 1716881 w 8601075"/>
                  <a:gd name="connsiteY175" fmla="*/ 3090863 h 4305300"/>
                  <a:gd name="connsiteX176" fmla="*/ 1724025 w 8601075"/>
                  <a:gd name="connsiteY176" fmla="*/ 3143250 h 4305300"/>
                  <a:gd name="connsiteX177" fmla="*/ 1776413 w 8601075"/>
                  <a:gd name="connsiteY177" fmla="*/ 3169444 h 4305300"/>
                  <a:gd name="connsiteX178" fmla="*/ 1838325 w 8601075"/>
                  <a:gd name="connsiteY178" fmla="*/ 3393282 h 4305300"/>
                  <a:gd name="connsiteX179" fmla="*/ 1828800 w 8601075"/>
                  <a:gd name="connsiteY179" fmla="*/ 3457575 h 4305300"/>
                  <a:gd name="connsiteX180" fmla="*/ 1964531 w 8601075"/>
                  <a:gd name="connsiteY180" fmla="*/ 3624263 h 4305300"/>
                  <a:gd name="connsiteX181" fmla="*/ 1983581 w 8601075"/>
                  <a:gd name="connsiteY181" fmla="*/ 3674269 h 4305300"/>
                  <a:gd name="connsiteX182" fmla="*/ 1957388 w 8601075"/>
                  <a:gd name="connsiteY182" fmla="*/ 3693319 h 4305300"/>
                  <a:gd name="connsiteX183" fmla="*/ 2059781 w 8601075"/>
                  <a:gd name="connsiteY183" fmla="*/ 3702844 h 4305300"/>
                  <a:gd name="connsiteX184" fmla="*/ 2171700 w 8601075"/>
                  <a:gd name="connsiteY184" fmla="*/ 3690938 h 4305300"/>
                  <a:gd name="connsiteX185" fmla="*/ 2450306 w 8601075"/>
                  <a:gd name="connsiteY185" fmla="*/ 3774281 h 4305300"/>
                  <a:gd name="connsiteX186" fmla="*/ 2857500 w 8601075"/>
                  <a:gd name="connsiteY186" fmla="*/ 3855244 h 4305300"/>
                  <a:gd name="connsiteX187" fmla="*/ 3055144 w 8601075"/>
                  <a:gd name="connsiteY187" fmla="*/ 3824287 h 4305300"/>
                  <a:gd name="connsiteX188" fmla="*/ 3100388 w 8601075"/>
                  <a:gd name="connsiteY188" fmla="*/ 3836193 h 4305300"/>
                  <a:gd name="connsiteX189" fmla="*/ 3155156 w 8601075"/>
                  <a:gd name="connsiteY189" fmla="*/ 3812382 h 4305300"/>
                  <a:gd name="connsiteX190" fmla="*/ 3548062 w 8601075"/>
                  <a:gd name="connsiteY190" fmla="*/ 3902869 h 4305300"/>
                  <a:gd name="connsiteX191" fmla="*/ 3631407 w 8601075"/>
                  <a:gd name="connsiteY191" fmla="*/ 4000500 h 4305300"/>
                  <a:gd name="connsiteX192" fmla="*/ 3750469 w 8601075"/>
                  <a:gd name="connsiteY192" fmla="*/ 4071938 h 4305300"/>
                  <a:gd name="connsiteX193" fmla="*/ 3810000 w 8601075"/>
                  <a:gd name="connsiteY193" fmla="*/ 4055269 h 4305300"/>
                  <a:gd name="connsiteX194" fmla="*/ 4160043 w 8601075"/>
                  <a:gd name="connsiteY194" fmla="*/ 4229100 h 4305300"/>
                  <a:gd name="connsiteX195" fmla="*/ 4386263 w 8601075"/>
                  <a:gd name="connsiteY195" fmla="*/ 4200525 h 4305300"/>
                  <a:gd name="connsiteX196" fmla="*/ 4395788 w 8601075"/>
                  <a:gd name="connsiteY196" fmla="*/ 4279106 h 4305300"/>
                  <a:gd name="connsiteX197" fmla="*/ 4481513 w 8601075"/>
                  <a:gd name="connsiteY197" fmla="*/ 4274343 h 4305300"/>
                  <a:gd name="connsiteX198" fmla="*/ 4560094 w 8601075"/>
                  <a:gd name="connsiteY198" fmla="*/ 4305300 h 4305300"/>
                  <a:gd name="connsiteX199" fmla="*/ 4602956 w 8601075"/>
                  <a:gd name="connsiteY199" fmla="*/ 4245769 h 4305300"/>
                  <a:gd name="connsiteX200" fmla="*/ 5274469 w 8601075"/>
                  <a:gd name="connsiteY200" fmla="*/ 3926681 h 4305300"/>
                  <a:gd name="connsiteX201" fmla="*/ 5362575 w 8601075"/>
                  <a:gd name="connsiteY201" fmla="*/ 3955257 h 4305300"/>
                  <a:gd name="connsiteX202" fmla="*/ 5493544 w 8601075"/>
                  <a:gd name="connsiteY202" fmla="*/ 3926681 h 4305300"/>
                  <a:gd name="connsiteX203" fmla="*/ 5672137 w 8601075"/>
                  <a:gd name="connsiteY203" fmla="*/ 3943350 h 4305300"/>
                  <a:gd name="connsiteX204" fmla="*/ 5729288 w 8601075"/>
                  <a:gd name="connsiteY204" fmla="*/ 3917157 h 4305300"/>
                  <a:gd name="connsiteX205" fmla="*/ 5862637 w 8601075"/>
                  <a:gd name="connsiteY205" fmla="*/ 3914775 h 4305300"/>
                  <a:gd name="connsiteX206" fmla="*/ 5995987 w 8601075"/>
                  <a:gd name="connsiteY206" fmla="*/ 3817144 h 4305300"/>
                  <a:gd name="connsiteX207" fmla="*/ 6062662 w 8601075"/>
                  <a:gd name="connsiteY207" fmla="*/ 3810000 h 4305300"/>
                  <a:gd name="connsiteX208" fmla="*/ 6160294 w 8601075"/>
                  <a:gd name="connsiteY208" fmla="*/ 3736181 h 4305300"/>
                  <a:gd name="connsiteX209" fmla="*/ 6234113 w 8601075"/>
                  <a:gd name="connsiteY209" fmla="*/ 3667125 h 4305300"/>
                  <a:gd name="connsiteX210" fmla="*/ 6243638 w 8601075"/>
                  <a:gd name="connsiteY210" fmla="*/ 3605213 h 4305300"/>
                  <a:gd name="connsiteX211" fmla="*/ 6276975 w 8601075"/>
                  <a:gd name="connsiteY211" fmla="*/ 3536156 h 4305300"/>
                  <a:gd name="connsiteX212" fmla="*/ 6429375 w 8601075"/>
                  <a:gd name="connsiteY212" fmla="*/ 3429000 h 4305300"/>
                  <a:gd name="connsiteX213" fmla="*/ 6462713 w 8601075"/>
                  <a:gd name="connsiteY213" fmla="*/ 3433763 h 4305300"/>
                  <a:gd name="connsiteX214" fmla="*/ 6515100 w 8601075"/>
                  <a:gd name="connsiteY214" fmla="*/ 3355181 h 4305300"/>
                  <a:gd name="connsiteX215" fmla="*/ 6562725 w 8601075"/>
                  <a:gd name="connsiteY215" fmla="*/ 3317081 h 4305300"/>
                  <a:gd name="connsiteX216" fmla="*/ 6548438 w 8601075"/>
                  <a:gd name="connsiteY216" fmla="*/ 3248025 h 4305300"/>
                  <a:gd name="connsiteX217" fmla="*/ 6498431 w 8601075"/>
                  <a:gd name="connsiteY217" fmla="*/ 3217068 h 4305300"/>
                  <a:gd name="connsiteX218" fmla="*/ 6438900 w 8601075"/>
                  <a:gd name="connsiteY218" fmla="*/ 3162300 h 4305300"/>
                  <a:gd name="connsiteX219" fmla="*/ 6419850 w 8601075"/>
                  <a:gd name="connsiteY219" fmla="*/ 3105150 h 4305300"/>
                  <a:gd name="connsiteX220" fmla="*/ 6384131 w 8601075"/>
                  <a:gd name="connsiteY220" fmla="*/ 3071813 h 4305300"/>
                  <a:gd name="connsiteX221" fmla="*/ 6410325 w 8601075"/>
                  <a:gd name="connsiteY221" fmla="*/ 3019425 h 4305300"/>
                  <a:gd name="connsiteX222" fmla="*/ 6450806 w 8601075"/>
                  <a:gd name="connsiteY222" fmla="*/ 2840831 h 4305300"/>
                  <a:gd name="connsiteX223" fmla="*/ 6491288 w 8601075"/>
                  <a:gd name="connsiteY223" fmla="*/ 2774156 h 4305300"/>
                  <a:gd name="connsiteX224" fmla="*/ 6636544 w 8601075"/>
                  <a:gd name="connsiteY224" fmla="*/ 2757487 h 4305300"/>
                  <a:gd name="connsiteX225" fmla="*/ 6705600 w 8601075"/>
                  <a:gd name="connsiteY225" fmla="*/ 2814638 h 4305300"/>
                  <a:gd name="connsiteX226" fmla="*/ 6781800 w 8601075"/>
                  <a:gd name="connsiteY226" fmla="*/ 2838450 h 4305300"/>
                  <a:gd name="connsiteX227" fmla="*/ 6986587 w 8601075"/>
                  <a:gd name="connsiteY227" fmla="*/ 2843213 h 4305300"/>
                  <a:gd name="connsiteX228" fmla="*/ 7162800 w 8601075"/>
                  <a:gd name="connsiteY228" fmla="*/ 2705100 h 4305300"/>
                  <a:gd name="connsiteX229" fmla="*/ 7219950 w 8601075"/>
                  <a:gd name="connsiteY229" fmla="*/ 2614612 h 4305300"/>
                  <a:gd name="connsiteX230" fmla="*/ 7246144 w 8601075"/>
                  <a:gd name="connsiteY230" fmla="*/ 2531269 h 4305300"/>
                  <a:gd name="connsiteX231" fmla="*/ 7377112 w 8601075"/>
                  <a:gd name="connsiteY231" fmla="*/ 2531269 h 4305300"/>
                  <a:gd name="connsiteX232" fmla="*/ 7550944 w 8601075"/>
                  <a:gd name="connsiteY232" fmla="*/ 2474118 h 4305300"/>
                  <a:gd name="connsiteX233" fmla="*/ 7610475 w 8601075"/>
                  <a:gd name="connsiteY233" fmla="*/ 2362200 h 4305300"/>
                  <a:gd name="connsiteX234" fmla="*/ 7674769 w 8601075"/>
                  <a:gd name="connsiteY234" fmla="*/ 2326481 h 4305300"/>
                  <a:gd name="connsiteX235" fmla="*/ 7653338 w 8601075"/>
                  <a:gd name="connsiteY235" fmla="*/ 2281238 h 4305300"/>
                  <a:gd name="connsiteX236" fmla="*/ 7731919 w 8601075"/>
                  <a:gd name="connsiteY236" fmla="*/ 2112168 h 4305300"/>
                  <a:gd name="connsiteX237" fmla="*/ 7786688 w 8601075"/>
                  <a:gd name="connsiteY237" fmla="*/ 2052638 h 4305300"/>
                  <a:gd name="connsiteX238" fmla="*/ 7824788 w 8601075"/>
                  <a:gd name="connsiteY238" fmla="*/ 2047875 h 4305300"/>
                  <a:gd name="connsiteX239" fmla="*/ 7870031 w 8601075"/>
                  <a:gd name="connsiteY239" fmla="*/ 2052638 h 4305300"/>
                  <a:gd name="connsiteX240" fmla="*/ 7934325 w 8601075"/>
                  <a:gd name="connsiteY240" fmla="*/ 2019300 h 4305300"/>
                  <a:gd name="connsiteX241" fmla="*/ 7943850 w 8601075"/>
                  <a:gd name="connsiteY241" fmla="*/ 1955006 h 4305300"/>
                  <a:gd name="connsiteX242" fmla="*/ 7984330 w 8601075"/>
                  <a:gd name="connsiteY242" fmla="*/ 1919288 h 4305300"/>
                  <a:gd name="connsiteX243" fmla="*/ 8043863 w 8601075"/>
                  <a:gd name="connsiteY243" fmla="*/ 1959768 h 4305300"/>
                  <a:gd name="connsiteX244" fmla="*/ 8070057 w 8601075"/>
                  <a:gd name="connsiteY244" fmla="*/ 1909762 h 4305300"/>
                  <a:gd name="connsiteX245" fmla="*/ 8165306 w 8601075"/>
                  <a:gd name="connsiteY245" fmla="*/ 1840706 h 4305300"/>
                  <a:gd name="connsiteX246" fmla="*/ 8227219 w 8601075"/>
                  <a:gd name="connsiteY246" fmla="*/ 1847850 h 4305300"/>
                  <a:gd name="connsiteX247" fmla="*/ 8277225 w 8601075"/>
                  <a:gd name="connsiteY247" fmla="*/ 1828800 h 4305300"/>
                  <a:gd name="connsiteX248" fmla="*/ 8315325 w 8601075"/>
                  <a:gd name="connsiteY248" fmla="*/ 1800225 h 4305300"/>
                  <a:gd name="connsiteX249" fmla="*/ 8348663 w 8601075"/>
                  <a:gd name="connsiteY249" fmla="*/ 1797844 h 4305300"/>
                  <a:gd name="connsiteX250" fmla="*/ 8384381 w 8601075"/>
                  <a:gd name="connsiteY250" fmla="*/ 1828800 h 4305300"/>
                  <a:gd name="connsiteX251" fmla="*/ 8443913 w 8601075"/>
                  <a:gd name="connsiteY251" fmla="*/ 1828800 h 4305300"/>
                  <a:gd name="connsiteX252" fmla="*/ 8482012 w 8601075"/>
                  <a:gd name="connsiteY252" fmla="*/ 1809750 h 4305300"/>
                  <a:gd name="connsiteX253" fmla="*/ 8565356 w 8601075"/>
                  <a:gd name="connsiteY253" fmla="*/ 1812132 h 4305300"/>
                  <a:gd name="connsiteX254" fmla="*/ 8596313 w 8601075"/>
                  <a:gd name="connsiteY254" fmla="*/ 1766888 h 4305300"/>
                  <a:gd name="connsiteX255" fmla="*/ 8601075 w 8601075"/>
                  <a:gd name="connsiteY255" fmla="*/ 1704975 h 4305300"/>
                  <a:gd name="connsiteX256" fmla="*/ 8551068 w 8601075"/>
                  <a:gd name="connsiteY256" fmla="*/ 1664494 h 4305300"/>
                  <a:gd name="connsiteX257" fmla="*/ 8534400 w 8601075"/>
                  <a:gd name="connsiteY257" fmla="*/ 1609725 h 4305300"/>
                  <a:gd name="connsiteX258" fmla="*/ 8443913 w 8601075"/>
                  <a:gd name="connsiteY258" fmla="*/ 1547813 h 4305300"/>
                  <a:gd name="connsiteX259" fmla="*/ 8403431 w 8601075"/>
                  <a:gd name="connsiteY259" fmla="*/ 1526381 h 4305300"/>
                  <a:gd name="connsiteX260" fmla="*/ 8365331 w 8601075"/>
                  <a:gd name="connsiteY260" fmla="*/ 1481138 h 4305300"/>
                  <a:gd name="connsiteX261" fmla="*/ 8334375 w 8601075"/>
                  <a:gd name="connsiteY261" fmla="*/ 1478756 h 4305300"/>
                  <a:gd name="connsiteX262" fmla="*/ 8317706 w 8601075"/>
                  <a:gd name="connsiteY262" fmla="*/ 1426369 h 4305300"/>
                  <a:gd name="connsiteX263" fmla="*/ 8277225 w 8601075"/>
                  <a:gd name="connsiteY263" fmla="*/ 1409700 h 4305300"/>
                  <a:gd name="connsiteX264" fmla="*/ 8277225 w 8601075"/>
                  <a:gd name="connsiteY264" fmla="*/ 1409700 h 4305300"/>
                  <a:gd name="connsiteX265" fmla="*/ 8236744 w 8601075"/>
                  <a:gd name="connsiteY265" fmla="*/ 1414463 h 4305300"/>
                  <a:gd name="connsiteX266" fmla="*/ 8151018 w 8601075"/>
                  <a:gd name="connsiteY266" fmla="*/ 1340644 h 4305300"/>
                  <a:gd name="connsiteX267" fmla="*/ 7970044 w 8601075"/>
                  <a:gd name="connsiteY267" fmla="*/ 1340643 h 4305300"/>
                  <a:gd name="connsiteX268" fmla="*/ 7917656 w 8601075"/>
                  <a:gd name="connsiteY268" fmla="*/ 1378744 h 4305300"/>
                  <a:gd name="connsiteX269" fmla="*/ 7867650 w 8601075"/>
                  <a:gd name="connsiteY269" fmla="*/ 1457325 h 4305300"/>
                  <a:gd name="connsiteX270" fmla="*/ 7884319 w 8601075"/>
                  <a:gd name="connsiteY270" fmla="*/ 1478756 h 4305300"/>
                  <a:gd name="connsiteX271" fmla="*/ 7839075 w 8601075"/>
                  <a:gd name="connsiteY271" fmla="*/ 1528762 h 4305300"/>
                  <a:gd name="connsiteX272" fmla="*/ 7689056 w 8601075"/>
                  <a:gd name="connsiteY272" fmla="*/ 1452562 h 4305300"/>
                  <a:gd name="connsiteX273" fmla="*/ 7598569 w 8601075"/>
                  <a:gd name="connsiteY273" fmla="*/ 1488281 h 4305300"/>
                  <a:gd name="connsiteX274" fmla="*/ 7524750 w 8601075"/>
                  <a:gd name="connsiteY274" fmla="*/ 1485900 h 4305300"/>
                  <a:gd name="connsiteX275" fmla="*/ 7467600 w 8601075"/>
                  <a:gd name="connsiteY275" fmla="*/ 1581150 h 4305300"/>
                  <a:gd name="connsiteX276" fmla="*/ 7329488 w 8601075"/>
                  <a:gd name="connsiteY276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631781 w 8601075"/>
                  <a:gd name="connsiteY14" fmla="*/ 826294 h 4305300"/>
                  <a:gd name="connsiteX15" fmla="*/ 6600825 w 8601075"/>
                  <a:gd name="connsiteY15" fmla="*/ 904875 h 4305300"/>
                  <a:gd name="connsiteX16" fmla="*/ 6600825 w 8601075"/>
                  <a:gd name="connsiteY16" fmla="*/ 904875 h 4305300"/>
                  <a:gd name="connsiteX17" fmla="*/ 6534150 w 8601075"/>
                  <a:gd name="connsiteY17" fmla="*/ 942975 h 4305300"/>
                  <a:gd name="connsiteX18" fmla="*/ 6534150 w 8601075"/>
                  <a:gd name="connsiteY18" fmla="*/ 942975 h 4305300"/>
                  <a:gd name="connsiteX19" fmla="*/ 6362700 w 8601075"/>
                  <a:gd name="connsiteY19" fmla="*/ 1009650 h 4305300"/>
                  <a:gd name="connsiteX20" fmla="*/ 6238875 w 8601075"/>
                  <a:gd name="connsiteY20" fmla="*/ 1057275 h 4305300"/>
                  <a:gd name="connsiteX21" fmla="*/ 6115050 w 8601075"/>
                  <a:gd name="connsiteY21" fmla="*/ 1114425 h 4305300"/>
                  <a:gd name="connsiteX22" fmla="*/ 5962650 w 8601075"/>
                  <a:gd name="connsiteY22" fmla="*/ 1190625 h 4305300"/>
                  <a:gd name="connsiteX23" fmla="*/ 5895975 w 8601075"/>
                  <a:gd name="connsiteY23" fmla="*/ 1143000 h 4305300"/>
                  <a:gd name="connsiteX24" fmla="*/ 5895975 w 8601075"/>
                  <a:gd name="connsiteY24" fmla="*/ 1143000 h 4305300"/>
                  <a:gd name="connsiteX25" fmla="*/ 5676900 w 8601075"/>
                  <a:gd name="connsiteY25" fmla="*/ 1181100 h 4305300"/>
                  <a:gd name="connsiteX26" fmla="*/ 5600700 w 8601075"/>
                  <a:gd name="connsiteY26" fmla="*/ 1114425 h 4305300"/>
                  <a:gd name="connsiteX27" fmla="*/ 5391150 w 8601075"/>
                  <a:gd name="connsiteY27" fmla="*/ 1123950 h 4305300"/>
                  <a:gd name="connsiteX28" fmla="*/ 5334000 w 8601075"/>
                  <a:gd name="connsiteY28" fmla="*/ 1066800 h 4305300"/>
                  <a:gd name="connsiteX29" fmla="*/ 5248275 w 8601075"/>
                  <a:gd name="connsiteY29" fmla="*/ 981075 h 4305300"/>
                  <a:gd name="connsiteX30" fmla="*/ 5238750 w 8601075"/>
                  <a:gd name="connsiteY30" fmla="*/ 895350 h 4305300"/>
                  <a:gd name="connsiteX31" fmla="*/ 5133975 w 8601075"/>
                  <a:gd name="connsiteY31" fmla="*/ 895350 h 4305300"/>
                  <a:gd name="connsiteX32" fmla="*/ 4991100 w 8601075"/>
                  <a:gd name="connsiteY32" fmla="*/ 838200 h 4305300"/>
                  <a:gd name="connsiteX33" fmla="*/ 4905375 w 8601075"/>
                  <a:gd name="connsiteY33" fmla="*/ 771525 h 4305300"/>
                  <a:gd name="connsiteX34" fmla="*/ 4905375 w 8601075"/>
                  <a:gd name="connsiteY34" fmla="*/ 771525 h 4305300"/>
                  <a:gd name="connsiteX35" fmla="*/ 4781550 w 8601075"/>
                  <a:gd name="connsiteY35" fmla="*/ 762000 h 4305300"/>
                  <a:gd name="connsiteX36" fmla="*/ 4648200 w 8601075"/>
                  <a:gd name="connsiteY36" fmla="*/ 714375 h 4305300"/>
                  <a:gd name="connsiteX37" fmla="*/ 4581525 w 8601075"/>
                  <a:gd name="connsiteY37" fmla="*/ 695325 h 4305300"/>
                  <a:gd name="connsiteX38" fmla="*/ 4495800 w 8601075"/>
                  <a:gd name="connsiteY38" fmla="*/ 742950 h 4305300"/>
                  <a:gd name="connsiteX39" fmla="*/ 4343400 w 8601075"/>
                  <a:gd name="connsiteY39" fmla="*/ 781050 h 4305300"/>
                  <a:gd name="connsiteX40" fmla="*/ 4252913 w 8601075"/>
                  <a:gd name="connsiteY40" fmla="*/ 862013 h 4305300"/>
                  <a:gd name="connsiteX41" fmla="*/ 4205287 w 8601075"/>
                  <a:gd name="connsiteY41" fmla="*/ 823913 h 4305300"/>
                  <a:gd name="connsiteX42" fmla="*/ 4183856 w 8601075"/>
                  <a:gd name="connsiteY42" fmla="*/ 854868 h 4305300"/>
                  <a:gd name="connsiteX43" fmla="*/ 4110038 w 8601075"/>
                  <a:gd name="connsiteY43" fmla="*/ 804863 h 4305300"/>
                  <a:gd name="connsiteX44" fmla="*/ 4071938 w 8601075"/>
                  <a:gd name="connsiteY44" fmla="*/ 812006 h 4305300"/>
                  <a:gd name="connsiteX45" fmla="*/ 4050506 w 8601075"/>
                  <a:gd name="connsiteY45" fmla="*/ 773906 h 4305300"/>
                  <a:gd name="connsiteX46" fmla="*/ 3990975 w 8601075"/>
                  <a:gd name="connsiteY46" fmla="*/ 778669 h 4305300"/>
                  <a:gd name="connsiteX47" fmla="*/ 3945731 w 8601075"/>
                  <a:gd name="connsiteY47" fmla="*/ 750094 h 4305300"/>
                  <a:gd name="connsiteX48" fmla="*/ 3907631 w 8601075"/>
                  <a:gd name="connsiteY48" fmla="*/ 747713 h 4305300"/>
                  <a:gd name="connsiteX49" fmla="*/ 3888581 w 8601075"/>
                  <a:gd name="connsiteY49" fmla="*/ 700087 h 4305300"/>
                  <a:gd name="connsiteX50" fmla="*/ 3874294 w 8601075"/>
                  <a:gd name="connsiteY50" fmla="*/ 669131 h 4305300"/>
                  <a:gd name="connsiteX51" fmla="*/ 3829050 w 8601075"/>
                  <a:gd name="connsiteY51" fmla="*/ 678656 h 4305300"/>
                  <a:gd name="connsiteX52" fmla="*/ 3810000 w 8601075"/>
                  <a:gd name="connsiteY52" fmla="*/ 642938 h 4305300"/>
                  <a:gd name="connsiteX53" fmla="*/ 3831432 w 8601075"/>
                  <a:gd name="connsiteY53" fmla="*/ 588169 h 4305300"/>
                  <a:gd name="connsiteX54" fmla="*/ 3800475 w 8601075"/>
                  <a:gd name="connsiteY54" fmla="*/ 561975 h 4305300"/>
                  <a:gd name="connsiteX55" fmla="*/ 3817144 w 8601075"/>
                  <a:gd name="connsiteY55" fmla="*/ 519113 h 4305300"/>
                  <a:gd name="connsiteX56" fmla="*/ 3790950 w 8601075"/>
                  <a:gd name="connsiteY56" fmla="*/ 476250 h 4305300"/>
                  <a:gd name="connsiteX57" fmla="*/ 3786188 w 8601075"/>
                  <a:gd name="connsiteY57" fmla="*/ 414338 h 4305300"/>
                  <a:gd name="connsiteX58" fmla="*/ 3810000 w 8601075"/>
                  <a:gd name="connsiteY58" fmla="*/ 350043 h 4305300"/>
                  <a:gd name="connsiteX59" fmla="*/ 3771900 w 8601075"/>
                  <a:gd name="connsiteY59" fmla="*/ 352425 h 4305300"/>
                  <a:gd name="connsiteX60" fmla="*/ 3652838 w 8601075"/>
                  <a:gd name="connsiteY60" fmla="*/ 295275 h 4305300"/>
                  <a:gd name="connsiteX61" fmla="*/ 3614737 w 8601075"/>
                  <a:gd name="connsiteY61" fmla="*/ 300037 h 4305300"/>
                  <a:gd name="connsiteX62" fmla="*/ 3409950 w 8601075"/>
                  <a:gd name="connsiteY62" fmla="*/ 190500 h 4305300"/>
                  <a:gd name="connsiteX63" fmla="*/ 3305175 w 8601075"/>
                  <a:gd name="connsiteY63" fmla="*/ 159544 h 4305300"/>
                  <a:gd name="connsiteX64" fmla="*/ 3240881 w 8601075"/>
                  <a:gd name="connsiteY64" fmla="*/ 169068 h 4305300"/>
                  <a:gd name="connsiteX65" fmla="*/ 3209925 w 8601075"/>
                  <a:gd name="connsiteY65" fmla="*/ 104775 h 4305300"/>
                  <a:gd name="connsiteX66" fmla="*/ 3152775 w 8601075"/>
                  <a:gd name="connsiteY66" fmla="*/ 104775 h 4305300"/>
                  <a:gd name="connsiteX67" fmla="*/ 3014662 w 8601075"/>
                  <a:gd name="connsiteY67" fmla="*/ 0 h 4305300"/>
                  <a:gd name="connsiteX68" fmla="*/ 2981325 w 8601075"/>
                  <a:gd name="connsiteY68" fmla="*/ 59532 h 4305300"/>
                  <a:gd name="connsiteX69" fmla="*/ 2926556 w 8601075"/>
                  <a:gd name="connsiteY69" fmla="*/ 128588 h 4305300"/>
                  <a:gd name="connsiteX70" fmla="*/ 2883694 w 8601075"/>
                  <a:gd name="connsiteY70" fmla="*/ 145256 h 4305300"/>
                  <a:gd name="connsiteX71" fmla="*/ 2852738 w 8601075"/>
                  <a:gd name="connsiteY71" fmla="*/ 138113 h 4305300"/>
                  <a:gd name="connsiteX72" fmla="*/ 2828925 w 8601075"/>
                  <a:gd name="connsiteY72" fmla="*/ 166688 h 4305300"/>
                  <a:gd name="connsiteX73" fmla="*/ 2802731 w 8601075"/>
                  <a:gd name="connsiteY73" fmla="*/ 245269 h 4305300"/>
                  <a:gd name="connsiteX74" fmla="*/ 2759869 w 8601075"/>
                  <a:gd name="connsiteY74" fmla="*/ 242888 h 4305300"/>
                  <a:gd name="connsiteX75" fmla="*/ 2728912 w 8601075"/>
                  <a:gd name="connsiteY75" fmla="*/ 304800 h 4305300"/>
                  <a:gd name="connsiteX76" fmla="*/ 2724150 w 8601075"/>
                  <a:gd name="connsiteY76" fmla="*/ 369094 h 4305300"/>
                  <a:gd name="connsiteX77" fmla="*/ 2697957 w 8601075"/>
                  <a:gd name="connsiteY77" fmla="*/ 407194 h 4305300"/>
                  <a:gd name="connsiteX78" fmla="*/ 2724150 w 8601075"/>
                  <a:gd name="connsiteY78" fmla="*/ 466725 h 4305300"/>
                  <a:gd name="connsiteX79" fmla="*/ 2726531 w 8601075"/>
                  <a:gd name="connsiteY79" fmla="*/ 535781 h 4305300"/>
                  <a:gd name="connsiteX80" fmla="*/ 2755106 w 8601075"/>
                  <a:gd name="connsiteY80" fmla="*/ 588169 h 4305300"/>
                  <a:gd name="connsiteX81" fmla="*/ 2802732 w 8601075"/>
                  <a:gd name="connsiteY81" fmla="*/ 642938 h 4305300"/>
                  <a:gd name="connsiteX82" fmla="*/ 2752725 w 8601075"/>
                  <a:gd name="connsiteY82" fmla="*/ 781050 h 4305300"/>
                  <a:gd name="connsiteX83" fmla="*/ 2683669 w 8601075"/>
                  <a:gd name="connsiteY83" fmla="*/ 847725 h 4305300"/>
                  <a:gd name="connsiteX84" fmla="*/ 2612231 w 8601075"/>
                  <a:gd name="connsiteY84" fmla="*/ 842963 h 4305300"/>
                  <a:gd name="connsiteX85" fmla="*/ 2574131 w 8601075"/>
                  <a:gd name="connsiteY85" fmla="*/ 900113 h 4305300"/>
                  <a:gd name="connsiteX86" fmla="*/ 2514600 w 8601075"/>
                  <a:gd name="connsiteY86" fmla="*/ 914400 h 4305300"/>
                  <a:gd name="connsiteX87" fmla="*/ 2445544 w 8601075"/>
                  <a:gd name="connsiteY87" fmla="*/ 854869 h 4305300"/>
                  <a:gd name="connsiteX88" fmla="*/ 2390775 w 8601075"/>
                  <a:gd name="connsiteY88" fmla="*/ 826294 h 4305300"/>
                  <a:gd name="connsiteX89" fmla="*/ 2347913 w 8601075"/>
                  <a:gd name="connsiteY89" fmla="*/ 840581 h 4305300"/>
                  <a:gd name="connsiteX90" fmla="*/ 2295525 w 8601075"/>
                  <a:gd name="connsiteY90" fmla="*/ 823913 h 4305300"/>
                  <a:gd name="connsiteX91" fmla="*/ 2228850 w 8601075"/>
                  <a:gd name="connsiteY91" fmla="*/ 769144 h 4305300"/>
                  <a:gd name="connsiteX92" fmla="*/ 2183606 w 8601075"/>
                  <a:gd name="connsiteY92" fmla="*/ 781050 h 4305300"/>
                  <a:gd name="connsiteX93" fmla="*/ 2162175 w 8601075"/>
                  <a:gd name="connsiteY93" fmla="*/ 750094 h 4305300"/>
                  <a:gd name="connsiteX94" fmla="*/ 2105025 w 8601075"/>
                  <a:gd name="connsiteY94" fmla="*/ 790575 h 4305300"/>
                  <a:gd name="connsiteX95" fmla="*/ 1988344 w 8601075"/>
                  <a:gd name="connsiteY95" fmla="*/ 769144 h 4305300"/>
                  <a:gd name="connsiteX96" fmla="*/ 1938338 w 8601075"/>
                  <a:gd name="connsiteY96" fmla="*/ 716756 h 4305300"/>
                  <a:gd name="connsiteX97" fmla="*/ 1895475 w 8601075"/>
                  <a:gd name="connsiteY97" fmla="*/ 702469 h 4305300"/>
                  <a:gd name="connsiteX98" fmla="*/ 1852613 w 8601075"/>
                  <a:gd name="connsiteY98" fmla="*/ 728663 h 4305300"/>
                  <a:gd name="connsiteX99" fmla="*/ 1800225 w 8601075"/>
                  <a:gd name="connsiteY99" fmla="*/ 638175 h 4305300"/>
                  <a:gd name="connsiteX100" fmla="*/ 1790700 w 8601075"/>
                  <a:gd name="connsiteY100" fmla="*/ 490537 h 4305300"/>
                  <a:gd name="connsiteX101" fmla="*/ 1738312 w 8601075"/>
                  <a:gd name="connsiteY101" fmla="*/ 483393 h 4305300"/>
                  <a:gd name="connsiteX102" fmla="*/ 1647825 w 8601075"/>
                  <a:gd name="connsiteY102" fmla="*/ 473869 h 4305300"/>
                  <a:gd name="connsiteX103" fmla="*/ 1593056 w 8601075"/>
                  <a:gd name="connsiteY103" fmla="*/ 435769 h 4305300"/>
                  <a:gd name="connsiteX104" fmla="*/ 1524000 w 8601075"/>
                  <a:gd name="connsiteY104" fmla="*/ 445294 h 4305300"/>
                  <a:gd name="connsiteX105" fmla="*/ 1478756 w 8601075"/>
                  <a:gd name="connsiteY105" fmla="*/ 419100 h 4305300"/>
                  <a:gd name="connsiteX106" fmla="*/ 1469232 w 8601075"/>
                  <a:gd name="connsiteY106" fmla="*/ 347663 h 4305300"/>
                  <a:gd name="connsiteX107" fmla="*/ 1445419 w 8601075"/>
                  <a:gd name="connsiteY107" fmla="*/ 333375 h 4305300"/>
                  <a:gd name="connsiteX108" fmla="*/ 1407319 w 8601075"/>
                  <a:gd name="connsiteY108" fmla="*/ 380999 h 4305300"/>
                  <a:gd name="connsiteX109" fmla="*/ 1328737 w 8601075"/>
                  <a:gd name="connsiteY109" fmla="*/ 307181 h 4305300"/>
                  <a:gd name="connsiteX110" fmla="*/ 1288256 w 8601075"/>
                  <a:gd name="connsiteY110" fmla="*/ 347663 h 4305300"/>
                  <a:gd name="connsiteX111" fmla="*/ 1212056 w 8601075"/>
                  <a:gd name="connsiteY111" fmla="*/ 333375 h 4305300"/>
                  <a:gd name="connsiteX112" fmla="*/ 1133475 w 8601075"/>
                  <a:gd name="connsiteY112" fmla="*/ 359569 h 4305300"/>
                  <a:gd name="connsiteX113" fmla="*/ 1073944 w 8601075"/>
                  <a:gd name="connsiteY113" fmla="*/ 407193 h 4305300"/>
                  <a:gd name="connsiteX114" fmla="*/ 1000125 w 8601075"/>
                  <a:gd name="connsiteY114" fmla="*/ 419100 h 4305300"/>
                  <a:gd name="connsiteX115" fmla="*/ 964406 w 8601075"/>
                  <a:gd name="connsiteY115" fmla="*/ 411956 h 4305300"/>
                  <a:gd name="connsiteX116" fmla="*/ 885826 w 8601075"/>
                  <a:gd name="connsiteY116" fmla="*/ 442913 h 4305300"/>
                  <a:gd name="connsiteX117" fmla="*/ 864394 w 8601075"/>
                  <a:gd name="connsiteY117" fmla="*/ 471488 h 4305300"/>
                  <a:gd name="connsiteX118" fmla="*/ 797719 w 8601075"/>
                  <a:gd name="connsiteY118" fmla="*/ 461963 h 4305300"/>
                  <a:gd name="connsiteX119" fmla="*/ 728663 w 8601075"/>
                  <a:gd name="connsiteY119" fmla="*/ 485775 h 4305300"/>
                  <a:gd name="connsiteX120" fmla="*/ 673894 w 8601075"/>
                  <a:gd name="connsiteY120" fmla="*/ 523875 h 4305300"/>
                  <a:gd name="connsiteX121" fmla="*/ 578644 w 8601075"/>
                  <a:gd name="connsiteY121" fmla="*/ 538162 h 4305300"/>
                  <a:gd name="connsiteX122" fmla="*/ 564356 w 8601075"/>
                  <a:gd name="connsiteY122" fmla="*/ 559594 h 4305300"/>
                  <a:gd name="connsiteX123" fmla="*/ 576262 w 8601075"/>
                  <a:gd name="connsiteY123" fmla="*/ 604838 h 4305300"/>
                  <a:gd name="connsiteX124" fmla="*/ 476251 w 8601075"/>
                  <a:gd name="connsiteY124" fmla="*/ 657225 h 4305300"/>
                  <a:gd name="connsiteX125" fmla="*/ 438150 w 8601075"/>
                  <a:gd name="connsiteY125" fmla="*/ 628649 h 4305300"/>
                  <a:gd name="connsiteX126" fmla="*/ 407194 w 8601075"/>
                  <a:gd name="connsiteY126" fmla="*/ 685800 h 4305300"/>
                  <a:gd name="connsiteX127" fmla="*/ 350044 w 8601075"/>
                  <a:gd name="connsiteY127" fmla="*/ 647700 h 4305300"/>
                  <a:gd name="connsiteX128" fmla="*/ 314325 w 8601075"/>
                  <a:gd name="connsiteY128" fmla="*/ 676275 h 4305300"/>
                  <a:gd name="connsiteX129" fmla="*/ 278606 w 8601075"/>
                  <a:gd name="connsiteY129" fmla="*/ 640556 h 4305300"/>
                  <a:gd name="connsiteX130" fmla="*/ 226219 w 8601075"/>
                  <a:gd name="connsiteY130" fmla="*/ 652463 h 4305300"/>
                  <a:gd name="connsiteX131" fmla="*/ 180975 w 8601075"/>
                  <a:gd name="connsiteY131" fmla="*/ 623888 h 4305300"/>
                  <a:gd name="connsiteX132" fmla="*/ 157163 w 8601075"/>
                  <a:gd name="connsiteY132" fmla="*/ 642938 h 4305300"/>
                  <a:gd name="connsiteX133" fmla="*/ 133350 w 8601075"/>
                  <a:gd name="connsiteY133" fmla="*/ 702469 h 4305300"/>
                  <a:gd name="connsiteX134" fmla="*/ 61913 w 8601075"/>
                  <a:gd name="connsiteY134" fmla="*/ 740568 h 4305300"/>
                  <a:gd name="connsiteX135" fmla="*/ 28575 w 8601075"/>
                  <a:gd name="connsiteY135" fmla="*/ 769144 h 4305300"/>
                  <a:gd name="connsiteX136" fmla="*/ 33338 w 8601075"/>
                  <a:gd name="connsiteY136" fmla="*/ 812006 h 4305300"/>
                  <a:gd name="connsiteX137" fmla="*/ 0 w 8601075"/>
                  <a:gd name="connsiteY137" fmla="*/ 816769 h 4305300"/>
                  <a:gd name="connsiteX138" fmla="*/ 4763 w 8601075"/>
                  <a:gd name="connsiteY138" fmla="*/ 840581 h 4305300"/>
                  <a:gd name="connsiteX139" fmla="*/ 61912 w 8601075"/>
                  <a:gd name="connsiteY139" fmla="*/ 914400 h 4305300"/>
                  <a:gd name="connsiteX140" fmla="*/ 23813 w 8601075"/>
                  <a:gd name="connsiteY140" fmla="*/ 962025 h 4305300"/>
                  <a:gd name="connsiteX141" fmla="*/ 78581 w 8601075"/>
                  <a:gd name="connsiteY141" fmla="*/ 997744 h 4305300"/>
                  <a:gd name="connsiteX142" fmla="*/ 169069 w 8601075"/>
                  <a:gd name="connsiteY142" fmla="*/ 1085850 h 4305300"/>
                  <a:gd name="connsiteX143" fmla="*/ 171450 w 8601075"/>
                  <a:gd name="connsiteY143" fmla="*/ 1145381 h 4305300"/>
                  <a:gd name="connsiteX144" fmla="*/ 307181 w 8601075"/>
                  <a:gd name="connsiteY144" fmla="*/ 1278732 h 4305300"/>
                  <a:gd name="connsiteX145" fmla="*/ 361950 w 8601075"/>
                  <a:gd name="connsiteY145" fmla="*/ 1254919 h 4305300"/>
                  <a:gd name="connsiteX146" fmla="*/ 400050 w 8601075"/>
                  <a:gd name="connsiteY146" fmla="*/ 1281112 h 4305300"/>
                  <a:gd name="connsiteX147" fmla="*/ 414338 w 8601075"/>
                  <a:gd name="connsiteY147" fmla="*/ 1331118 h 4305300"/>
                  <a:gd name="connsiteX148" fmla="*/ 457200 w 8601075"/>
                  <a:gd name="connsiteY148" fmla="*/ 1366838 h 4305300"/>
                  <a:gd name="connsiteX149" fmla="*/ 497681 w 8601075"/>
                  <a:gd name="connsiteY149" fmla="*/ 1354931 h 4305300"/>
                  <a:gd name="connsiteX150" fmla="*/ 516731 w 8601075"/>
                  <a:gd name="connsiteY150" fmla="*/ 1412081 h 4305300"/>
                  <a:gd name="connsiteX151" fmla="*/ 564356 w 8601075"/>
                  <a:gd name="connsiteY151" fmla="*/ 1454944 h 4305300"/>
                  <a:gd name="connsiteX152" fmla="*/ 588169 w 8601075"/>
                  <a:gd name="connsiteY152" fmla="*/ 1557338 h 4305300"/>
                  <a:gd name="connsiteX153" fmla="*/ 585788 w 8601075"/>
                  <a:gd name="connsiteY153" fmla="*/ 1604963 h 4305300"/>
                  <a:gd name="connsiteX154" fmla="*/ 621506 w 8601075"/>
                  <a:gd name="connsiteY154" fmla="*/ 1704975 h 4305300"/>
                  <a:gd name="connsiteX155" fmla="*/ 666750 w 8601075"/>
                  <a:gd name="connsiteY155" fmla="*/ 1762125 h 4305300"/>
                  <a:gd name="connsiteX156" fmla="*/ 683418 w 8601075"/>
                  <a:gd name="connsiteY156" fmla="*/ 1919287 h 4305300"/>
                  <a:gd name="connsiteX157" fmla="*/ 650081 w 8601075"/>
                  <a:gd name="connsiteY157" fmla="*/ 1981200 h 4305300"/>
                  <a:gd name="connsiteX158" fmla="*/ 619125 w 8601075"/>
                  <a:gd name="connsiteY158" fmla="*/ 2057400 h 4305300"/>
                  <a:gd name="connsiteX159" fmla="*/ 633413 w 8601075"/>
                  <a:gd name="connsiteY159" fmla="*/ 2114550 h 4305300"/>
                  <a:gd name="connsiteX160" fmla="*/ 535781 w 8601075"/>
                  <a:gd name="connsiteY160" fmla="*/ 2221707 h 4305300"/>
                  <a:gd name="connsiteX161" fmla="*/ 492919 w 8601075"/>
                  <a:gd name="connsiteY161" fmla="*/ 2336006 h 4305300"/>
                  <a:gd name="connsiteX162" fmla="*/ 526256 w 8601075"/>
                  <a:gd name="connsiteY162" fmla="*/ 2376488 h 4305300"/>
                  <a:gd name="connsiteX163" fmla="*/ 509588 w 8601075"/>
                  <a:gd name="connsiteY163" fmla="*/ 2405063 h 4305300"/>
                  <a:gd name="connsiteX164" fmla="*/ 540544 w 8601075"/>
                  <a:gd name="connsiteY164" fmla="*/ 2462213 h 4305300"/>
                  <a:gd name="connsiteX165" fmla="*/ 569119 w 8601075"/>
                  <a:gd name="connsiteY165" fmla="*/ 2462213 h 4305300"/>
                  <a:gd name="connsiteX166" fmla="*/ 731044 w 8601075"/>
                  <a:gd name="connsiteY166" fmla="*/ 2564606 h 4305300"/>
                  <a:gd name="connsiteX167" fmla="*/ 835819 w 8601075"/>
                  <a:gd name="connsiteY167" fmla="*/ 2562225 h 4305300"/>
                  <a:gd name="connsiteX168" fmla="*/ 914400 w 8601075"/>
                  <a:gd name="connsiteY168" fmla="*/ 2616994 h 4305300"/>
                  <a:gd name="connsiteX169" fmla="*/ 1045368 w 8601075"/>
                  <a:gd name="connsiteY169" fmla="*/ 2619375 h 4305300"/>
                  <a:gd name="connsiteX170" fmla="*/ 1235868 w 8601075"/>
                  <a:gd name="connsiteY170" fmla="*/ 2688431 h 4305300"/>
                  <a:gd name="connsiteX171" fmla="*/ 1438275 w 8601075"/>
                  <a:gd name="connsiteY171" fmla="*/ 2838450 h 4305300"/>
                  <a:gd name="connsiteX172" fmla="*/ 1471612 w 8601075"/>
                  <a:gd name="connsiteY172" fmla="*/ 2905125 h 4305300"/>
                  <a:gd name="connsiteX173" fmla="*/ 1638300 w 8601075"/>
                  <a:gd name="connsiteY173" fmla="*/ 3031331 h 4305300"/>
                  <a:gd name="connsiteX174" fmla="*/ 1709738 w 8601075"/>
                  <a:gd name="connsiteY174" fmla="*/ 3026569 h 4305300"/>
                  <a:gd name="connsiteX175" fmla="*/ 1745457 w 8601075"/>
                  <a:gd name="connsiteY175" fmla="*/ 3050381 h 4305300"/>
                  <a:gd name="connsiteX176" fmla="*/ 1716881 w 8601075"/>
                  <a:gd name="connsiteY176" fmla="*/ 3090863 h 4305300"/>
                  <a:gd name="connsiteX177" fmla="*/ 1724025 w 8601075"/>
                  <a:gd name="connsiteY177" fmla="*/ 3143250 h 4305300"/>
                  <a:gd name="connsiteX178" fmla="*/ 1776413 w 8601075"/>
                  <a:gd name="connsiteY178" fmla="*/ 3169444 h 4305300"/>
                  <a:gd name="connsiteX179" fmla="*/ 1838325 w 8601075"/>
                  <a:gd name="connsiteY179" fmla="*/ 3393282 h 4305300"/>
                  <a:gd name="connsiteX180" fmla="*/ 1828800 w 8601075"/>
                  <a:gd name="connsiteY180" fmla="*/ 3457575 h 4305300"/>
                  <a:gd name="connsiteX181" fmla="*/ 1964531 w 8601075"/>
                  <a:gd name="connsiteY181" fmla="*/ 3624263 h 4305300"/>
                  <a:gd name="connsiteX182" fmla="*/ 1983581 w 8601075"/>
                  <a:gd name="connsiteY182" fmla="*/ 3674269 h 4305300"/>
                  <a:gd name="connsiteX183" fmla="*/ 1957388 w 8601075"/>
                  <a:gd name="connsiteY183" fmla="*/ 3693319 h 4305300"/>
                  <a:gd name="connsiteX184" fmla="*/ 2059781 w 8601075"/>
                  <a:gd name="connsiteY184" fmla="*/ 3702844 h 4305300"/>
                  <a:gd name="connsiteX185" fmla="*/ 2171700 w 8601075"/>
                  <a:gd name="connsiteY185" fmla="*/ 3690938 h 4305300"/>
                  <a:gd name="connsiteX186" fmla="*/ 2450306 w 8601075"/>
                  <a:gd name="connsiteY186" fmla="*/ 3774281 h 4305300"/>
                  <a:gd name="connsiteX187" fmla="*/ 2857500 w 8601075"/>
                  <a:gd name="connsiteY187" fmla="*/ 3855244 h 4305300"/>
                  <a:gd name="connsiteX188" fmla="*/ 3055144 w 8601075"/>
                  <a:gd name="connsiteY188" fmla="*/ 3824287 h 4305300"/>
                  <a:gd name="connsiteX189" fmla="*/ 3100388 w 8601075"/>
                  <a:gd name="connsiteY189" fmla="*/ 3836193 h 4305300"/>
                  <a:gd name="connsiteX190" fmla="*/ 3155156 w 8601075"/>
                  <a:gd name="connsiteY190" fmla="*/ 3812382 h 4305300"/>
                  <a:gd name="connsiteX191" fmla="*/ 3548062 w 8601075"/>
                  <a:gd name="connsiteY191" fmla="*/ 3902869 h 4305300"/>
                  <a:gd name="connsiteX192" fmla="*/ 3631407 w 8601075"/>
                  <a:gd name="connsiteY192" fmla="*/ 4000500 h 4305300"/>
                  <a:gd name="connsiteX193" fmla="*/ 3750469 w 8601075"/>
                  <a:gd name="connsiteY193" fmla="*/ 4071938 h 4305300"/>
                  <a:gd name="connsiteX194" fmla="*/ 3810000 w 8601075"/>
                  <a:gd name="connsiteY194" fmla="*/ 4055269 h 4305300"/>
                  <a:gd name="connsiteX195" fmla="*/ 4160043 w 8601075"/>
                  <a:gd name="connsiteY195" fmla="*/ 4229100 h 4305300"/>
                  <a:gd name="connsiteX196" fmla="*/ 4386263 w 8601075"/>
                  <a:gd name="connsiteY196" fmla="*/ 4200525 h 4305300"/>
                  <a:gd name="connsiteX197" fmla="*/ 4395788 w 8601075"/>
                  <a:gd name="connsiteY197" fmla="*/ 4279106 h 4305300"/>
                  <a:gd name="connsiteX198" fmla="*/ 4481513 w 8601075"/>
                  <a:gd name="connsiteY198" fmla="*/ 4274343 h 4305300"/>
                  <a:gd name="connsiteX199" fmla="*/ 4560094 w 8601075"/>
                  <a:gd name="connsiteY199" fmla="*/ 4305300 h 4305300"/>
                  <a:gd name="connsiteX200" fmla="*/ 4602956 w 8601075"/>
                  <a:gd name="connsiteY200" fmla="*/ 4245769 h 4305300"/>
                  <a:gd name="connsiteX201" fmla="*/ 5274469 w 8601075"/>
                  <a:gd name="connsiteY201" fmla="*/ 3926681 h 4305300"/>
                  <a:gd name="connsiteX202" fmla="*/ 5362575 w 8601075"/>
                  <a:gd name="connsiteY202" fmla="*/ 3955257 h 4305300"/>
                  <a:gd name="connsiteX203" fmla="*/ 5493544 w 8601075"/>
                  <a:gd name="connsiteY203" fmla="*/ 3926681 h 4305300"/>
                  <a:gd name="connsiteX204" fmla="*/ 5672137 w 8601075"/>
                  <a:gd name="connsiteY204" fmla="*/ 3943350 h 4305300"/>
                  <a:gd name="connsiteX205" fmla="*/ 5729288 w 8601075"/>
                  <a:gd name="connsiteY205" fmla="*/ 3917157 h 4305300"/>
                  <a:gd name="connsiteX206" fmla="*/ 5862637 w 8601075"/>
                  <a:gd name="connsiteY206" fmla="*/ 3914775 h 4305300"/>
                  <a:gd name="connsiteX207" fmla="*/ 5995987 w 8601075"/>
                  <a:gd name="connsiteY207" fmla="*/ 3817144 h 4305300"/>
                  <a:gd name="connsiteX208" fmla="*/ 6062662 w 8601075"/>
                  <a:gd name="connsiteY208" fmla="*/ 3810000 h 4305300"/>
                  <a:gd name="connsiteX209" fmla="*/ 6160294 w 8601075"/>
                  <a:gd name="connsiteY209" fmla="*/ 3736181 h 4305300"/>
                  <a:gd name="connsiteX210" fmla="*/ 6234113 w 8601075"/>
                  <a:gd name="connsiteY210" fmla="*/ 3667125 h 4305300"/>
                  <a:gd name="connsiteX211" fmla="*/ 6243638 w 8601075"/>
                  <a:gd name="connsiteY211" fmla="*/ 3605213 h 4305300"/>
                  <a:gd name="connsiteX212" fmla="*/ 6276975 w 8601075"/>
                  <a:gd name="connsiteY212" fmla="*/ 3536156 h 4305300"/>
                  <a:gd name="connsiteX213" fmla="*/ 6429375 w 8601075"/>
                  <a:gd name="connsiteY213" fmla="*/ 3429000 h 4305300"/>
                  <a:gd name="connsiteX214" fmla="*/ 6462713 w 8601075"/>
                  <a:gd name="connsiteY214" fmla="*/ 3433763 h 4305300"/>
                  <a:gd name="connsiteX215" fmla="*/ 6515100 w 8601075"/>
                  <a:gd name="connsiteY215" fmla="*/ 3355181 h 4305300"/>
                  <a:gd name="connsiteX216" fmla="*/ 6562725 w 8601075"/>
                  <a:gd name="connsiteY216" fmla="*/ 3317081 h 4305300"/>
                  <a:gd name="connsiteX217" fmla="*/ 6548438 w 8601075"/>
                  <a:gd name="connsiteY217" fmla="*/ 3248025 h 4305300"/>
                  <a:gd name="connsiteX218" fmla="*/ 6498431 w 8601075"/>
                  <a:gd name="connsiteY218" fmla="*/ 3217068 h 4305300"/>
                  <a:gd name="connsiteX219" fmla="*/ 6438900 w 8601075"/>
                  <a:gd name="connsiteY219" fmla="*/ 3162300 h 4305300"/>
                  <a:gd name="connsiteX220" fmla="*/ 6419850 w 8601075"/>
                  <a:gd name="connsiteY220" fmla="*/ 3105150 h 4305300"/>
                  <a:gd name="connsiteX221" fmla="*/ 6384131 w 8601075"/>
                  <a:gd name="connsiteY221" fmla="*/ 3071813 h 4305300"/>
                  <a:gd name="connsiteX222" fmla="*/ 6410325 w 8601075"/>
                  <a:gd name="connsiteY222" fmla="*/ 3019425 h 4305300"/>
                  <a:gd name="connsiteX223" fmla="*/ 6450806 w 8601075"/>
                  <a:gd name="connsiteY223" fmla="*/ 2840831 h 4305300"/>
                  <a:gd name="connsiteX224" fmla="*/ 6491288 w 8601075"/>
                  <a:gd name="connsiteY224" fmla="*/ 2774156 h 4305300"/>
                  <a:gd name="connsiteX225" fmla="*/ 6636544 w 8601075"/>
                  <a:gd name="connsiteY225" fmla="*/ 2757487 h 4305300"/>
                  <a:gd name="connsiteX226" fmla="*/ 6705600 w 8601075"/>
                  <a:gd name="connsiteY226" fmla="*/ 2814638 h 4305300"/>
                  <a:gd name="connsiteX227" fmla="*/ 6781800 w 8601075"/>
                  <a:gd name="connsiteY227" fmla="*/ 2838450 h 4305300"/>
                  <a:gd name="connsiteX228" fmla="*/ 6986587 w 8601075"/>
                  <a:gd name="connsiteY228" fmla="*/ 2843213 h 4305300"/>
                  <a:gd name="connsiteX229" fmla="*/ 7162800 w 8601075"/>
                  <a:gd name="connsiteY229" fmla="*/ 2705100 h 4305300"/>
                  <a:gd name="connsiteX230" fmla="*/ 7219950 w 8601075"/>
                  <a:gd name="connsiteY230" fmla="*/ 2614612 h 4305300"/>
                  <a:gd name="connsiteX231" fmla="*/ 7246144 w 8601075"/>
                  <a:gd name="connsiteY231" fmla="*/ 2531269 h 4305300"/>
                  <a:gd name="connsiteX232" fmla="*/ 7377112 w 8601075"/>
                  <a:gd name="connsiteY232" fmla="*/ 2531269 h 4305300"/>
                  <a:gd name="connsiteX233" fmla="*/ 7550944 w 8601075"/>
                  <a:gd name="connsiteY233" fmla="*/ 2474118 h 4305300"/>
                  <a:gd name="connsiteX234" fmla="*/ 7610475 w 8601075"/>
                  <a:gd name="connsiteY234" fmla="*/ 2362200 h 4305300"/>
                  <a:gd name="connsiteX235" fmla="*/ 7674769 w 8601075"/>
                  <a:gd name="connsiteY235" fmla="*/ 2326481 h 4305300"/>
                  <a:gd name="connsiteX236" fmla="*/ 7653338 w 8601075"/>
                  <a:gd name="connsiteY236" fmla="*/ 2281238 h 4305300"/>
                  <a:gd name="connsiteX237" fmla="*/ 7731919 w 8601075"/>
                  <a:gd name="connsiteY237" fmla="*/ 2112168 h 4305300"/>
                  <a:gd name="connsiteX238" fmla="*/ 7786688 w 8601075"/>
                  <a:gd name="connsiteY238" fmla="*/ 2052638 h 4305300"/>
                  <a:gd name="connsiteX239" fmla="*/ 7824788 w 8601075"/>
                  <a:gd name="connsiteY239" fmla="*/ 2047875 h 4305300"/>
                  <a:gd name="connsiteX240" fmla="*/ 7870031 w 8601075"/>
                  <a:gd name="connsiteY240" fmla="*/ 2052638 h 4305300"/>
                  <a:gd name="connsiteX241" fmla="*/ 7934325 w 8601075"/>
                  <a:gd name="connsiteY241" fmla="*/ 2019300 h 4305300"/>
                  <a:gd name="connsiteX242" fmla="*/ 7943850 w 8601075"/>
                  <a:gd name="connsiteY242" fmla="*/ 1955006 h 4305300"/>
                  <a:gd name="connsiteX243" fmla="*/ 7984330 w 8601075"/>
                  <a:gd name="connsiteY243" fmla="*/ 1919288 h 4305300"/>
                  <a:gd name="connsiteX244" fmla="*/ 8043863 w 8601075"/>
                  <a:gd name="connsiteY244" fmla="*/ 1959768 h 4305300"/>
                  <a:gd name="connsiteX245" fmla="*/ 8070057 w 8601075"/>
                  <a:gd name="connsiteY245" fmla="*/ 1909762 h 4305300"/>
                  <a:gd name="connsiteX246" fmla="*/ 8165306 w 8601075"/>
                  <a:gd name="connsiteY246" fmla="*/ 1840706 h 4305300"/>
                  <a:gd name="connsiteX247" fmla="*/ 8227219 w 8601075"/>
                  <a:gd name="connsiteY247" fmla="*/ 1847850 h 4305300"/>
                  <a:gd name="connsiteX248" fmla="*/ 8277225 w 8601075"/>
                  <a:gd name="connsiteY248" fmla="*/ 1828800 h 4305300"/>
                  <a:gd name="connsiteX249" fmla="*/ 8315325 w 8601075"/>
                  <a:gd name="connsiteY249" fmla="*/ 1800225 h 4305300"/>
                  <a:gd name="connsiteX250" fmla="*/ 8348663 w 8601075"/>
                  <a:gd name="connsiteY250" fmla="*/ 1797844 h 4305300"/>
                  <a:gd name="connsiteX251" fmla="*/ 8384381 w 8601075"/>
                  <a:gd name="connsiteY251" fmla="*/ 1828800 h 4305300"/>
                  <a:gd name="connsiteX252" fmla="*/ 8443913 w 8601075"/>
                  <a:gd name="connsiteY252" fmla="*/ 1828800 h 4305300"/>
                  <a:gd name="connsiteX253" fmla="*/ 8482012 w 8601075"/>
                  <a:gd name="connsiteY253" fmla="*/ 1809750 h 4305300"/>
                  <a:gd name="connsiteX254" fmla="*/ 8565356 w 8601075"/>
                  <a:gd name="connsiteY254" fmla="*/ 1812132 h 4305300"/>
                  <a:gd name="connsiteX255" fmla="*/ 8596313 w 8601075"/>
                  <a:gd name="connsiteY255" fmla="*/ 1766888 h 4305300"/>
                  <a:gd name="connsiteX256" fmla="*/ 8601075 w 8601075"/>
                  <a:gd name="connsiteY256" fmla="*/ 1704975 h 4305300"/>
                  <a:gd name="connsiteX257" fmla="*/ 8551068 w 8601075"/>
                  <a:gd name="connsiteY257" fmla="*/ 1664494 h 4305300"/>
                  <a:gd name="connsiteX258" fmla="*/ 8534400 w 8601075"/>
                  <a:gd name="connsiteY258" fmla="*/ 1609725 h 4305300"/>
                  <a:gd name="connsiteX259" fmla="*/ 8443913 w 8601075"/>
                  <a:gd name="connsiteY259" fmla="*/ 1547813 h 4305300"/>
                  <a:gd name="connsiteX260" fmla="*/ 8403431 w 8601075"/>
                  <a:gd name="connsiteY260" fmla="*/ 1526381 h 4305300"/>
                  <a:gd name="connsiteX261" fmla="*/ 8365331 w 8601075"/>
                  <a:gd name="connsiteY261" fmla="*/ 1481138 h 4305300"/>
                  <a:gd name="connsiteX262" fmla="*/ 8334375 w 8601075"/>
                  <a:gd name="connsiteY262" fmla="*/ 1478756 h 4305300"/>
                  <a:gd name="connsiteX263" fmla="*/ 8317706 w 8601075"/>
                  <a:gd name="connsiteY263" fmla="*/ 1426369 h 4305300"/>
                  <a:gd name="connsiteX264" fmla="*/ 8277225 w 8601075"/>
                  <a:gd name="connsiteY264" fmla="*/ 1409700 h 4305300"/>
                  <a:gd name="connsiteX265" fmla="*/ 8277225 w 8601075"/>
                  <a:gd name="connsiteY265" fmla="*/ 1409700 h 4305300"/>
                  <a:gd name="connsiteX266" fmla="*/ 8236744 w 8601075"/>
                  <a:gd name="connsiteY266" fmla="*/ 1414463 h 4305300"/>
                  <a:gd name="connsiteX267" fmla="*/ 8151018 w 8601075"/>
                  <a:gd name="connsiteY267" fmla="*/ 1340644 h 4305300"/>
                  <a:gd name="connsiteX268" fmla="*/ 7970044 w 8601075"/>
                  <a:gd name="connsiteY268" fmla="*/ 1340643 h 4305300"/>
                  <a:gd name="connsiteX269" fmla="*/ 7917656 w 8601075"/>
                  <a:gd name="connsiteY269" fmla="*/ 1378744 h 4305300"/>
                  <a:gd name="connsiteX270" fmla="*/ 7867650 w 8601075"/>
                  <a:gd name="connsiteY270" fmla="*/ 1457325 h 4305300"/>
                  <a:gd name="connsiteX271" fmla="*/ 7884319 w 8601075"/>
                  <a:gd name="connsiteY271" fmla="*/ 1478756 h 4305300"/>
                  <a:gd name="connsiteX272" fmla="*/ 7839075 w 8601075"/>
                  <a:gd name="connsiteY272" fmla="*/ 1528762 h 4305300"/>
                  <a:gd name="connsiteX273" fmla="*/ 7689056 w 8601075"/>
                  <a:gd name="connsiteY273" fmla="*/ 1452562 h 4305300"/>
                  <a:gd name="connsiteX274" fmla="*/ 7598569 w 8601075"/>
                  <a:gd name="connsiteY274" fmla="*/ 1488281 h 4305300"/>
                  <a:gd name="connsiteX275" fmla="*/ 7524750 w 8601075"/>
                  <a:gd name="connsiteY275" fmla="*/ 1485900 h 4305300"/>
                  <a:gd name="connsiteX276" fmla="*/ 7467600 w 8601075"/>
                  <a:gd name="connsiteY276" fmla="*/ 1581150 h 4305300"/>
                  <a:gd name="connsiteX277" fmla="*/ 7329488 w 8601075"/>
                  <a:gd name="connsiteY277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600825 w 8601075"/>
                  <a:gd name="connsiteY16" fmla="*/ 904875 h 4305300"/>
                  <a:gd name="connsiteX17" fmla="*/ 6600825 w 8601075"/>
                  <a:gd name="connsiteY17" fmla="*/ 904875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600825 w 8601075"/>
                  <a:gd name="connsiteY16" fmla="*/ 904875 h 4305300"/>
                  <a:gd name="connsiteX17" fmla="*/ 6581775 w 8601075"/>
                  <a:gd name="connsiteY17" fmla="*/ 928688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81775 w 8601075"/>
                  <a:gd name="connsiteY17" fmla="*/ 928688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60331 w 8601075"/>
                  <a:gd name="connsiteY21" fmla="*/ 964407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60331 w 8601075"/>
                  <a:gd name="connsiteY21" fmla="*/ 964407 h 4305300"/>
                  <a:gd name="connsiteX22" fmla="*/ 6355556 w 8601075"/>
                  <a:gd name="connsiteY22" fmla="*/ 1021556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55556 w 8601075"/>
                  <a:gd name="connsiteY22" fmla="*/ 1021556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17456 w 8601075"/>
                  <a:gd name="connsiteY22" fmla="*/ 1042987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115050 w 8601075"/>
                  <a:gd name="connsiteY24" fmla="*/ 1114425 h 4305300"/>
                  <a:gd name="connsiteX25" fmla="*/ 5962650 w 8601075"/>
                  <a:gd name="connsiteY25" fmla="*/ 1190625 h 4305300"/>
                  <a:gd name="connsiteX26" fmla="*/ 5895975 w 8601075"/>
                  <a:gd name="connsiteY26" fmla="*/ 1143000 h 4305300"/>
                  <a:gd name="connsiteX27" fmla="*/ 5895975 w 8601075"/>
                  <a:gd name="connsiteY27" fmla="*/ 1143000 h 4305300"/>
                  <a:gd name="connsiteX28" fmla="*/ 5676900 w 8601075"/>
                  <a:gd name="connsiteY28" fmla="*/ 1181100 h 4305300"/>
                  <a:gd name="connsiteX29" fmla="*/ 5600700 w 8601075"/>
                  <a:gd name="connsiteY29" fmla="*/ 1114425 h 4305300"/>
                  <a:gd name="connsiteX30" fmla="*/ 5391150 w 8601075"/>
                  <a:gd name="connsiteY30" fmla="*/ 1123950 h 4305300"/>
                  <a:gd name="connsiteX31" fmla="*/ 5334000 w 8601075"/>
                  <a:gd name="connsiteY31" fmla="*/ 1066800 h 4305300"/>
                  <a:gd name="connsiteX32" fmla="*/ 5248275 w 8601075"/>
                  <a:gd name="connsiteY32" fmla="*/ 981075 h 4305300"/>
                  <a:gd name="connsiteX33" fmla="*/ 5238750 w 8601075"/>
                  <a:gd name="connsiteY33" fmla="*/ 895350 h 4305300"/>
                  <a:gd name="connsiteX34" fmla="*/ 5133975 w 8601075"/>
                  <a:gd name="connsiteY34" fmla="*/ 895350 h 4305300"/>
                  <a:gd name="connsiteX35" fmla="*/ 4991100 w 8601075"/>
                  <a:gd name="connsiteY35" fmla="*/ 838200 h 4305300"/>
                  <a:gd name="connsiteX36" fmla="*/ 4905375 w 8601075"/>
                  <a:gd name="connsiteY36" fmla="*/ 771525 h 4305300"/>
                  <a:gd name="connsiteX37" fmla="*/ 4905375 w 8601075"/>
                  <a:gd name="connsiteY37" fmla="*/ 771525 h 4305300"/>
                  <a:gd name="connsiteX38" fmla="*/ 4781550 w 8601075"/>
                  <a:gd name="connsiteY38" fmla="*/ 762000 h 4305300"/>
                  <a:gd name="connsiteX39" fmla="*/ 4648200 w 8601075"/>
                  <a:gd name="connsiteY39" fmla="*/ 714375 h 4305300"/>
                  <a:gd name="connsiteX40" fmla="*/ 4581525 w 8601075"/>
                  <a:gd name="connsiteY40" fmla="*/ 695325 h 4305300"/>
                  <a:gd name="connsiteX41" fmla="*/ 4495800 w 8601075"/>
                  <a:gd name="connsiteY41" fmla="*/ 742950 h 4305300"/>
                  <a:gd name="connsiteX42" fmla="*/ 4343400 w 8601075"/>
                  <a:gd name="connsiteY42" fmla="*/ 781050 h 4305300"/>
                  <a:gd name="connsiteX43" fmla="*/ 4252913 w 8601075"/>
                  <a:gd name="connsiteY43" fmla="*/ 862013 h 4305300"/>
                  <a:gd name="connsiteX44" fmla="*/ 4205287 w 8601075"/>
                  <a:gd name="connsiteY44" fmla="*/ 823913 h 4305300"/>
                  <a:gd name="connsiteX45" fmla="*/ 4183856 w 8601075"/>
                  <a:gd name="connsiteY45" fmla="*/ 854868 h 4305300"/>
                  <a:gd name="connsiteX46" fmla="*/ 4110038 w 8601075"/>
                  <a:gd name="connsiteY46" fmla="*/ 804863 h 4305300"/>
                  <a:gd name="connsiteX47" fmla="*/ 4071938 w 8601075"/>
                  <a:gd name="connsiteY47" fmla="*/ 812006 h 4305300"/>
                  <a:gd name="connsiteX48" fmla="*/ 4050506 w 8601075"/>
                  <a:gd name="connsiteY48" fmla="*/ 773906 h 4305300"/>
                  <a:gd name="connsiteX49" fmla="*/ 3990975 w 8601075"/>
                  <a:gd name="connsiteY49" fmla="*/ 778669 h 4305300"/>
                  <a:gd name="connsiteX50" fmla="*/ 3945731 w 8601075"/>
                  <a:gd name="connsiteY50" fmla="*/ 750094 h 4305300"/>
                  <a:gd name="connsiteX51" fmla="*/ 3907631 w 8601075"/>
                  <a:gd name="connsiteY51" fmla="*/ 747713 h 4305300"/>
                  <a:gd name="connsiteX52" fmla="*/ 3888581 w 8601075"/>
                  <a:gd name="connsiteY52" fmla="*/ 700087 h 4305300"/>
                  <a:gd name="connsiteX53" fmla="*/ 3874294 w 8601075"/>
                  <a:gd name="connsiteY53" fmla="*/ 669131 h 4305300"/>
                  <a:gd name="connsiteX54" fmla="*/ 3829050 w 8601075"/>
                  <a:gd name="connsiteY54" fmla="*/ 678656 h 4305300"/>
                  <a:gd name="connsiteX55" fmla="*/ 3810000 w 8601075"/>
                  <a:gd name="connsiteY55" fmla="*/ 642938 h 4305300"/>
                  <a:gd name="connsiteX56" fmla="*/ 3831432 w 8601075"/>
                  <a:gd name="connsiteY56" fmla="*/ 588169 h 4305300"/>
                  <a:gd name="connsiteX57" fmla="*/ 3800475 w 8601075"/>
                  <a:gd name="connsiteY57" fmla="*/ 561975 h 4305300"/>
                  <a:gd name="connsiteX58" fmla="*/ 3817144 w 8601075"/>
                  <a:gd name="connsiteY58" fmla="*/ 519113 h 4305300"/>
                  <a:gd name="connsiteX59" fmla="*/ 3790950 w 8601075"/>
                  <a:gd name="connsiteY59" fmla="*/ 476250 h 4305300"/>
                  <a:gd name="connsiteX60" fmla="*/ 3786188 w 8601075"/>
                  <a:gd name="connsiteY60" fmla="*/ 414338 h 4305300"/>
                  <a:gd name="connsiteX61" fmla="*/ 3810000 w 8601075"/>
                  <a:gd name="connsiteY61" fmla="*/ 350043 h 4305300"/>
                  <a:gd name="connsiteX62" fmla="*/ 3771900 w 8601075"/>
                  <a:gd name="connsiteY62" fmla="*/ 352425 h 4305300"/>
                  <a:gd name="connsiteX63" fmla="*/ 3652838 w 8601075"/>
                  <a:gd name="connsiteY63" fmla="*/ 295275 h 4305300"/>
                  <a:gd name="connsiteX64" fmla="*/ 3614737 w 8601075"/>
                  <a:gd name="connsiteY64" fmla="*/ 300037 h 4305300"/>
                  <a:gd name="connsiteX65" fmla="*/ 3409950 w 8601075"/>
                  <a:gd name="connsiteY65" fmla="*/ 190500 h 4305300"/>
                  <a:gd name="connsiteX66" fmla="*/ 3305175 w 8601075"/>
                  <a:gd name="connsiteY66" fmla="*/ 159544 h 4305300"/>
                  <a:gd name="connsiteX67" fmla="*/ 3240881 w 8601075"/>
                  <a:gd name="connsiteY67" fmla="*/ 169068 h 4305300"/>
                  <a:gd name="connsiteX68" fmla="*/ 3209925 w 8601075"/>
                  <a:gd name="connsiteY68" fmla="*/ 104775 h 4305300"/>
                  <a:gd name="connsiteX69" fmla="*/ 3152775 w 8601075"/>
                  <a:gd name="connsiteY69" fmla="*/ 104775 h 4305300"/>
                  <a:gd name="connsiteX70" fmla="*/ 3014662 w 8601075"/>
                  <a:gd name="connsiteY70" fmla="*/ 0 h 4305300"/>
                  <a:gd name="connsiteX71" fmla="*/ 2981325 w 8601075"/>
                  <a:gd name="connsiteY71" fmla="*/ 59532 h 4305300"/>
                  <a:gd name="connsiteX72" fmla="*/ 2926556 w 8601075"/>
                  <a:gd name="connsiteY72" fmla="*/ 128588 h 4305300"/>
                  <a:gd name="connsiteX73" fmla="*/ 2883694 w 8601075"/>
                  <a:gd name="connsiteY73" fmla="*/ 145256 h 4305300"/>
                  <a:gd name="connsiteX74" fmla="*/ 2852738 w 8601075"/>
                  <a:gd name="connsiteY74" fmla="*/ 138113 h 4305300"/>
                  <a:gd name="connsiteX75" fmla="*/ 2828925 w 8601075"/>
                  <a:gd name="connsiteY75" fmla="*/ 166688 h 4305300"/>
                  <a:gd name="connsiteX76" fmla="*/ 2802731 w 8601075"/>
                  <a:gd name="connsiteY76" fmla="*/ 245269 h 4305300"/>
                  <a:gd name="connsiteX77" fmla="*/ 2759869 w 8601075"/>
                  <a:gd name="connsiteY77" fmla="*/ 242888 h 4305300"/>
                  <a:gd name="connsiteX78" fmla="*/ 2728912 w 8601075"/>
                  <a:gd name="connsiteY78" fmla="*/ 304800 h 4305300"/>
                  <a:gd name="connsiteX79" fmla="*/ 2724150 w 8601075"/>
                  <a:gd name="connsiteY79" fmla="*/ 369094 h 4305300"/>
                  <a:gd name="connsiteX80" fmla="*/ 2697957 w 8601075"/>
                  <a:gd name="connsiteY80" fmla="*/ 407194 h 4305300"/>
                  <a:gd name="connsiteX81" fmla="*/ 2724150 w 8601075"/>
                  <a:gd name="connsiteY81" fmla="*/ 466725 h 4305300"/>
                  <a:gd name="connsiteX82" fmla="*/ 2726531 w 8601075"/>
                  <a:gd name="connsiteY82" fmla="*/ 535781 h 4305300"/>
                  <a:gd name="connsiteX83" fmla="*/ 2755106 w 8601075"/>
                  <a:gd name="connsiteY83" fmla="*/ 588169 h 4305300"/>
                  <a:gd name="connsiteX84" fmla="*/ 2802732 w 8601075"/>
                  <a:gd name="connsiteY84" fmla="*/ 642938 h 4305300"/>
                  <a:gd name="connsiteX85" fmla="*/ 2752725 w 8601075"/>
                  <a:gd name="connsiteY85" fmla="*/ 781050 h 4305300"/>
                  <a:gd name="connsiteX86" fmla="*/ 2683669 w 8601075"/>
                  <a:gd name="connsiteY86" fmla="*/ 847725 h 4305300"/>
                  <a:gd name="connsiteX87" fmla="*/ 2612231 w 8601075"/>
                  <a:gd name="connsiteY87" fmla="*/ 842963 h 4305300"/>
                  <a:gd name="connsiteX88" fmla="*/ 2574131 w 8601075"/>
                  <a:gd name="connsiteY88" fmla="*/ 900113 h 4305300"/>
                  <a:gd name="connsiteX89" fmla="*/ 2514600 w 8601075"/>
                  <a:gd name="connsiteY89" fmla="*/ 914400 h 4305300"/>
                  <a:gd name="connsiteX90" fmla="*/ 2445544 w 8601075"/>
                  <a:gd name="connsiteY90" fmla="*/ 854869 h 4305300"/>
                  <a:gd name="connsiteX91" fmla="*/ 2390775 w 8601075"/>
                  <a:gd name="connsiteY91" fmla="*/ 826294 h 4305300"/>
                  <a:gd name="connsiteX92" fmla="*/ 2347913 w 8601075"/>
                  <a:gd name="connsiteY92" fmla="*/ 840581 h 4305300"/>
                  <a:gd name="connsiteX93" fmla="*/ 2295525 w 8601075"/>
                  <a:gd name="connsiteY93" fmla="*/ 823913 h 4305300"/>
                  <a:gd name="connsiteX94" fmla="*/ 2228850 w 8601075"/>
                  <a:gd name="connsiteY94" fmla="*/ 769144 h 4305300"/>
                  <a:gd name="connsiteX95" fmla="*/ 2183606 w 8601075"/>
                  <a:gd name="connsiteY95" fmla="*/ 781050 h 4305300"/>
                  <a:gd name="connsiteX96" fmla="*/ 2162175 w 8601075"/>
                  <a:gd name="connsiteY96" fmla="*/ 750094 h 4305300"/>
                  <a:gd name="connsiteX97" fmla="*/ 2105025 w 8601075"/>
                  <a:gd name="connsiteY97" fmla="*/ 790575 h 4305300"/>
                  <a:gd name="connsiteX98" fmla="*/ 1988344 w 8601075"/>
                  <a:gd name="connsiteY98" fmla="*/ 769144 h 4305300"/>
                  <a:gd name="connsiteX99" fmla="*/ 1938338 w 8601075"/>
                  <a:gd name="connsiteY99" fmla="*/ 716756 h 4305300"/>
                  <a:gd name="connsiteX100" fmla="*/ 1895475 w 8601075"/>
                  <a:gd name="connsiteY100" fmla="*/ 702469 h 4305300"/>
                  <a:gd name="connsiteX101" fmla="*/ 1852613 w 8601075"/>
                  <a:gd name="connsiteY101" fmla="*/ 728663 h 4305300"/>
                  <a:gd name="connsiteX102" fmla="*/ 1800225 w 8601075"/>
                  <a:gd name="connsiteY102" fmla="*/ 638175 h 4305300"/>
                  <a:gd name="connsiteX103" fmla="*/ 1790700 w 8601075"/>
                  <a:gd name="connsiteY103" fmla="*/ 490537 h 4305300"/>
                  <a:gd name="connsiteX104" fmla="*/ 1738312 w 8601075"/>
                  <a:gd name="connsiteY104" fmla="*/ 483393 h 4305300"/>
                  <a:gd name="connsiteX105" fmla="*/ 1647825 w 8601075"/>
                  <a:gd name="connsiteY105" fmla="*/ 473869 h 4305300"/>
                  <a:gd name="connsiteX106" fmla="*/ 1593056 w 8601075"/>
                  <a:gd name="connsiteY106" fmla="*/ 435769 h 4305300"/>
                  <a:gd name="connsiteX107" fmla="*/ 1524000 w 8601075"/>
                  <a:gd name="connsiteY107" fmla="*/ 445294 h 4305300"/>
                  <a:gd name="connsiteX108" fmla="*/ 1478756 w 8601075"/>
                  <a:gd name="connsiteY108" fmla="*/ 419100 h 4305300"/>
                  <a:gd name="connsiteX109" fmla="*/ 1469232 w 8601075"/>
                  <a:gd name="connsiteY109" fmla="*/ 347663 h 4305300"/>
                  <a:gd name="connsiteX110" fmla="*/ 1445419 w 8601075"/>
                  <a:gd name="connsiteY110" fmla="*/ 333375 h 4305300"/>
                  <a:gd name="connsiteX111" fmla="*/ 1407319 w 8601075"/>
                  <a:gd name="connsiteY111" fmla="*/ 380999 h 4305300"/>
                  <a:gd name="connsiteX112" fmla="*/ 1328737 w 8601075"/>
                  <a:gd name="connsiteY112" fmla="*/ 307181 h 4305300"/>
                  <a:gd name="connsiteX113" fmla="*/ 1288256 w 8601075"/>
                  <a:gd name="connsiteY113" fmla="*/ 347663 h 4305300"/>
                  <a:gd name="connsiteX114" fmla="*/ 1212056 w 8601075"/>
                  <a:gd name="connsiteY114" fmla="*/ 333375 h 4305300"/>
                  <a:gd name="connsiteX115" fmla="*/ 1133475 w 8601075"/>
                  <a:gd name="connsiteY115" fmla="*/ 359569 h 4305300"/>
                  <a:gd name="connsiteX116" fmla="*/ 1073944 w 8601075"/>
                  <a:gd name="connsiteY116" fmla="*/ 407193 h 4305300"/>
                  <a:gd name="connsiteX117" fmla="*/ 1000125 w 8601075"/>
                  <a:gd name="connsiteY117" fmla="*/ 419100 h 4305300"/>
                  <a:gd name="connsiteX118" fmla="*/ 964406 w 8601075"/>
                  <a:gd name="connsiteY118" fmla="*/ 411956 h 4305300"/>
                  <a:gd name="connsiteX119" fmla="*/ 885826 w 8601075"/>
                  <a:gd name="connsiteY119" fmla="*/ 442913 h 4305300"/>
                  <a:gd name="connsiteX120" fmla="*/ 864394 w 8601075"/>
                  <a:gd name="connsiteY120" fmla="*/ 471488 h 4305300"/>
                  <a:gd name="connsiteX121" fmla="*/ 797719 w 8601075"/>
                  <a:gd name="connsiteY121" fmla="*/ 461963 h 4305300"/>
                  <a:gd name="connsiteX122" fmla="*/ 728663 w 8601075"/>
                  <a:gd name="connsiteY122" fmla="*/ 485775 h 4305300"/>
                  <a:gd name="connsiteX123" fmla="*/ 673894 w 8601075"/>
                  <a:gd name="connsiteY123" fmla="*/ 523875 h 4305300"/>
                  <a:gd name="connsiteX124" fmla="*/ 578644 w 8601075"/>
                  <a:gd name="connsiteY124" fmla="*/ 538162 h 4305300"/>
                  <a:gd name="connsiteX125" fmla="*/ 564356 w 8601075"/>
                  <a:gd name="connsiteY125" fmla="*/ 559594 h 4305300"/>
                  <a:gd name="connsiteX126" fmla="*/ 576262 w 8601075"/>
                  <a:gd name="connsiteY126" fmla="*/ 604838 h 4305300"/>
                  <a:gd name="connsiteX127" fmla="*/ 476251 w 8601075"/>
                  <a:gd name="connsiteY127" fmla="*/ 657225 h 4305300"/>
                  <a:gd name="connsiteX128" fmla="*/ 438150 w 8601075"/>
                  <a:gd name="connsiteY128" fmla="*/ 628649 h 4305300"/>
                  <a:gd name="connsiteX129" fmla="*/ 407194 w 8601075"/>
                  <a:gd name="connsiteY129" fmla="*/ 685800 h 4305300"/>
                  <a:gd name="connsiteX130" fmla="*/ 350044 w 8601075"/>
                  <a:gd name="connsiteY130" fmla="*/ 647700 h 4305300"/>
                  <a:gd name="connsiteX131" fmla="*/ 314325 w 8601075"/>
                  <a:gd name="connsiteY131" fmla="*/ 676275 h 4305300"/>
                  <a:gd name="connsiteX132" fmla="*/ 278606 w 8601075"/>
                  <a:gd name="connsiteY132" fmla="*/ 640556 h 4305300"/>
                  <a:gd name="connsiteX133" fmla="*/ 226219 w 8601075"/>
                  <a:gd name="connsiteY133" fmla="*/ 652463 h 4305300"/>
                  <a:gd name="connsiteX134" fmla="*/ 180975 w 8601075"/>
                  <a:gd name="connsiteY134" fmla="*/ 623888 h 4305300"/>
                  <a:gd name="connsiteX135" fmla="*/ 157163 w 8601075"/>
                  <a:gd name="connsiteY135" fmla="*/ 642938 h 4305300"/>
                  <a:gd name="connsiteX136" fmla="*/ 133350 w 8601075"/>
                  <a:gd name="connsiteY136" fmla="*/ 702469 h 4305300"/>
                  <a:gd name="connsiteX137" fmla="*/ 61913 w 8601075"/>
                  <a:gd name="connsiteY137" fmla="*/ 740568 h 4305300"/>
                  <a:gd name="connsiteX138" fmla="*/ 28575 w 8601075"/>
                  <a:gd name="connsiteY138" fmla="*/ 769144 h 4305300"/>
                  <a:gd name="connsiteX139" fmla="*/ 33338 w 8601075"/>
                  <a:gd name="connsiteY139" fmla="*/ 812006 h 4305300"/>
                  <a:gd name="connsiteX140" fmla="*/ 0 w 8601075"/>
                  <a:gd name="connsiteY140" fmla="*/ 816769 h 4305300"/>
                  <a:gd name="connsiteX141" fmla="*/ 4763 w 8601075"/>
                  <a:gd name="connsiteY141" fmla="*/ 840581 h 4305300"/>
                  <a:gd name="connsiteX142" fmla="*/ 61912 w 8601075"/>
                  <a:gd name="connsiteY142" fmla="*/ 914400 h 4305300"/>
                  <a:gd name="connsiteX143" fmla="*/ 23813 w 8601075"/>
                  <a:gd name="connsiteY143" fmla="*/ 962025 h 4305300"/>
                  <a:gd name="connsiteX144" fmla="*/ 78581 w 8601075"/>
                  <a:gd name="connsiteY144" fmla="*/ 997744 h 4305300"/>
                  <a:gd name="connsiteX145" fmla="*/ 169069 w 8601075"/>
                  <a:gd name="connsiteY145" fmla="*/ 1085850 h 4305300"/>
                  <a:gd name="connsiteX146" fmla="*/ 171450 w 8601075"/>
                  <a:gd name="connsiteY146" fmla="*/ 1145381 h 4305300"/>
                  <a:gd name="connsiteX147" fmla="*/ 307181 w 8601075"/>
                  <a:gd name="connsiteY147" fmla="*/ 1278732 h 4305300"/>
                  <a:gd name="connsiteX148" fmla="*/ 361950 w 8601075"/>
                  <a:gd name="connsiteY148" fmla="*/ 1254919 h 4305300"/>
                  <a:gd name="connsiteX149" fmla="*/ 400050 w 8601075"/>
                  <a:gd name="connsiteY149" fmla="*/ 1281112 h 4305300"/>
                  <a:gd name="connsiteX150" fmla="*/ 414338 w 8601075"/>
                  <a:gd name="connsiteY150" fmla="*/ 1331118 h 4305300"/>
                  <a:gd name="connsiteX151" fmla="*/ 457200 w 8601075"/>
                  <a:gd name="connsiteY151" fmla="*/ 1366838 h 4305300"/>
                  <a:gd name="connsiteX152" fmla="*/ 497681 w 8601075"/>
                  <a:gd name="connsiteY152" fmla="*/ 1354931 h 4305300"/>
                  <a:gd name="connsiteX153" fmla="*/ 516731 w 8601075"/>
                  <a:gd name="connsiteY153" fmla="*/ 1412081 h 4305300"/>
                  <a:gd name="connsiteX154" fmla="*/ 564356 w 8601075"/>
                  <a:gd name="connsiteY154" fmla="*/ 1454944 h 4305300"/>
                  <a:gd name="connsiteX155" fmla="*/ 588169 w 8601075"/>
                  <a:gd name="connsiteY155" fmla="*/ 1557338 h 4305300"/>
                  <a:gd name="connsiteX156" fmla="*/ 585788 w 8601075"/>
                  <a:gd name="connsiteY156" fmla="*/ 1604963 h 4305300"/>
                  <a:gd name="connsiteX157" fmla="*/ 621506 w 8601075"/>
                  <a:gd name="connsiteY157" fmla="*/ 1704975 h 4305300"/>
                  <a:gd name="connsiteX158" fmla="*/ 666750 w 8601075"/>
                  <a:gd name="connsiteY158" fmla="*/ 1762125 h 4305300"/>
                  <a:gd name="connsiteX159" fmla="*/ 683418 w 8601075"/>
                  <a:gd name="connsiteY159" fmla="*/ 1919287 h 4305300"/>
                  <a:gd name="connsiteX160" fmla="*/ 650081 w 8601075"/>
                  <a:gd name="connsiteY160" fmla="*/ 1981200 h 4305300"/>
                  <a:gd name="connsiteX161" fmla="*/ 619125 w 8601075"/>
                  <a:gd name="connsiteY161" fmla="*/ 2057400 h 4305300"/>
                  <a:gd name="connsiteX162" fmla="*/ 633413 w 8601075"/>
                  <a:gd name="connsiteY162" fmla="*/ 2114550 h 4305300"/>
                  <a:gd name="connsiteX163" fmla="*/ 535781 w 8601075"/>
                  <a:gd name="connsiteY163" fmla="*/ 2221707 h 4305300"/>
                  <a:gd name="connsiteX164" fmla="*/ 492919 w 8601075"/>
                  <a:gd name="connsiteY164" fmla="*/ 2336006 h 4305300"/>
                  <a:gd name="connsiteX165" fmla="*/ 526256 w 8601075"/>
                  <a:gd name="connsiteY165" fmla="*/ 2376488 h 4305300"/>
                  <a:gd name="connsiteX166" fmla="*/ 509588 w 8601075"/>
                  <a:gd name="connsiteY166" fmla="*/ 2405063 h 4305300"/>
                  <a:gd name="connsiteX167" fmla="*/ 540544 w 8601075"/>
                  <a:gd name="connsiteY167" fmla="*/ 2462213 h 4305300"/>
                  <a:gd name="connsiteX168" fmla="*/ 569119 w 8601075"/>
                  <a:gd name="connsiteY168" fmla="*/ 2462213 h 4305300"/>
                  <a:gd name="connsiteX169" fmla="*/ 731044 w 8601075"/>
                  <a:gd name="connsiteY169" fmla="*/ 2564606 h 4305300"/>
                  <a:gd name="connsiteX170" fmla="*/ 835819 w 8601075"/>
                  <a:gd name="connsiteY170" fmla="*/ 2562225 h 4305300"/>
                  <a:gd name="connsiteX171" fmla="*/ 914400 w 8601075"/>
                  <a:gd name="connsiteY171" fmla="*/ 2616994 h 4305300"/>
                  <a:gd name="connsiteX172" fmla="*/ 1045368 w 8601075"/>
                  <a:gd name="connsiteY172" fmla="*/ 2619375 h 4305300"/>
                  <a:gd name="connsiteX173" fmla="*/ 1235868 w 8601075"/>
                  <a:gd name="connsiteY173" fmla="*/ 2688431 h 4305300"/>
                  <a:gd name="connsiteX174" fmla="*/ 1438275 w 8601075"/>
                  <a:gd name="connsiteY174" fmla="*/ 2838450 h 4305300"/>
                  <a:gd name="connsiteX175" fmla="*/ 1471612 w 8601075"/>
                  <a:gd name="connsiteY175" fmla="*/ 2905125 h 4305300"/>
                  <a:gd name="connsiteX176" fmla="*/ 1638300 w 8601075"/>
                  <a:gd name="connsiteY176" fmla="*/ 3031331 h 4305300"/>
                  <a:gd name="connsiteX177" fmla="*/ 1709738 w 8601075"/>
                  <a:gd name="connsiteY177" fmla="*/ 3026569 h 4305300"/>
                  <a:gd name="connsiteX178" fmla="*/ 1745457 w 8601075"/>
                  <a:gd name="connsiteY178" fmla="*/ 3050381 h 4305300"/>
                  <a:gd name="connsiteX179" fmla="*/ 1716881 w 8601075"/>
                  <a:gd name="connsiteY179" fmla="*/ 3090863 h 4305300"/>
                  <a:gd name="connsiteX180" fmla="*/ 1724025 w 8601075"/>
                  <a:gd name="connsiteY180" fmla="*/ 3143250 h 4305300"/>
                  <a:gd name="connsiteX181" fmla="*/ 1776413 w 8601075"/>
                  <a:gd name="connsiteY181" fmla="*/ 3169444 h 4305300"/>
                  <a:gd name="connsiteX182" fmla="*/ 1838325 w 8601075"/>
                  <a:gd name="connsiteY182" fmla="*/ 3393282 h 4305300"/>
                  <a:gd name="connsiteX183" fmla="*/ 1828800 w 8601075"/>
                  <a:gd name="connsiteY183" fmla="*/ 3457575 h 4305300"/>
                  <a:gd name="connsiteX184" fmla="*/ 1964531 w 8601075"/>
                  <a:gd name="connsiteY184" fmla="*/ 3624263 h 4305300"/>
                  <a:gd name="connsiteX185" fmla="*/ 1983581 w 8601075"/>
                  <a:gd name="connsiteY185" fmla="*/ 3674269 h 4305300"/>
                  <a:gd name="connsiteX186" fmla="*/ 1957388 w 8601075"/>
                  <a:gd name="connsiteY186" fmla="*/ 3693319 h 4305300"/>
                  <a:gd name="connsiteX187" fmla="*/ 2059781 w 8601075"/>
                  <a:gd name="connsiteY187" fmla="*/ 3702844 h 4305300"/>
                  <a:gd name="connsiteX188" fmla="*/ 2171700 w 8601075"/>
                  <a:gd name="connsiteY188" fmla="*/ 3690938 h 4305300"/>
                  <a:gd name="connsiteX189" fmla="*/ 2450306 w 8601075"/>
                  <a:gd name="connsiteY189" fmla="*/ 3774281 h 4305300"/>
                  <a:gd name="connsiteX190" fmla="*/ 2857500 w 8601075"/>
                  <a:gd name="connsiteY190" fmla="*/ 3855244 h 4305300"/>
                  <a:gd name="connsiteX191" fmla="*/ 3055144 w 8601075"/>
                  <a:gd name="connsiteY191" fmla="*/ 3824287 h 4305300"/>
                  <a:gd name="connsiteX192" fmla="*/ 3100388 w 8601075"/>
                  <a:gd name="connsiteY192" fmla="*/ 3836193 h 4305300"/>
                  <a:gd name="connsiteX193" fmla="*/ 3155156 w 8601075"/>
                  <a:gd name="connsiteY193" fmla="*/ 3812382 h 4305300"/>
                  <a:gd name="connsiteX194" fmla="*/ 3548062 w 8601075"/>
                  <a:gd name="connsiteY194" fmla="*/ 3902869 h 4305300"/>
                  <a:gd name="connsiteX195" fmla="*/ 3631407 w 8601075"/>
                  <a:gd name="connsiteY195" fmla="*/ 4000500 h 4305300"/>
                  <a:gd name="connsiteX196" fmla="*/ 3750469 w 8601075"/>
                  <a:gd name="connsiteY196" fmla="*/ 4071938 h 4305300"/>
                  <a:gd name="connsiteX197" fmla="*/ 3810000 w 8601075"/>
                  <a:gd name="connsiteY197" fmla="*/ 4055269 h 4305300"/>
                  <a:gd name="connsiteX198" fmla="*/ 4160043 w 8601075"/>
                  <a:gd name="connsiteY198" fmla="*/ 4229100 h 4305300"/>
                  <a:gd name="connsiteX199" fmla="*/ 4386263 w 8601075"/>
                  <a:gd name="connsiteY199" fmla="*/ 4200525 h 4305300"/>
                  <a:gd name="connsiteX200" fmla="*/ 4395788 w 8601075"/>
                  <a:gd name="connsiteY200" fmla="*/ 4279106 h 4305300"/>
                  <a:gd name="connsiteX201" fmla="*/ 4481513 w 8601075"/>
                  <a:gd name="connsiteY201" fmla="*/ 4274343 h 4305300"/>
                  <a:gd name="connsiteX202" fmla="*/ 4560094 w 8601075"/>
                  <a:gd name="connsiteY202" fmla="*/ 4305300 h 4305300"/>
                  <a:gd name="connsiteX203" fmla="*/ 4602956 w 8601075"/>
                  <a:gd name="connsiteY203" fmla="*/ 4245769 h 4305300"/>
                  <a:gd name="connsiteX204" fmla="*/ 5274469 w 8601075"/>
                  <a:gd name="connsiteY204" fmla="*/ 3926681 h 4305300"/>
                  <a:gd name="connsiteX205" fmla="*/ 5362575 w 8601075"/>
                  <a:gd name="connsiteY205" fmla="*/ 3955257 h 4305300"/>
                  <a:gd name="connsiteX206" fmla="*/ 5493544 w 8601075"/>
                  <a:gd name="connsiteY206" fmla="*/ 3926681 h 4305300"/>
                  <a:gd name="connsiteX207" fmla="*/ 5672137 w 8601075"/>
                  <a:gd name="connsiteY207" fmla="*/ 3943350 h 4305300"/>
                  <a:gd name="connsiteX208" fmla="*/ 5729288 w 8601075"/>
                  <a:gd name="connsiteY208" fmla="*/ 3917157 h 4305300"/>
                  <a:gd name="connsiteX209" fmla="*/ 5862637 w 8601075"/>
                  <a:gd name="connsiteY209" fmla="*/ 3914775 h 4305300"/>
                  <a:gd name="connsiteX210" fmla="*/ 5995987 w 8601075"/>
                  <a:gd name="connsiteY210" fmla="*/ 3817144 h 4305300"/>
                  <a:gd name="connsiteX211" fmla="*/ 6062662 w 8601075"/>
                  <a:gd name="connsiteY211" fmla="*/ 3810000 h 4305300"/>
                  <a:gd name="connsiteX212" fmla="*/ 6160294 w 8601075"/>
                  <a:gd name="connsiteY212" fmla="*/ 3736181 h 4305300"/>
                  <a:gd name="connsiteX213" fmla="*/ 6234113 w 8601075"/>
                  <a:gd name="connsiteY213" fmla="*/ 3667125 h 4305300"/>
                  <a:gd name="connsiteX214" fmla="*/ 6243638 w 8601075"/>
                  <a:gd name="connsiteY214" fmla="*/ 3605213 h 4305300"/>
                  <a:gd name="connsiteX215" fmla="*/ 6276975 w 8601075"/>
                  <a:gd name="connsiteY215" fmla="*/ 3536156 h 4305300"/>
                  <a:gd name="connsiteX216" fmla="*/ 6429375 w 8601075"/>
                  <a:gd name="connsiteY216" fmla="*/ 3429000 h 4305300"/>
                  <a:gd name="connsiteX217" fmla="*/ 6462713 w 8601075"/>
                  <a:gd name="connsiteY217" fmla="*/ 3433763 h 4305300"/>
                  <a:gd name="connsiteX218" fmla="*/ 6515100 w 8601075"/>
                  <a:gd name="connsiteY218" fmla="*/ 3355181 h 4305300"/>
                  <a:gd name="connsiteX219" fmla="*/ 6562725 w 8601075"/>
                  <a:gd name="connsiteY219" fmla="*/ 3317081 h 4305300"/>
                  <a:gd name="connsiteX220" fmla="*/ 6548438 w 8601075"/>
                  <a:gd name="connsiteY220" fmla="*/ 3248025 h 4305300"/>
                  <a:gd name="connsiteX221" fmla="*/ 6498431 w 8601075"/>
                  <a:gd name="connsiteY221" fmla="*/ 3217068 h 4305300"/>
                  <a:gd name="connsiteX222" fmla="*/ 6438900 w 8601075"/>
                  <a:gd name="connsiteY222" fmla="*/ 3162300 h 4305300"/>
                  <a:gd name="connsiteX223" fmla="*/ 6419850 w 8601075"/>
                  <a:gd name="connsiteY223" fmla="*/ 3105150 h 4305300"/>
                  <a:gd name="connsiteX224" fmla="*/ 6384131 w 8601075"/>
                  <a:gd name="connsiteY224" fmla="*/ 3071813 h 4305300"/>
                  <a:gd name="connsiteX225" fmla="*/ 6410325 w 8601075"/>
                  <a:gd name="connsiteY225" fmla="*/ 3019425 h 4305300"/>
                  <a:gd name="connsiteX226" fmla="*/ 6450806 w 8601075"/>
                  <a:gd name="connsiteY226" fmla="*/ 2840831 h 4305300"/>
                  <a:gd name="connsiteX227" fmla="*/ 6491288 w 8601075"/>
                  <a:gd name="connsiteY227" fmla="*/ 2774156 h 4305300"/>
                  <a:gd name="connsiteX228" fmla="*/ 6636544 w 8601075"/>
                  <a:gd name="connsiteY228" fmla="*/ 2757487 h 4305300"/>
                  <a:gd name="connsiteX229" fmla="*/ 6705600 w 8601075"/>
                  <a:gd name="connsiteY229" fmla="*/ 2814638 h 4305300"/>
                  <a:gd name="connsiteX230" fmla="*/ 6781800 w 8601075"/>
                  <a:gd name="connsiteY230" fmla="*/ 2838450 h 4305300"/>
                  <a:gd name="connsiteX231" fmla="*/ 6986587 w 8601075"/>
                  <a:gd name="connsiteY231" fmla="*/ 2843213 h 4305300"/>
                  <a:gd name="connsiteX232" fmla="*/ 7162800 w 8601075"/>
                  <a:gd name="connsiteY232" fmla="*/ 2705100 h 4305300"/>
                  <a:gd name="connsiteX233" fmla="*/ 7219950 w 8601075"/>
                  <a:gd name="connsiteY233" fmla="*/ 2614612 h 4305300"/>
                  <a:gd name="connsiteX234" fmla="*/ 7246144 w 8601075"/>
                  <a:gd name="connsiteY234" fmla="*/ 2531269 h 4305300"/>
                  <a:gd name="connsiteX235" fmla="*/ 7377112 w 8601075"/>
                  <a:gd name="connsiteY235" fmla="*/ 2531269 h 4305300"/>
                  <a:gd name="connsiteX236" fmla="*/ 7550944 w 8601075"/>
                  <a:gd name="connsiteY236" fmla="*/ 2474118 h 4305300"/>
                  <a:gd name="connsiteX237" fmla="*/ 7610475 w 8601075"/>
                  <a:gd name="connsiteY237" fmla="*/ 2362200 h 4305300"/>
                  <a:gd name="connsiteX238" fmla="*/ 7674769 w 8601075"/>
                  <a:gd name="connsiteY238" fmla="*/ 2326481 h 4305300"/>
                  <a:gd name="connsiteX239" fmla="*/ 7653338 w 8601075"/>
                  <a:gd name="connsiteY239" fmla="*/ 2281238 h 4305300"/>
                  <a:gd name="connsiteX240" fmla="*/ 7731919 w 8601075"/>
                  <a:gd name="connsiteY240" fmla="*/ 2112168 h 4305300"/>
                  <a:gd name="connsiteX241" fmla="*/ 7786688 w 8601075"/>
                  <a:gd name="connsiteY241" fmla="*/ 2052638 h 4305300"/>
                  <a:gd name="connsiteX242" fmla="*/ 7824788 w 8601075"/>
                  <a:gd name="connsiteY242" fmla="*/ 2047875 h 4305300"/>
                  <a:gd name="connsiteX243" fmla="*/ 7870031 w 8601075"/>
                  <a:gd name="connsiteY243" fmla="*/ 2052638 h 4305300"/>
                  <a:gd name="connsiteX244" fmla="*/ 7934325 w 8601075"/>
                  <a:gd name="connsiteY244" fmla="*/ 2019300 h 4305300"/>
                  <a:gd name="connsiteX245" fmla="*/ 7943850 w 8601075"/>
                  <a:gd name="connsiteY245" fmla="*/ 1955006 h 4305300"/>
                  <a:gd name="connsiteX246" fmla="*/ 7984330 w 8601075"/>
                  <a:gd name="connsiteY246" fmla="*/ 1919288 h 4305300"/>
                  <a:gd name="connsiteX247" fmla="*/ 8043863 w 8601075"/>
                  <a:gd name="connsiteY247" fmla="*/ 1959768 h 4305300"/>
                  <a:gd name="connsiteX248" fmla="*/ 8070057 w 8601075"/>
                  <a:gd name="connsiteY248" fmla="*/ 1909762 h 4305300"/>
                  <a:gd name="connsiteX249" fmla="*/ 8165306 w 8601075"/>
                  <a:gd name="connsiteY249" fmla="*/ 1840706 h 4305300"/>
                  <a:gd name="connsiteX250" fmla="*/ 8227219 w 8601075"/>
                  <a:gd name="connsiteY250" fmla="*/ 1847850 h 4305300"/>
                  <a:gd name="connsiteX251" fmla="*/ 8277225 w 8601075"/>
                  <a:gd name="connsiteY251" fmla="*/ 1828800 h 4305300"/>
                  <a:gd name="connsiteX252" fmla="*/ 8315325 w 8601075"/>
                  <a:gd name="connsiteY252" fmla="*/ 1800225 h 4305300"/>
                  <a:gd name="connsiteX253" fmla="*/ 8348663 w 8601075"/>
                  <a:gd name="connsiteY253" fmla="*/ 1797844 h 4305300"/>
                  <a:gd name="connsiteX254" fmla="*/ 8384381 w 8601075"/>
                  <a:gd name="connsiteY254" fmla="*/ 1828800 h 4305300"/>
                  <a:gd name="connsiteX255" fmla="*/ 8443913 w 8601075"/>
                  <a:gd name="connsiteY255" fmla="*/ 1828800 h 4305300"/>
                  <a:gd name="connsiteX256" fmla="*/ 8482012 w 8601075"/>
                  <a:gd name="connsiteY256" fmla="*/ 1809750 h 4305300"/>
                  <a:gd name="connsiteX257" fmla="*/ 8565356 w 8601075"/>
                  <a:gd name="connsiteY257" fmla="*/ 1812132 h 4305300"/>
                  <a:gd name="connsiteX258" fmla="*/ 8596313 w 8601075"/>
                  <a:gd name="connsiteY258" fmla="*/ 1766888 h 4305300"/>
                  <a:gd name="connsiteX259" fmla="*/ 8601075 w 8601075"/>
                  <a:gd name="connsiteY259" fmla="*/ 1704975 h 4305300"/>
                  <a:gd name="connsiteX260" fmla="*/ 8551068 w 8601075"/>
                  <a:gd name="connsiteY260" fmla="*/ 1664494 h 4305300"/>
                  <a:gd name="connsiteX261" fmla="*/ 8534400 w 8601075"/>
                  <a:gd name="connsiteY261" fmla="*/ 1609725 h 4305300"/>
                  <a:gd name="connsiteX262" fmla="*/ 8443913 w 8601075"/>
                  <a:gd name="connsiteY262" fmla="*/ 1547813 h 4305300"/>
                  <a:gd name="connsiteX263" fmla="*/ 8403431 w 8601075"/>
                  <a:gd name="connsiteY263" fmla="*/ 1526381 h 4305300"/>
                  <a:gd name="connsiteX264" fmla="*/ 8365331 w 8601075"/>
                  <a:gd name="connsiteY264" fmla="*/ 1481138 h 4305300"/>
                  <a:gd name="connsiteX265" fmla="*/ 8334375 w 8601075"/>
                  <a:gd name="connsiteY265" fmla="*/ 1478756 h 4305300"/>
                  <a:gd name="connsiteX266" fmla="*/ 8317706 w 8601075"/>
                  <a:gd name="connsiteY266" fmla="*/ 1426369 h 4305300"/>
                  <a:gd name="connsiteX267" fmla="*/ 8277225 w 8601075"/>
                  <a:gd name="connsiteY267" fmla="*/ 1409700 h 4305300"/>
                  <a:gd name="connsiteX268" fmla="*/ 8277225 w 8601075"/>
                  <a:gd name="connsiteY268" fmla="*/ 1409700 h 4305300"/>
                  <a:gd name="connsiteX269" fmla="*/ 8236744 w 8601075"/>
                  <a:gd name="connsiteY269" fmla="*/ 1414463 h 4305300"/>
                  <a:gd name="connsiteX270" fmla="*/ 8151018 w 8601075"/>
                  <a:gd name="connsiteY270" fmla="*/ 1340644 h 4305300"/>
                  <a:gd name="connsiteX271" fmla="*/ 7970044 w 8601075"/>
                  <a:gd name="connsiteY271" fmla="*/ 1340643 h 4305300"/>
                  <a:gd name="connsiteX272" fmla="*/ 7917656 w 8601075"/>
                  <a:gd name="connsiteY272" fmla="*/ 1378744 h 4305300"/>
                  <a:gd name="connsiteX273" fmla="*/ 7867650 w 8601075"/>
                  <a:gd name="connsiteY273" fmla="*/ 1457325 h 4305300"/>
                  <a:gd name="connsiteX274" fmla="*/ 7884319 w 8601075"/>
                  <a:gd name="connsiteY274" fmla="*/ 1478756 h 4305300"/>
                  <a:gd name="connsiteX275" fmla="*/ 7839075 w 8601075"/>
                  <a:gd name="connsiteY275" fmla="*/ 1528762 h 4305300"/>
                  <a:gd name="connsiteX276" fmla="*/ 7689056 w 8601075"/>
                  <a:gd name="connsiteY276" fmla="*/ 1452562 h 4305300"/>
                  <a:gd name="connsiteX277" fmla="*/ 7598569 w 8601075"/>
                  <a:gd name="connsiteY277" fmla="*/ 1488281 h 4305300"/>
                  <a:gd name="connsiteX278" fmla="*/ 7524750 w 8601075"/>
                  <a:gd name="connsiteY278" fmla="*/ 1485900 h 4305300"/>
                  <a:gd name="connsiteX279" fmla="*/ 7467600 w 8601075"/>
                  <a:gd name="connsiteY279" fmla="*/ 1581150 h 4305300"/>
                  <a:gd name="connsiteX280" fmla="*/ 7329488 w 8601075"/>
                  <a:gd name="connsiteY280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15050 w 8601075"/>
                  <a:gd name="connsiteY25" fmla="*/ 1114425 h 4305300"/>
                  <a:gd name="connsiteX26" fmla="*/ 5962650 w 8601075"/>
                  <a:gd name="connsiteY26" fmla="*/ 1190625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5962650 w 8601075"/>
                  <a:gd name="connsiteY26" fmla="*/ 1190625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895975 w 8601075"/>
                  <a:gd name="connsiteY27" fmla="*/ 1143000 h 4305300"/>
                  <a:gd name="connsiteX28" fmla="*/ 5884069 w 8601075"/>
                  <a:gd name="connsiteY28" fmla="*/ 1209675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884069 w 8601075"/>
                  <a:gd name="connsiteY28" fmla="*/ 1209675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76900 w 8601075"/>
                  <a:gd name="connsiteY30" fmla="*/ 1181100 h 4305300"/>
                  <a:gd name="connsiteX31" fmla="*/ 5600700 w 8601075"/>
                  <a:gd name="connsiteY31" fmla="*/ 1114425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00700 w 8601075"/>
                  <a:gd name="connsiteY31" fmla="*/ 1114425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81613 w 8601075"/>
                  <a:gd name="connsiteY34" fmla="*/ 1035844 h 4305300"/>
                  <a:gd name="connsiteX35" fmla="*/ 5248275 w 8601075"/>
                  <a:gd name="connsiteY35" fmla="*/ 981075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81613 w 8601075"/>
                  <a:gd name="connsiteY34" fmla="*/ 1035844 h 4305300"/>
                  <a:gd name="connsiteX35" fmla="*/ 5274468 w 8601075"/>
                  <a:gd name="connsiteY35" fmla="*/ 952500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1100 w 8601075"/>
                  <a:gd name="connsiteY39" fmla="*/ 838200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71525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71525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47712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905375 w 8601075"/>
                  <a:gd name="connsiteY41" fmla="*/ 747712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76287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64881 w 8601075"/>
                  <a:gd name="connsiteY43" fmla="*/ 731044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581525 w 8601075"/>
                  <a:gd name="connsiteY45" fmla="*/ 695325 h 4305300"/>
                  <a:gd name="connsiteX46" fmla="*/ 4495800 w 8601075"/>
                  <a:gd name="connsiteY46" fmla="*/ 742950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495800 w 8601075"/>
                  <a:gd name="connsiteY46" fmla="*/ 742950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81500 w 8601075"/>
                  <a:gd name="connsiteY47" fmla="*/ 769144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</a:cxnLst>
                <a:rect l="l" t="t" r="r" b="b"/>
                <a:pathLst>
                  <a:path w="8601075" h="4305300">
                    <a:moveTo>
                      <a:pt x="7329488" y="1483519"/>
                    </a:moveTo>
                    <a:lnTo>
                      <a:pt x="7322344" y="1428750"/>
                    </a:lnTo>
                    <a:lnTo>
                      <a:pt x="7389019" y="1354931"/>
                    </a:lnTo>
                    <a:lnTo>
                      <a:pt x="7372350" y="1283494"/>
                    </a:lnTo>
                    <a:lnTo>
                      <a:pt x="7386638" y="1188244"/>
                    </a:lnTo>
                    <a:lnTo>
                      <a:pt x="7424738" y="1131094"/>
                    </a:lnTo>
                    <a:lnTo>
                      <a:pt x="7405687" y="1097756"/>
                    </a:lnTo>
                    <a:lnTo>
                      <a:pt x="7503318" y="697706"/>
                    </a:lnTo>
                    <a:lnTo>
                      <a:pt x="7496175" y="669131"/>
                    </a:lnTo>
                    <a:lnTo>
                      <a:pt x="7367588" y="647700"/>
                    </a:lnTo>
                    <a:lnTo>
                      <a:pt x="7184232" y="726281"/>
                    </a:lnTo>
                    <a:lnTo>
                      <a:pt x="7027068" y="611981"/>
                    </a:lnTo>
                    <a:lnTo>
                      <a:pt x="6950869" y="619125"/>
                    </a:lnTo>
                    <a:lnTo>
                      <a:pt x="6877050" y="614363"/>
                    </a:lnTo>
                    <a:lnTo>
                      <a:pt x="6738938" y="719138"/>
                    </a:lnTo>
                    <a:lnTo>
                      <a:pt x="6631781" y="826294"/>
                    </a:lnTo>
                    <a:lnTo>
                      <a:pt x="6588919" y="895350"/>
                    </a:lnTo>
                    <a:lnTo>
                      <a:pt x="6596063" y="931069"/>
                    </a:lnTo>
                    <a:lnTo>
                      <a:pt x="6534150" y="942975"/>
                    </a:lnTo>
                    <a:lnTo>
                      <a:pt x="6553200" y="942975"/>
                    </a:lnTo>
                    <a:lnTo>
                      <a:pt x="6519863" y="973931"/>
                    </a:lnTo>
                    <a:lnTo>
                      <a:pt x="6419850" y="973932"/>
                    </a:lnTo>
                    <a:lnTo>
                      <a:pt x="6324600" y="1028700"/>
                    </a:lnTo>
                    <a:lnTo>
                      <a:pt x="6243638" y="1038225"/>
                    </a:lnTo>
                    <a:lnTo>
                      <a:pt x="6203156" y="1071563"/>
                    </a:lnTo>
                    <a:lnTo>
                      <a:pt x="6153150" y="1076325"/>
                    </a:lnTo>
                    <a:lnTo>
                      <a:pt x="6031707" y="1169194"/>
                    </a:lnTo>
                    <a:lnTo>
                      <a:pt x="5972175" y="1173956"/>
                    </a:lnTo>
                    <a:lnTo>
                      <a:pt x="5919788" y="1138238"/>
                    </a:lnTo>
                    <a:lnTo>
                      <a:pt x="5893594" y="1173956"/>
                    </a:lnTo>
                    <a:lnTo>
                      <a:pt x="5695950" y="1166813"/>
                    </a:lnTo>
                    <a:lnTo>
                      <a:pt x="5634038" y="1121569"/>
                    </a:lnTo>
                    <a:lnTo>
                      <a:pt x="5436394" y="1138238"/>
                    </a:lnTo>
                    <a:lnTo>
                      <a:pt x="5348288" y="1054893"/>
                    </a:lnTo>
                    <a:lnTo>
                      <a:pt x="5272088" y="1009650"/>
                    </a:lnTo>
                    <a:cubicBezTo>
                      <a:pt x="5272881" y="990600"/>
                      <a:pt x="5273675" y="971550"/>
                      <a:pt x="5274468" y="952500"/>
                    </a:cubicBezTo>
                    <a:lnTo>
                      <a:pt x="5255419" y="909637"/>
                    </a:lnTo>
                    <a:lnTo>
                      <a:pt x="5160169" y="912019"/>
                    </a:lnTo>
                    <a:lnTo>
                      <a:pt x="5064919" y="890588"/>
                    </a:lnTo>
                    <a:lnTo>
                      <a:pt x="4995862" y="823912"/>
                    </a:lnTo>
                    <a:lnTo>
                      <a:pt x="4960144" y="781050"/>
                    </a:lnTo>
                    <a:lnTo>
                      <a:pt x="4879181" y="757237"/>
                    </a:lnTo>
                    <a:lnTo>
                      <a:pt x="4805363" y="769143"/>
                    </a:lnTo>
                    <a:lnTo>
                      <a:pt x="4748212" y="716756"/>
                    </a:lnTo>
                    <a:lnTo>
                      <a:pt x="4652963" y="728663"/>
                    </a:lnTo>
                    <a:lnTo>
                      <a:pt x="4600575" y="702469"/>
                    </a:lnTo>
                    <a:lnTo>
                      <a:pt x="4519613" y="745331"/>
                    </a:lnTo>
                    <a:lnTo>
                      <a:pt x="4381500" y="769144"/>
                    </a:lnTo>
                    <a:lnTo>
                      <a:pt x="4252913" y="862013"/>
                    </a:lnTo>
                    <a:lnTo>
                      <a:pt x="4205287" y="823913"/>
                    </a:lnTo>
                    <a:lnTo>
                      <a:pt x="4183856" y="854868"/>
                    </a:lnTo>
                    <a:lnTo>
                      <a:pt x="4110038" y="804863"/>
                    </a:lnTo>
                    <a:lnTo>
                      <a:pt x="4071938" y="812006"/>
                    </a:lnTo>
                    <a:lnTo>
                      <a:pt x="4050506" y="773906"/>
                    </a:lnTo>
                    <a:lnTo>
                      <a:pt x="3990975" y="778669"/>
                    </a:lnTo>
                    <a:lnTo>
                      <a:pt x="3945731" y="750094"/>
                    </a:lnTo>
                    <a:lnTo>
                      <a:pt x="3907631" y="747713"/>
                    </a:lnTo>
                    <a:lnTo>
                      <a:pt x="3888581" y="700087"/>
                    </a:lnTo>
                    <a:lnTo>
                      <a:pt x="3874294" y="669131"/>
                    </a:lnTo>
                    <a:lnTo>
                      <a:pt x="3829050" y="678656"/>
                    </a:lnTo>
                    <a:lnTo>
                      <a:pt x="3810000" y="642938"/>
                    </a:lnTo>
                    <a:lnTo>
                      <a:pt x="3831432" y="588169"/>
                    </a:lnTo>
                    <a:lnTo>
                      <a:pt x="3800475" y="561975"/>
                    </a:lnTo>
                    <a:lnTo>
                      <a:pt x="3817144" y="519113"/>
                    </a:lnTo>
                    <a:lnTo>
                      <a:pt x="3790950" y="476250"/>
                    </a:lnTo>
                    <a:lnTo>
                      <a:pt x="3786188" y="414338"/>
                    </a:lnTo>
                    <a:lnTo>
                      <a:pt x="3810000" y="350043"/>
                    </a:lnTo>
                    <a:lnTo>
                      <a:pt x="3771900" y="352425"/>
                    </a:lnTo>
                    <a:lnTo>
                      <a:pt x="3652838" y="295275"/>
                    </a:lnTo>
                    <a:lnTo>
                      <a:pt x="3614737" y="300037"/>
                    </a:lnTo>
                    <a:lnTo>
                      <a:pt x="3409950" y="190500"/>
                    </a:lnTo>
                    <a:lnTo>
                      <a:pt x="3305175" y="159544"/>
                    </a:lnTo>
                    <a:lnTo>
                      <a:pt x="3240881" y="169068"/>
                    </a:lnTo>
                    <a:lnTo>
                      <a:pt x="3209925" y="104775"/>
                    </a:lnTo>
                    <a:lnTo>
                      <a:pt x="3152775" y="104775"/>
                    </a:lnTo>
                    <a:lnTo>
                      <a:pt x="3014662" y="0"/>
                    </a:lnTo>
                    <a:lnTo>
                      <a:pt x="2981325" y="59532"/>
                    </a:lnTo>
                    <a:lnTo>
                      <a:pt x="2926556" y="128588"/>
                    </a:lnTo>
                    <a:lnTo>
                      <a:pt x="2883694" y="145256"/>
                    </a:lnTo>
                    <a:lnTo>
                      <a:pt x="2852738" y="138113"/>
                    </a:lnTo>
                    <a:lnTo>
                      <a:pt x="2828925" y="166688"/>
                    </a:lnTo>
                    <a:lnTo>
                      <a:pt x="2802731" y="245269"/>
                    </a:lnTo>
                    <a:lnTo>
                      <a:pt x="2759869" y="242888"/>
                    </a:lnTo>
                    <a:lnTo>
                      <a:pt x="2728912" y="304800"/>
                    </a:lnTo>
                    <a:lnTo>
                      <a:pt x="2724150" y="369094"/>
                    </a:lnTo>
                    <a:lnTo>
                      <a:pt x="2697957" y="407194"/>
                    </a:lnTo>
                    <a:lnTo>
                      <a:pt x="2724150" y="466725"/>
                    </a:lnTo>
                    <a:cubicBezTo>
                      <a:pt x="2724944" y="489744"/>
                      <a:pt x="2725737" y="512762"/>
                      <a:pt x="2726531" y="535781"/>
                    </a:cubicBezTo>
                    <a:lnTo>
                      <a:pt x="2755106" y="588169"/>
                    </a:lnTo>
                    <a:lnTo>
                      <a:pt x="2802732" y="642938"/>
                    </a:lnTo>
                    <a:lnTo>
                      <a:pt x="2752725" y="781050"/>
                    </a:lnTo>
                    <a:lnTo>
                      <a:pt x="2683669" y="847725"/>
                    </a:lnTo>
                    <a:lnTo>
                      <a:pt x="2612231" y="842963"/>
                    </a:lnTo>
                    <a:lnTo>
                      <a:pt x="2574131" y="900113"/>
                    </a:lnTo>
                    <a:lnTo>
                      <a:pt x="2514600" y="914400"/>
                    </a:lnTo>
                    <a:lnTo>
                      <a:pt x="2445544" y="854869"/>
                    </a:lnTo>
                    <a:lnTo>
                      <a:pt x="2390775" y="826294"/>
                    </a:lnTo>
                    <a:lnTo>
                      <a:pt x="2347913" y="840581"/>
                    </a:lnTo>
                    <a:lnTo>
                      <a:pt x="2295525" y="823913"/>
                    </a:lnTo>
                    <a:lnTo>
                      <a:pt x="2228850" y="769144"/>
                    </a:lnTo>
                    <a:lnTo>
                      <a:pt x="2183606" y="781050"/>
                    </a:lnTo>
                    <a:lnTo>
                      <a:pt x="2162175" y="750094"/>
                    </a:lnTo>
                    <a:lnTo>
                      <a:pt x="2105025" y="790575"/>
                    </a:lnTo>
                    <a:lnTo>
                      <a:pt x="1988344" y="769144"/>
                    </a:lnTo>
                    <a:lnTo>
                      <a:pt x="1938338" y="716756"/>
                    </a:lnTo>
                    <a:lnTo>
                      <a:pt x="1895475" y="702469"/>
                    </a:lnTo>
                    <a:lnTo>
                      <a:pt x="1852613" y="728663"/>
                    </a:lnTo>
                    <a:lnTo>
                      <a:pt x="1800225" y="638175"/>
                    </a:lnTo>
                    <a:lnTo>
                      <a:pt x="1790700" y="490537"/>
                    </a:lnTo>
                    <a:lnTo>
                      <a:pt x="1738312" y="483393"/>
                    </a:lnTo>
                    <a:lnTo>
                      <a:pt x="1647825" y="473869"/>
                    </a:lnTo>
                    <a:lnTo>
                      <a:pt x="1593056" y="435769"/>
                    </a:lnTo>
                    <a:lnTo>
                      <a:pt x="1524000" y="445294"/>
                    </a:lnTo>
                    <a:lnTo>
                      <a:pt x="1478756" y="419100"/>
                    </a:lnTo>
                    <a:lnTo>
                      <a:pt x="1469232" y="347663"/>
                    </a:lnTo>
                    <a:lnTo>
                      <a:pt x="1445419" y="333375"/>
                    </a:lnTo>
                    <a:lnTo>
                      <a:pt x="1407319" y="380999"/>
                    </a:lnTo>
                    <a:lnTo>
                      <a:pt x="1328737" y="307181"/>
                    </a:lnTo>
                    <a:lnTo>
                      <a:pt x="1288256" y="347663"/>
                    </a:lnTo>
                    <a:lnTo>
                      <a:pt x="1212056" y="333375"/>
                    </a:lnTo>
                    <a:lnTo>
                      <a:pt x="1133475" y="359569"/>
                    </a:lnTo>
                    <a:lnTo>
                      <a:pt x="1073944" y="407193"/>
                    </a:lnTo>
                    <a:lnTo>
                      <a:pt x="1000125" y="419100"/>
                    </a:lnTo>
                    <a:lnTo>
                      <a:pt x="964406" y="411956"/>
                    </a:lnTo>
                    <a:lnTo>
                      <a:pt x="885826" y="442913"/>
                    </a:lnTo>
                    <a:lnTo>
                      <a:pt x="864394" y="471488"/>
                    </a:lnTo>
                    <a:lnTo>
                      <a:pt x="797719" y="461963"/>
                    </a:lnTo>
                    <a:lnTo>
                      <a:pt x="728663" y="485775"/>
                    </a:lnTo>
                    <a:lnTo>
                      <a:pt x="673894" y="523875"/>
                    </a:lnTo>
                    <a:lnTo>
                      <a:pt x="578644" y="538162"/>
                    </a:lnTo>
                    <a:lnTo>
                      <a:pt x="564356" y="559594"/>
                    </a:lnTo>
                    <a:lnTo>
                      <a:pt x="576262" y="604838"/>
                    </a:lnTo>
                    <a:lnTo>
                      <a:pt x="476251" y="657225"/>
                    </a:lnTo>
                    <a:lnTo>
                      <a:pt x="438150" y="628649"/>
                    </a:lnTo>
                    <a:lnTo>
                      <a:pt x="407194" y="685800"/>
                    </a:lnTo>
                    <a:lnTo>
                      <a:pt x="350044" y="647700"/>
                    </a:lnTo>
                    <a:lnTo>
                      <a:pt x="314325" y="676275"/>
                    </a:lnTo>
                    <a:lnTo>
                      <a:pt x="278606" y="640556"/>
                    </a:lnTo>
                    <a:lnTo>
                      <a:pt x="226219" y="652463"/>
                    </a:lnTo>
                    <a:lnTo>
                      <a:pt x="180975" y="623888"/>
                    </a:lnTo>
                    <a:lnTo>
                      <a:pt x="157163" y="642938"/>
                    </a:lnTo>
                    <a:lnTo>
                      <a:pt x="133350" y="702469"/>
                    </a:lnTo>
                    <a:lnTo>
                      <a:pt x="61913" y="740568"/>
                    </a:lnTo>
                    <a:lnTo>
                      <a:pt x="28575" y="769144"/>
                    </a:lnTo>
                    <a:lnTo>
                      <a:pt x="33338" y="812006"/>
                    </a:lnTo>
                    <a:lnTo>
                      <a:pt x="0" y="816769"/>
                    </a:lnTo>
                    <a:lnTo>
                      <a:pt x="4763" y="840581"/>
                    </a:lnTo>
                    <a:lnTo>
                      <a:pt x="61912" y="914400"/>
                    </a:lnTo>
                    <a:lnTo>
                      <a:pt x="23813" y="962025"/>
                    </a:lnTo>
                    <a:lnTo>
                      <a:pt x="78581" y="997744"/>
                    </a:lnTo>
                    <a:lnTo>
                      <a:pt x="169069" y="1085850"/>
                    </a:lnTo>
                    <a:cubicBezTo>
                      <a:pt x="169863" y="1105694"/>
                      <a:pt x="170656" y="1125537"/>
                      <a:pt x="171450" y="1145381"/>
                    </a:cubicBezTo>
                    <a:lnTo>
                      <a:pt x="307181" y="1278732"/>
                    </a:lnTo>
                    <a:lnTo>
                      <a:pt x="361950" y="1254919"/>
                    </a:lnTo>
                    <a:lnTo>
                      <a:pt x="400050" y="1281112"/>
                    </a:lnTo>
                    <a:lnTo>
                      <a:pt x="414338" y="1331118"/>
                    </a:lnTo>
                    <a:lnTo>
                      <a:pt x="457200" y="1366838"/>
                    </a:lnTo>
                    <a:lnTo>
                      <a:pt x="497681" y="1354931"/>
                    </a:lnTo>
                    <a:lnTo>
                      <a:pt x="516731" y="1412081"/>
                    </a:lnTo>
                    <a:lnTo>
                      <a:pt x="564356" y="1454944"/>
                    </a:lnTo>
                    <a:lnTo>
                      <a:pt x="588169" y="1557338"/>
                    </a:lnTo>
                    <a:lnTo>
                      <a:pt x="585788" y="1604963"/>
                    </a:lnTo>
                    <a:lnTo>
                      <a:pt x="621506" y="1704975"/>
                    </a:lnTo>
                    <a:lnTo>
                      <a:pt x="666750" y="1762125"/>
                    </a:lnTo>
                    <a:lnTo>
                      <a:pt x="683418" y="1919287"/>
                    </a:lnTo>
                    <a:lnTo>
                      <a:pt x="650081" y="1981200"/>
                    </a:lnTo>
                    <a:lnTo>
                      <a:pt x="619125" y="2057400"/>
                    </a:lnTo>
                    <a:lnTo>
                      <a:pt x="633413" y="2114550"/>
                    </a:lnTo>
                    <a:lnTo>
                      <a:pt x="535781" y="2221707"/>
                    </a:lnTo>
                    <a:lnTo>
                      <a:pt x="492919" y="2336006"/>
                    </a:lnTo>
                    <a:lnTo>
                      <a:pt x="526256" y="2376488"/>
                    </a:lnTo>
                    <a:lnTo>
                      <a:pt x="509588" y="2405063"/>
                    </a:lnTo>
                    <a:lnTo>
                      <a:pt x="540544" y="2462213"/>
                    </a:lnTo>
                    <a:lnTo>
                      <a:pt x="569119" y="2462213"/>
                    </a:lnTo>
                    <a:lnTo>
                      <a:pt x="731044" y="2564606"/>
                    </a:lnTo>
                    <a:lnTo>
                      <a:pt x="835819" y="2562225"/>
                    </a:lnTo>
                    <a:lnTo>
                      <a:pt x="914400" y="2616994"/>
                    </a:lnTo>
                    <a:lnTo>
                      <a:pt x="1045368" y="2619375"/>
                    </a:lnTo>
                    <a:lnTo>
                      <a:pt x="1235868" y="2688431"/>
                    </a:lnTo>
                    <a:lnTo>
                      <a:pt x="1438275" y="2838450"/>
                    </a:lnTo>
                    <a:lnTo>
                      <a:pt x="1471612" y="2905125"/>
                    </a:lnTo>
                    <a:lnTo>
                      <a:pt x="1638300" y="3031331"/>
                    </a:lnTo>
                    <a:lnTo>
                      <a:pt x="1709738" y="3026569"/>
                    </a:lnTo>
                    <a:lnTo>
                      <a:pt x="1745457" y="3050381"/>
                    </a:lnTo>
                    <a:lnTo>
                      <a:pt x="1716881" y="3090863"/>
                    </a:lnTo>
                    <a:lnTo>
                      <a:pt x="1724025" y="3143250"/>
                    </a:lnTo>
                    <a:lnTo>
                      <a:pt x="1776413" y="3169444"/>
                    </a:lnTo>
                    <a:lnTo>
                      <a:pt x="1838325" y="3393282"/>
                    </a:lnTo>
                    <a:lnTo>
                      <a:pt x="1828800" y="3457575"/>
                    </a:lnTo>
                    <a:lnTo>
                      <a:pt x="1964531" y="3624263"/>
                    </a:lnTo>
                    <a:lnTo>
                      <a:pt x="1983581" y="3674269"/>
                    </a:lnTo>
                    <a:lnTo>
                      <a:pt x="1957388" y="3693319"/>
                    </a:lnTo>
                    <a:lnTo>
                      <a:pt x="2059781" y="3702844"/>
                    </a:lnTo>
                    <a:lnTo>
                      <a:pt x="2171700" y="3690938"/>
                    </a:lnTo>
                    <a:lnTo>
                      <a:pt x="2450306" y="3774281"/>
                    </a:lnTo>
                    <a:lnTo>
                      <a:pt x="2857500" y="3855244"/>
                    </a:lnTo>
                    <a:lnTo>
                      <a:pt x="3055144" y="3824287"/>
                    </a:lnTo>
                    <a:lnTo>
                      <a:pt x="3100388" y="3836193"/>
                    </a:lnTo>
                    <a:lnTo>
                      <a:pt x="3155156" y="3812382"/>
                    </a:lnTo>
                    <a:lnTo>
                      <a:pt x="3548062" y="3902869"/>
                    </a:lnTo>
                    <a:lnTo>
                      <a:pt x="3631407" y="4000500"/>
                    </a:lnTo>
                    <a:lnTo>
                      <a:pt x="3750469" y="4071938"/>
                    </a:lnTo>
                    <a:lnTo>
                      <a:pt x="3810000" y="4055269"/>
                    </a:lnTo>
                    <a:lnTo>
                      <a:pt x="4160043" y="4229100"/>
                    </a:lnTo>
                    <a:lnTo>
                      <a:pt x="4386263" y="4200525"/>
                    </a:lnTo>
                    <a:lnTo>
                      <a:pt x="4395788" y="4279106"/>
                    </a:lnTo>
                    <a:lnTo>
                      <a:pt x="4481513" y="4274343"/>
                    </a:lnTo>
                    <a:lnTo>
                      <a:pt x="4560094" y="4305300"/>
                    </a:lnTo>
                    <a:lnTo>
                      <a:pt x="4602956" y="4245769"/>
                    </a:lnTo>
                    <a:lnTo>
                      <a:pt x="5274469" y="3926681"/>
                    </a:lnTo>
                    <a:lnTo>
                      <a:pt x="5362575" y="3955257"/>
                    </a:lnTo>
                    <a:lnTo>
                      <a:pt x="5493544" y="3926681"/>
                    </a:lnTo>
                    <a:lnTo>
                      <a:pt x="5672137" y="3943350"/>
                    </a:lnTo>
                    <a:lnTo>
                      <a:pt x="5729288" y="3917157"/>
                    </a:lnTo>
                    <a:lnTo>
                      <a:pt x="5862637" y="3914775"/>
                    </a:lnTo>
                    <a:lnTo>
                      <a:pt x="5995987" y="3817144"/>
                    </a:lnTo>
                    <a:lnTo>
                      <a:pt x="6062662" y="3810000"/>
                    </a:lnTo>
                    <a:lnTo>
                      <a:pt x="6160294" y="3736181"/>
                    </a:lnTo>
                    <a:lnTo>
                      <a:pt x="6234113" y="3667125"/>
                    </a:lnTo>
                    <a:lnTo>
                      <a:pt x="6243638" y="3605213"/>
                    </a:lnTo>
                    <a:lnTo>
                      <a:pt x="6276975" y="3536156"/>
                    </a:lnTo>
                    <a:lnTo>
                      <a:pt x="6429375" y="3429000"/>
                    </a:lnTo>
                    <a:lnTo>
                      <a:pt x="6462713" y="3433763"/>
                    </a:lnTo>
                    <a:lnTo>
                      <a:pt x="6515100" y="3355181"/>
                    </a:lnTo>
                    <a:lnTo>
                      <a:pt x="6562725" y="3317081"/>
                    </a:lnTo>
                    <a:lnTo>
                      <a:pt x="6548438" y="3248025"/>
                    </a:lnTo>
                    <a:lnTo>
                      <a:pt x="6498431" y="3217068"/>
                    </a:lnTo>
                    <a:lnTo>
                      <a:pt x="6438900" y="3162300"/>
                    </a:lnTo>
                    <a:lnTo>
                      <a:pt x="6419850" y="3105150"/>
                    </a:lnTo>
                    <a:lnTo>
                      <a:pt x="6384131" y="3071813"/>
                    </a:lnTo>
                    <a:lnTo>
                      <a:pt x="6410325" y="3019425"/>
                    </a:lnTo>
                    <a:lnTo>
                      <a:pt x="6450806" y="2840831"/>
                    </a:lnTo>
                    <a:lnTo>
                      <a:pt x="6491288" y="2774156"/>
                    </a:lnTo>
                    <a:lnTo>
                      <a:pt x="6636544" y="2757487"/>
                    </a:lnTo>
                    <a:lnTo>
                      <a:pt x="6705600" y="2814638"/>
                    </a:lnTo>
                    <a:lnTo>
                      <a:pt x="6781800" y="2838450"/>
                    </a:lnTo>
                    <a:lnTo>
                      <a:pt x="6986587" y="2843213"/>
                    </a:lnTo>
                    <a:lnTo>
                      <a:pt x="7162800" y="2705100"/>
                    </a:lnTo>
                    <a:lnTo>
                      <a:pt x="7219950" y="2614612"/>
                    </a:lnTo>
                    <a:lnTo>
                      <a:pt x="7246144" y="2531269"/>
                    </a:lnTo>
                    <a:lnTo>
                      <a:pt x="7377112" y="2531269"/>
                    </a:lnTo>
                    <a:lnTo>
                      <a:pt x="7550944" y="2474118"/>
                    </a:lnTo>
                    <a:lnTo>
                      <a:pt x="7610475" y="2362200"/>
                    </a:lnTo>
                    <a:lnTo>
                      <a:pt x="7674769" y="2326481"/>
                    </a:lnTo>
                    <a:lnTo>
                      <a:pt x="7653338" y="2281238"/>
                    </a:lnTo>
                    <a:lnTo>
                      <a:pt x="7731919" y="2112168"/>
                    </a:lnTo>
                    <a:lnTo>
                      <a:pt x="7786688" y="2052638"/>
                    </a:lnTo>
                    <a:lnTo>
                      <a:pt x="7824788" y="2047875"/>
                    </a:lnTo>
                    <a:lnTo>
                      <a:pt x="7870031" y="2052638"/>
                    </a:lnTo>
                    <a:lnTo>
                      <a:pt x="7934325" y="2019300"/>
                    </a:lnTo>
                    <a:lnTo>
                      <a:pt x="7943850" y="1955006"/>
                    </a:lnTo>
                    <a:lnTo>
                      <a:pt x="7984330" y="1919288"/>
                    </a:lnTo>
                    <a:lnTo>
                      <a:pt x="8043863" y="1959768"/>
                    </a:lnTo>
                    <a:lnTo>
                      <a:pt x="8070057" y="1909762"/>
                    </a:lnTo>
                    <a:lnTo>
                      <a:pt x="8165306" y="1840706"/>
                    </a:lnTo>
                    <a:lnTo>
                      <a:pt x="8227219" y="1847850"/>
                    </a:lnTo>
                    <a:lnTo>
                      <a:pt x="8277225" y="1828800"/>
                    </a:lnTo>
                    <a:lnTo>
                      <a:pt x="8315325" y="1800225"/>
                    </a:lnTo>
                    <a:lnTo>
                      <a:pt x="8348663" y="1797844"/>
                    </a:lnTo>
                    <a:lnTo>
                      <a:pt x="8384381" y="1828800"/>
                    </a:lnTo>
                    <a:lnTo>
                      <a:pt x="8443913" y="1828800"/>
                    </a:lnTo>
                    <a:lnTo>
                      <a:pt x="8482012" y="1809750"/>
                    </a:lnTo>
                    <a:lnTo>
                      <a:pt x="8565356" y="1812132"/>
                    </a:lnTo>
                    <a:lnTo>
                      <a:pt x="8596313" y="1766888"/>
                    </a:lnTo>
                    <a:lnTo>
                      <a:pt x="8601075" y="1704975"/>
                    </a:lnTo>
                    <a:lnTo>
                      <a:pt x="8551068" y="1664494"/>
                    </a:lnTo>
                    <a:lnTo>
                      <a:pt x="8534400" y="1609725"/>
                    </a:lnTo>
                    <a:lnTo>
                      <a:pt x="8443913" y="1547813"/>
                    </a:lnTo>
                    <a:lnTo>
                      <a:pt x="8403431" y="1526381"/>
                    </a:lnTo>
                    <a:lnTo>
                      <a:pt x="8365331" y="1481138"/>
                    </a:lnTo>
                    <a:lnTo>
                      <a:pt x="8334375" y="1478756"/>
                    </a:lnTo>
                    <a:lnTo>
                      <a:pt x="8317706" y="1426369"/>
                    </a:lnTo>
                    <a:lnTo>
                      <a:pt x="8277225" y="1409700"/>
                    </a:lnTo>
                    <a:lnTo>
                      <a:pt x="8277225" y="1409700"/>
                    </a:lnTo>
                    <a:lnTo>
                      <a:pt x="8236744" y="1414463"/>
                    </a:lnTo>
                    <a:lnTo>
                      <a:pt x="8151018" y="1340644"/>
                    </a:lnTo>
                    <a:lnTo>
                      <a:pt x="7970044" y="1340643"/>
                    </a:lnTo>
                    <a:lnTo>
                      <a:pt x="7917656" y="1378744"/>
                    </a:lnTo>
                    <a:lnTo>
                      <a:pt x="7867650" y="1457325"/>
                    </a:lnTo>
                    <a:lnTo>
                      <a:pt x="7884319" y="1478756"/>
                    </a:lnTo>
                    <a:lnTo>
                      <a:pt x="7839075" y="1528762"/>
                    </a:lnTo>
                    <a:lnTo>
                      <a:pt x="7689056" y="1452562"/>
                    </a:lnTo>
                    <a:lnTo>
                      <a:pt x="7598569" y="1488281"/>
                    </a:lnTo>
                    <a:lnTo>
                      <a:pt x="7524750" y="1485900"/>
                    </a:lnTo>
                    <a:lnTo>
                      <a:pt x="7467600" y="1581150"/>
                    </a:lnTo>
                    <a:lnTo>
                      <a:pt x="7329488" y="1483519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</a:schemeClr>
              </a:solidFill>
              <a:ln w="6350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GB" noProof="1"/>
              </a:p>
            </p:txBody>
          </p:sp>
          <p:sp>
            <p:nvSpPr>
              <p:cNvPr id="12" name="Russia">
                <a:extLst>
                  <a:ext uri="{FF2B5EF4-FFF2-40B4-BE49-F238E27FC236}">
                    <a16:creationId xmlns:a16="http://schemas.microsoft.com/office/drawing/2014/main" id="{A777CA02-D8B8-4FB8-908B-2F03D53069D3}"/>
                  </a:ext>
                </a:extLst>
              </p:cNvPr>
              <p:cNvSpPr/>
              <p:nvPr/>
            </p:nvSpPr>
            <p:spPr bwMode="gray">
              <a:xfrm>
                <a:off x="552371" y="2071688"/>
                <a:ext cx="8415418" cy="1283857"/>
              </a:xfrm>
              <a:custGeom>
                <a:avLst/>
                <a:gdLst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19575 w 8601075"/>
                  <a:gd name="connsiteY34" fmla="*/ 838200 h 4333875"/>
                  <a:gd name="connsiteX35" fmla="*/ 4105275 w 8601075"/>
                  <a:gd name="connsiteY35" fmla="*/ 828675 h 4333875"/>
                  <a:gd name="connsiteX36" fmla="*/ 4010025 w 8601075"/>
                  <a:gd name="connsiteY36" fmla="*/ 771525 h 4333875"/>
                  <a:gd name="connsiteX37" fmla="*/ 3895725 w 8601075"/>
                  <a:gd name="connsiteY37" fmla="*/ 695325 h 4333875"/>
                  <a:gd name="connsiteX38" fmla="*/ 3781425 w 8601075"/>
                  <a:gd name="connsiteY38" fmla="*/ 590550 h 4333875"/>
                  <a:gd name="connsiteX39" fmla="*/ 3810000 w 8601075"/>
                  <a:gd name="connsiteY39" fmla="*/ 514350 h 4333875"/>
                  <a:gd name="connsiteX40" fmla="*/ 3781425 w 8601075"/>
                  <a:gd name="connsiteY40" fmla="*/ 390525 h 4333875"/>
                  <a:gd name="connsiteX41" fmla="*/ 3771900 w 8601075"/>
                  <a:gd name="connsiteY41" fmla="*/ 352425 h 4333875"/>
                  <a:gd name="connsiteX42" fmla="*/ 3600450 w 8601075"/>
                  <a:gd name="connsiteY42" fmla="*/ 285750 h 4333875"/>
                  <a:gd name="connsiteX43" fmla="*/ 3533775 w 8601075"/>
                  <a:gd name="connsiteY43" fmla="*/ 314325 h 4333875"/>
                  <a:gd name="connsiteX44" fmla="*/ 3409950 w 8601075"/>
                  <a:gd name="connsiteY44" fmla="*/ 190500 h 4333875"/>
                  <a:gd name="connsiteX45" fmla="*/ 3257550 w 8601075"/>
                  <a:gd name="connsiteY45" fmla="*/ 180975 h 4333875"/>
                  <a:gd name="connsiteX46" fmla="*/ 3209925 w 8601075"/>
                  <a:gd name="connsiteY46" fmla="*/ 104775 h 4333875"/>
                  <a:gd name="connsiteX47" fmla="*/ 3152775 w 8601075"/>
                  <a:gd name="connsiteY47" fmla="*/ 104775 h 4333875"/>
                  <a:gd name="connsiteX48" fmla="*/ 2990850 w 8601075"/>
                  <a:gd name="connsiteY48" fmla="*/ 0 h 4333875"/>
                  <a:gd name="connsiteX49" fmla="*/ 2933700 w 8601075"/>
                  <a:gd name="connsiteY49" fmla="*/ 114300 h 4333875"/>
                  <a:gd name="connsiteX50" fmla="*/ 2867025 w 8601075"/>
                  <a:gd name="connsiteY50" fmla="*/ 171450 h 4333875"/>
                  <a:gd name="connsiteX51" fmla="*/ 2867025 w 8601075"/>
                  <a:gd name="connsiteY51" fmla="*/ 171450 h 4333875"/>
                  <a:gd name="connsiteX52" fmla="*/ 2800350 w 8601075"/>
                  <a:gd name="connsiteY52" fmla="*/ 257175 h 4333875"/>
                  <a:gd name="connsiteX53" fmla="*/ 2724150 w 8601075"/>
                  <a:gd name="connsiteY53" fmla="*/ 304800 h 4333875"/>
                  <a:gd name="connsiteX54" fmla="*/ 2705100 w 8601075"/>
                  <a:gd name="connsiteY54" fmla="*/ 466725 h 4333875"/>
                  <a:gd name="connsiteX55" fmla="*/ 2762250 w 8601075"/>
                  <a:gd name="connsiteY55" fmla="*/ 571500 h 4333875"/>
                  <a:gd name="connsiteX56" fmla="*/ 2800350 w 8601075"/>
                  <a:gd name="connsiteY56" fmla="*/ 628650 h 4333875"/>
                  <a:gd name="connsiteX57" fmla="*/ 2752725 w 8601075"/>
                  <a:gd name="connsiteY57" fmla="*/ 781050 h 4333875"/>
                  <a:gd name="connsiteX58" fmla="*/ 2686050 w 8601075"/>
                  <a:gd name="connsiteY58" fmla="*/ 857250 h 4333875"/>
                  <a:gd name="connsiteX59" fmla="*/ 2609850 w 8601075"/>
                  <a:gd name="connsiteY59" fmla="*/ 857250 h 4333875"/>
                  <a:gd name="connsiteX60" fmla="*/ 2514600 w 8601075"/>
                  <a:gd name="connsiteY60" fmla="*/ 914400 h 4333875"/>
                  <a:gd name="connsiteX61" fmla="*/ 2400300 w 8601075"/>
                  <a:gd name="connsiteY61" fmla="*/ 866775 h 4333875"/>
                  <a:gd name="connsiteX62" fmla="*/ 2305050 w 8601075"/>
                  <a:gd name="connsiteY62" fmla="*/ 809625 h 4333875"/>
                  <a:gd name="connsiteX63" fmla="*/ 2200275 w 8601075"/>
                  <a:gd name="connsiteY63" fmla="*/ 752475 h 4333875"/>
                  <a:gd name="connsiteX64" fmla="*/ 2105025 w 8601075"/>
                  <a:gd name="connsiteY64" fmla="*/ 762000 h 4333875"/>
                  <a:gd name="connsiteX65" fmla="*/ 1990725 w 8601075"/>
                  <a:gd name="connsiteY65" fmla="*/ 762000 h 4333875"/>
                  <a:gd name="connsiteX66" fmla="*/ 1885950 w 8601075"/>
                  <a:gd name="connsiteY66" fmla="*/ 742950 h 4333875"/>
                  <a:gd name="connsiteX67" fmla="*/ 1800225 w 8601075"/>
                  <a:gd name="connsiteY67" fmla="*/ 638175 h 4333875"/>
                  <a:gd name="connsiteX68" fmla="*/ 1809750 w 8601075"/>
                  <a:gd name="connsiteY68" fmla="*/ 495300 h 4333875"/>
                  <a:gd name="connsiteX69" fmla="*/ 1733550 w 8601075"/>
                  <a:gd name="connsiteY69" fmla="*/ 466725 h 4333875"/>
                  <a:gd name="connsiteX70" fmla="*/ 1485900 w 8601075"/>
                  <a:gd name="connsiteY70" fmla="*/ 419100 h 4333875"/>
                  <a:gd name="connsiteX71" fmla="*/ 1457325 w 8601075"/>
                  <a:gd name="connsiteY71" fmla="*/ 323850 h 4333875"/>
                  <a:gd name="connsiteX72" fmla="*/ 1457325 w 8601075"/>
                  <a:gd name="connsiteY72" fmla="*/ 323850 h 4333875"/>
                  <a:gd name="connsiteX73" fmla="*/ 1323975 w 8601075"/>
                  <a:gd name="connsiteY73" fmla="*/ 285750 h 4333875"/>
                  <a:gd name="connsiteX74" fmla="*/ 1266825 w 8601075"/>
                  <a:gd name="connsiteY74" fmla="*/ 352425 h 4333875"/>
                  <a:gd name="connsiteX75" fmla="*/ 1009650 w 8601075"/>
                  <a:gd name="connsiteY75" fmla="*/ 390525 h 4333875"/>
                  <a:gd name="connsiteX76" fmla="*/ 828675 w 8601075"/>
                  <a:gd name="connsiteY76" fmla="*/ 447675 h 4333875"/>
                  <a:gd name="connsiteX77" fmla="*/ 619125 w 8601075"/>
                  <a:gd name="connsiteY77" fmla="*/ 533400 h 4333875"/>
                  <a:gd name="connsiteX78" fmla="*/ 619125 w 8601075"/>
                  <a:gd name="connsiteY78" fmla="*/ 533400 h 4333875"/>
                  <a:gd name="connsiteX79" fmla="*/ 561975 w 8601075"/>
                  <a:gd name="connsiteY79" fmla="*/ 619125 h 4333875"/>
                  <a:gd name="connsiteX80" fmla="*/ 447675 w 8601075"/>
                  <a:gd name="connsiteY80" fmla="*/ 63817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295275 w 8601075"/>
                  <a:gd name="connsiteY83" fmla="*/ 657225 h 4333875"/>
                  <a:gd name="connsiteX84" fmla="*/ 180975 w 8601075"/>
                  <a:gd name="connsiteY84" fmla="*/ 638175 h 4333875"/>
                  <a:gd name="connsiteX85" fmla="*/ 180975 w 8601075"/>
                  <a:gd name="connsiteY85" fmla="*/ 638175 h 4333875"/>
                  <a:gd name="connsiteX86" fmla="*/ 57150 w 8601075"/>
                  <a:gd name="connsiteY86" fmla="*/ 733425 h 4333875"/>
                  <a:gd name="connsiteX87" fmla="*/ 19050 w 8601075"/>
                  <a:gd name="connsiteY87" fmla="*/ 790575 h 4333875"/>
                  <a:gd name="connsiteX88" fmla="*/ 0 w 8601075"/>
                  <a:gd name="connsiteY88" fmla="*/ 876300 h 4333875"/>
                  <a:gd name="connsiteX89" fmla="*/ 57150 w 8601075"/>
                  <a:gd name="connsiteY89" fmla="*/ 923925 h 4333875"/>
                  <a:gd name="connsiteX90" fmla="*/ 57150 w 8601075"/>
                  <a:gd name="connsiteY90" fmla="*/ 923925 h 4333875"/>
                  <a:gd name="connsiteX91" fmla="*/ 209550 w 8601075"/>
                  <a:gd name="connsiteY91" fmla="*/ 1114425 h 4333875"/>
                  <a:gd name="connsiteX92" fmla="*/ 209550 w 8601075"/>
                  <a:gd name="connsiteY92" fmla="*/ 1114425 h 4333875"/>
                  <a:gd name="connsiteX93" fmla="*/ 266700 w 8601075"/>
                  <a:gd name="connsiteY93" fmla="*/ 1295400 h 4333875"/>
                  <a:gd name="connsiteX94" fmla="*/ 409575 w 8601075"/>
                  <a:gd name="connsiteY94" fmla="*/ 1276350 h 4333875"/>
                  <a:gd name="connsiteX95" fmla="*/ 466725 w 8601075"/>
                  <a:gd name="connsiteY95" fmla="*/ 1362075 h 4333875"/>
                  <a:gd name="connsiteX96" fmla="*/ 542925 w 8601075"/>
                  <a:gd name="connsiteY96" fmla="*/ 1428750 h 4333875"/>
                  <a:gd name="connsiteX97" fmla="*/ 628650 w 8601075"/>
                  <a:gd name="connsiteY97" fmla="*/ 1571625 h 4333875"/>
                  <a:gd name="connsiteX98" fmla="*/ 628650 w 8601075"/>
                  <a:gd name="connsiteY98" fmla="*/ 1704975 h 4333875"/>
                  <a:gd name="connsiteX99" fmla="*/ 676275 w 8601075"/>
                  <a:gd name="connsiteY99" fmla="*/ 1771650 h 4333875"/>
                  <a:gd name="connsiteX100" fmla="*/ 657225 w 8601075"/>
                  <a:gd name="connsiteY100" fmla="*/ 2000250 h 4333875"/>
                  <a:gd name="connsiteX101" fmla="*/ 619125 w 8601075"/>
                  <a:gd name="connsiteY101" fmla="*/ 2095500 h 4333875"/>
                  <a:gd name="connsiteX102" fmla="*/ 542925 w 8601075"/>
                  <a:gd name="connsiteY102" fmla="*/ 2228850 h 4333875"/>
                  <a:gd name="connsiteX103" fmla="*/ 485775 w 8601075"/>
                  <a:gd name="connsiteY103" fmla="*/ 2362200 h 4333875"/>
                  <a:gd name="connsiteX104" fmla="*/ 552450 w 8601075"/>
                  <a:gd name="connsiteY104" fmla="*/ 2486025 h 4333875"/>
                  <a:gd name="connsiteX105" fmla="*/ 771525 w 8601075"/>
                  <a:gd name="connsiteY105" fmla="*/ 2571750 h 4333875"/>
                  <a:gd name="connsiteX106" fmla="*/ 866775 w 8601075"/>
                  <a:gd name="connsiteY106" fmla="*/ 2571750 h 4333875"/>
                  <a:gd name="connsiteX107" fmla="*/ 914400 w 8601075"/>
                  <a:gd name="connsiteY107" fmla="*/ 2638425 h 4333875"/>
                  <a:gd name="connsiteX108" fmla="*/ 1066800 w 8601075"/>
                  <a:gd name="connsiteY108" fmla="*/ 2638425 h 4333875"/>
                  <a:gd name="connsiteX109" fmla="*/ 1285875 w 8601075"/>
                  <a:gd name="connsiteY109" fmla="*/ 2705100 h 4333875"/>
                  <a:gd name="connsiteX110" fmla="*/ 1438275 w 8601075"/>
                  <a:gd name="connsiteY110" fmla="*/ 2838450 h 4333875"/>
                  <a:gd name="connsiteX111" fmla="*/ 1485900 w 8601075"/>
                  <a:gd name="connsiteY111" fmla="*/ 2914650 h 4333875"/>
                  <a:gd name="connsiteX112" fmla="*/ 1657350 w 8601075"/>
                  <a:gd name="connsiteY112" fmla="*/ 3038475 h 4333875"/>
                  <a:gd name="connsiteX113" fmla="*/ 1752600 w 8601075"/>
                  <a:gd name="connsiteY113" fmla="*/ 3057525 h 4333875"/>
                  <a:gd name="connsiteX114" fmla="*/ 1724025 w 8601075"/>
                  <a:gd name="connsiteY114" fmla="*/ 3143250 h 4333875"/>
                  <a:gd name="connsiteX115" fmla="*/ 1724025 w 8601075"/>
                  <a:gd name="connsiteY115" fmla="*/ 3143250 h 4333875"/>
                  <a:gd name="connsiteX116" fmla="*/ 1781175 w 8601075"/>
                  <a:gd name="connsiteY116" fmla="*/ 3181350 h 4333875"/>
                  <a:gd name="connsiteX117" fmla="*/ 1819275 w 8601075"/>
                  <a:gd name="connsiteY117" fmla="*/ 3362325 h 4333875"/>
                  <a:gd name="connsiteX118" fmla="*/ 1828800 w 8601075"/>
                  <a:gd name="connsiteY118" fmla="*/ 3457575 h 4333875"/>
                  <a:gd name="connsiteX119" fmla="*/ 1971675 w 8601075"/>
                  <a:gd name="connsiteY119" fmla="*/ 3590925 h 4333875"/>
                  <a:gd name="connsiteX120" fmla="*/ 1990725 w 8601075"/>
                  <a:gd name="connsiteY120" fmla="*/ 3714750 h 4333875"/>
                  <a:gd name="connsiteX121" fmla="*/ 2200275 w 8601075"/>
                  <a:gd name="connsiteY121" fmla="*/ 3695700 h 4333875"/>
                  <a:gd name="connsiteX122" fmla="*/ 2886075 w 8601075"/>
                  <a:gd name="connsiteY122" fmla="*/ 3886200 h 4333875"/>
                  <a:gd name="connsiteX123" fmla="*/ 3038475 w 8601075"/>
                  <a:gd name="connsiteY123" fmla="*/ 3819525 h 4333875"/>
                  <a:gd name="connsiteX124" fmla="*/ 3105150 w 8601075"/>
                  <a:gd name="connsiteY124" fmla="*/ 3867150 h 4333875"/>
                  <a:gd name="connsiteX125" fmla="*/ 3181350 w 8601075"/>
                  <a:gd name="connsiteY125" fmla="*/ 3800475 h 4333875"/>
                  <a:gd name="connsiteX126" fmla="*/ 3590925 w 8601075"/>
                  <a:gd name="connsiteY126" fmla="*/ 3943350 h 4333875"/>
                  <a:gd name="connsiteX127" fmla="*/ 3686175 w 8601075"/>
                  <a:gd name="connsiteY127" fmla="*/ 4057650 h 4333875"/>
                  <a:gd name="connsiteX128" fmla="*/ 3838575 w 8601075"/>
                  <a:gd name="connsiteY128" fmla="*/ 4057650 h 4333875"/>
                  <a:gd name="connsiteX129" fmla="*/ 4162425 w 8601075"/>
                  <a:gd name="connsiteY129" fmla="*/ 4248150 h 4333875"/>
                  <a:gd name="connsiteX130" fmla="*/ 4391025 w 8601075"/>
                  <a:gd name="connsiteY130" fmla="*/ 4200525 h 4333875"/>
                  <a:gd name="connsiteX131" fmla="*/ 4410075 w 8601075"/>
                  <a:gd name="connsiteY131" fmla="*/ 4305300 h 4333875"/>
                  <a:gd name="connsiteX132" fmla="*/ 4505325 w 8601075"/>
                  <a:gd name="connsiteY132" fmla="*/ 4276725 h 4333875"/>
                  <a:gd name="connsiteX133" fmla="*/ 4572000 w 8601075"/>
                  <a:gd name="connsiteY133" fmla="*/ 4333875 h 4333875"/>
                  <a:gd name="connsiteX134" fmla="*/ 4591050 w 8601075"/>
                  <a:gd name="connsiteY134" fmla="*/ 4248150 h 4333875"/>
                  <a:gd name="connsiteX135" fmla="*/ 5295900 w 8601075"/>
                  <a:gd name="connsiteY135" fmla="*/ 3924300 h 4333875"/>
                  <a:gd name="connsiteX136" fmla="*/ 5353050 w 8601075"/>
                  <a:gd name="connsiteY136" fmla="*/ 3990975 h 4333875"/>
                  <a:gd name="connsiteX137" fmla="*/ 5524500 w 8601075"/>
                  <a:gd name="connsiteY137" fmla="*/ 3914775 h 4333875"/>
                  <a:gd name="connsiteX138" fmla="*/ 5667375 w 8601075"/>
                  <a:gd name="connsiteY138" fmla="*/ 3962400 h 4333875"/>
                  <a:gd name="connsiteX139" fmla="*/ 5753100 w 8601075"/>
                  <a:gd name="connsiteY139" fmla="*/ 3924300 h 4333875"/>
                  <a:gd name="connsiteX140" fmla="*/ 5905500 w 8601075"/>
                  <a:gd name="connsiteY140" fmla="*/ 3943350 h 4333875"/>
                  <a:gd name="connsiteX141" fmla="*/ 6000750 w 8601075"/>
                  <a:gd name="connsiteY141" fmla="*/ 3800475 h 4333875"/>
                  <a:gd name="connsiteX142" fmla="*/ 6153150 w 8601075"/>
                  <a:gd name="connsiteY142" fmla="*/ 3781425 h 4333875"/>
                  <a:gd name="connsiteX143" fmla="*/ 6257925 w 8601075"/>
                  <a:gd name="connsiteY143" fmla="*/ 3581400 h 4333875"/>
                  <a:gd name="connsiteX144" fmla="*/ 6448425 w 8601075"/>
                  <a:gd name="connsiteY144" fmla="*/ 3448050 h 4333875"/>
                  <a:gd name="connsiteX145" fmla="*/ 6581775 w 8601075"/>
                  <a:gd name="connsiteY145" fmla="*/ 3276600 h 4333875"/>
                  <a:gd name="connsiteX146" fmla="*/ 6496050 w 8601075"/>
                  <a:gd name="connsiteY146" fmla="*/ 3228975 h 4333875"/>
                  <a:gd name="connsiteX147" fmla="*/ 6438900 w 8601075"/>
                  <a:gd name="connsiteY147" fmla="*/ 3162300 h 4333875"/>
                  <a:gd name="connsiteX148" fmla="*/ 6419850 w 8601075"/>
                  <a:gd name="connsiteY148" fmla="*/ 3105150 h 4333875"/>
                  <a:gd name="connsiteX149" fmla="*/ 6362700 w 8601075"/>
                  <a:gd name="connsiteY149" fmla="*/ 3076575 h 4333875"/>
                  <a:gd name="connsiteX150" fmla="*/ 6410325 w 8601075"/>
                  <a:gd name="connsiteY150" fmla="*/ 3019425 h 4333875"/>
                  <a:gd name="connsiteX151" fmla="*/ 6438900 w 8601075"/>
                  <a:gd name="connsiteY151" fmla="*/ 2819400 h 4333875"/>
                  <a:gd name="connsiteX152" fmla="*/ 6496050 w 8601075"/>
                  <a:gd name="connsiteY152" fmla="*/ 2762250 h 4333875"/>
                  <a:gd name="connsiteX153" fmla="*/ 6657975 w 8601075"/>
                  <a:gd name="connsiteY153" fmla="*/ 2752725 h 4333875"/>
                  <a:gd name="connsiteX154" fmla="*/ 6781800 w 8601075"/>
                  <a:gd name="connsiteY154" fmla="*/ 2838450 h 4333875"/>
                  <a:gd name="connsiteX155" fmla="*/ 7010400 w 8601075"/>
                  <a:gd name="connsiteY155" fmla="*/ 2838450 h 4333875"/>
                  <a:gd name="connsiteX156" fmla="*/ 7162800 w 8601075"/>
                  <a:gd name="connsiteY156" fmla="*/ 2705100 h 4333875"/>
                  <a:gd name="connsiteX157" fmla="*/ 7229475 w 8601075"/>
                  <a:gd name="connsiteY157" fmla="*/ 2590800 h 4333875"/>
                  <a:gd name="connsiteX158" fmla="*/ 7248525 w 8601075"/>
                  <a:gd name="connsiteY158" fmla="*/ 2524125 h 4333875"/>
                  <a:gd name="connsiteX159" fmla="*/ 7372350 w 8601075"/>
                  <a:gd name="connsiteY159" fmla="*/ 2543175 h 4333875"/>
                  <a:gd name="connsiteX160" fmla="*/ 7553325 w 8601075"/>
                  <a:gd name="connsiteY160" fmla="*/ 2447925 h 4333875"/>
                  <a:gd name="connsiteX161" fmla="*/ 7620000 w 8601075"/>
                  <a:gd name="connsiteY161" fmla="*/ 2324100 h 4333875"/>
                  <a:gd name="connsiteX162" fmla="*/ 7696200 w 8601075"/>
                  <a:gd name="connsiteY162" fmla="*/ 2314575 h 4333875"/>
                  <a:gd name="connsiteX163" fmla="*/ 7658100 w 8601075"/>
                  <a:gd name="connsiteY163" fmla="*/ 2257425 h 4333875"/>
                  <a:gd name="connsiteX164" fmla="*/ 7753350 w 8601075"/>
                  <a:gd name="connsiteY164" fmla="*/ 2057400 h 4333875"/>
                  <a:gd name="connsiteX165" fmla="*/ 7934325 w 8601075"/>
                  <a:gd name="connsiteY165" fmla="*/ 2028825 h 4333875"/>
                  <a:gd name="connsiteX166" fmla="*/ 7953375 w 8601075"/>
                  <a:gd name="connsiteY166" fmla="*/ 1952625 h 4333875"/>
                  <a:gd name="connsiteX167" fmla="*/ 7953375 w 8601075"/>
                  <a:gd name="connsiteY167" fmla="*/ 1952625 h 4333875"/>
                  <a:gd name="connsiteX168" fmla="*/ 8010525 w 8601075"/>
                  <a:gd name="connsiteY168" fmla="*/ 1895475 h 4333875"/>
                  <a:gd name="connsiteX169" fmla="*/ 8048625 w 8601075"/>
                  <a:gd name="connsiteY169" fmla="*/ 1971675 h 4333875"/>
                  <a:gd name="connsiteX170" fmla="*/ 8077200 w 8601075"/>
                  <a:gd name="connsiteY170" fmla="*/ 1885950 h 4333875"/>
                  <a:gd name="connsiteX171" fmla="*/ 8220075 w 8601075"/>
                  <a:gd name="connsiteY171" fmla="*/ 1847850 h 4333875"/>
                  <a:gd name="connsiteX172" fmla="*/ 8296275 w 8601075"/>
                  <a:gd name="connsiteY172" fmla="*/ 1809750 h 4333875"/>
                  <a:gd name="connsiteX173" fmla="*/ 8324850 w 8601075"/>
                  <a:gd name="connsiteY173" fmla="*/ 1790700 h 4333875"/>
                  <a:gd name="connsiteX174" fmla="*/ 8410575 w 8601075"/>
                  <a:gd name="connsiteY174" fmla="*/ 1847850 h 4333875"/>
                  <a:gd name="connsiteX175" fmla="*/ 8505825 w 8601075"/>
                  <a:gd name="connsiteY175" fmla="*/ 1781175 h 4333875"/>
                  <a:gd name="connsiteX176" fmla="*/ 8572500 w 8601075"/>
                  <a:gd name="connsiteY176" fmla="*/ 1809750 h 4333875"/>
                  <a:gd name="connsiteX177" fmla="*/ 8601075 w 8601075"/>
                  <a:gd name="connsiteY177" fmla="*/ 1704975 h 4333875"/>
                  <a:gd name="connsiteX178" fmla="*/ 8553450 w 8601075"/>
                  <a:gd name="connsiteY178" fmla="*/ 1676400 h 4333875"/>
                  <a:gd name="connsiteX179" fmla="*/ 8534400 w 8601075"/>
                  <a:gd name="connsiteY179" fmla="*/ 1609725 h 4333875"/>
                  <a:gd name="connsiteX180" fmla="*/ 8277225 w 8601075"/>
                  <a:gd name="connsiteY180" fmla="*/ 1409700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124825 w 8601075"/>
                  <a:gd name="connsiteY183" fmla="*/ 1352550 h 4333875"/>
                  <a:gd name="connsiteX184" fmla="*/ 7924800 w 8601075"/>
                  <a:gd name="connsiteY184" fmla="*/ 1362075 h 4333875"/>
                  <a:gd name="connsiteX185" fmla="*/ 7867650 w 8601075"/>
                  <a:gd name="connsiteY185" fmla="*/ 1457325 h 4333875"/>
                  <a:gd name="connsiteX186" fmla="*/ 7896225 w 8601075"/>
                  <a:gd name="connsiteY186" fmla="*/ 1476375 h 4333875"/>
                  <a:gd name="connsiteX187" fmla="*/ 7858125 w 8601075"/>
                  <a:gd name="connsiteY187" fmla="*/ 1533525 h 4333875"/>
                  <a:gd name="connsiteX188" fmla="*/ 7658100 w 8601075"/>
                  <a:gd name="connsiteY188" fmla="*/ 1447800 h 4333875"/>
                  <a:gd name="connsiteX189" fmla="*/ 7515225 w 8601075"/>
                  <a:gd name="connsiteY189" fmla="*/ 1495425 h 4333875"/>
                  <a:gd name="connsiteX190" fmla="*/ 7467600 w 8601075"/>
                  <a:gd name="connsiteY190" fmla="*/ 1581150 h 4333875"/>
                  <a:gd name="connsiteX191" fmla="*/ 7296150 w 8601075"/>
                  <a:gd name="connsiteY19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19575 w 8601075"/>
                  <a:gd name="connsiteY35" fmla="*/ 838200 h 4333875"/>
                  <a:gd name="connsiteX36" fmla="*/ 4105275 w 8601075"/>
                  <a:gd name="connsiteY36" fmla="*/ 828675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05275 w 8601075"/>
                  <a:gd name="connsiteY36" fmla="*/ 828675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10025 w 8601075"/>
                  <a:gd name="connsiteY38" fmla="*/ 771525 h 4333875"/>
                  <a:gd name="connsiteX39" fmla="*/ 3895725 w 8601075"/>
                  <a:gd name="connsiteY39" fmla="*/ 695325 h 4333875"/>
                  <a:gd name="connsiteX40" fmla="*/ 3781425 w 8601075"/>
                  <a:gd name="connsiteY40" fmla="*/ 590550 h 4333875"/>
                  <a:gd name="connsiteX41" fmla="*/ 3810000 w 8601075"/>
                  <a:gd name="connsiteY41" fmla="*/ 514350 h 4333875"/>
                  <a:gd name="connsiteX42" fmla="*/ 3781425 w 8601075"/>
                  <a:gd name="connsiteY42" fmla="*/ 390525 h 4333875"/>
                  <a:gd name="connsiteX43" fmla="*/ 3771900 w 8601075"/>
                  <a:gd name="connsiteY43" fmla="*/ 352425 h 4333875"/>
                  <a:gd name="connsiteX44" fmla="*/ 3600450 w 8601075"/>
                  <a:gd name="connsiteY44" fmla="*/ 285750 h 4333875"/>
                  <a:gd name="connsiteX45" fmla="*/ 3533775 w 8601075"/>
                  <a:gd name="connsiteY45" fmla="*/ 314325 h 4333875"/>
                  <a:gd name="connsiteX46" fmla="*/ 3409950 w 8601075"/>
                  <a:gd name="connsiteY46" fmla="*/ 190500 h 4333875"/>
                  <a:gd name="connsiteX47" fmla="*/ 3257550 w 8601075"/>
                  <a:gd name="connsiteY47" fmla="*/ 180975 h 4333875"/>
                  <a:gd name="connsiteX48" fmla="*/ 3209925 w 8601075"/>
                  <a:gd name="connsiteY48" fmla="*/ 104775 h 4333875"/>
                  <a:gd name="connsiteX49" fmla="*/ 3152775 w 8601075"/>
                  <a:gd name="connsiteY49" fmla="*/ 104775 h 4333875"/>
                  <a:gd name="connsiteX50" fmla="*/ 2990850 w 8601075"/>
                  <a:gd name="connsiteY50" fmla="*/ 0 h 4333875"/>
                  <a:gd name="connsiteX51" fmla="*/ 2933700 w 8601075"/>
                  <a:gd name="connsiteY51" fmla="*/ 114300 h 4333875"/>
                  <a:gd name="connsiteX52" fmla="*/ 2867025 w 8601075"/>
                  <a:gd name="connsiteY52" fmla="*/ 171450 h 4333875"/>
                  <a:gd name="connsiteX53" fmla="*/ 2867025 w 8601075"/>
                  <a:gd name="connsiteY53" fmla="*/ 171450 h 4333875"/>
                  <a:gd name="connsiteX54" fmla="*/ 2800350 w 8601075"/>
                  <a:gd name="connsiteY54" fmla="*/ 257175 h 4333875"/>
                  <a:gd name="connsiteX55" fmla="*/ 2724150 w 8601075"/>
                  <a:gd name="connsiteY55" fmla="*/ 304800 h 4333875"/>
                  <a:gd name="connsiteX56" fmla="*/ 2705100 w 8601075"/>
                  <a:gd name="connsiteY56" fmla="*/ 466725 h 4333875"/>
                  <a:gd name="connsiteX57" fmla="*/ 2762250 w 8601075"/>
                  <a:gd name="connsiteY57" fmla="*/ 571500 h 4333875"/>
                  <a:gd name="connsiteX58" fmla="*/ 2800350 w 8601075"/>
                  <a:gd name="connsiteY58" fmla="*/ 628650 h 4333875"/>
                  <a:gd name="connsiteX59" fmla="*/ 2752725 w 8601075"/>
                  <a:gd name="connsiteY59" fmla="*/ 781050 h 4333875"/>
                  <a:gd name="connsiteX60" fmla="*/ 2686050 w 8601075"/>
                  <a:gd name="connsiteY60" fmla="*/ 857250 h 4333875"/>
                  <a:gd name="connsiteX61" fmla="*/ 2609850 w 8601075"/>
                  <a:gd name="connsiteY61" fmla="*/ 857250 h 4333875"/>
                  <a:gd name="connsiteX62" fmla="*/ 2514600 w 8601075"/>
                  <a:gd name="connsiteY62" fmla="*/ 914400 h 4333875"/>
                  <a:gd name="connsiteX63" fmla="*/ 2400300 w 8601075"/>
                  <a:gd name="connsiteY63" fmla="*/ 866775 h 4333875"/>
                  <a:gd name="connsiteX64" fmla="*/ 2305050 w 8601075"/>
                  <a:gd name="connsiteY64" fmla="*/ 809625 h 4333875"/>
                  <a:gd name="connsiteX65" fmla="*/ 2200275 w 8601075"/>
                  <a:gd name="connsiteY65" fmla="*/ 752475 h 4333875"/>
                  <a:gd name="connsiteX66" fmla="*/ 2105025 w 8601075"/>
                  <a:gd name="connsiteY66" fmla="*/ 762000 h 4333875"/>
                  <a:gd name="connsiteX67" fmla="*/ 1990725 w 8601075"/>
                  <a:gd name="connsiteY67" fmla="*/ 762000 h 4333875"/>
                  <a:gd name="connsiteX68" fmla="*/ 1885950 w 8601075"/>
                  <a:gd name="connsiteY68" fmla="*/ 742950 h 4333875"/>
                  <a:gd name="connsiteX69" fmla="*/ 1800225 w 8601075"/>
                  <a:gd name="connsiteY69" fmla="*/ 638175 h 4333875"/>
                  <a:gd name="connsiteX70" fmla="*/ 1809750 w 8601075"/>
                  <a:gd name="connsiteY70" fmla="*/ 495300 h 4333875"/>
                  <a:gd name="connsiteX71" fmla="*/ 1733550 w 8601075"/>
                  <a:gd name="connsiteY71" fmla="*/ 466725 h 4333875"/>
                  <a:gd name="connsiteX72" fmla="*/ 1485900 w 8601075"/>
                  <a:gd name="connsiteY72" fmla="*/ 419100 h 4333875"/>
                  <a:gd name="connsiteX73" fmla="*/ 1457325 w 8601075"/>
                  <a:gd name="connsiteY73" fmla="*/ 323850 h 4333875"/>
                  <a:gd name="connsiteX74" fmla="*/ 1457325 w 8601075"/>
                  <a:gd name="connsiteY74" fmla="*/ 323850 h 4333875"/>
                  <a:gd name="connsiteX75" fmla="*/ 1323975 w 8601075"/>
                  <a:gd name="connsiteY75" fmla="*/ 285750 h 4333875"/>
                  <a:gd name="connsiteX76" fmla="*/ 1266825 w 8601075"/>
                  <a:gd name="connsiteY76" fmla="*/ 352425 h 4333875"/>
                  <a:gd name="connsiteX77" fmla="*/ 1009650 w 8601075"/>
                  <a:gd name="connsiteY77" fmla="*/ 390525 h 4333875"/>
                  <a:gd name="connsiteX78" fmla="*/ 828675 w 8601075"/>
                  <a:gd name="connsiteY78" fmla="*/ 447675 h 4333875"/>
                  <a:gd name="connsiteX79" fmla="*/ 619125 w 8601075"/>
                  <a:gd name="connsiteY79" fmla="*/ 533400 h 4333875"/>
                  <a:gd name="connsiteX80" fmla="*/ 619125 w 8601075"/>
                  <a:gd name="connsiteY80" fmla="*/ 533400 h 4333875"/>
                  <a:gd name="connsiteX81" fmla="*/ 561975 w 8601075"/>
                  <a:gd name="connsiteY81" fmla="*/ 61912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295275 w 8601075"/>
                  <a:gd name="connsiteY85" fmla="*/ 657225 h 4333875"/>
                  <a:gd name="connsiteX86" fmla="*/ 180975 w 8601075"/>
                  <a:gd name="connsiteY86" fmla="*/ 638175 h 4333875"/>
                  <a:gd name="connsiteX87" fmla="*/ 180975 w 8601075"/>
                  <a:gd name="connsiteY87" fmla="*/ 638175 h 4333875"/>
                  <a:gd name="connsiteX88" fmla="*/ 57150 w 8601075"/>
                  <a:gd name="connsiteY88" fmla="*/ 733425 h 4333875"/>
                  <a:gd name="connsiteX89" fmla="*/ 19050 w 8601075"/>
                  <a:gd name="connsiteY89" fmla="*/ 790575 h 4333875"/>
                  <a:gd name="connsiteX90" fmla="*/ 0 w 8601075"/>
                  <a:gd name="connsiteY90" fmla="*/ 876300 h 4333875"/>
                  <a:gd name="connsiteX91" fmla="*/ 57150 w 8601075"/>
                  <a:gd name="connsiteY91" fmla="*/ 923925 h 4333875"/>
                  <a:gd name="connsiteX92" fmla="*/ 57150 w 8601075"/>
                  <a:gd name="connsiteY92" fmla="*/ 923925 h 4333875"/>
                  <a:gd name="connsiteX93" fmla="*/ 209550 w 8601075"/>
                  <a:gd name="connsiteY93" fmla="*/ 1114425 h 4333875"/>
                  <a:gd name="connsiteX94" fmla="*/ 209550 w 8601075"/>
                  <a:gd name="connsiteY94" fmla="*/ 1114425 h 4333875"/>
                  <a:gd name="connsiteX95" fmla="*/ 266700 w 8601075"/>
                  <a:gd name="connsiteY95" fmla="*/ 1295400 h 4333875"/>
                  <a:gd name="connsiteX96" fmla="*/ 409575 w 8601075"/>
                  <a:gd name="connsiteY96" fmla="*/ 1276350 h 4333875"/>
                  <a:gd name="connsiteX97" fmla="*/ 466725 w 8601075"/>
                  <a:gd name="connsiteY97" fmla="*/ 1362075 h 4333875"/>
                  <a:gd name="connsiteX98" fmla="*/ 542925 w 8601075"/>
                  <a:gd name="connsiteY98" fmla="*/ 1428750 h 4333875"/>
                  <a:gd name="connsiteX99" fmla="*/ 628650 w 8601075"/>
                  <a:gd name="connsiteY99" fmla="*/ 1571625 h 4333875"/>
                  <a:gd name="connsiteX100" fmla="*/ 628650 w 8601075"/>
                  <a:gd name="connsiteY100" fmla="*/ 1704975 h 4333875"/>
                  <a:gd name="connsiteX101" fmla="*/ 676275 w 8601075"/>
                  <a:gd name="connsiteY101" fmla="*/ 1771650 h 4333875"/>
                  <a:gd name="connsiteX102" fmla="*/ 657225 w 8601075"/>
                  <a:gd name="connsiteY102" fmla="*/ 2000250 h 4333875"/>
                  <a:gd name="connsiteX103" fmla="*/ 619125 w 8601075"/>
                  <a:gd name="connsiteY103" fmla="*/ 2095500 h 4333875"/>
                  <a:gd name="connsiteX104" fmla="*/ 542925 w 8601075"/>
                  <a:gd name="connsiteY104" fmla="*/ 2228850 h 4333875"/>
                  <a:gd name="connsiteX105" fmla="*/ 485775 w 8601075"/>
                  <a:gd name="connsiteY105" fmla="*/ 2362200 h 4333875"/>
                  <a:gd name="connsiteX106" fmla="*/ 552450 w 8601075"/>
                  <a:gd name="connsiteY106" fmla="*/ 2486025 h 4333875"/>
                  <a:gd name="connsiteX107" fmla="*/ 771525 w 8601075"/>
                  <a:gd name="connsiteY107" fmla="*/ 2571750 h 4333875"/>
                  <a:gd name="connsiteX108" fmla="*/ 866775 w 8601075"/>
                  <a:gd name="connsiteY108" fmla="*/ 2571750 h 4333875"/>
                  <a:gd name="connsiteX109" fmla="*/ 914400 w 8601075"/>
                  <a:gd name="connsiteY109" fmla="*/ 2638425 h 4333875"/>
                  <a:gd name="connsiteX110" fmla="*/ 1066800 w 8601075"/>
                  <a:gd name="connsiteY110" fmla="*/ 2638425 h 4333875"/>
                  <a:gd name="connsiteX111" fmla="*/ 1285875 w 8601075"/>
                  <a:gd name="connsiteY111" fmla="*/ 2705100 h 4333875"/>
                  <a:gd name="connsiteX112" fmla="*/ 1438275 w 8601075"/>
                  <a:gd name="connsiteY112" fmla="*/ 2838450 h 4333875"/>
                  <a:gd name="connsiteX113" fmla="*/ 1485900 w 8601075"/>
                  <a:gd name="connsiteY113" fmla="*/ 2914650 h 4333875"/>
                  <a:gd name="connsiteX114" fmla="*/ 1657350 w 8601075"/>
                  <a:gd name="connsiteY114" fmla="*/ 3038475 h 4333875"/>
                  <a:gd name="connsiteX115" fmla="*/ 1752600 w 8601075"/>
                  <a:gd name="connsiteY115" fmla="*/ 3057525 h 4333875"/>
                  <a:gd name="connsiteX116" fmla="*/ 1724025 w 8601075"/>
                  <a:gd name="connsiteY116" fmla="*/ 3143250 h 4333875"/>
                  <a:gd name="connsiteX117" fmla="*/ 1724025 w 8601075"/>
                  <a:gd name="connsiteY117" fmla="*/ 3143250 h 4333875"/>
                  <a:gd name="connsiteX118" fmla="*/ 1781175 w 8601075"/>
                  <a:gd name="connsiteY118" fmla="*/ 3181350 h 4333875"/>
                  <a:gd name="connsiteX119" fmla="*/ 1819275 w 8601075"/>
                  <a:gd name="connsiteY119" fmla="*/ 3362325 h 4333875"/>
                  <a:gd name="connsiteX120" fmla="*/ 1828800 w 8601075"/>
                  <a:gd name="connsiteY120" fmla="*/ 3457575 h 4333875"/>
                  <a:gd name="connsiteX121" fmla="*/ 1971675 w 8601075"/>
                  <a:gd name="connsiteY121" fmla="*/ 3590925 h 4333875"/>
                  <a:gd name="connsiteX122" fmla="*/ 1990725 w 8601075"/>
                  <a:gd name="connsiteY122" fmla="*/ 3714750 h 4333875"/>
                  <a:gd name="connsiteX123" fmla="*/ 2200275 w 8601075"/>
                  <a:gd name="connsiteY123" fmla="*/ 3695700 h 4333875"/>
                  <a:gd name="connsiteX124" fmla="*/ 2886075 w 8601075"/>
                  <a:gd name="connsiteY124" fmla="*/ 3886200 h 4333875"/>
                  <a:gd name="connsiteX125" fmla="*/ 3038475 w 8601075"/>
                  <a:gd name="connsiteY125" fmla="*/ 3819525 h 4333875"/>
                  <a:gd name="connsiteX126" fmla="*/ 3105150 w 8601075"/>
                  <a:gd name="connsiteY126" fmla="*/ 3867150 h 4333875"/>
                  <a:gd name="connsiteX127" fmla="*/ 3181350 w 8601075"/>
                  <a:gd name="connsiteY127" fmla="*/ 3800475 h 4333875"/>
                  <a:gd name="connsiteX128" fmla="*/ 3590925 w 8601075"/>
                  <a:gd name="connsiteY128" fmla="*/ 3943350 h 4333875"/>
                  <a:gd name="connsiteX129" fmla="*/ 3686175 w 8601075"/>
                  <a:gd name="connsiteY129" fmla="*/ 4057650 h 4333875"/>
                  <a:gd name="connsiteX130" fmla="*/ 3838575 w 8601075"/>
                  <a:gd name="connsiteY130" fmla="*/ 4057650 h 4333875"/>
                  <a:gd name="connsiteX131" fmla="*/ 4162425 w 8601075"/>
                  <a:gd name="connsiteY131" fmla="*/ 4248150 h 4333875"/>
                  <a:gd name="connsiteX132" fmla="*/ 4391025 w 8601075"/>
                  <a:gd name="connsiteY132" fmla="*/ 4200525 h 4333875"/>
                  <a:gd name="connsiteX133" fmla="*/ 4410075 w 8601075"/>
                  <a:gd name="connsiteY133" fmla="*/ 4305300 h 4333875"/>
                  <a:gd name="connsiteX134" fmla="*/ 4505325 w 8601075"/>
                  <a:gd name="connsiteY134" fmla="*/ 4276725 h 4333875"/>
                  <a:gd name="connsiteX135" fmla="*/ 4572000 w 8601075"/>
                  <a:gd name="connsiteY135" fmla="*/ 4333875 h 4333875"/>
                  <a:gd name="connsiteX136" fmla="*/ 4591050 w 8601075"/>
                  <a:gd name="connsiteY136" fmla="*/ 4248150 h 4333875"/>
                  <a:gd name="connsiteX137" fmla="*/ 5295900 w 8601075"/>
                  <a:gd name="connsiteY137" fmla="*/ 3924300 h 4333875"/>
                  <a:gd name="connsiteX138" fmla="*/ 5353050 w 8601075"/>
                  <a:gd name="connsiteY138" fmla="*/ 3990975 h 4333875"/>
                  <a:gd name="connsiteX139" fmla="*/ 5524500 w 8601075"/>
                  <a:gd name="connsiteY139" fmla="*/ 3914775 h 4333875"/>
                  <a:gd name="connsiteX140" fmla="*/ 5667375 w 8601075"/>
                  <a:gd name="connsiteY140" fmla="*/ 3962400 h 4333875"/>
                  <a:gd name="connsiteX141" fmla="*/ 5753100 w 8601075"/>
                  <a:gd name="connsiteY141" fmla="*/ 3924300 h 4333875"/>
                  <a:gd name="connsiteX142" fmla="*/ 5905500 w 8601075"/>
                  <a:gd name="connsiteY142" fmla="*/ 3943350 h 4333875"/>
                  <a:gd name="connsiteX143" fmla="*/ 6000750 w 8601075"/>
                  <a:gd name="connsiteY143" fmla="*/ 3800475 h 4333875"/>
                  <a:gd name="connsiteX144" fmla="*/ 6153150 w 8601075"/>
                  <a:gd name="connsiteY144" fmla="*/ 3781425 h 4333875"/>
                  <a:gd name="connsiteX145" fmla="*/ 6257925 w 8601075"/>
                  <a:gd name="connsiteY145" fmla="*/ 3581400 h 4333875"/>
                  <a:gd name="connsiteX146" fmla="*/ 6448425 w 8601075"/>
                  <a:gd name="connsiteY146" fmla="*/ 3448050 h 4333875"/>
                  <a:gd name="connsiteX147" fmla="*/ 6581775 w 8601075"/>
                  <a:gd name="connsiteY147" fmla="*/ 3276600 h 4333875"/>
                  <a:gd name="connsiteX148" fmla="*/ 6496050 w 8601075"/>
                  <a:gd name="connsiteY148" fmla="*/ 3228975 h 4333875"/>
                  <a:gd name="connsiteX149" fmla="*/ 6438900 w 8601075"/>
                  <a:gd name="connsiteY149" fmla="*/ 3162300 h 4333875"/>
                  <a:gd name="connsiteX150" fmla="*/ 6419850 w 8601075"/>
                  <a:gd name="connsiteY150" fmla="*/ 3105150 h 4333875"/>
                  <a:gd name="connsiteX151" fmla="*/ 6362700 w 8601075"/>
                  <a:gd name="connsiteY151" fmla="*/ 3076575 h 4333875"/>
                  <a:gd name="connsiteX152" fmla="*/ 6410325 w 8601075"/>
                  <a:gd name="connsiteY152" fmla="*/ 3019425 h 4333875"/>
                  <a:gd name="connsiteX153" fmla="*/ 6438900 w 8601075"/>
                  <a:gd name="connsiteY153" fmla="*/ 2819400 h 4333875"/>
                  <a:gd name="connsiteX154" fmla="*/ 6496050 w 8601075"/>
                  <a:gd name="connsiteY154" fmla="*/ 2762250 h 4333875"/>
                  <a:gd name="connsiteX155" fmla="*/ 6657975 w 8601075"/>
                  <a:gd name="connsiteY155" fmla="*/ 2752725 h 4333875"/>
                  <a:gd name="connsiteX156" fmla="*/ 6781800 w 8601075"/>
                  <a:gd name="connsiteY156" fmla="*/ 2838450 h 4333875"/>
                  <a:gd name="connsiteX157" fmla="*/ 7010400 w 8601075"/>
                  <a:gd name="connsiteY157" fmla="*/ 2838450 h 4333875"/>
                  <a:gd name="connsiteX158" fmla="*/ 7162800 w 8601075"/>
                  <a:gd name="connsiteY158" fmla="*/ 2705100 h 4333875"/>
                  <a:gd name="connsiteX159" fmla="*/ 7229475 w 8601075"/>
                  <a:gd name="connsiteY159" fmla="*/ 2590800 h 4333875"/>
                  <a:gd name="connsiteX160" fmla="*/ 7248525 w 8601075"/>
                  <a:gd name="connsiteY160" fmla="*/ 2524125 h 4333875"/>
                  <a:gd name="connsiteX161" fmla="*/ 7372350 w 8601075"/>
                  <a:gd name="connsiteY161" fmla="*/ 2543175 h 4333875"/>
                  <a:gd name="connsiteX162" fmla="*/ 7553325 w 8601075"/>
                  <a:gd name="connsiteY162" fmla="*/ 2447925 h 4333875"/>
                  <a:gd name="connsiteX163" fmla="*/ 7620000 w 8601075"/>
                  <a:gd name="connsiteY163" fmla="*/ 2324100 h 4333875"/>
                  <a:gd name="connsiteX164" fmla="*/ 7696200 w 8601075"/>
                  <a:gd name="connsiteY164" fmla="*/ 2314575 h 4333875"/>
                  <a:gd name="connsiteX165" fmla="*/ 7658100 w 8601075"/>
                  <a:gd name="connsiteY165" fmla="*/ 2257425 h 4333875"/>
                  <a:gd name="connsiteX166" fmla="*/ 7753350 w 8601075"/>
                  <a:gd name="connsiteY166" fmla="*/ 2057400 h 4333875"/>
                  <a:gd name="connsiteX167" fmla="*/ 7934325 w 8601075"/>
                  <a:gd name="connsiteY167" fmla="*/ 2028825 h 4333875"/>
                  <a:gd name="connsiteX168" fmla="*/ 7953375 w 8601075"/>
                  <a:gd name="connsiteY168" fmla="*/ 1952625 h 4333875"/>
                  <a:gd name="connsiteX169" fmla="*/ 7953375 w 8601075"/>
                  <a:gd name="connsiteY169" fmla="*/ 1952625 h 4333875"/>
                  <a:gd name="connsiteX170" fmla="*/ 8010525 w 8601075"/>
                  <a:gd name="connsiteY170" fmla="*/ 1895475 h 4333875"/>
                  <a:gd name="connsiteX171" fmla="*/ 8048625 w 8601075"/>
                  <a:gd name="connsiteY171" fmla="*/ 1971675 h 4333875"/>
                  <a:gd name="connsiteX172" fmla="*/ 8077200 w 8601075"/>
                  <a:gd name="connsiteY172" fmla="*/ 1885950 h 4333875"/>
                  <a:gd name="connsiteX173" fmla="*/ 8220075 w 8601075"/>
                  <a:gd name="connsiteY173" fmla="*/ 1847850 h 4333875"/>
                  <a:gd name="connsiteX174" fmla="*/ 8296275 w 8601075"/>
                  <a:gd name="connsiteY174" fmla="*/ 1809750 h 4333875"/>
                  <a:gd name="connsiteX175" fmla="*/ 8324850 w 8601075"/>
                  <a:gd name="connsiteY175" fmla="*/ 1790700 h 4333875"/>
                  <a:gd name="connsiteX176" fmla="*/ 8410575 w 8601075"/>
                  <a:gd name="connsiteY176" fmla="*/ 1847850 h 4333875"/>
                  <a:gd name="connsiteX177" fmla="*/ 8505825 w 8601075"/>
                  <a:gd name="connsiteY177" fmla="*/ 1781175 h 4333875"/>
                  <a:gd name="connsiteX178" fmla="*/ 8572500 w 8601075"/>
                  <a:gd name="connsiteY178" fmla="*/ 1809750 h 4333875"/>
                  <a:gd name="connsiteX179" fmla="*/ 8601075 w 8601075"/>
                  <a:gd name="connsiteY179" fmla="*/ 1704975 h 4333875"/>
                  <a:gd name="connsiteX180" fmla="*/ 8553450 w 8601075"/>
                  <a:gd name="connsiteY180" fmla="*/ 1676400 h 4333875"/>
                  <a:gd name="connsiteX181" fmla="*/ 8534400 w 8601075"/>
                  <a:gd name="connsiteY181" fmla="*/ 1609725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124825 w 8601075"/>
                  <a:gd name="connsiteY185" fmla="*/ 1352550 h 4333875"/>
                  <a:gd name="connsiteX186" fmla="*/ 7924800 w 8601075"/>
                  <a:gd name="connsiteY186" fmla="*/ 1362075 h 4333875"/>
                  <a:gd name="connsiteX187" fmla="*/ 7867650 w 8601075"/>
                  <a:gd name="connsiteY187" fmla="*/ 1457325 h 4333875"/>
                  <a:gd name="connsiteX188" fmla="*/ 7896225 w 8601075"/>
                  <a:gd name="connsiteY188" fmla="*/ 1476375 h 4333875"/>
                  <a:gd name="connsiteX189" fmla="*/ 7858125 w 8601075"/>
                  <a:gd name="connsiteY189" fmla="*/ 1533525 h 4333875"/>
                  <a:gd name="connsiteX190" fmla="*/ 7658100 w 8601075"/>
                  <a:gd name="connsiteY190" fmla="*/ 1447800 h 4333875"/>
                  <a:gd name="connsiteX191" fmla="*/ 7515225 w 8601075"/>
                  <a:gd name="connsiteY191" fmla="*/ 1495425 h 4333875"/>
                  <a:gd name="connsiteX192" fmla="*/ 7467600 w 8601075"/>
                  <a:gd name="connsiteY192" fmla="*/ 1581150 h 4333875"/>
                  <a:gd name="connsiteX193" fmla="*/ 7296150 w 8601075"/>
                  <a:gd name="connsiteY19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10025 w 8601075"/>
                  <a:gd name="connsiteY39" fmla="*/ 771525 h 4333875"/>
                  <a:gd name="connsiteX40" fmla="*/ 3895725 w 8601075"/>
                  <a:gd name="connsiteY40" fmla="*/ 695325 h 4333875"/>
                  <a:gd name="connsiteX41" fmla="*/ 3781425 w 8601075"/>
                  <a:gd name="connsiteY41" fmla="*/ 590550 h 4333875"/>
                  <a:gd name="connsiteX42" fmla="*/ 3810000 w 8601075"/>
                  <a:gd name="connsiteY42" fmla="*/ 514350 h 4333875"/>
                  <a:gd name="connsiteX43" fmla="*/ 3781425 w 8601075"/>
                  <a:gd name="connsiteY43" fmla="*/ 390525 h 4333875"/>
                  <a:gd name="connsiteX44" fmla="*/ 3771900 w 8601075"/>
                  <a:gd name="connsiteY44" fmla="*/ 352425 h 4333875"/>
                  <a:gd name="connsiteX45" fmla="*/ 3600450 w 8601075"/>
                  <a:gd name="connsiteY45" fmla="*/ 285750 h 4333875"/>
                  <a:gd name="connsiteX46" fmla="*/ 3533775 w 8601075"/>
                  <a:gd name="connsiteY46" fmla="*/ 314325 h 4333875"/>
                  <a:gd name="connsiteX47" fmla="*/ 3409950 w 8601075"/>
                  <a:gd name="connsiteY47" fmla="*/ 190500 h 4333875"/>
                  <a:gd name="connsiteX48" fmla="*/ 3257550 w 8601075"/>
                  <a:gd name="connsiteY48" fmla="*/ 180975 h 4333875"/>
                  <a:gd name="connsiteX49" fmla="*/ 3209925 w 8601075"/>
                  <a:gd name="connsiteY49" fmla="*/ 104775 h 4333875"/>
                  <a:gd name="connsiteX50" fmla="*/ 3152775 w 8601075"/>
                  <a:gd name="connsiteY50" fmla="*/ 104775 h 4333875"/>
                  <a:gd name="connsiteX51" fmla="*/ 2990850 w 8601075"/>
                  <a:gd name="connsiteY51" fmla="*/ 0 h 4333875"/>
                  <a:gd name="connsiteX52" fmla="*/ 2933700 w 8601075"/>
                  <a:gd name="connsiteY52" fmla="*/ 114300 h 4333875"/>
                  <a:gd name="connsiteX53" fmla="*/ 2867025 w 8601075"/>
                  <a:gd name="connsiteY53" fmla="*/ 171450 h 4333875"/>
                  <a:gd name="connsiteX54" fmla="*/ 2867025 w 8601075"/>
                  <a:gd name="connsiteY54" fmla="*/ 171450 h 4333875"/>
                  <a:gd name="connsiteX55" fmla="*/ 2800350 w 8601075"/>
                  <a:gd name="connsiteY55" fmla="*/ 257175 h 4333875"/>
                  <a:gd name="connsiteX56" fmla="*/ 2724150 w 8601075"/>
                  <a:gd name="connsiteY56" fmla="*/ 304800 h 4333875"/>
                  <a:gd name="connsiteX57" fmla="*/ 2705100 w 8601075"/>
                  <a:gd name="connsiteY57" fmla="*/ 466725 h 4333875"/>
                  <a:gd name="connsiteX58" fmla="*/ 2762250 w 8601075"/>
                  <a:gd name="connsiteY58" fmla="*/ 571500 h 4333875"/>
                  <a:gd name="connsiteX59" fmla="*/ 2800350 w 8601075"/>
                  <a:gd name="connsiteY59" fmla="*/ 628650 h 4333875"/>
                  <a:gd name="connsiteX60" fmla="*/ 2752725 w 8601075"/>
                  <a:gd name="connsiteY60" fmla="*/ 781050 h 4333875"/>
                  <a:gd name="connsiteX61" fmla="*/ 2686050 w 8601075"/>
                  <a:gd name="connsiteY61" fmla="*/ 857250 h 4333875"/>
                  <a:gd name="connsiteX62" fmla="*/ 2609850 w 8601075"/>
                  <a:gd name="connsiteY62" fmla="*/ 857250 h 4333875"/>
                  <a:gd name="connsiteX63" fmla="*/ 2514600 w 8601075"/>
                  <a:gd name="connsiteY63" fmla="*/ 914400 h 4333875"/>
                  <a:gd name="connsiteX64" fmla="*/ 2400300 w 8601075"/>
                  <a:gd name="connsiteY64" fmla="*/ 866775 h 4333875"/>
                  <a:gd name="connsiteX65" fmla="*/ 2305050 w 8601075"/>
                  <a:gd name="connsiteY65" fmla="*/ 809625 h 4333875"/>
                  <a:gd name="connsiteX66" fmla="*/ 2200275 w 8601075"/>
                  <a:gd name="connsiteY66" fmla="*/ 752475 h 4333875"/>
                  <a:gd name="connsiteX67" fmla="*/ 2105025 w 8601075"/>
                  <a:gd name="connsiteY67" fmla="*/ 762000 h 4333875"/>
                  <a:gd name="connsiteX68" fmla="*/ 1990725 w 8601075"/>
                  <a:gd name="connsiteY68" fmla="*/ 762000 h 4333875"/>
                  <a:gd name="connsiteX69" fmla="*/ 1885950 w 8601075"/>
                  <a:gd name="connsiteY69" fmla="*/ 742950 h 4333875"/>
                  <a:gd name="connsiteX70" fmla="*/ 1800225 w 8601075"/>
                  <a:gd name="connsiteY70" fmla="*/ 638175 h 4333875"/>
                  <a:gd name="connsiteX71" fmla="*/ 1809750 w 8601075"/>
                  <a:gd name="connsiteY71" fmla="*/ 495300 h 4333875"/>
                  <a:gd name="connsiteX72" fmla="*/ 1733550 w 8601075"/>
                  <a:gd name="connsiteY72" fmla="*/ 466725 h 4333875"/>
                  <a:gd name="connsiteX73" fmla="*/ 1485900 w 8601075"/>
                  <a:gd name="connsiteY73" fmla="*/ 419100 h 4333875"/>
                  <a:gd name="connsiteX74" fmla="*/ 1457325 w 8601075"/>
                  <a:gd name="connsiteY74" fmla="*/ 323850 h 4333875"/>
                  <a:gd name="connsiteX75" fmla="*/ 1457325 w 8601075"/>
                  <a:gd name="connsiteY75" fmla="*/ 323850 h 4333875"/>
                  <a:gd name="connsiteX76" fmla="*/ 1323975 w 8601075"/>
                  <a:gd name="connsiteY76" fmla="*/ 285750 h 4333875"/>
                  <a:gd name="connsiteX77" fmla="*/ 1266825 w 8601075"/>
                  <a:gd name="connsiteY77" fmla="*/ 352425 h 4333875"/>
                  <a:gd name="connsiteX78" fmla="*/ 1009650 w 8601075"/>
                  <a:gd name="connsiteY78" fmla="*/ 390525 h 4333875"/>
                  <a:gd name="connsiteX79" fmla="*/ 828675 w 8601075"/>
                  <a:gd name="connsiteY79" fmla="*/ 447675 h 4333875"/>
                  <a:gd name="connsiteX80" fmla="*/ 619125 w 8601075"/>
                  <a:gd name="connsiteY80" fmla="*/ 533400 h 4333875"/>
                  <a:gd name="connsiteX81" fmla="*/ 619125 w 8601075"/>
                  <a:gd name="connsiteY81" fmla="*/ 533400 h 4333875"/>
                  <a:gd name="connsiteX82" fmla="*/ 561975 w 8601075"/>
                  <a:gd name="connsiteY82" fmla="*/ 61912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295275 w 8601075"/>
                  <a:gd name="connsiteY86" fmla="*/ 657225 h 4333875"/>
                  <a:gd name="connsiteX87" fmla="*/ 180975 w 8601075"/>
                  <a:gd name="connsiteY87" fmla="*/ 638175 h 4333875"/>
                  <a:gd name="connsiteX88" fmla="*/ 180975 w 8601075"/>
                  <a:gd name="connsiteY88" fmla="*/ 638175 h 4333875"/>
                  <a:gd name="connsiteX89" fmla="*/ 57150 w 8601075"/>
                  <a:gd name="connsiteY89" fmla="*/ 733425 h 4333875"/>
                  <a:gd name="connsiteX90" fmla="*/ 19050 w 8601075"/>
                  <a:gd name="connsiteY90" fmla="*/ 790575 h 4333875"/>
                  <a:gd name="connsiteX91" fmla="*/ 0 w 8601075"/>
                  <a:gd name="connsiteY91" fmla="*/ 876300 h 4333875"/>
                  <a:gd name="connsiteX92" fmla="*/ 57150 w 8601075"/>
                  <a:gd name="connsiteY92" fmla="*/ 923925 h 4333875"/>
                  <a:gd name="connsiteX93" fmla="*/ 57150 w 8601075"/>
                  <a:gd name="connsiteY93" fmla="*/ 923925 h 4333875"/>
                  <a:gd name="connsiteX94" fmla="*/ 209550 w 8601075"/>
                  <a:gd name="connsiteY94" fmla="*/ 1114425 h 4333875"/>
                  <a:gd name="connsiteX95" fmla="*/ 209550 w 8601075"/>
                  <a:gd name="connsiteY95" fmla="*/ 1114425 h 4333875"/>
                  <a:gd name="connsiteX96" fmla="*/ 266700 w 8601075"/>
                  <a:gd name="connsiteY96" fmla="*/ 1295400 h 4333875"/>
                  <a:gd name="connsiteX97" fmla="*/ 409575 w 8601075"/>
                  <a:gd name="connsiteY97" fmla="*/ 1276350 h 4333875"/>
                  <a:gd name="connsiteX98" fmla="*/ 466725 w 8601075"/>
                  <a:gd name="connsiteY98" fmla="*/ 1362075 h 4333875"/>
                  <a:gd name="connsiteX99" fmla="*/ 542925 w 8601075"/>
                  <a:gd name="connsiteY99" fmla="*/ 1428750 h 4333875"/>
                  <a:gd name="connsiteX100" fmla="*/ 628650 w 8601075"/>
                  <a:gd name="connsiteY100" fmla="*/ 1571625 h 4333875"/>
                  <a:gd name="connsiteX101" fmla="*/ 628650 w 8601075"/>
                  <a:gd name="connsiteY101" fmla="*/ 1704975 h 4333875"/>
                  <a:gd name="connsiteX102" fmla="*/ 676275 w 8601075"/>
                  <a:gd name="connsiteY102" fmla="*/ 1771650 h 4333875"/>
                  <a:gd name="connsiteX103" fmla="*/ 657225 w 8601075"/>
                  <a:gd name="connsiteY103" fmla="*/ 2000250 h 4333875"/>
                  <a:gd name="connsiteX104" fmla="*/ 619125 w 8601075"/>
                  <a:gd name="connsiteY104" fmla="*/ 2095500 h 4333875"/>
                  <a:gd name="connsiteX105" fmla="*/ 542925 w 8601075"/>
                  <a:gd name="connsiteY105" fmla="*/ 2228850 h 4333875"/>
                  <a:gd name="connsiteX106" fmla="*/ 485775 w 8601075"/>
                  <a:gd name="connsiteY106" fmla="*/ 2362200 h 4333875"/>
                  <a:gd name="connsiteX107" fmla="*/ 552450 w 8601075"/>
                  <a:gd name="connsiteY107" fmla="*/ 2486025 h 4333875"/>
                  <a:gd name="connsiteX108" fmla="*/ 771525 w 8601075"/>
                  <a:gd name="connsiteY108" fmla="*/ 2571750 h 4333875"/>
                  <a:gd name="connsiteX109" fmla="*/ 866775 w 8601075"/>
                  <a:gd name="connsiteY109" fmla="*/ 2571750 h 4333875"/>
                  <a:gd name="connsiteX110" fmla="*/ 914400 w 8601075"/>
                  <a:gd name="connsiteY110" fmla="*/ 2638425 h 4333875"/>
                  <a:gd name="connsiteX111" fmla="*/ 1066800 w 8601075"/>
                  <a:gd name="connsiteY111" fmla="*/ 2638425 h 4333875"/>
                  <a:gd name="connsiteX112" fmla="*/ 1285875 w 8601075"/>
                  <a:gd name="connsiteY112" fmla="*/ 2705100 h 4333875"/>
                  <a:gd name="connsiteX113" fmla="*/ 1438275 w 8601075"/>
                  <a:gd name="connsiteY113" fmla="*/ 2838450 h 4333875"/>
                  <a:gd name="connsiteX114" fmla="*/ 1485900 w 8601075"/>
                  <a:gd name="connsiteY114" fmla="*/ 2914650 h 4333875"/>
                  <a:gd name="connsiteX115" fmla="*/ 1657350 w 8601075"/>
                  <a:gd name="connsiteY115" fmla="*/ 3038475 h 4333875"/>
                  <a:gd name="connsiteX116" fmla="*/ 1752600 w 8601075"/>
                  <a:gd name="connsiteY116" fmla="*/ 3057525 h 4333875"/>
                  <a:gd name="connsiteX117" fmla="*/ 1724025 w 8601075"/>
                  <a:gd name="connsiteY117" fmla="*/ 3143250 h 4333875"/>
                  <a:gd name="connsiteX118" fmla="*/ 1724025 w 8601075"/>
                  <a:gd name="connsiteY118" fmla="*/ 3143250 h 4333875"/>
                  <a:gd name="connsiteX119" fmla="*/ 1781175 w 8601075"/>
                  <a:gd name="connsiteY119" fmla="*/ 3181350 h 4333875"/>
                  <a:gd name="connsiteX120" fmla="*/ 1819275 w 8601075"/>
                  <a:gd name="connsiteY120" fmla="*/ 3362325 h 4333875"/>
                  <a:gd name="connsiteX121" fmla="*/ 1828800 w 8601075"/>
                  <a:gd name="connsiteY121" fmla="*/ 3457575 h 4333875"/>
                  <a:gd name="connsiteX122" fmla="*/ 1971675 w 8601075"/>
                  <a:gd name="connsiteY122" fmla="*/ 3590925 h 4333875"/>
                  <a:gd name="connsiteX123" fmla="*/ 1990725 w 8601075"/>
                  <a:gd name="connsiteY123" fmla="*/ 3714750 h 4333875"/>
                  <a:gd name="connsiteX124" fmla="*/ 2200275 w 8601075"/>
                  <a:gd name="connsiteY124" fmla="*/ 3695700 h 4333875"/>
                  <a:gd name="connsiteX125" fmla="*/ 2886075 w 8601075"/>
                  <a:gd name="connsiteY125" fmla="*/ 3886200 h 4333875"/>
                  <a:gd name="connsiteX126" fmla="*/ 3038475 w 8601075"/>
                  <a:gd name="connsiteY126" fmla="*/ 3819525 h 4333875"/>
                  <a:gd name="connsiteX127" fmla="*/ 3105150 w 8601075"/>
                  <a:gd name="connsiteY127" fmla="*/ 3867150 h 4333875"/>
                  <a:gd name="connsiteX128" fmla="*/ 3181350 w 8601075"/>
                  <a:gd name="connsiteY128" fmla="*/ 3800475 h 4333875"/>
                  <a:gd name="connsiteX129" fmla="*/ 3590925 w 8601075"/>
                  <a:gd name="connsiteY129" fmla="*/ 3943350 h 4333875"/>
                  <a:gd name="connsiteX130" fmla="*/ 3686175 w 8601075"/>
                  <a:gd name="connsiteY130" fmla="*/ 4057650 h 4333875"/>
                  <a:gd name="connsiteX131" fmla="*/ 3838575 w 8601075"/>
                  <a:gd name="connsiteY131" fmla="*/ 4057650 h 4333875"/>
                  <a:gd name="connsiteX132" fmla="*/ 4162425 w 8601075"/>
                  <a:gd name="connsiteY132" fmla="*/ 4248150 h 4333875"/>
                  <a:gd name="connsiteX133" fmla="*/ 4391025 w 8601075"/>
                  <a:gd name="connsiteY133" fmla="*/ 4200525 h 4333875"/>
                  <a:gd name="connsiteX134" fmla="*/ 4410075 w 8601075"/>
                  <a:gd name="connsiteY134" fmla="*/ 4305300 h 4333875"/>
                  <a:gd name="connsiteX135" fmla="*/ 4505325 w 8601075"/>
                  <a:gd name="connsiteY135" fmla="*/ 4276725 h 4333875"/>
                  <a:gd name="connsiteX136" fmla="*/ 4572000 w 8601075"/>
                  <a:gd name="connsiteY136" fmla="*/ 4333875 h 4333875"/>
                  <a:gd name="connsiteX137" fmla="*/ 4591050 w 8601075"/>
                  <a:gd name="connsiteY137" fmla="*/ 4248150 h 4333875"/>
                  <a:gd name="connsiteX138" fmla="*/ 5295900 w 8601075"/>
                  <a:gd name="connsiteY138" fmla="*/ 3924300 h 4333875"/>
                  <a:gd name="connsiteX139" fmla="*/ 5353050 w 8601075"/>
                  <a:gd name="connsiteY139" fmla="*/ 3990975 h 4333875"/>
                  <a:gd name="connsiteX140" fmla="*/ 5524500 w 8601075"/>
                  <a:gd name="connsiteY140" fmla="*/ 3914775 h 4333875"/>
                  <a:gd name="connsiteX141" fmla="*/ 5667375 w 8601075"/>
                  <a:gd name="connsiteY141" fmla="*/ 3962400 h 4333875"/>
                  <a:gd name="connsiteX142" fmla="*/ 5753100 w 8601075"/>
                  <a:gd name="connsiteY142" fmla="*/ 3924300 h 4333875"/>
                  <a:gd name="connsiteX143" fmla="*/ 5905500 w 8601075"/>
                  <a:gd name="connsiteY143" fmla="*/ 3943350 h 4333875"/>
                  <a:gd name="connsiteX144" fmla="*/ 6000750 w 8601075"/>
                  <a:gd name="connsiteY144" fmla="*/ 3800475 h 4333875"/>
                  <a:gd name="connsiteX145" fmla="*/ 6153150 w 8601075"/>
                  <a:gd name="connsiteY145" fmla="*/ 3781425 h 4333875"/>
                  <a:gd name="connsiteX146" fmla="*/ 6257925 w 8601075"/>
                  <a:gd name="connsiteY146" fmla="*/ 3581400 h 4333875"/>
                  <a:gd name="connsiteX147" fmla="*/ 6448425 w 8601075"/>
                  <a:gd name="connsiteY147" fmla="*/ 3448050 h 4333875"/>
                  <a:gd name="connsiteX148" fmla="*/ 6581775 w 8601075"/>
                  <a:gd name="connsiteY148" fmla="*/ 3276600 h 4333875"/>
                  <a:gd name="connsiteX149" fmla="*/ 6496050 w 8601075"/>
                  <a:gd name="connsiteY149" fmla="*/ 3228975 h 4333875"/>
                  <a:gd name="connsiteX150" fmla="*/ 6438900 w 8601075"/>
                  <a:gd name="connsiteY150" fmla="*/ 3162300 h 4333875"/>
                  <a:gd name="connsiteX151" fmla="*/ 6419850 w 8601075"/>
                  <a:gd name="connsiteY151" fmla="*/ 3105150 h 4333875"/>
                  <a:gd name="connsiteX152" fmla="*/ 6362700 w 8601075"/>
                  <a:gd name="connsiteY152" fmla="*/ 3076575 h 4333875"/>
                  <a:gd name="connsiteX153" fmla="*/ 6410325 w 8601075"/>
                  <a:gd name="connsiteY153" fmla="*/ 3019425 h 4333875"/>
                  <a:gd name="connsiteX154" fmla="*/ 6438900 w 8601075"/>
                  <a:gd name="connsiteY154" fmla="*/ 2819400 h 4333875"/>
                  <a:gd name="connsiteX155" fmla="*/ 6496050 w 8601075"/>
                  <a:gd name="connsiteY155" fmla="*/ 2762250 h 4333875"/>
                  <a:gd name="connsiteX156" fmla="*/ 6657975 w 8601075"/>
                  <a:gd name="connsiteY156" fmla="*/ 2752725 h 4333875"/>
                  <a:gd name="connsiteX157" fmla="*/ 6781800 w 8601075"/>
                  <a:gd name="connsiteY157" fmla="*/ 2838450 h 4333875"/>
                  <a:gd name="connsiteX158" fmla="*/ 7010400 w 8601075"/>
                  <a:gd name="connsiteY158" fmla="*/ 2838450 h 4333875"/>
                  <a:gd name="connsiteX159" fmla="*/ 7162800 w 8601075"/>
                  <a:gd name="connsiteY159" fmla="*/ 2705100 h 4333875"/>
                  <a:gd name="connsiteX160" fmla="*/ 7229475 w 8601075"/>
                  <a:gd name="connsiteY160" fmla="*/ 2590800 h 4333875"/>
                  <a:gd name="connsiteX161" fmla="*/ 7248525 w 8601075"/>
                  <a:gd name="connsiteY161" fmla="*/ 2524125 h 4333875"/>
                  <a:gd name="connsiteX162" fmla="*/ 7372350 w 8601075"/>
                  <a:gd name="connsiteY162" fmla="*/ 2543175 h 4333875"/>
                  <a:gd name="connsiteX163" fmla="*/ 7553325 w 8601075"/>
                  <a:gd name="connsiteY163" fmla="*/ 2447925 h 4333875"/>
                  <a:gd name="connsiteX164" fmla="*/ 7620000 w 8601075"/>
                  <a:gd name="connsiteY164" fmla="*/ 2324100 h 4333875"/>
                  <a:gd name="connsiteX165" fmla="*/ 7696200 w 8601075"/>
                  <a:gd name="connsiteY165" fmla="*/ 2314575 h 4333875"/>
                  <a:gd name="connsiteX166" fmla="*/ 7658100 w 8601075"/>
                  <a:gd name="connsiteY166" fmla="*/ 2257425 h 4333875"/>
                  <a:gd name="connsiteX167" fmla="*/ 7753350 w 8601075"/>
                  <a:gd name="connsiteY167" fmla="*/ 2057400 h 4333875"/>
                  <a:gd name="connsiteX168" fmla="*/ 7934325 w 8601075"/>
                  <a:gd name="connsiteY168" fmla="*/ 2028825 h 4333875"/>
                  <a:gd name="connsiteX169" fmla="*/ 7953375 w 8601075"/>
                  <a:gd name="connsiteY169" fmla="*/ 1952625 h 4333875"/>
                  <a:gd name="connsiteX170" fmla="*/ 7953375 w 8601075"/>
                  <a:gd name="connsiteY170" fmla="*/ 1952625 h 4333875"/>
                  <a:gd name="connsiteX171" fmla="*/ 8010525 w 8601075"/>
                  <a:gd name="connsiteY171" fmla="*/ 1895475 h 4333875"/>
                  <a:gd name="connsiteX172" fmla="*/ 8048625 w 8601075"/>
                  <a:gd name="connsiteY172" fmla="*/ 1971675 h 4333875"/>
                  <a:gd name="connsiteX173" fmla="*/ 8077200 w 8601075"/>
                  <a:gd name="connsiteY173" fmla="*/ 1885950 h 4333875"/>
                  <a:gd name="connsiteX174" fmla="*/ 8220075 w 8601075"/>
                  <a:gd name="connsiteY174" fmla="*/ 1847850 h 4333875"/>
                  <a:gd name="connsiteX175" fmla="*/ 8296275 w 8601075"/>
                  <a:gd name="connsiteY175" fmla="*/ 1809750 h 4333875"/>
                  <a:gd name="connsiteX176" fmla="*/ 8324850 w 8601075"/>
                  <a:gd name="connsiteY176" fmla="*/ 1790700 h 4333875"/>
                  <a:gd name="connsiteX177" fmla="*/ 8410575 w 8601075"/>
                  <a:gd name="connsiteY177" fmla="*/ 1847850 h 4333875"/>
                  <a:gd name="connsiteX178" fmla="*/ 8505825 w 8601075"/>
                  <a:gd name="connsiteY178" fmla="*/ 1781175 h 4333875"/>
                  <a:gd name="connsiteX179" fmla="*/ 8572500 w 8601075"/>
                  <a:gd name="connsiteY179" fmla="*/ 1809750 h 4333875"/>
                  <a:gd name="connsiteX180" fmla="*/ 8601075 w 8601075"/>
                  <a:gd name="connsiteY180" fmla="*/ 1704975 h 4333875"/>
                  <a:gd name="connsiteX181" fmla="*/ 8553450 w 8601075"/>
                  <a:gd name="connsiteY181" fmla="*/ 1676400 h 4333875"/>
                  <a:gd name="connsiteX182" fmla="*/ 8534400 w 8601075"/>
                  <a:gd name="connsiteY182" fmla="*/ 1609725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124825 w 8601075"/>
                  <a:gd name="connsiteY186" fmla="*/ 1352550 h 4333875"/>
                  <a:gd name="connsiteX187" fmla="*/ 7924800 w 8601075"/>
                  <a:gd name="connsiteY187" fmla="*/ 1362075 h 4333875"/>
                  <a:gd name="connsiteX188" fmla="*/ 7867650 w 8601075"/>
                  <a:gd name="connsiteY188" fmla="*/ 1457325 h 4333875"/>
                  <a:gd name="connsiteX189" fmla="*/ 7896225 w 8601075"/>
                  <a:gd name="connsiteY189" fmla="*/ 1476375 h 4333875"/>
                  <a:gd name="connsiteX190" fmla="*/ 7858125 w 8601075"/>
                  <a:gd name="connsiteY190" fmla="*/ 1533525 h 4333875"/>
                  <a:gd name="connsiteX191" fmla="*/ 7658100 w 8601075"/>
                  <a:gd name="connsiteY191" fmla="*/ 1447800 h 4333875"/>
                  <a:gd name="connsiteX192" fmla="*/ 7515225 w 8601075"/>
                  <a:gd name="connsiteY192" fmla="*/ 1495425 h 4333875"/>
                  <a:gd name="connsiteX193" fmla="*/ 7467600 w 8601075"/>
                  <a:gd name="connsiteY193" fmla="*/ 1581150 h 4333875"/>
                  <a:gd name="connsiteX194" fmla="*/ 7296150 w 8601075"/>
                  <a:gd name="connsiteY19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895725 w 8601075"/>
                  <a:gd name="connsiteY40" fmla="*/ 695325 h 4333875"/>
                  <a:gd name="connsiteX41" fmla="*/ 3781425 w 8601075"/>
                  <a:gd name="connsiteY41" fmla="*/ 590550 h 4333875"/>
                  <a:gd name="connsiteX42" fmla="*/ 3810000 w 8601075"/>
                  <a:gd name="connsiteY42" fmla="*/ 514350 h 4333875"/>
                  <a:gd name="connsiteX43" fmla="*/ 3781425 w 8601075"/>
                  <a:gd name="connsiteY43" fmla="*/ 390525 h 4333875"/>
                  <a:gd name="connsiteX44" fmla="*/ 3771900 w 8601075"/>
                  <a:gd name="connsiteY44" fmla="*/ 352425 h 4333875"/>
                  <a:gd name="connsiteX45" fmla="*/ 3600450 w 8601075"/>
                  <a:gd name="connsiteY45" fmla="*/ 285750 h 4333875"/>
                  <a:gd name="connsiteX46" fmla="*/ 3533775 w 8601075"/>
                  <a:gd name="connsiteY46" fmla="*/ 314325 h 4333875"/>
                  <a:gd name="connsiteX47" fmla="*/ 3409950 w 8601075"/>
                  <a:gd name="connsiteY47" fmla="*/ 190500 h 4333875"/>
                  <a:gd name="connsiteX48" fmla="*/ 3257550 w 8601075"/>
                  <a:gd name="connsiteY48" fmla="*/ 180975 h 4333875"/>
                  <a:gd name="connsiteX49" fmla="*/ 3209925 w 8601075"/>
                  <a:gd name="connsiteY49" fmla="*/ 104775 h 4333875"/>
                  <a:gd name="connsiteX50" fmla="*/ 3152775 w 8601075"/>
                  <a:gd name="connsiteY50" fmla="*/ 104775 h 4333875"/>
                  <a:gd name="connsiteX51" fmla="*/ 2990850 w 8601075"/>
                  <a:gd name="connsiteY51" fmla="*/ 0 h 4333875"/>
                  <a:gd name="connsiteX52" fmla="*/ 2933700 w 8601075"/>
                  <a:gd name="connsiteY52" fmla="*/ 114300 h 4333875"/>
                  <a:gd name="connsiteX53" fmla="*/ 2867025 w 8601075"/>
                  <a:gd name="connsiteY53" fmla="*/ 171450 h 4333875"/>
                  <a:gd name="connsiteX54" fmla="*/ 2867025 w 8601075"/>
                  <a:gd name="connsiteY54" fmla="*/ 171450 h 4333875"/>
                  <a:gd name="connsiteX55" fmla="*/ 2800350 w 8601075"/>
                  <a:gd name="connsiteY55" fmla="*/ 257175 h 4333875"/>
                  <a:gd name="connsiteX56" fmla="*/ 2724150 w 8601075"/>
                  <a:gd name="connsiteY56" fmla="*/ 304800 h 4333875"/>
                  <a:gd name="connsiteX57" fmla="*/ 2705100 w 8601075"/>
                  <a:gd name="connsiteY57" fmla="*/ 466725 h 4333875"/>
                  <a:gd name="connsiteX58" fmla="*/ 2762250 w 8601075"/>
                  <a:gd name="connsiteY58" fmla="*/ 571500 h 4333875"/>
                  <a:gd name="connsiteX59" fmla="*/ 2800350 w 8601075"/>
                  <a:gd name="connsiteY59" fmla="*/ 628650 h 4333875"/>
                  <a:gd name="connsiteX60" fmla="*/ 2752725 w 8601075"/>
                  <a:gd name="connsiteY60" fmla="*/ 781050 h 4333875"/>
                  <a:gd name="connsiteX61" fmla="*/ 2686050 w 8601075"/>
                  <a:gd name="connsiteY61" fmla="*/ 857250 h 4333875"/>
                  <a:gd name="connsiteX62" fmla="*/ 2609850 w 8601075"/>
                  <a:gd name="connsiteY62" fmla="*/ 857250 h 4333875"/>
                  <a:gd name="connsiteX63" fmla="*/ 2514600 w 8601075"/>
                  <a:gd name="connsiteY63" fmla="*/ 914400 h 4333875"/>
                  <a:gd name="connsiteX64" fmla="*/ 2400300 w 8601075"/>
                  <a:gd name="connsiteY64" fmla="*/ 866775 h 4333875"/>
                  <a:gd name="connsiteX65" fmla="*/ 2305050 w 8601075"/>
                  <a:gd name="connsiteY65" fmla="*/ 809625 h 4333875"/>
                  <a:gd name="connsiteX66" fmla="*/ 2200275 w 8601075"/>
                  <a:gd name="connsiteY66" fmla="*/ 752475 h 4333875"/>
                  <a:gd name="connsiteX67" fmla="*/ 2105025 w 8601075"/>
                  <a:gd name="connsiteY67" fmla="*/ 762000 h 4333875"/>
                  <a:gd name="connsiteX68" fmla="*/ 1990725 w 8601075"/>
                  <a:gd name="connsiteY68" fmla="*/ 762000 h 4333875"/>
                  <a:gd name="connsiteX69" fmla="*/ 1885950 w 8601075"/>
                  <a:gd name="connsiteY69" fmla="*/ 742950 h 4333875"/>
                  <a:gd name="connsiteX70" fmla="*/ 1800225 w 8601075"/>
                  <a:gd name="connsiteY70" fmla="*/ 638175 h 4333875"/>
                  <a:gd name="connsiteX71" fmla="*/ 1809750 w 8601075"/>
                  <a:gd name="connsiteY71" fmla="*/ 495300 h 4333875"/>
                  <a:gd name="connsiteX72" fmla="*/ 1733550 w 8601075"/>
                  <a:gd name="connsiteY72" fmla="*/ 466725 h 4333875"/>
                  <a:gd name="connsiteX73" fmla="*/ 1485900 w 8601075"/>
                  <a:gd name="connsiteY73" fmla="*/ 419100 h 4333875"/>
                  <a:gd name="connsiteX74" fmla="*/ 1457325 w 8601075"/>
                  <a:gd name="connsiteY74" fmla="*/ 323850 h 4333875"/>
                  <a:gd name="connsiteX75" fmla="*/ 1457325 w 8601075"/>
                  <a:gd name="connsiteY75" fmla="*/ 323850 h 4333875"/>
                  <a:gd name="connsiteX76" fmla="*/ 1323975 w 8601075"/>
                  <a:gd name="connsiteY76" fmla="*/ 285750 h 4333875"/>
                  <a:gd name="connsiteX77" fmla="*/ 1266825 w 8601075"/>
                  <a:gd name="connsiteY77" fmla="*/ 352425 h 4333875"/>
                  <a:gd name="connsiteX78" fmla="*/ 1009650 w 8601075"/>
                  <a:gd name="connsiteY78" fmla="*/ 390525 h 4333875"/>
                  <a:gd name="connsiteX79" fmla="*/ 828675 w 8601075"/>
                  <a:gd name="connsiteY79" fmla="*/ 447675 h 4333875"/>
                  <a:gd name="connsiteX80" fmla="*/ 619125 w 8601075"/>
                  <a:gd name="connsiteY80" fmla="*/ 533400 h 4333875"/>
                  <a:gd name="connsiteX81" fmla="*/ 619125 w 8601075"/>
                  <a:gd name="connsiteY81" fmla="*/ 533400 h 4333875"/>
                  <a:gd name="connsiteX82" fmla="*/ 561975 w 8601075"/>
                  <a:gd name="connsiteY82" fmla="*/ 61912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295275 w 8601075"/>
                  <a:gd name="connsiteY86" fmla="*/ 657225 h 4333875"/>
                  <a:gd name="connsiteX87" fmla="*/ 180975 w 8601075"/>
                  <a:gd name="connsiteY87" fmla="*/ 638175 h 4333875"/>
                  <a:gd name="connsiteX88" fmla="*/ 180975 w 8601075"/>
                  <a:gd name="connsiteY88" fmla="*/ 638175 h 4333875"/>
                  <a:gd name="connsiteX89" fmla="*/ 57150 w 8601075"/>
                  <a:gd name="connsiteY89" fmla="*/ 733425 h 4333875"/>
                  <a:gd name="connsiteX90" fmla="*/ 19050 w 8601075"/>
                  <a:gd name="connsiteY90" fmla="*/ 790575 h 4333875"/>
                  <a:gd name="connsiteX91" fmla="*/ 0 w 8601075"/>
                  <a:gd name="connsiteY91" fmla="*/ 876300 h 4333875"/>
                  <a:gd name="connsiteX92" fmla="*/ 57150 w 8601075"/>
                  <a:gd name="connsiteY92" fmla="*/ 923925 h 4333875"/>
                  <a:gd name="connsiteX93" fmla="*/ 57150 w 8601075"/>
                  <a:gd name="connsiteY93" fmla="*/ 923925 h 4333875"/>
                  <a:gd name="connsiteX94" fmla="*/ 209550 w 8601075"/>
                  <a:gd name="connsiteY94" fmla="*/ 1114425 h 4333875"/>
                  <a:gd name="connsiteX95" fmla="*/ 209550 w 8601075"/>
                  <a:gd name="connsiteY95" fmla="*/ 1114425 h 4333875"/>
                  <a:gd name="connsiteX96" fmla="*/ 266700 w 8601075"/>
                  <a:gd name="connsiteY96" fmla="*/ 1295400 h 4333875"/>
                  <a:gd name="connsiteX97" fmla="*/ 409575 w 8601075"/>
                  <a:gd name="connsiteY97" fmla="*/ 1276350 h 4333875"/>
                  <a:gd name="connsiteX98" fmla="*/ 466725 w 8601075"/>
                  <a:gd name="connsiteY98" fmla="*/ 1362075 h 4333875"/>
                  <a:gd name="connsiteX99" fmla="*/ 542925 w 8601075"/>
                  <a:gd name="connsiteY99" fmla="*/ 1428750 h 4333875"/>
                  <a:gd name="connsiteX100" fmla="*/ 628650 w 8601075"/>
                  <a:gd name="connsiteY100" fmla="*/ 1571625 h 4333875"/>
                  <a:gd name="connsiteX101" fmla="*/ 628650 w 8601075"/>
                  <a:gd name="connsiteY101" fmla="*/ 1704975 h 4333875"/>
                  <a:gd name="connsiteX102" fmla="*/ 676275 w 8601075"/>
                  <a:gd name="connsiteY102" fmla="*/ 1771650 h 4333875"/>
                  <a:gd name="connsiteX103" fmla="*/ 657225 w 8601075"/>
                  <a:gd name="connsiteY103" fmla="*/ 2000250 h 4333875"/>
                  <a:gd name="connsiteX104" fmla="*/ 619125 w 8601075"/>
                  <a:gd name="connsiteY104" fmla="*/ 2095500 h 4333875"/>
                  <a:gd name="connsiteX105" fmla="*/ 542925 w 8601075"/>
                  <a:gd name="connsiteY105" fmla="*/ 2228850 h 4333875"/>
                  <a:gd name="connsiteX106" fmla="*/ 485775 w 8601075"/>
                  <a:gd name="connsiteY106" fmla="*/ 2362200 h 4333875"/>
                  <a:gd name="connsiteX107" fmla="*/ 552450 w 8601075"/>
                  <a:gd name="connsiteY107" fmla="*/ 2486025 h 4333875"/>
                  <a:gd name="connsiteX108" fmla="*/ 771525 w 8601075"/>
                  <a:gd name="connsiteY108" fmla="*/ 2571750 h 4333875"/>
                  <a:gd name="connsiteX109" fmla="*/ 866775 w 8601075"/>
                  <a:gd name="connsiteY109" fmla="*/ 2571750 h 4333875"/>
                  <a:gd name="connsiteX110" fmla="*/ 914400 w 8601075"/>
                  <a:gd name="connsiteY110" fmla="*/ 2638425 h 4333875"/>
                  <a:gd name="connsiteX111" fmla="*/ 1066800 w 8601075"/>
                  <a:gd name="connsiteY111" fmla="*/ 2638425 h 4333875"/>
                  <a:gd name="connsiteX112" fmla="*/ 1285875 w 8601075"/>
                  <a:gd name="connsiteY112" fmla="*/ 2705100 h 4333875"/>
                  <a:gd name="connsiteX113" fmla="*/ 1438275 w 8601075"/>
                  <a:gd name="connsiteY113" fmla="*/ 2838450 h 4333875"/>
                  <a:gd name="connsiteX114" fmla="*/ 1485900 w 8601075"/>
                  <a:gd name="connsiteY114" fmla="*/ 2914650 h 4333875"/>
                  <a:gd name="connsiteX115" fmla="*/ 1657350 w 8601075"/>
                  <a:gd name="connsiteY115" fmla="*/ 3038475 h 4333875"/>
                  <a:gd name="connsiteX116" fmla="*/ 1752600 w 8601075"/>
                  <a:gd name="connsiteY116" fmla="*/ 3057525 h 4333875"/>
                  <a:gd name="connsiteX117" fmla="*/ 1724025 w 8601075"/>
                  <a:gd name="connsiteY117" fmla="*/ 3143250 h 4333875"/>
                  <a:gd name="connsiteX118" fmla="*/ 1724025 w 8601075"/>
                  <a:gd name="connsiteY118" fmla="*/ 3143250 h 4333875"/>
                  <a:gd name="connsiteX119" fmla="*/ 1781175 w 8601075"/>
                  <a:gd name="connsiteY119" fmla="*/ 3181350 h 4333875"/>
                  <a:gd name="connsiteX120" fmla="*/ 1819275 w 8601075"/>
                  <a:gd name="connsiteY120" fmla="*/ 3362325 h 4333875"/>
                  <a:gd name="connsiteX121" fmla="*/ 1828800 w 8601075"/>
                  <a:gd name="connsiteY121" fmla="*/ 3457575 h 4333875"/>
                  <a:gd name="connsiteX122" fmla="*/ 1971675 w 8601075"/>
                  <a:gd name="connsiteY122" fmla="*/ 3590925 h 4333875"/>
                  <a:gd name="connsiteX123" fmla="*/ 1990725 w 8601075"/>
                  <a:gd name="connsiteY123" fmla="*/ 3714750 h 4333875"/>
                  <a:gd name="connsiteX124" fmla="*/ 2200275 w 8601075"/>
                  <a:gd name="connsiteY124" fmla="*/ 3695700 h 4333875"/>
                  <a:gd name="connsiteX125" fmla="*/ 2886075 w 8601075"/>
                  <a:gd name="connsiteY125" fmla="*/ 3886200 h 4333875"/>
                  <a:gd name="connsiteX126" fmla="*/ 3038475 w 8601075"/>
                  <a:gd name="connsiteY126" fmla="*/ 3819525 h 4333875"/>
                  <a:gd name="connsiteX127" fmla="*/ 3105150 w 8601075"/>
                  <a:gd name="connsiteY127" fmla="*/ 3867150 h 4333875"/>
                  <a:gd name="connsiteX128" fmla="*/ 3181350 w 8601075"/>
                  <a:gd name="connsiteY128" fmla="*/ 3800475 h 4333875"/>
                  <a:gd name="connsiteX129" fmla="*/ 3590925 w 8601075"/>
                  <a:gd name="connsiteY129" fmla="*/ 3943350 h 4333875"/>
                  <a:gd name="connsiteX130" fmla="*/ 3686175 w 8601075"/>
                  <a:gd name="connsiteY130" fmla="*/ 4057650 h 4333875"/>
                  <a:gd name="connsiteX131" fmla="*/ 3838575 w 8601075"/>
                  <a:gd name="connsiteY131" fmla="*/ 4057650 h 4333875"/>
                  <a:gd name="connsiteX132" fmla="*/ 4162425 w 8601075"/>
                  <a:gd name="connsiteY132" fmla="*/ 4248150 h 4333875"/>
                  <a:gd name="connsiteX133" fmla="*/ 4391025 w 8601075"/>
                  <a:gd name="connsiteY133" fmla="*/ 4200525 h 4333875"/>
                  <a:gd name="connsiteX134" fmla="*/ 4410075 w 8601075"/>
                  <a:gd name="connsiteY134" fmla="*/ 4305300 h 4333875"/>
                  <a:gd name="connsiteX135" fmla="*/ 4505325 w 8601075"/>
                  <a:gd name="connsiteY135" fmla="*/ 4276725 h 4333875"/>
                  <a:gd name="connsiteX136" fmla="*/ 4572000 w 8601075"/>
                  <a:gd name="connsiteY136" fmla="*/ 4333875 h 4333875"/>
                  <a:gd name="connsiteX137" fmla="*/ 4591050 w 8601075"/>
                  <a:gd name="connsiteY137" fmla="*/ 4248150 h 4333875"/>
                  <a:gd name="connsiteX138" fmla="*/ 5295900 w 8601075"/>
                  <a:gd name="connsiteY138" fmla="*/ 3924300 h 4333875"/>
                  <a:gd name="connsiteX139" fmla="*/ 5353050 w 8601075"/>
                  <a:gd name="connsiteY139" fmla="*/ 3990975 h 4333875"/>
                  <a:gd name="connsiteX140" fmla="*/ 5524500 w 8601075"/>
                  <a:gd name="connsiteY140" fmla="*/ 3914775 h 4333875"/>
                  <a:gd name="connsiteX141" fmla="*/ 5667375 w 8601075"/>
                  <a:gd name="connsiteY141" fmla="*/ 3962400 h 4333875"/>
                  <a:gd name="connsiteX142" fmla="*/ 5753100 w 8601075"/>
                  <a:gd name="connsiteY142" fmla="*/ 3924300 h 4333875"/>
                  <a:gd name="connsiteX143" fmla="*/ 5905500 w 8601075"/>
                  <a:gd name="connsiteY143" fmla="*/ 3943350 h 4333875"/>
                  <a:gd name="connsiteX144" fmla="*/ 6000750 w 8601075"/>
                  <a:gd name="connsiteY144" fmla="*/ 3800475 h 4333875"/>
                  <a:gd name="connsiteX145" fmla="*/ 6153150 w 8601075"/>
                  <a:gd name="connsiteY145" fmla="*/ 3781425 h 4333875"/>
                  <a:gd name="connsiteX146" fmla="*/ 6257925 w 8601075"/>
                  <a:gd name="connsiteY146" fmla="*/ 3581400 h 4333875"/>
                  <a:gd name="connsiteX147" fmla="*/ 6448425 w 8601075"/>
                  <a:gd name="connsiteY147" fmla="*/ 3448050 h 4333875"/>
                  <a:gd name="connsiteX148" fmla="*/ 6581775 w 8601075"/>
                  <a:gd name="connsiteY148" fmla="*/ 3276600 h 4333875"/>
                  <a:gd name="connsiteX149" fmla="*/ 6496050 w 8601075"/>
                  <a:gd name="connsiteY149" fmla="*/ 3228975 h 4333875"/>
                  <a:gd name="connsiteX150" fmla="*/ 6438900 w 8601075"/>
                  <a:gd name="connsiteY150" fmla="*/ 3162300 h 4333875"/>
                  <a:gd name="connsiteX151" fmla="*/ 6419850 w 8601075"/>
                  <a:gd name="connsiteY151" fmla="*/ 3105150 h 4333875"/>
                  <a:gd name="connsiteX152" fmla="*/ 6362700 w 8601075"/>
                  <a:gd name="connsiteY152" fmla="*/ 3076575 h 4333875"/>
                  <a:gd name="connsiteX153" fmla="*/ 6410325 w 8601075"/>
                  <a:gd name="connsiteY153" fmla="*/ 3019425 h 4333875"/>
                  <a:gd name="connsiteX154" fmla="*/ 6438900 w 8601075"/>
                  <a:gd name="connsiteY154" fmla="*/ 2819400 h 4333875"/>
                  <a:gd name="connsiteX155" fmla="*/ 6496050 w 8601075"/>
                  <a:gd name="connsiteY155" fmla="*/ 2762250 h 4333875"/>
                  <a:gd name="connsiteX156" fmla="*/ 6657975 w 8601075"/>
                  <a:gd name="connsiteY156" fmla="*/ 2752725 h 4333875"/>
                  <a:gd name="connsiteX157" fmla="*/ 6781800 w 8601075"/>
                  <a:gd name="connsiteY157" fmla="*/ 2838450 h 4333875"/>
                  <a:gd name="connsiteX158" fmla="*/ 7010400 w 8601075"/>
                  <a:gd name="connsiteY158" fmla="*/ 2838450 h 4333875"/>
                  <a:gd name="connsiteX159" fmla="*/ 7162800 w 8601075"/>
                  <a:gd name="connsiteY159" fmla="*/ 2705100 h 4333875"/>
                  <a:gd name="connsiteX160" fmla="*/ 7229475 w 8601075"/>
                  <a:gd name="connsiteY160" fmla="*/ 2590800 h 4333875"/>
                  <a:gd name="connsiteX161" fmla="*/ 7248525 w 8601075"/>
                  <a:gd name="connsiteY161" fmla="*/ 2524125 h 4333875"/>
                  <a:gd name="connsiteX162" fmla="*/ 7372350 w 8601075"/>
                  <a:gd name="connsiteY162" fmla="*/ 2543175 h 4333875"/>
                  <a:gd name="connsiteX163" fmla="*/ 7553325 w 8601075"/>
                  <a:gd name="connsiteY163" fmla="*/ 2447925 h 4333875"/>
                  <a:gd name="connsiteX164" fmla="*/ 7620000 w 8601075"/>
                  <a:gd name="connsiteY164" fmla="*/ 2324100 h 4333875"/>
                  <a:gd name="connsiteX165" fmla="*/ 7696200 w 8601075"/>
                  <a:gd name="connsiteY165" fmla="*/ 2314575 h 4333875"/>
                  <a:gd name="connsiteX166" fmla="*/ 7658100 w 8601075"/>
                  <a:gd name="connsiteY166" fmla="*/ 2257425 h 4333875"/>
                  <a:gd name="connsiteX167" fmla="*/ 7753350 w 8601075"/>
                  <a:gd name="connsiteY167" fmla="*/ 2057400 h 4333875"/>
                  <a:gd name="connsiteX168" fmla="*/ 7934325 w 8601075"/>
                  <a:gd name="connsiteY168" fmla="*/ 2028825 h 4333875"/>
                  <a:gd name="connsiteX169" fmla="*/ 7953375 w 8601075"/>
                  <a:gd name="connsiteY169" fmla="*/ 1952625 h 4333875"/>
                  <a:gd name="connsiteX170" fmla="*/ 7953375 w 8601075"/>
                  <a:gd name="connsiteY170" fmla="*/ 1952625 h 4333875"/>
                  <a:gd name="connsiteX171" fmla="*/ 8010525 w 8601075"/>
                  <a:gd name="connsiteY171" fmla="*/ 1895475 h 4333875"/>
                  <a:gd name="connsiteX172" fmla="*/ 8048625 w 8601075"/>
                  <a:gd name="connsiteY172" fmla="*/ 1971675 h 4333875"/>
                  <a:gd name="connsiteX173" fmla="*/ 8077200 w 8601075"/>
                  <a:gd name="connsiteY173" fmla="*/ 1885950 h 4333875"/>
                  <a:gd name="connsiteX174" fmla="*/ 8220075 w 8601075"/>
                  <a:gd name="connsiteY174" fmla="*/ 1847850 h 4333875"/>
                  <a:gd name="connsiteX175" fmla="*/ 8296275 w 8601075"/>
                  <a:gd name="connsiteY175" fmla="*/ 1809750 h 4333875"/>
                  <a:gd name="connsiteX176" fmla="*/ 8324850 w 8601075"/>
                  <a:gd name="connsiteY176" fmla="*/ 1790700 h 4333875"/>
                  <a:gd name="connsiteX177" fmla="*/ 8410575 w 8601075"/>
                  <a:gd name="connsiteY177" fmla="*/ 1847850 h 4333875"/>
                  <a:gd name="connsiteX178" fmla="*/ 8505825 w 8601075"/>
                  <a:gd name="connsiteY178" fmla="*/ 1781175 h 4333875"/>
                  <a:gd name="connsiteX179" fmla="*/ 8572500 w 8601075"/>
                  <a:gd name="connsiteY179" fmla="*/ 1809750 h 4333875"/>
                  <a:gd name="connsiteX180" fmla="*/ 8601075 w 8601075"/>
                  <a:gd name="connsiteY180" fmla="*/ 1704975 h 4333875"/>
                  <a:gd name="connsiteX181" fmla="*/ 8553450 w 8601075"/>
                  <a:gd name="connsiteY181" fmla="*/ 1676400 h 4333875"/>
                  <a:gd name="connsiteX182" fmla="*/ 8534400 w 8601075"/>
                  <a:gd name="connsiteY182" fmla="*/ 1609725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124825 w 8601075"/>
                  <a:gd name="connsiteY186" fmla="*/ 1352550 h 4333875"/>
                  <a:gd name="connsiteX187" fmla="*/ 7924800 w 8601075"/>
                  <a:gd name="connsiteY187" fmla="*/ 1362075 h 4333875"/>
                  <a:gd name="connsiteX188" fmla="*/ 7867650 w 8601075"/>
                  <a:gd name="connsiteY188" fmla="*/ 1457325 h 4333875"/>
                  <a:gd name="connsiteX189" fmla="*/ 7896225 w 8601075"/>
                  <a:gd name="connsiteY189" fmla="*/ 1476375 h 4333875"/>
                  <a:gd name="connsiteX190" fmla="*/ 7858125 w 8601075"/>
                  <a:gd name="connsiteY190" fmla="*/ 1533525 h 4333875"/>
                  <a:gd name="connsiteX191" fmla="*/ 7658100 w 8601075"/>
                  <a:gd name="connsiteY191" fmla="*/ 1447800 h 4333875"/>
                  <a:gd name="connsiteX192" fmla="*/ 7515225 w 8601075"/>
                  <a:gd name="connsiteY192" fmla="*/ 1495425 h 4333875"/>
                  <a:gd name="connsiteX193" fmla="*/ 7467600 w 8601075"/>
                  <a:gd name="connsiteY193" fmla="*/ 1581150 h 4333875"/>
                  <a:gd name="connsiteX194" fmla="*/ 7296150 w 8601075"/>
                  <a:gd name="connsiteY19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895725 w 8601075"/>
                  <a:gd name="connsiteY41" fmla="*/ 695325 h 4333875"/>
                  <a:gd name="connsiteX42" fmla="*/ 3781425 w 8601075"/>
                  <a:gd name="connsiteY42" fmla="*/ 590550 h 4333875"/>
                  <a:gd name="connsiteX43" fmla="*/ 3810000 w 8601075"/>
                  <a:gd name="connsiteY43" fmla="*/ 514350 h 4333875"/>
                  <a:gd name="connsiteX44" fmla="*/ 3781425 w 8601075"/>
                  <a:gd name="connsiteY44" fmla="*/ 390525 h 4333875"/>
                  <a:gd name="connsiteX45" fmla="*/ 3771900 w 8601075"/>
                  <a:gd name="connsiteY45" fmla="*/ 352425 h 4333875"/>
                  <a:gd name="connsiteX46" fmla="*/ 3600450 w 8601075"/>
                  <a:gd name="connsiteY46" fmla="*/ 285750 h 4333875"/>
                  <a:gd name="connsiteX47" fmla="*/ 3533775 w 8601075"/>
                  <a:gd name="connsiteY47" fmla="*/ 314325 h 4333875"/>
                  <a:gd name="connsiteX48" fmla="*/ 3409950 w 8601075"/>
                  <a:gd name="connsiteY48" fmla="*/ 190500 h 4333875"/>
                  <a:gd name="connsiteX49" fmla="*/ 3257550 w 8601075"/>
                  <a:gd name="connsiteY49" fmla="*/ 180975 h 4333875"/>
                  <a:gd name="connsiteX50" fmla="*/ 3209925 w 8601075"/>
                  <a:gd name="connsiteY50" fmla="*/ 104775 h 4333875"/>
                  <a:gd name="connsiteX51" fmla="*/ 3152775 w 8601075"/>
                  <a:gd name="connsiteY51" fmla="*/ 104775 h 4333875"/>
                  <a:gd name="connsiteX52" fmla="*/ 2990850 w 8601075"/>
                  <a:gd name="connsiteY52" fmla="*/ 0 h 4333875"/>
                  <a:gd name="connsiteX53" fmla="*/ 2933700 w 8601075"/>
                  <a:gd name="connsiteY53" fmla="*/ 114300 h 4333875"/>
                  <a:gd name="connsiteX54" fmla="*/ 2867025 w 8601075"/>
                  <a:gd name="connsiteY54" fmla="*/ 171450 h 4333875"/>
                  <a:gd name="connsiteX55" fmla="*/ 2867025 w 8601075"/>
                  <a:gd name="connsiteY55" fmla="*/ 171450 h 4333875"/>
                  <a:gd name="connsiteX56" fmla="*/ 2800350 w 8601075"/>
                  <a:gd name="connsiteY56" fmla="*/ 257175 h 4333875"/>
                  <a:gd name="connsiteX57" fmla="*/ 2724150 w 8601075"/>
                  <a:gd name="connsiteY57" fmla="*/ 304800 h 4333875"/>
                  <a:gd name="connsiteX58" fmla="*/ 2705100 w 8601075"/>
                  <a:gd name="connsiteY58" fmla="*/ 466725 h 4333875"/>
                  <a:gd name="connsiteX59" fmla="*/ 2762250 w 8601075"/>
                  <a:gd name="connsiteY59" fmla="*/ 571500 h 4333875"/>
                  <a:gd name="connsiteX60" fmla="*/ 2800350 w 8601075"/>
                  <a:gd name="connsiteY60" fmla="*/ 628650 h 4333875"/>
                  <a:gd name="connsiteX61" fmla="*/ 2752725 w 8601075"/>
                  <a:gd name="connsiteY61" fmla="*/ 781050 h 4333875"/>
                  <a:gd name="connsiteX62" fmla="*/ 2686050 w 8601075"/>
                  <a:gd name="connsiteY62" fmla="*/ 857250 h 4333875"/>
                  <a:gd name="connsiteX63" fmla="*/ 2609850 w 8601075"/>
                  <a:gd name="connsiteY63" fmla="*/ 857250 h 4333875"/>
                  <a:gd name="connsiteX64" fmla="*/ 2514600 w 8601075"/>
                  <a:gd name="connsiteY64" fmla="*/ 914400 h 4333875"/>
                  <a:gd name="connsiteX65" fmla="*/ 2400300 w 8601075"/>
                  <a:gd name="connsiteY65" fmla="*/ 866775 h 4333875"/>
                  <a:gd name="connsiteX66" fmla="*/ 2305050 w 8601075"/>
                  <a:gd name="connsiteY66" fmla="*/ 809625 h 4333875"/>
                  <a:gd name="connsiteX67" fmla="*/ 2200275 w 8601075"/>
                  <a:gd name="connsiteY67" fmla="*/ 752475 h 4333875"/>
                  <a:gd name="connsiteX68" fmla="*/ 2105025 w 8601075"/>
                  <a:gd name="connsiteY68" fmla="*/ 762000 h 4333875"/>
                  <a:gd name="connsiteX69" fmla="*/ 1990725 w 8601075"/>
                  <a:gd name="connsiteY69" fmla="*/ 762000 h 4333875"/>
                  <a:gd name="connsiteX70" fmla="*/ 1885950 w 8601075"/>
                  <a:gd name="connsiteY70" fmla="*/ 742950 h 4333875"/>
                  <a:gd name="connsiteX71" fmla="*/ 1800225 w 8601075"/>
                  <a:gd name="connsiteY71" fmla="*/ 638175 h 4333875"/>
                  <a:gd name="connsiteX72" fmla="*/ 1809750 w 8601075"/>
                  <a:gd name="connsiteY72" fmla="*/ 495300 h 4333875"/>
                  <a:gd name="connsiteX73" fmla="*/ 1733550 w 8601075"/>
                  <a:gd name="connsiteY73" fmla="*/ 466725 h 4333875"/>
                  <a:gd name="connsiteX74" fmla="*/ 1485900 w 8601075"/>
                  <a:gd name="connsiteY74" fmla="*/ 419100 h 4333875"/>
                  <a:gd name="connsiteX75" fmla="*/ 1457325 w 8601075"/>
                  <a:gd name="connsiteY75" fmla="*/ 323850 h 4333875"/>
                  <a:gd name="connsiteX76" fmla="*/ 1457325 w 8601075"/>
                  <a:gd name="connsiteY76" fmla="*/ 323850 h 4333875"/>
                  <a:gd name="connsiteX77" fmla="*/ 1323975 w 8601075"/>
                  <a:gd name="connsiteY77" fmla="*/ 285750 h 4333875"/>
                  <a:gd name="connsiteX78" fmla="*/ 1266825 w 8601075"/>
                  <a:gd name="connsiteY78" fmla="*/ 352425 h 4333875"/>
                  <a:gd name="connsiteX79" fmla="*/ 1009650 w 8601075"/>
                  <a:gd name="connsiteY79" fmla="*/ 390525 h 4333875"/>
                  <a:gd name="connsiteX80" fmla="*/ 828675 w 8601075"/>
                  <a:gd name="connsiteY80" fmla="*/ 447675 h 4333875"/>
                  <a:gd name="connsiteX81" fmla="*/ 619125 w 8601075"/>
                  <a:gd name="connsiteY81" fmla="*/ 533400 h 4333875"/>
                  <a:gd name="connsiteX82" fmla="*/ 619125 w 8601075"/>
                  <a:gd name="connsiteY82" fmla="*/ 533400 h 4333875"/>
                  <a:gd name="connsiteX83" fmla="*/ 561975 w 8601075"/>
                  <a:gd name="connsiteY83" fmla="*/ 61912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447675 w 8601075"/>
                  <a:gd name="connsiteY86" fmla="*/ 638175 h 4333875"/>
                  <a:gd name="connsiteX87" fmla="*/ 295275 w 8601075"/>
                  <a:gd name="connsiteY87" fmla="*/ 657225 h 4333875"/>
                  <a:gd name="connsiteX88" fmla="*/ 180975 w 8601075"/>
                  <a:gd name="connsiteY88" fmla="*/ 638175 h 4333875"/>
                  <a:gd name="connsiteX89" fmla="*/ 180975 w 8601075"/>
                  <a:gd name="connsiteY89" fmla="*/ 638175 h 4333875"/>
                  <a:gd name="connsiteX90" fmla="*/ 57150 w 8601075"/>
                  <a:gd name="connsiteY90" fmla="*/ 733425 h 4333875"/>
                  <a:gd name="connsiteX91" fmla="*/ 19050 w 8601075"/>
                  <a:gd name="connsiteY91" fmla="*/ 790575 h 4333875"/>
                  <a:gd name="connsiteX92" fmla="*/ 0 w 8601075"/>
                  <a:gd name="connsiteY92" fmla="*/ 876300 h 4333875"/>
                  <a:gd name="connsiteX93" fmla="*/ 57150 w 8601075"/>
                  <a:gd name="connsiteY93" fmla="*/ 923925 h 4333875"/>
                  <a:gd name="connsiteX94" fmla="*/ 57150 w 8601075"/>
                  <a:gd name="connsiteY94" fmla="*/ 923925 h 4333875"/>
                  <a:gd name="connsiteX95" fmla="*/ 209550 w 8601075"/>
                  <a:gd name="connsiteY95" fmla="*/ 1114425 h 4333875"/>
                  <a:gd name="connsiteX96" fmla="*/ 209550 w 8601075"/>
                  <a:gd name="connsiteY96" fmla="*/ 1114425 h 4333875"/>
                  <a:gd name="connsiteX97" fmla="*/ 266700 w 8601075"/>
                  <a:gd name="connsiteY97" fmla="*/ 1295400 h 4333875"/>
                  <a:gd name="connsiteX98" fmla="*/ 409575 w 8601075"/>
                  <a:gd name="connsiteY98" fmla="*/ 1276350 h 4333875"/>
                  <a:gd name="connsiteX99" fmla="*/ 466725 w 8601075"/>
                  <a:gd name="connsiteY99" fmla="*/ 1362075 h 4333875"/>
                  <a:gd name="connsiteX100" fmla="*/ 542925 w 8601075"/>
                  <a:gd name="connsiteY100" fmla="*/ 1428750 h 4333875"/>
                  <a:gd name="connsiteX101" fmla="*/ 628650 w 8601075"/>
                  <a:gd name="connsiteY101" fmla="*/ 1571625 h 4333875"/>
                  <a:gd name="connsiteX102" fmla="*/ 628650 w 8601075"/>
                  <a:gd name="connsiteY102" fmla="*/ 1704975 h 4333875"/>
                  <a:gd name="connsiteX103" fmla="*/ 676275 w 8601075"/>
                  <a:gd name="connsiteY103" fmla="*/ 1771650 h 4333875"/>
                  <a:gd name="connsiteX104" fmla="*/ 657225 w 8601075"/>
                  <a:gd name="connsiteY104" fmla="*/ 2000250 h 4333875"/>
                  <a:gd name="connsiteX105" fmla="*/ 619125 w 8601075"/>
                  <a:gd name="connsiteY105" fmla="*/ 2095500 h 4333875"/>
                  <a:gd name="connsiteX106" fmla="*/ 542925 w 8601075"/>
                  <a:gd name="connsiteY106" fmla="*/ 2228850 h 4333875"/>
                  <a:gd name="connsiteX107" fmla="*/ 485775 w 8601075"/>
                  <a:gd name="connsiteY107" fmla="*/ 2362200 h 4333875"/>
                  <a:gd name="connsiteX108" fmla="*/ 552450 w 8601075"/>
                  <a:gd name="connsiteY108" fmla="*/ 2486025 h 4333875"/>
                  <a:gd name="connsiteX109" fmla="*/ 771525 w 8601075"/>
                  <a:gd name="connsiteY109" fmla="*/ 2571750 h 4333875"/>
                  <a:gd name="connsiteX110" fmla="*/ 866775 w 8601075"/>
                  <a:gd name="connsiteY110" fmla="*/ 2571750 h 4333875"/>
                  <a:gd name="connsiteX111" fmla="*/ 914400 w 8601075"/>
                  <a:gd name="connsiteY111" fmla="*/ 2638425 h 4333875"/>
                  <a:gd name="connsiteX112" fmla="*/ 1066800 w 8601075"/>
                  <a:gd name="connsiteY112" fmla="*/ 2638425 h 4333875"/>
                  <a:gd name="connsiteX113" fmla="*/ 1285875 w 8601075"/>
                  <a:gd name="connsiteY113" fmla="*/ 2705100 h 4333875"/>
                  <a:gd name="connsiteX114" fmla="*/ 1438275 w 8601075"/>
                  <a:gd name="connsiteY114" fmla="*/ 2838450 h 4333875"/>
                  <a:gd name="connsiteX115" fmla="*/ 1485900 w 8601075"/>
                  <a:gd name="connsiteY115" fmla="*/ 2914650 h 4333875"/>
                  <a:gd name="connsiteX116" fmla="*/ 1657350 w 8601075"/>
                  <a:gd name="connsiteY116" fmla="*/ 3038475 h 4333875"/>
                  <a:gd name="connsiteX117" fmla="*/ 1752600 w 8601075"/>
                  <a:gd name="connsiteY117" fmla="*/ 3057525 h 4333875"/>
                  <a:gd name="connsiteX118" fmla="*/ 1724025 w 8601075"/>
                  <a:gd name="connsiteY118" fmla="*/ 3143250 h 4333875"/>
                  <a:gd name="connsiteX119" fmla="*/ 1724025 w 8601075"/>
                  <a:gd name="connsiteY119" fmla="*/ 3143250 h 4333875"/>
                  <a:gd name="connsiteX120" fmla="*/ 1781175 w 8601075"/>
                  <a:gd name="connsiteY120" fmla="*/ 3181350 h 4333875"/>
                  <a:gd name="connsiteX121" fmla="*/ 1819275 w 8601075"/>
                  <a:gd name="connsiteY121" fmla="*/ 3362325 h 4333875"/>
                  <a:gd name="connsiteX122" fmla="*/ 1828800 w 8601075"/>
                  <a:gd name="connsiteY122" fmla="*/ 3457575 h 4333875"/>
                  <a:gd name="connsiteX123" fmla="*/ 1971675 w 8601075"/>
                  <a:gd name="connsiteY123" fmla="*/ 3590925 h 4333875"/>
                  <a:gd name="connsiteX124" fmla="*/ 1990725 w 8601075"/>
                  <a:gd name="connsiteY124" fmla="*/ 3714750 h 4333875"/>
                  <a:gd name="connsiteX125" fmla="*/ 2200275 w 8601075"/>
                  <a:gd name="connsiteY125" fmla="*/ 3695700 h 4333875"/>
                  <a:gd name="connsiteX126" fmla="*/ 2886075 w 8601075"/>
                  <a:gd name="connsiteY126" fmla="*/ 3886200 h 4333875"/>
                  <a:gd name="connsiteX127" fmla="*/ 3038475 w 8601075"/>
                  <a:gd name="connsiteY127" fmla="*/ 3819525 h 4333875"/>
                  <a:gd name="connsiteX128" fmla="*/ 3105150 w 8601075"/>
                  <a:gd name="connsiteY128" fmla="*/ 3867150 h 4333875"/>
                  <a:gd name="connsiteX129" fmla="*/ 3181350 w 8601075"/>
                  <a:gd name="connsiteY129" fmla="*/ 3800475 h 4333875"/>
                  <a:gd name="connsiteX130" fmla="*/ 3590925 w 8601075"/>
                  <a:gd name="connsiteY130" fmla="*/ 3943350 h 4333875"/>
                  <a:gd name="connsiteX131" fmla="*/ 3686175 w 8601075"/>
                  <a:gd name="connsiteY131" fmla="*/ 4057650 h 4333875"/>
                  <a:gd name="connsiteX132" fmla="*/ 3838575 w 8601075"/>
                  <a:gd name="connsiteY132" fmla="*/ 4057650 h 4333875"/>
                  <a:gd name="connsiteX133" fmla="*/ 4162425 w 8601075"/>
                  <a:gd name="connsiteY133" fmla="*/ 4248150 h 4333875"/>
                  <a:gd name="connsiteX134" fmla="*/ 4391025 w 8601075"/>
                  <a:gd name="connsiteY134" fmla="*/ 4200525 h 4333875"/>
                  <a:gd name="connsiteX135" fmla="*/ 4410075 w 8601075"/>
                  <a:gd name="connsiteY135" fmla="*/ 4305300 h 4333875"/>
                  <a:gd name="connsiteX136" fmla="*/ 4505325 w 8601075"/>
                  <a:gd name="connsiteY136" fmla="*/ 4276725 h 4333875"/>
                  <a:gd name="connsiteX137" fmla="*/ 4572000 w 8601075"/>
                  <a:gd name="connsiteY137" fmla="*/ 4333875 h 4333875"/>
                  <a:gd name="connsiteX138" fmla="*/ 4591050 w 8601075"/>
                  <a:gd name="connsiteY138" fmla="*/ 4248150 h 4333875"/>
                  <a:gd name="connsiteX139" fmla="*/ 5295900 w 8601075"/>
                  <a:gd name="connsiteY139" fmla="*/ 3924300 h 4333875"/>
                  <a:gd name="connsiteX140" fmla="*/ 5353050 w 8601075"/>
                  <a:gd name="connsiteY140" fmla="*/ 3990975 h 4333875"/>
                  <a:gd name="connsiteX141" fmla="*/ 5524500 w 8601075"/>
                  <a:gd name="connsiteY141" fmla="*/ 3914775 h 4333875"/>
                  <a:gd name="connsiteX142" fmla="*/ 5667375 w 8601075"/>
                  <a:gd name="connsiteY142" fmla="*/ 3962400 h 4333875"/>
                  <a:gd name="connsiteX143" fmla="*/ 5753100 w 8601075"/>
                  <a:gd name="connsiteY143" fmla="*/ 3924300 h 4333875"/>
                  <a:gd name="connsiteX144" fmla="*/ 5905500 w 8601075"/>
                  <a:gd name="connsiteY144" fmla="*/ 3943350 h 4333875"/>
                  <a:gd name="connsiteX145" fmla="*/ 6000750 w 8601075"/>
                  <a:gd name="connsiteY145" fmla="*/ 3800475 h 4333875"/>
                  <a:gd name="connsiteX146" fmla="*/ 6153150 w 8601075"/>
                  <a:gd name="connsiteY146" fmla="*/ 3781425 h 4333875"/>
                  <a:gd name="connsiteX147" fmla="*/ 6257925 w 8601075"/>
                  <a:gd name="connsiteY147" fmla="*/ 3581400 h 4333875"/>
                  <a:gd name="connsiteX148" fmla="*/ 6448425 w 8601075"/>
                  <a:gd name="connsiteY148" fmla="*/ 3448050 h 4333875"/>
                  <a:gd name="connsiteX149" fmla="*/ 6581775 w 8601075"/>
                  <a:gd name="connsiteY149" fmla="*/ 3276600 h 4333875"/>
                  <a:gd name="connsiteX150" fmla="*/ 6496050 w 8601075"/>
                  <a:gd name="connsiteY150" fmla="*/ 3228975 h 4333875"/>
                  <a:gd name="connsiteX151" fmla="*/ 6438900 w 8601075"/>
                  <a:gd name="connsiteY151" fmla="*/ 3162300 h 4333875"/>
                  <a:gd name="connsiteX152" fmla="*/ 6419850 w 8601075"/>
                  <a:gd name="connsiteY152" fmla="*/ 3105150 h 4333875"/>
                  <a:gd name="connsiteX153" fmla="*/ 6362700 w 8601075"/>
                  <a:gd name="connsiteY153" fmla="*/ 3076575 h 4333875"/>
                  <a:gd name="connsiteX154" fmla="*/ 6410325 w 8601075"/>
                  <a:gd name="connsiteY154" fmla="*/ 3019425 h 4333875"/>
                  <a:gd name="connsiteX155" fmla="*/ 6438900 w 8601075"/>
                  <a:gd name="connsiteY155" fmla="*/ 2819400 h 4333875"/>
                  <a:gd name="connsiteX156" fmla="*/ 6496050 w 8601075"/>
                  <a:gd name="connsiteY156" fmla="*/ 2762250 h 4333875"/>
                  <a:gd name="connsiteX157" fmla="*/ 6657975 w 8601075"/>
                  <a:gd name="connsiteY157" fmla="*/ 2752725 h 4333875"/>
                  <a:gd name="connsiteX158" fmla="*/ 6781800 w 8601075"/>
                  <a:gd name="connsiteY158" fmla="*/ 2838450 h 4333875"/>
                  <a:gd name="connsiteX159" fmla="*/ 7010400 w 8601075"/>
                  <a:gd name="connsiteY159" fmla="*/ 2838450 h 4333875"/>
                  <a:gd name="connsiteX160" fmla="*/ 7162800 w 8601075"/>
                  <a:gd name="connsiteY160" fmla="*/ 2705100 h 4333875"/>
                  <a:gd name="connsiteX161" fmla="*/ 7229475 w 8601075"/>
                  <a:gd name="connsiteY161" fmla="*/ 2590800 h 4333875"/>
                  <a:gd name="connsiteX162" fmla="*/ 7248525 w 8601075"/>
                  <a:gd name="connsiteY162" fmla="*/ 2524125 h 4333875"/>
                  <a:gd name="connsiteX163" fmla="*/ 7372350 w 8601075"/>
                  <a:gd name="connsiteY163" fmla="*/ 2543175 h 4333875"/>
                  <a:gd name="connsiteX164" fmla="*/ 7553325 w 8601075"/>
                  <a:gd name="connsiteY164" fmla="*/ 2447925 h 4333875"/>
                  <a:gd name="connsiteX165" fmla="*/ 7620000 w 8601075"/>
                  <a:gd name="connsiteY165" fmla="*/ 2324100 h 4333875"/>
                  <a:gd name="connsiteX166" fmla="*/ 7696200 w 8601075"/>
                  <a:gd name="connsiteY166" fmla="*/ 2314575 h 4333875"/>
                  <a:gd name="connsiteX167" fmla="*/ 7658100 w 8601075"/>
                  <a:gd name="connsiteY167" fmla="*/ 2257425 h 4333875"/>
                  <a:gd name="connsiteX168" fmla="*/ 7753350 w 8601075"/>
                  <a:gd name="connsiteY168" fmla="*/ 2057400 h 4333875"/>
                  <a:gd name="connsiteX169" fmla="*/ 7934325 w 8601075"/>
                  <a:gd name="connsiteY169" fmla="*/ 2028825 h 4333875"/>
                  <a:gd name="connsiteX170" fmla="*/ 7953375 w 8601075"/>
                  <a:gd name="connsiteY170" fmla="*/ 1952625 h 4333875"/>
                  <a:gd name="connsiteX171" fmla="*/ 7953375 w 8601075"/>
                  <a:gd name="connsiteY171" fmla="*/ 1952625 h 4333875"/>
                  <a:gd name="connsiteX172" fmla="*/ 8010525 w 8601075"/>
                  <a:gd name="connsiteY172" fmla="*/ 1895475 h 4333875"/>
                  <a:gd name="connsiteX173" fmla="*/ 8048625 w 8601075"/>
                  <a:gd name="connsiteY173" fmla="*/ 1971675 h 4333875"/>
                  <a:gd name="connsiteX174" fmla="*/ 8077200 w 8601075"/>
                  <a:gd name="connsiteY174" fmla="*/ 1885950 h 4333875"/>
                  <a:gd name="connsiteX175" fmla="*/ 8220075 w 8601075"/>
                  <a:gd name="connsiteY175" fmla="*/ 1847850 h 4333875"/>
                  <a:gd name="connsiteX176" fmla="*/ 8296275 w 8601075"/>
                  <a:gd name="connsiteY176" fmla="*/ 1809750 h 4333875"/>
                  <a:gd name="connsiteX177" fmla="*/ 8324850 w 8601075"/>
                  <a:gd name="connsiteY177" fmla="*/ 1790700 h 4333875"/>
                  <a:gd name="connsiteX178" fmla="*/ 8410575 w 8601075"/>
                  <a:gd name="connsiteY178" fmla="*/ 1847850 h 4333875"/>
                  <a:gd name="connsiteX179" fmla="*/ 8505825 w 8601075"/>
                  <a:gd name="connsiteY179" fmla="*/ 1781175 h 4333875"/>
                  <a:gd name="connsiteX180" fmla="*/ 8572500 w 8601075"/>
                  <a:gd name="connsiteY180" fmla="*/ 1809750 h 4333875"/>
                  <a:gd name="connsiteX181" fmla="*/ 8601075 w 8601075"/>
                  <a:gd name="connsiteY181" fmla="*/ 1704975 h 4333875"/>
                  <a:gd name="connsiteX182" fmla="*/ 8553450 w 8601075"/>
                  <a:gd name="connsiteY182" fmla="*/ 1676400 h 4333875"/>
                  <a:gd name="connsiteX183" fmla="*/ 8534400 w 8601075"/>
                  <a:gd name="connsiteY183" fmla="*/ 1609725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277225 w 8601075"/>
                  <a:gd name="connsiteY186" fmla="*/ 1409700 h 4333875"/>
                  <a:gd name="connsiteX187" fmla="*/ 8124825 w 8601075"/>
                  <a:gd name="connsiteY187" fmla="*/ 1352550 h 4333875"/>
                  <a:gd name="connsiteX188" fmla="*/ 7924800 w 8601075"/>
                  <a:gd name="connsiteY188" fmla="*/ 1362075 h 4333875"/>
                  <a:gd name="connsiteX189" fmla="*/ 7867650 w 8601075"/>
                  <a:gd name="connsiteY189" fmla="*/ 1457325 h 4333875"/>
                  <a:gd name="connsiteX190" fmla="*/ 7896225 w 8601075"/>
                  <a:gd name="connsiteY190" fmla="*/ 1476375 h 4333875"/>
                  <a:gd name="connsiteX191" fmla="*/ 7858125 w 8601075"/>
                  <a:gd name="connsiteY191" fmla="*/ 1533525 h 4333875"/>
                  <a:gd name="connsiteX192" fmla="*/ 7658100 w 8601075"/>
                  <a:gd name="connsiteY192" fmla="*/ 1447800 h 4333875"/>
                  <a:gd name="connsiteX193" fmla="*/ 7515225 w 8601075"/>
                  <a:gd name="connsiteY193" fmla="*/ 1495425 h 4333875"/>
                  <a:gd name="connsiteX194" fmla="*/ 7467600 w 8601075"/>
                  <a:gd name="connsiteY194" fmla="*/ 1581150 h 4333875"/>
                  <a:gd name="connsiteX195" fmla="*/ 7296150 w 8601075"/>
                  <a:gd name="connsiteY19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895725 w 8601075"/>
                  <a:gd name="connsiteY42" fmla="*/ 695325 h 4333875"/>
                  <a:gd name="connsiteX43" fmla="*/ 3781425 w 8601075"/>
                  <a:gd name="connsiteY43" fmla="*/ 590550 h 4333875"/>
                  <a:gd name="connsiteX44" fmla="*/ 3810000 w 8601075"/>
                  <a:gd name="connsiteY44" fmla="*/ 514350 h 4333875"/>
                  <a:gd name="connsiteX45" fmla="*/ 3781425 w 8601075"/>
                  <a:gd name="connsiteY45" fmla="*/ 390525 h 4333875"/>
                  <a:gd name="connsiteX46" fmla="*/ 3771900 w 8601075"/>
                  <a:gd name="connsiteY46" fmla="*/ 352425 h 4333875"/>
                  <a:gd name="connsiteX47" fmla="*/ 3600450 w 8601075"/>
                  <a:gd name="connsiteY47" fmla="*/ 285750 h 4333875"/>
                  <a:gd name="connsiteX48" fmla="*/ 3533775 w 8601075"/>
                  <a:gd name="connsiteY48" fmla="*/ 314325 h 4333875"/>
                  <a:gd name="connsiteX49" fmla="*/ 3409950 w 8601075"/>
                  <a:gd name="connsiteY49" fmla="*/ 190500 h 4333875"/>
                  <a:gd name="connsiteX50" fmla="*/ 3257550 w 8601075"/>
                  <a:gd name="connsiteY50" fmla="*/ 180975 h 4333875"/>
                  <a:gd name="connsiteX51" fmla="*/ 3209925 w 8601075"/>
                  <a:gd name="connsiteY51" fmla="*/ 104775 h 4333875"/>
                  <a:gd name="connsiteX52" fmla="*/ 3152775 w 8601075"/>
                  <a:gd name="connsiteY52" fmla="*/ 104775 h 4333875"/>
                  <a:gd name="connsiteX53" fmla="*/ 2990850 w 8601075"/>
                  <a:gd name="connsiteY53" fmla="*/ 0 h 4333875"/>
                  <a:gd name="connsiteX54" fmla="*/ 2933700 w 8601075"/>
                  <a:gd name="connsiteY54" fmla="*/ 114300 h 4333875"/>
                  <a:gd name="connsiteX55" fmla="*/ 2867025 w 8601075"/>
                  <a:gd name="connsiteY55" fmla="*/ 171450 h 4333875"/>
                  <a:gd name="connsiteX56" fmla="*/ 2867025 w 8601075"/>
                  <a:gd name="connsiteY56" fmla="*/ 171450 h 4333875"/>
                  <a:gd name="connsiteX57" fmla="*/ 2800350 w 8601075"/>
                  <a:gd name="connsiteY57" fmla="*/ 257175 h 4333875"/>
                  <a:gd name="connsiteX58" fmla="*/ 2724150 w 8601075"/>
                  <a:gd name="connsiteY58" fmla="*/ 304800 h 4333875"/>
                  <a:gd name="connsiteX59" fmla="*/ 2705100 w 8601075"/>
                  <a:gd name="connsiteY59" fmla="*/ 466725 h 4333875"/>
                  <a:gd name="connsiteX60" fmla="*/ 2762250 w 8601075"/>
                  <a:gd name="connsiteY60" fmla="*/ 571500 h 4333875"/>
                  <a:gd name="connsiteX61" fmla="*/ 2800350 w 8601075"/>
                  <a:gd name="connsiteY61" fmla="*/ 628650 h 4333875"/>
                  <a:gd name="connsiteX62" fmla="*/ 2752725 w 8601075"/>
                  <a:gd name="connsiteY62" fmla="*/ 781050 h 4333875"/>
                  <a:gd name="connsiteX63" fmla="*/ 2686050 w 8601075"/>
                  <a:gd name="connsiteY63" fmla="*/ 857250 h 4333875"/>
                  <a:gd name="connsiteX64" fmla="*/ 2609850 w 8601075"/>
                  <a:gd name="connsiteY64" fmla="*/ 857250 h 4333875"/>
                  <a:gd name="connsiteX65" fmla="*/ 2514600 w 8601075"/>
                  <a:gd name="connsiteY65" fmla="*/ 914400 h 4333875"/>
                  <a:gd name="connsiteX66" fmla="*/ 2400300 w 8601075"/>
                  <a:gd name="connsiteY66" fmla="*/ 866775 h 4333875"/>
                  <a:gd name="connsiteX67" fmla="*/ 2305050 w 8601075"/>
                  <a:gd name="connsiteY67" fmla="*/ 809625 h 4333875"/>
                  <a:gd name="connsiteX68" fmla="*/ 2200275 w 8601075"/>
                  <a:gd name="connsiteY68" fmla="*/ 752475 h 4333875"/>
                  <a:gd name="connsiteX69" fmla="*/ 2105025 w 8601075"/>
                  <a:gd name="connsiteY69" fmla="*/ 762000 h 4333875"/>
                  <a:gd name="connsiteX70" fmla="*/ 1990725 w 8601075"/>
                  <a:gd name="connsiteY70" fmla="*/ 762000 h 4333875"/>
                  <a:gd name="connsiteX71" fmla="*/ 1885950 w 8601075"/>
                  <a:gd name="connsiteY71" fmla="*/ 742950 h 4333875"/>
                  <a:gd name="connsiteX72" fmla="*/ 1800225 w 8601075"/>
                  <a:gd name="connsiteY72" fmla="*/ 638175 h 4333875"/>
                  <a:gd name="connsiteX73" fmla="*/ 1809750 w 8601075"/>
                  <a:gd name="connsiteY73" fmla="*/ 495300 h 4333875"/>
                  <a:gd name="connsiteX74" fmla="*/ 1733550 w 8601075"/>
                  <a:gd name="connsiteY74" fmla="*/ 466725 h 4333875"/>
                  <a:gd name="connsiteX75" fmla="*/ 1485900 w 8601075"/>
                  <a:gd name="connsiteY75" fmla="*/ 419100 h 4333875"/>
                  <a:gd name="connsiteX76" fmla="*/ 1457325 w 8601075"/>
                  <a:gd name="connsiteY76" fmla="*/ 323850 h 4333875"/>
                  <a:gd name="connsiteX77" fmla="*/ 1457325 w 8601075"/>
                  <a:gd name="connsiteY77" fmla="*/ 323850 h 4333875"/>
                  <a:gd name="connsiteX78" fmla="*/ 1323975 w 8601075"/>
                  <a:gd name="connsiteY78" fmla="*/ 285750 h 4333875"/>
                  <a:gd name="connsiteX79" fmla="*/ 1266825 w 8601075"/>
                  <a:gd name="connsiteY79" fmla="*/ 352425 h 4333875"/>
                  <a:gd name="connsiteX80" fmla="*/ 1009650 w 8601075"/>
                  <a:gd name="connsiteY80" fmla="*/ 390525 h 4333875"/>
                  <a:gd name="connsiteX81" fmla="*/ 828675 w 8601075"/>
                  <a:gd name="connsiteY81" fmla="*/ 447675 h 4333875"/>
                  <a:gd name="connsiteX82" fmla="*/ 619125 w 8601075"/>
                  <a:gd name="connsiteY82" fmla="*/ 533400 h 4333875"/>
                  <a:gd name="connsiteX83" fmla="*/ 619125 w 8601075"/>
                  <a:gd name="connsiteY83" fmla="*/ 533400 h 4333875"/>
                  <a:gd name="connsiteX84" fmla="*/ 561975 w 8601075"/>
                  <a:gd name="connsiteY84" fmla="*/ 619125 h 4333875"/>
                  <a:gd name="connsiteX85" fmla="*/ 447675 w 8601075"/>
                  <a:gd name="connsiteY85" fmla="*/ 638175 h 4333875"/>
                  <a:gd name="connsiteX86" fmla="*/ 447675 w 8601075"/>
                  <a:gd name="connsiteY86" fmla="*/ 638175 h 4333875"/>
                  <a:gd name="connsiteX87" fmla="*/ 447675 w 8601075"/>
                  <a:gd name="connsiteY87" fmla="*/ 638175 h 4333875"/>
                  <a:gd name="connsiteX88" fmla="*/ 295275 w 8601075"/>
                  <a:gd name="connsiteY88" fmla="*/ 657225 h 4333875"/>
                  <a:gd name="connsiteX89" fmla="*/ 180975 w 8601075"/>
                  <a:gd name="connsiteY89" fmla="*/ 638175 h 4333875"/>
                  <a:gd name="connsiteX90" fmla="*/ 180975 w 8601075"/>
                  <a:gd name="connsiteY90" fmla="*/ 638175 h 4333875"/>
                  <a:gd name="connsiteX91" fmla="*/ 57150 w 8601075"/>
                  <a:gd name="connsiteY91" fmla="*/ 733425 h 4333875"/>
                  <a:gd name="connsiteX92" fmla="*/ 19050 w 8601075"/>
                  <a:gd name="connsiteY92" fmla="*/ 790575 h 4333875"/>
                  <a:gd name="connsiteX93" fmla="*/ 0 w 8601075"/>
                  <a:gd name="connsiteY93" fmla="*/ 876300 h 4333875"/>
                  <a:gd name="connsiteX94" fmla="*/ 57150 w 8601075"/>
                  <a:gd name="connsiteY94" fmla="*/ 923925 h 4333875"/>
                  <a:gd name="connsiteX95" fmla="*/ 57150 w 8601075"/>
                  <a:gd name="connsiteY95" fmla="*/ 923925 h 4333875"/>
                  <a:gd name="connsiteX96" fmla="*/ 209550 w 8601075"/>
                  <a:gd name="connsiteY96" fmla="*/ 1114425 h 4333875"/>
                  <a:gd name="connsiteX97" fmla="*/ 209550 w 8601075"/>
                  <a:gd name="connsiteY97" fmla="*/ 1114425 h 4333875"/>
                  <a:gd name="connsiteX98" fmla="*/ 266700 w 8601075"/>
                  <a:gd name="connsiteY98" fmla="*/ 1295400 h 4333875"/>
                  <a:gd name="connsiteX99" fmla="*/ 409575 w 8601075"/>
                  <a:gd name="connsiteY99" fmla="*/ 1276350 h 4333875"/>
                  <a:gd name="connsiteX100" fmla="*/ 466725 w 8601075"/>
                  <a:gd name="connsiteY100" fmla="*/ 1362075 h 4333875"/>
                  <a:gd name="connsiteX101" fmla="*/ 542925 w 8601075"/>
                  <a:gd name="connsiteY101" fmla="*/ 1428750 h 4333875"/>
                  <a:gd name="connsiteX102" fmla="*/ 628650 w 8601075"/>
                  <a:gd name="connsiteY102" fmla="*/ 1571625 h 4333875"/>
                  <a:gd name="connsiteX103" fmla="*/ 628650 w 8601075"/>
                  <a:gd name="connsiteY103" fmla="*/ 1704975 h 4333875"/>
                  <a:gd name="connsiteX104" fmla="*/ 676275 w 8601075"/>
                  <a:gd name="connsiteY104" fmla="*/ 1771650 h 4333875"/>
                  <a:gd name="connsiteX105" fmla="*/ 657225 w 8601075"/>
                  <a:gd name="connsiteY105" fmla="*/ 2000250 h 4333875"/>
                  <a:gd name="connsiteX106" fmla="*/ 619125 w 8601075"/>
                  <a:gd name="connsiteY106" fmla="*/ 2095500 h 4333875"/>
                  <a:gd name="connsiteX107" fmla="*/ 542925 w 8601075"/>
                  <a:gd name="connsiteY107" fmla="*/ 2228850 h 4333875"/>
                  <a:gd name="connsiteX108" fmla="*/ 485775 w 8601075"/>
                  <a:gd name="connsiteY108" fmla="*/ 2362200 h 4333875"/>
                  <a:gd name="connsiteX109" fmla="*/ 552450 w 8601075"/>
                  <a:gd name="connsiteY109" fmla="*/ 2486025 h 4333875"/>
                  <a:gd name="connsiteX110" fmla="*/ 771525 w 8601075"/>
                  <a:gd name="connsiteY110" fmla="*/ 2571750 h 4333875"/>
                  <a:gd name="connsiteX111" fmla="*/ 866775 w 8601075"/>
                  <a:gd name="connsiteY111" fmla="*/ 2571750 h 4333875"/>
                  <a:gd name="connsiteX112" fmla="*/ 914400 w 8601075"/>
                  <a:gd name="connsiteY112" fmla="*/ 2638425 h 4333875"/>
                  <a:gd name="connsiteX113" fmla="*/ 1066800 w 8601075"/>
                  <a:gd name="connsiteY113" fmla="*/ 2638425 h 4333875"/>
                  <a:gd name="connsiteX114" fmla="*/ 1285875 w 8601075"/>
                  <a:gd name="connsiteY114" fmla="*/ 2705100 h 4333875"/>
                  <a:gd name="connsiteX115" fmla="*/ 1438275 w 8601075"/>
                  <a:gd name="connsiteY115" fmla="*/ 2838450 h 4333875"/>
                  <a:gd name="connsiteX116" fmla="*/ 1485900 w 8601075"/>
                  <a:gd name="connsiteY116" fmla="*/ 2914650 h 4333875"/>
                  <a:gd name="connsiteX117" fmla="*/ 1657350 w 8601075"/>
                  <a:gd name="connsiteY117" fmla="*/ 3038475 h 4333875"/>
                  <a:gd name="connsiteX118" fmla="*/ 1752600 w 8601075"/>
                  <a:gd name="connsiteY118" fmla="*/ 3057525 h 4333875"/>
                  <a:gd name="connsiteX119" fmla="*/ 1724025 w 8601075"/>
                  <a:gd name="connsiteY119" fmla="*/ 3143250 h 4333875"/>
                  <a:gd name="connsiteX120" fmla="*/ 1724025 w 8601075"/>
                  <a:gd name="connsiteY120" fmla="*/ 3143250 h 4333875"/>
                  <a:gd name="connsiteX121" fmla="*/ 1781175 w 8601075"/>
                  <a:gd name="connsiteY121" fmla="*/ 3181350 h 4333875"/>
                  <a:gd name="connsiteX122" fmla="*/ 1819275 w 8601075"/>
                  <a:gd name="connsiteY122" fmla="*/ 3362325 h 4333875"/>
                  <a:gd name="connsiteX123" fmla="*/ 1828800 w 8601075"/>
                  <a:gd name="connsiteY123" fmla="*/ 3457575 h 4333875"/>
                  <a:gd name="connsiteX124" fmla="*/ 1971675 w 8601075"/>
                  <a:gd name="connsiteY124" fmla="*/ 3590925 h 4333875"/>
                  <a:gd name="connsiteX125" fmla="*/ 1990725 w 8601075"/>
                  <a:gd name="connsiteY125" fmla="*/ 3714750 h 4333875"/>
                  <a:gd name="connsiteX126" fmla="*/ 2200275 w 8601075"/>
                  <a:gd name="connsiteY126" fmla="*/ 3695700 h 4333875"/>
                  <a:gd name="connsiteX127" fmla="*/ 2886075 w 8601075"/>
                  <a:gd name="connsiteY127" fmla="*/ 3886200 h 4333875"/>
                  <a:gd name="connsiteX128" fmla="*/ 3038475 w 8601075"/>
                  <a:gd name="connsiteY128" fmla="*/ 3819525 h 4333875"/>
                  <a:gd name="connsiteX129" fmla="*/ 3105150 w 8601075"/>
                  <a:gd name="connsiteY129" fmla="*/ 3867150 h 4333875"/>
                  <a:gd name="connsiteX130" fmla="*/ 3181350 w 8601075"/>
                  <a:gd name="connsiteY130" fmla="*/ 3800475 h 4333875"/>
                  <a:gd name="connsiteX131" fmla="*/ 3590925 w 8601075"/>
                  <a:gd name="connsiteY131" fmla="*/ 3943350 h 4333875"/>
                  <a:gd name="connsiteX132" fmla="*/ 3686175 w 8601075"/>
                  <a:gd name="connsiteY132" fmla="*/ 4057650 h 4333875"/>
                  <a:gd name="connsiteX133" fmla="*/ 3838575 w 8601075"/>
                  <a:gd name="connsiteY133" fmla="*/ 4057650 h 4333875"/>
                  <a:gd name="connsiteX134" fmla="*/ 4162425 w 8601075"/>
                  <a:gd name="connsiteY134" fmla="*/ 4248150 h 4333875"/>
                  <a:gd name="connsiteX135" fmla="*/ 4391025 w 8601075"/>
                  <a:gd name="connsiteY135" fmla="*/ 4200525 h 4333875"/>
                  <a:gd name="connsiteX136" fmla="*/ 4410075 w 8601075"/>
                  <a:gd name="connsiteY136" fmla="*/ 4305300 h 4333875"/>
                  <a:gd name="connsiteX137" fmla="*/ 4505325 w 8601075"/>
                  <a:gd name="connsiteY137" fmla="*/ 4276725 h 4333875"/>
                  <a:gd name="connsiteX138" fmla="*/ 4572000 w 8601075"/>
                  <a:gd name="connsiteY138" fmla="*/ 4333875 h 4333875"/>
                  <a:gd name="connsiteX139" fmla="*/ 4591050 w 8601075"/>
                  <a:gd name="connsiteY139" fmla="*/ 4248150 h 4333875"/>
                  <a:gd name="connsiteX140" fmla="*/ 5295900 w 8601075"/>
                  <a:gd name="connsiteY140" fmla="*/ 3924300 h 4333875"/>
                  <a:gd name="connsiteX141" fmla="*/ 5353050 w 8601075"/>
                  <a:gd name="connsiteY141" fmla="*/ 3990975 h 4333875"/>
                  <a:gd name="connsiteX142" fmla="*/ 5524500 w 8601075"/>
                  <a:gd name="connsiteY142" fmla="*/ 3914775 h 4333875"/>
                  <a:gd name="connsiteX143" fmla="*/ 5667375 w 8601075"/>
                  <a:gd name="connsiteY143" fmla="*/ 3962400 h 4333875"/>
                  <a:gd name="connsiteX144" fmla="*/ 5753100 w 8601075"/>
                  <a:gd name="connsiteY144" fmla="*/ 3924300 h 4333875"/>
                  <a:gd name="connsiteX145" fmla="*/ 5905500 w 8601075"/>
                  <a:gd name="connsiteY145" fmla="*/ 3943350 h 4333875"/>
                  <a:gd name="connsiteX146" fmla="*/ 6000750 w 8601075"/>
                  <a:gd name="connsiteY146" fmla="*/ 3800475 h 4333875"/>
                  <a:gd name="connsiteX147" fmla="*/ 6153150 w 8601075"/>
                  <a:gd name="connsiteY147" fmla="*/ 3781425 h 4333875"/>
                  <a:gd name="connsiteX148" fmla="*/ 6257925 w 8601075"/>
                  <a:gd name="connsiteY148" fmla="*/ 3581400 h 4333875"/>
                  <a:gd name="connsiteX149" fmla="*/ 6448425 w 8601075"/>
                  <a:gd name="connsiteY149" fmla="*/ 3448050 h 4333875"/>
                  <a:gd name="connsiteX150" fmla="*/ 6581775 w 8601075"/>
                  <a:gd name="connsiteY150" fmla="*/ 3276600 h 4333875"/>
                  <a:gd name="connsiteX151" fmla="*/ 6496050 w 8601075"/>
                  <a:gd name="connsiteY151" fmla="*/ 3228975 h 4333875"/>
                  <a:gd name="connsiteX152" fmla="*/ 6438900 w 8601075"/>
                  <a:gd name="connsiteY152" fmla="*/ 3162300 h 4333875"/>
                  <a:gd name="connsiteX153" fmla="*/ 6419850 w 8601075"/>
                  <a:gd name="connsiteY153" fmla="*/ 3105150 h 4333875"/>
                  <a:gd name="connsiteX154" fmla="*/ 6362700 w 8601075"/>
                  <a:gd name="connsiteY154" fmla="*/ 3076575 h 4333875"/>
                  <a:gd name="connsiteX155" fmla="*/ 6410325 w 8601075"/>
                  <a:gd name="connsiteY155" fmla="*/ 3019425 h 4333875"/>
                  <a:gd name="connsiteX156" fmla="*/ 6438900 w 8601075"/>
                  <a:gd name="connsiteY156" fmla="*/ 2819400 h 4333875"/>
                  <a:gd name="connsiteX157" fmla="*/ 6496050 w 8601075"/>
                  <a:gd name="connsiteY157" fmla="*/ 2762250 h 4333875"/>
                  <a:gd name="connsiteX158" fmla="*/ 6657975 w 8601075"/>
                  <a:gd name="connsiteY158" fmla="*/ 2752725 h 4333875"/>
                  <a:gd name="connsiteX159" fmla="*/ 6781800 w 8601075"/>
                  <a:gd name="connsiteY159" fmla="*/ 2838450 h 4333875"/>
                  <a:gd name="connsiteX160" fmla="*/ 7010400 w 8601075"/>
                  <a:gd name="connsiteY160" fmla="*/ 2838450 h 4333875"/>
                  <a:gd name="connsiteX161" fmla="*/ 7162800 w 8601075"/>
                  <a:gd name="connsiteY161" fmla="*/ 2705100 h 4333875"/>
                  <a:gd name="connsiteX162" fmla="*/ 7229475 w 8601075"/>
                  <a:gd name="connsiteY162" fmla="*/ 2590800 h 4333875"/>
                  <a:gd name="connsiteX163" fmla="*/ 7248525 w 8601075"/>
                  <a:gd name="connsiteY163" fmla="*/ 2524125 h 4333875"/>
                  <a:gd name="connsiteX164" fmla="*/ 7372350 w 8601075"/>
                  <a:gd name="connsiteY164" fmla="*/ 2543175 h 4333875"/>
                  <a:gd name="connsiteX165" fmla="*/ 7553325 w 8601075"/>
                  <a:gd name="connsiteY165" fmla="*/ 2447925 h 4333875"/>
                  <a:gd name="connsiteX166" fmla="*/ 7620000 w 8601075"/>
                  <a:gd name="connsiteY166" fmla="*/ 2324100 h 4333875"/>
                  <a:gd name="connsiteX167" fmla="*/ 7696200 w 8601075"/>
                  <a:gd name="connsiteY167" fmla="*/ 2314575 h 4333875"/>
                  <a:gd name="connsiteX168" fmla="*/ 7658100 w 8601075"/>
                  <a:gd name="connsiteY168" fmla="*/ 2257425 h 4333875"/>
                  <a:gd name="connsiteX169" fmla="*/ 7753350 w 8601075"/>
                  <a:gd name="connsiteY169" fmla="*/ 2057400 h 4333875"/>
                  <a:gd name="connsiteX170" fmla="*/ 7934325 w 8601075"/>
                  <a:gd name="connsiteY170" fmla="*/ 2028825 h 4333875"/>
                  <a:gd name="connsiteX171" fmla="*/ 7953375 w 8601075"/>
                  <a:gd name="connsiteY171" fmla="*/ 1952625 h 4333875"/>
                  <a:gd name="connsiteX172" fmla="*/ 7953375 w 8601075"/>
                  <a:gd name="connsiteY172" fmla="*/ 1952625 h 4333875"/>
                  <a:gd name="connsiteX173" fmla="*/ 8010525 w 8601075"/>
                  <a:gd name="connsiteY173" fmla="*/ 1895475 h 4333875"/>
                  <a:gd name="connsiteX174" fmla="*/ 8048625 w 8601075"/>
                  <a:gd name="connsiteY174" fmla="*/ 1971675 h 4333875"/>
                  <a:gd name="connsiteX175" fmla="*/ 8077200 w 8601075"/>
                  <a:gd name="connsiteY175" fmla="*/ 1885950 h 4333875"/>
                  <a:gd name="connsiteX176" fmla="*/ 8220075 w 8601075"/>
                  <a:gd name="connsiteY176" fmla="*/ 1847850 h 4333875"/>
                  <a:gd name="connsiteX177" fmla="*/ 8296275 w 8601075"/>
                  <a:gd name="connsiteY177" fmla="*/ 1809750 h 4333875"/>
                  <a:gd name="connsiteX178" fmla="*/ 8324850 w 8601075"/>
                  <a:gd name="connsiteY178" fmla="*/ 1790700 h 4333875"/>
                  <a:gd name="connsiteX179" fmla="*/ 8410575 w 8601075"/>
                  <a:gd name="connsiteY179" fmla="*/ 1847850 h 4333875"/>
                  <a:gd name="connsiteX180" fmla="*/ 8505825 w 8601075"/>
                  <a:gd name="connsiteY180" fmla="*/ 1781175 h 4333875"/>
                  <a:gd name="connsiteX181" fmla="*/ 8572500 w 8601075"/>
                  <a:gd name="connsiteY181" fmla="*/ 1809750 h 4333875"/>
                  <a:gd name="connsiteX182" fmla="*/ 8601075 w 8601075"/>
                  <a:gd name="connsiteY182" fmla="*/ 1704975 h 4333875"/>
                  <a:gd name="connsiteX183" fmla="*/ 8553450 w 8601075"/>
                  <a:gd name="connsiteY183" fmla="*/ 1676400 h 4333875"/>
                  <a:gd name="connsiteX184" fmla="*/ 8534400 w 8601075"/>
                  <a:gd name="connsiteY184" fmla="*/ 1609725 h 4333875"/>
                  <a:gd name="connsiteX185" fmla="*/ 8277225 w 8601075"/>
                  <a:gd name="connsiteY185" fmla="*/ 1409700 h 4333875"/>
                  <a:gd name="connsiteX186" fmla="*/ 8277225 w 8601075"/>
                  <a:gd name="connsiteY186" fmla="*/ 1409700 h 4333875"/>
                  <a:gd name="connsiteX187" fmla="*/ 8277225 w 8601075"/>
                  <a:gd name="connsiteY187" fmla="*/ 1409700 h 4333875"/>
                  <a:gd name="connsiteX188" fmla="*/ 8124825 w 8601075"/>
                  <a:gd name="connsiteY188" fmla="*/ 1352550 h 4333875"/>
                  <a:gd name="connsiteX189" fmla="*/ 7924800 w 8601075"/>
                  <a:gd name="connsiteY189" fmla="*/ 1362075 h 4333875"/>
                  <a:gd name="connsiteX190" fmla="*/ 7867650 w 8601075"/>
                  <a:gd name="connsiteY190" fmla="*/ 1457325 h 4333875"/>
                  <a:gd name="connsiteX191" fmla="*/ 7896225 w 8601075"/>
                  <a:gd name="connsiteY191" fmla="*/ 1476375 h 4333875"/>
                  <a:gd name="connsiteX192" fmla="*/ 7858125 w 8601075"/>
                  <a:gd name="connsiteY192" fmla="*/ 1533525 h 4333875"/>
                  <a:gd name="connsiteX193" fmla="*/ 7658100 w 8601075"/>
                  <a:gd name="connsiteY193" fmla="*/ 1447800 h 4333875"/>
                  <a:gd name="connsiteX194" fmla="*/ 7515225 w 8601075"/>
                  <a:gd name="connsiteY194" fmla="*/ 1495425 h 4333875"/>
                  <a:gd name="connsiteX195" fmla="*/ 7467600 w 8601075"/>
                  <a:gd name="connsiteY195" fmla="*/ 1581150 h 4333875"/>
                  <a:gd name="connsiteX196" fmla="*/ 7296150 w 8601075"/>
                  <a:gd name="connsiteY19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95725 w 8601075"/>
                  <a:gd name="connsiteY43" fmla="*/ 695325 h 4333875"/>
                  <a:gd name="connsiteX44" fmla="*/ 3781425 w 8601075"/>
                  <a:gd name="connsiteY44" fmla="*/ 590550 h 4333875"/>
                  <a:gd name="connsiteX45" fmla="*/ 3810000 w 8601075"/>
                  <a:gd name="connsiteY45" fmla="*/ 514350 h 4333875"/>
                  <a:gd name="connsiteX46" fmla="*/ 3781425 w 8601075"/>
                  <a:gd name="connsiteY46" fmla="*/ 390525 h 4333875"/>
                  <a:gd name="connsiteX47" fmla="*/ 3771900 w 8601075"/>
                  <a:gd name="connsiteY47" fmla="*/ 352425 h 4333875"/>
                  <a:gd name="connsiteX48" fmla="*/ 3600450 w 8601075"/>
                  <a:gd name="connsiteY48" fmla="*/ 285750 h 4333875"/>
                  <a:gd name="connsiteX49" fmla="*/ 3533775 w 8601075"/>
                  <a:gd name="connsiteY49" fmla="*/ 314325 h 4333875"/>
                  <a:gd name="connsiteX50" fmla="*/ 3409950 w 8601075"/>
                  <a:gd name="connsiteY50" fmla="*/ 190500 h 4333875"/>
                  <a:gd name="connsiteX51" fmla="*/ 3257550 w 8601075"/>
                  <a:gd name="connsiteY51" fmla="*/ 180975 h 4333875"/>
                  <a:gd name="connsiteX52" fmla="*/ 3209925 w 8601075"/>
                  <a:gd name="connsiteY52" fmla="*/ 104775 h 4333875"/>
                  <a:gd name="connsiteX53" fmla="*/ 3152775 w 8601075"/>
                  <a:gd name="connsiteY53" fmla="*/ 104775 h 4333875"/>
                  <a:gd name="connsiteX54" fmla="*/ 2990850 w 8601075"/>
                  <a:gd name="connsiteY54" fmla="*/ 0 h 4333875"/>
                  <a:gd name="connsiteX55" fmla="*/ 2933700 w 8601075"/>
                  <a:gd name="connsiteY55" fmla="*/ 114300 h 4333875"/>
                  <a:gd name="connsiteX56" fmla="*/ 2867025 w 8601075"/>
                  <a:gd name="connsiteY56" fmla="*/ 171450 h 4333875"/>
                  <a:gd name="connsiteX57" fmla="*/ 2867025 w 8601075"/>
                  <a:gd name="connsiteY57" fmla="*/ 171450 h 4333875"/>
                  <a:gd name="connsiteX58" fmla="*/ 2800350 w 8601075"/>
                  <a:gd name="connsiteY58" fmla="*/ 257175 h 4333875"/>
                  <a:gd name="connsiteX59" fmla="*/ 2724150 w 8601075"/>
                  <a:gd name="connsiteY59" fmla="*/ 304800 h 4333875"/>
                  <a:gd name="connsiteX60" fmla="*/ 2705100 w 8601075"/>
                  <a:gd name="connsiteY60" fmla="*/ 466725 h 4333875"/>
                  <a:gd name="connsiteX61" fmla="*/ 2762250 w 8601075"/>
                  <a:gd name="connsiteY61" fmla="*/ 571500 h 4333875"/>
                  <a:gd name="connsiteX62" fmla="*/ 2800350 w 8601075"/>
                  <a:gd name="connsiteY62" fmla="*/ 628650 h 4333875"/>
                  <a:gd name="connsiteX63" fmla="*/ 2752725 w 8601075"/>
                  <a:gd name="connsiteY63" fmla="*/ 781050 h 4333875"/>
                  <a:gd name="connsiteX64" fmla="*/ 2686050 w 8601075"/>
                  <a:gd name="connsiteY64" fmla="*/ 857250 h 4333875"/>
                  <a:gd name="connsiteX65" fmla="*/ 2609850 w 8601075"/>
                  <a:gd name="connsiteY65" fmla="*/ 857250 h 4333875"/>
                  <a:gd name="connsiteX66" fmla="*/ 2514600 w 8601075"/>
                  <a:gd name="connsiteY66" fmla="*/ 914400 h 4333875"/>
                  <a:gd name="connsiteX67" fmla="*/ 2400300 w 8601075"/>
                  <a:gd name="connsiteY67" fmla="*/ 866775 h 4333875"/>
                  <a:gd name="connsiteX68" fmla="*/ 2305050 w 8601075"/>
                  <a:gd name="connsiteY68" fmla="*/ 809625 h 4333875"/>
                  <a:gd name="connsiteX69" fmla="*/ 2200275 w 8601075"/>
                  <a:gd name="connsiteY69" fmla="*/ 752475 h 4333875"/>
                  <a:gd name="connsiteX70" fmla="*/ 2105025 w 8601075"/>
                  <a:gd name="connsiteY70" fmla="*/ 762000 h 4333875"/>
                  <a:gd name="connsiteX71" fmla="*/ 1990725 w 8601075"/>
                  <a:gd name="connsiteY71" fmla="*/ 762000 h 4333875"/>
                  <a:gd name="connsiteX72" fmla="*/ 1885950 w 8601075"/>
                  <a:gd name="connsiteY72" fmla="*/ 742950 h 4333875"/>
                  <a:gd name="connsiteX73" fmla="*/ 1800225 w 8601075"/>
                  <a:gd name="connsiteY73" fmla="*/ 638175 h 4333875"/>
                  <a:gd name="connsiteX74" fmla="*/ 1809750 w 8601075"/>
                  <a:gd name="connsiteY74" fmla="*/ 495300 h 4333875"/>
                  <a:gd name="connsiteX75" fmla="*/ 1733550 w 8601075"/>
                  <a:gd name="connsiteY75" fmla="*/ 466725 h 4333875"/>
                  <a:gd name="connsiteX76" fmla="*/ 1485900 w 8601075"/>
                  <a:gd name="connsiteY76" fmla="*/ 419100 h 4333875"/>
                  <a:gd name="connsiteX77" fmla="*/ 1457325 w 8601075"/>
                  <a:gd name="connsiteY77" fmla="*/ 323850 h 4333875"/>
                  <a:gd name="connsiteX78" fmla="*/ 1457325 w 8601075"/>
                  <a:gd name="connsiteY78" fmla="*/ 323850 h 4333875"/>
                  <a:gd name="connsiteX79" fmla="*/ 1323975 w 8601075"/>
                  <a:gd name="connsiteY79" fmla="*/ 285750 h 4333875"/>
                  <a:gd name="connsiteX80" fmla="*/ 1266825 w 8601075"/>
                  <a:gd name="connsiteY80" fmla="*/ 352425 h 4333875"/>
                  <a:gd name="connsiteX81" fmla="*/ 1009650 w 8601075"/>
                  <a:gd name="connsiteY81" fmla="*/ 390525 h 4333875"/>
                  <a:gd name="connsiteX82" fmla="*/ 828675 w 8601075"/>
                  <a:gd name="connsiteY82" fmla="*/ 447675 h 4333875"/>
                  <a:gd name="connsiteX83" fmla="*/ 619125 w 8601075"/>
                  <a:gd name="connsiteY83" fmla="*/ 533400 h 4333875"/>
                  <a:gd name="connsiteX84" fmla="*/ 619125 w 8601075"/>
                  <a:gd name="connsiteY84" fmla="*/ 533400 h 4333875"/>
                  <a:gd name="connsiteX85" fmla="*/ 561975 w 8601075"/>
                  <a:gd name="connsiteY85" fmla="*/ 619125 h 4333875"/>
                  <a:gd name="connsiteX86" fmla="*/ 447675 w 8601075"/>
                  <a:gd name="connsiteY86" fmla="*/ 63817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295275 w 8601075"/>
                  <a:gd name="connsiteY89" fmla="*/ 657225 h 4333875"/>
                  <a:gd name="connsiteX90" fmla="*/ 180975 w 8601075"/>
                  <a:gd name="connsiteY90" fmla="*/ 638175 h 4333875"/>
                  <a:gd name="connsiteX91" fmla="*/ 180975 w 8601075"/>
                  <a:gd name="connsiteY91" fmla="*/ 638175 h 4333875"/>
                  <a:gd name="connsiteX92" fmla="*/ 57150 w 8601075"/>
                  <a:gd name="connsiteY92" fmla="*/ 733425 h 4333875"/>
                  <a:gd name="connsiteX93" fmla="*/ 19050 w 8601075"/>
                  <a:gd name="connsiteY93" fmla="*/ 790575 h 4333875"/>
                  <a:gd name="connsiteX94" fmla="*/ 0 w 8601075"/>
                  <a:gd name="connsiteY94" fmla="*/ 876300 h 4333875"/>
                  <a:gd name="connsiteX95" fmla="*/ 57150 w 8601075"/>
                  <a:gd name="connsiteY95" fmla="*/ 923925 h 4333875"/>
                  <a:gd name="connsiteX96" fmla="*/ 57150 w 8601075"/>
                  <a:gd name="connsiteY96" fmla="*/ 923925 h 4333875"/>
                  <a:gd name="connsiteX97" fmla="*/ 209550 w 8601075"/>
                  <a:gd name="connsiteY97" fmla="*/ 1114425 h 4333875"/>
                  <a:gd name="connsiteX98" fmla="*/ 209550 w 8601075"/>
                  <a:gd name="connsiteY98" fmla="*/ 1114425 h 4333875"/>
                  <a:gd name="connsiteX99" fmla="*/ 266700 w 8601075"/>
                  <a:gd name="connsiteY99" fmla="*/ 1295400 h 4333875"/>
                  <a:gd name="connsiteX100" fmla="*/ 409575 w 8601075"/>
                  <a:gd name="connsiteY100" fmla="*/ 1276350 h 4333875"/>
                  <a:gd name="connsiteX101" fmla="*/ 466725 w 8601075"/>
                  <a:gd name="connsiteY101" fmla="*/ 1362075 h 4333875"/>
                  <a:gd name="connsiteX102" fmla="*/ 542925 w 8601075"/>
                  <a:gd name="connsiteY102" fmla="*/ 1428750 h 4333875"/>
                  <a:gd name="connsiteX103" fmla="*/ 628650 w 8601075"/>
                  <a:gd name="connsiteY103" fmla="*/ 1571625 h 4333875"/>
                  <a:gd name="connsiteX104" fmla="*/ 628650 w 8601075"/>
                  <a:gd name="connsiteY104" fmla="*/ 1704975 h 4333875"/>
                  <a:gd name="connsiteX105" fmla="*/ 676275 w 8601075"/>
                  <a:gd name="connsiteY105" fmla="*/ 1771650 h 4333875"/>
                  <a:gd name="connsiteX106" fmla="*/ 657225 w 8601075"/>
                  <a:gd name="connsiteY106" fmla="*/ 2000250 h 4333875"/>
                  <a:gd name="connsiteX107" fmla="*/ 619125 w 8601075"/>
                  <a:gd name="connsiteY107" fmla="*/ 2095500 h 4333875"/>
                  <a:gd name="connsiteX108" fmla="*/ 542925 w 8601075"/>
                  <a:gd name="connsiteY108" fmla="*/ 2228850 h 4333875"/>
                  <a:gd name="connsiteX109" fmla="*/ 485775 w 8601075"/>
                  <a:gd name="connsiteY109" fmla="*/ 2362200 h 4333875"/>
                  <a:gd name="connsiteX110" fmla="*/ 552450 w 8601075"/>
                  <a:gd name="connsiteY110" fmla="*/ 2486025 h 4333875"/>
                  <a:gd name="connsiteX111" fmla="*/ 771525 w 8601075"/>
                  <a:gd name="connsiteY111" fmla="*/ 2571750 h 4333875"/>
                  <a:gd name="connsiteX112" fmla="*/ 866775 w 8601075"/>
                  <a:gd name="connsiteY112" fmla="*/ 2571750 h 4333875"/>
                  <a:gd name="connsiteX113" fmla="*/ 914400 w 8601075"/>
                  <a:gd name="connsiteY113" fmla="*/ 2638425 h 4333875"/>
                  <a:gd name="connsiteX114" fmla="*/ 1066800 w 8601075"/>
                  <a:gd name="connsiteY114" fmla="*/ 2638425 h 4333875"/>
                  <a:gd name="connsiteX115" fmla="*/ 1285875 w 8601075"/>
                  <a:gd name="connsiteY115" fmla="*/ 2705100 h 4333875"/>
                  <a:gd name="connsiteX116" fmla="*/ 1438275 w 8601075"/>
                  <a:gd name="connsiteY116" fmla="*/ 2838450 h 4333875"/>
                  <a:gd name="connsiteX117" fmla="*/ 1485900 w 8601075"/>
                  <a:gd name="connsiteY117" fmla="*/ 2914650 h 4333875"/>
                  <a:gd name="connsiteX118" fmla="*/ 1657350 w 8601075"/>
                  <a:gd name="connsiteY118" fmla="*/ 3038475 h 4333875"/>
                  <a:gd name="connsiteX119" fmla="*/ 1752600 w 8601075"/>
                  <a:gd name="connsiteY119" fmla="*/ 3057525 h 4333875"/>
                  <a:gd name="connsiteX120" fmla="*/ 1724025 w 8601075"/>
                  <a:gd name="connsiteY120" fmla="*/ 3143250 h 4333875"/>
                  <a:gd name="connsiteX121" fmla="*/ 1724025 w 8601075"/>
                  <a:gd name="connsiteY121" fmla="*/ 3143250 h 4333875"/>
                  <a:gd name="connsiteX122" fmla="*/ 1781175 w 8601075"/>
                  <a:gd name="connsiteY122" fmla="*/ 3181350 h 4333875"/>
                  <a:gd name="connsiteX123" fmla="*/ 1819275 w 8601075"/>
                  <a:gd name="connsiteY123" fmla="*/ 3362325 h 4333875"/>
                  <a:gd name="connsiteX124" fmla="*/ 1828800 w 8601075"/>
                  <a:gd name="connsiteY124" fmla="*/ 3457575 h 4333875"/>
                  <a:gd name="connsiteX125" fmla="*/ 1971675 w 8601075"/>
                  <a:gd name="connsiteY125" fmla="*/ 3590925 h 4333875"/>
                  <a:gd name="connsiteX126" fmla="*/ 1990725 w 8601075"/>
                  <a:gd name="connsiteY126" fmla="*/ 3714750 h 4333875"/>
                  <a:gd name="connsiteX127" fmla="*/ 2200275 w 8601075"/>
                  <a:gd name="connsiteY127" fmla="*/ 3695700 h 4333875"/>
                  <a:gd name="connsiteX128" fmla="*/ 2886075 w 8601075"/>
                  <a:gd name="connsiteY128" fmla="*/ 3886200 h 4333875"/>
                  <a:gd name="connsiteX129" fmla="*/ 3038475 w 8601075"/>
                  <a:gd name="connsiteY129" fmla="*/ 3819525 h 4333875"/>
                  <a:gd name="connsiteX130" fmla="*/ 3105150 w 8601075"/>
                  <a:gd name="connsiteY130" fmla="*/ 3867150 h 4333875"/>
                  <a:gd name="connsiteX131" fmla="*/ 3181350 w 8601075"/>
                  <a:gd name="connsiteY131" fmla="*/ 3800475 h 4333875"/>
                  <a:gd name="connsiteX132" fmla="*/ 3590925 w 8601075"/>
                  <a:gd name="connsiteY132" fmla="*/ 3943350 h 4333875"/>
                  <a:gd name="connsiteX133" fmla="*/ 3686175 w 8601075"/>
                  <a:gd name="connsiteY133" fmla="*/ 4057650 h 4333875"/>
                  <a:gd name="connsiteX134" fmla="*/ 3838575 w 8601075"/>
                  <a:gd name="connsiteY134" fmla="*/ 4057650 h 4333875"/>
                  <a:gd name="connsiteX135" fmla="*/ 4162425 w 8601075"/>
                  <a:gd name="connsiteY135" fmla="*/ 4248150 h 4333875"/>
                  <a:gd name="connsiteX136" fmla="*/ 4391025 w 8601075"/>
                  <a:gd name="connsiteY136" fmla="*/ 4200525 h 4333875"/>
                  <a:gd name="connsiteX137" fmla="*/ 4410075 w 8601075"/>
                  <a:gd name="connsiteY137" fmla="*/ 4305300 h 4333875"/>
                  <a:gd name="connsiteX138" fmla="*/ 4505325 w 8601075"/>
                  <a:gd name="connsiteY138" fmla="*/ 4276725 h 4333875"/>
                  <a:gd name="connsiteX139" fmla="*/ 4572000 w 8601075"/>
                  <a:gd name="connsiteY139" fmla="*/ 4333875 h 4333875"/>
                  <a:gd name="connsiteX140" fmla="*/ 4591050 w 8601075"/>
                  <a:gd name="connsiteY140" fmla="*/ 4248150 h 4333875"/>
                  <a:gd name="connsiteX141" fmla="*/ 5295900 w 8601075"/>
                  <a:gd name="connsiteY141" fmla="*/ 3924300 h 4333875"/>
                  <a:gd name="connsiteX142" fmla="*/ 5353050 w 8601075"/>
                  <a:gd name="connsiteY142" fmla="*/ 3990975 h 4333875"/>
                  <a:gd name="connsiteX143" fmla="*/ 5524500 w 8601075"/>
                  <a:gd name="connsiteY143" fmla="*/ 3914775 h 4333875"/>
                  <a:gd name="connsiteX144" fmla="*/ 5667375 w 8601075"/>
                  <a:gd name="connsiteY144" fmla="*/ 3962400 h 4333875"/>
                  <a:gd name="connsiteX145" fmla="*/ 5753100 w 8601075"/>
                  <a:gd name="connsiteY145" fmla="*/ 3924300 h 4333875"/>
                  <a:gd name="connsiteX146" fmla="*/ 5905500 w 8601075"/>
                  <a:gd name="connsiteY146" fmla="*/ 3943350 h 4333875"/>
                  <a:gd name="connsiteX147" fmla="*/ 6000750 w 8601075"/>
                  <a:gd name="connsiteY147" fmla="*/ 3800475 h 4333875"/>
                  <a:gd name="connsiteX148" fmla="*/ 6153150 w 8601075"/>
                  <a:gd name="connsiteY148" fmla="*/ 3781425 h 4333875"/>
                  <a:gd name="connsiteX149" fmla="*/ 6257925 w 8601075"/>
                  <a:gd name="connsiteY149" fmla="*/ 3581400 h 4333875"/>
                  <a:gd name="connsiteX150" fmla="*/ 6448425 w 8601075"/>
                  <a:gd name="connsiteY150" fmla="*/ 3448050 h 4333875"/>
                  <a:gd name="connsiteX151" fmla="*/ 6581775 w 8601075"/>
                  <a:gd name="connsiteY151" fmla="*/ 3276600 h 4333875"/>
                  <a:gd name="connsiteX152" fmla="*/ 6496050 w 8601075"/>
                  <a:gd name="connsiteY152" fmla="*/ 3228975 h 4333875"/>
                  <a:gd name="connsiteX153" fmla="*/ 6438900 w 8601075"/>
                  <a:gd name="connsiteY153" fmla="*/ 3162300 h 4333875"/>
                  <a:gd name="connsiteX154" fmla="*/ 6419850 w 8601075"/>
                  <a:gd name="connsiteY154" fmla="*/ 3105150 h 4333875"/>
                  <a:gd name="connsiteX155" fmla="*/ 6362700 w 8601075"/>
                  <a:gd name="connsiteY155" fmla="*/ 3076575 h 4333875"/>
                  <a:gd name="connsiteX156" fmla="*/ 6410325 w 8601075"/>
                  <a:gd name="connsiteY156" fmla="*/ 3019425 h 4333875"/>
                  <a:gd name="connsiteX157" fmla="*/ 6438900 w 8601075"/>
                  <a:gd name="connsiteY157" fmla="*/ 2819400 h 4333875"/>
                  <a:gd name="connsiteX158" fmla="*/ 6496050 w 8601075"/>
                  <a:gd name="connsiteY158" fmla="*/ 2762250 h 4333875"/>
                  <a:gd name="connsiteX159" fmla="*/ 6657975 w 8601075"/>
                  <a:gd name="connsiteY159" fmla="*/ 2752725 h 4333875"/>
                  <a:gd name="connsiteX160" fmla="*/ 6781800 w 8601075"/>
                  <a:gd name="connsiteY160" fmla="*/ 2838450 h 4333875"/>
                  <a:gd name="connsiteX161" fmla="*/ 7010400 w 8601075"/>
                  <a:gd name="connsiteY161" fmla="*/ 2838450 h 4333875"/>
                  <a:gd name="connsiteX162" fmla="*/ 7162800 w 8601075"/>
                  <a:gd name="connsiteY162" fmla="*/ 2705100 h 4333875"/>
                  <a:gd name="connsiteX163" fmla="*/ 7229475 w 8601075"/>
                  <a:gd name="connsiteY163" fmla="*/ 2590800 h 4333875"/>
                  <a:gd name="connsiteX164" fmla="*/ 7248525 w 8601075"/>
                  <a:gd name="connsiteY164" fmla="*/ 2524125 h 4333875"/>
                  <a:gd name="connsiteX165" fmla="*/ 7372350 w 8601075"/>
                  <a:gd name="connsiteY165" fmla="*/ 2543175 h 4333875"/>
                  <a:gd name="connsiteX166" fmla="*/ 7553325 w 8601075"/>
                  <a:gd name="connsiteY166" fmla="*/ 2447925 h 4333875"/>
                  <a:gd name="connsiteX167" fmla="*/ 7620000 w 8601075"/>
                  <a:gd name="connsiteY167" fmla="*/ 2324100 h 4333875"/>
                  <a:gd name="connsiteX168" fmla="*/ 7696200 w 8601075"/>
                  <a:gd name="connsiteY168" fmla="*/ 2314575 h 4333875"/>
                  <a:gd name="connsiteX169" fmla="*/ 7658100 w 8601075"/>
                  <a:gd name="connsiteY169" fmla="*/ 2257425 h 4333875"/>
                  <a:gd name="connsiteX170" fmla="*/ 7753350 w 8601075"/>
                  <a:gd name="connsiteY170" fmla="*/ 2057400 h 4333875"/>
                  <a:gd name="connsiteX171" fmla="*/ 7934325 w 8601075"/>
                  <a:gd name="connsiteY171" fmla="*/ 2028825 h 4333875"/>
                  <a:gd name="connsiteX172" fmla="*/ 7953375 w 8601075"/>
                  <a:gd name="connsiteY172" fmla="*/ 1952625 h 4333875"/>
                  <a:gd name="connsiteX173" fmla="*/ 7953375 w 8601075"/>
                  <a:gd name="connsiteY173" fmla="*/ 1952625 h 4333875"/>
                  <a:gd name="connsiteX174" fmla="*/ 8010525 w 8601075"/>
                  <a:gd name="connsiteY174" fmla="*/ 1895475 h 4333875"/>
                  <a:gd name="connsiteX175" fmla="*/ 8048625 w 8601075"/>
                  <a:gd name="connsiteY175" fmla="*/ 1971675 h 4333875"/>
                  <a:gd name="connsiteX176" fmla="*/ 8077200 w 8601075"/>
                  <a:gd name="connsiteY176" fmla="*/ 1885950 h 4333875"/>
                  <a:gd name="connsiteX177" fmla="*/ 8220075 w 8601075"/>
                  <a:gd name="connsiteY177" fmla="*/ 1847850 h 4333875"/>
                  <a:gd name="connsiteX178" fmla="*/ 8296275 w 8601075"/>
                  <a:gd name="connsiteY178" fmla="*/ 1809750 h 4333875"/>
                  <a:gd name="connsiteX179" fmla="*/ 8324850 w 8601075"/>
                  <a:gd name="connsiteY179" fmla="*/ 1790700 h 4333875"/>
                  <a:gd name="connsiteX180" fmla="*/ 8410575 w 8601075"/>
                  <a:gd name="connsiteY180" fmla="*/ 1847850 h 4333875"/>
                  <a:gd name="connsiteX181" fmla="*/ 8505825 w 8601075"/>
                  <a:gd name="connsiteY181" fmla="*/ 1781175 h 4333875"/>
                  <a:gd name="connsiteX182" fmla="*/ 8572500 w 8601075"/>
                  <a:gd name="connsiteY182" fmla="*/ 1809750 h 4333875"/>
                  <a:gd name="connsiteX183" fmla="*/ 8601075 w 8601075"/>
                  <a:gd name="connsiteY183" fmla="*/ 1704975 h 4333875"/>
                  <a:gd name="connsiteX184" fmla="*/ 8553450 w 8601075"/>
                  <a:gd name="connsiteY184" fmla="*/ 1676400 h 4333875"/>
                  <a:gd name="connsiteX185" fmla="*/ 8534400 w 8601075"/>
                  <a:gd name="connsiteY185" fmla="*/ 1609725 h 4333875"/>
                  <a:gd name="connsiteX186" fmla="*/ 8277225 w 8601075"/>
                  <a:gd name="connsiteY186" fmla="*/ 1409700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124825 w 8601075"/>
                  <a:gd name="connsiteY189" fmla="*/ 1352550 h 4333875"/>
                  <a:gd name="connsiteX190" fmla="*/ 7924800 w 8601075"/>
                  <a:gd name="connsiteY190" fmla="*/ 1362075 h 4333875"/>
                  <a:gd name="connsiteX191" fmla="*/ 7867650 w 8601075"/>
                  <a:gd name="connsiteY191" fmla="*/ 1457325 h 4333875"/>
                  <a:gd name="connsiteX192" fmla="*/ 7896225 w 8601075"/>
                  <a:gd name="connsiteY192" fmla="*/ 1476375 h 4333875"/>
                  <a:gd name="connsiteX193" fmla="*/ 7858125 w 8601075"/>
                  <a:gd name="connsiteY193" fmla="*/ 1533525 h 4333875"/>
                  <a:gd name="connsiteX194" fmla="*/ 7658100 w 8601075"/>
                  <a:gd name="connsiteY194" fmla="*/ 1447800 h 4333875"/>
                  <a:gd name="connsiteX195" fmla="*/ 7515225 w 8601075"/>
                  <a:gd name="connsiteY195" fmla="*/ 1495425 h 4333875"/>
                  <a:gd name="connsiteX196" fmla="*/ 7467600 w 8601075"/>
                  <a:gd name="connsiteY196" fmla="*/ 1581150 h 4333875"/>
                  <a:gd name="connsiteX197" fmla="*/ 7296150 w 8601075"/>
                  <a:gd name="connsiteY19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95725 w 8601075"/>
                  <a:gd name="connsiteY43" fmla="*/ 695325 h 4333875"/>
                  <a:gd name="connsiteX44" fmla="*/ 3874294 w 8601075"/>
                  <a:gd name="connsiteY44" fmla="*/ 669131 h 4333875"/>
                  <a:gd name="connsiteX45" fmla="*/ 3781425 w 8601075"/>
                  <a:gd name="connsiteY45" fmla="*/ 590550 h 4333875"/>
                  <a:gd name="connsiteX46" fmla="*/ 3810000 w 8601075"/>
                  <a:gd name="connsiteY46" fmla="*/ 514350 h 4333875"/>
                  <a:gd name="connsiteX47" fmla="*/ 3781425 w 8601075"/>
                  <a:gd name="connsiteY47" fmla="*/ 390525 h 4333875"/>
                  <a:gd name="connsiteX48" fmla="*/ 3771900 w 8601075"/>
                  <a:gd name="connsiteY48" fmla="*/ 352425 h 4333875"/>
                  <a:gd name="connsiteX49" fmla="*/ 3600450 w 8601075"/>
                  <a:gd name="connsiteY49" fmla="*/ 285750 h 4333875"/>
                  <a:gd name="connsiteX50" fmla="*/ 3533775 w 8601075"/>
                  <a:gd name="connsiteY50" fmla="*/ 314325 h 4333875"/>
                  <a:gd name="connsiteX51" fmla="*/ 3409950 w 8601075"/>
                  <a:gd name="connsiteY51" fmla="*/ 190500 h 4333875"/>
                  <a:gd name="connsiteX52" fmla="*/ 3257550 w 8601075"/>
                  <a:gd name="connsiteY52" fmla="*/ 180975 h 4333875"/>
                  <a:gd name="connsiteX53" fmla="*/ 3209925 w 8601075"/>
                  <a:gd name="connsiteY53" fmla="*/ 104775 h 4333875"/>
                  <a:gd name="connsiteX54" fmla="*/ 3152775 w 8601075"/>
                  <a:gd name="connsiteY54" fmla="*/ 104775 h 4333875"/>
                  <a:gd name="connsiteX55" fmla="*/ 2990850 w 8601075"/>
                  <a:gd name="connsiteY55" fmla="*/ 0 h 4333875"/>
                  <a:gd name="connsiteX56" fmla="*/ 2933700 w 8601075"/>
                  <a:gd name="connsiteY56" fmla="*/ 114300 h 4333875"/>
                  <a:gd name="connsiteX57" fmla="*/ 2867025 w 8601075"/>
                  <a:gd name="connsiteY57" fmla="*/ 171450 h 4333875"/>
                  <a:gd name="connsiteX58" fmla="*/ 2867025 w 8601075"/>
                  <a:gd name="connsiteY58" fmla="*/ 171450 h 4333875"/>
                  <a:gd name="connsiteX59" fmla="*/ 2800350 w 8601075"/>
                  <a:gd name="connsiteY59" fmla="*/ 257175 h 4333875"/>
                  <a:gd name="connsiteX60" fmla="*/ 2724150 w 8601075"/>
                  <a:gd name="connsiteY60" fmla="*/ 304800 h 4333875"/>
                  <a:gd name="connsiteX61" fmla="*/ 2705100 w 8601075"/>
                  <a:gd name="connsiteY61" fmla="*/ 466725 h 4333875"/>
                  <a:gd name="connsiteX62" fmla="*/ 2762250 w 8601075"/>
                  <a:gd name="connsiteY62" fmla="*/ 571500 h 4333875"/>
                  <a:gd name="connsiteX63" fmla="*/ 2800350 w 8601075"/>
                  <a:gd name="connsiteY63" fmla="*/ 628650 h 4333875"/>
                  <a:gd name="connsiteX64" fmla="*/ 2752725 w 8601075"/>
                  <a:gd name="connsiteY64" fmla="*/ 781050 h 4333875"/>
                  <a:gd name="connsiteX65" fmla="*/ 2686050 w 8601075"/>
                  <a:gd name="connsiteY65" fmla="*/ 857250 h 4333875"/>
                  <a:gd name="connsiteX66" fmla="*/ 2609850 w 8601075"/>
                  <a:gd name="connsiteY66" fmla="*/ 857250 h 4333875"/>
                  <a:gd name="connsiteX67" fmla="*/ 2514600 w 8601075"/>
                  <a:gd name="connsiteY67" fmla="*/ 914400 h 4333875"/>
                  <a:gd name="connsiteX68" fmla="*/ 2400300 w 8601075"/>
                  <a:gd name="connsiteY68" fmla="*/ 866775 h 4333875"/>
                  <a:gd name="connsiteX69" fmla="*/ 2305050 w 8601075"/>
                  <a:gd name="connsiteY69" fmla="*/ 809625 h 4333875"/>
                  <a:gd name="connsiteX70" fmla="*/ 2200275 w 8601075"/>
                  <a:gd name="connsiteY70" fmla="*/ 752475 h 4333875"/>
                  <a:gd name="connsiteX71" fmla="*/ 2105025 w 8601075"/>
                  <a:gd name="connsiteY71" fmla="*/ 762000 h 4333875"/>
                  <a:gd name="connsiteX72" fmla="*/ 1990725 w 8601075"/>
                  <a:gd name="connsiteY72" fmla="*/ 762000 h 4333875"/>
                  <a:gd name="connsiteX73" fmla="*/ 1885950 w 8601075"/>
                  <a:gd name="connsiteY73" fmla="*/ 742950 h 4333875"/>
                  <a:gd name="connsiteX74" fmla="*/ 1800225 w 8601075"/>
                  <a:gd name="connsiteY74" fmla="*/ 638175 h 4333875"/>
                  <a:gd name="connsiteX75" fmla="*/ 1809750 w 8601075"/>
                  <a:gd name="connsiteY75" fmla="*/ 495300 h 4333875"/>
                  <a:gd name="connsiteX76" fmla="*/ 1733550 w 8601075"/>
                  <a:gd name="connsiteY76" fmla="*/ 466725 h 4333875"/>
                  <a:gd name="connsiteX77" fmla="*/ 1485900 w 8601075"/>
                  <a:gd name="connsiteY77" fmla="*/ 419100 h 4333875"/>
                  <a:gd name="connsiteX78" fmla="*/ 1457325 w 8601075"/>
                  <a:gd name="connsiteY78" fmla="*/ 323850 h 4333875"/>
                  <a:gd name="connsiteX79" fmla="*/ 1457325 w 8601075"/>
                  <a:gd name="connsiteY79" fmla="*/ 323850 h 4333875"/>
                  <a:gd name="connsiteX80" fmla="*/ 1323975 w 8601075"/>
                  <a:gd name="connsiteY80" fmla="*/ 285750 h 4333875"/>
                  <a:gd name="connsiteX81" fmla="*/ 1266825 w 8601075"/>
                  <a:gd name="connsiteY81" fmla="*/ 352425 h 4333875"/>
                  <a:gd name="connsiteX82" fmla="*/ 1009650 w 8601075"/>
                  <a:gd name="connsiteY82" fmla="*/ 390525 h 4333875"/>
                  <a:gd name="connsiteX83" fmla="*/ 828675 w 8601075"/>
                  <a:gd name="connsiteY83" fmla="*/ 447675 h 4333875"/>
                  <a:gd name="connsiteX84" fmla="*/ 619125 w 8601075"/>
                  <a:gd name="connsiteY84" fmla="*/ 533400 h 4333875"/>
                  <a:gd name="connsiteX85" fmla="*/ 619125 w 8601075"/>
                  <a:gd name="connsiteY85" fmla="*/ 533400 h 4333875"/>
                  <a:gd name="connsiteX86" fmla="*/ 561975 w 8601075"/>
                  <a:gd name="connsiteY86" fmla="*/ 61912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295275 w 8601075"/>
                  <a:gd name="connsiteY90" fmla="*/ 657225 h 4333875"/>
                  <a:gd name="connsiteX91" fmla="*/ 180975 w 8601075"/>
                  <a:gd name="connsiteY91" fmla="*/ 638175 h 4333875"/>
                  <a:gd name="connsiteX92" fmla="*/ 180975 w 8601075"/>
                  <a:gd name="connsiteY92" fmla="*/ 638175 h 4333875"/>
                  <a:gd name="connsiteX93" fmla="*/ 57150 w 8601075"/>
                  <a:gd name="connsiteY93" fmla="*/ 733425 h 4333875"/>
                  <a:gd name="connsiteX94" fmla="*/ 19050 w 8601075"/>
                  <a:gd name="connsiteY94" fmla="*/ 790575 h 4333875"/>
                  <a:gd name="connsiteX95" fmla="*/ 0 w 8601075"/>
                  <a:gd name="connsiteY95" fmla="*/ 876300 h 4333875"/>
                  <a:gd name="connsiteX96" fmla="*/ 57150 w 8601075"/>
                  <a:gd name="connsiteY96" fmla="*/ 923925 h 4333875"/>
                  <a:gd name="connsiteX97" fmla="*/ 57150 w 8601075"/>
                  <a:gd name="connsiteY97" fmla="*/ 923925 h 4333875"/>
                  <a:gd name="connsiteX98" fmla="*/ 209550 w 8601075"/>
                  <a:gd name="connsiteY98" fmla="*/ 1114425 h 4333875"/>
                  <a:gd name="connsiteX99" fmla="*/ 209550 w 8601075"/>
                  <a:gd name="connsiteY99" fmla="*/ 1114425 h 4333875"/>
                  <a:gd name="connsiteX100" fmla="*/ 266700 w 8601075"/>
                  <a:gd name="connsiteY100" fmla="*/ 1295400 h 4333875"/>
                  <a:gd name="connsiteX101" fmla="*/ 409575 w 8601075"/>
                  <a:gd name="connsiteY101" fmla="*/ 1276350 h 4333875"/>
                  <a:gd name="connsiteX102" fmla="*/ 466725 w 8601075"/>
                  <a:gd name="connsiteY102" fmla="*/ 1362075 h 4333875"/>
                  <a:gd name="connsiteX103" fmla="*/ 542925 w 8601075"/>
                  <a:gd name="connsiteY103" fmla="*/ 1428750 h 4333875"/>
                  <a:gd name="connsiteX104" fmla="*/ 628650 w 8601075"/>
                  <a:gd name="connsiteY104" fmla="*/ 1571625 h 4333875"/>
                  <a:gd name="connsiteX105" fmla="*/ 628650 w 8601075"/>
                  <a:gd name="connsiteY105" fmla="*/ 1704975 h 4333875"/>
                  <a:gd name="connsiteX106" fmla="*/ 676275 w 8601075"/>
                  <a:gd name="connsiteY106" fmla="*/ 1771650 h 4333875"/>
                  <a:gd name="connsiteX107" fmla="*/ 657225 w 8601075"/>
                  <a:gd name="connsiteY107" fmla="*/ 2000250 h 4333875"/>
                  <a:gd name="connsiteX108" fmla="*/ 619125 w 8601075"/>
                  <a:gd name="connsiteY108" fmla="*/ 2095500 h 4333875"/>
                  <a:gd name="connsiteX109" fmla="*/ 542925 w 8601075"/>
                  <a:gd name="connsiteY109" fmla="*/ 2228850 h 4333875"/>
                  <a:gd name="connsiteX110" fmla="*/ 485775 w 8601075"/>
                  <a:gd name="connsiteY110" fmla="*/ 2362200 h 4333875"/>
                  <a:gd name="connsiteX111" fmla="*/ 552450 w 8601075"/>
                  <a:gd name="connsiteY111" fmla="*/ 2486025 h 4333875"/>
                  <a:gd name="connsiteX112" fmla="*/ 771525 w 8601075"/>
                  <a:gd name="connsiteY112" fmla="*/ 2571750 h 4333875"/>
                  <a:gd name="connsiteX113" fmla="*/ 866775 w 8601075"/>
                  <a:gd name="connsiteY113" fmla="*/ 2571750 h 4333875"/>
                  <a:gd name="connsiteX114" fmla="*/ 914400 w 8601075"/>
                  <a:gd name="connsiteY114" fmla="*/ 2638425 h 4333875"/>
                  <a:gd name="connsiteX115" fmla="*/ 1066800 w 8601075"/>
                  <a:gd name="connsiteY115" fmla="*/ 2638425 h 4333875"/>
                  <a:gd name="connsiteX116" fmla="*/ 1285875 w 8601075"/>
                  <a:gd name="connsiteY116" fmla="*/ 2705100 h 4333875"/>
                  <a:gd name="connsiteX117" fmla="*/ 1438275 w 8601075"/>
                  <a:gd name="connsiteY117" fmla="*/ 2838450 h 4333875"/>
                  <a:gd name="connsiteX118" fmla="*/ 1485900 w 8601075"/>
                  <a:gd name="connsiteY118" fmla="*/ 2914650 h 4333875"/>
                  <a:gd name="connsiteX119" fmla="*/ 1657350 w 8601075"/>
                  <a:gd name="connsiteY119" fmla="*/ 3038475 h 4333875"/>
                  <a:gd name="connsiteX120" fmla="*/ 1752600 w 8601075"/>
                  <a:gd name="connsiteY120" fmla="*/ 3057525 h 4333875"/>
                  <a:gd name="connsiteX121" fmla="*/ 1724025 w 8601075"/>
                  <a:gd name="connsiteY121" fmla="*/ 3143250 h 4333875"/>
                  <a:gd name="connsiteX122" fmla="*/ 1724025 w 8601075"/>
                  <a:gd name="connsiteY122" fmla="*/ 3143250 h 4333875"/>
                  <a:gd name="connsiteX123" fmla="*/ 1781175 w 8601075"/>
                  <a:gd name="connsiteY123" fmla="*/ 3181350 h 4333875"/>
                  <a:gd name="connsiteX124" fmla="*/ 1819275 w 8601075"/>
                  <a:gd name="connsiteY124" fmla="*/ 3362325 h 4333875"/>
                  <a:gd name="connsiteX125" fmla="*/ 1828800 w 8601075"/>
                  <a:gd name="connsiteY125" fmla="*/ 3457575 h 4333875"/>
                  <a:gd name="connsiteX126" fmla="*/ 1971675 w 8601075"/>
                  <a:gd name="connsiteY126" fmla="*/ 3590925 h 4333875"/>
                  <a:gd name="connsiteX127" fmla="*/ 1990725 w 8601075"/>
                  <a:gd name="connsiteY127" fmla="*/ 3714750 h 4333875"/>
                  <a:gd name="connsiteX128" fmla="*/ 2200275 w 8601075"/>
                  <a:gd name="connsiteY128" fmla="*/ 3695700 h 4333875"/>
                  <a:gd name="connsiteX129" fmla="*/ 2886075 w 8601075"/>
                  <a:gd name="connsiteY129" fmla="*/ 3886200 h 4333875"/>
                  <a:gd name="connsiteX130" fmla="*/ 3038475 w 8601075"/>
                  <a:gd name="connsiteY130" fmla="*/ 3819525 h 4333875"/>
                  <a:gd name="connsiteX131" fmla="*/ 3105150 w 8601075"/>
                  <a:gd name="connsiteY131" fmla="*/ 3867150 h 4333875"/>
                  <a:gd name="connsiteX132" fmla="*/ 3181350 w 8601075"/>
                  <a:gd name="connsiteY132" fmla="*/ 3800475 h 4333875"/>
                  <a:gd name="connsiteX133" fmla="*/ 3590925 w 8601075"/>
                  <a:gd name="connsiteY133" fmla="*/ 3943350 h 4333875"/>
                  <a:gd name="connsiteX134" fmla="*/ 3686175 w 8601075"/>
                  <a:gd name="connsiteY134" fmla="*/ 4057650 h 4333875"/>
                  <a:gd name="connsiteX135" fmla="*/ 3838575 w 8601075"/>
                  <a:gd name="connsiteY135" fmla="*/ 4057650 h 4333875"/>
                  <a:gd name="connsiteX136" fmla="*/ 4162425 w 8601075"/>
                  <a:gd name="connsiteY136" fmla="*/ 4248150 h 4333875"/>
                  <a:gd name="connsiteX137" fmla="*/ 4391025 w 8601075"/>
                  <a:gd name="connsiteY137" fmla="*/ 4200525 h 4333875"/>
                  <a:gd name="connsiteX138" fmla="*/ 4410075 w 8601075"/>
                  <a:gd name="connsiteY138" fmla="*/ 4305300 h 4333875"/>
                  <a:gd name="connsiteX139" fmla="*/ 4505325 w 8601075"/>
                  <a:gd name="connsiteY139" fmla="*/ 4276725 h 4333875"/>
                  <a:gd name="connsiteX140" fmla="*/ 4572000 w 8601075"/>
                  <a:gd name="connsiteY140" fmla="*/ 4333875 h 4333875"/>
                  <a:gd name="connsiteX141" fmla="*/ 4591050 w 8601075"/>
                  <a:gd name="connsiteY141" fmla="*/ 4248150 h 4333875"/>
                  <a:gd name="connsiteX142" fmla="*/ 5295900 w 8601075"/>
                  <a:gd name="connsiteY142" fmla="*/ 3924300 h 4333875"/>
                  <a:gd name="connsiteX143" fmla="*/ 5353050 w 8601075"/>
                  <a:gd name="connsiteY143" fmla="*/ 3990975 h 4333875"/>
                  <a:gd name="connsiteX144" fmla="*/ 5524500 w 8601075"/>
                  <a:gd name="connsiteY144" fmla="*/ 3914775 h 4333875"/>
                  <a:gd name="connsiteX145" fmla="*/ 5667375 w 8601075"/>
                  <a:gd name="connsiteY145" fmla="*/ 3962400 h 4333875"/>
                  <a:gd name="connsiteX146" fmla="*/ 5753100 w 8601075"/>
                  <a:gd name="connsiteY146" fmla="*/ 3924300 h 4333875"/>
                  <a:gd name="connsiteX147" fmla="*/ 5905500 w 8601075"/>
                  <a:gd name="connsiteY147" fmla="*/ 3943350 h 4333875"/>
                  <a:gd name="connsiteX148" fmla="*/ 6000750 w 8601075"/>
                  <a:gd name="connsiteY148" fmla="*/ 3800475 h 4333875"/>
                  <a:gd name="connsiteX149" fmla="*/ 6153150 w 8601075"/>
                  <a:gd name="connsiteY149" fmla="*/ 3781425 h 4333875"/>
                  <a:gd name="connsiteX150" fmla="*/ 6257925 w 8601075"/>
                  <a:gd name="connsiteY150" fmla="*/ 3581400 h 4333875"/>
                  <a:gd name="connsiteX151" fmla="*/ 6448425 w 8601075"/>
                  <a:gd name="connsiteY151" fmla="*/ 3448050 h 4333875"/>
                  <a:gd name="connsiteX152" fmla="*/ 6581775 w 8601075"/>
                  <a:gd name="connsiteY152" fmla="*/ 3276600 h 4333875"/>
                  <a:gd name="connsiteX153" fmla="*/ 6496050 w 8601075"/>
                  <a:gd name="connsiteY153" fmla="*/ 3228975 h 4333875"/>
                  <a:gd name="connsiteX154" fmla="*/ 6438900 w 8601075"/>
                  <a:gd name="connsiteY154" fmla="*/ 3162300 h 4333875"/>
                  <a:gd name="connsiteX155" fmla="*/ 6419850 w 8601075"/>
                  <a:gd name="connsiteY155" fmla="*/ 3105150 h 4333875"/>
                  <a:gd name="connsiteX156" fmla="*/ 6362700 w 8601075"/>
                  <a:gd name="connsiteY156" fmla="*/ 3076575 h 4333875"/>
                  <a:gd name="connsiteX157" fmla="*/ 6410325 w 8601075"/>
                  <a:gd name="connsiteY157" fmla="*/ 3019425 h 4333875"/>
                  <a:gd name="connsiteX158" fmla="*/ 6438900 w 8601075"/>
                  <a:gd name="connsiteY158" fmla="*/ 2819400 h 4333875"/>
                  <a:gd name="connsiteX159" fmla="*/ 6496050 w 8601075"/>
                  <a:gd name="connsiteY159" fmla="*/ 2762250 h 4333875"/>
                  <a:gd name="connsiteX160" fmla="*/ 6657975 w 8601075"/>
                  <a:gd name="connsiteY160" fmla="*/ 2752725 h 4333875"/>
                  <a:gd name="connsiteX161" fmla="*/ 6781800 w 8601075"/>
                  <a:gd name="connsiteY161" fmla="*/ 2838450 h 4333875"/>
                  <a:gd name="connsiteX162" fmla="*/ 7010400 w 8601075"/>
                  <a:gd name="connsiteY162" fmla="*/ 2838450 h 4333875"/>
                  <a:gd name="connsiteX163" fmla="*/ 7162800 w 8601075"/>
                  <a:gd name="connsiteY163" fmla="*/ 2705100 h 4333875"/>
                  <a:gd name="connsiteX164" fmla="*/ 7229475 w 8601075"/>
                  <a:gd name="connsiteY164" fmla="*/ 2590800 h 4333875"/>
                  <a:gd name="connsiteX165" fmla="*/ 7248525 w 8601075"/>
                  <a:gd name="connsiteY165" fmla="*/ 2524125 h 4333875"/>
                  <a:gd name="connsiteX166" fmla="*/ 7372350 w 8601075"/>
                  <a:gd name="connsiteY166" fmla="*/ 2543175 h 4333875"/>
                  <a:gd name="connsiteX167" fmla="*/ 7553325 w 8601075"/>
                  <a:gd name="connsiteY167" fmla="*/ 2447925 h 4333875"/>
                  <a:gd name="connsiteX168" fmla="*/ 7620000 w 8601075"/>
                  <a:gd name="connsiteY168" fmla="*/ 2324100 h 4333875"/>
                  <a:gd name="connsiteX169" fmla="*/ 7696200 w 8601075"/>
                  <a:gd name="connsiteY169" fmla="*/ 2314575 h 4333875"/>
                  <a:gd name="connsiteX170" fmla="*/ 7658100 w 8601075"/>
                  <a:gd name="connsiteY170" fmla="*/ 2257425 h 4333875"/>
                  <a:gd name="connsiteX171" fmla="*/ 7753350 w 8601075"/>
                  <a:gd name="connsiteY171" fmla="*/ 2057400 h 4333875"/>
                  <a:gd name="connsiteX172" fmla="*/ 7934325 w 8601075"/>
                  <a:gd name="connsiteY172" fmla="*/ 2028825 h 4333875"/>
                  <a:gd name="connsiteX173" fmla="*/ 7953375 w 8601075"/>
                  <a:gd name="connsiteY173" fmla="*/ 1952625 h 4333875"/>
                  <a:gd name="connsiteX174" fmla="*/ 7953375 w 8601075"/>
                  <a:gd name="connsiteY174" fmla="*/ 1952625 h 4333875"/>
                  <a:gd name="connsiteX175" fmla="*/ 8010525 w 8601075"/>
                  <a:gd name="connsiteY175" fmla="*/ 1895475 h 4333875"/>
                  <a:gd name="connsiteX176" fmla="*/ 8048625 w 8601075"/>
                  <a:gd name="connsiteY176" fmla="*/ 1971675 h 4333875"/>
                  <a:gd name="connsiteX177" fmla="*/ 8077200 w 8601075"/>
                  <a:gd name="connsiteY177" fmla="*/ 1885950 h 4333875"/>
                  <a:gd name="connsiteX178" fmla="*/ 8220075 w 8601075"/>
                  <a:gd name="connsiteY178" fmla="*/ 1847850 h 4333875"/>
                  <a:gd name="connsiteX179" fmla="*/ 8296275 w 8601075"/>
                  <a:gd name="connsiteY179" fmla="*/ 1809750 h 4333875"/>
                  <a:gd name="connsiteX180" fmla="*/ 8324850 w 8601075"/>
                  <a:gd name="connsiteY180" fmla="*/ 1790700 h 4333875"/>
                  <a:gd name="connsiteX181" fmla="*/ 8410575 w 8601075"/>
                  <a:gd name="connsiteY181" fmla="*/ 1847850 h 4333875"/>
                  <a:gd name="connsiteX182" fmla="*/ 8505825 w 8601075"/>
                  <a:gd name="connsiteY182" fmla="*/ 1781175 h 4333875"/>
                  <a:gd name="connsiteX183" fmla="*/ 8572500 w 8601075"/>
                  <a:gd name="connsiteY183" fmla="*/ 1809750 h 4333875"/>
                  <a:gd name="connsiteX184" fmla="*/ 8601075 w 8601075"/>
                  <a:gd name="connsiteY184" fmla="*/ 1704975 h 4333875"/>
                  <a:gd name="connsiteX185" fmla="*/ 8553450 w 8601075"/>
                  <a:gd name="connsiteY185" fmla="*/ 1676400 h 4333875"/>
                  <a:gd name="connsiteX186" fmla="*/ 8534400 w 8601075"/>
                  <a:gd name="connsiteY186" fmla="*/ 1609725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124825 w 8601075"/>
                  <a:gd name="connsiteY190" fmla="*/ 1352550 h 4333875"/>
                  <a:gd name="connsiteX191" fmla="*/ 7924800 w 8601075"/>
                  <a:gd name="connsiteY191" fmla="*/ 1362075 h 4333875"/>
                  <a:gd name="connsiteX192" fmla="*/ 7867650 w 8601075"/>
                  <a:gd name="connsiteY192" fmla="*/ 1457325 h 4333875"/>
                  <a:gd name="connsiteX193" fmla="*/ 7896225 w 8601075"/>
                  <a:gd name="connsiteY193" fmla="*/ 1476375 h 4333875"/>
                  <a:gd name="connsiteX194" fmla="*/ 7858125 w 8601075"/>
                  <a:gd name="connsiteY194" fmla="*/ 1533525 h 4333875"/>
                  <a:gd name="connsiteX195" fmla="*/ 7658100 w 8601075"/>
                  <a:gd name="connsiteY195" fmla="*/ 1447800 h 4333875"/>
                  <a:gd name="connsiteX196" fmla="*/ 7515225 w 8601075"/>
                  <a:gd name="connsiteY196" fmla="*/ 1495425 h 4333875"/>
                  <a:gd name="connsiteX197" fmla="*/ 7467600 w 8601075"/>
                  <a:gd name="connsiteY197" fmla="*/ 1581150 h 4333875"/>
                  <a:gd name="connsiteX198" fmla="*/ 7296150 w 8601075"/>
                  <a:gd name="connsiteY19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781425 w 8601075"/>
                  <a:gd name="connsiteY45" fmla="*/ 590550 h 4333875"/>
                  <a:gd name="connsiteX46" fmla="*/ 3810000 w 8601075"/>
                  <a:gd name="connsiteY46" fmla="*/ 514350 h 4333875"/>
                  <a:gd name="connsiteX47" fmla="*/ 3781425 w 8601075"/>
                  <a:gd name="connsiteY47" fmla="*/ 390525 h 4333875"/>
                  <a:gd name="connsiteX48" fmla="*/ 3771900 w 8601075"/>
                  <a:gd name="connsiteY48" fmla="*/ 352425 h 4333875"/>
                  <a:gd name="connsiteX49" fmla="*/ 3600450 w 8601075"/>
                  <a:gd name="connsiteY49" fmla="*/ 285750 h 4333875"/>
                  <a:gd name="connsiteX50" fmla="*/ 3533775 w 8601075"/>
                  <a:gd name="connsiteY50" fmla="*/ 314325 h 4333875"/>
                  <a:gd name="connsiteX51" fmla="*/ 3409950 w 8601075"/>
                  <a:gd name="connsiteY51" fmla="*/ 190500 h 4333875"/>
                  <a:gd name="connsiteX52" fmla="*/ 3257550 w 8601075"/>
                  <a:gd name="connsiteY52" fmla="*/ 180975 h 4333875"/>
                  <a:gd name="connsiteX53" fmla="*/ 3209925 w 8601075"/>
                  <a:gd name="connsiteY53" fmla="*/ 104775 h 4333875"/>
                  <a:gd name="connsiteX54" fmla="*/ 3152775 w 8601075"/>
                  <a:gd name="connsiteY54" fmla="*/ 104775 h 4333875"/>
                  <a:gd name="connsiteX55" fmla="*/ 2990850 w 8601075"/>
                  <a:gd name="connsiteY55" fmla="*/ 0 h 4333875"/>
                  <a:gd name="connsiteX56" fmla="*/ 2933700 w 8601075"/>
                  <a:gd name="connsiteY56" fmla="*/ 114300 h 4333875"/>
                  <a:gd name="connsiteX57" fmla="*/ 2867025 w 8601075"/>
                  <a:gd name="connsiteY57" fmla="*/ 171450 h 4333875"/>
                  <a:gd name="connsiteX58" fmla="*/ 2867025 w 8601075"/>
                  <a:gd name="connsiteY58" fmla="*/ 171450 h 4333875"/>
                  <a:gd name="connsiteX59" fmla="*/ 2800350 w 8601075"/>
                  <a:gd name="connsiteY59" fmla="*/ 257175 h 4333875"/>
                  <a:gd name="connsiteX60" fmla="*/ 2724150 w 8601075"/>
                  <a:gd name="connsiteY60" fmla="*/ 304800 h 4333875"/>
                  <a:gd name="connsiteX61" fmla="*/ 2705100 w 8601075"/>
                  <a:gd name="connsiteY61" fmla="*/ 466725 h 4333875"/>
                  <a:gd name="connsiteX62" fmla="*/ 2762250 w 8601075"/>
                  <a:gd name="connsiteY62" fmla="*/ 571500 h 4333875"/>
                  <a:gd name="connsiteX63" fmla="*/ 2800350 w 8601075"/>
                  <a:gd name="connsiteY63" fmla="*/ 628650 h 4333875"/>
                  <a:gd name="connsiteX64" fmla="*/ 2752725 w 8601075"/>
                  <a:gd name="connsiteY64" fmla="*/ 781050 h 4333875"/>
                  <a:gd name="connsiteX65" fmla="*/ 2686050 w 8601075"/>
                  <a:gd name="connsiteY65" fmla="*/ 857250 h 4333875"/>
                  <a:gd name="connsiteX66" fmla="*/ 2609850 w 8601075"/>
                  <a:gd name="connsiteY66" fmla="*/ 857250 h 4333875"/>
                  <a:gd name="connsiteX67" fmla="*/ 2514600 w 8601075"/>
                  <a:gd name="connsiteY67" fmla="*/ 914400 h 4333875"/>
                  <a:gd name="connsiteX68" fmla="*/ 2400300 w 8601075"/>
                  <a:gd name="connsiteY68" fmla="*/ 866775 h 4333875"/>
                  <a:gd name="connsiteX69" fmla="*/ 2305050 w 8601075"/>
                  <a:gd name="connsiteY69" fmla="*/ 809625 h 4333875"/>
                  <a:gd name="connsiteX70" fmla="*/ 2200275 w 8601075"/>
                  <a:gd name="connsiteY70" fmla="*/ 752475 h 4333875"/>
                  <a:gd name="connsiteX71" fmla="*/ 2105025 w 8601075"/>
                  <a:gd name="connsiteY71" fmla="*/ 762000 h 4333875"/>
                  <a:gd name="connsiteX72" fmla="*/ 1990725 w 8601075"/>
                  <a:gd name="connsiteY72" fmla="*/ 762000 h 4333875"/>
                  <a:gd name="connsiteX73" fmla="*/ 1885950 w 8601075"/>
                  <a:gd name="connsiteY73" fmla="*/ 742950 h 4333875"/>
                  <a:gd name="connsiteX74" fmla="*/ 1800225 w 8601075"/>
                  <a:gd name="connsiteY74" fmla="*/ 638175 h 4333875"/>
                  <a:gd name="connsiteX75" fmla="*/ 1809750 w 8601075"/>
                  <a:gd name="connsiteY75" fmla="*/ 495300 h 4333875"/>
                  <a:gd name="connsiteX76" fmla="*/ 1733550 w 8601075"/>
                  <a:gd name="connsiteY76" fmla="*/ 466725 h 4333875"/>
                  <a:gd name="connsiteX77" fmla="*/ 1485900 w 8601075"/>
                  <a:gd name="connsiteY77" fmla="*/ 419100 h 4333875"/>
                  <a:gd name="connsiteX78" fmla="*/ 1457325 w 8601075"/>
                  <a:gd name="connsiteY78" fmla="*/ 323850 h 4333875"/>
                  <a:gd name="connsiteX79" fmla="*/ 1457325 w 8601075"/>
                  <a:gd name="connsiteY79" fmla="*/ 323850 h 4333875"/>
                  <a:gd name="connsiteX80" fmla="*/ 1323975 w 8601075"/>
                  <a:gd name="connsiteY80" fmla="*/ 285750 h 4333875"/>
                  <a:gd name="connsiteX81" fmla="*/ 1266825 w 8601075"/>
                  <a:gd name="connsiteY81" fmla="*/ 352425 h 4333875"/>
                  <a:gd name="connsiteX82" fmla="*/ 1009650 w 8601075"/>
                  <a:gd name="connsiteY82" fmla="*/ 390525 h 4333875"/>
                  <a:gd name="connsiteX83" fmla="*/ 828675 w 8601075"/>
                  <a:gd name="connsiteY83" fmla="*/ 447675 h 4333875"/>
                  <a:gd name="connsiteX84" fmla="*/ 619125 w 8601075"/>
                  <a:gd name="connsiteY84" fmla="*/ 533400 h 4333875"/>
                  <a:gd name="connsiteX85" fmla="*/ 619125 w 8601075"/>
                  <a:gd name="connsiteY85" fmla="*/ 533400 h 4333875"/>
                  <a:gd name="connsiteX86" fmla="*/ 561975 w 8601075"/>
                  <a:gd name="connsiteY86" fmla="*/ 61912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295275 w 8601075"/>
                  <a:gd name="connsiteY90" fmla="*/ 657225 h 4333875"/>
                  <a:gd name="connsiteX91" fmla="*/ 180975 w 8601075"/>
                  <a:gd name="connsiteY91" fmla="*/ 638175 h 4333875"/>
                  <a:gd name="connsiteX92" fmla="*/ 180975 w 8601075"/>
                  <a:gd name="connsiteY92" fmla="*/ 638175 h 4333875"/>
                  <a:gd name="connsiteX93" fmla="*/ 57150 w 8601075"/>
                  <a:gd name="connsiteY93" fmla="*/ 733425 h 4333875"/>
                  <a:gd name="connsiteX94" fmla="*/ 19050 w 8601075"/>
                  <a:gd name="connsiteY94" fmla="*/ 790575 h 4333875"/>
                  <a:gd name="connsiteX95" fmla="*/ 0 w 8601075"/>
                  <a:gd name="connsiteY95" fmla="*/ 876300 h 4333875"/>
                  <a:gd name="connsiteX96" fmla="*/ 57150 w 8601075"/>
                  <a:gd name="connsiteY96" fmla="*/ 923925 h 4333875"/>
                  <a:gd name="connsiteX97" fmla="*/ 57150 w 8601075"/>
                  <a:gd name="connsiteY97" fmla="*/ 923925 h 4333875"/>
                  <a:gd name="connsiteX98" fmla="*/ 209550 w 8601075"/>
                  <a:gd name="connsiteY98" fmla="*/ 1114425 h 4333875"/>
                  <a:gd name="connsiteX99" fmla="*/ 209550 w 8601075"/>
                  <a:gd name="connsiteY99" fmla="*/ 1114425 h 4333875"/>
                  <a:gd name="connsiteX100" fmla="*/ 266700 w 8601075"/>
                  <a:gd name="connsiteY100" fmla="*/ 1295400 h 4333875"/>
                  <a:gd name="connsiteX101" fmla="*/ 409575 w 8601075"/>
                  <a:gd name="connsiteY101" fmla="*/ 1276350 h 4333875"/>
                  <a:gd name="connsiteX102" fmla="*/ 466725 w 8601075"/>
                  <a:gd name="connsiteY102" fmla="*/ 1362075 h 4333875"/>
                  <a:gd name="connsiteX103" fmla="*/ 542925 w 8601075"/>
                  <a:gd name="connsiteY103" fmla="*/ 1428750 h 4333875"/>
                  <a:gd name="connsiteX104" fmla="*/ 628650 w 8601075"/>
                  <a:gd name="connsiteY104" fmla="*/ 1571625 h 4333875"/>
                  <a:gd name="connsiteX105" fmla="*/ 628650 w 8601075"/>
                  <a:gd name="connsiteY105" fmla="*/ 1704975 h 4333875"/>
                  <a:gd name="connsiteX106" fmla="*/ 676275 w 8601075"/>
                  <a:gd name="connsiteY106" fmla="*/ 1771650 h 4333875"/>
                  <a:gd name="connsiteX107" fmla="*/ 657225 w 8601075"/>
                  <a:gd name="connsiteY107" fmla="*/ 2000250 h 4333875"/>
                  <a:gd name="connsiteX108" fmla="*/ 619125 w 8601075"/>
                  <a:gd name="connsiteY108" fmla="*/ 2095500 h 4333875"/>
                  <a:gd name="connsiteX109" fmla="*/ 542925 w 8601075"/>
                  <a:gd name="connsiteY109" fmla="*/ 2228850 h 4333875"/>
                  <a:gd name="connsiteX110" fmla="*/ 485775 w 8601075"/>
                  <a:gd name="connsiteY110" fmla="*/ 2362200 h 4333875"/>
                  <a:gd name="connsiteX111" fmla="*/ 552450 w 8601075"/>
                  <a:gd name="connsiteY111" fmla="*/ 2486025 h 4333875"/>
                  <a:gd name="connsiteX112" fmla="*/ 771525 w 8601075"/>
                  <a:gd name="connsiteY112" fmla="*/ 2571750 h 4333875"/>
                  <a:gd name="connsiteX113" fmla="*/ 866775 w 8601075"/>
                  <a:gd name="connsiteY113" fmla="*/ 2571750 h 4333875"/>
                  <a:gd name="connsiteX114" fmla="*/ 914400 w 8601075"/>
                  <a:gd name="connsiteY114" fmla="*/ 2638425 h 4333875"/>
                  <a:gd name="connsiteX115" fmla="*/ 1066800 w 8601075"/>
                  <a:gd name="connsiteY115" fmla="*/ 2638425 h 4333875"/>
                  <a:gd name="connsiteX116" fmla="*/ 1285875 w 8601075"/>
                  <a:gd name="connsiteY116" fmla="*/ 2705100 h 4333875"/>
                  <a:gd name="connsiteX117" fmla="*/ 1438275 w 8601075"/>
                  <a:gd name="connsiteY117" fmla="*/ 2838450 h 4333875"/>
                  <a:gd name="connsiteX118" fmla="*/ 1485900 w 8601075"/>
                  <a:gd name="connsiteY118" fmla="*/ 2914650 h 4333875"/>
                  <a:gd name="connsiteX119" fmla="*/ 1657350 w 8601075"/>
                  <a:gd name="connsiteY119" fmla="*/ 3038475 h 4333875"/>
                  <a:gd name="connsiteX120" fmla="*/ 1752600 w 8601075"/>
                  <a:gd name="connsiteY120" fmla="*/ 3057525 h 4333875"/>
                  <a:gd name="connsiteX121" fmla="*/ 1724025 w 8601075"/>
                  <a:gd name="connsiteY121" fmla="*/ 3143250 h 4333875"/>
                  <a:gd name="connsiteX122" fmla="*/ 1724025 w 8601075"/>
                  <a:gd name="connsiteY122" fmla="*/ 3143250 h 4333875"/>
                  <a:gd name="connsiteX123" fmla="*/ 1781175 w 8601075"/>
                  <a:gd name="connsiteY123" fmla="*/ 3181350 h 4333875"/>
                  <a:gd name="connsiteX124" fmla="*/ 1819275 w 8601075"/>
                  <a:gd name="connsiteY124" fmla="*/ 3362325 h 4333875"/>
                  <a:gd name="connsiteX125" fmla="*/ 1828800 w 8601075"/>
                  <a:gd name="connsiteY125" fmla="*/ 3457575 h 4333875"/>
                  <a:gd name="connsiteX126" fmla="*/ 1971675 w 8601075"/>
                  <a:gd name="connsiteY126" fmla="*/ 3590925 h 4333875"/>
                  <a:gd name="connsiteX127" fmla="*/ 1990725 w 8601075"/>
                  <a:gd name="connsiteY127" fmla="*/ 3714750 h 4333875"/>
                  <a:gd name="connsiteX128" fmla="*/ 2200275 w 8601075"/>
                  <a:gd name="connsiteY128" fmla="*/ 3695700 h 4333875"/>
                  <a:gd name="connsiteX129" fmla="*/ 2886075 w 8601075"/>
                  <a:gd name="connsiteY129" fmla="*/ 3886200 h 4333875"/>
                  <a:gd name="connsiteX130" fmla="*/ 3038475 w 8601075"/>
                  <a:gd name="connsiteY130" fmla="*/ 3819525 h 4333875"/>
                  <a:gd name="connsiteX131" fmla="*/ 3105150 w 8601075"/>
                  <a:gd name="connsiteY131" fmla="*/ 3867150 h 4333875"/>
                  <a:gd name="connsiteX132" fmla="*/ 3181350 w 8601075"/>
                  <a:gd name="connsiteY132" fmla="*/ 3800475 h 4333875"/>
                  <a:gd name="connsiteX133" fmla="*/ 3590925 w 8601075"/>
                  <a:gd name="connsiteY133" fmla="*/ 3943350 h 4333875"/>
                  <a:gd name="connsiteX134" fmla="*/ 3686175 w 8601075"/>
                  <a:gd name="connsiteY134" fmla="*/ 4057650 h 4333875"/>
                  <a:gd name="connsiteX135" fmla="*/ 3838575 w 8601075"/>
                  <a:gd name="connsiteY135" fmla="*/ 4057650 h 4333875"/>
                  <a:gd name="connsiteX136" fmla="*/ 4162425 w 8601075"/>
                  <a:gd name="connsiteY136" fmla="*/ 4248150 h 4333875"/>
                  <a:gd name="connsiteX137" fmla="*/ 4391025 w 8601075"/>
                  <a:gd name="connsiteY137" fmla="*/ 4200525 h 4333875"/>
                  <a:gd name="connsiteX138" fmla="*/ 4410075 w 8601075"/>
                  <a:gd name="connsiteY138" fmla="*/ 4305300 h 4333875"/>
                  <a:gd name="connsiteX139" fmla="*/ 4505325 w 8601075"/>
                  <a:gd name="connsiteY139" fmla="*/ 4276725 h 4333875"/>
                  <a:gd name="connsiteX140" fmla="*/ 4572000 w 8601075"/>
                  <a:gd name="connsiteY140" fmla="*/ 4333875 h 4333875"/>
                  <a:gd name="connsiteX141" fmla="*/ 4591050 w 8601075"/>
                  <a:gd name="connsiteY141" fmla="*/ 4248150 h 4333875"/>
                  <a:gd name="connsiteX142" fmla="*/ 5295900 w 8601075"/>
                  <a:gd name="connsiteY142" fmla="*/ 3924300 h 4333875"/>
                  <a:gd name="connsiteX143" fmla="*/ 5353050 w 8601075"/>
                  <a:gd name="connsiteY143" fmla="*/ 3990975 h 4333875"/>
                  <a:gd name="connsiteX144" fmla="*/ 5524500 w 8601075"/>
                  <a:gd name="connsiteY144" fmla="*/ 3914775 h 4333875"/>
                  <a:gd name="connsiteX145" fmla="*/ 5667375 w 8601075"/>
                  <a:gd name="connsiteY145" fmla="*/ 3962400 h 4333875"/>
                  <a:gd name="connsiteX146" fmla="*/ 5753100 w 8601075"/>
                  <a:gd name="connsiteY146" fmla="*/ 3924300 h 4333875"/>
                  <a:gd name="connsiteX147" fmla="*/ 5905500 w 8601075"/>
                  <a:gd name="connsiteY147" fmla="*/ 3943350 h 4333875"/>
                  <a:gd name="connsiteX148" fmla="*/ 6000750 w 8601075"/>
                  <a:gd name="connsiteY148" fmla="*/ 3800475 h 4333875"/>
                  <a:gd name="connsiteX149" fmla="*/ 6153150 w 8601075"/>
                  <a:gd name="connsiteY149" fmla="*/ 3781425 h 4333875"/>
                  <a:gd name="connsiteX150" fmla="*/ 6257925 w 8601075"/>
                  <a:gd name="connsiteY150" fmla="*/ 3581400 h 4333875"/>
                  <a:gd name="connsiteX151" fmla="*/ 6448425 w 8601075"/>
                  <a:gd name="connsiteY151" fmla="*/ 3448050 h 4333875"/>
                  <a:gd name="connsiteX152" fmla="*/ 6581775 w 8601075"/>
                  <a:gd name="connsiteY152" fmla="*/ 3276600 h 4333875"/>
                  <a:gd name="connsiteX153" fmla="*/ 6496050 w 8601075"/>
                  <a:gd name="connsiteY153" fmla="*/ 3228975 h 4333875"/>
                  <a:gd name="connsiteX154" fmla="*/ 6438900 w 8601075"/>
                  <a:gd name="connsiteY154" fmla="*/ 3162300 h 4333875"/>
                  <a:gd name="connsiteX155" fmla="*/ 6419850 w 8601075"/>
                  <a:gd name="connsiteY155" fmla="*/ 3105150 h 4333875"/>
                  <a:gd name="connsiteX156" fmla="*/ 6362700 w 8601075"/>
                  <a:gd name="connsiteY156" fmla="*/ 3076575 h 4333875"/>
                  <a:gd name="connsiteX157" fmla="*/ 6410325 w 8601075"/>
                  <a:gd name="connsiteY157" fmla="*/ 3019425 h 4333875"/>
                  <a:gd name="connsiteX158" fmla="*/ 6438900 w 8601075"/>
                  <a:gd name="connsiteY158" fmla="*/ 2819400 h 4333875"/>
                  <a:gd name="connsiteX159" fmla="*/ 6496050 w 8601075"/>
                  <a:gd name="connsiteY159" fmla="*/ 2762250 h 4333875"/>
                  <a:gd name="connsiteX160" fmla="*/ 6657975 w 8601075"/>
                  <a:gd name="connsiteY160" fmla="*/ 2752725 h 4333875"/>
                  <a:gd name="connsiteX161" fmla="*/ 6781800 w 8601075"/>
                  <a:gd name="connsiteY161" fmla="*/ 2838450 h 4333875"/>
                  <a:gd name="connsiteX162" fmla="*/ 7010400 w 8601075"/>
                  <a:gd name="connsiteY162" fmla="*/ 2838450 h 4333875"/>
                  <a:gd name="connsiteX163" fmla="*/ 7162800 w 8601075"/>
                  <a:gd name="connsiteY163" fmla="*/ 2705100 h 4333875"/>
                  <a:gd name="connsiteX164" fmla="*/ 7229475 w 8601075"/>
                  <a:gd name="connsiteY164" fmla="*/ 2590800 h 4333875"/>
                  <a:gd name="connsiteX165" fmla="*/ 7248525 w 8601075"/>
                  <a:gd name="connsiteY165" fmla="*/ 2524125 h 4333875"/>
                  <a:gd name="connsiteX166" fmla="*/ 7372350 w 8601075"/>
                  <a:gd name="connsiteY166" fmla="*/ 2543175 h 4333875"/>
                  <a:gd name="connsiteX167" fmla="*/ 7553325 w 8601075"/>
                  <a:gd name="connsiteY167" fmla="*/ 2447925 h 4333875"/>
                  <a:gd name="connsiteX168" fmla="*/ 7620000 w 8601075"/>
                  <a:gd name="connsiteY168" fmla="*/ 2324100 h 4333875"/>
                  <a:gd name="connsiteX169" fmla="*/ 7696200 w 8601075"/>
                  <a:gd name="connsiteY169" fmla="*/ 2314575 h 4333875"/>
                  <a:gd name="connsiteX170" fmla="*/ 7658100 w 8601075"/>
                  <a:gd name="connsiteY170" fmla="*/ 2257425 h 4333875"/>
                  <a:gd name="connsiteX171" fmla="*/ 7753350 w 8601075"/>
                  <a:gd name="connsiteY171" fmla="*/ 2057400 h 4333875"/>
                  <a:gd name="connsiteX172" fmla="*/ 7934325 w 8601075"/>
                  <a:gd name="connsiteY172" fmla="*/ 2028825 h 4333875"/>
                  <a:gd name="connsiteX173" fmla="*/ 7953375 w 8601075"/>
                  <a:gd name="connsiteY173" fmla="*/ 1952625 h 4333875"/>
                  <a:gd name="connsiteX174" fmla="*/ 7953375 w 8601075"/>
                  <a:gd name="connsiteY174" fmla="*/ 1952625 h 4333875"/>
                  <a:gd name="connsiteX175" fmla="*/ 8010525 w 8601075"/>
                  <a:gd name="connsiteY175" fmla="*/ 1895475 h 4333875"/>
                  <a:gd name="connsiteX176" fmla="*/ 8048625 w 8601075"/>
                  <a:gd name="connsiteY176" fmla="*/ 1971675 h 4333875"/>
                  <a:gd name="connsiteX177" fmla="*/ 8077200 w 8601075"/>
                  <a:gd name="connsiteY177" fmla="*/ 1885950 h 4333875"/>
                  <a:gd name="connsiteX178" fmla="*/ 8220075 w 8601075"/>
                  <a:gd name="connsiteY178" fmla="*/ 1847850 h 4333875"/>
                  <a:gd name="connsiteX179" fmla="*/ 8296275 w 8601075"/>
                  <a:gd name="connsiteY179" fmla="*/ 1809750 h 4333875"/>
                  <a:gd name="connsiteX180" fmla="*/ 8324850 w 8601075"/>
                  <a:gd name="connsiteY180" fmla="*/ 1790700 h 4333875"/>
                  <a:gd name="connsiteX181" fmla="*/ 8410575 w 8601075"/>
                  <a:gd name="connsiteY181" fmla="*/ 1847850 h 4333875"/>
                  <a:gd name="connsiteX182" fmla="*/ 8505825 w 8601075"/>
                  <a:gd name="connsiteY182" fmla="*/ 1781175 h 4333875"/>
                  <a:gd name="connsiteX183" fmla="*/ 8572500 w 8601075"/>
                  <a:gd name="connsiteY183" fmla="*/ 1809750 h 4333875"/>
                  <a:gd name="connsiteX184" fmla="*/ 8601075 w 8601075"/>
                  <a:gd name="connsiteY184" fmla="*/ 1704975 h 4333875"/>
                  <a:gd name="connsiteX185" fmla="*/ 8553450 w 8601075"/>
                  <a:gd name="connsiteY185" fmla="*/ 1676400 h 4333875"/>
                  <a:gd name="connsiteX186" fmla="*/ 8534400 w 8601075"/>
                  <a:gd name="connsiteY186" fmla="*/ 1609725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124825 w 8601075"/>
                  <a:gd name="connsiteY190" fmla="*/ 1352550 h 4333875"/>
                  <a:gd name="connsiteX191" fmla="*/ 7924800 w 8601075"/>
                  <a:gd name="connsiteY191" fmla="*/ 1362075 h 4333875"/>
                  <a:gd name="connsiteX192" fmla="*/ 7867650 w 8601075"/>
                  <a:gd name="connsiteY192" fmla="*/ 1457325 h 4333875"/>
                  <a:gd name="connsiteX193" fmla="*/ 7896225 w 8601075"/>
                  <a:gd name="connsiteY193" fmla="*/ 1476375 h 4333875"/>
                  <a:gd name="connsiteX194" fmla="*/ 7858125 w 8601075"/>
                  <a:gd name="connsiteY194" fmla="*/ 1533525 h 4333875"/>
                  <a:gd name="connsiteX195" fmla="*/ 7658100 w 8601075"/>
                  <a:gd name="connsiteY195" fmla="*/ 1447800 h 4333875"/>
                  <a:gd name="connsiteX196" fmla="*/ 7515225 w 8601075"/>
                  <a:gd name="connsiteY196" fmla="*/ 1495425 h 4333875"/>
                  <a:gd name="connsiteX197" fmla="*/ 7467600 w 8601075"/>
                  <a:gd name="connsiteY197" fmla="*/ 1581150 h 4333875"/>
                  <a:gd name="connsiteX198" fmla="*/ 7296150 w 8601075"/>
                  <a:gd name="connsiteY19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781425 w 8601075"/>
                  <a:gd name="connsiteY46" fmla="*/ 590550 h 4333875"/>
                  <a:gd name="connsiteX47" fmla="*/ 3810000 w 8601075"/>
                  <a:gd name="connsiteY47" fmla="*/ 514350 h 4333875"/>
                  <a:gd name="connsiteX48" fmla="*/ 3781425 w 8601075"/>
                  <a:gd name="connsiteY48" fmla="*/ 390525 h 4333875"/>
                  <a:gd name="connsiteX49" fmla="*/ 3771900 w 8601075"/>
                  <a:gd name="connsiteY49" fmla="*/ 352425 h 4333875"/>
                  <a:gd name="connsiteX50" fmla="*/ 3600450 w 8601075"/>
                  <a:gd name="connsiteY50" fmla="*/ 285750 h 4333875"/>
                  <a:gd name="connsiteX51" fmla="*/ 3533775 w 8601075"/>
                  <a:gd name="connsiteY51" fmla="*/ 314325 h 4333875"/>
                  <a:gd name="connsiteX52" fmla="*/ 3409950 w 8601075"/>
                  <a:gd name="connsiteY52" fmla="*/ 190500 h 4333875"/>
                  <a:gd name="connsiteX53" fmla="*/ 3257550 w 8601075"/>
                  <a:gd name="connsiteY53" fmla="*/ 180975 h 4333875"/>
                  <a:gd name="connsiteX54" fmla="*/ 3209925 w 8601075"/>
                  <a:gd name="connsiteY54" fmla="*/ 104775 h 4333875"/>
                  <a:gd name="connsiteX55" fmla="*/ 3152775 w 8601075"/>
                  <a:gd name="connsiteY55" fmla="*/ 104775 h 4333875"/>
                  <a:gd name="connsiteX56" fmla="*/ 2990850 w 8601075"/>
                  <a:gd name="connsiteY56" fmla="*/ 0 h 4333875"/>
                  <a:gd name="connsiteX57" fmla="*/ 2933700 w 8601075"/>
                  <a:gd name="connsiteY57" fmla="*/ 114300 h 4333875"/>
                  <a:gd name="connsiteX58" fmla="*/ 2867025 w 8601075"/>
                  <a:gd name="connsiteY58" fmla="*/ 171450 h 4333875"/>
                  <a:gd name="connsiteX59" fmla="*/ 2867025 w 8601075"/>
                  <a:gd name="connsiteY59" fmla="*/ 171450 h 4333875"/>
                  <a:gd name="connsiteX60" fmla="*/ 2800350 w 8601075"/>
                  <a:gd name="connsiteY60" fmla="*/ 257175 h 4333875"/>
                  <a:gd name="connsiteX61" fmla="*/ 2724150 w 8601075"/>
                  <a:gd name="connsiteY61" fmla="*/ 304800 h 4333875"/>
                  <a:gd name="connsiteX62" fmla="*/ 2705100 w 8601075"/>
                  <a:gd name="connsiteY62" fmla="*/ 466725 h 4333875"/>
                  <a:gd name="connsiteX63" fmla="*/ 2762250 w 8601075"/>
                  <a:gd name="connsiteY63" fmla="*/ 571500 h 4333875"/>
                  <a:gd name="connsiteX64" fmla="*/ 2800350 w 8601075"/>
                  <a:gd name="connsiteY64" fmla="*/ 628650 h 4333875"/>
                  <a:gd name="connsiteX65" fmla="*/ 2752725 w 8601075"/>
                  <a:gd name="connsiteY65" fmla="*/ 781050 h 4333875"/>
                  <a:gd name="connsiteX66" fmla="*/ 2686050 w 8601075"/>
                  <a:gd name="connsiteY66" fmla="*/ 857250 h 4333875"/>
                  <a:gd name="connsiteX67" fmla="*/ 2609850 w 8601075"/>
                  <a:gd name="connsiteY67" fmla="*/ 857250 h 4333875"/>
                  <a:gd name="connsiteX68" fmla="*/ 2514600 w 8601075"/>
                  <a:gd name="connsiteY68" fmla="*/ 914400 h 4333875"/>
                  <a:gd name="connsiteX69" fmla="*/ 2400300 w 8601075"/>
                  <a:gd name="connsiteY69" fmla="*/ 866775 h 4333875"/>
                  <a:gd name="connsiteX70" fmla="*/ 2305050 w 8601075"/>
                  <a:gd name="connsiteY70" fmla="*/ 809625 h 4333875"/>
                  <a:gd name="connsiteX71" fmla="*/ 2200275 w 8601075"/>
                  <a:gd name="connsiteY71" fmla="*/ 752475 h 4333875"/>
                  <a:gd name="connsiteX72" fmla="*/ 2105025 w 8601075"/>
                  <a:gd name="connsiteY72" fmla="*/ 762000 h 4333875"/>
                  <a:gd name="connsiteX73" fmla="*/ 1990725 w 8601075"/>
                  <a:gd name="connsiteY73" fmla="*/ 762000 h 4333875"/>
                  <a:gd name="connsiteX74" fmla="*/ 1885950 w 8601075"/>
                  <a:gd name="connsiteY74" fmla="*/ 742950 h 4333875"/>
                  <a:gd name="connsiteX75" fmla="*/ 1800225 w 8601075"/>
                  <a:gd name="connsiteY75" fmla="*/ 638175 h 4333875"/>
                  <a:gd name="connsiteX76" fmla="*/ 1809750 w 8601075"/>
                  <a:gd name="connsiteY76" fmla="*/ 495300 h 4333875"/>
                  <a:gd name="connsiteX77" fmla="*/ 1733550 w 8601075"/>
                  <a:gd name="connsiteY77" fmla="*/ 466725 h 4333875"/>
                  <a:gd name="connsiteX78" fmla="*/ 1485900 w 8601075"/>
                  <a:gd name="connsiteY78" fmla="*/ 419100 h 4333875"/>
                  <a:gd name="connsiteX79" fmla="*/ 1457325 w 8601075"/>
                  <a:gd name="connsiteY79" fmla="*/ 323850 h 4333875"/>
                  <a:gd name="connsiteX80" fmla="*/ 1457325 w 8601075"/>
                  <a:gd name="connsiteY80" fmla="*/ 323850 h 4333875"/>
                  <a:gd name="connsiteX81" fmla="*/ 1323975 w 8601075"/>
                  <a:gd name="connsiteY81" fmla="*/ 285750 h 4333875"/>
                  <a:gd name="connsiteX82" fmla="*/ 1266825 w 8601075"/>
                  <a:gd name="connsiteY82" fmla="*/ 352425 h 4333875"/>
                  <a:gd name="connsiteX83" fmla="*/ 1009650 w 8601075"/>
                  <a:gd name="connsiteY83" fmla="*/ 390525 h 4333875"/>
                  <a:gd name="connsiteX84" fmla="*/ 828675 w 8601075"/>
                  <a:gd name="connsiteY84" fmla="*/ 447675 h 4333875"/>
                  <a:gd name="connsiteX85" fmla="*/ 619125 w 8601075"/>
                  <a:gd name="connsiteY85" fmla="*/ 533400 h 4333875"/>
                  <a:gd name="connsiteX86" fmla="*/ 619125 w 8601075"/>
                  <a:gd name="connsiteY86" fmla="*/ 533400 h 4333875"/>
                  <a:gd name="connsiteX87" fmla="*/ 561975 w 8601075"/>
                  <a:gd name="connsiteY87" fmla="*/ 61912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295275 w 8601075"/>
                  <a:gd name="connsiteY91" fmla="*/ 657225 h 4333875"/>
                  <a:gd name="connsiteX92" fmla="*/ 180975 w 8601075"/>
                  <a:gd name="connsiteY92" fmla="*/ 638175 h 4333875"/>
                  <a:gd name="connsiteX93" fmla="*/ 180975 w 8601075"/>
                  <a:gd name="connsiteY93" fmla="*/ 638175 h 4333875"/>
                  <a:gd name="connsiteX94" fmla="*/ 57150 w 8601075"/>
                  <a:gd name="connsiteY94" fmla="*/ 733425 h 4333875"/>
                  <a:gd name="connsiteX95" fmla="*/ 19050 w 8601075"/>
                  <a:gd name="connsiteY95" fmla="*/ 790575 h 4333875"/>
                  <a:gd name="connsiteX96" fmla="*/ 0 w 8601075"/>
                  <a:gd name="connsiteY96" fmla="*/ 876300 h 4333875"/>
                  <a:gd name="connsiteX97" fmla="*/ 57150 w 8601075"/>
                  <a:gd name="connsiteY97" fmla="*/ 923925 h 4333875"/>
                  <a:gd name="connsiteX98" fmla="*/ 57150 w 8601075"/>
                  <a:gd name="connsiteY98" fmla="*/ 923925 h 4333875"/>
                  <a:gd name="connsiteX99" fmla="*/ 209550 w 8601075"/>
                  <a:gd name="connsiteY99" fmla="*/ 1114425 h 4333875"/>
                  <a:gd name="connsiteX100" fmla="*/ 209550 w 8601075"/>
                  <a:gd name="connsiteY100" fmla="*/ 1114425 h 4333875"/>
                  <a:gd name="connsiteX101" fmla="*/ 266700 w 8601075"/>
                  <a:gd name="connsiteY101" fmla="*/ 1295400 h 4333875"/>
                  <a:gd name="connsiteX102" fmla="*/ 409575 w 8601075"/>
                  <a:gd name="connsiteY102" fmla="*/ 1276350 h 4333875"/>
                  <a:gd name="connsiteX103" fmla="*/ 466725 w 8601075"/>
                  <a:gd name="connsiteY103" fmla="*/ 1362075 h 4333875"/>
                  <a:gd name="connsiteX104" fmla="*/ 542925 w 8601075"/>
                  <a:gd name="connsiteY104" fmla="*/ 1428750 h 4333875"/>
                  <a:gd name="connsiteX105" fmla="*/ 628650 w 8601075"/>
                  <a:gd name="connsiteY105" fmla="*/ 1571625 h 4333875"/>
                  <a:gd name="connsiteX106" fmla="*/ 628650 w 8601075"/>
                  <a:gd name="connsiteY106" fmla="*/ 1704975 h 4333875"/>
                  <a:gd name="connsiteX107" fmla="*/ 676275 w 8601075"/>
                  <a:gd name="connsiteY107" fmla="*/ 1771650 h 4333875"/>
                  <a:gd name="connsiteX108" fmla="*/ 657225 w 8601075"/>
                  <a:gd name="connsiteY108" fmla="*/ 2000250 h 4333875"/>
                  <a:gd name="connsiteX109" fmla="*/ 619125 w 8601075"/>
                  <a:gd name="connsiteY109" fmla="*/ 2095500 h 4333875"/>
                  <a:gd name="connsiteX110" fmla="*/ 542925 w 8601075"/>
                  <a:gd name="connsiteY110" fmla="*/ 2228850 h 4333875"/>
                  <a:gd name="connsiteX111" fmla="*/ 485775 w 8601075"/>
                  <a:gd name="connsiteY111" fmla="*/ 2362200 h 4333875"/>
                  <a:gd name="connsiteX112" fmla="*/ 552450 w 8601075"/>
                  <a:gd name="connsiteY112" fmla="*/ 2486025 h 4333875"/>
                  <a:gd name="connsiteX113" fmla="*/ 771525 w 8601075"/>
                  <a:gd name="connsiteY113" fmla="*/ 2571750 h 4333875"/>
                  <a:gd name="connsiteX114" fmla="*/ 866775 w 8601075"/>
                  <a:gd name="connsiteY114" fmla="*/ 2571750 h 4333875"/>
                  <a:gd name="connsiteX115" fmla="*/ 914400 w 8601075"/>
                  <a:gd name="connsiteY115" fmla="*/ 2638425 h 4333875"/>
                  <a:gd name="connsiteX116" fmla="*/ 1066800 w 8601075"/>
                  <a:gd name="connsiteY116" fmla="*/ 2638425 h 4333875"/>
                  <a:gd name="connsiteX117" fmla="*/ 1285875 w 8601075"/>
                  <a:gd name="connsiteY117" fmla="*/ 2705100 h 4333875"/>
                  <a:gd name="connsiteX118" fmla="*/ 1438275 w 8601075"/>
                  <a:gd name="connsiteY118" fmla="*/ 2838450 h 4333875"/>
                  <a:gd name="connsiteX119" fmla="*/ 1485900 w 8601075"/>
                  <a:gd name="connsiteY119" fmla="*/ 2914650 h 4333875"/>
                  <a:gd name="connsiteX120" fmla="*/ 1657350 w 8601075"/>
                  <a:gd name="connsiteY120" fmla="*/ 3038475 h 4333875"/>
                  <a:gd name="connsiteX121" fmla="*/ 1752600 w 8601075"/>
                  <a:gd name="connsiteY121" fmla="*/ 3057525 h 4333875"/>
                  <a:gd name="connsiteX122" fmla="*/ 1724025 w 8601075"/>
                  <a:gd name="connsiteY122" fmla="*/ 3143250 h 4333875"/>
                  <a:gd name="connsiteX123" fmla="*/ 1724025 w 8601075"/>
                  <a:gd name="connsiteY123" fmla="*/ 3143250 h 4333875"/>
                  <a:gd name="connsiteX124" fmla="*/ 1781175 w 8601075"/>
                  <a:gd name="connsiteY124" fmla="*/ 3181350 h 4333875"/>
                  <a:gd name="connsiteX125" fmla="*/ 1819275 w 8601075"/>
                  <a:gd name="connsiteY125" fmla="*/ 3362325 h 4333875"/>
                  <a:gd name="connsiteX126" fmla="*/ 1828800 w 8601075"/>
                  <a:gd name="connsiteY126" fmla="*/ 3457575 h 4333875"/>
                  <a:gd name="connsiteX127" fmla="*/ 1971675 w 8601075"/>
                  <a:gd name="connsiteY127" fmla="*/ 3590925 h 4333875"/>
                  <a:gd name="connsiteX128" fmla="*/ 1990725 w 8601075"/>
                  <a:gd name="connsiteY128" fmla="*/ 3714750 h 4333875"/>
                  <a:gd name="connsiteX129" fmla="*/ 2200275 w 8601075"/>
                  <a:gd name="connsiteY129" fmla="*/ 3695700 h 4333875"/>
                  <a:gd name="connsiteX130" fmla="*/ 2886075 w 8601075"/>
                  <a:gd name="connsiteY130" fmla="*/ 3886200 h 4333875"/>
                  <a:gd name="connsiteX131" fmla="*/ 3038475 w 8601075"/>
                  <a:gd name="connsiteY131" fmla="*/ 3819525 h 4333875"/>
                  <a:gd name="connsiteX132" fmla="*/ 3105150 w 8601075"/>
                  <a:gd name="connsiteY132" fmla="*/ 3867150 h 4333875"/>
                  <a:gd name="connsiteX133" fmla="*/ 3181350 w 8601075"/>
                  <a:gd name="connsiteY133" fmla="*/ 3800475 h 4333875"/>
                  <a:gd name="connsiteX134" fmla="*/ 3590925 w 8601075"/>
                  <a:gd name="connsiteY134" fmla="*/ 3943350 h 4333875"/>
                  <a:gd name="connsiteX135" fmla="*/ 3686175 w 8601075"/>
                  <a:gd name="connsiteY135" fmla="*/ 4057650 h 4333875"/>
                  <a:gd name="connsiteX136" fmla="*/ 3838575 w 8601075"/>
                  <a:gd name="connsiteY136" fmla="*/ 4057650 h 4333875"/>
                  <a:gd name="connsiteX137" fmla="*/ 4162425 w 8601075"/>
                  <a:gd name="connsiteY137" fmla="*/ 4248150 h 4333875"/>
                  <a:gd name="connsiteX138" fmla="*/ 4391025 w 8601075"/>
                  <a:gd name="connsiteY138" fmla="*/ 4200525 h 4333875"/>
                  <a:gd name="connsiteX139" fmla="*/ 4410075 w 8601075"/>
                  <a:gd name="connsiteY139" fmla="*/ 4305300 h 4333875"/>
                  <a:gd name="connsiteX140" fmla="*/ 4505325 w 8601075"/>
                  <a:gd name="connsiteY140" fmla="*/ 4276725 h 4333875"/>
                  <a:gd name="connsiteX141" fmla="*/ 4572000 w 8601075"/>
                  <a:gd name="connsiteY141" fmla="*/ 4333875 h 4333875"/>
                  <a:gd name="connsiteX142" fmla="*/ 4591050 w 8601075"/>
                  <a:gd name="connsiteY142" fmla="*/ 4248150 h 4333875"/>
                  <a:gd name="connsiteX143" fmla="*/ 5295900 w 8601075"/>
                  <a:gd name="connsiteY143" fmla="*/ 3924300 h 4333875"/>
                  <a:gd name="connsiteX144" fmla="*/ 5353050 w 8601075"/>
                  <a:gd name="connsiteY144" fmla="*/ 3990975 h 4333875"/>
                  <a:gd name="connsiteX145" fmla="*/ 5524500 w 8601075"/>
                  <a:gd name="connsiteY145" fmla="*/ 3914775 h 4333875"/>
                  <a:gd name="connsiteX146" fmla="*/ 5667375 w 8601075"/>
                  <a:gd name="connsiteY146" fmla="*/ 3962400 h 4333875"/>
                  <a:gd name="connsiteX147" fmla="*/ 5753100 w 8601075"/>
                  <a:gd name="connsiteY147" fmla="*/ 3924300 h 4333875"/>
                  <a:gd name="connsiteX148" fmla="*/ 5905500 w 8601075"/>
                  <a:gd name="connsiteY148" fmla="*/ 3943350 h 4333875"/>
                  <a:gd name="connsiteX149" fmla="*/ 6000750 w 8601075"/>
                  <a:gd name="connsiteY149" fmla="*/ 3800475 h 4333875"/>
                  <a:gd name="connsiteX150" fmla="*/ 6153150 w 8601075"/>
                  <a:gd name="connsiteY150" fmla="*/ 3781425 h 4333875"/>
                  <a:gd name="connsiteX151" fmla="*/ 6257925 w 8601075"/>
                  <a:gd name="connsiteY151" fmla="*/ 3581400 h 4333875"/>
                  <a:gd name="connsiteX152" fmla="*/ 6448425 w 8601075"/>
                  <a:gd name="connsiteY152" fmla="*/ 3448050 h 4333875"/>
                  <a:gd name="connsiteX153" fmla="*/ 6581775 w 8601075"/>
                  <a:gd name="connsiteY153" fmla="*/ 3276600 h 4333875"/>
                  <a:gd name="connsiteX154" fmla="*/ 6496050 w 8601075"/>
                  <a:gd name="connsiteY154" fmla="*/ 3228975 h 4333875"/>
                  <a:gd name="connsiteX155" fmla="*/ 6438900 w 8601075"/>
                  <a:gd name="connsiteY155" fmla="*/ 3162300 h 4333875"/>
                  <a:gd name="connsiteX156" fmla="*/ 6419850 w 8601075"/>
                  <a:gd name="connsiteY156" fmla="*/ 3105150 h 4333875"/>
                  <a:gd name="connsiteX157" fmla="*/ 6362700 w 8601075"/>
                  <a:gd name="connsiteY157" fmla="*/ 3076575 h 4333875"/>
                  <a:gd name="connsiteX158" fmla="*/ 6410325 w 8601075"/>
                  <a:gd name="connsiteY158" fmla="*/ 3019425 h 4333875"/>
                  <a:gd name="connsiteX159" fmla="*/ 6438900 w 8601075"/>
                  <a:gd name="connsiteY159" fmla="*/ 2819400 h 4333875"/>
                  <a:gd name="connsiteX160" fmla="*/ 6496050 w 8601075"/>
                  <a:gd name="connsiteY160" fmla="*/ 2762250 h 4333875"/>
                  <a:gd name="connsiteX161" fmla="*/ 6657975 w 8601075"/>
                  <a:gd name="connsiteY161" fmla="*/ 2752725 h 4333875"/>
                  <a:gd name="connsiteX162" fmla="*/ 6781800 w 8601075"/>
                  <a:gd name="connsiteY162" fmla="*/ 2838450 h 4333875"/>
                  <a:gd name="connsiteX163" fmla="*/ 7010400 w 8601075"/>
                  <a:gd name="connsiteY163" fmla="*/ 2838450 h 4333875"/>
                  <a:gd name="connsiteX164" fmla="*/ 7162800 w 8601075"/>
                  <a:gd name="connsiteY164" fmla="*/ 2705100 h 4333875"/>
                  <a:gd name="connsiteX165" fmla="*/ 7229475 w 8601075"/>
                  <a:gd name="connsiteY165" fmla="*/ 2590800 h 4333875"/>
                  <a:gd name="connsiteX166" fmla="*/ 7248525 w 8601075"/>
                  <a:gd name="connsiteY166" fmla="*/ 2524125 h 4333875"/>
                  <a:gd name="connsiteX167" fmla="*/ 7372350 w 8601075"/>
                  <a:gd name="connsiteY167" fmla="*/ 2543175 h 4333875"/>
                  <a:gd name="connsiteX168" fmla="*/ 7553325 w 8601075"/>
                  <a:gd name="connsiteY168" fmla="*/ 2447925 h 4333875"/>
                  <a:gd name="connsiteX169" fmla="*/ 7620000 w 8601075"/>
                  <a:gd name="connsiteY169" fmla="*/ 2324100 h 4333875"/>
                  <a:gd name="connsiteX170" fmla="*/ 7696200 w 8601075"/>
                  <a:gd name="connsiteY170" fmla="*/ 2314575 h 4333875"/>
                  <a:gd name="connsiteX171" fmla="*/ 7658100 w 8601075"/>
                  <a:gd name="connsiteY171" fmla="*/ 2257425 h 4333875"/>
                  <a:gd name="connsiteX172" fmla="*/ 7753350 w 8601075"/>
                  <a:gd name="connsiteY172" fmla="*/ 2057400 h 4333875"/>
                  <a:gd name="connsiteX173" fmla="*/ 7934325 w 8601075"/>
                  <a:gd name="connsiteY173" fmla="*/ 2028825 h 4333875"/>
                  <a:gd name="connsiteX174" fmla="*/ 7953375 w 8601075"/>
                  <a:gd name="connsiteY174" fmla="*/ 1952625 h 4333875"/>
                  <a:gd name="connsiteX175" fmla="*/ 7953375 w 8601075"/>
                  <a:gd name="connsiteY175" fmla="*/ 1952625 h 4333875"/>
                  <a:gd name="connsiteX176" fmla="*/ 8010525 w 8601075"/>
                  <a:gd name="connsiteY176" fmla="*/ 1895475 h 4333875"/>
                  <a:gd name="connsiteX177" fmla="*/ 8048625 w 8601075"/>
                  <a:gd name="connsiteY177" fmla="*/ 1971675 h 4333875"/>
                  <a:gd name="connsiteX178" fmla="*/ 8077200 w 8601075"/>
                  <a:gd name="connsiteY178" fmla="*/ 1885950 h 4333875"/>
                  <a:gd name="connsiteX179" fmla="*/ 8220075 w 8601075"/>
                  <a:gd name="connsiteY179" fmla="*/ 1847850 h 4333875"/>
                  <a:gd name="connsiteX180" fmla="*/ 8296275 w 8601075"/>
                  <a:gd name="connsiteY180" fmla="*/ 1809750 h 4333875"/>
                  <a:gd name="connsiteX181" fmla="*/ 8324850 w 8601075"/>
                  <a:gd name="connsiteY181" fmla="*/ 1790700 h 4333875"/>
                  <a:gd name="connsiteX182" fmla="*/ 8410575 w 8601075"/>
                  <a:gd name="connsiteY182" fmla="*/ 1847850 h 4333875"/>
                  <a:gd name="connsiteX183" fmla="*/ 8505825 w 8601075"/>
                  <a:gd name="connsiteY183" fmla="*/ 1781175 h 4333875"/>
                  <a:gd name="connsiteX184" fmla="*/ 8572500 w 8601075"/>
                  <a:gd name="connsiteY184" fmla="*/ 1809750 h 4333875"/>
                  <a:gd name="connsiteX185" fmla="*/ 8601075 w 8601075"/>
                  <a:gd name="connsiteY185" fmla="*/ 1704975 h 4333875"/>
                  <a:gd name="connsiteX186" fmla="*/ 8553450 w 8601075"/>
                  <a:gd name="connsiteY186" fmla="*/ 1676400 h 4333875"/>
                  <a:gd name="connsiteX187" fmla="*/ 8534400 w 8601075"/>
                  <a:gd name="connsiteY187" fmla="*/ 1609725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124825 w 8601075"/>
                  <a:gd name="connsiteY191" fmla="*/ 1352550 h 4333875"/>
                  <a:gd name="connsiteX192" fmla="*/ 7924800 w 8601075"/>
                  <a:gd name="connsiteY192" fmla="*/ 1362075 h 4333875"/>
                  <a:gd name="connsiteX193" fmla="*/ 7867650 w 8601075"/>
                  <a:gd name="connsiteY193" fmla="*/ 1457325 h 4333875"/>
                  <a:gd name="connsiteX194" fmla="*/ 7896225 w 8601075"/>
                  <a:gd name="connsiteY194" fmla="*/ 1476375 h 4333875"/>
                  <a:gd name="connsiteX195" fmla="*/ 7858125 w 8601075"/>
                  <a:gd name="connsiteY195" fmla="*/ 1533525 h 4333875"/>
                  <a:gd name="connsiteX196" fmla="*/ 7658100 w 8601075"/>
                  <a:gd name="connsiteY196" fmla="*/ 1447800 h 4333875"/>
                  <a:gd name="connsiteX197" fmla="*/ 7515225 w 8601075"/>
                  <a:gd name="connsiteY197" fmla="*/ 1495425 h 4333875"/>
                  <a:gd name="connsiteX198" fmla="*/ 7467600 w 8601075"/>
                  <a:gd name="connsiteY198" fmla="*/ 1581150 h 4333875"/>
                  <a:gd name="connsiteX199" fmla="*/ 7296150 w 8601075"/>
                  <a:gd name="connsiteY19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781425 w 8601075"/>
                  <a:gd name="connsiteY47" fmla="*/ 590550 h 4333875"/>
                  <a:gd name="connsiteX48" fmla="*/ 3810000 w 8601075"/>
                  <a:gd name="connsiteY48" fmla="*/ 514350 h 4333875"/>
                  <a:gd name="connsiteX49" fmla="*/ 3781425 w 8601075"/>
                  <a:gd name="connsiteY49" fmla="*/ 390525 h 4333875"/>
                  <a:gd name="connsiteX50" fmla="*/ 3771900 w 8601075"/>
                  <a:gd name="connsiteY50" fmla="*/ 352425 h 4333875"/>
                  <a:gd name="connsiteX51" fmla="*/ 3600450 w 8601075"/>
                  <a:gd name="connsiteY51" fmla="*/ 285750 h 4333875"/>
                  <a:gd name="connsiteX52" fmla="*/ 3533775 w 8601075"/>
                  <a:gd name="connsiteY52" fmla="*/ 314325 h 4333875"/>
                  <a:gd name="connsiteX53" fmla="*/ 3409950 w 8601075"/>
                  <a:gd name="connsiteY53" fmla="*/ 190500 h 4333875"/>
                  <a:gd name="connsiteX54" fmla="*/ 3257550 w 8601075"/>
                  <a:gd name="connsiteY54" fmla="*/ 180975 h 4333875"/>
                  <a:gd name="connsiteX55" fmla="*/ 3209925 w 8601075"/>
                  <a:gd name="connsiteY55" fmla="*/ 104775 h 4333875"/>
                  <a:gd name="connsiteX56" fmla="*/ 3152775 w 8601075"/>
                  <a:gd name="connsiteY56" fmla="*/ 104775 h 4333875"/>
                  <a:gd name="connsiteX57" fmla="*/ 2990850 w 8601075"/>
                  <a:gd name="connsiteY57" fmla="*/ 0 h 4333875"/>
                  <a:gd name="connsiteX58" fmla="*/ 2933700 w 8601075"/>
                  <a:gd name="connsiteY58" fmla="*/ 114300 h 4333875"/>
                  <a:gd name="connsiteX59" fmla="*/ 2867025 w 8601075"/>
                  <a:gd name="connsiteY59" fmla="*/ 171450 h 4333875"/>
                  <a:gd name="connsiteX60" fmla="*/ 2867025 w 8601075"/>
                  <a:gd name="connsiteY60" fmla="*/ 171450 h 4333875"/>
                  <a:gd name="connsiteX61" fmla="*/ 2800350 w 8601075"/>
                  <a:gd name="connsiteY61" fmla="*/ 257175 h 4333875"/>
                  <a:gd name="connsiteX62" fmla="*/ 2724150 w 8601075"/>
                  <a:gd name="connsiteY62" fmla="*/ 304800 h 4333875"/>
                  <a:gd name="connsiteX63" fmla="*/ 2705100 w 8601075"/>
                  <a:gd name="connsiteY63" fmla="*/ 466725 h 4333875"/>
                  <a:gd name="connsiteX64" fmla="*/ 2762250 w 8601075"/>
                  <a:gd name="connsiteY64" fmla="*/ 571500 h 4333875"/>
                  <a:gd name="connsiteX65" fmla="*/ 2800350 w 8601075"/>
                  <a:gd name="connsiteY65" fmla="*/ 628650 h 4333875"/>
                  <a:gd name="connsiteX66" fmla="*/ 2752725 w 8601075"/>
                  <a:gd name="connsiteY66" fmla="*/ 781050 h 4333875"/>
                  <a:gd name="connsiteX67" fmla="*/ 2686050 w 8601075"/>
                  <a:gd name="connsiteY67" fmla="*/ 857250 h 4333875"/>
                  <a:gd name="connsiteX68" fmla="*/ 2609850 w 8601075"/>
                  <a:gd name="connsiteY68" fmla="*/ 857250 h 4333875"/>
                  <a:gd name="connsiteX69" fmla="*/ 2514600 w 8601075"/>
                  <a:gd name="connsiteY69" fmla="*/ 914400 h 4333875"/>
                  <a:gd name="connsiteX70" fmla="*/ 2400300 w 8601075"/>
                  <a:gd name="connsiteY70" fmla="*/ 866775 h 4333875"/>
                  <a:gd name="connsiteX71" fmla="*/ 2305050 w 8601075"/>
                  <a:gd name="connsiteY71" fmla="*/ 809625 h 4333875"/>
                  <a:gd name="connsiteX72" fmla="*/ 2200275 w 8601075"/>
                  <a:gd name="connsiteY72" fmla="*/ 752475 h 4333875"/>
                  <a:gd name="connsiteX73" fmla="*/ 2105025 w 8601075"/>
                  <a:gd name="connsiteY73" fmla="*/ 762000 h 4333875"/>
                  <a:gd name="connsiteX74" fmla="*/ 1990725 w 8601075"/>
                  <a:gd name="connsiteY74" fmla="*/ 762000 h 4333875"/>
                  <a:gd name="connsiteX75" fmla="*/ 1885950 w 8601075"/>
                  <a:gd name="connsiteY75" fmla="*/ 742950 h 4333875"/>
                  <a:gd name="connsiteX76" fmla="*/ 1800225 w 8601075"/>
                  <a:gd name="connsiteY76" fmla="*/ 638175 h 4333875"/>
                  <a:gd name="connsiteX77" fmla="*/ 1809750 w 8601075"/>
                  <a:gd name="connsiteY77" fmla="*/ 495300 h 4333875"/>
                  <a:gd name="connsiteX78" fmla="*/ 1733550 w 8601075"/>
                  <a:gd name="connsiteY78" fmla="*/ 466725 h 4333875"/>
                  <a:gd name="connsiteX79" fmla="*/ 1485900 w 8601075"/>
                  <a:gd name="connsiteY79" fmla="*/ 419100 h 4333875"/>
                  <a:gd name="connsiteX80" fmla="*/ 1457325 w 8601075"/>
                  <a:gd name="connsiteY80" fmla="*/ 323850 h 4333875"/>
                  <a:gd name="connsiteX81" fmla="*/ 1457325 w 8601075"/>
                  <a:gd name="connsiteY81" fmla="*/ 323850 h 4333875"/>
                  <a:gd name="connsiteX82" fmla="*/ 1323975 w 8601075"/>
                  <a:gd name="connsiteY82" fmla="*/ 285750 h 4333875"/>
                  <a:gd name="connsiteX83" fmla="*/ 1266825 w 8601075"/>
                  <a:gd name="connsiteY83" fmla="*/ 352425 h 4333875"/>
                  <a:gd name="connsiteX84" fmla="*/ 1009650 w 8601075"/>
                  <a:gd name="connsiteY84" fmla="*/ 390525 h 4333875"/>
                  <a:gd name="connsiteX85" fmla="*/ 828675 w 8601075"/>
                  <a:gd name="connsiteY85" fmla="*/ 447675 h 4333875"/>
                  <a:gd name="connsiteX86" fmla="*/ 619125 w 8601075"/>
                  <a:gd name="connsiteY86" fmla="*/ 533400 h 4333875"/>
                  <a:gd name="connsiteX87" fmla="*/ 619125 w 8601075"/>
                  <a:gd name="connsiteY87" fmla="*/ 533400 h 4333875"/>
                  <a:gd name="connsiteX88" fmla="*/ 561975 w 8601075"/>
                  <a:gd name="connsiteY88" fmla="*/ 61912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295275 w 8601075"/>
                  <a:gd name="connsiteY92" fmla="*/ 657225 h 4333875"/>
                  <a:gd name="connsiteX93" fmla="*/ 180975 w 8601075"/>
                  <a:gd name="connsiteY93" fmla="*/ 638175 h 4333875"/>
                  <a:gd name="connsiteX94" fmla="*/ 180975 w 8601075"/>
                  <a:gd name="connsiteY94" fmla="*/ 638175 h 4333875"/>
                  <a:gd name="connsiteX95" fmla="*/ 57150 w 8601075"/>
                  <a:gd name="connsiteY95" fmla="*/ 733425 h 4333875"/>
                  <a:gd name="connsiteX96" fmla="*/ 19050 w 8601075"/>
                  <a:gd name="connsiteY96" fmla="*/ 790575 h 4333875"/>
                  <a:gd name="connsiteX97" fmla="*/ 0 w 8601075"/>
                  <a:gd name="connsiteY97" fmla="*/ 876300 h 4333875"/>
                  <a:gd name="connsiteX98" fmla="*/ 57150 w 8601075"/>
                  <a:gd name="connsiteY98" fmla="*/ 923925 h 4333875"/>
                  <a:gd name="connsiteX99" fmla="*/ 57150 w 8601075"/>
                  <a:gd name="connsiteY99" fmla="*/ 923925 h 4333875"/>
                  <a:gd name="connsiteX100" fmla="*/ 209550 w 8601075"/>
                  <a:gd name="connsiteY100" fmla="*/ 1114425 h 4333875"/>
                  <a:gd name="connsiteX101" fmla="*/ 209550 w 8601075"/>
                  <a:gd name="connsiteY101" fmla="*/ 1114425 h 4333875"/>
                  <a:gd name="connsiteX102" fmla="*/ 266700 w 8601075"/>
                  <a:gd name="connsiteY102" fmla="*/ 1295400 h 4333875"/>
                  <a:gd name="connsiteX103" fmla="*/ 409575 w 8601075"/>
                  <a:gd name="connsiteY103" fmla="*/ 1276350 h 4333875"/>
                  <a:gd name="connsiteX104" fmla="*/ 466725 w 8601075"/>
                  <a:gd name="connsiteY104" fmla="*/ 1362075 h 4333875"/>
                  <a:gd name="connsiteX105" fmla="*/ 542925 w 8601075"/>
                  <a:gd name="connsiteY105" fmla="*/ 1428750 h 4333875"/>
                  <a:gd name="connsiteX106" fmla="*/ 628650 w 8601075"/>
                  <a:gd name="connsiteY106" fmla="*/ 1571625 h 4333875"/>
                  <a:gd name="connsiteX107" fmla="*/ 628650 w 8601075"/>
                  <a:gd name="connsiteY107" fmla="*/ 1704975 h 4333875"/>
                  <a:gd name="connsiteX108" fmla="*/ 676275 w 8601075"/>
                  <a:gd name="connsiteY108" fmla="*/ 1771650 h 4333875"/>
                  <a:gd name="connsiteX109" fmla="*/ 657225 w 8601075"/>
                  <a:gd name="connsiteY109" fmla="*/ 2000250 h 4333875"/>
                  <a:gd name="connsiteX110" fmla="*/ 619125 w 8601075"/>
                  <a:gd name="connsiteY110" fmla="*/ 2095500 h 4333875"/>
                  <a:gd name="connsiteX111" fmla="*/ 542925 w 8601075"/>
                  <a:gd name="connsiteY111" fmla="*/ 2228850 h 4333875"/>
                  <a:gd name="connsiteX112" fmla="*/ 485775 w 8601075"/>
                  <a:gd name="connsiteY112" fmla="*/ 2362200 h 4333875"/>
                  <a:gd name="connsiteX113" fmla="*/ 552450 w 8601075"/>
                  <a:gd name="connsiteY113" fmla="*/ 2486025 h 4333875"/>
                  <a:gd name="connsiteX114" fmla="*/ 771525 w 8601075"/>
                  <a:gd name="connsiteY114" fmla="*/ 2571750 h 4333875"/>
                  <a:gd name="connsiteX115" fmla="*/ 866775 w 8601075"/>
                  <a:gd name="connsiteY115" fmla="*/ 2571750 h 4333875"/>
                  <a:gd name="connsiteX116" fmla="*/ 914400 w 8601075"/>
                  <a:gd name="connsiteY116" fmla="*/ 2638425 h 4333875"/>
                  <a:gd name="connsiteX117" fmla="*/ 1066800 w 8601075"/>
                  <a:gd name="connsiteY117" fmla="*/ 2638425 h 4333875"/>
                  <a:gd name="connsiteX118" fmla="*/ 1285875 w 8601075"/>
                  <a:gd name="connsiteY118" fmla="*/ 2705100 h 4333875"/>
                  <a:gd name="connsiteX119" fmla="*/ 1438275 w 8601075"/>
                  <a:gd name="connsiteY119" fmla="*/ 2838450 h 4333875"/>
                  <a:gd name="connsiteX120" fmla="*/ 1485900 w 8601075"/>
                  <a:gd name="connsiteY120" fmla="*/ 2914650 h 4333875"/>
                  <a:gd name="connsiteX121" fmla="*/ 1657350 w 8601075"/>
                  <a:gd name="connsiteY121" fmla="*/ 3038475 h 4333875"/>
                  <a:gd name="connsiteX122" fmla="*/ 1752600 w 8601075"/>
                  <a:gd name="connsiteY122" fmla="*/ 3057525 h 4333875"/>
                  <a:gd name="connsiteX123" fmla="*/ 1724025 w 8601075"/>
                  <a:gd name="connsiteY123" fmla="*/ 3143250 h 4333875"/>
                  <a:gd name="connsiteX124" fmla="*/ 1724025 w 8601075"/>
                  <a:gd name="connsiteY124" fmla="*/ 3143250 h 4333875"/>
                  <a:gd name="connsiteX125" fmla="*/ 1781175 w 8601075"/>
                  <a:gd name="connsiteY125" fmla="*/ 3181350 h 4333875"/>
                  <a:gd name="connsiteX126" fmla="*/ 1819275 w 8601075"/>
                  <a:gd name="connsiteY126" fmla="*/ 3362325 h 4333875"/>
                  <a:gd name="connsiteX127" fmla="*/ 1828800 w 8601075"/>
                  <a:gd name="connsiteY127" fmla="*/ 3457575 h 4333875"/>
                  <a:gd name="connsiteX128" fmla="*/ 1971675 w 8601075"/>
                  <a:gd name="connsiteY128" fmla="*/ 3590925 h 4333875"/>
                  <a:gd name="connsiteX129" fmla="*/ 1990725 w 8601075"/>
                  <a:gd name="connsiteY129" fmla="*/ 3714750 h 4333875"/>
                  <a:gd name="connsiteX130" fmla="*/ 2200275 w 8601075"/>
                  <a:gd name="connsiteY130" fmla="*/ 3695700 h 4333875"/>
                  <a:gd name="connsiteX131" fmla="*/ 2886075 w 8601075"/>
                  <a:gd name="connsiteY131" fmla="*/ 3886200 h 4333875"/>
                  <a:gd name="connsiteX132" fmla="*/ 3038475 w 8601075"/>
                  <a:gd name="connsiteY132" fmla="*/ 3819525 h 4333875"/>
                  <a:gd name="connsiteX133" fmla="*/ 3105150 w 8601075"/>
                  <a:gd name="connsiteY133" fmla="*/ 3867150 h 4333875"/>
                  <a:gd name="connsiteX134" fmla="*/ 3181350 w 8601075"/>
                  <a:gd name="connsiteY134" fmla="*/ 3800475 h 4333875"/>
                  <a:gd name="connsiteX135" fmla="*/ 3590925 w 8601075"/>
                  <a:gd name="connsiteY135" fmla="*/ 3943350 h 4333875"/>
                  <a:gd name="connsiteX136" fmla="*/ 3686175 w 8601075"/>
                  <a:gd name="connsiteY136" fmla="*/ 4057650 h 4333875"/>
                  <a:gd name="connsiteX137" fmla="*/ 3838575 w 8601075"/>
                  <a:gd name="connsiteY137" fmla="*/ 4057650 h 4333875"/>
                  <a:gd name="connsiteX138" fmla="*/ 4162425 w 8601075"/>
                  <a:gd name="connsiteY138" fmla="*/ 4248150 h 4333875"/>
                  <a:gd name="connsiteX139" fmla="*/ 4391025 w 8601075"/>
                  <a:gd name="connsiteY139" fmla="*/ 4200525 h 4333875"/>
                  <a:gd name="connsiteX140" fmla="*/ 4410075 w 8601075"/>
                  <a:gd name="connsiteY140" fmla="*/ 4305300 h 4333875"/>
                  <a:gd name="connsiteX141" fmla="*/ 4505325 w 8601075"/>
                  <a:gd name="connsiteY141" fmla="*/ 4276725 h 4333875"/>
                  <a:gd name="connsiteX142" fmla="*/ 4572000 w 8601075"/>
                  <a:gd name="connsiteY142" fmla="*/ 4333875 h 4333875"/>
                  <a:gd name="connsiteX143" fmla="*/ 4591050 w 8601075"/>
                  <a:gd name="connsiteY143" fmla="*/ 4248150 h 4333875"/>
                  <a:gd name="connsiteX144" fmla="*/ 5295900 w 8601075"/>
                  <a:gd name="connsiteY144" fmla="*/ 3924300 h 4333875"/>
                  <a:gd name="connsiteX145" fmla="*/ 5353050 w 8601075"/>
                  <a:gd name="connsiteY145" fmla="*/ 3990975 h 4333875"/>
                  <a:gd name="connsiteX146" fmla="*/ 5524500 w 8601075"/>
                  <a:gd name="connsiteY146" fmla="*/ 3914775 h 4333875"/>
                  <a:gd name="connsiteX147" fmla="*/ 5667375 w 8601075"/>
                  <a:gd name="connsiteY147" fmla="*/ 3962400 h 4333875"/>
                  <a:gd name="connsiteX148" fmla="*/ 5753100 w 8601075"/>
                  <a:gd name="connsiteY148" fmla="*/ 3924300 h 4333875"/>
                  <a:gd name="connsiteX149" fmla="*/ 5905500 w 8601075"/>
                  <a:gd name="connsiteY149" fmla="*/ 3943350 h 4333875"/>
                  <a:gd name="connsiteX150" fmla="*/ 6000750 w 8601075"/>
                  <a:gd name="connsiteY150" fmla="*/ 3800475 h 4333875"/>
                  <a:gd name="connsiteX151" fmla="*/ 6153150 w 8601075"/>
                  <a:gd name="connsiteY151" fmla="*/ 3781425 h 4333875"/>
                  <a:gd name="connsiteX152" fmla="*/ 6257925 w 8601075"/>
                  <a:gd name="connsiteY152" fmla="*/ 3581400 h 4333875"/>
                  <a:gd name="connsiteX153" fmla="*/ 6448425 w 8601075"/>
                  <a:gd name="connsiteY153" fmla="*/ 3448050 h 4333875"/>
                  <a:gd name="connsiteX154" fmla="*/ 6581775 w 8601075"/>
                  <a:gd name="connsiteY154" fmla="*/ 3276600 h 4333875"/>
                  <a:gd name="connsiteX155" fmla="*/ 6496050 w 8601075"/>
                  <a:gd name="connsiteY155" fmla="*/ 3228975 h 4333875"/>
                  <a:gd name="connsiteX156" fmla="*/ 6438900 w 8601075"/>
                  <a:gd name="connsiteY156" fmla="*/ 3162300 h 4333875"/>
                  <a:gd name="connsiteX157" fmla="*/ 6419850 w 8601075"/>
                  <a:gd name="connsiteY157" fmla="*/ 3105150 h 4333875"/>
                  <a:gd name="connsiteX158" fmla="*/ 6362700 w 8601075"/>
                  <a:gd name="connsiteY158" fmla="*/ 3076575 h 4333875"/>
                  <a:gd name="connsiteX159" fmla="*/ 6410325 w 8601075"/>
                  <a:gd name="connsiteY159" fmla="*/ 3019425 h 4333875"/>
                  <a:gd name="connsiteX160" fmla="*/ 6438900 w 8601075"/>
                  <a:gd name="connsiteY160" fmla="*/ 2819400 h 4333875"/>
                  <a:gd name="connsiteX161" fmla="*/ 6496050 w 8601075"/>
                  <a:gd name="connsiteY161" fmla="*/ 2762250 h 4333875"/>
                  <a:gd name="connsiteX162" fmla="*/ 6657975 w 8601075"/>
                  <a:gd name="connsiteY162" fmla="*/ 2752725 h 4333875"/>
                  <a:gd name="connsiteX163" fmla="*/ 6781800 w 8601075"/>
                  <a:gd name="connsiteY163" fmla="*/ 2838450 h 4333875"/>
                  <a:gd name="connsiteX164" fmla="*/ 7010400 w 8601075"/>
                  <a:gd name="connsiteY164" fmla="*/ 2838450 h 4333875"/>
                  <a:gd name="connsiteX165" fmla="*/ 7162800 w 8601075"/>
                  <a:gd name="connsiteY165" fmla="*/ 2705100 h 4333875"/>
                  <a:gd name="connsiteX166" fmla="*/ 7229475 w 8601075"/>
                  <a:gd name="connsiteY166" fmla="*/ 2590800 h 4333875"/>
                  <a:gd name="connsiteX167" fmla="*/ 7248525 w 8601075"/>
                  <a:gd name="connsiteY167" fmla="*/ 2524125 h 4333875"/>
                  <a:gd name="connsiteX168" fmla="*/ 7372350 w 8601075"/>
                  <a:gd name="connsiteY168" fmla="*/ 2543175 h 4333875"/>
                  <a:gd name="connsiteX169" fmla="*/ 7553325 w 8601075"/>
                  <a:gd name="connsiteY169" fmla="*/ 2447925 h 4333875"/>
                  <a:gd name="connsiteX170" fmla="*/ 7620000 w 8601075"/>
                  <a:gd name="connsiteY170" fmla="*/ 2324100 h 4333875"/>
                  <a:gd name="connsiteX171" fmla="*/ 7696200 w 8601075"/>
                  <a:gd name="connsiteY171" fmla="*/ 2314575 h 4333875"/>
                  <a:gd name="connsiteX172" fmla="*/ 7658100 w 8601075"/>
                  <a:gd name="connsiteY172" fmla="*/ 2257425 h 4333875"/>
                  <a:gd name="connsiteX173" fmla="*/ 7753350 w 8601075"/>
                  <a:gd name="connsiteY173" fmla="*/ 2057400 h 4333875"/>
                  <a:gd name="connsiteX174" fmla="*/ 7934325 w 8601075"/>
                  <a:gd name="connsiteY174" fmla="*/ 2028825 h 4333875"/>
                  <a:gd name="connsiteX175" fmla="*/ 7953375 w 8601075"/>
                  <a:gd name="connsiteY175" fmla="*/ 1952625 h 4333875"/>
                  <a:gd name="connsiteX176" fmla="*/ 7953375 w 8601075"/>
                  <a:gd name="connsiteY176" fmla="*/ 1952625 h 4333875"/>
                  <a:gd name="connsiteX177" fmla="*/ 8010525 w 8601075"/>
                  <a:gd name="connsiteY177" fmla="*/ 1895475 h 4333875"/>
                  <a:gd name="connsiteX178" fmla="*/ 8048625 w 8601075"/>
                  <a:gd name="connsiteY178" fmla="*/ 1971675 h 4333875"/>
                  <a:gd name="connsiteX179" fmla="*/ 8077200 w 8601075"/>
                  <a:gd name="connsiteY179" fmla="*/ 1885950 h 4333875"/>
                  <a:gd name="connsiteX180" fmla="*/ 8220075 w 8601075"/>
                  <a:gd name="connsiteY180" fmla="*/ 1847850 h 4333875"/>
                  <a:gd name="connsiteX181" fmla="*/ 8296275 w 8601075"/>
                  <a:gd name="connsiteY181" fmla="*/ 1809750 h 4333875"/>
                  <a:gd name="connsiteX182" fmla="*/ 8324850 w 8601075"/>
                  <a:gd name="connsiteY182" fmla="*/ 1790700 h 4333875"/>
                  <a:gd name="connsiteX183" fmla="*/ 8410575 w 8601075"/>
                  <a:gd name="connsiteY183" fmla="*/ 1847850 h 4333875"/>
                  <a:gd name="connsiteX184" fmla="*/ 8505825 w 8601075"/>
                  <a:gd name="connsiteY184" fmla="*/ 1781175 h 4333875"/>
                  <a:gd name="connsiteX185" fmla="*/ 8572500 w 8601075"/>
                  <a:gd name="connsiteY185" fmla="*/ 1809750 h 4333875"/>
                  <a:gd name="connsiteX186" fmla="*/ 8601075 w 8601075"/>
                  <a:gd name="connsiteY186" fmla="*/ 1704975 h 4333875"/>
                  <a:gd name="connsiteX187" fmla="*/ 8553450 w 8601075"/>
                  <a:gd name="connsiteY187" fmla="*/ 1676400 h 4333875"/>
                  <a:gd name="connsiteX188" fmla="*/ 8534400 w 8601075"/>
                  <a:gd name="connsiteY188" fmla="*/ 1609725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124825 w 8601075"/>
                  <a:gd name="connsiteY192" fmla="*/ 1352550 h 4333875"/>
                  <a:gd name="connsiteX193" fmla="*/ 7924800 w 8601075"/>
                  <a:gd name="connsiteY193" fmla="*/ 1362075 h 4333875"/>
                  <a:gd name="connsiteX194" fmla="*/ 7867650 w 8601075"/>
                  <a:gd name="connsiteY194" fmla="*/ 1457325 h 4333875"/>
                  <a:gd name="connsiteX195" fmla="*/ 7896225 w 8601075"/>
                  <a:gd name="connsiteY195" fmla="*/ 1476375 h 4333875"/>
                  <a:gd name="connsiteX196" fmla="*/ 7858125 w 8601075"/>
                  <a:gd name="connsiteY196" fmla="*/ 1533525 h 4333875"/>
                  <a:gd name="connsiteX197" fmla="*/ 7658100 w 8601075"/>
                  <a:gd name="connsiteY197" fmla="*/ 1447800 h 4333875"/>
                  <a:gd name="connsiteX198" fmla="*/ 7515225 w 8601075"/>
                  <a:gd name="connsiteY198" fmla="*/ 1495425 h 4333875"/>
                  <a:gd name="connsiteX199" fmla="*/ 7467600 w 8601075"/>
                  <a:gd name="connsiteY199" fmla="*/ 1581150 h 4333875"/>
                  <a:gd name="connsiteX200" fmla="*/ 7296150 w 8601075"/>
                  <a:gd name="connsiteY20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10000 w 8601075"/>
                  <a:gd name="connsiteY48" fmla="*/ 514350 h 4333875"/>
                  <a:gd name="connsiteX49" fmla="*/ 3781425 w 8601075"/>
                  <a:gd name="connsiteY49" fmla="*/ 390525 h 4333875"/>
                  <a:gd name="connsiteX50" fmla="*/ 3771900 w 8601075"/>
                  <a:gd name="connsiteY50" fmla="*/ 352425 h 4333875"/>
                  <a:gd name="connsiteX51" fmla="*/ 3600450 w 8601075"/>
                  <a:gd name="connsiteY51" fmla="*/ 285750 h 4333875"/>
                  <a:gd name="connsiteX52" fmla="*/ 3533775 w 8601075"/>
                  <a:gd name="connsiteY52" fmla="*/ 314325 h 4333875"/>
                  <a:gd name="connsiteX53" fmla="*/ 3409950 w 8601075"/>
                  <a:gd name="connsiteY53" fmla="*/ 190500 h 4333875"/>
                  <a:gd name="connsiteX54" fmla="*/ 3257550 w 8601075"/>
                  <a:gd name="connsiteY54" fmla="*/ 180975 h 4333875"/>
                  <a:gd name="connsiteX55" fmla="*/ 3209925 w 8601075"/>
                  <a:gd name="connsiteY55" fmla="*/ 104775 h 4333875"/>
                  <a:gd name="connsiteX56" fmla="*/ 3152775 w 8601075"/>
                  <a:gd name="connsiteY56" fmla="*/ 104775 h 4333875"/>
                  <a:gd name="connsiteX57" fmla="*/ 2990850 w 8601075"/>
                  <a:gd name="connsiteY57" fmla="*/ 0 h 4333875"/>
                  <a:gd name="connsiteX58" fmla="*/ 2933700 w 8601075"/>
                  <a:gd name="connsiteY58" fmla="*/ 114300 h 4333875"/>
                  <a:gd name="connsiteX59" fmla="*/ 2867025 w 8601075"/>
                  <a:gd name="connsiteY59" fmla="*/ 171450 h 4333875"/>
                  <a:gd name="connsiteX60" fmla="*/ 2867025 w 8601075"/>
                  <a:gd name="connsiteY60" fmla="*/ 171450 h 4333875"/>
                  <a:gd name="connsiteX61" fmla="*/ 2800350 w 8601075"/>
                  <a:gd name="connsiteY61" fmla="*/ 257175 h 4333875"/>
                  <a:gd name="connsiteX62" fmla="*/ 2724150 w 8601075"/>
                  <a:gd name="connsiteY62" fmla="*/ 304800 h 4333875"/>
                  <a:gd name="connsiteX63" fmla="*/ 2705100 w 8601075"/>
                  <a:gd name="connsiteY63" fmla="*/ 466725 h 4333875"/>
                  <a:gd name="connsiteX64" fmla="*/ 2762250 w 8601075"/>
                  <a:gd name="connsiteY64" fmla="*/ 571500 h 4333875"/>
                  <a:gd name="connsiteX65" fmla="*/ 2800350 w 8601075"/>
                  <a:gd name="connsiteY65" fmla="*/ 628650 h 4333875"/>
                  <a:gd name="connsiteX66" fmla="*/ 2752725 w 8601075"/>
                  <a:gd name="connsiteY66" fmla="*/ 781050 h 4333875"/>
                  <a:gd name="connsiteX67" fmla="*/ 2686050 w 8601075"/>
                  <a:gd name="connsiteY67" fmla="*/ 857250 h 4333875"/>
                  <a:gd name="connsiteX68" fmla="*/ 2609850 w 8601075"/>
                  <a:gd name="connsiteY68" fmla="*/ 857250 h 4333875"/>
                  <a:gd name="connsiteX69" fmla="*/ 2514600 w 8601075"/>
                  <a:gd name="connsiteY69" fmla="*/ 914400 h 4333875"/>
                  <a:gd name="connsiteX70" fmla="*/ 2400300 w 8601075"/>
                  <a:gd name="connsiteY70" fmla="*/ 866775 h 4333875"/>
                  <a:gd name="connsiteX71" fmla="*/ 2305050 w 8601075"/>
                  <a:gd name="connsiteY71" fmla="*/ 809625 h 4333875"/>
                  <a:gd name="connsiteX72" fmla="*/ 2200275 w 8601075"/>
                  <a:gd name="connsiteY72" fmla="*/ 752475 h 4333875"/>
                  <a:gd name="connsiteX73" fmla="*/ 2105025 w 8601075"/>
                  <a:gd name="connsiteY73" fmla="*/ 762000 h 4333875"/>
                  <a:gd name="connsiteX74" fmla="*/ 1990725 w 8601075"/>
                  <a:gd name="connsiteY74" fmla="*/ 762000 h 4333875"/>
                  <a:gd name="connsiteX75" fmla="*/ 1885950 w 8601075"/>
                  <a:gd name="connsiteY75" fmla="*/ 742950 h 4333875"/>
                  <a:gd name="connsiteX76" fmla="*/ 1800225 w 8601075"/>
                  <a:gd name="connsiteY76" fmla="*/ 638175 h 4333875"/>
                  <a:gd name="connsiteX77" fmla="*/ 1809750 w 8601075"/>
                  <a:gd name="connsiteY77" fmla="*/ 495300 h 4333875"/>
                  <a:gd name="connsiteX78" fmla="*/ 1733550 w 8601075"/>
                  <a:gd name="connsiteY78" fmla="*/ 466725 h 4333875"/>
                  <a:gd name="connsiteX79" fmla="*/ 1485900 w 8601075"/>
                  <a:gd name="connsiteY79" fmla="*/ 419100 h 4333875"/>
                  <a:gd name="connsiteX80" fmla="*/ 1457325 w 8601075"/>
                  <a:gd name="connsiteY80" fmla="*/ 323850 h 4333875"/>
                  <a:gd name="connsiteX81" fmla="*/ 1457325 w 8601075"/>
                  <a:gd name="connsiteY81" fmla="*/ 323850 h 4333875"/>
                  <a:gd name="connsiteX82" fmla="*/ 1323975 w 8601075"/>
                  <a:gd name="connsiteY82" fmla="*/ 285750 h 4333875"/>
                  <a:gd name="connsiteX83" fmla="*/ 1266825 w 8601075"/>
                  <a:gd name="connsiteY83" fmla="*/ 352425 h 4333875"/>
                  <a:gd name="connsiteX84" fmla="*/ 1009650 w 8601075"/>
                  <a:gd name="connsiteY84" fmla="*/ 390525 h 4333875"/>
                  <a:gd name="connsiteX85" fmla="*/ 828675 w 8601075"/>
                  <a:gd name="connsiteY85" fmla="*/ 447675 h 4333875"/>
                  <a:gd name="connsiteX86" fmla="*/ 619125 w 8601075"/>
                  <a:gd name="connsiteY86" fmla="*/ 533400 h 4333875"/>
                  <a:gd name="connsiteX87" fmla="*/ 619125 w 8601075"/>
                  <a:gd name="connsiteY87" fmla="*/ 533400 h 4333875"/>
                  <a:gd name="connsiteX88" fmla="*/ 561975 w 8601075"/>
                  <a:gd name="connsiteY88" fmla="*/ 61912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295275 w 8601075"/>
                  <a:gd name="connsiteY92" fmla="*/ 657225 h 4333875"/>
                  <a:gd name="connsiteX93" fmla="*/ 180975 w 8601075"/>
                  <a:gd name="connsiteY93" fmla="*/ 638175 h 4333875"/>
                  <a:gd name="connsiteX94" fmla="*/ 180975 w 8601075"/>
                  <a:gd name="connsiteY94" fmla="*/ 638175 h 4333875"/>
                  <a:gd name="connsiteX95" fmla="*/ 57150 w 8601075"/>
                  <a:gd name="connsiteY95" fmla="*/ 733425 h 4333875"/>
                  <a:gd name="connsiteX96" fmla="*/ 19050 w 8601075"/>
                  <a:gd name="connsiteY96" fmla="*/ 790575 h 4333875"/>
                  <a:gd name="connsiteX97" fmla="*/ 0 w 8601075"/>
                  <a:gd name="connsiteY97" fmla="*/ 876300 h 4333875"/>
                  <a:gd name="connsiteX98" fmla="*/ 57150 w 8601075"/>
                  <a:gd name="connsiteY98" fmla="*/ 923925 h 4333875"/>
                  <a:gd name="connsiteX99" fmla="*/ 57150 w 8601075"/>
                  <a:gd name="connsiteY99" fmla="*/ 923925 h 4333875"/>
                  <a:gd name="connsiteX100" fmla="*/ 209550 w 8601075"/>
                  <a:gd name="connsiteY100" fmla="*/ 1114425 h 4333875"/>
                  <a:gd name="connsiteX101" fmla="*/ 209550 w 8601075"/>
                  <a:gd name="connsiteY101" fmla="*/ 1114425 h 4333875"/>
                  <a:gd name="connsiteX102" fmla="*/ 266700 w 8601075"/>
                  <a:gd name="connsiteY102" fmla="*/ 1295400 h 4333875"/>
                  <a:gd name="connsiteX103" fmla="*/ 409575 w 8601075"/>
                  <a:gd name="connsiteY103" fmla="*/ 1276350 h 4333875"/>
                  <a:gd name="connsiteX104" fmla="*/ 466725 w 8601075"/>
                  <a:gd name="connsiteY104" fmla="*/ 1362075 h 4333875"/>
                  <a:gd name="connsiteX105" fmla="*/ 542925 w 8601075"/>
                  <a:gd name="connsiteY105" fmla="*/ 1428750 h 4333875"/>
                  <a:gd name="connsiteX106" fmla="*/ 628650 w 8601075"/>
                  <a:gd name="connsiteY106" fmla="*/ 1571625 h 4333875"/>
                  <a:gd name="connsiteX107" fmla="*/ 628650 w 8601075"/>
                  <a:gd name="connsiteY107" fmla="*/ 1704975 h 4333875"/>
                  <a:gd name="connsiteX108" fmla="*/ 676275 w 8601075"/>
                  <a:gd name="connsiteY108" fmla="*/ 1771650 h 4333875"/>
                  <a:gd name="connsiteX109" fmla="*/ 657225 w 8601075"/>
                  <a:gd name="connsiteY109" fmla="*/ 2000250 h 4333875"/>
                  <a:gd name="connsiteX110" fmla="*/ 619125 w 8601075"/>
                  <a:gd name="connsiteY110" fmla="*/ 2095500 h 4333875"/>
                  <a:gd name="connsiteX111" fmla="*/ 542925 w 8601075"/>
                  <a:gd name="connsiteY111" fmla="*/ 2228850 h 4333875"/>
                  <a:gd name="connsiteX112" fmla="*/ 485775 w 8601075"/>
                  <a:gd name="connsiteY112" fmla="*/ 2362200 h 4333875"/>
                  <a:gd name="connsiteX113" fmla="*/ 552450 w 8601075"/>
                  <a:gd name="connsiteY113" fmla="*/ 2486025 h 4333875"/>
                  <a:gd name="connsiteX114" fmla="*/ 771525 w 8601075"/>
                  <a:gd name="connsiteY114" fmla="*/ 2571750 h 4333875"/>
                  <a:gd name="connsiteX115" fmla="*/ 866775 w 8601075"/>
                  <a:gd name="connsiteY115" fmla="*/ 2571750 h 4333875"/>
                  <a:gd name="connsiteX116" fmla="*/ 914400 w 8601075"/>
                  <a:gd name="connsiteY116" fmla="*/ 2638425 h 4333875"/>
                  <a:gd name="connsiteX117" fmla="*/ 1066800 w 8601075"/>
                  <a:gd name="connsiteY117" fmla="*/ 2638425 h 4333875"/>
                  <a:gd name="connsiteX118" fmla="*/ 1285875 w 8601075"/>
                  <a:gd name="connsiteY118" fmla="*/ 2705100 h 4333875"/>
                  <a:gd name="connsiteX119" fmla="*/ 1438275 w 8601075"/>
                  <a:gd name="connsiteY119" fmla="*/ 2838450 h 4333875"/>
                  <a:gd name="connsiteX120" fmla="*/ 1485900 w 8601075"/>
                  <a:gd name="connsiteY120" fmla="*/ 2914650 h 4333875"/>
                  <a:gd name="connsiteX121" fmla="*/ 1657350 w 8601075"/>
                  <a:gd name="connsiteY121" fmla="*/ 3038475 h 4333875"/>
                  <a:gd name="connsiteX122" fmla="*/ 1752600 w 8601075"/>
                  <a:gd name="connsiteY122" fmla="*/ 3057525 h 4333875"/>
                  <a:gd name="connsiteX123" fmla="*/ 1724025 w 8601075"/>
                  <a:gd name="connsiteY123" fmla="*/ 3143250 h 4333875"/>
                  <a:gd name="connsiteX124" fmla="*/ 1724025 w 8601075"/>
                  <a:gd name="connsiteY124" fmla="*/ 3143250 h 4333875"/>
                  <a:gd name="connsiteX125" fmla="*/ 1781175 w 8601075"/>
                  <a:gd name="connsiteY125" fmla="*/ 3181350 h 4333875"/>
                  <a:gd name="connsiteX126" fmla="*/ 1819275 w 8601075"/>
                  <a:gd name="connsiteY126" fmla="*/ 3362325 h 4333875"/>
                  <a:gd name="connsiteX127" fmla="*/ 1828800 w 8601075"/>
                  <a:gd name="connsiteY127" fmla="*/ 3457575 h 4333875"/>
                  <a:gd name="connsiteX128" fmla="*/ 1971675 w 8601075"/>
                  <a:gd name="connsiteY128" fmla="*/ 3590925 h 4333875"/>
                  <a:gd name="connsiteX129" fmla="*/ 1990725 w 8601075"/>
                  <a:gd name="connsiteY129" fmla="*/ 3714750 h 4333875"/>
                  <a:gd name="connsiteX130" fmla="*/ 2200275 w 8601075"/>
                  <a:gd name="connsiteY130" fmla="*/ 3695700 h 4333875"/>
                  <a:gd name="connsiteX131" fmla="*/ 2886075 w 8601075"/>
                  <a:gd name="connsiteY131" fmla="*/ 3886200 h 4333875"/>
                  <a:gd name="connsiteX132" fmla="*/ 3038475 w 8601075"/>
                  <a:gd name="connsiteY132" fmla="*/ 3819525 h 4333875"/>
                  <a:gd name="connsiteX133" fmla="*/ 3105150 w 8601075"/>
                  <a:gd name="connsiteY133" fmla="*/ 3867150 h 4333875"/>
                  <a:gd name="connsiteX134" fmla="*/ 3181350 w 8601075"/>
                  <a:gd name="connsiteY134" fmla="*/ 3800475 h 4333875"/>
                  <a:gd name="connsiteX135" fmla="*/ 3590925 w 8601075"/>
                  <a:gd name="connsiteY135" fmla="*/ 3943350 h 4333875"/>
                  <a:gd name="connsiteX136" fmla="*/ 3686175 w 8601075"/>
                  <a:gd name="connsiteY136" fmla="*/ 4057650 h 4333875"/>
                  <a:gd name="connsiteX137" fmla="*/ 3838575 w 8601075"/>
                  <a:gd name="connsiteY137" fmla="*/ 4057650 h 4333875"/>
                  <a:gd name="connsiteX138" fmla="*/ 4162425 w 8601075"/>
                  <a:gd name="connsiteY138" fmla="*/ 4248150 h 4333875"/>
                  <a:gd name="connsiteX139" fmla="*/ 4391025 w 8601075"/>
                  <a:gd name="connsiteY139" fmla="*/ 4200525 h 4333875"/>
                  <a:gd name="connsiteX140" fmla="*/ 4410075 w 8601075"/>
                  <a:gd name="connsiteY140" fmla="*/ 4305300 h 4333875"/>
                  <a:gd name="connsiteX141" fmla="*/ 4505325 w 8601075"/>
                  <a:gd name="connsiteY141" fmla="*/ 4276725 h 4333875"/>
                  <a:gd name="connsiteX142" fmla="*/ 4572000 w 8601075"/>
                  <a:gd name="connsiteY142" fmla="*/ 4333875 h 4333875"/>
                  <a:gd name="connsiteX143" fmla="*/ 4591050 w 8601075"/>
                  <a:gd name="connsiteY143" fmla="*/ 4248150 h 4333875"/>
                  <a:gd name="connsiteX144" fmla="*/ 5295900 w 8601075"/>
                  <a:gd name="connsiteY144" fmla="*/ 3924300 h 4333875"/>
                  <a:gd name="connsiteX145" fmla="*/ 5353050 w 8601075"/>
                  <a:gd name="connsiteY145" fmla="*/ 3990975 h 4333875"/>
                  <a:gd name="connsiteX146" fmla="*/ 5524500 w 8601075"/>
                  <a:gd name="connsiteY146" fmla="*/ 3914775 h 4333875"/>
                  <a:gd name="connsiteX147" fmla="*/ 5667375 w 8601075"/>
                  <a:gd name="connsiteY147" fmla="*/ 3962400 h 4333875"/>
                  <a:gd name="connsiteX148" fmla="*/ 5753100 w 8601075"/>
                  <a:gd name="connsiteY148" fmla="*/ 3924300 h 4333875"/>
                  <a:gd name="connsiteX149" fmla="*/ 5905500 w 8601075"/>
                  <a:gd name="connsiteY149" fmla="*/ 3943350 h 4333875"/>
                  <a:gd name="connsiteX150" fmla="*/ 6000750 w 8601075"/>
                  <a:gd name="connsiteY150" fmla="*/ 3800475 h 4333875"/>
                  <a:gd name="connsiteX151" fmla="*/ 6153150 w 8601075"/>
                  <a:gd name="connsiteY151" fmla="*/ 3781425 h 4333875"/>
                  <a:gd name="connsiteX152" fmla="*/ 6257925 w 8601075"/>
                  <a:gd name="connsiteY152" fmla="*/ 3581400 h 4333875"/>
                  <a:gd name="connsiteX153" fmla="*/ 6448425 w 8601075"/>
                  <a:gd name="connsiteY153" fmla="*/ 3448050 h 4333875"/>
                  <a:gd name="connsiteX154" fmla="*/ 6581775 w 8601075"/>
                  <a:gd name="connsiteY154" fmla="*/ 3276600 h 4333875"/>
                  <a:gd name="connsiteX155" fmla="*/ 6496050 w 8601075"/>
                  <a:gd name="connsiteY155" fmla="*/ 3228975 h 4333875"/>
                  <a:gd name="connsiteX156" fmla="*/ 6438900 w 8601075"/>
                  <a:gd name="connsiteY156" fmla="*/ 3162300 h 4333875"/>
                  <a:gd name="connsiteX157" fmla="*/ 6419850 w 8601075"/>
                  <a:gd name="connsiteY157" fmla="*/ 3105150 h 4333875"/>
                  <a:gd name="connsiteX158" fmla="*/ 6362700 w 8601075"/>
                  <a:gd name="connsiteY158" fmla="*/ 3076575 h 4333875"/>
                  <a:gd name="connsiteX159" fmla="*/ 6410325 w 8601075"/>
                  <a:gd name="connsiteY159" fmla="*/ 3019425 h 4333875"/>
                  <a:gd name="connsiteX160" fmla="*/ 6438900 w 8601075"/>
                  <a:gd name="connsiteY160" fmla="*/ 2819400 h 4333875"/>
                  <a:gd name="connsiteX161" fmla="*/ 6496050 w 8601075"/>
                  <a:gd name="connsiteY161" fmla="*/ 2762250 h 4333875"/>
                  <a:gd name="connsiteX162" fmla="*/ 6657975 w 8601075"/>
                  <a:gd name="connsiteY162" fmla="*/ 2752725 h 4333875"/>
                  <a:gd name="connsiteX163" fmla="*/ 6781800 w 8601075"/>
                  <a:gd name="connsiteY163" fmla="*/ 2838450 h 4333875"/>
                  <a:gd name="connsiteX164" fmla="*/ 7010400 w 8601075"/>
                  <a:gd name="connsiteY164" fmla="*/ 2838450 h 4333875"/>
                  <a:gd name="connsiteX165" fmla="*/ 7162800 w 8601075"/>
                  <a:gd name="connsiteY165" fmla="*/ 2705100 h 4333875"/>
                  <a:gd name="connsiteX166" fmla="*/ 7229475 w 8601075"/>
                  <a:gd name="connsiteY166" fmla="*/ 2590800 h 4333875"/>
                  <a:gd name="connsiteX167" fmla="*/ 7248525 w 8601075"/>
                  <a:gd name="connsiteY167" fmla="*/ 2524125 h 4333875"/>
                  <a:gd name="connsiteX168" fmla="*/ 7372350 w 8601075"/>
                  <a:gd name="connsiteY168" fmla="*/ 2543175 h 4333875"/>
                  <a:gd name="connsiteX169" fmla="*/ 7553325 w 8601075"/>
                  <a:gd name="connsiteY169" fmla="*/ 2447925 h 4333875"/>
                  <a:gd name="connsiteX170" fmla="*/ 7620000 w 8601075"/>
                  <a:gd name="connsiteY170" fmla="*/ 2324100 h 4333875"/>
                  <a:gd name="connsiteX171" fmla="*/ 7696200 w 8601075"/>
                  <a:gd name="connsiteY171" fmla="*/ 2314575 h 4333875"/>
                  <a:gd name="connsiteX172" fmla="*/ 7658100 w 8601075"/>
                  <a:gd name="connsiteY172" fmla="*/ 2257425 h 4333875"/>
                  <a:gd name="connsiteX173" fmla="*/ 7753350 w 8601075"/>
                  <a:gd name="connsiteY173" fmla="*/ 2057400 h 4333875"/>
                  <a:gd name="connsiteX174" fmla="*/ 7934325 w 8601075"/>
                  <a:gd name="connsiteY174" fmla="*/ 2028825 h 4333875"/>
                  <a:gd name="connsiteX175" fmla="*/ 7953375 w 8601075"/>
                  <a:gd name="connsiteY175" fmla="*/ 1952625 h 4333875"/>
                  <a:gd name="connsiteX176" fmla="*/ 7953375 w 8601075"/>
                  <a:gd name="connsiteY176" fmla="*/ 1952625 h 4333875"/>
                  <a:gd name="connsiteX177" fmla="*/ 8010525 w 8601075"/>
                  <a:gd name="connsiteY177" fmla="*/ 1895475 h 4333875"/>
                  <a:gd name="connsiteX178" fmla="*/ 8048625 w 8601075"/>
                  <a:gd name="connsiteY178" fmla="*/ 1971675 h 4333875"/>
                  <a:gd name="connsiteX179" fmla="*/ 8077200 w 8601075"/>
                  <a:gd name="connsiteY179" fmla="*/ 1885950 h 4333875"/>
                  <a:gd name="connsiteX180" fmla="*/ 8220075 w 8601075"/>
                  <a:gd name="connsiteY180" fmla="*/ 1847850 h 4333875"/>
                  <a:gd name="connsiteX181" fmla="*/ 8296275 w 8601075"/>
                  <a:gd name="connsiteY181" fmla="*/ 1809750 h 4333875"/>
                  <a:gd name="connsiteX182" fmla="*/ 8324850 w 8601075"/>
                  <a:gd name="connsiteY182" fmla="*/ 1790700 h 4333875"/>
                  <a:gd name="connsiteX183" fmla="*/ 8410575 w 8601075"/>
                  <a:gd name="connsiteY183" fmla="*/ 1847850 h 4333875"/>
                  <a:gd name="connsiteX184" fmla="*/ 8505825 w 8601075"/>
                  <a:gd name="connsiteY184" fmla="*/ 1781175 h 4333875"/>
                  <a:gd name="connsiteX185" fmla="*/ 8572500 w 8601075"/>
                  <a:gd name="connsiteY185" fmla="*/ 1809750 h 4333875"/>
                  <a:gd name="connsiteX186" fmla="*/ 8601075 w 8601075"/>
                  <a:gd name="connsiteY186" fmla="*/ 1704975 h 4333875"/>
                  <a:gd name="connsiteX187" fmla="*/ 8553450 w 8601075"/>
                  <a:gd name="connsiteY187" fmla="*/ 1676400 h 4333875"/>
                  <a:gd name="connsiteX188" fmla="*/ 8534400 w 8601075"/>
                  <a:gd name="connsiteY188" fmla="*/ 1609725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124825 w 8601075"/>
                  <a:gd name="connsiteY192" fmla="*/ 1352550 h 4333875"/>
                  <a:gd name="connsiteX193" fmla="*/ 7924800 w 8601075"/>
                  <a:gd name="connsiteY193" fmla="*/ 1362075 h 4333875"/>
                  <a:gd name="connsiteX194" fmla="*/ 7867650 w 8601075"/>
                  <a:gd name="connsiteY194" fmla="*/ 1457325 h 4333875"/>
                  <a:gd name="connsiteX195" fmla="*/ 7896225 w 8601075"/>
                  <a:gd name="connsiteY195" fmla="*/ 1476375 h 4333875"/>
                  <a:gd name="connsiteX196" fmla="*/ 7858125 w 8601075"/>
                  <a:gd name="connsiteY196" fmla="*/ 1533525 h 4333875"/>
                  <a:gd name="connsiteX197" fmla="*/ 7658100 w 8601075"/>
                  <a:gd name="connsiteY197" fmla="*/ 1447800 h 4333875"/>
                  <a:gd name="connsiteX198" fmla="*/ 7515225 w 8601075"/>
                  <a:gd name="connsiteY198" fmla="*/ 1495425 h 4333875"/>
                  <a:gd name="connsiteX199" fmla="*/ 7467600 w 8601075"/>
                  <a:gd name="connsiteY199" fmla="*/ 1581150 h 4333875"/>
                  <a:gd name="connsiteX200" fmla="*/ 7296150 w 8601075"/>
                  <a:gd name="connsiteY20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0000 w 8601075"/>
                  <a:gd name="connsiteY49" fmla="*/ 514350 h 4333875"/>
                  <a:gd name="connsiteX50" fmla="*/ 3781425 w 8601075"/>
                  <a:gd name="connsiteY50" fmla="*/ 390525 h 4333875"/>
                  <a:gd name="connsiteX51" fmla="*/ 3771900 w 8601075"/>
                  <a:gd name="connsiteY51" fmla="*/ 352425 h 4333875"/>
                  <a:gd name="connsiteX52" fmla="*/ 3600450 w 8601075"/>
                  <a:gd name="connsiteY52" fmla="*/ 285750 h 4333875"/>
                  <a:gd name="connsiteX53" fmla="*/ 3533775 w 8601075"/>
                  <a:gd name="connsiteY53" fmla="*/ 314325 h 4333875"/>
                  <a:gd name="connsiteX54" fmla="*/ 3409950 w 8601075"/>
                  <a:gd name="connsiteY54" fmla="*/ 190500 h 4333875"/>
                  <a:gd name="connsiteX55" fmla="*/ 3257550 w 8601075"/>
                  <a:gd name="connsiteY55" fmla="*/ 180975 h 4333875"/>
                  <a:gd name="connsiteX56" fmla="*/ 3209925 w 8601075"/>
                  <a:gd name="connsiteY56" fmla="*/ 104775 h 4333875"/>
                  <a:gd name="connsiteX57" fmla="*/ 3152775 w 8601075"/>
                  <a:gd name="connsiteY57" fmla="*/ 104775 h 4333875"/>
                  <a:gd name="connsiteX58" fmla="*/ 2990850 w 8601075"/>
                  <a:gd name="connsiteY58" fmla="*/ 0 h 4333875"/>
                  <a:gd name="connsiteX59" fmla="*/ 2933700 w 8601075"/>
                  <a:gd name="connsiteY59" fmla="*/ 114300 h 4333875"/>
                  <a:gd name="connsiteX60" fmla="*/ 2867025 w 8601075"/>
                  <a:gd name="connsiteY60" fmla="*/ 171450 h 4333875"/>
                  <a:gd name="connsiteX61" fmla="*/ 2867025 w 8601075"/>
                  <a:gd name="connsiteY61" fmla="*/ 171450 h 4333875"/>
                  <a:gd name="connsiteX62" fmla="*/ 2800350 w 8601075"/>
                  <a:gd name="connsiteY62" fmla="*/ 257175 h 4333875"/>
                  <a:gd name="connsiteX63" fmla="*/ 2724150 w 8601075"/>
                  <a:gd name="connsiteY63" fmla="*/ 304800 h 4333875"/>
                  <a:gd name="connsiteX64" fmla="*/ 2705100 w 8601075"/>
                  <a:gd name="connsiteY64" fmla="*/ 466725 h 4333875"/>
                  <a:gd name="connsiteX65" fmla="*/ 2762250 w 8601075"/>
                  <a:gd name="connsiteY65" fmla="*/ 571500 h 4333875"/>
                  <a:gd name="connsiteX66" fmla="*/ 2800350 w 8601075"/>
                  <a:gd name="connsiteY66" fmla="*/ 628650 h 4333875"/>
                  <a:gd name="connsiteX67" fmla="*/ 2752725 w 8601075"/>
                  <a:gd name="connsiteY67" fmla="*/ 781050 h 4333875"/>
                  <a:gd name="connsiteX68" fmla="*/ 2686050 w 8601075"/>
                  <a:gd name="connsiteY68" fmla="*/ 857250 h 4333875"/>
                  <a:gd name="connsiteX69" fmla="*/ 2609850 w 8601075"/>
                  <a:gd name="connsiteY69" fmla="*/ 857250 h 4333875"/>
                  <a:gd name="connsiteX70" fmla="*/ 2514600 w 8601075"/>
                  <a:gd name="connsiteY70" fmla="*/ 914400 h 4333875"/>
                  <a:gd name="connsiteX71" fmla="*/ 2400300 w 8601075"/>
                  <a:gd name="connsiteY71" fmla="*/ 866775 h 4333875"/>
                  <a:gd name="connsiteX72" fmla="*/ 2305050 w 8601075"/>
                  <a:gd name="connsiteY72" fmla="*/ 809625 h 4333875"/>
                  <a:gd name="connsiteX73" fmla="*/ 2200275 w 8601075"/>
                  <a:gd name="connsiteY73" fmla="*/ 752475 h 4333875"/>
                  <a:gd name="connsiteX74" fmla="*/ 2105025 w 8601075"/>
                  <a:gd name="connsiteY74" fmla="*/ 762000 h 4333875"/>
                  <a:gd name="connsiteX75" fmla="*/ 1990725 w 8601075"/>
                  <a:gd name="connsiteY75" fmla="*/ 762000 h 4333875"/>
                  <a:gd name="connsiteX76" fmla="*/ 1885950 w 8601075"/>
                  <a:gd name="connsiteY76" fmla="*/ 742950 h 4333875"/>
                  <a:gd name="connsiteX77" fmla="*/ 1800225 w 8601075"/>
                  <a:gd name="connsiteY77" fmla="*/ 638175 h 4333875"/>
                  <a:gd name="connsiteX78" fmla="*/ 1809750 w 8601075"/>
                  <a:gd name="connsiteY78" fmla="*/ 495300 h 4333875"/>
                  <a:gd name="connsiteX79" fmla="*/ 1733550 w 8601075"/>
                  <a:gd name="connsiteY79" fmla="*/ 466725 h 4333875"/>
                  <a:gd name="connsiteX80" fmla="*/ 1485900 w 8601075"/>
                  <a:gd name="connsiteY80" fmla="*/ 419100 h 4333875"/>
                  <a:gd name="connsiteX81" fmla="*/ 1457325 w 8601075"/>
                  <a:gd name="connsiteY81" fmla="*/ 323850 h 4333875"/>
                  <a:gd name="connsiteX82" fmla="*/ 1457325 w 8601075"/>
                  <a:gd name="connsiteY82" fmla="*/ 323850 h 4333875"/>
                  <a:gd name="connsiteX83" fmla="*/ 1323975 w 8601075"/>
                  <a:gd name="connsiteY83" fmla="*/ 285750 h 4333875"/>
                  <a:gd name="connsiteX84" fmla="*/ 1266825 w 8601075"/>
                  <a:gd name="connsiteY84" fmla="*/ 352425 h 4333875"/>
                  <a:gd name="connsiteX85" fmla="*/ 1009650 w 8601075"/>
                  <a:gd name="connsiteY85" fmla="*/ 390525 h 4333875"/>
                  <a:gd name="connsiteX86" fmla="*/ 828675 w 8601075"/>
                  <a:gd name="connsiteY86" fmla="*/ 447675 h 4333875"/>
                  <a:gd name="connsiteX87" fmla="*/ 619125 w 8601075"/>
                  <a:gd name="connsiteY87" fmla="*/ 533400 h 4333875"/>
                  <a:gd name="connsiteX88" fmla="*/ 619125 w 8601075"/>
                  <a:gd name="connsiteY88" fmla="*/ 533400 h 4333875"/>
                  <a:gd name="connsiteX89" fmla="*/ 561975 w 8601075"/>
                  <a:gd name="connsiteY89" fmla="*/ 61912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295275 w 8601075"/>
                  <a:gd name="connsiteY93" fmla="*/ 657225 h 4333875"/>
                  <a:gd name="connsiteX94" fmla="*/ 180975 w 8601075"/>
                  <a:gd name="connsiteY94" fmla="*/ 638175 h 4333875"/>
                  <a:gd name="connsiteX95" fmla="*/ 180975 w 8601075"/>
                  <a:gd name="connsiteY95" fmla="*/ 638175 h 4333875"/>
                  <a:gd name="connsiteX96" fmla="*/ 57150 w 8601075"/>
                  <a:gd name="connsiteY96" fmla="*/ 733425 h 4333875"/>
                  <a:gd name="connsiteX97" fmla="*/ 19050 w 8601075"/>
                  <a:gd name="connsiteY97" fmla="*/ 790575 h 4333875"/>
                  <a:gd name="connsiteX98" fmla="*/ 0 w 8601075"/>
                  <a:gd name="connsiteY98" fmla="*/ 876300 h 4333875"/>
                  <a:gd name="connsiteX99" fmla="*/ 57150 w 8601075"/>
                  <a:gd name="connsiteY99" fmla="*/ 923925 h 4333875"/>
                  <a:gd name="connsiteX100" fmla="*/ 57150 w 8601075"/>
                  <a:gd name="connsiteY100" fmla="*/ 923925 h 4333875"/>
                  <a:gd name="connsiteX101" fmla="*/ 209550 w 8601075"/>
                  <a:gd name="connsiteY101" fmla="*/ 1114425 h 4333875"/>
                  <a:gd name="connsiteX102" fmla="*/ 209550 w 8601075"/>
                  <a:gd name="connsiteY102" fmla="*/ 1114425 h 4333875"/>
                  <a:gd name="connsiteX103" fmla="*/ 266700 w 8601075"/>
                  <a:gd name="connsiteY103" fmla="*/ 1295400 h 4333875"/>
                  <a:gd name="connsiteX104" fmla="*/ 409575 w 8601075"/>
                  <a:gd name="connsiteY104" fmla="*/ 1276350 h 4333875"/>
                  <a:gd name="connsiteX105" fmla="*/ 466725 w 8601075"/>
                  <a:gd name="connsiteY105" fmla="*/ 1362075 h 4333875"/>
                  <a:gd name="connsiteX106" fmla="*/ 542925 w 8601075"/>
                  <a:gd name="connsiteY106" fmla="*/ 1428750 h 4333875"/>
                  <a:gd name="connsiteX107" fmla="*/ 628650 w 8601075"/>
                  <a:gd name="connsiteY107" fmla="*/ 1571625 h 4333875"/>
                  <a:gd name="connsiteX108" fmla="*/ 628650 w 8601075"/>
                  <a:gd name="connsiteY108" fmla="*/ 1704975 h 4333875"/>
                  <a:gd name="connsiteX109" fmla="*/ 676275 w 8601075"/>
                  <a:gd name="connsiteY109" fmla="*/ 1771650 h 4333875"/>
                  <a:gd name="connsiteX110" fmla="*/ 657225 w 8601075"/>
                  <a:gd name="connsiteY110" fmla="*/ 2000250 h 4333875"/>
                  <a:gd name="connsiteX111" fmla="*/ 619125 w 8601075"/>
                  <a:gd name="connsiteY111" fmla="*/ 2095500 h 4333875"/>
                  <a:gd name="connsiteX112" fmla="*/ 542925 w 8601075"/>
                  <a:gd name="connsiteY112" fmla="*/ 2228850 h 4333875"/>
                  <a:gd name="connsiteX113" fmla="*/ 485775 w 8601075"/>
                  <a:gd name="connsiteY113" fmla="*/ 2362200 h 4333875"/>
                  <a:gd name="connsiteX114" fmla="*/ 552450 w 8601075"/>
                  <a:gd name="connsiteY114" fmla="*/ 2486025 h 4333875"/>
                  <a:gd name="connsiteX115" fmla="*/ 771525 w 8601075"/>
                  <a:gd name="connsiteY115" fmla="*/ 2571750 h 4333875"/>
                  <a:gd name="connsiteX116" fmla="*/ 866775 w 8601075"/>
                  <a:gd name="connsiteY116" fmla="*/ 2571750 h 4333875"/>
                  <a:gd name="connsiteX117" fmla="*/ 914400 w 8601075"/>
                  <a:gd name="connsiteY117" fmla="*/ 2638425 h 4333875"/>
                  <a:gd name="connsiteX118" fmla="*/ 1066800 w 8601075"/>
                  <a:gd name="connsiteY118" fmla="*/ 2638425 h 4333875"/>
                  <a:gd name="connsiteX119" fmla="*/ 1285875 w 8601075"/>
                  <a:gd name="connsiteY119" fmla="*/ 2705100 h 4333875"/>
                  <a:gd name="connsiteX120" fmla="*/ 1438275 w 8601075"/>
                  <a:gd name="connsiteY120" fmla="*/ 2838450 h 4333875"/>
                  <a:gd name="connsiteX121" fmla="*/ 1485900 w 8601075"/>
                  <a:gd name="connsiteY121" fmla="*/ 2914650 h 4333875"/>
                  <a:gd name="connsiteX122" fmla="*/ 1657350 w 8601075"/>
                  <a:gd name="connsiteY122" fmla="*/ 3038475 h 4333875"/>
                  <a:gd name="connsiteX123" fmla="*/ 1752600 w 8601075"/>
                  <a:gd name="connsiteY123" fmla="*/ 3057525 h 4333875"/>
                  <a:gd name="connsiteX124" fmla="*/ 1724025 w 8601075"/>
                  <a:gd name="connsiteY124" fmla="*/ 3143250 h 4333875"/>
                  <a:gd name="connsiteX125" fmla="*/ 1724025 w 8601075"/>
                  <a:gd name="connsiteY125" fmla="*/ 3143250 h 4333875"/>
                  <a:gd name="connsiteX126" fmla="*/ 1781175 w 8601075"/>
                  <a:gd name="connsiteY126" fmla="*/ 3181350 h 4333875"/>
                  <a:gd name="connsiteX127" fmla="*/ 1819275 w 8601075"/>
                  <a:gd name="connsiteY127" fmla="*/ 3362325 h 4333875"/>
                  <a:gd name="connsiteX128" fmla="*/ 1828800 w 8601075"/>
                  <a:gd name="connsiteY128" fmla="*/ 3457575 h 4333875"/>
                  <a:gd name="connsiteX129" fmla="*/ 1971675 w 8601075"/>
                  <a:gd name="connsiteY129" fmla="*/ 3590925 h 4333875"/>
                  <a:gd name="connsiteX130" fmla="*/ 1990725 w 8601075"/>
                  <a:gd name="connsiteY130" fmla="*/ 3714750 h 4333875"/>
                  <a:gd name="connsiteX131" fmla="*/ 2200275 w 8601075"/>
                  <a:gd name="connsiteY131" fmla="*/ 3695700 h 4333875"/>
                  <a:gd name="connsiteX132" fmla="*/ 2886075 w 8601075"/>
                  <a:gd name="connsiteY132" fmla="*/ 3886200 h 4333875"/>
                  <a:gd name="connsiteX133" fmla="*/ 3038475 w 8601075"/>
                  <a:gd name="connsiteY133" fmla="*/ 3819525 h 4333875"/>
                  <a:gd name="connsiteX134" fmla="*/ 3105150 w 8601075"/>
                  <a:gd name="connsiteY134" fmla="*/ 3867150 h 4333875"/>
                  <a:gd name="connsiteX135" fmla="*/ 3181350 w 8601075"/>
                  <a:gd name="connsiteY135" fmla="*/ 3800475 h 4333875"/>
                  <a:gd name="connsiteX136" fmla="*/ 3590925 w 8601075"/>
                  <a:gd name="connsiteY136" fmla="*/ 3943350 h 4333875"/>
                  <a:gd name="connsiteX137" fmla="*/ 3686175 w 8601075"/>
                  <a:gd name="connsiteY137" fmla="*/ 4057650 h 4333875"/>
                  <a:gd name="connsiteX138" fmla="*/ 3838575 w 8601075"/>
                  <a:gd name="connsiteY138" fmla="*/ 4057650 h 4333875"/>
                  <a:gd name="connsiteX139" fmla="*/ 4162425 w 8601075"/>
                  <a:gd name="connsiteY139" fmla="*/ 4248150 h 4333875"/>
                  <a:gd name="connsiteX140" fmla="*/ 4391025 w 8601075"/>
                  <a:gd name="connsiteY140" fmla="*/ 4200525 h 4333875"/>
                  <a:gd name="connsiteX141" fmla="*/ 4410075 w 8601075"/>
                  <a:gd name="connsiteY141" fmla="*/ 4305300 h 4333875"/>
                  <a:gd name="connsiteX142" fmla="*/ 4505325 w 8601075"/>
                  <a:gd name="connsiteY142" fmla="*/ 4276725 h 4333875"/>
                  <a:gd name="connsiteX143" fmla="*/ 4572000 w 8601075"/>
                  <a:gd name="connsiteY143" fmla="*/ 4333875 h 4333875"/>
                  <a:gd name="connsiteX144" fmla="*/ 4591050 w 8601075"/>
                  <a:gd name="connsiteY144" fmla="*/ 4248150 h 4333875"/>
                  <a:gd name="connsiteX145" fmla="*/ 5295900 w 8601075"/>
                  <a:gd name="connsiteY145" fmla="*/ 3924300 h 4333875"/>
                  <a:gd name="connsiteX146" fmla="*/ 5353050 w 8601075"/>
                  <a:gd name="connsiteY146" fmla="*/ 3990975 h 4333875"/>
                  <a:gd name="connsiteX147" fmla="*/ 5524500 w 8601075"/>
                  <a:gd name="connsiteY147" fmla="*/ 3914775 h 4333875"/>
                  <a:gd name="connsiteX148" fmla="*/ 5667375 w 8601075"/>
                  <a:gd name="connsiteY148" fmla="*/ 3962400 h 4333875"/>
                  <a:gd name="connsiteX149" fmla="*/ 5753100 w 8601075"/>
                  <a:gd name="connsiteY149" fmla="*/ 3924300 h 4333875"/>
                  <a:gd name="connsiteX150" fmla="*/ 5905500 w 8601075"/>
                  <a:gd name="connsiteY150" fmla="*/ 3943350 h 4333875"/>
                  <a:gd name="connsiteX151" fmla="*/ 6000750 w 8601075"/>
                  <a:gd name="connsiteY151" fmla="*/ 3800475 h 4333875"/>
                  <a:gd name="connsiteX152" fmla="*/ 6153150 w 8601075"/>
                  <a:gd name="connsiteY152" fmla="*/ 3781425 h 4333875"/>
                  <a:gd name="connsiteX153" fmla="*/ 6257925 w 8601075"/>
                  <a:gd name="connsiteY153" fmla="*/ 3581400 h 4333875"/>
                  <a:gd name="connsiteX154" fmla="*/ 6448425 w 8601075"/>
                  <a:gd name="connsiteY154" fmla="*/ 3448050 h 4333875"/>
                  <a:gd name="connsiteX155" fmla="*/ 6581775 w 8601075"/>
                  <a:gd name="connsiteY155" fmla="*/ 3276600 h 4333875"/>
                  <a:gd name="connsiteX156" fmla="*/ 6496050 w 8601075"/>
                  <a:gd name="connsiteY156" fmla="*/ 3228975 h 4333875"/>
                  <a:gd name="connsiteX157" fmla="*/ 6438900 w 8601075"/>
                  <a:gd name="connsiteY157" fmla="*/ 3162300 h 4333875"/>
                  <a:gd name="connsiteX158" fmla="*/ 6419850 w 8601075"/>
                  <a:gd name="connsiteY158" fmla="*/ 3105150 h 4333875"/>
                  <a:gd name="connsiteX159" fmla="*/ 6362700 w 8601075"/>
                  <a:gd name="connsiteY159" fmla="*/ 3076575 h 4333875"/>
                  <a:gd name="connsiteX160" fmla="*/ 6410325 w 8601075"/>
                  <a:gd name="connsiteY160" fmla="*/ 3019425 h 4333875"/>
                  <a:gd name="connsiteX161" fmla="*/ 6438900 w 8601075"/>
                  <a:gd name="connsiteY161" fmla="*/ 2819400 h 4333875"/>
                  <a:gd name="connsiteX162" fmla="*/ 6496050 w 8601075"/>
                  <a:gd name="connsiteY162" fmla="*/ 2762250 h 4333875"/>
                  <a:gd name="connsiteX163" fmla="*/ 6657975 w 8601075"/>
                  <a:gd name="connsiteY163" fmla="*/ 2752725 h 4333875"/>
                  <a:gd name="connsiteX164" fmla="*/ 6781800 w 8601075"/>
                  <a:gd name="connsiteY164" fmla="*/ 2838450 h 4333875"/>
                  <a:gd name="connsiteX165" fmla="*/ 7010400 w 8601075"/>
                  <a:gd name="connsiteY165" fmla="*/ 2838450 h 4333875"/>
                  <a:gd name="connsiteX166" fmla="*/ 7162800 w 8601075"/>
                  <a:gd name="connsiteY166" fmla="*/ 2705100 h 4333875"/>
                  <a:gd name="connsiteX167" fmla="*/ 7229475 w 8601075"/>
                  <a:gd name="connsiteY167" fmla="*/ 2590800 h 4333875"/>
                  <a:gd name="connsiteX168" fmla="*/ 7248525 w 8601075"/>
                  <a:gd name="connsiteY168" fmla="*/ 2524125 h 4333875"/>
                  <a:gd name="connsiteX169" fmla="*/ 7372350 w 8601075"/>
                  <a:gd name="connsiteY169" fmla="*/ 2543175 h 4333875"/>
                  <a:gd name="connsiteX170" fmla="*/ 7553325 w 8601075"/>
                  <a:gd name="connsiteY170" fmla="*/ 2447925 h 4333875"/>
                  <a:gd name="connsiteX171" fmla="*/ 7620000 w 8601075"/>
                  <a:gd name="connsiteY171" fmla="*/ 2324100 h 4333875"/>
                  <a:gd name="connsiteX172" fmla="*/ 7696200 w 8601075"/>
                  <a:gd name="connsiteY172" fmla="*/ 2314575 h 4333875"/>
                  <a:gd name="connsiteX173" fmla="*/ 7658100 w 8601075"/>
                  <a:gd name="connsiteY173" fmla="*/ 2257425 h 4333875"/>
                  <a:gd name="connsiteX174" fmla="*/ 7753350 w 8601075"/>
                  <a:gd name="connsiteY174" fmla="*/ 2057400 h 4333875"/>
                  <a:gd name="connsiteX175" fmla="*/ 7934325 w 8601075"/>
                  <a:gd name="connsiteY175" fmla="*/ 2028825 h 4333875"/>
                  <a:gd name="connsiteX176" fmla="*/ 7953375 w 8601075"/>
                  <a:gd name="connsiteY176" fmla="*/ 1952625 h 4333875"/>
                  <a:gd name="connsiteX177" fmla="*/ 7953375 w 8601075"/>
                  <a:gd name="connsiteY177" fmla="*/ 1952625 h 4333875"/>
                  <a:gd name="connsiteX178" fmla="*/ 8010525 w 8601075"/>
                  <a:gd name="connsiteY178" fmla="*/ 1895475 h 4333875"/>
                  <a:gd name="connsiteX179" fmla="*/ 8048625 w 8601075"/>
                  <a:gd name="connsiteY179" fmla="*/ 1971675 h 4333875"/>
                  <a:gd name="connsiteX180" fmla="*/ 8077200 w 8601075"/>
                  <a:gd name="connsiteY180" fmla="*/ 1885950 h 4333875"/>
                  <a:gd name="connsiteX181" fmla="*/ 8220075 w 8601075"/>
                  <a:gd name="connsiteY181" fmla="*/ 1847850 h 4333875"/>
                  <a:gd name="connsiteX182" fmla="*/ 8296275 w 8601075"/>
                  <a:gd name="connsiteY182" fmla="*/ 1809750 h 4333875"/>
                  <a:gd name="connsiteX183" fmla="*/ 8324850 w 8601075"/>
                  <a:gd name="connsiteY183" fmla="*/ 1790700 h 4333875"/>
                  <a:gd name="connsiteX184" fmla="*/ 8410575 w 8601075"/>
                  <a:gd name="connsiteY184" fmla="*/ 1847850 h 4333875"/>
                  <a:gd name="connsiteX185" fmla="*/ 8505825 w 8601075"/>
                  <a:gd name="connsiteY185" fmla="*/ 1781175 h 4333875"/>
                  <a:gd name="connsiteX186" fmla="*/ 8572500 w 8601075"/>
                  <a:gd name="connsiteY186" fmla="*/ 1809750 h 4333875"/>
                  <a:gd name="connsiteX187" fmla="*/ 8601075 w 8601075"/>
                  <a:gd name="connsiteY187" fmla="*/ 1704975 h 4333875"/>
                  <a:gd name="connsiteX188" fmla="*/ 8553450 w 8601075"/>
                  <a:gd name="connsiteY188" fmla="*/ 1676400 h 4333875"/>
                  <a:gd name="connsiteX189" fmla="*/ 8534400 w 8601075"/>
                  <a:gd name="connsiteY189" fmla="*/ 1609725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124825 w 8601075"/>
                  <a:gd name="connsiteY193" fmla="*/ 1352550 h 4333875"/>
                  <a:gd name="connsiteX194" fmla="*/ 7924800 w 8601075"/>
                  <a:gd name="connsiteY194" fmla="*/ 1362075 h 4333875"/>
                  <a:gd name="connsiteX195" fmla="*/ 7867650 w 8601075"/>
                  <a:gd name="connsiteY195" fmla="*/ 1457325 h 4333875"/>
                  <a:gd name="connsiteX196" fmla="*/ 7896225 w 8601075"/>
                  <a:gd name="connsiteY196" fmla="*/ 1476375 h 4333875"/>
                  <a:gd name="connsiteX197" fmla="*/ 7858125 w 8601075"/>
                  <a:gd name="connsiteY197" fmla="*/ 1533525 h 4333875"/>
                  <a:gd name="connsiteX198" fmla="*/ 7658100 w 8601075"/>
                  <a:gd name="connsiteY198" fmla="*/ 1447800 h 4333875"/>
                  <a:gd name="connsiteX199" fmla="*/ 7515225 w 8601075"/>
                  <a:gd name="connsiteY199" fmla="*/ 1495425 h 4333875"/>
                  <a:gd name="connsiteX200" fmla="*/ 7467600 w 8601075"/>
                  <a:gd name="connsiteY200" fmla="*/ 1581150 h 4333875"/>
                  <a:gd name="connsiteX201" fmla="*/ 7296150 w 8601075"/>
                  <a:gd name="connsiteY20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81425 w 8601075"/>
                  <a:gd name="connsiteY50" fmla="*/ 390525 h 4333875"/>
                  <a:gd name="connsiteX51" fmla="*/ 3771900 w 8601075"/>
                  <a:gd name="connsiteY51" fmla="*/ 352425 h 4333875"/>
                  <a:gd name="connsiteX52" fmla="*/ 3600450 w 8601075"/>
                  <a:gd name="connsiteY52" fmla="*/ 285750 h 4333875"/>
                  <a:gd name="connsiteX53" fmla="*/ 3533775 w 8601075"/>
                  <a:gd name="connsiteY53" fmla="*/ 314325 h 4333875"/>
                  <a:gd name="connsiteX54" fmla="*/ 3409950 w 8601075"/>
                  <a:gd name="connsiteY54" fmla="*/ 190500 h 4333875"/>
                  <a:gd name="connsiteX55" fmla="*/ 3257550 w 8601075"/>
                  <a:gd name="connsiteY55" fmla="*/ 180975 h 4333875"/>
                  <a:gd name="connsiteX56" fmla="*/ 3209925 w 8601075"/>
                  <a:gd name="connsiteY56" fmla="*/ 104775 h 4333875"/>
                  <a:gd name="connsiteX57" fmla="*/ 3152775 w 8601075"/>
                  <a:gd name="connsiteY57" fmla="*/ 104775 h 4333875"/>
                  <a:gd name="connsiteX58" fmla="*/ 2990850 w 8601075"/>
                  <a:gd name="connsiteY58" fmla="*/ 0 h 4333875"/>
                  <a:gd name="connsiteX59" fmla="*/ 2933700 w 8601075"/>
                  <a:gd name="connsiteY59" fmla="*/ 114300 h 4333875"/>
                  <a:gd name="connsiteX60" fmla="*/ 2867025 w 8601075"/>
                  <a:gd name="connsiteY60" fmla="*/ 171450 h 4333875"/>
                  <a:gd name="connsiteX61" fmla="*/ 2867025 w 8601075"/>
                  <a:gd name="connsiteY61" fmla="*/ 171450 h 4333875"/>
                  <a:gd name="connsiteX62" fmla="*/ 2800350 w 8601075"/>
                  <a:gd name="connsiteY62" fmla="*/ 257175 h 4333875"/>
                  <a:gd name="connsiteX63" fmla="*/ 2724150 w 8601075"/>
                  <a:gd name="connsiteY63" fmla="*/ 304800 h 4333875"/>
                  <a:gd name="connsiteX64" fmla="*/ 2705100 w 8601075"/>
                  <a:gd name="connsiteY64" fmla="*/ 466725 h 4333875"/>
                  <a:gd name="connsiteX65" fmla="*/ 2762250 w 8601075"/>
                  <a:gd name="connsiteY65" fmla="*/ 571500 h 4333875"/>
                  <a:gd name="connsiteX66" fmla="*/ 2800350 w 8601075"/>
                  <a:gd name="connsiteY66" fmla="*/ 628650 h 4333875"/>
                  <a:gd name="connsiteX67" fmla="*/ 2752725 w 8601075"/>
                  <a:gd name="connsiteY67" fmla="*/ 781050 h 4333875"/>
                  <a:gd name="connsiteX68" fmla="*/ 2686050 w 8601075"/>
                  <a:gd name="connsiteY68" fmla="*/ 857250 h 4333875"/>
                  <a:gd name="connsiteX69" fmla="*/ 2609850 w 8601075"/>
                  <a:gd name="connsiteY69" fmla="*/ 857250 h 4333875"/>
                  <a:gd name="connsiteX70" fmla="*/ 2514600 w 8601075"/>
                  <a:gd name="connsiteY70" fmla="*/ 914400 h 4333875"/>
                  <a:gd name="connsiteX71" fmla="*/ 2400300 w 8601075"/>
                  <a:gd name="connsiteY71" fmla="*/ 866775 h 4333875"/>
                  <a:gd name="connsiteX72" fmla="*/ 2305050 w 8601075"/>
                  <a:gd name="connsiteY72" fmla="*/ 809625 h 4333875"/>
                  <a:gd name="connsiteX73" fmla="*/ 2200275 w 8601075"/>
                  <a:gd name="connsiteY73" fmla="*/ 752475 h 4333875"/>
                  <a:gd name="connsiteX74" fmla="*/ 2105025 w 8601075"/>
                  <a:gd name="connsiteY74" fmla="*/ 762000 h 4333875"/>
                  <a:gd name="connsiteX75" fmla="*/ 1990725 w 8601075"/>
                  <a:gd name="connsiteY75" fmla="*/ 762000 h 4333875"/>
                  <a:gd name="connsiteX76" fmla="*/ 1885950 w 8601075"/>
                  <a:gd name="connsiteY76" fmla="*/ 742950 h 4333875"/>
                  <a:gd name="connsiteX77" fmla="*/ 1800225 w 8601075"/>
                  <a:gd name="connsiteY77" fmla="*/ 638175 h 4333875"/>
                  <a:gd name="connsiteX78" fmla="*/ 1809750 w 8601075"/>
                  <a:gd name="connsiteY78" fmla="*/ 495300 h 4333875"/>
                  <a:gd name="connsiteX79" fmla="*/ 1733550 w 8601075"/>
                  <a:gd name="connsiteY79" fmla="*/ 466725 h 4333875"/>
                  <a:gd name="connsiteX80" fmla="*/ 1485900 w 8601075"/>
                  <a:gd name="connsiteY80" fmla="*/ 419100 h 4333875"/>
                  <a:gd name="connsiteX81" fmla="*/ 1457325 w 8601075"/>
                  <a:gd name="connsiteY81" fmla="*/ 323850 h 4333875"/>
                  <a:gd name="connsiteX82" fmla="*/ 1457325 w 8601075"/>
                  <a:gd name="connsiteY82" fmla="*/ 323850 h 4333875"/>
                  <a:gd name="connsiteX83" fmla="*/ 1323975 w 8601075"/>
                  <a:gd name="connsiteY83" fmla="*/ 285750 h 4333875"/>
                  <a:gd name="connsiteX84" fmla="*/ 1266825 w 8601075"/>
                  <a:gd name="connsiteY84" fmla="*/ 352425 h 4333875"/>
                  <a:gd name="connsiteX85" fmla="*/ 1009650 w 8601075"/>
                  <a:gd name="connsiteY85" fmla="*/ 390525 h 4333875"/>
                  <a:gd name="connsiteX86" fmla="*/ 828675 w 8601075"/>
                  <a:gd name="connsiteY86" fmla="*/ 447675 h 4333875"/>
                  <a:gd name="connsiteX87" fmla="*/ 619125 w 8601075"/>
                  <a:gd name="connsiteY87" fmla="*/ 533400 h 4333875"/>
                  <a:gd name="connsiteX88" fmla="*/ 619125 w 8601075"/>
                  <a:gd name="connsiteY88" fmla="*/ 533400 h 4333875"/>
                  <a:gd name="connsiteX89" fmla="*/ 561975 w 8601075"/>
                  <a:gd name="connsiteY89" fmla="*/ 61912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295275 w 8601075"/>
                  <a:gd name="connsiteY93" fmla="*/ 657225 h 4333875"/>
                  <a:gd name="connsiteX94" fmla="*/ 180975 w 8601075"/>
                  <a:gd name="connsiteY94" fmla="*/ 638175 h 4333875"/>
                  <a:gd name="connsiteX95" fmla="*/ 180975 w 8601075"/>
                  <a:gd name="connsiteY95" fmla="*/ 638175 h 4333875"/>
                  <a:gd name="connsiteX96" fmla="*/ 57150 w 8601075"/>
                  <a:gd name="connsiteY96" fmla="*/ 733425 h 4333875"/>
                  <a:gd name="connsiteX97" fmla="*/ 19050 w 8601075"/>
                  <a:gd name="connsiteY97" fmla="*/ 790575 h 4333875"/>
                  <a:gd name="connsiteX98" fmla="*/ 0 w 8601075"/>
                  <a:gd name="connsiteY98" fmla="*/ 876300 h 4333875"/>
                  <a:gd name="connsiteX99" fmla="*/ 57150 w 8601075"/>
                  <a:gd name="connsiteY99" fmla="*/ 923925 h 4333875"/>
                  <a:gd name="connsiteX100" fmla="*/ 57150 w 8601075"/>
                  <a:gd name="connsiteY100" fmla="*/ 923925 h 4333875"/>
                  <a:gd name="connsiteX101" fmla="*/ 209550 w 8601075"/>
                  <a:gd name="connsiteY101" fmla="*/ 1114425 h 4333875"/>
                  <a:gd name="connsiteX102" fmla="*/ 209550 w 8601075"/>
                  <a:gd name="connsiteY102" fmla="*/ 1114425 h 4333875"/>
                  <a:gd name="connsiteX103" fmla="*/ 266700 w 8601075"/>
                  <a:gd name="connsiteY103" fmla="*/ 1295400 h 4333875"/>
                  <a:gd name="connsiteX104" fmla="*/ 409575 w 8601075"/>
                  <a:gd name="connsiteY104" fmla="*/ 1276350 h 4333875"/>
                  <a:gd name="connsiteX105" fmla="*/ 466725 w 8601075"/>
                  <a:gd name="connsiteY105" fmla="*/ 1362075 h 4333875"/>
                  <a:gd name="connsiteX106" fmla="*/ 542925 w 8601075"/>
                  <a:gd name="connsiteY106" fmla="*/ 1428750 h 4333875"/>
                  <a:gd name="connsiteX107" fmla="*/ 628650 w 8601075"/>
                  <a:gd name="connsiteY107" fmla="*/ 1571625 h 4333875"/>
                  <a:gd name="connsiteX108" fmla="*/ 628650 w 8601075"/>
                  <a:gd name="connsiteY108" fmla="*/ 1704975 h 4333875"/>
                  <a:gd name="connsiteX109" fmla="*/ 676275 w 8601075"/>
                  <a:gd name="connsiteY109" fmla="*/ 1771650 h 4333875"/>
                  <a:gd name="connsiteX110" fmla="*/ 657225 w 8601075"/>
                  <a:gd name="connsiteY110" fmla="*/ 2000250 h 4333875"/>
                  <a:gd name="connsiteX111" fmla="*/ 619125 w 8601075"/>
                  <a:gd name="connsiteY111" fmla="*/ 2095500 h 4333875"/>
                  <a:gd name="connsiteX112" fmla="*/ 542925 w 8601075"/>
                  <a:gd name="connsiteY112" fmla="*/ 2228850 h 4333875"/>
                  <a:gd name="connsiteX113" fmla="*/ 485775 w 8601075"/>
                  <a:gd name="connsiteY113" fmla="*/ 2362200 h 4333875"/>
                  <a:gd name="connsiteX114" fmla="*/ 552450 w 8601075"/>
                  <a:gd name="connsiteY114" fmla="*/ 2486025 h 4333875"/>
                  <a:gd name="connsiteX115" fmla="*/ 771525 w 8601075"/>
                  <a:gd name="connsiteY115" fmla="*/ 2571750 h 4333875"/>
                  <a:gd name="connsiteX116" fmla="*/ 866775 w 8601075"/>
                  <a:gd name="connsiteY116" fmla="*/ 2571750 h 4333875"/>
                  <a:gd name="connsiteX117" fmla="*/ 914400 w 8601075"/>
                  <a:gd name="connsiteY117" fmla="*/ 2638425 h 4333875"/>
                  <a:gd name="connsiteX118" fmla="*/ 1066800 w 8601075"/>
                  <a:gd name="connsiteY118" fmla="*/ 2638425 h 4333875"/>
                  <a:gd name="connsiteX119" fmla="*/ 1285875 w 8601075"/>
                  <a:gd name="connsiteY119" fmla="*/ 2705100 h 4333875"/>
                  <a:gd name="connsiteX120" fmla="*/ 1438275 w 8601075"/>
                  <a:gd name="connsiteY120" fmla="*/ 2838450 h 4333875"/>
                  <a:gd name="connsiteX121" fmla="*/ 1485900 w 8601075"/>
                  <a:gd name="connsiteY121" fmla="*/ 2914650 h 4333875"/>
                  <a:gd name="connsiteX122" fmla="*/ 1657350 w 8601075"/>
                  <a:gd name="connsiteY122" fmla="*/ 3038475 h 4333875"/>
                  <a:gd name="connsiteX123" fmla="*/ 1752600 w 8601075"/>
                  <a:gd name="connsiteY123" fmla="*/ 3057525 h 4333875"/>
                  <a:gd name="connsiteX124" fmla="*/ 1724025 w 8601075"/>
                  <a:gd name="connsiteY124" fmla="*/ 3143250 h 4333875"/>
                  <a:gd name="connsiteX125" fmla="*/ 1724025 w 8601075"/>
                  <a:gd name="connsiteY125" fmla="*/ 3143250 h 4333875"/>
                  <a:gd name="connsiteX126" fmla="*/ 1781175 w 8601075"/>
                  <a:gd name="connsiteY126" fmla="*/ 3181350 h 4333875"/>
                  <a:gd name="connsiteX127" fmla="*/ 1819275 w 8601075"/>
                  <a:gd name="connsiteY127" fmla="*/ 3362325 h 4333875"/>
                  <a:gd name="connsiteX128" fmla="*/ 1828800 w 8601075"/>
                  <a:gd name="connsiteY128" fmla="*/ 3457575 h 4333875"/>
                  <a:gd name="connsiteX129" fmla="*/ 1971675 w 8601075"/>
                  <a:gd name="connsiteY129" fmla="*/ 3590925 h 4333875"/>
                  <a:gd name="connsiteX130" fmla="*/ 1990725 w 8601075"/>
                  <a:gd name="connsiteY130" fmla="*/ 3714750 h 4333875"/>
                  <a:gd name="connsiteX131" fmla="*/ 2200275 w 8601075"/>
                  <a:gd name="connsiteY131" fmla="*/ 3695700 h 4333875"/>
                  <a:gd name="connsiteX132" fmla="*/ 2886075 w 8601075"/>
                  <a:gd name="connsiteY132" fmla="*/ 3886200 h 4333875"/>
                  <a:gd name="connsiteX133" fmla="*/ 3038475 w 8601075"/>
                  <a:gd name="connsiteY133" fmla="*/ 3819525 h 4333875"/>
                  <a:gd name="connsiteX134" fmla="*/ 3105150 w 8601075"/>
                  <a:gd name="connsiteY134" fmla="*/ 3867150 h 4333875"/>
                  <a:gd name="connsiteX135" fmla="*/ 3181350 w 8601075"/>
                  <a:gd name="connsiteY135" fmla="*/ 3800475 h 4333875"/>
                  <a:gd name="connsiteX136" fmla="*/ 3590925 w 8601075"/>
                  <a:gd name="connsiteY136" fmla="*/ 3943350 h 4333875"/>
                  <a:gd name="connsiteX137" fmla="*/ 3686175 w 8601075"/>
                  <a:gd name="connsiteY137" fmla="*/ 4057650 h 4333875"/>
                  <a:gd name="connsiteX138" fmla="*/ 3838575 w 8601075"/>
                  <a:gd name="connsiteY138" fmla="*/ 4057650 h 4333875"/>
                  <a:gd name="connsiteX139" fmla="*/ 4162425 w 8601075"/>
                  <a:gd name="connsiteY139" fmla="*/ 4248150 h 4333875"/>
                  <a:gd name="connsiteX140" fmla="*/ 4391025 w 8601075"/>
                  <a:gd name="connsiteY140" fmla="*/ 4200525 h 4333875"/>
                  <a:gd name="connsiteX141" fmla="*/ 4410075 w 8601075"/>
                  <a:gd name="connsiteY141" fmla="*/ 4305300 h 4333875"/>
                  <a:gd name="connsiteX142" fmla="*/ 4505325 w 8601075"/>
                  <a:gd name="connsiteY142" fmla="*/ 4276725 h 4333875"/>
                  <a:gd name="connsiteX143" fmla="*/ 4572000 w 8601075"/>
                  <a:gd name="connsiteY143" fmla="*/ 4333875 h 4333875"/>
                  <a:gd name="connsiteX144" fmla="*/ 4591050 w 8601075"/>
                  <a:gd name="connsiteY144" fmla="*/ 4248150 h 4333875"/>
                  <a:gd name="connsiteX145" fmla="*/ 5295900 w 8601075"/>
                  <a:gd name="connsiteY145" fmla="*/ 3924300 h 4333875"/>
                  <a:gd name="connsiteX146" fmla="*/ 5353050 w 8601075"/>
                  <a:gd name="connsiteY146" fmla="*/ 3990975 h 4333875"/>
                  <a:gd name="connsiteX147" fmla="*/ 5524500 w 8601075"/>
                  <a:gd name="connsiteY147" fmla="*/ 3914775 h 4333875"/>
                  <a:gd name="connsiteX148" fmla="*/ 5667375 w 8601075"/>
                  <a:gd name="connsiteY148" fmla="*/ 3962400 h 4333875"/>
                  <a:gd name="connsiteX149" fmla="*/ 5753100 w 8601075"/>
                  <a:gd name="connsiteY149" fmla="*/ 3924300 h 4333875"/>
                  <a:gd name="connsiteX150" fmla="*/ 5905500 w 8601075"/>
                  <a:gd name="connsiteY150" fmla="*/ 3943350 h 4333875"/>
                  <a:gd name="connsiteX151" fmla="*/ 6000750 w 8601075"/>
                  <a:gd name="connsiteY151" fmla="*/ 3800475 h 4333875"/>
                  <a:gd name="connsiteX152" fmla="*/ 6153150 w 8601075"/>
                  <a:gd name="connsiteY152" fmla="*/ 3781425 h 4333875"/>
                  <a:gd name="connsiteX153" fmla="*/ 6257925 w 8601075"/>
                  <a:gd name="connsiteY153" fmla="*/ 3581400 h 4333875"/>
                  <a:gd name="connsiteX154" fmla="*/ 6448425 w 8601075"/>
                  <a:gd name="connsiteY154" fmla="*/ 3448050 h 4333875"/>
                  <a:gd name="connsiteX155" fmla="*/ 6581775 w 8601075"/>
                  <a:gd name="connsiteY155" fmla="*/ 3276600 h 4333875"/>
                  <a:gd name="connsiteX156" fmla="*/ 6496050 w 8601075"/>
                  <a:gd name="connsiteY156" fmla="*/ 3228975 h 4333875"/>
                  <a:gd name="connsiteX157" fmla="*/ 6438900 w 8601075"/>
                  <a:gd name="connsiteY157" fmla="*/ 3162300 h 4333875"/>
                  <a:gd name="connsiteX158" fmla="*/ 6419850 w 8601075"/>
                  <a:gd name="connsiteY158" fmla="*/ 3105150 h 4333875"/>
                  <a:gd name="connsiteX159" fmla="*/ 6362700 w 8601075"/>
                  <a:gd name="connsiteY159" fmla="*/ 3076575 h 4333875"/>
                  <a:gd name="connsiteX160" fmla="*/ 6410325 w 8601075"/>
                  <a:gd name="connsiteY160" fmla="*/ 3019425 h 4333875"/>
                  <a:gd name="connsiteX161" fmla="*/ 6438900 w 8601075"/>
                  <a:gd name="connsiteY161" fmla="*/ 2819400 h 4333875"/>
                  <a:gd name="connsiteX162" fmla="*/ 6496050 w 8601075"/>
                  <a:gd name="connsiteY162" fmla="*/ 2762250 h 4333875"/>
                  <a:gd name="connsiteX163" fmla="*/ 6657975 w 8601075"/>
                  <a:gd name="connsiteY163" fmla="*/ 2752725 h 4333875"/>
                  <a:gd name="connsiteX164" fmla="*/ 6781800 w 8601075"/>
                  <a:gd name="connsiteY164" fmla="*/ 2838450 h 4333875"/>
                  <a:gd name="connsiteX165" fmla="*/ 7010400 w 8601075"/>
                  <a:gd name="connsiteY165" fmla="*/ 2838450 h 4333875"/>
                  <a:gd name="connsiteX166" fmla="*/ 7162800 w 8601075"/>
                  <a:gd name="connsiteY166" fmla="*/ 2705100 h 4333875"/>
                  <a:gd name="connsiteX167" fmla="*/ 7229475 w 8601075"/>
                  <a:gd name="connsiteY167" fmla="*/ 2590800 h 4333875"/>
                  <a:gd name="connsiteX168" fmla="*/ 7248525 w 8601075"/>
                  <a:gd name="connsiteY168" fmla="*/ 2524125 h 4333875"/>
                  <a:gd name="connsiteX169" fmla="*/ 7372350 w 8601075"/>
                  <a:gd name="connsiteY169" fmla="*/ 2543175 h 4333875"/>
                  <a:gd name="connsiteX170" fmla="*/ 7553325 w 8601075"/>
                  <a:gd name="connsiteY170" fmla="*/ 2447925 h 4333875"/>
                  <a:gd name="connsiteX171" fmla="*/ 7620000 w 8601075"/>
                  <a:gd name="connsiteY171" fmla="*/ 2324100 h 4333875"/>
                  <a:gd name="connsiteX172" fmla="*/ 7696200 w 8601075"/>
                  <a:gd name="connsiteY172" fmla="*/ 2314575 h 4333875"/>
                  <a:gd name="connsiteX173" fmla="*/ 7658100 w 8601075"/>
                  <a:gd name="connsiteY173" fmla="*/ 2257425 h 4333875"/>
                  <a:gd name="connsiteX174" fmla="*/ 7753350 w 8601075"/>
                  <a:gd name="connsiteY174" fmla="*/ 2057400 h 4333875"/>
                  <a:gd name="connsiteX175" fmla="*/ 7934325 w 8601075"/>
                  <a:gd name="connsiteY175" fmla="*/ 2028825 h 4333875"/>
                  <a:gd name="connsiteX176" fmla="*/ 7953375 w 8601075"/>
                  <a:gd name="connsiteY176" fmla="*/ 1952625 h 4333875"/>
                  <a:gd name="connsiteX177" fmla="*/ 7953375 w 8601075"/>
                  <a:gd name="connsiteY177" fmla="*/ 1952625 h 4333875"/>
                  <a:gd name="connsiteX178" fmla="*/ 8010525 w 8601075"/>
                  <a:gd name="connsiteY178" fmla="*/ 1895475 h 4333875"/>
                  <a:gd name="connsiteX179" fmla="*/ 8048625 w 8601075"/>
                  <a:gd name="connsiteY179" fmla="*/ 1971675 h 4333875"/>
                  <a:gd name="connsiteX180" fmla="*/ 8077200 w 8601075"/>
                  <a:gd name="connsiteY180" fmla="*/ 1885950 h 4333875"/>
                  <a:gd name="connsiteX181" fmla="*/ 8220075 w 8601075"/>
                  <a:gd name="connsiteY181" fmla="*/ 1847850 h 4333875"/>
                  <a:gd name="connsiteX182" fmla="*/ 8296275 w 8601075"/>
                  <a:gd name="connsiteY182" fmla="*/ 1809750 h 4333875"/>
                  <a:gd name="connsiteX183" fmla="*/ 8324850 w 8601075"/>
                  <a:gd name="connsiteY183" fmla="*/ 1790700 h 4333875"/>
                  <a:gd name="connsiteX184" fmla="*/ 8410575 w 8601075"/>
                  <a:gd name="connsiteY184" fmla="*/ 1847850 h 4333875"/>
                  <a:gd name="connsiteX185" fmla="*/ 8505825 w 8601075"/>
                  <a:gd name="connsiteY185" fmla="*/ 1781175 h 4333875"/>
                  <a:gd name="connsiteX186" fmla="*/ 8572500 w 8601075"/>
                  <a:gd name="connsiteY186" fmla="*/ 1809750 h 4333875"/>
                  <a:gd name="connsiteX187" fmla="*/ 8601075 w 8601075"/>
                  <a:gd name="connsiteY187" fmla="*/ 1704975 h 4333875"/>
                  <a:gd name="connsiteX188" fmla="*/ 8553450 w 8601075"/>
                  <a:gd name="connsiteY188" fmla="*/ 1676400 h 4333875"/>
                  <a:gd name="connsiteX189" fmla="*/ 8534400 w 8601075"/>
                  <a:gd name="connsiteY189" fmla="*/ 1609725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124825 w 8601075"/>
                  <a:gd name="connsiteY193" fmla="*/ 1352550 h 4333875"/>
                  <a:gd name="connsiteX194" fmla="*/ 7924800 w 8601075"/>
                  <a:gd name="connsiteY194" fmla="*/ 1362075 h 4333875"/>
                  <a:gd name="connsiteX195" fmla="*/ 7867650 w 8601075"/>
                  <a:gd name="connsiteY195" fmla="*/ 1457325 h 4333875"/>
                  <a:gd name="connsiteX196" fmla="*/ 7896225 w 8601075"/>
                  <a:gd name="connsiteY196" fmla="*/ 1476375 h 4333875"/>
                  <a:gd name="connsiteX197" fmla="*/ 7858125 w 8601075"/>
                  <a:gd name="connsiteY197" fmla="*/ 1533525 h 4333875"/>
                  <a:gd name="connsiteX198" fmla="*/ 7658100 w 8601075"/>
                  <a:gd name="connsiteY198" fmla="*/ 1447800 h 4333875"/>
                  <a:gd name="connsiteX199" fmla="*/ 7515225 w 8601075"/>
                  <a:gd name="connsiteY199" fmla="*/ 1495425 h 4333875"/>
                  <a:gd name="connsiteX200" fmla="*/ 7467600 w 8601075"/>
                  <a:gd name="connsiteY200" fmla="*/ 1581150 h 4333875"/>
                  <a:gd name="connsiteX201" fmla="*/ 7296150 w 8601075"/>
                  <a:gd name="connsiteY20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1425 w 8601075"/>
                  <a:gd name="connsiteY51" fmla="*/ 390525 h 4333875"/>
                  <a:gd name="connsiteX52" fmla="*/ 3771900 w 8601075"/>
                  <a:gd name="connsiteY52" fmla="*/ 352425 h 4333875"/>
                  <a:gd name="connsiteX53" fmla="*/ 3600450 w 8601075"/>
                  <a:gd name="connsiteY53" fmla="*/ 285750 h 4333875"/>
                  <a:gd name="connsiteX54" fmla="*/ 3533775 w 8601075"/>
                  <a:gd name="connsiteY54" fmla="*/ 314325 h 4333875"/>
                  <a:gd name="connsiteX55" fmla="*/ 3409950 w 8601075"/>
                  <a:gd name="connsiteY55" fmla="*/ 190500 h 4333875"/>
                  <a:gd name="connsiteX56" fmla="*/ 3257550 w 8601075"/>
                  <a:gd name="connsiteY56" fmla="*/ 180975 h 4333875"/>
                  <a:gd name="connsiteX57" fmla="*/ 3209925 w 8601075"/>
                  <a:gd name="connsiteY57" fmla="*/ 104775 h 4333875"/>
                  <a:gd name="connsiteX58" fmla="*/ 3152775 w 8601075"/>
                  <a:gd name="connsiteY58" fmla="*/ 104775 h 4333875"/>
                  <a:gd name="connsiteX59" fmla="*/ 2990850 w 8601075"/>
                  <a:gd name="connsiteY59" fmla="*/ 0 h 4333875"/>
                  <a:gd name="connsiteX60" fmla="*/ 2933700 w 8601075"/>
                  <a:gd name="connsiteY60" fmla="*/ 114300 h 4333875"/>
                  <a:gd name="connsiteX61" fmla="*/ 2867025 w 8601075"/>
                  <a:gd name="connsiteY61" fmla="*/ 171450 h 4333875"/>
                  <a:gd name="connsiteX62" fmla="*/ 2867025 w 8601075"/>
                  <a:gd name="connsiteY62" fmla="*/ 171450 h 4333875"/>
                  <a:gd name="connsiteX63" fmla="*/ 2800350 w 8601075"/>
                  <a:gd name="connsiteY63" fmla="*/ 257175 h 4333875"/>
                  <a:gd name="connsiteX64" fmla="*/ 2724150 w 8601075"/>
                  <a:gd name="connsiteY64" fmla="*/ 304800 h 4333875"/>
                  <a:gd name="connsiteX65" fmla="*/ 2705100 w 8601075"/>
                  <a:gd name="connsiteY65" fmla="*/ 466725 h 4333875"/>
                  <a:gd name="connsiteX66" fmla="*/ 2762250 w 8601075"/>
                  <a:gd name="connsiteY66" fmla="*/ 571500 h 4333875"/>
                  <a:gd name="connsiteX67" fmla="*/ 2800350 w 8601075"/>
                  <a:gd name="connsiteY67" fmla="*/ 628650 h 4333875"/>
                  <a:gd name="connsiteX68" fmla="*/ 2752725 w 8601075"/>
                  <a:gd name="connsiteY68" fmla="*/ 781050 h 4333875"/>
                  <a:gd name="connsiteX69" fmla="*/ 2686050 w 8601075"/>
                  <a:gd name="connsiteY69" fmla="*/ 857250 h 4333875"/>
                  <a:gd name="connsiteX70" fmla="*/ 2609850 w 8601075"/>
                  <a:gd name="connsiteY70" fmla="*/ 857250 h 4333875"/>
                  <a:gd name="connsiteX71" fmla="*/ 2514600 w 8601075"/>
                  <a:gd name="connsiteY71" fmla="*/ 914400 h 4333875"/>
                  <a:gd name="connsiteX72" fmla="*/ 2400300 w 8601075"/>
                  <a:gd name="connsiteY72" fmla="*/ 866775 h 4333875"/>
                  <a:gd name="connsiteX73" fmla="*/ 2305050 w 8601075"/>
                  <a:gd name="connsiteY73" fmla="*/ 809625 h 4333875"/>
                  <a:gd name="connsiteX74" fmla="*/ 2200275 w 8601075"/>
                  <a:gd name="connsiteY74" fmla="*/ 752475 h 4333875"/>
                  <a:gd name="connsiteX75" fmla="*/ 2105025 w 8601075"/>
                  <a:gd name="connsiteY75" fmla="*/ 762000 h 4333875"/>
                  <a:gd name="connsiteX76" fmla="*/ 1990725 w 8601075"/>
                  <a:gd name="connsiteY76" fmla="*/ 762000 h 4333875"/>
                  <a:gd name="connsiteX77" fmla="*/ 1885950 w 8601075"/>
                  <a:gd name="connsiteY77" fmla="*/ 742950 h 4333875"/>
                  <a:gd name="connsiteX78" fmla="*/ 1800225 w 8601075"/>
                  <a:gd name="connsiteY78" fmla="*/ 638175 h 4333875"/>
                  <a:gd name="connsiteX79" fmla="*/ 1809750 w 8601075"/>
                  <a:gd name="connsiteY79" fmla="*/ 495300 h 4333875"/>
                  <a:gd name="connsiteX80" fmla="*/ 1733550 w 8601075"/>
                  <a:gd name="connsiteY80" fmla="*/ 466725 h 4333875"/>
                  <a:gd name="connsiteX81" fmla="*/ 1485900 w 8601075"/>
                  <a:gd name="connsiteY81" fmla="*/ 419100 h 4333875"/>
                  <a:gd name="connsiteX82" fmla="*/ 1457325 w 8601075"/>
                  <a:gd name="connsiteY82" fmla="*/ 323850 h 4333875"/>
                  <a:gd name="connsiteX83" fmla="*/ 1457325 w 8601075"/>
                  <a:gd name="connsiteY83" fmla="*/ 323850 h 4333875"/>
                  <a:gd name="connsiteX84" fmla="*/ 1323975 w 8601075"/>
                  <a:gd name="connsiteY84" fmla="*/ 285750 h 4333875"/>
                  <a:gd name="connsiteX85" fmla="*/ 1266825 w 8601075"/>
                  <a:gd name="connsiteY85" fmla="*/ 352425 h 4333875"/>
                  <a:gd name="connsiteX86" fmla="*/ 1009650 w 8601075"/>
                  <a:gd name="connsiteY86" fmla="*/ 390525 h 4333875"/>
                  <a:gd name="connsiteX87" fmla="*/ 828675 w 8601075"/>
                  <a:gd name="connsiteY87" fmla="*/ 447675 h 4333875"/>
                  <a:gd name="connsiteX88" fmla="*/ 619125 w 8601075"/>
                  <a:gd name="connsiteY88" fmla="*/ 533400 h 4333875"/>
                  <a:gd name="connsiteX89" fmla="*/ 619125 w 8601075"/>
                  <a:gd name="connsiteY89" fmla="*/ 533400 h 4333875"/>
                  <a:gd name="connsiteX90" fmla="*/ 561975 w 8601075"/>
                  <a:gd name="connsiteY90" fmla="*/ 61912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295275 w 8601075"/>
                  <a:gd name="connsiteY94" fmla="*/ 657225 h 4333875"/>
                  <a:gd name="connsiteX95" fmla="*/ 180975 w 8601075"/>
                  <a:gd name="connsiteY95" fmla="*/ 638175 h 4333875"/>
                  <a:gd name="connsiteX96" fmla="*/ 180975 w 8601075"/>
                  <a:gd name="connsiteY96" fmla="*/ 638175 h 4333875"/>
                  <a:gd name="connsiteX97" fmla="*/ 57150 w 8601075"/>
                  <a:gd name="connsiteY97" fmla="*/ 733425 h 4333875"/>
                  <a:gd name="connsiteX98" fmla="*/ 19050 w 8601075"/>
                  <a:gd name="connsiteY98" fmla="*/ 790575 h 4333875"/>
                  <a:gd name="connsiteX99" fmla="*/ 0 w 8601075"/>
                  <a:gd name="connsiteY99" fmla="*/ 876300 h 4333875"/>
                  <a:gd name="connsiteX100" fmla="*/ 57150 w 8601075"/>
                  <a:gd name="connsiteY100" fmla="*/ 923925 h 4333875"/>
                  <a:gd name="connsiteX101" fmla="*/ 57150 w 8601075"/>
                  <a:gd name="connsiteY101" fmla="*/ 923925 h 4333875"/>
                  <a:gd name="connsiteX102" fmla="*/ 209550 w 8601075"/>
                  <a:gd name="connsiteY102" fmla="*/ 1114425 h 4333875"/>
                  <a:gd name="connsiteX103" fmla="*/ 209550 w 8601075"/>
                  <a:gd name="connsiteY103" fmla="*/ 1114425 h 4333875"/>
                  <a:gd name="connsiteX104" fmla="*/ 266700 w 8601075"/>
                  <a:gd name="connsiteY104" fmla="*/ 1295400 h 4333875"/>
                  <a:gd name="connsiteX105" fmla="*/ 409575 w 8601075"/>
                  <a:gd name="connsiteY105" fmla="*/ 1276350 h 4333875"/>
                  <a:gd name="connsiteX106" fmla="*/ 466725 w 8601075"/>
                  <a:gd name="connsiteY106" fmla="*/ 1362075 h 4333875"/>
                  <a:gd name="connsiteX107" fmla="*/ 542925 w 8601075"/>
                  <a:gd name="connsiteY107" fmla="*/ 1428750 h 4333875"/>
                  <a:gd name="connsiteX108" fmla="*/ 628650 w 8601075"/>
                  <a:gd name="connsiteY108" fmla="*/ 1571625 h 4333875"/>
                  <a:gd name="connsiteX109" fmla="*/ 628650 w 8601075"/>
                  <a:gd name="connsiteY109" fmla="*/ 1704975 h 4333875"/>
                  <a:gd name="connsiteX110" fmla="*/ 676275 w 8601075"/>
                  <a:gd name="connsiteY110" fmla="*/ 1771650 h 4333875"/>
                  <a:gd name="connsiteX111" fmla="*/ 657225 w 8601075"/>
                  <a:gd name="connsiteY111" fmla="*/ 2000250 h 4333875"/>
                  <a:gd name="connsiteX112" fmla="*/ 619125 w 8601075"/>
                  <a:gd name="connsiteY112" fmla="*/ 2095500 h 4333875"/>
                  <a:gd name="connsiteX113" fmla="*/ 542925 w 8601075"/>
                  <a:gd name="connsiteY113" fmla="*/ 2228850 h 4333875"/>
                  <a:gd name="connsiteX114" fmla="*/ 485775 w 8601075"/>
                  <a:gd name="connsiteY114" fmla="*/ 2362200 h 4333875"/>
                  <a:gd name="connsiteX115" fmla="*/ 552450 w 8601075"/>
                  <a:gd name="connsiteY115" fmla="*/ 2486025 h 4333875"/>
                  <a:gd name="connsiteX116" fmla="*/ 771525 w 8601075"/>
                  <a:gd name="connsiteY116" fmla="*/ 2571750 h 4333875"/>
                  <a:gd name="connsiteX117" fmla="*/ 866775 w 8601075"/>
                  <a:gd name="connsiteY117" fmla="*/ 2571750 h 4333875"/>
                  <a:gd name="connsiteX118" fmla="*/ 914400 w 8601075"/>
                  <a:gd name="connsiteY118" fmla="*/ 2638425 h 4333875"/>
                  <a:gd name="connsiteX119" fmla="*/ 1066800 w 8601075"/>
                  <a:gd name="connsiteY119" fmla="*/ 2638425 h 4333875"/>
                  <a:gd name="connsiteX120" fmla="*/ 1285875 w 8601075"/>
                  <a:gd name="connsiteY120" fmla="*/ 2705100 h 4333875"/>
                  <a:gd name="connsiteX121" fmla="*/ 1438275 w 8601075"/>
                  <a:gd name="connsiteY121" fmla="*/ 2838450 h 4333875"/>
                  <a:gd name="connsiteX122" fmla="*/ 1485900 w 8601075"/>
                  <a:gd name="connsiteY122" fmla="*/ 2914650 h 4333875"/>
                  <a:gd name="connsiteX123" fmla="*/ 1657350 w 8601075"/>
                  <a:gd name="connsiteY123" fmla="*/ 3038475 h 4333875"/>
                  <a:gd name="connsiteX124" fmla="*/ 1752600 w 8601075"/>
                  <a:gd name="connsiteY124" fmla="*/ 3057525 h 4333875"/>
                  <a:gd name="connsiteX125" fmla="*/ 1724025 w 8601075"/>
                  <a:gd name="connsiteY125" fmla="*/ 3143250 h 4333875"/>
                  <a:gd name="connsiteX126" fmla="*/ 1724025 w 8601075"/>
                  <a:gd name="connsiteY126" fmla="*/ 3143250 h 4333875"/>
                  <a:gd name="connsiteX127" fmla="*/ 1781175 w 8601075"/>
                  <a:gd name="connsiteY127" fmla="*/ 3181350 h 4333875"/>
                  <a:gd name="connsiteX128" fmla="*/ 1819275 w 8601075"/>
                  <a:gd name="connsiteY128" fmla="*/ 3362325 h 4333875"/>
                  <a:gd name="connsiteX129" fmla="*/ 1828800 w 8601075"/>
                  <a:gd name="connsiteY129" fmla="*/ 3457575 h 4333875"/>
                  <a:gd name="connsiteX130" fmla="*/ 1971675 w 8601075"/>
                  <a:gd name="connsiteY130" fmla="*/ 3590925 h 4333875"/>
                  <a:gd name="connsiteX131" fmla="*/ 1990725 w 8601075"/>
                  <a:gd name="connsiteY131" fmla="*/ 3714750 h 4333875"/>
                  <a:gd name="connsiteX132" fmla="*/ 2200275 w 8601075"/>
                  <a:gd name="connsiteY132" fmla="*/ 3695700 h 4333875"/>
                  <a:gd name="connsiteX133" fmla="*/ 2886075 w 8601075"/>
                  <a:gd name="connsiteY133" fmla="*/ 3886200 h 4333875"/>
                  <a:gd name="connsiteX134" fmla="*/ 3038475 w 8601075"/>
                  <a:gd name="connsiteY134" fmla="*/ 3819525 h 4333875"/>
                  <a:gd name="connsiteX135" fmla="*/ 3105150 w 8601075"/>
                  <a:gd name="connsiteY135" fmla="*/ 3867150 h 4333875"/>
                  <a:gd name="connsiteX136" fmla="*/ 3181350 w 8601075"/>
                  <a:gd name="connsiteY136" fmla="*/ 3800475 h 4333875"/>
                  <a:gd name="connsiteX137" fmla="*/ 3590925 w 8601075"/>
                  <a:gd name="connsiteY137" fmla="*/ 3943350 h 4333875"/>
                  <a:gd name="connsiteX138" fmla="*/ 3686175 w 8601075"/>
                  <a:gd name="connsiteY138" fmla="*/ 4057650 h 4333875"/>
                  <a:gd name="connsiteX139" fmla="*/ 3838575 w 8601075"/>
                  <a:gd name="connsiteY139" fmla="*/ 4057650 h 4333875"/>
                  <a:gd name="connsiteX140" fmla="*/ 4162425 w 8601075"/>
                  <a:gd name="connsiteY140" fmla="*/ 4248150 h 4333875"/>
                  <a:gd name="connsiteX141" fmla="*/ 4391025 w 8601075"/>
                  <a:gd name="connsiteY141" fmla="*/ 4200525 h 4333875"/>
                  <a:gd name="connsiteX142" fmla="*/ 4410075 w 8601075"/>
                  <a:gd name="connsiteY142" fmla="*/ 4305300 h 4333875"/>
                  <a:gd name="connsiteX143" fmla="*/ 4505325 w 8601075"/>
                  <a:gd name="connsiteY143" fmla="*/ 4276725 h 4333875"/>
                  <a:gd name="connsiteX144" fmla="*/ 4572000 w 8601075"/>
                  <a:gd name="connsiteY144" fmla="*/ 4333875 h 4333875"/>
                  <a:gd name="connsiteX145" fmla="*/ 4591050 w 8601075"/>
                  <a:gd name="connsiteY145" fmla="*/ 4248150 h 4333875"/>
                  <a:gd name="connsiteX146" fmla="*/ 5295900 w 8601075"/>
                  <a:gd name="connsiteY146" fmla="*/ 3924300 h 4333875"/>
                  <a:gd name="connsiteX147" fmla="*/ 5353050 w 8601075"/>
                  <a:gd name="connsiteY147" fmla="*/ 3990975 h 4333875"/>
                  <a:gd name="connsiteX148" fmla="*/ 5524500 w 8601075"/>
                  <a:gd name="connsiteY148" fmla="*/ 3914775 h 4333875"/>
                  <a:gd name="connsiteX149" fmla="*/ 5667375 w 8601075"/>
                  <a:gd name="connsiteY149" fmla="*/ 3962400 h 4333875"/>
                  <a:gd name="connsiteX150" fmla="*/ 5753100 w 8601075"/>
                  <a:gd name="connsiteY150" fmla="*/ 3924300 h 4333875"/>
                  <a:gd name="connsiteX151" fmla="*/ 5905500 w 8601075"/>
                  <a:gd name="connsiteY151" fmla="*/ 3943350 h 4333875"/>
                  <a:gd name="connsiteX152" fmla="*/ 6000750 w 8601075"/>
                  <a:gd name="connsiteY152" fmla="*/ 3800475 h 4333875"/>
                  <a:gd name="connsiteX153" fmla="*/ 6153150 w 8601075"/>
                  <a:gd name="connsiteY153" fmla="*/ 3781425 h 4333875"/>
                  <a:gd name="connsiteX154" fmla="*/ 6257925 w 8601075"/>
                  <a:gd name="connsiteY154" fmla="*/ 3581400 h 4333875"/>
                  <a:gd name="connsiteX155" fmla="*/ 6448425 w 8601075"/>
                  <a:gd name="connsiteY155" fmla="*/ 3448050 h 4333875"/>
                  <a:gd name="connsiteX156" fmla="*/ 6581775 w 8601075"/>
                  <a:gd name="connsiteY156" fmla="*/ 3276600 h 4333875"/>
                  <a:gd name="connsiteX157" fmla="*/ 6496050 w 8601075"/>
                  <a:gd name="connsiteY157" fmla="*/ 3228975 h 4333875"/>
                  <a:gd name="connsiteX158" fmla="*/ 6438900 w 8601075"/>
                  <a:gd name="connsiteY158" fmla="*/ 3162300 h 4333875"/>
                  <a:gd name="connsiteX159" fmla="*/ 6419850 w 8601075"/>
                  <a:gd name="connsiteY159" fmla="*/ 3105150 h 4333875"/>
                  <a:gd name="connsiteX160" fmla="*/ 6362700 w 8601075"/>
                  <a:gd name="connsiteY160" fmla="*/ 3076575 h 4333875"/>
                  <a:gd name="connsiteX161" fmla="*/ 6410325 w 8601075"/>
                  <a:gd name="connsiteY161" fmla="*/ 3019425 h 4333875"/>
                  <a:gd name="connsiteX162" fmla="*/ 6438900 w 8601075"/>
                  <a:gd name="connsiteY162" fmla="*/ 2819400 h 4333875"/>
                  <a:gd name="connsiteX163" fmla="*/ 6496050 w 8601075"/>
                  <a:gd name="connsiteY163" fmla="*/ 2762250 h 4333875"/>
                  <a:gd name="connsiteX164" fmla="*/ 6657975 w 8601075"/>
                  <a:gd name="connsiteY164" fmla="*/ 2752725 h 4333875"/>
                  <a:gd name="connsiteX165" fmla="*/ 6781800 w 8601075"/>
                  <a:gd name="connsiteY165" fmla="*/ 2838450 h 4333875"/>
                  <a:gd name="connsiteX166" fmla="*/ 7010400 w 8601075"/>
                  <a:gd name="connsiteY166" fmla="*/ 2838450 h 4333875"/>
                  <a:gd name="connsiteX167" fmla="*/ 7162800 w 8601075"/>
                  <a:gd name="connsiteY167" fmla="*/ 2705100 h 4333875"/>
                  <a:gd name="connsiteX168" fmla="*/ 7229475 w 8601075"/>
                  <a:gd name="connsiteY168" fmla="*/ 2590800 h 4333875"/>
                  <a:gd name="connsiteX169" fmla="*/ 7248525 w 8601075"/>
                  <a:gd name="connsiteY169" fmla="*/ 2524125 h 4333875"/>
                  <a:gd name="connsiteX170" fmla="*/ 7372350 w 8601075"/>
                  <a:gd name="connsiteY170" fmla="*/ 2543175 h 4333875"/>
                  <a:gd name="connsiteX171" fmla="*/ 7553325 w 8601075"/>
                  <a:gd name="connsiteY171" fmla="*/ 2447925 h 4333875"/>
                  <a:gd name="connsiteX172" fmla="*/ 7620000 w 8601075"/>
                  <a:gd name="connsiteY172" fmla="*/ 2324100 h 4333875"/>
                  <a:gd name="connsiteX173" fmla="*/ 7696200 w 8601075"/>
                  <a:gd name="connsiteY173" fmla="*/ 2314575 h 4333875"/>
                  <a:gd name="connsiteX174" fmla="*/ 7658100 w 8601075"/>
                  <a:gd name="connsiteY174" fmla="*/ 2257425 h 4333875"/>
                  <a:gd name="connsiteX175" fmla="*/ 7753350 w 8601075"/>
                  <a:gd name="connsiteY175" fmla="*/ 2057400 h 4333875"/>
                  <a:gd name="connsiteX176" fmla="*/ 7934325 w 8601075"/>
                  <a:gd name="connsiteY176" fmla="*/ 2028825 h 4333875"/>
                  <a:gd name="connsiteX177" fmla="*/ 7953375 w 8601075"/>
                  <a:gd name="connsiteY177" fmla="*/ 1952625 h 4333875"/>
                  <a:gd name="connsiteX178" fmla="*/ 7953375 w 8601075"/>
                  <a:gd name="connsiteY178" fmla="*/ 1952625 h 4333875"/>
                  <a:gd name="connsiteX179" fmla="*/ 8010525 w 8601075"/>
                  <a:gd name="connsiteY179" fmla="*/ 1895475 h 4333875"/>
                  <a:gd name="connsiteX180" fmla="*/ 8048625 w 8601075"/>
                  <a:gd name="connsiteY180" fmla="*/ 1971675 h 4333875"/>
                  <a:gd name="connsiteX181" fmla="*/ 8077200 w 8601075"/>
                  <a:gd name="connsiteY181" fmla="*/ 1885950 h 4333875"/>
                  <a:gd name="connsiteX182" fmla="*/ 8220075 w 8601075"/>
                  <a:gd name="connsiteY182" fmla="*/ 1847850 h 4333875"/>
                  <a:gd name="connsiteX183" fmla="*/ 8296275 w 8601075"/>
                  <a:gd name="connsiteY183" fmla="*/ 1809750 h 4333875"/>
                  <a:gd name="connsiteX184" fmla="*/ 8324850 w 8601075"/>
                  <a:gd name="connsiteY184" fmla="*/ 1790700 h 4333875"/>
                  <a:gd name="connsiteX185" fmla="*/ 8410575 w 8601075"/>
                  <a:gd name="connsiteY185" fmla="*/ 1847850 h 4333875"/>
                  <a:gd name="connsiteX186" fmla="*/ 8505825 w 8601075"/>
                  <a:gd name="connsiteY186" fmla="*/ 1781175 h 4333875"/>
                  <a:gd name="connsiteX187" fmla="*/ 8572500 w 8601075"/>
                  <a:gd name="connsiteY187" fmla="*/ 1809750 h 4333875"/>
                  <a:gd name="connsiteX188" fmla="*/ 8601075 w 8601075"/>
                  <a:gd name="connsiteY188" fmla="*/ 1704975 h 4333875"/>
                  <a:gd name="connsiteX189" fmla="*/ 8553450 w 8601075"/>
                  <a:gd name="connsiteY189" fmla="*/ 1676400 h 4333875"/>
                  <a:gd name="connsiteX190" fmla="*/ 8534400 w 8601075"/>
                  <a:gd name="connsiteY190" fmla="*/ 1609725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124825 w 8601075"/>
                  <a:gd name="connsiteY194" fmla="*/ 1352550 h 4333875"/>
                  <a:gd name="connsiteX195" fmla="*/ 7924800 w 8601075"/>
                  <a:gd name="connsiteY195" fmla="*/ 1362075 h 4333875"/>
                  <a:gd name="connsiteX196" fmla="*/ 7867650 w 8601075"/>
                  <a:gd name="connsiteY196" fmla="*/ 1457325 h 4333875"/>
                  <a:gd name="connsiteX197" fmla="*/ 7896225 w 8601075"/>
                  <a:gd name="connsiteY197" fmla="*/ 1476375 h 4333875"/>
                  <a:gd name="connsiteX198" fmla="*/ 7858125 w 8601075"/>
                  <a:gd name="connsiteY198" fmla="*/ 1533525 h 4333875"/>
                  <a:gd name="connsiteX199" fmla="*/ 7658100 w 8601075"/>
                  <a:gd name="connsiteY199" fmla="*/ 1447800 h 4333875"/>
                  <a:gd name="connsiteX200" fmla="*/ 7515225 w 8601075"/>
                  <a:gd name="connsiteY200" fmla="*/ 1495425 h 4333875"/>
                  <a:gd name="connsiteX201" fmla="*/ 7467600 w 8601075"/>
                  <a:gd name="connsiteY201" fmla="*/ 1581150 h 4333875"/>
                  <a:gd name="connsiteX202" fmla="*/ 7296150 w 8601075"/>
                  <a:gd name="connsiteY20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810000 w 8601075"/>
                  <a:gd name="connsiteY51" fmla="*/ 350043 h 4333875"/>
                  <a:gd name="connsiteX52" fmla="*/ 3771900 w 8601075"/>
                  <a:gd name="connsiteY52" fmla="*/ 352425 h 4333875"/>
                  <a:gd name="connsiteX53" fmla="*/ 3600450 w 8601075"/>
                  <a:gd name="connsiteY53" fmla="*/ 285750 h 4333875"/>
                  <a:gd name="connsiteX54" fmla="*/ 3533775 w 8601075"/>
                  <a:gd name="connsiteY54" fmla="*/ 314325 h 4333875"/>
                  <a:gd name="connsiteX55" fmla="*/ 3409950 w 8601075"/>
                  <a:gd name="connsiteY55" fmla="*/ 190500 h 4333875"/>
                  <a:gd name="connsiteX56" fmla="*/ 3257550 w 8601075"/>
                  <a:gd name="connsiteY56" fmla="*/ 180975 h 4333875"/>
                  <a:gd name="connsiteX57" fmla="*/ 3209925 w 8601075"/>
                  <a:gd name="connsiteY57" fmla="*/ 104775 h 4333875"/>
                  <a:gd name="connsiteX58" fmla="*/ 3152775 w 8601075"/>
                  <a:gd name="connsiteY58" fmla="*/ 104775 h 4333875"/>
                  <a:gd name="connsiteX59" fmla="*/ 2990850 w 8601075"/>
                  <a:gd name="connsiteY59" fmla="*/ 0 h 4333875"/>
                  <a:gd name="connsiteX60" fmla="*/ 2933700 w 8601075"/>
                  <a:gd name="connsiteY60" fmla="*/ 114300 h 4333875"/>
                  <a:gd name="connsiteX61" fmla="*/ 2867025 w 8601075"/>
                  <a:gd name="connsiteY61" fmla="*/ 171450 h 4333875"/>
                  <a:gd name="connsiteX62" fmla="*/ 2867025 w 8601075"/>
                  <a:gd name="connsiteY62" fmla="*/ 171450 h 4333875"/>
                  <a:gd name="connsiteX63" fmla="*/ 2800350 w 8601075"/>
                  <a:gd name="connsiteY63" fmla="*/ 257175 h 4333875"/>
                  <a:gd name="connsiteX64" fmla="*/ 2724150 w 8601075"/>
                  <a:gd name="connsiteY64" fmla="*/ 304800 h 4333875"/>
                  <a:gd name="connsiteX65" fmla="*/ 2705100 w 8601075"/>
                  <a:gd name="connsiteY65" fmla="*/ 466725 h 4333875"/>
                  <a:gd name="connsiteX66" fmla="*/ 2762250 w 8601075"/>
                  <a:gd name="connsiteY66" fmla="*/ 571500 h 4333875"/>
                  <a:gd name="connsiteX67" fmla="*/ 2800350 w 8601075"/>
                  <a:gd name="connsiteY67" fmla="*/ 628650 h 4333875"/>
                  <a:gd name="connsiteX68" fmla="*/ 2752725 w 8601075"/>
                  <a:gd name="connsiteY68" fmla="*/ 781050 h 4333875"/>
                  <a:gd name="connsiteX69" fmla="*/ 2686050 w 8601075"/>
                  <a:gd name="connsiteY69" fmla="*/ 857250 h 4333875"/>
                  <a:gd name="connsiteX70" fmla="*/ 2609850 w 8601075"/>
                  <a:gd name="connsiteY70" fmla="*/ 857250 h 4333875"/>
                  <a:gd name="connsiteX71" fmla="*/ 2514600 w 8601075"/>
                  <a:gd name="connsiteY71" fmla="*/ 914400 h 4333875"/>
                  <a:gd name="connsiteX72" fmla="*/ 2400300 w 8601075"/>
                  <a:gd name="connsiteY72" fmla="*/ 866775 h 4333875"/>
                  <a:gd name="connsiteX73" fmla="*/ 2305050 w 8601075"/>
                  <a:gd name="connsiteY73" fmla="*/ 809625 h 4333875"/>
                  <a:gd name="connsiteX74" fmla="*/ 2200275 w 8601075"/>
                  <a:gd name="connsiteY74" fmla="*/ 752475 h 4333875"/>
                  <a:gd name="connsiteX75" fmla="*/ 2105025 w 8601075"/>
                  <a:gd name="connsiteY75" fmla="*/ 762000 h 4333875"/>
                  <a:gd name="connsiteX76" fmla="*/ 1990725 w 8601075"/>
                  <a:gd name="connsiteY76" fmla="*/ 762000 h 4333875"/>
                  <a:gd name="connsiteX77" fmla="*/ 1885950 w 8601075"/>
                  <a:gd name="connsiteY77" fmla="*/ 742950 h 4333875"/>
                  <a:gd name="connsiteX78" fmla="*/ 1800225 w 8601075"/>
                  <a:gd name="connsiteY78" fmla="*/ 638175 h 4333875"/>
                  <a:gd name="connsiteX79" fmla="*/ 1809750 w 8601075"/>
                  <a:gd name="connsiteY79" fmla="*/ 495300 h 4333875"/>
                  <a:gd name="connsiteX80" fmla="*/ 1733550 w 8601075"/>
                  <a:gd name="connsiteY80" fmla="*/ 466725 h 4333875"/>
                  <a:gd name="connsiteX81" fmla="*/ 1485900 w 8601075"/>
                  <a:gd name="connsiteY81" fmla="*/ 419100 h 4333875"/>
                  <a:gd name="connsiteX82" fmla="*/ 1457325 w 8601075"/>
                  <a:gd name="connsiteY82" fmla="*/ 323850 h 4333875"/>
                  <a:gd name="connsiteX83" fmla="*/ 1457325 w 8601075"/>
                  <a:gd name="connsiteY83" fmla="*/ 323850 h 4333875"/>
                  <a:gd name="connsiteX84" fmla="*/ 1323975 w 8601075"/>
                  <a:gd name="connsiteY84" fmla="*/ 285750 h 4333875"/>
                  <a:gd name="connsiteX85" fmla="*/ 1266825 w 8601075"/>
                  <a:gd name="connsiteY85" fmla="*/ 352425 h 4333875"/>
                  <a:gd name="connsiteX86" fmla="*/ 1009650 w 8601075"/>
                  <a:gd name="connsiteY86" fmla="*/ 390525 h 4333875"/>
                  <a:gd name="connsiteX87" fmla="*/ 828675 w 8601075"/>
                  <a:gd name="connsiteY87" fmla="*/ 447675 h 4333875"/>
                  <a:gd name="connsiteX88" fmla="*/ 619125 w 8601075"/>
                  <a:gd name="connsiteY88" fmla="*/ 533400 h 4333875"/>
                  <a:gd name="connsiteX89" fmla="*/ 619125 w 8601075"/>
                  <a:gd name="connsiteY89" fmla="*/ 533400 h 4333875"/>
                  <a:gd name="connsiteX90" fmla="*/ 561975 w 8601075"/>
                  <a:gd name="connsiteY90" fmla="*/ 61912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295275 w 8601075"/>
                  <a:gd name="connsiteY94" fmla="*/ 657225 h 4333875"/>
                  <a:gd name="connsiteX95" fmla="*/ 180975 w 8601075"/>
                  <a:gd name="connsiteY95" fmla="*/ 638175 h 4333875"/>
                  <a:gd name="connsiteX96" fmla="*/ 180975 w 8601075"/>
                  <a:gd name="connsiteY96" fmla="*/ 638175 h 4333875"/>
                  <a:gd name="connsiteX97" fmla="*/ 57150 w 8601075"/>
                  <a:gd name="connsiteY97" fmla="*/ 733425 h 4333875"/>
                  <a:gd name="connsiteX98" fmla="*/ 19050 w 8601075"/>
                  <a:gd name="connsiteY98" fmla="*/ 790575 h 4333875"/>
                  <a:gd name="connsiteX99" fmla="*/ 0 w 8601075"/>
                  <a:gd name="connsiteY99" fmla="*/ 876300 h 4333875"/>
                  <a:gd name="connsiteX100" fmla="*/ 57150 w 8601075"/>
                  <a:gd name="connsiteY100" fmla="*/ 923925 h 4333875"/>
                  <a:gd name="connsiteX101" fmla="*/ 57150 w 8601075"/>
                  <a:gd name="connsiteY101" fmla="*/ 923925 h 4333875"/>
                  <a:gd name="connsiteX102" fmla="*/ 209550 w 8601075"/>
                  <a:gd name="connsiteY102" fmla="*/ 1114425 h 4333875"/>
                  <a:gd name="connsiteX103" fmla="*/ 209550 w 8601075"/>
                  <a:gd name="connsiteY103" fmla="*/ 1114425 h 4333875"/>
                  <a:gd name="connsiteX104" fmla="*/ 266700 w 8601075"/>
                  <a:gd name="connsiteY104" fmla="*/ 1295400 h 4333875"/>
                  <a:gd name="connsiteX105" fmla="*/ 409575 w 8601075"/>
                  <a:gd name="connsiteY105" fmla="*/ 1276350 h 4333875"/>
                  <a:gd name="connsiteX106" fmla="*/ 466725 w 8601075"/>
                  <a:gd name="connsiteY106" fmla="*/ 1362075 h 4333875"/>
                  <a:gd name="connsiteX107" fmla="*/ 542925 w 8601075"/>
                  <a:gd name="connsiteY107" fmla="*/ 1428750 h 4333875"/>
                  <a:gd name="connsiteX108" fmla="*/ 628650 w 8601075"/>
                  <a:gd name="connsiteY108" fmla="*/ 1571625 h 4333875"/>
                  <a:gd name="connsiteX109" fmla="*/ 628650 w 8601075"/>
                  <a:gd name="connsiteY109" fmla="*/ 1704975 h 4333875"/>
                  <a:gd name="connsiteX110" fmla="*/ 676275 w 8601075"/>
                  <a:gd name="connsiteY110" fmla="*/ 1771650 h 4333875"/>
                  <a:gd name="connsiteX111" fmla="*/ 657225 w 8601075"/>
                  <a:gd name="connsiteY111" fmla="*/ 2000250 h 4333875"/>
                  <a:gd name="connsiteX112" fmla="*/ 619125 w 8601075"/>
                  <a:gd name="connsiteY112" fmla="*/ 2095500 h 4333875"/>
                  <a:gd name="connsiteX113" fmla="*/ 542925 w 8601075"/>
                  <a:gd name="connsiteY113" fmla="*/ 2228850 h 4333875"/>
                  <a:gd name="connsiteX114" fmla="*/ 485775 w 8601075"/>
                  <a:gd name="connsiteY114" fmla="*/ 2362200 h 4333875"/>
                  <a:gd name="connsiteX115" fmla="*/ 552450 w 8601075"/>
                  <a:gd name="connsiteY115" fmla="*/ 2486025 h 4333875"/>
                  <a:gd name="connsiteX116" fmla="*/ 771525 w 8601075"/>
                  <a:gd name="connsiteY116" fmla="*/ 2571750 h 4333875"/>
                  <a:gd name="connsiteX117" fmla="*/ 866775 w 8601075"/>
                  <a:gd name="connsiteY117" fmla="*/ 2571750 h 4333875"/>
                  <a:gd name="connsiteX118" fmla="*/ 914400 w 8601075"/>
                  <a:gd name="connsiteY118" fmla="*/ 2638425 h 4333875"/>
                  <a:gd name="connsiteX119" fmla="*/ 1066800 w 8601075"/>
                  <a:gd name="connsiteY119" fmla="*/ 2638425 h 4333875"/>
                  <a:gd name="connsiteX120" fmla="*/ 1285875 w 8601075"/>
                  <a:gd name="connsiteY120" fmla="*/ 2705100 h 4333875"/>
                  <a:gd name="connsiteX121" fmla="*/ 1438275 w 8601075"/>
                  <a:gd name="connsiteY121" fmla="*/ 2838450 h 4333875"/>
                  <a:gd name="connsiteX122" fmla="*/ 1485900 w 8601075"/>
                  <a:gd name="connsiteY122" fmla="*/ 2914650 h 4333875"/>
                  <a:gd name="connsiteX123" fmla="*/ 1657350 w 8601075"/>
                  <a:gd name="connsiteY123" fmla="*/ 3038475 h 4333875"/>
                  <a:gd name="connsiteX124" fmla="*/ 1752600 w 8601075"/>
                  <a:gd name="connsiteY124" fmla="*/ 3057525 h 4333875"/>
                  <a:gd name="connsiteX125" fmla="*/ 1724025 w 8601075"/>
                  <a:gd name="connsiteY125" fmla="*/ 3143250 h 4333875"/>
                  <a:gd name="connsiteX126" fmla="*/ 1724025 w 8601075"/>
                  <a:gd name="connsiteY126" fmla="*/ 3143250 h 4333875"/>
                  <a:gd name="connsiteX127" fmla="*/ 1781175 w 8601075"/>
                  <a:gd name="connsiteY127" fmla="*/ 3181350 h 4333875"/>
                  <a:gd name="connsiteX128" fmla="*/ 1819275 w 8601075"/>
                  <a:gd name="connsiteY128" fmla="*/ 3362325 h 4333875"/>
                  <a:gd name="connsiteX129" fmla="*/ 1828800 w 8601075"/>
                  <a:gd name="connsiteY129" fmla="*/ 3457575 h 4333875"/>
                  <a:gd name="connsiteX130" fmla="*/ 1971675 w 8601075"/>
                  <a:gd name="connsiteY130" fmla="*/ 3590925 h 4333875"/>
                  <a:gd name="connsiteX131" fmla="*/ 1990725 w 8601075"/>
                  <a:gd name="connsiteY131" fmla="*/ 3714750 h 4333875"/>
                  <a:gd name="connsiteX132" fmla="*/ 2200275 w 8601075"/>
                  <a:gd name="connsiteY132" fmla="*/ 3695700 h 4333875"/>
                  <a:gd name="connsiteX133" fmla="*/ 2886075 w 8601075"/>
                  <a:gd name="connsiteY133" fmla="*/ 3886200 h 4333875"/>
                  <a:gd name="connsiteX134" fmla="*/ 3038475 w 8601075"/>
                  <a:gd name="connsiteY134" fmla="*/ 3819525 h 4333875"/>
                  <a:gd name="connsiteX135" fmla="*/ 3105150 w 8601075"/>
                  <a:gd name="connsiteY135" fmla="*/ 3867150 h 4333875"/>
                  <a:gd name="connsiteX136" fmla="*/ 3181350 w 8601075"/>
                  <a:gd name="connsiteY136" fmla="*/ 3800475 h 4333875"/>
                  <a:gd name="connsiteX137" fmla="*/ 3590925 w 8601075"/>
                  <a:gd name="connsiteY137" fmla="*/ 3943350 h 4333875"/>
                  <a:gd name="connsiteX138" fmla="*/ 3686175 w 8601075"/>
                  <a:gd name="connsiteY138" fmla="*/ 4057650 h 4333875"/>
                  <a:gd name="connsiteX139" fmla="*/ 3838575 w 8601075"/>
                  <a:gd name="connsiteY139" fmla="*/ 4057650 h 4333875"/>
                  <a:gd name="connsiteX140" fmla="*/ 4162425 w 8601075"/>
                  <a:gd name="connsiteY140" fmla="*/ 4248150 h 4333875"/>
                  <a:gd name="connsiteX141" fmla="*/ 4391025 w 8601075"/>
                  <a:gd name="connsiteY141" fmla="*/ 4200525 h 4333875"/>
                  <a:gd name="connsiteX142" fmla="*/ 4410075 w 8601075"/>
                  <a:gd name="connsiteY142" fmla="*/ 4305300 h 4333875"/>
                  <a:gd name="connsiteX143" fmla="*/ 4505325 w 8601075"/>
                  <a:gd name="connsiteY143" fmla="*/ 4276725 h 4333875"/>
                  <a:gd name="connsiteX144" fmla="*/ 4572000 w 8601075"/>
                  <a:gd name="connsiteY144" fmla="*/ 4333875 h 4333875"/>
                  <a:gd name="connsiteX145" fmla="*/ 4591050 w 8601075"/>
                  <a:gd name="connsiteY145" fmla="*/ 4248150 h 4333875"/>
                  <a:gd name="connsiteX146" fmla="*/ 5295900 w 8601075"/>
                  <a:gd name="connsiteY146" fmla="*/ 3924300 h 4333875"/>
                  <a:gd name="connsiteX147" fmla="*/ 5353050 w 8601075"/>
                  <a:gd name="connsiteY147" fmla="*/ 3990975 h 4333875"/>
                  <a:gd name="connsiteX148" fmla="*/ 5524500 w 8601075"/>
                  <a:gd name="connsiteY148" fmla="*/ 3914775 h 4333875"/>
                  <a:gd name="connsiteX149" fmla="*/ 5667375 w 8601075"/>
                  <a:gd name="connsiteY149" fmla="*/ 3962400 h 4333875"/>
                  <a:gd name="connsiteX150" fmla="*/ 5753100 w 8601075"/>
                  <a:gd name="connsiteY150" fmla="*/ 3924300 h 4333875"/>
                  <a:gd name="connsiteX151" fmla="*/ 5905500 w 8601075"/>
                  <a:gd name="connsiteY151" fmla="*/ 3943350 h 4333875"/>
                  <a:gd name="connsiteX152" fmla="*/ 6000750 w 8601075"/>
                  <a:gd name="connsiteY152" fmla="*/ 3800475 h 4333875"/>
                  <a:gd name="connsiteX153" fmla="*/ 6153150 w 8601075"/>
                  <a:gd name="connsiteY153" fmla="*/ 3781425 h 4333875"/>
                  <a:gd name="connsiteX154" fmla="*/ 6257925 w 8601075"/>
                  <a:gd name="connsiteY154" fmla="*/ 3581400 h 4333875"/>
                  <a:gd name="connsiteX155" fmla="*/ 6448425 w 8601075"/>
                  <a:gd name="connsiteY155" fmla="*/ 3448050 h 4333875"/>
                  <a:gd name="connsiteX156" fmla="*/ 6581775 w 8601075"/>
                  <a:gd name="connsiteY156" fmla="*/ 3276600 h 4333875"/>
                  <a:gd name="connsiteX157" fmla="*/ 6496050 w 8601075"/>
                  <a:gd name="connsiteY157" fmla="*/ 3228975 h 4333875"/>
                  <a:gd name="connsiteX158" fmla="*/ 6438900 w 8601075"/>
                  <a:gd name="connsiteY158" fmla="*/ 3162300 h 4333875"/>
                  <a:gd name="connsiteX159" fmla="*/ 6419850 w 8601075"/>
                  <a:gd name="connsiteY159" fmla="*/ 3105150 h 4333875"/>
                  <a:gd name="connsiteX160" fmla="*/ 6362700 w 8601075"/>
                  <a:gd name="connsiteY160" fmla="*/ 3076575 h 4333875"/>
                  <a:gd name="connsiteX161" fmla="*/ 6410325 w 8601075"/>
                  <a:gd name="connsiteY161" fmla="*/ 3019425 h 4333875"/>
                  <a:gd name="connsiteX162" fmla="*/ 6438900 w 8601075"/>
                  <a:gd name="connsiteY162" fmla="*/ 2819400 h 4333875"/>
                  <a:gd name="connsiteX163" fmla="*/ 6496050 w 8601075"/>
                  <a:gd name="connsiteY163" fmla="*/ 2762250 h 4333875"/>
                  <a:gd name="connsiteX164" fmla="*/ 6657975 w 8601075"/>
                  <a:gd name="connsiteY164" fmla="*/ 2752725 h 4333875"/>
                  <a:gd name="connsiteX165" fmla="*/ 6781800 w 8601075"/>
                  <a:gd name="connsiteY165" fmla="*/ 2838450 h 4333875"/>
                  <a:gd name="connsiteX166" fmla="*/ 7010400 w 8601075"/>
                  <a:gd name="connsiteY166" fmla="*/ 2838450 h 4333875"/>
                  <a:gd name="connsiteX167" fmla="*/ 7162800 w 8601075"/>
                  <a:gd name="connsiteY167" fmla="*/ 2705100 h 4333875"/>
                  <a:gd name="connsiteX168" fmla="*/ 7229475 w 8601075"/>
                  <a:gd name="connsiteY168" fmla="*/ 2590800 h 4333875"/>
                  <a:gd name="connsiteX169" fmla="*/ 7248525 w 8601075"/>
                  <a:gd name="connsiteY169" fmla="*/ 2524125 h 4333875"/>
                  <a:gd name="connsiteX170" fmla="*/ 7372350 w 8601075"/>
                  <a:gd name="connsiteY170" fmla="*/ 2543175 h 4333875"/>
                  <a:gd name="connsiteX171" fmla="*/ 7553325 w 8601075"/>
                  <a:gd name="connsiteY171" fmla="*/ 2447925 h 4333875"/>
                  <a:gd name="connsiteX172" fmla="*/ 7620000 w 8601075"/>
                  <a:gd name="connsiteY172" fmla="*/ 2324100 h 4333875"/>
                  <a:gd name="connsiteX173" fmla="*/ 7696200 w 8601075"/>
                  <a:gd name="connsiteY173" fmla="*/ 2314575 h 4333875"/>
                  <a:gd name="connsiteX174" fmla="*/ 7658100 w 8601075"/>
                  <a:gd name="connsiteY174" fmla="*/ 2257425 h 4333875"/>
                  <a:gd name="connsiteX175" fmla="*/ 7753350 w 8601075"/>
                  <a:gd name="connsiteY175" fmla="*/ 2057400 h 4333875"/>
                  <a:gd name="connsiteX176" fmla="*/ 7934325 w 8601075"/>
                  <a:gd name="connsiteY176" fmla="*/ 2028825 h 4333875"/>
                  <a:gd name="connsiteX177" fmla="*/ 7953375 w 8601075"/>
                  <a:gd name="connsiteY177" fmla="*/ 1952625 h 4333875"/>
                  <a:gd name="connsiteX178" fmla="*/ 7953375 w 8601075"/>
                  <a:gd name="connsiteY178" fmla="*/ 1952625 h 4333875"/>
                  <a:gd name="connsiteX179" fmla="*/ 8010525 w 8601075"/>
                  <a:gd name="connsiteY179" fmla="*/ 1895475 h 4333875"/>
                  <a:gd name="connsiteX180" fmla="*/ 8048625 w 8601075"/>
                  <a:gd name="connsiteY180" fmla="*/ 1971675 h 4333875"/>
                  <a:gd name="connsiteX181" fmla="*/ 8077200 w 8601075"/>
                  <a:gd name="connsiteY181" fmla="*/ 1885950 h 4333875"/>
                  <a:gd name="connsiteX182" fmla="*/ 8220075 w 8601075"/>
                  <a:gd name="connsiteY182" fmla="*/ 1847850 h 4333875"/>
                  <a:gd name="connsiteX183" fmla="*/ 8296275 w 8601075"/>
                  <a:gd name="connsiteY183" fmla="*/ 1809750 h 4333875"/>
                  <a:gd name="connsiteX184" fmla="*/ 8324850 w 8601075"/>
                  <a:gd name="connsiteY184" fmla="*/ 1790700 h 4333875"/>
                  <a:gd name="connsiteX185" fmla="*/ 8410575 w 8601075"/>
                  <a:gd name="connsiteY185" fmla="*/ 1847850 h 4333875"/>
                  <a:gd name="connsiteX186" fmla="*/ 8505825 w 8601075"/>
                  <a:gd name="connsiteY186" fmla="*/ 1781175 h 4333875"/>
                  <a:gd name="connsiteX187" fmla="*/ 8572500 w 8601075"/>
                  <a:gd name="connsiteY187" fmla="*/ 1809750 h 4333875"/>
                  <a:gd name="connsiteX188" fmla="*/ 8601075 w 8601075"/>
                  <a:gd name="connsiteY188" fmla="*/ 1704975 h 4333875"/>
                  <a:gd name="connsiteX189" fmla="*/ 8553450 w 8601075"/>
                  <a:gd name="connsiteY189" fmla="*/ 1676400 h 4333875"/>
                  <a:gd name="connsiteX190" fmla="*/ 8534400 w 8601075"/>
                  <a:gd name="connsiteY190" fmla="*/ 1609725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124825 w 8601075"/>
                  <a:gd name="connsiteY194" fmla="*/ 1352550 h 4333875"/>
                  <a:gd name="connsiteX195" fmla="*/ 7924800 w 8601075"/>
                  <a:gd name="connsiteY195" fmla="*/ 1362075 h 4333875"/>
                  <a:gd name="connsiteX196" fmla="*/ 7867650 w 8601075"/>
                  <a:gd name="connsiteY196" fmla="*/ 1457325 h 4333875"/>
                  <a:gd name="connsiteX197" fmla="*/ 7896225 w 8601075"/>
                  <a:gd name="connsiteY197" fmla="*/ 1476375 h 4333875"/>
                  <a:gd name="connsiteX198" fmla="*/ 7858125 w 8601075"/>
                  <a:gd name="connsiteY198" fmla="*/ 1533525 h 4333875"/>
                  <a:gd name="connsiteX199" fmla="*/ 7658100 w 8601075"/>
                  <a:gd name="connsiteY199" fmla="*/ 1447800 h 4333875"/>
                  <a:gd name="connsiteX200" fmla="*/ 7515225 w 8601075"/>
                  <a:gd name="connsiteY200" fmla="*/ 1495425 h 4333875"/>
                  <a:gd name="connsiteX201" fmla="*/ 7467600 w 8601075"/>
                  <a:gd name="connsiteY201" fmla="*/ 1581150 h 4333875"/>
                  <a:gd name="connsiteX202" fmla="*/ 7296150 w 8601075"/>
                  <a:gd name="connsiteY20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00450 w 8601075"/>
                  <a:gd name="connsiteY54" fmla="*/ 285750 h 4333875"/>
                  <a:gd name="connsiteX55" fmla="*/ 3533775 w 8601075"/>
                  <a:gd name="connsiteY55" fmla="*/ 314325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533775 w 8601075"/>
                  <a:gd name="connsiteY55" fmla="*/ 314325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40881 w 8601075"/>
                  <a:gd name="connsiteY57" fmla="*/ 169068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2990850 w 8601075"/>
                  <a:gd name="connsiteY61" fmla="*/ 0 h 4333875"/>
                  <a:gd name="connsiteX62" fmla="*/ 2933700 w 8601075"/>
                  <a:gd name="connsiteY62" fmla="*/ 114300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33700 w 8601075"/>
                  <a:gd name="connsiteY62" fmla="*/ 114300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67025 w 8601075"/>
                  <a:gd name="connsiteY64" fmla="*/ 171450 h 4333875"/>
                  <a:gd name="connsiteX65" fmla="*/ 2867025 w 8601075"/>
                  <a:gd name="connsiteY65" fmla="*/ 171450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67025 w 8601075"/>
                  <a:gd name="connsiteY64" fmla="*/ 171450 h 4333875"/>
                  <a:gd name="connsiteX65" fmla="*/ 2852738 w 8601075"/>
                  <a:gd name="connsiteY65" fmla="*/ 138113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0350 w 8601075"/>
                  <a:gd name="connsiteY67" fmla="*/ 257175 h 4333875"/>
                  <a:gd name="connsiteX68" fmla="*/ 2724150 w 8601075"/>
                  <a:gd name="connsiteY68" fmla="*/ 304800 h 4333875"/>
                  <a:gd name="connsiteX69" fmla="*/ 2705100 w 8601075"/>
                  <a:gd name="connsiteY69" fmla="*/ 466725 h 4333875"/>
                  <a:gd name="connsiteX70" fmla="*/ 2762250 w 8601075"/>
                  <a:gd name="connsiteY70" fmla="*/ 571500 h 4333875"/>
                  <a:gd name="connsiteX71" fmla="*/ 2800350 w 8601075"/>
                  <a:gd name="connsiteY71" fmla="*/ 628650 h 4333875"/>
                  <a:gd name="connsiteX72" fmla="*/ 2752725 w 8601075"/>
                  <a:gd name="connsiteY72" fmla="*/ 781050 h 4333875"/>
                  <a:gd name="connsiteX73" fmla="*/ 2686050 w 8601075"/>
                  <a:gd name="connsiteY73" fmla="*/ 857250 h 4333875"/>
                  <a:gd name="connsiteX74" fmla="*/ 2609850 w 8601075"/>
                  <a:gd name="connsiteY74" fmla="*/ 857250 h 4333875"/>
                  <a:gd name="connsiteX75" fmla="*/ 2514600 w 8601075"/>
                  <a:gd name="connsiteY75" fmla="*/ 914400 h 4333875"/>
                  <a:gd name="connsiteX76" fmla="*/ 2400300 w 8601075"/>
                  <a:gd name="connsiteY76" fmla="*/ 866775 h 4333875"/>
                  <a:gd name="connsiteX77" fmla="*/ 2305050 w 8601075"/>
                  <a:gd name="connsiteY77" fmla="*/ 809625 h 4333875"/>
                  <a:gd name="connsiteX78" fmla="*/ 2200275 w 8601075"/>
                  <a:gd name="connsiteY78" fmla="*/ 752475 h 4333875"/>
                  <a:gd name="connsiteX79" fmla="*/ 2105025 w 8601075"/>
                  <a:gd name="connsiteY79" fmla="*/ 762000 h 4333875"/>
                  <a:gd name="connsiteX80" fmla="*/ 1990725 w 8601075"/>
                  <a:gd name="connsiteY80" fmla="*/ 762000 h 4333875"/>
                  <a:gd name="connsiteX81" fmla="*/ 1885950 w 8601075"/>
                  <a:gd name="connsiteY81" fmla="*/ 742950 h 4333875"/>
                  <a:gd name="connsiteX82" fmla="*/ 1800225 w 8601075"/>
                  <a:gd name="connsiteY82" fmla="*/ 638175 h 4333875"/>
                  <a:gd name="connsiteX83" fmla="*/ 1809750 w 8601075"/>
                  <a:gd name="connsiteY83" fmla="*/ 495300 h 4333875"/>
                  <a:gd name="connsiteX84" fmla="*/ 1733550 w 8601075"/>
                  <a:gd name="connsiteY84" fmla="*/ 466725 h 4333875"/>
                  <a:gd name="connsiteX85" fmla="*/ 1485900 w 8601075"/>
                  <a:gd name="connsiteY85" fmla="*/ 419100 h 4333875"/>
                  <a:gd name="connsiteX86" fmla="*/ 1457325 w 8601075"/>
                  <a:gd name="connsiteY86" fmla="*/ 323850 h 4333875"/>
                  <a:gd name="connsiteX87" fmla="*/ 1457325 w 8601075"/>
                  <a:gd name="connsiteY87" fmla="*/ 323850 h 4333875"/>
                  <a:gd name="connsiteX88" fmla="*/ 1323975 w 8601075"/>
                  <a:gd name="connsiteY88" fmla="*/ 285750 h 4333875"/>
                  <a:gd name="connsiteX89" fmla="*/ 1266825 w 8601075"/>
                  <a:gd name="connsiteY89" fmla="*/ 352425 h 4333875"/>
                  <a:gd name="connsiteX90" fmla="*/ 1009650 w 8601075"/>
                  <a:gd name="connsiteY90" fmla="*/ 390525 h 4333875"/>
                  <a:gd name="connsiteX91" fmla="*/ 828675 w 8601075"/>
                  <a:gd name="connsiteY91" fmla="*/ 447675 h 4333875"/>
                  <a:gd name="connsiteX92" fmla="*/ 619125 w 8601075"/>
                  <a:gd name="connsiteY92" fmla="*/ 533400 h 4333875"/>
                  <a:gd name="connsiteX93" fmla="*/ 619125 w 8601075"/>
                  <a:gd name="connsiteY93" fmla="*/ 533400 h 4333875"/>
                  <a:gd name="connsiteX94" fmla="*/ 561975 w 8601075"/>
                  <a:gd name="connsiteY94" fmla="*/ 61912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295275 w 8601075"/>
                  <a:gd name="connsiteY98" fmla="*/ 657225 h 4333875"/>
                  <a:gd name="connsiteX99" fmla="*/ 180975 w 8601075"/>
                  <a:gd name="connsiteY99" fmla="*/ 638175 h 4333875"/>
                  <a:gd name="connsiteX100" fmla="*/ 180975 w 8601075"/>
                  <a:gd name="connsiteY100" fmla="*/ 638175 h 4333875"/>
                  <a:gd name="connsiteX101" fmla="*/ 57150 w 8601075"/>
                  <a:gd name="connsiteY101" fmla="*/ 733425 h 4333875"/>
                  <a:gd name="connsiteX102" fmla="*/ 19050 w 8601075"/>
                  <a:gd name="connsiteY102" fmla="*/ 790575 h 4333875"/>
                  <a:gd name="connsiteX103" fmla="*/ 0 w 8601075"/>
                  <a:gd name="connsiteY103" fmla="*/ 876300 h 4333875"/>
                  <a:gd name="connsiteX104" fmla="*/ 57150 w 8601075"/>
                  <a:gd name="connsiteY104" fmla="*/ 923925 h 4333875"/>
                  <a:gd name="connsiteX105" fmla="*/ 57150 w 8601075"/>
                  <a:gd name="connsiteY105" fmla="*/ 923925 h 4333875"/>
                  <a:gd name="connsiteX106" fmla="*/ 209550 w 8601075"/>
                  <a:gd name="connsiteY106" fmla="*/ 1114425 h 4333875"/>
                  <a:gd name="connsiteX107" fmla="*/ 209550 w 8601075"/>
                  <a:gd name="connsiteY107" fmla="*/ 1114425 h 4333875"/>
                  <a:gd name="connsiteX108" fmla="*/ 266700 w 8601075"/>
                  <a:gd name="connsiteY108" fmla="*/ 1295400 h 4333875"/>
                  <a:gd name="connsiteX109" fmla="*/ 409575 w 8601075"/>
                  <a:gd name="connsiteY109" fmla="*/ 1276350 h 4333875"/>
                  <a:gd name="connsiteX110" fmla="*/ 466725 w 8601075"/>
                  <a:gd name="connsiteY110" fmla="*/ 1362075 h 4333875"/>
                  <a:gd name="connsiteX111" fmla="*/ 542925 w 8601075"/>
                  <a:gd name="connsiteY111" fmla="*/ 1428750 h 4333875"/>
                  <a:gd name="connsiteX112" fmla="*/ 628650 w 8601075"/>
                  <a:gd name="connsiteY112" fmla="*/ 1571625 h 4333875"/>
                  <a:gd name="connsiteX113" fmla="*/ 628650 w 8601075"/>
                  <a:gd name="connsiteY113" fmla="*/ 1704975 h 4333875"/>
                  <a:gd name="connsiteX114" fmla="*/ 676275 w 8601075"/>
                  <a:gd name="connsiteY114" fmla="*/ 1771650 h 4333875"/>
                  <a:gd name="connsiteX115" fmla="*/ 657225 w 8601075"/>
                  <a:gd name="connsiteY115" fmla="*/ 2000250 h 4333875"/>
                  <a:gd name="connsiteX116" fmla="*/ 619125 w 8601075"/>
                  <a:gd name="connsiteY116" fmla="*/ 2095500 h 4333875"/>
                  <a:gd name="connsiteX117" fmla="*/ 542925 w 8601075"/>
                  <a:gd name="connsiteY117" fmla="*/ 2228850 h 4333875"/>
                  <a:gd name="connsiteX118" fmla="*/ 485775 w 8601075"/>
                  <a:gd name="connsiteY118" fmla="*/ 2362200 h 4333875"/>
                  <a:gd name="connsiteX119" fmla="*/ 552450 w 8601075"/>
                  <a:gd name="connsiteY119" fmla="*/ 2486025 h 4333875"/>
                  <a:gd name="connsiteX120" fmla="*/ 771525 w 8601075"/>
                  <a:gd name="connsiteY120" fmla="*/ 2571750 h 4333875"/>
                  <a:gd name="connsiteX121" fmla="*/ 866775 w 8601075"/>
                  <a:gd name="connsiteY121" fmla="*/ 2571750 h 4333875"/>
                  <a:gd name="connsiteX122" fmla="*/ 914400 w 8601075"/>
                  <a:gd name="connsiteY122" fmla="*/ 2638425 h 4333875"/>
                  <a:gd name="connsiteX123" fmla="*/ 1066800 w 8601075"/>
                  <a:gd name="connsiteY123" fmla="*/ 2638425 h 4333875"/>
                  <a:gd name="connsiteX124" fmla="*/ 1285875 w 8601075"/>
                  <a:gd name="connsiteY124" fmla="*/ 2705100 h 4333875"/>
                  <a:gd name="connsiteX125" fmla="*/ 1438275 w 8601075"/>
                  <a:gd name="connsiteY125" fmla="*/ 2838450 h 4333875"/>
                  <a:gd name="connsiteX126" fmla="*/ 1485900 w 8601075"/>
                  <a:gd name="connsiteY126" fmla="*/ 2914650 h 4333875"/>
                  <a:gd name="connsiteX127" fmla="*/ 1657350 w 8601075"/>
                  <a:gd name="connsiteY127" fmla="*/ 3038475 h 4333875"/>
                  <a:gd name="connsiteX128" fmla="*/ 1752600 w 8601075"/>
                  <a:gd name="connsiteY128" fmla="*/ 3057525 h 4333875"/>
                  <a:gd name="connsiteX129" fmla="*/ 1724025 w 8601075"/>
                  <a:gd name="connsiteY129" fmla="*/ 3143250 h 4333875"/>
                  <a:gd name="connsiteX130" fmla="*/ 1724025 w 8601075"/>
                  <a:gd name="connsiteY130" fmla="*/ 3143250 h 4333875"/>
                  <a:gd name="connsiteX131" fmla="*/ 1781175 w 8601075"/>
                  <a:gd name="connsiteY131" fmla="*/ 3181350 h 4333875"/>
                  <a:gd name="connsiteX132" fmla="*/ 1819275 w 8601075"/>
                  <a:gd name="connsiteY132" fmla="*/ 3362325 h 4333875"/>
                  <a:gd name="connsiteX133" fmla="*/ 1828800 w 8601075"/>
                  <a:gd name="connsiteY133" fmla="*/ 3457575 h 4333875"/>
                  <a:gd name="connsiteX134" fmla="*/ 1971675 w 8601075"/>
                  <a:gd name="connsiteY134" fmla="*/ 3590925 h 4333875"/>
                  <a:gd name="connsiteX135" fmla="*/ 1990725 w 8601075"/>
                  <a:gd name="connsiteY135" fmla="*/ 3714750 h 4333875"/>
                  <a:gd name="connsiteX136" fmla="*/ 2200275 w 8601075"/>
                  <a:gd name="connsiteY136" fmla="*/ 3695700 h 4333875"/>
                  <a:gd name="connsiteX137" fmla="*/ 2886075 w 8601075"/>
                  <a:gd name="connsiteY137" fmla="*/ 3886200 h 4333875"/>
                  <a:gd name="connsiteX138" fmla="*/ 3038475 w 8601075"/>
                  <a:gd name="connsiteY138" fmla="*/ 3819525 h 4333875"/>
                  <a:gd name="connsiteX139" fmla="*/ 3105150 w 8601075"/>
                  <a:gd name="connsiteY139" fmla="*/ 3867150 h 4333875"/>
                  <a:gd name="connsiteX140" fmla="*/ 3181350 w 8601075"/>
                  <a:gd name="connsiteY140" fmla="*/ 3800475 h 4333875"/>
                  <a:gd name="connsiteX141" fmla="*/ 3590925 w 8601075"/>
                  <a:gd name="connsiteY141" fmla="*/ 3943350 h 4333875"/>
                  <a:gd name="connsiteX142" fmla="*/ 3686175 w 8601075"/>
                  <a:gd name="connsiteY142" fmla="*/ 4057650 h 4333875"/>
                  <a:gd name="connsiteX143" fmla="*/ 3838575 w 8601075"/>
                  <a:gd name="connsiteY143" fmla="*/ 4057650 h 4333875"/>
                  <a:gd name="connsiteX144" fmla="*/ 4162425 w 8601075"/>
                  <a:gd name="connsiteY144" fmla="*/ 4248150 h 4333875"/>
                  <a:gd name="connsiteX145" fmla="*/ 4391025 w 8601075"/>
                  <a:gd name="connsiteY145" fmla="*/ 4200525 h 4333875"/>
                  <a:gd name="connsiteX146" fmla="*/ 4410075 w 8601075"/>
                  <a:gd name="connsiteY146" fmla="*/ 4305300 h 4333875"/>
                  <a:gd name="connsiteX147" fmla="*/ 4505325 w 8601075"/>
                  <a:gd name="connsiteY147" fmla="*/ 4276725 h 4333875"/>
                  <a:gd name="connsiteX148" fmla="*/ 4572000 w 8601075"/>
                  <a:gd name="connsiteY148" fmla="*/ 4333875 h 4333875"/>
                  <a:gd name="connsiteX149" fmla="*/ 4591050 w 8601075"/>
                  <a:gd name="connsiteY149" fmla="*/ 4248150 h 4333875"/>
                  <a:gd name="connsiteX150" fmla="*/ 5295900 w 8601075"/>
                  <a:gd name="connsiteY150" fmla="*/ 3924300 h 4333875"/>
                  <a:gd name="connsiteX151" fmla="*/ 5353050 w 8601075"/>
                  <a:gd name="connsiteY151" fmla="*/ 3990975 h 4333875"/>
                  <a:gd name="connsiteX152" fmla="*/ 5524500 w 8601075"/>
                  <a:gd name="connsiteY152" fmla="*/ 3914775 h 4333875"/>
                  <a:gd name="connsiteX153" fmla="*/ 5667375 w 8601075"/>
                  <a:gd name="connsiteY153" fmla="*/ 3962400 h 4333875"/>
                  <a:gd name="connsiteX154" fmla="*/ 5753100 w 8601075"/>
                  <a:gd name="connsiteY154" fmla="*/ 3924300 h 4333875"/>
                  <a:gd name="connsiteX155" fmla="*/ 5905500 w 8601075"/>
                  <a:gd name="connsiteY155" fmla="*/ 3943350 h 4333875"/>
                  <a:gd name="connsiteX156" fmla="*/ 6000750 w 8601075"/>
                  <a:gd name="connsiteY156" fmla="*/ 3800475 h 4333875"/>
                  <a:gd name="connsiteX157" fmla="*/ 6153150 w 8601075"/>
                  <a:gd name="connsiteY157" fmla="*/ 3781425 h 4333875"/>
                  <a:gd name="connsiteX158" fmla="*/ 6257925 w 8601075"/>
                  <a:gd name="connsiteY158" fmla="*/ 3581400 h 4333875"/>
                  <a:gd name="connsiteX159" fmla="*/ 6448425 w 8601075"/>
                  <a:gd name="connsiteY159" fmla="*/ 3448050 h 4333875"/>
                  <a:gd name="connsiteX160" fmla="*/ 6581775 w 8601075"/>
                  <a:gd name="connsiteY160" fmla="*/ 3276600 h 4333875"/>
                  <a:gd name="connsiteX161" fmla="*/ 6496050 w 8601075"/>
                  <a:gd name="connsiteY161" fmla="*/ 3228975 h 4333875"/>
                  <a:gd name="connsiteX162" fmla="*/ 6438900 w 8601075"/>
                  <a:gd name="connsiteY162" fmla="*/ 3162300 h 4333875"/>
                  <a:gd name="connsiteX163" fmla="*/ 6419850 w 8601075"/>
                  <a:gd name="connsiteY163" fmla="*/ 3105150 h 4333875"/>
                  <a:gd name="connsiteX164" fmla="*/ 6362700 w 8601075"/>
                  <a:gd name="connsiteY164" fmla="*/ 3076575 h 4333875"/>
                  <a:gd name="connsiteX165" fmla="*/ 6410325 w 8601075"/>
                  <a:gd name="connsiteY165" fmla="*/ 3019425 h 4333875"/>
                  <a:gd name="connsiteX166" fmla="*/ 6438900 w 8601075"/>
                  <a:gd name="connsiteY166" fmla="*/ 2819400 h 4333875"/>
                  <a:gd name="connsiteX167" fmla="*/ 6496050 w 8601075"/>
                  <a:gd name="connsiteY167" fmla="*/ 2762250 h 4333875"/>
                  <a:gd name="connsiteX168" fmla="*/ 6657975 w 8601075"/>
                  <a:gd name="connsiteY168" fmla="*/ 2752725 h 4333875"/>
                  <a:gd name="connsiteX169" fmla="*/ 6781800 w 8601075"/>
                  <a:gd name="connsiteY169" fmla="*/ 2838450 h 4333875"/>
                  <a:gd name="connsiteX170" fmla="*/ 7010400 w 8601075"/>
                  <a:gd name="connsiteY170" fmla="*/ 2838450 h 4333875"/>
                  <a:gd name="connsiteX171" fmla="*/ 7162800 w 8601075"/>
                  <a:gd name="connsiteY171" fmla="*/ 2705100 h 4333875"/>
                  <a:gd name="connsiteX172" fmla="*/ 7229475 w 8601075"/>
                  <a:gd name="connsiteY172" fmla="*/ 2590800 h 4333875"/>
                  <a:gd name="connsiteX173" fmla="*/ 7248525 w 8601075"/>
                  <a:gd name="connsiteY173" fmla="*/ 2524125 h 4333875"/>
                  <a:gd name="connsiteX174" fmla="*/ 7372350 w 8601075"/>
                  <a:gd name="connsiteY174" fmla="*/ 2543175 h 4333875"/>
                  <a:gd name="connsiteX175" fmla="*/ 7553325 w 8601075"/>
                  <a:gd name="connsiteY175" fmla="*/ 2447925 h 4333875"/>
                  <a:gd name="connsiteX176" fmla="*/ 7620000 w 8601075"/>
                  <a:gd name="connsiteY176" fmla="*/ 2324100 h 4333875"/>
                  <a:gd name="connsiteX177" fmla="*/ 7696200 w 8601075"/>
                  <a:gd name="connsiteY177" fmla="*/ 2314575 h 4333875"/>
                  <a:gd name="connsiteX178" fmla="*/ 7658100 w 8601075"/>
                  <a:gd name="connsiteY178" fmla="*/ 2257425 h 4333875"/>
                  <a:gd name="connsiteX179" fmla="*/ 7753350 w 8601075"/>
                  <a:gd name="connsiteY179" fmla="*/ 2057400 h 4333875"/>
                  <a:gd name="connsiteX180" fmla="*/ 7934325 w 8601075"/>
                  <a:gd name="connsiteY180" fmla="*/ 2028825 h 4333875"/>
                  <a:gd name="connsiteX181" fmla="*/ 7953375 w 8601075"/>
                  <a:gd name="connsiteY181" fmla="*/ 1952625 h 4333875"/>
                  <a:gd name="connsiteX182" fmla="*/ 7953375 w 8601075"/>
                  <a:gd name="connsiteY182" fmla="*/ 1952625 h 4333875"/>
                  <a:gd name="connsiteX183" fmla="*/ 8010525 w 8601075"/>
                  <a:gd name="connsiteY183" fmla="*/ 1895475 h 4333875"/>
                  <a:gd name="connsiteX184" fmla="*/ 8048625 w 8601075"/>
                  <a:gd name="connsiteY184" fmla="*/ 1971675 h 4333875"/>
                  <a:gd name="connsiteX185" fmla="*/ 8077200 w 8601075"/>
                  <a:gd name="connsiteY185" fmla="*/ 1885950 h 4333875"/>
                  <a:gd name="connsiteX186" fmla="*/ 8220075 w 8601075"/>
                  <a:gd name="connsiteY186" fmla="*/ 1847850 h 4333875"/>
                  <a:gd name="connsiteX187" fmla="*/ 8296275 w 8601075"/>
                  <a:gd name="connsiteY187" fmla="*/ 1809750 h 4333875"/>
                  <a:gd name="connsiteX188" fmla="*/ 8324850 w 8601075"/>
                  <a:gd name="connsiteY188" fmla="*/ 1790700 h 4333875"/>
                  <a:gd name="connsiteX189" fmla="*/ 8410575 w 8601075"/>
                  <a:gd name="connsiteY189" fmla="*/ 1847850 h 4333875"/>
                  <a:gd name="connsiteX190" fmla="*/ 8505825 w 8601075"/>
                  <a:gd name="connsiteY190" fmla="*/ 1781175 h 4333875"/>
                  <a:gd name="connsiteX191" fmla="*/ 8572500 w 8601075"/>
                  <a:gd name="connsiteY191" fmla="*/ 1809750 h 4333875"/>
                  <a:gd name="connsiteX192" fmla="*/ 8601075 w 8601075"/>
                  <a:gd name="connsiteY192" fmla="*/ 1704975 h 4333875"/>
                  <a:gd name="connsiteX193" fmla="*/ 8553450 w 8601075"/>
                  <a:gd name="connsiteY193" fmla="*/ 1676400 h 4333875"/>
                  <a:gd name="connsiteX194" fmla="*/ 8534400 w 8601075"/>
                  <a:gd name="connsiteY194" fmla="*/ 1609725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124825 w 8601075"/>
                  <a:gd name="connsiteY198" fmla="*/ 1352550 h 4333875"/>
                  <a:gd name="connsiteX199" fmla="*/ 7924800 w 8601075"/>
                  <a:gd name="connsiteY199" fmla="*/ 1362075 h 4333875"/>
                  <a:gd name="connsiteX200" fmla="*/ 7867650 w 8601075"/>
                  <a:gd name="connsiteY200" fmla="*/ 1457325 h 4333875"/>
                  <a:gd name="connsiteX201" fmla="*/ 7896225 w 8601075"/>
                  <a:gd name="connsiteY201" fmla="*/ 1476375 h 4333875"/>
                  <a:gd name="connsiteX202" fmla="*/ 7858125 w 8601075"/>
                  <a:gd name="connsiteY202" fmla="*/ 1533525 h 4333875"/>
                  <a:gd name="connsiteX203" fmla="*/ 7658100 w 8601075"/>
                  <a:gd name="connsiteY203" fmla="*/ 1447800 h 4333875"/>
                  <a:gd name="connsiteX204" fmla="*/ 7515225 w 8601075"/>
                  <a:gd name="connsiteY204" fmla="*/ 1495425 h 4333875"/>
                  <a:gd name="connsiteX205" fmla="*/ 7467600 w 8601075"/>
                  <a:gd name="connsiteY205" fmla="*/ 1581150 h 4333875"/>
                  <a:gd name="connsiteX206" fmla="*/ 7296150 w 8601075"/>
                  <a:gd name="connsiteY20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17018 w 8601075"/>
                  <a:gd name="connsiteY67" fmla="*/ 230981 h 4333875"/>
                  <a:gd name="connsiteX68" fmla="*/ 2724150 w 8601075"/>
                  <a:gd name="connsiteY68" fmla="*/ 304800 h 4333875"/>
                  <a:gd name="connsiteX69" fmla="*/ 2705100 w 8601075"/>
                  <a:gd name="connsiteY69" fmla="*/ 466725 h 4333875"/>
                  <a:gd name="connsiteX70" fmla="*/ 2762250 w 8601075"/>
                  <a:gd name="connsiteY70" fmla="*/ 571500 h 4333875"/>
                  <a:gd name="connsiteX71" fmla="*/ 2800350 w 8601075"/>
                  <a:gd name="connsiteY71" fmla="*/ 628650 h 4333875"/>
                  <a:gd name="connsiteX72" fmla="*/ 2752725 w 8601075"/>
                  <a:gd name="connsiteY72" fmla="*/ 781050 h 4333875"/>
                  <a:gd name="connsiteX73" fmla="*/ 2686050 w 8601075"/>
                  <a:gd name="connsiteY73" fmla="*/ 857250 h 4333875"/>
                  <a:gd name="connsiteX74" fmla="*/ 2609850 w 8601075"/>
                  <a:gd name="connsiteY74" fmla="*/ 857250 h 4333875"/>
                  <a:gd name="connsiteX75" fmla="*/ 2514600 w 8601075"/>
                  <a:gd name="connsiteY75" fmla="*/ 914400 h 4333875"/>
                  <a:gd name="connsiteX76" fmla="*/ 2400300 w 8601075"/>
                  <a:gd name="connsiteY76" fmla="*/ 866775 h 4333875"/>
                  <a:gd name="connsiteX77" fmla="*/ 2305050 w 8601075"/>
                  <a:gd name="connsiteY77" fmla="*/ 809625 h 4333875"/>
                  <a:gd name="connsiteX78" fmla="*/ 2200275 w 8601075"/>
                  <a:gd name="connsiteY78" fmla="*/ 752475 h 4333875"/>
                  <a:gd name="connsiteX79" fmla="*/ 2105025 w 8601075"/>
                  <a:gd name="connsiteY79" fmla="*/ 762000 h 4333875"/>
                  <a:gd name="connsiteX80" fmla="*/ 1990725 w 8601075"/>
                  <a:gd name="connsiteY80" fmla="*/ 762000 h 4333875"/>
                  <a:gd name="connsiteX81" fmla="*/ 1885950 w 8601075"/>
                  <a:gd name="connsiteY81" fmla="*/ 742950 h 4333875"/>
                  <a:gd name="connsiteX82" fmla="*/ 1800225 w 8601075"/>
                  <a:gd name="connsiteY82" fmla="*/ 638175 h 4333875"/>
                  <a:gd name="connsiteX83" fmla="*/ 1809750 w 8601075"/>
                  <a:gd name="connsiteY83" fmla="*/ 495300 h 4333875"/>
                  <a:gd name="connsiteX84" fmla="*/ 1733550 w 8601075"/>
                  <a:gd name="connsiteY84" fmla="*/ 466725 h 4333875"/>
                  <a:gd name="connsiteX85" fmla="*/ 1485900 w 8601075"/>
                  <a:gd name="connsiteY85" fmla="*/ 419100 h 4333875"/>
                  <a:gd name="connsiteX86" fmla="*/ 1457325 w 8601075"/>
                  <a:gd name="connsiteY86" fmla="*/ 323850 h 4333875"/>
                  <a:gd name="connsiteX87" fmla="*/ 1457325 w 8601075"/>
                  <a:gd name="connsiteY87" fmla="*/ 323850 h 4333875"/>
                  <a:gd name="connsiteX88" fmla="*/ 1323975 w 8601075"/>
                  <a:gd name="connsiteY88" fmla="*/ 285750 h 4333875"/>
                  <a:gd name="connsiteX89" fmla="*/ 1266825 w 8601075"/>
                  <a:gd name="connsiteY89" fmla="*/ 352425 h 4333875"/>
                  <a:gd name="connsiteX90" fmla="*/ 1009650 w 8601075"/>
                  <a:gd name="connsiteY90" fmla="*/ 390525 h 4333875"/>
                  <a:gd name="connsiteX91" fmla="*/ 828675 w 8601075"/>
                  <a:gd name="connsiteY91" fmla="*/ 447675 h 4333875"/>
                  <a:gd name="connsiteX92" fmla="*/ 619125 w 8601075"/>
                  <a:gd name="connsiteY92" fmla="*/ 533400 h 4333875"/>
                  <a:gd name="connsiteX93" fmla="*/ 619125 w 8601075"/>
                  <a:gd name="connsiteY93" fmla="*/ 533400 h 4333875"/>
                  <a:gd name="connsiteX94" fmla="*/ 561975 w 8601075"/>
                  <a:gd name="connsiteY94" fmla="*/ 61912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295275 w 8601075"/>
                  <a:gd name="connsiteY98" fmla="*/ 657225 h 4333875"/>
                  <a:gd name="connsiteX99" fmla="*/ 180975 w 8601075"/>
                  <a:gd name="connsiteY99" fmla="*/ 638175 h 4333875"/>
                  <a:gd name="connsiteX100" fmla="*/ 180975 w 8601075"/>
                  <a:gd name="connsiteY100" fmla="*/ 638175 h 4333875"/>
                  <a:gd name="connsiteX101" fmla="*/ 57150 w 8601075"/>
                  <a:gd name="connsiteY101" fmla="*/ 733425 h 4333875"/>
                  <a:gd name="connsiteX102" fmla="*/ 19050 w 8601075"/>
                  <a:gd name="connsiteY102" fmla="*/ 790575 h 4333875"/>
                  <a:gd name="connsiteX103" fmla="*/ 0 w 8601075"/>
                  <a:gd name="connsiteY103" fmla="*/ 876300 h 4333875"/>
                  <a:gd name="connsiteX104" fmla="*/ 57150 w 8601075"/>
                  <a:gd name="connsiteY104" fmla="*/ 923925 h 4333875"/>
                  <a:gd name="connsiteX105" fmla="*/ 57150 w 8601075"/>
                  <a:gd name="connsiteY105" fmla="*/ 923925 h 4333875"/>
                  <a:gd name="connsiteX106" fmla="*/ 209550 w 8601075"/>
                  <a:gd name="connsiteY106" fmla="*/ 1114425 h 4333875"/>
                  <a:gd name="connsiteX107" fmla="*/ 209550 w 8601075"/>
                  <a:gd name="connsiteY107" fmla="*/ 1114425 h 4333875"/>
                  <a:gd name="connsiteX108" fmla="*/ 266700 w 8601075"/>
                  <a:gd name="connsiteY108" fmla="*/ 1295400 h 4333875"/>
                  <a:gd name="connsiteX109" fmla="*/ 409575 w 8601075"/>
                  <a:gd name="connsiteY109" fmla="*/ 1276350 h 4333875"/>
                  <a:gd name="connsiteX110" fmla="*/ 466725 w 8601075"/>
                  <a:gd name="connsiteY110" fmla="*/ 1362075 h 4333875"/>
                  <a:gd name="connsiteX111" fmla="*/ 542925 w 8601075"/>
                  <a:gd name="connsiteY111" fmla="*/ 1428750 h 4333875"/>
                  <a:gd name="connsiteX112" fmla="*/ 628650 w 8601075"/>
                  <a:gd name="connsiteY112" fmla="*/ 1571625 h 4333875"/>
                  <a:gd name="connsiteX113" fmla="*/ 628650 w 8601075"/>
                  <a:gd name="connsiteY113" fmla="*/ 1704975 h 4333875"/>
                  <a:gd name="connsiteX114" fmla="*/ 676275 w 8601075"/>
                  <a:gd name="connsiteY114" fmla="*/ 1771650 h 4333875"/>
                  <a:gd name="connsiteX115" fmla="*/ 657225 w 8601075"/>
                  <a:gd name="connsiteY115" fmla="*/ 2000250 h 4333875"/>
                  <a:gd name="connsiteX116" fmla="*/ 619125 w 8601075"/>
                  <a:gd name="connsiteY116" fmla="*/ 2095500 h 4333875"/>
                  <a:gd name="connsiteX117" fmla="*/ 542925 w 8601075"/>
                  <a:gd name="connsiteY117" fmla="*/ 2228850 h 4333875"/>
                  <a:gd name="connsiteX118" fmla="*/ 485775 w 8601075"/>
                  <a:gd name="connsiteY118" fmla="*/ 2362200 h 4333875"/>
                  <a:gd name="connsiteX119" fmla="*/ 552450 w 8601075"/>
                  <a:gd name="connsiteY119" fmla="*/ 2486025 h 4333875"/>
                  <a:gd name="connsiteX120" fmla="*/ 771525 w 8601075"/>
                  <a:gd name="connsiteY120" fmla="*/ 2571750 h 4333875"/>
                  <a:gd name="connsiteX121" fmla="*/ 866775 w 8601075"/>
                  <a:gd name="connsiteY121" fmla="*/ 2571750 h 4333875"/>
                  <a:gd name="connsiteX122" fmla="*/ 914400 w 8601075"/>
                  <a:gd name="connsiteY122" fmla="*/ 2638425 h 4333875"/>
                  <a:gd name="connsiteX123" fmla="*/ 1066800 w 8601075"/>
                  <a:gd name="connsiteY123" fmla="*/ 2638425 h 4333875"/>
                  <a:gd name="connsiteX124" fmla="*/ 1285875 w 8601075"/>
                  <a:gd name="connsiteY124" fmla="*/ 2705100 h 4333875"/>
                  <a:gd name="connsiteX125" fmla="*/ 1438275 w 8601075"/>
                  <a:gd name="connsiteY125" fmla="*/ 2838450 h 4333875"/>
                  <a:gd name="connsiteX126" fmla="*/ 1485900 w 8601075"/>
                  <a:gd name="connsiteY126" fmla="*/ 2914650 h 4333875"/>
                  <a:gd name="connsiteX127" fmla="*/ 1657350 w 8601075"/>
                  <a:gd name="connsiteY127" fmla="*/ 3038475 h 4333875"/>
                  <a:gd name="connsiteX128" fmla="*/ 1752600 w 8601075"/>
                  <a:gd name="connsiteY128" fmla="*/ 3057525 h 4333875"/>
                  <a:gd name="connsiteX129" fmla="*/ 1724025 w 8601075"/>
                  <a:gd name="connsiteY129" fmla="*/ 3143250 h 4333875"/>
                  <a:gd name="connsiteX130" fmla="*/ 1724025 w 8601075"/>
                  <a:gd name="connsiteY130" fmla="*/ 3143250 h 4333875"/>
                  <a:gd name="connsiteX131" fmla="*/ 1781175 w 8601075"/>
                  <a:gd name="connsiteY131" fmla="*/ 3181350 h 4333875"/>
                  <a:gd name="connsiteX132" fmla="*/ 1819275 w 8601075"/>
                  <a:gd name="connsiteY132" fmla="*/ 3362325 h 4333875"/>
                  <a:gd name="connsiteX133" fmla="*/ 1828800 w 8601075"/>
                  <a:gd name="connsiteY133" fmla="*/ 3457575 h 4333875"/>
                  <a:gd name="connsiteX134" fmla="*/ 1971675 w 8601075"/>
                  <a:gd name="connsiteY134" fmla="*/ 3590925 h 4333875"/>
                  <a:gd name="connsiteX135" fmla="*/ 1990725 w 8601075"/>
                  <a:gd name="connsiteY135" fmla="*/ 3714750 h 4333875"/>
                  <a:gd name="connsiteX136" fmla="*/ 2200275 w 8601075"/>
                  <a:gd name="connsiteY136" fmla="*/ 3695700 h 4333875"/>
                  <a:gd name="connsiteX137" fmla="*/ 2886075 w 8601075"/>
                  <a:gd name="connsiteY137" fmla="*/ 3886200 h 4333875"/>
                  <a:gd name="connsiteX138" fmla="*/ 3038475 w 8601075"/>
                  <a:gd name="connsiteY138" fmla="*/ 3819525 h 4333875"/>
                  <a:gd name="connsiteX139" fmla="*/ 3105150 w 8601075"/>
                  <a:gd name="connsiteY139" fmla="*/ 3867150 h 4333875"/>
                  <a:gd name="connsiteX140" fmla="*/ 3181350 w 8601075"/>
                  <a:gd name="connsiteY140" fmla="*/ 3800475 h 4333875"/>
                  <a:gd name="connsiteX141" fmla="*/ 3590925 w 8601075"/>
                  <a:gd name="connsiteY141" fmla="*/ 3943350 h 4333875"/>
                  <a:gd name="connsiteX142" fmla="*/ 3686175 w 8601075"/>
                  <a:gd name="connsiteY142" fmla="*/ 4057650 h 4333875"/>
                  <a:gd name="connsiteX143" fmla="*/ 3838575 w 8601075"/>
                  <a:gd name="connsiteY143" fmla="*/ 4057650 h 4333875"/>
                  <a:gd name="connsiteX144" fmla="*/ 4162425 w 8601075"/>
                  <a:gd name="connsiteY144" fmla="*/ 4248150 h 4333875"/>
                  <a:gd name="connsiteX145" fmla="*/ 4391025 w 8601075"/>
                  <a:gd name="connsiteY145" fmla="*/ 4200525 h 4333875"/>
                  <a:gd name="connsiteX146" fmla="*/ 4410075 w 8601075"/>
                  <a:gd name="connsiteY146" fmla="*/ 4305300 h 4333875"/>
                  <a:gd name="connsiteX147" fmla="*/ 4505325 w 8601075"/>
                  <a:gd name="connsiteY147" fmla="*/ 4276725 h 4333875"/>
                  <a:gd name="connsiteX148" fmla="*/ 4572000 w 8601075"/>
                  <a:gd name="connsiteY148" fmla="*/ 4333875 h 4333875"/>
                  <a:gd name="connsiteX149" fmla="*/ 4591050 w 8601075"/>
                  <a:gd name="connsiteY149" fmla="*/ 4248150 h 4333875"/>
                  <a:gd name="connsiteX150" fmla="*/ 5295900 w 8601075"/>
                  <a:gd name="connsiteY150" fmla="*/ 3924300 h 4333875"/>
                  <a:gd name="connsiteX151" fmla="*/ 5353050 w 8601075"/>
                  <a:gd name="connsiteY151" fmla="*/ 3990975 h 4333875"/>
                  <a:gd name="connsiteX152" fmla="*/ 5524500 w 8601075"/>
                  <a:gd name="connsiteY152" fmla="*/ 3914775 h 4333875"/>
                  <a:gd name="connsiteX153" fmla="*/ 5667375 w 8601075"/>
                  <a:gd name="connsiteY153" fmla="*/ 3962400 h 4333875"/>
                  <a:gd name="connsiteX154" fmla="*/ 5753100 w 8601075"/>
                  <a:gd name="connsiteY154" fmla="*/ 3924300 h 4333875"/>
                  <a:gd name="connsiteX155" fmla="*/ 5905500 w 8601075"/>
                  <a:gd name="connsiteY155" fmla="*/ 3943350 h 4333875"/>
                  <a:gd name="connsiteX156" fmla="*/ 6000750 w 8601075"/>
                  <a:gd name="connsiteY156" fmla="*/ 3800475 h 4333875"/>
                  <a:gd name="connsiteX157" fmla="*/ 6153150 w 8601075"/>
                  <a:gd name="connsiteY157" fmla="*/ 3781425 h 4333875"/>
                  <a:gd name="connsiteX158" fmla="*/ 6257925 w 8601075"/>
                  <a:gd name="connsiteY158" fmla="*/ 3581400 h 4333875"/>
                  <a:gd name="connsiteX159" fmla="*/ 6448425 w 8601075"/>
                  <a:gd name="connsiteY159" fmla="*/ 3448050 h 4333875"/>
                  <a:gd name="connsiteX160" fmla="*/ 6581775 w 8601075"/>
                  <a:gd name="connsiteY160" fmla="*/ 3276600 h 4333875"/>
                  <a:gd name="connsiteX161" fmla="*/ 6496050 w 8601075"/>
                  <a:gd name="connsiteY161" fmla="*/ 3228975 h 4333875"/>
                  <a:gd name="connsiteX162" fmla="*/ 6438900 w 8601075"/>
                  <a:gd name="connsiteY162" fmla="*/ 3162300 h 4333875"/>
                  <a:gd name="connsiteX163" fmla="*/ 6419850 w 8601075"/>
                  <a:gd name="connsiteY163" fmla="*/ 3105150 h 4333875"/>
                  <a:gd name="connsiteX164" fmla="*/ 6362700 w 8601075"/>
                  <a:gd name="connsiteY164" fmla="*/ 3076575 h 4333875"/>
                  <a:gd name="connsiteX165" fmla="*/ 6410325 w 8601075"/>
                  <a:gd name="connsiteY165" fmla="*/ 3019425 h 4333875"/>
                  <a:gd name="connsiteX166" fmla="*/ 6438900 w 8601075"/>
                  <a:gd name="connsiteY166" fmla="*/ 2819400 h 4333875"/>
                  <a:gd name="connsiteX167" fmla="*/ 6496050 w 8601075"/>
                  <a:gd name="connsiteY167" fmla="*/ 2762250 h 4333875"/>
                  <a:gd name="connsiteX168" fmla="*/ 6657975 w 8601075"/>
                  <a:gd name="connsiteY168" fmla="*/ 2752725 h 4333875"/>
                  <a:gd name="connsiteX169" fmla="*/ 6781800 w 8601075"/>
                  <a:gd name="connsiteY169" fmla="*/ 2838450 h 4333875"/>
                  <a:gd name="connsiteX170" fmla="*/ 7010400 w 8601075"/>
                  <a:gd name="connsiteY170" fmla="*/ 2838450 h 4333875"/>
                  <a:gd name="connsiteX171" fmla="*/ 7162800 w 8601075"/>
                  <a:gd name="connsiteY171" fmla="*/ 2705100 h 4333875"/>
                  <a:gd name="connsiteX172" fmla="*/ 7229475 w 8601075"/>
                  <a:gd name="connsiteY172" fmla="*/ 2590800 h 4333875"/>
                  <a:gd name="connsiteX173" fmla="*/ 7248525 w 8601075"/>
                  <a:gd name="connsiteY173" fmla="*/ 2524125 h 4333875"/>
                  <a:gd name="connsiteX174" fmla="*/ 7372350 w 8601075"/>
                  <a:gd name="connsiteY174" fmla="*/ 2543175 h 4333875"/>
                  <a:gd name="connsiteX175" fmla="*/ 7553325 w 8601075"/>
                  <a:gd name="connsiteY175" fmla="*/ 2447925 h 4333875"/>
                  <a:gd name="connsiteX176" fmla="*/ 7620000 w 8601075"/>
                  <a:gd name="connsiteY176" fmla="*/ 2324100 h 4333875"/>
                  <a:gd name="connsiteX177" fmla="*/ 7696200 w 8601075"/>
                  <a:gd name="connsiteY177" fmla="*/ 2314575 h 4333875"/>
                  <a:gd name="connsiteX178" fmla="*/ 7658100 w 8601075"/>
                  <a:gd name="connsiteY178" fmla="*/ 2257425 h 4333875"/>
                  <a:gd name="connsiteX179" fmla="*/ 7753350 w 8601075"/>
                  <a:gd name="connsiteY179" fmla="*/ 2057400 h 4333875"/>
                  <a:gd name="connsiteX180" fmla="*/ 7934325 w 8601075"/>
                  <a:gd name="connsiteY180" fmla="*/ 2028825 h 4333875"/>
                  <a:gd name="connsiteX181" fmla="*/ 7953375 w 8601075"/>
                  <a:gd name="connsiteY181" fmla="*/ 1952625 h 4333875"/>
                  <a:gd name="connsiteX182" fmla="*/ 7953375 w 8601075"/>
                  <a:gd name="connsiteY182" fmla="*/ 1952625 h 4333875"/>
                  <a:gd name="connsiteX183" fmla="*/ 8010525 w 8601075"/>
                  <a:gd name="connsiteY183" fmla="*/ 1895475 h 4333875"/>
                  <a:gd name="connsiteX184" fmla="*/ 8048625 w 8601075"/>
                  <a:gd name="connsiteY184" fmla="*/ 1971675 h 4333875"/>
                  <a:gd name="connsiteX185" fmla="*/ 8077200 w 8601075"/>
                  <a:gd name="connsiteY185" fmla="*/ 1885950 h 4333875"/>
                  <a:gd name="connsiteX186" fmla="*/ 8220075 w 8601075"/>
                  <a:gd name="connsiteY186" fmla="*/ 1847850 h 4333875"/>
                  <a:gd name="connsiteX187" fmla="*/ 8296275 w 8601075"/>
                  <a:gd name="connsiteY187" fmla="*/ 1809750 h 4333875"/>
                  <a:gd name="connsiteX188" fmla="*/ 8324850 w 8601075"/>
                  <a:gd name="connsiteY188" fmla="*/ 1790700 h 4333875"/>
                  <a:gd name="connsiteX189" fmla="*/ 8410575 w 8601075"/>
                  <a:gd name="connsiteY189" fmla="*/ 1847850 h 4333875"/>
                  <a:gd name="connsiteX190" fmla="*/ 8505825 w 8601075"/>
                  <a:gd name="connsiteY190" fmla="*/ 1781175 h 4333875"/>
                  <a:gd name="connsiteX191" fmla="*/ 8572500 w 8601075"/>
                  <a:gd name="connsiteY191" fmla="*/ 1809750 h 4333875"/>
                  <a:gd name="connsiteX192" fmla="*/ 8601075 w 8601075"/>
                  <a:gd name="connsiteY192" fmla="*/ 1704975 h 4333875"/>
                  <a:gd name="connsiteX193" fmla="*/ 8553450 w 8601075"/>
                  <a:gd name="connsiteY193" fmla="*/ 1676400 h 4333875"/>
                  <a:gd name="connsiteX194" fmla="*/ 8534400 w 8601075"/>
                  <a:gd name="connsiteY194" fmla="*/ 1609725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124825 w 8601075"/>
                  <a:gd name="connsiteY198" fmla="*/ 1352550 h 4333875"/>
                  <a:gd name="connsiteX199" fmla="*/ 7924800 w 8601075"/>
                  <a:gd name="connsiteY199" fmla="*/ 1362075 h 4333875"/>
                  <a:gd name="connsiteX200" fmla="*/ 7867650 w 8601075"/>
                  <a:gd name="connsiteY200" fmla="*/ 1457325 h 4333875"/>
                  <a:gd name="connsiteX201" fmla="*/ 7896225 w 8601075"/>
                  <a:gd name="connsiteY201" fmla="*/ 1476375 h 4333875"/>
                  <a:gd name="connsiteX202" fmla="*/ 7858125 w 8601075"/>
                  <a:gd name="connsiteY202" fmla="*/ 1533525 h 4333875"/>
                  <a:gd name="connsiteX203" fmla="*/ 7658100 w 8601075"/>
                  <a:gd name="connsiteY203" fmla="*/ 1447800 h 4333875"/>
                  <a:gd name="connsiteX204" fmla="*/ 7515225 w 8601075"/>
                  <a:gd name="connsiteY204" fmla="*/ 1495425 h 4333875"/>
                  <a:gd name="connsiteX205" fmla="*/ 7467600 w 8601075"/>
                  <a:gd name="connsiteY205" fmla="*/ 1581150 h 4333875"/>
                  <a:gd name="connsiteX206" fmla="*/ 7296150 w 8601075"/>
                  <a:gd name="connsiteY20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17018 w 8601075"/>
                  <a:gd name="connsiteY67" fmla="*/ 230981 h 4333875"/>
                  <a:gd name="connsiteX68" fmla="*/ 2759869 w 8601075"/>
                  <a:gd name="connsiteY68" fmla="*/ 242888 h 4333875"/>
                  <a:gd name="connsiteX69" fmla="*/ 2724150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4150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697957 w 8601075"/>
                  <a:gd name="connsiteY70" fmla="*/ 407194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62250 w 8601075"/>
                  <a:gd name="connsiteY72" fmla="*/ 571500 h 4333875"/>
                  <a:gd name="connsiteX73" fmla="*/ 2800350 w 8601075"/>
                  <a:gd name="connsiteY73" fmla="*/ 628650 h 4333875"/>
                  <a:gd name="connsiteX74" fmla="*/ 2752725 w 8601075"/>
                  <a:gd name="connsiteY74" fmla="*/ 781050 h 4333875"/>
                  <a:gd name="connsiteX75" fmla="*/ 2686050 w 8601075"/>
                  <a:gd name="connsiteY75" fmla="*/ 857250 h 4333875"/>
                  <a:gd name="connsiteX76" fmla="*/ 2609850 w 8601075"/>
                  <a:gd name="connsiteY76" fmla="*/ 857250 h 4333875"/>
                  <a:gd name="connsiteX77" fmla="*/ 2514600 w 8601075"/>
                  <a:gd name="connsiteY77" fmla="*/ 914400 h 4333875"/>
                  <a:gd name="connsiteX78" fmla="*/ 2400300 w 8601075"/>
                  <a:gd name="connsiteY78" fmla="*/ 866775 h 4333875"/>
                  <a:gd name="connsiteX79" fmla="*/ 2305050 w 8601075"/>
                  <a:gd name="connsiteY79" fmla="*/ 809625 h 4333875"/>
                  <a:gd name="connsiteX80" fmla="*/ 2200275 w 8601075"/>
                  <a:gd name="connsiteY80" fmla="*/ 752475 h 4333875"/>
                  <a:gd name="connsiteX81" fmla="*/ 2105025 w 8601075"/>
                  <a:gd name="connsiteY81" fmla="*/ 762000 h 4333875"/>
                  <a:gd name="connsiteX82" fmla="*/ 1990725 w 8601075"/>
                  <a:gd name="connsiteY82" fmla="*/ 762000 h 4333875"/>
                  <a:gd name="connsiteX83" fmla="*/ 1885950 w 8601075"/>
                  <a:gd name="connsiteY83" fmla="*/ 742950 h 4333875"/>
                  <a:gd name="connsiteX84" fmla="*/ 1800225 w 8601075"/>
                  <a:gd name="connsiteY84" fmla="*/ 638175 h 4333875"/>
                  <a:gd name="connsiteX85" fmla="*/ 1809750 w 8601075"/>
                  <a:gd name="connsiteY85" fmla="*/ 495300 h 4333875"/>
                  <a:gd name="connsiteX86" fmla="*/ 1733550 w 8601075"/>
                  <a:gd name="connsiteY86" fmla="*/ 466725 h 4333875"/>
                  <a:gd name="connsiteX87" fmla="*/ 1485900 w 8601075"/>
                  <a:gd name="connsiteY87" fmla="*/ 419100 h 4333875"/>
                  <a:gd name="connsiteX88" fmla="*/ 1457325 w 8601075"/>
                  <a:gd name="connsiteY88" fmla="*/ 323850 h 4333875"/>
                  <a:gd name="connsiteX89" fmla="*/ 1457325 w 8601075"/>
                  <a:gd name="connsiteY89" fmla="*/ 323850 h 4333875"/>
                  <a:gd name="connsiteX90" fmla="*/ 1323975 w 8601075"/>
                  <a:gd name="connsiteY90" fmla="*/ 285750 h 4333875"/>
                  <a:gd name="connsiteX91" fmla="*/ 1266825 w 8601075"/>
                  <a:gd name="connsiteY91" fmla="*/ 352425 h 4333875"/>
                  <a:gd name="connsiteX92" fmla="*/ 1009650 w 8601075"/>
                  <a:gd name="connsiteY92" fmla="*/ 390525 h 4333875"/>
                  <a:gd name="connsiteX93" fmla="*/ 828675 w 8601075"/>
                  <a:gd name="connsiteY93" fmla="*/ 447675 h 4333875"/>
                  <a:gd name="connsiteX94" fmla="*/ 619125 w 8601075"/>
                  <a:gd name="connsiteY94" fmla="*/ 533400 h 4333875"/>
                  <a:gd name="connsiteX95" fmla="*/ 619125 w 8601075"/>
                  <a:gd name="connsiteY95" fmla="*/ 533400 h 4333875"/>
                  <a:gd name="connsiteX96" fmla="*/ 561975 w 8601075"/>
                  <a:gd name="connsiteY96" fmla="*/ 61912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295275 w 8601075"/>
                  <a:gd name="connsiteY100" fmla="*/ 657225 h 4333875"/>
                  <a:gd name="connsiteX101" fmla="*/ 180975 w 8601075"/>
                  <a:gd name="connsiteY101" fmla="*/ 638175 h 4333875"/>
                  <a:gd name="connsiteX102" fmla="*/ 180975 w 8601075"/>
                  <a:gd name="connsiteY102" fmla="*/ 638175 h 4333875"/>
                  <a:gd name="connsiteX103" fmla="*/ 57150 w 8601075"/>
                  <a:gd name="connsiteY103" fmla="*/ 733425 h 4333875"/>
                  <a:gd name="connsiteX104" fmla="*/ 19050 w 8601075"/>
                  <a:gd name="connsiteY104" fmla="*/ 790575 h 4333875"/>
                  <a:gd name="connsiteX105" fmla="*/ 0 w 8601075"/>
                  <a:gd name="connsiteY105" fmla="*/ 876300 h 4333875"/>
                  <a:gd name="connsiteX106" fmla="*/ 57150 w 8601075"/>
                  <a:gd name="connsiteY106" fmla="*/ 923925 h 4333875"/>
                  <a:gd name="connsiteX107" fmla="*/ 57150 w 8601075"/>
                  <a:gd name="connsiteY107" fmla="*/ 923925 h 4333875"/>
                  <a:gd name="connsiteX108" fmla="*/ 209550 w 8601075"/>
                  <a:gd name="connsiteY108" fmla="*/ 1114425 h 4333875"/>
                  <a:gd name="connsiteX109" fmla="*/ 209550 w 8601075"/>
                  <a:gd name="connsiteY109" fmla="*/ 1114425 h 4333875"/>
                  <a:gd name="connsiteX110" fmla="*/ 266700 w 8601075"/>
                  <a:gd name="connsiteY110" fmla="*/ 1295400 h 4333875"/>
                  <a:gd name="connsiteX111" fmla="*/ 409575 w 8601075"/>
                  <a:gd name="connsiteY111" fmla="*/ 1276350 h 4333875"/>
                  <a:gd name="connsiteX112" fmla="*/ 466725 w 8601075"/>
                  <a:gd name="connsiteY112" fmla="*/ 1362075 h 4333875"/>
                  <a:gd name="connsiteX113" fmla="*/ 542925 w 8601075"/>
                  <a:gd name="connsiteY113" fmla="*/ 1428750 h 4333875"/>
                  <a:gd name="connsiteX114" fmla="*/ 628650 w 8601075"/>
                  <a:gd name="connsiteY114" fmla="*/ 1571625 h 4333875"/>
                  <a:gd name="connsiteX115" fmla="*/ 628650 w 8601075"/>
                  <a:gd name="connsiteY115" fmla="*/ 1704975 h 4333875"/>
                  <a:gd name="connsiteX116" fmla="*/ 676275 w 8601075"/>
                  <a:gd name="connsiteY116" fmla="*/ 1771650 h 4333875"/>
                  <a:gd name="connsiteX117" fmla="*/ 657225 w 8601075"/>
                  <a:gd name="connsiteY117" fmla="*/ 2000250 h 4333875"/>
                  <a:gd name="connsiteX118" fmla="*/ 619125 w 8601075"/>
                  <a:gd name="connsiteY118" fmla="*/ 2095500 h 4333875"/>
                  <a:gd name="connsiteX119" fmla="*/ 542925 w 8601075"/>
                  <a:gd name="connsiteY119" fmla="*/ 2228850 h 4333875"/>
                  <a:gd name="connsiteX120" fmla="*/ 485775 w 8601075"/>
                  <a:gd name="connsiteY120" fmla="*/ 2362200 h 4333875"/>
                  <a:gd name="connsiteX121" fmla="*/ 552450 w 8601075"/>
                  <a:gd name="connsiteY121" fmla="*/ 2486025 h 4333875"/>
                  <a:gd name="connsiteX122" fmla="*/ 771525 w 8601075"/>
                  <a:gd name="connsiteY122" fmla="*/ 2571750 h 4333875"/>
                  <a:gd name="connsiteX123" fmla="*/ 866775 w 8601075"/>
                  <a:gd name="connsiteY123" fmla="*/ 2571750 h 4333875"/>
                  <a:gd name="connsiteX124" fmla="*/ 914400 w 8601075"/>
                  <a:gd name="connsiteY124" fmla="*/ 2638425 h 4333875"/>
                  <a:gd name="connsiteX125" fmla="*/ 1066800 w 8601075"/>
                  <a:gd name="connsiteY125" fmla="*/ 2638425 h 4333875"/>
                  <a:gd name="connsiteX126" fmla="*/ 1285875 w 8601075"/>
                  <a:gd name="connsiteY126" fmla="*/ 2705100 h 4333875"/>
                  <a:gd name="connsiteX127" fmla="*/ 1438275 w 8601075"/>
                  <a:gd name="connsiteY127" fmla="*/ 2838450 h 4333875"/>
                  <a:gd name="connsiteX128" fmla="*/ 1485900 w 8601075"/>
                  <a:gd name="connsiteY128" fmla="*/ 2914650 h 4333875"/>
                  <a:gd name="connsiteX129" fmla="*/ 1657350 w 8601075"/>
                  <a:gd name="connsiteY129" fmla="*/ 3038475 h 4333875"/>
                  <a:gd name="connsiteX130" fmla="*/ 1752600 w 8601075"/>
                  <a:gd name="connsiteY130" fmla="*/ 3057525 h 4333875"/>
                  <a:gd name="connsiteX131" fmla="*/ 1724025 w 8601075"/>
                  <a:gd name="connsiteY131" fmla="*/ 3143250 h 4333875"/>
                  <a:gd name="connsiteX132" fmla="*/ 1724025 w 8601075"/>
                  <a:gd name="connsiteY132" fmla="*/ 3143250 h 4333875"/>
                  <a:gd name="connsiteX133" fmla="*/ 1781175 w 8601075"/>
                  <a:gd name="connsiteY133" fmla="*/ 3181350 h 4333875"/>
                  <a:gd name="connsiteX134" fmla="*/ 1819275 w 8601075"/>
                  <a:gd name="connsiteY134" fmla="*/ 3362325 h 4333875"/>
                  <a:gd name="connsiteX135" fmla="*/ 1828800 w 8601075"/>
                  <a:gd name="connsiteY135" fmla="*/ 3457575 h 4333875"/>
                  <a:gd name="connsiteX136" fmla="*/ 1971675 w 8601075"/>
                  <a:gd name="connsiteY136" fmla="*/ 3590925 h 4333875"/>
                  <a:gd name="connsiteX137" fmla="*/ 1990725 w 8601075"/>
                  <a:gd name="connsiteY137" fmla="*/ 3714750 h 4333875"/>
                  <a:gd name="connsiteX138" fmla="*/ 2200275 w 8601075"/>
                  <a:gd name="connsiteY138" fmla="*/ 3695700 h 4333875"/>
                  <a:gd name="connsiteX139" fmla="*/ 2886075 w 8601075"/>
                  <a:gd name="connsiteY139" fmla="*/ 3886200 h 4333875"/>
                  <a:gd name="connsiteX140" fmla="*/ 3038475 w 8601075"/>
                  <a:gd name="connsiteY140" fmla="*/ 3819525 h 4333875"/>
                  <a:gd name="connsiteX141" fmla="*/ 3105150 w 8601075"/>
                  <a:gd name="connsiteY141" fmla="*/ 3867150 h 4333875"/>
                  <a:gd name="connsiteX142" fmla="*/ 3181350 w 8601075"/>
                  <a:gd name="connsiteY142" fmla="*/ 3800475 h 4333875"/>
                  <a:gd name="connsiteX143" fmla="*/ 3590925 w 8601075"/>
                  <a:gd name="connsiteY143" fmla="*/ 3943350 h 4333875"/>
                  <a:gd name="connsiteX144" fmla="*/ 3686175 w 8601075"/>
                  <a:gd name="connsiteY144" fmla="*/ 4057650 h 4333875"/>
                  <a:gd name="connsiteX145" fmla="*/ 3838575 w 8601075"/>
                  <a:gd name="connsiteY145" fmla="*/ 4057650 h 4333875"/>
                  <a:gd name="connsiteX146" fmla="*/ 4162425 w 8601075"/>
                  <a:gd name="connsiteY146" fmla="*/ 4248150 h 4333875"/>
                  <a:gd name="connsiteX147" fmla="*/ 4391025 w 8601075"/>
                  <a:gd name="connsiteY147" fmla="*/ 4200525 h 4333875"/>
                  <a:gd name="connsiteX148" fmla="*/ 4410075 w 8601075"/>
                  <a:gd name="connsiteY148" fmla="*/ 4305300 h 4333875"/>
                  <a:gd name="connsiteX149" fmla="*/ 4505325 w 8601075"/>
                  <a:gd name="connsiteY149" fmla="*/ 4276725 h 4333875"/>
                  <a:gd name="connsiteX150" fmla="*/ 4572000 w 8601075"/>
                  <a:gd name="connsiteY150" fmla="*/ 4333875 h 4333875"/>
                  <a:gd name="connsiteX151" fmla="*/ 4591050 w 8601075"/>
                  <a:gd name="connsiteY151" fmla="*/ 4248150 h 4333875"/>
                  <a:gd name="connsiteX152" fmla="*/ 5295900 w 8601075"/>
                  <a:gd name="connsiteY152" fmla="*/ 3924300 h 4333875"/>
                  <a:gd name="connsiteX153" fmla="*/ 5353050 w 8601075"/>
                  <a:gd name="connsiteY153" fmla="*/ 3990975 h 4333875"/>
                  <a:gd name="connsiteX154" fmla="*/ 5524500 w 8601075"/>
                  <a:gd name="connsiteY154" fmla="*/ 3914775 h 4333875"/>
                  <a:gd name="connsiteX155" fmla="*/ 5667375 w 8601075"/>
                  <a:gd name="connsiteY155" fmla="*/ 3962400 h 4333875"/>
                  <a:gd name="connsiteX156" fmla="*/ 5753100 w 8601075"/>
                  <a:gd name="connsiteY156" fmla="*/ 3924300 h 4333875"/>
                  <a:gd name="connsiteX157" fmla="*/ 5905500 w 8601075"/>
                  <a:gd name="connsiteY157" fmla="*/ 3943350 h 4333875"/>
                  <a:gd name="connsiteX158" fmla="*/ 6000750 w 8601075"/>
                  <a:gd name="connsiteY158" fmla="*/ 3800475 h 4333875"/>
                  <a:gd name="connsiteX159" fmla="*/ 6153150 w 8601075"/>
                  <a:gd name="connsiteY159" fmla="*/ 3781425 h 4333875"/>
                  <a:gd name="connsiteX160" fmla="*/ 6257925 w 8601075"/>
                  <a:gd name="connsiteY160" fmla="*/ 3581400 h 4333875"/>
                  <a:gd name="connsiteX161" fmla="*/ 6448425 w 8601075"/>
                  <a:gd name="connsiteY161" fmla="*/ 3448050 h 4333875"/>
                  <a:gd name="connsiteX162" fmla="*/ 6581775 w 8601075"/>
                  <a:gd name="connsiteY162" fmla="*/ 3276600 h 4333875"/>
                  <a:gd name="connsiteX163" fmla="*/ 6496050 w 8601075"/>
                  <a:gd name="connsiteY163" fmla="*/ 3228975 h 4333875"/>
                  <a:gd name="connsiteX164" fmla="*/ 6438900 w 8601075"/>
                  <a:gd name="connsiteY164" fmla="*/ 3162300 h 4333875"/>
                  <a:gd name="connsiteX165" fmla="*/ 6419850 w 8601075"/>
                  <a:gd name="connsiteY165" fmla="*/ 3105150 h 4333875"/>
                  <a:gd name="connsiteX166" fmla="*/ 6362700 w 8601075"/>
                  <a:gd name="connsiteY166" fmla="*/ 3076575 h 4333875"/>
                  <a:gd name="connsiteX167" fmla="*/ 6410325 w 8601075"/>
                  <a:gd name="connsiteY167" fmla="*/ 3019425 h 4333875"/>
                  <a:gd name="connsiteX168" fmla="*/ 6438900 w 8601075"/>
                  <a:gd name="connsiteY168" fmla="*/ 2819400 h 4333875"/>
                  <a:gd name="connsiteX169" fmla="*/ 6496050 w 8601075"/>
                  <a:gd name="connsiteY169" fmla="*/ 2762250 h 4333875"/>
                  <a:gd name="connsiteX170" fmla="*/ 6657975 w 8601075"/>
                  <a:gd name="connsiteY170" fmla="*/ 2752725 h 4333875"/>
                  <a:gd name="connsiteX171" fmla="*/ 6781800 w 8601075"/>
                  <a:gd name="connsiteY171" fmla="*/ 2838450 h 4333875"/>
                  <a:gd name="connsiteX172" fmla="*/ 7010400 w 8601075"/>
                  <a:gd name="connsiteY172" fmla="*/ 2838450 h 4333875"/>
                  <a:gd name="connsiteX173" fmla="*/ 7162800 w 8601075"/>
                  <a:gd name="connsiteY173" fmla="*/ 2705100 h 4333875"/>
                  <a:gd name="connsiteX174" fmla="*/ 7229475 w 8601075"/>
                  <a:gd name="connsiteY174" fmla="*/ 2590800 h 4333875"/>
                  <a:gd name="connsiteX175" fmla="*/ 7248525 w 8601075"/>
                  <a:gd name="connsiteY175" fmla="*/ 2524125 h 4333875"/>
                  <a:gd name="connsiteX176" fmla="*/ 7372350 w 8601075"/>
                  <a:gd name="connsiteY176" fmla="*/ 2543175 h 4333875"/>
                  <a:gd name="connsiteX177" fmla="*/ 7553325 w 8601075"/>
                  <a:gd name="connsiteY177" fmla="*/ 2447925 h 4333875"/>
                  <a:gd name="connsiteX178" fmla="*/ 7620000 w 8601075"/>
                  <a:gd name="connsiteY178" fmla="*/ 2324100 h 4333875"/>
                  <a:gd name="connsiteX179" fmla="*/ 7696200 w 8601075"/>
                  <a:gd name="connsiteY179" fmla="*/ 2314575 h 4333875"/>
                  <a:gd name="connsiteX180" fmla="*/ 7658100 w 8601075"/>
                  <a:gd name="connsiteY180" fmla="*/ 2257425 h 4333875"/>
                  <a:gd name="connsiteX181" fmla="*/ 7753350 w 8601075"/>
                  <a:gd name="connsiteY181" fmla="*/ 2057400 h 4333875"/>
                  <a:gd name="connsiteX182" fmla="*/ 7934325 w 8601075"/>
                  <a:gd name="connsiteY182" fmla="*/ 2028825 h 4333875"/>
                  <a:gd name="connsiteX183" fmla="*/ 7953375 w 8601075"/>
                  <a:gd name="connsiteY183" fmla="*/ 1952625 h 4333875"/>
                  <a:gd name="connsiteX184" fmla="*/ 7953375 w 8601075"/>
                  <a:gd name="connsiteY184" fmla="*/ 1952625 h 4333875"/>
                  <a:gd name="connsiteX185" fmla="*/ 8010525 w 8601075"/>
                  <a:gd name="connsiteY185" fmla="*/ 1895475 h 4333875"/>
                  <a:gd name="connsiteX186" fmla="*/ 8048625 w 8601075"/>
                  <a:gd name="connsiteY186" fmla="*/ 1971675 h 4333875"/>
                  <a:gd name="connsiteX187" fmla="*/ 8077200 w 8601075"/>
                  <a:gd name="connsiteY187" fmla="*/ 1885950 h 4333875"/>
                  <a:gd name="connsiteX188" fmla="*/ 8220075 w 8601075"/>
                  <a:gd name="connsiteY188" fmla="*/ 1847850 h 4333875"/>
                  <a:gd name="connsiteX189" fmla="*/ 8296275 w 8601075"/>
                  <a:gd name="connsiteY189" fmla="*/ 1809750 h 4333875"/>
                  <a:gd name="connsiteX190" fmla="*/ 8324850 w 8601075"/>
                  <a:gd name="connsiteY190" fmla="*/ 1790700 h 4333875"/>
                  <a:gd name="connsiteX191" fmla="*/ 8410575 w 8601075"/>
                  <a:gd name="connsiteY191" fmla="*/ 1847850 h 4333875"/>
                  <a:gd name="connsiteX192" fmla="*/ 8505825 w 8601075"/>
                  <a:gd name="connsiteY192" fmla="*/ 1781175 h 4333875"/>
                  <a:gd name="connsiteX193" fmla="*/ 8572500 w 8601075"/>
                  <a:gd name="connsiteY193" fmla="*/ 1809750 h 4333875"/>
                  <a:gd name="connsiteX194" fmla="*/ 8601075 w 8601075"/>
                  <a:gd name="connsiteY194" fmla="*/ 1704975 h 4333875"/>
                  <a:gd name="connsiteX195" fmla="*/ 8553450 w 8601075"/>
                  <a:gd name="connsiteY195" fmla="*/ 1676400 h 4333875"/>
                  <a:gd name="connsiteX196" fmla="*/ 8534400 w 8601075"/>
                  <a:gd name="connsiteY196" fmla="*/ 1609725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124825 w 8601075"/>
                  <a:gd name="connsiteY200" fmla="*/ 1352550 h 4333875"/>
                  <a:gd name="connsiteX201" fmla="*/ 7924800 w 8601075"/>
                  <a:gd name="connsiteY201" fmla="*/ 1362075 h 4333875"/>
                  <a:gd name="connsiteX202" fmla="*/ 7867650 w 8601075"/>
                  <a:gd name="connsiteY202" fmla="*/ 1457325 h 4333875"/>
                  <a:gd name="connsiteX203" fmla="*/ 7896225 w 8601075"/>
                  <a:gd name="connsiteY203" fmla="*/ 1476375 h 4333875"/>
                  <a:gd name="connsiteX204" fmla="*/ 7858125 w 8601075"/>
                  <a:gd name="connsiteY204" fmla="*/ 1533525 h 4333875"/>
                  <a:gd name="connsiteX205" fmla="*/ 7658100 w 8601075"/>
                  <a:gd name="connsiteY205" fmla="*/ 1447800 h 4333875"/>
                  <a:gd name="connsiteX206" fmla="*/ 7515225 w 8601075"/>
                  <a:gd name="connsiteY206" fmla="*/ 1495425 h 4333875"/>
                  <a:gd name="connsiteX207" fmla="*/ 7467600 w 8601075"/>
                  <a:gd name="connsiteY207" fmla="*/ 1581150 h 4333875"/>
                  <a:gd name="connsiteX208" fmla="*/ 7296150 w 8601075"/>
                  <a:gd name="connsiteY20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62250 w 8601075"/>
                  <a:gd name="connsiteY73" fmla="*/ 571500 h 4333875"/>
                  <a:gd name="connsiteX74" fmla="*/ 2800350 w 8601075"/>
                  <a:gd name="connsiteY74" fmla="*/ 628650 h 4333875"/>
                  <a:gd name="connsiteX75" fmla="*/ 2752725 w 8601075"/>
                  <a:gd name="connsiteY75" fmla="*/ 781050 h 4333875"/>
                  <a:gd name="connsiteX76" fmla="*/ 2686050 w 8601075"/>
                  <a:gd name="connsiteY76" fmla="*/ 857250 h 4333875"/>
                  <a:gd name="connsiteX77" fmla="*/ 2609850 w 8601075"/>
                  <a:gd name="connsiteY77" fmla="*/ 857250 h 4333875"/>
                  <a:gd name="connsiteX78" fmla="*/ 2514600 w 8601075"/>
                  <a:gd name="connsiteY78" fmla="*/ 914400 h 4333875"/>
                  <a:gd name="connsiteX79" fmla="*/ 2400300 w 8601075"/>
                  <a:gd name="connsiteY79" fmla="*/ 866775 h 4333875"/>
                  <a:gd name="connsiteX80" fmla="*/ 2305050 w 8601075"/>
                  <a:gd name="connsiteY80" fmla="*/ 809625 h 4333875"/>
                  <a:gd name="connsiteX81" fmla="*/ 2200275 w 8601075"/>
                  <a:gd name="connsiteY81" fmla="*/ 752475 h 4333875"/>
                  <a:gd name="connsiteX82" fmla="*/ 2105025 w 8601075"/>
                  <a:gd name="connsiteY82" fmla="*/ 762000 h 4333875"/>
                  <a:gd name="connsiteX83" fmla="*/ 1990725 w 8601075"/>
                  <a:gd name="connsiteY83" fmla="*/ 762000 h 4333875"/>
                  <a:gd name="connsiteX84" fmla="*/ 1885950 w 8601075"/>
                  <a:gd name="connsiteY84" fmla="*/ 742950 h 4333875"/>
                  <a:gd name="connsiteX85" fmla="*/ 1800225 w 8601075"/>
                  <a:gd name="connsiteY85" fmla="*/ 638175 h 4333875"/>
                  <a:gd name="connsiteX86" fmla="*/ 1809750 w 8601075"/>
                  <a:gd name="connsiteY86" fmla="*/ 495300 h 4333875"/>
                  <a:gd name="connsiteX87" fmla="*/ 1733550 w 8601075"/>
                  <a:gd name="connsiteY87" fmla="*/ 466725 h 4333875"/>
                  <a:gd name="connsiteX88" fmla="*/ 1485900 w 8601075"/>
                  <a:gd name="connsiteY88" fmla="*/ 419100 h 4333875"/>
                  <a:gd name="connsiteX89" fmla="*/ 1457325 w 8601075"/>
                  <a:gd name="connsiteY89" fmla="*/ 323850 h 4333875"/>
                  <a:gd name="connsiteX90" fmla="*/ 1457325 w 8601075"/>
                  <a:gd name="connsiteY90" fmla="*/ 323850 h 4333875"/>
                  <a:gd name="connsiteX91" fmla="*/ 1323975 w 8601075"/>
                  <a:gd name="connsiteY91" fmla="*/ 285750 h 4333875"/>
                  <a:gd name="connsiteX92" fmla="*/ 1266825 w 8601075"/>
                  <a:gd name="connsiteY92" fmla="*/ 352425 h 4333875"/>
                  <a:gd name="connsiteX93" fmla="*/ 1009650 w 8601075"/>
                  <a:gd name="connsiteY93" fmla="*/ 390525 h 4333875"/>
                  <a:gd name="connsiteX94" fmla="*/ 828675 w 8601075"/>
                  <a:gd name="connsiteY94" fmla="*/ 447675 h 4333875"/>
                  <a:gd name="connsiteX95" fmla="*/ 619125 w 8601075"/>
                  <a:gd name="connsiteY95" fmla="*/ 533400 h 4333875"/>
                  <a:gd name="connsiteX96" fmla="*/ 619125 w 8601075"/>
                  <a:gd name="connsiteY96" fmla="*/ 533400 h 4333875"/>
                  <a:gd name="connsiteX97" fmla="*/ 561975 w 8601075"/>
                  <a:gd name="connsiteY97" fmla="*/ 61912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295275 w 8601075"/>
                  <a:gd name="connsiteY101" fmla="*/ 657225 h 4333875"/>
                  <a:gd name="connsiteX102" fmla="*/ 180975 w 8601075"/>
                  <a:gd name="connsiteY102" fmla="*/ 638175 h 4333875"/>
                  <a:gd name="connsiteX103" fmla="*/ 180975 w 8601075"/>
                  <a:gd name="connsiteY103" fmla="*/ 638175 h 4333875"/>
                  <a:gd name="connsiteX104" fmla="*/ 57150 w 8601075"/>
                  <a:gd name="connsiteY104" fmla="*/ 733425 h 4333875"/>
                  <a:gd name="connsiteX105" fmla="*/ 19050 w 8601075"/>
                  <a:gd name="connsiteY105" fmla="*/ 790575 h 4333875"/>
                  <a:gd name="connsiteX106" fmla="*/ 0 w 8601075"/>
                  <a:gd name="connsiteY106" fmla="*/ 876300 h 4333875"/>
                  <a:gd name="connsiteX107" fmla="*/ 57150 w 8601075"/>
                  <a:gd name="connsiteY107" fmla="*/ 923925 h 4333875"/>
                  <a:gd name="connsiteX108" fmla="*/ 57150 w 8601075"/>
                  <a:gd name="connsiteY108" fmla="*/ 923925 h 4333875"/>
                  <a:gd name="connsiteX109" fmla="*/ 209550 w 8601075"/>
                  <a:gd name="connsiteY109" fmla="*/ 1114425 h 4333875"/>
                  <a:gd name="connsiteX110" fmla="*/ 209550 w 8601075"/>
                  <a:gd name="connsiteY110" fmla="*/ 1114425 h 4333875"/>
                  <a:gd name="connsiteX111" fmla="*/ 266700 w 8601075"/>
                  <a:gd name="connsiteY111" fmla="*/ 1295400 h 4333875"/>
                  <a:gd name="connsiteX112" fmla="*/ 409575 w 8601075"/>
                  <a:gd name="connsiteY112" fmla="*/ 1276350 h 4333875"/>
                  <a:gd name="connsiteX113" fmla="*/ 466725 w 8601075"/>
                  <a:gd name="connsiteY113" fmla="*/ 1362075 h 4333875"/>
                  <a:gd name="connsiteX114" fmla="*/ 542925 w 8601075"/>
                  <a:gd name="connsiteY114" fmla="*/ 1428750 h 4333875"/>
                  <a:gd name="connsiteX115" fmla="*/ 628650 w 8601075"/>
                  <a:gd name="connsiteY115" fmla="*/ 1571625 h 4333875"/>
                  <a:gd name="connsiteX116" fmla="*/ 628650 w 8601075"/>
                  <a:gd name="connsiteY116" fmla="*/ 1704975 h 4333875"/>
                  <a:gd name="connsiteX117" fmla="*/ 676275 w 8601075"/>
                  <a:gd name="connsiteY117" fmla="*/ 1771650 h 4333875"/>
                  <a:gd name="connsiteX118" fmla="*/ 657225 w 8601075"/>
                  <a:gd name="connsiteY118" fmla="*/ 2000250 h 4333875"/>
                  <a:gd name="connsiteX119" fmla="*/ 619125 w 8601075"/>
                  <a:gd name="connsiteY119" fmla="*/ 2095500 h 4333875"/>
                  <a:gd name="connsiteX120" fmla="*/ 542925 w 8601075"/>
                  <a:gd name="connsiteY120" fmla="*/ 2228850 h 4333875"/>
                  <a:gd name="connsiteX121" fmla="*/ 485775 w 8601075"/>
                  <a:gd name="connsiteY121" fmla="*/ 2362200 h 4333875"/>
                  <a:gd name="connsiteX122" fmla="*/ 552450 w 8601075"/>
                  <a:gd name="connsiteY122" fmla="*/ 2486025 h 4333875"/>
                  <a:gd name="connsiteX123" fmla="*/ 771525 w 8601075"/>
                  <a:gd name="connsiteY123" fmla="*/ 2571750 h 4333875"/>
                  <a:gd name="connsiteX124" fmla="*/ 866775 w 8601075"/>
                  <a:gd name="connsiteY124" fmla="*/ 2571750 h 4333875"/>
                  <a:gd name="connsiteX125" fmla="*/ 914400 w 8601075"/>
                  <a:gd name="connsiteY125" fmla="*/ 2638425 h 4333875"/>
                  <a:gd name="connsiteX126" fmla="*/ 1066800 w 8601075"/>
                  <a:gd name="connsiteY126" fmla="*/ 2638425 h 4333875"/>
                  <a:gd name="connsiteX127" fmla="*/ 1285875 w 8601075"/>
                  <a:gd name="connsiteY127" fmla="*/ 2705100 h 4333875"/>
                  <a:gd name="connsiteX128" fmla="*/ 1438275 w 8601075"/>
                  <a:gd name="connsiteY128" fmla="*/ 2838450 h 4333875"/>
                  <a:gd name="connsiteX129" fmla="*/ 1485900 w 8601075"/>
                  <a:gd name="connsiteY129" fmla="*/ 2914650 h 4333875"/>
                  <a:gd name="connsiteX130" fmla="*/ 1657350 w 8601075"/>
                  <a:gd name="connsiteY130" fmla="*/ 3038475 h 4333875"/>
                  <a:gd name="connsiteX131" fmla="*/ 1752600 w 8601075"/>
                  <a:gd name="connsiteY131" fmla="*/ 3057525 h 4333875"/>
                  <a:gd name="connsiteX132" fmla="*/ 1724025 w 8601075"/>
                  <a:gd name="connsiteY132" fmla="*/ 3143250 h 4333875"/>
                  <a:gd name="connsiteX133" fmla="*/ 1724025 w 8601075"/>
                  <a:gd name="connsiteY133" fmla="*/ 3143250 h 4333875"/>
                  <a:gd name="connsiteX134" fmla="*/ 1781175 w 8601075"/>
                  <a:gd name="connsiteY134" fmla="*/ 3181350 h 4333875"/>
                  <a:gd name="connsiteX135" fmla="*/ 1819275 w 8601075"/>
                  <a:gd name="connsiteY135" fmla="*/ 3362325 h 4333875"/>
                  <a:gd name="connsiteX136" fmla="*/ 1828800 w 8601075"/>
                  <a:gd name="connsiteY136" fmla="*/ 3457575 h 4333875"/>
                  <a:gd name="connsiteX137" fmla="*/ 1971675 w 8601075"/>
                  <a:gd name="connsiteY137" fmla="*/ 3590925 h 4333875"/>
                  <a:gd name="connsiteX138" fmla="*/ 1990725 w 8601075"/>
                  <a:gd name="connsiteY138" fmla="*/ 3714750 h 4333875"/>
                  <a:gd name="connsiteX139" fmla="*/ 2200275 w 8601075"/>
                  <a:gd name="connsiteY139" fmla="*/ 3695700 h 4333875"/>
                  <a:gd name="connsiteX140" fmla="*/ 2886075 w 8601075"/>
                  <a:gd name="connsiteY140" fmla="*/ 3886200 h 4333875"/>
                  <a:gd name="connsiteX141" fmla="*/ 3038475 w 8601075"/>
                  <a:gd name="connsiteY141" fmla="*/ 3819525 h 4333875"/>
                  <a:gd name="connsiteX142" fmla="*/ 3105150 w 8601075"/>
                  <a:gd name="connsiteY142" fmla="*/ 3867150 h 4333875"/>
                  <a:gd name="connsiteX143" fmla="*/ 3181350 w 8601075"/>
                  <a:gd name="connsiteY143" fmla="*/ 3800475 h 4333875"/>
                  <a:gd name="connsiteX144" fmla="*/ 3590925 w 8601075"/>
                  <a:gd name="connsiteY144" fmla="*/ 3943350 h 4333875"/>
                  <a:gd name="connsiteX145" fmla="*/ 3686175 w 8601075"/>
                  <a:gd name="connsiteY145" fmla="*/ 4057650 h 4333875"/>
                  <a:gd name="connsiteX146" fmla="*/ 3838575 w 8601075"/>
                  <a:gd name="connsiteY146" fmla="*/ 4057650 h 4333875"/>
                  <a:gd name="connsiteX147" fmla="*/ 4162425 w 8601075"/>
                  <a:gd name="connsiteY147" fmla="*/ 4248150 h 4333875"/>
                  <a:gd name="connsiteX148" fmla="*/ 4391025 w 8601075"/>
                  <a:gd name="connsiteY148" fmla="*/ 4200525 h 4333875"/>
                  <a:gd name="connsiteX149" fmla="*/ 4410075 w 8601075"/>
                  <a:gd name="connsiteY149" fmla="*/ 4305300 h 4333875"/>
                  <a:gd name="connsiteX150" fmla="*/ 4505325 w 8601075"/>
                  <a:gd name="connsiteY150" fmla="*/ 4276725 h 4333875"/>
                  <a:gd name="connsiteX151" fmla="*/ 4572000 w 8601075"/>
                  <a:gd name="connsiteY151" fmla="*/ 4333875 h 4333875"/>
                  <a:gd name="connsiteX152" fmla="*/ 4591050 w 8601075"/>
                  <a:gd name="connsiteY152" fmla="*/ 4248150 h 4333875"/>
                  <a:gd name="connsiteX153" fmla="*/ 5295900 w 8601075"/>
                  <a:gd name="connsiteY153" fmla="*/ 3924300 h 4333875"/>
                  <a:gd name="connsiteX154" fmla="*/ 5353050 w 8601075"/>
                  <a:gd name="connsiteY154" fmla="*/ 3990975 h 4333875"/>
                  <a:gd name="connsiteX155" fmla="*/ 5524500 w 8601075"/>
                  <a:gd name="connsiteY155" fmla="*/ 3914775 h 4333875"/>
                  <a:gd name="connsiteX156" fmla="*/ 5667375 w 8601075"/>
                  <a:gd name="connsiteY156" fmla="*/ 3962400 h 4333875"/>
                  <a:gd name="connsiteX157" fmla="*/ 5753100 w 8601075"/>
                  <a:gd name="connsiteY157" fmla="*/ 3924300 h 4333875"/>
                  <a:gd name="connsiteX158" fmla="*/ 5905500 w 8601075"/>
                  <a:gd name="connsiteY158" fmla="*/ 3943350 h 4333875"/>
                  <a:gd name="connsiteX159" fmla="*/ 6000750 w 8601075"/>
                  <a:gd name="connsiteY159" fmla="*/ 3800475 h 4333875"/>
                  <a:gd name="connsiteX160" fmla="*/ 6153150 w 8601075"/>
                  <a:gd name="connsiteY160" fmla="*/ 3781425 h 4333875"/>
                  <a:gd name="connsiteX161" fmla="*/ 6257925 w 8601075"/>
                  <a:gd name="connsiteY161" fmla="*/ 3581400 h 4333875"/>
                  <a:gd name="connsiteX162" fmla="*/ 6448425 w 8601075"/>
                  <a:gd name="connsiteY162" fmla="*/ 3448050 h 4333875"/>
                  <a:gd name="connsiteX163" fmla="*/ 6581775 w 8601075"/>
                  <a:gd name="connsiteY163" fmla="*/ 3276600 h 4333875"/>
                  <a:gd name="connsiteX164" fmla="*/ 6496050 w 8601075"/>
                  <a:gd name="connsiteY164" fmla="*/ 3228975 h 4333875"/>
                  <a:gd name="connsiteX165" fmla="*/ 6438900 w 8601075"/>
                  <a:gd name="connsiteY165" fmla="*/ 3162300 h 4333875"/>
                  <a:gd name="connsiteX166" fmla="*/ 6419850 w 8601075"/>
                  <a:gd name="connsiteY166" fmla="*/ 3105150 h 4333875"/>
                  <a:gd name="connsiteX167" fmla="*/ 6362700 w 8601075"/>
                  <a:gd name="connsiteY167" fmla="*/ 3076575 h 4333875"/>
                  <a:gd name="connsiteX168" fmla="*/ 6410325 w 8601075"/>
                  <a:gd name="connsiteY168" fmla="*/ 3019425 h 4333875"/>
                  <a:gd name="connsiteX169" fmla="*/ 6438900 w 8601075"/>
                  <a:gd name="connsiteY169" fmla="*/ 2819400 h 4333875"/>
                  <a:gd name="connsiteX170" fmla="*/ 6496050 w 8601075"/>
                  <a:gd name="connsiteY170" fmla="*/ 2762250 h 4333875"/>
                  <a:gd name="connsiteX171" fmla="*/ 6657975 w 8601075"/>
                  <a:gd name="connsiteY171" fmla="*/ 2752725 h 4333875"/>
                  <a:gd name="connsiteX172" fmla="*/ 6781800 w 8601075"/>
                  <a:gd name="connsiteY172" fmla="*/ 2838450 h 4333875"/>
                  <a:gd name="connsiteX173" fmla="*/ 7010400 w 8601075"/>
                  <a:gd name="connsiteY173" fmla="*/ 2838450 h 4333875"/>
                  <a:gd name="connsiteX174" fmla="*/ 7162800 w 8601075"/>
                  <a:gd name="connsiteY174" fmla="*/ 2705100 h 4333875"/>
                  <a:gd name="connsiteX175" fmla="*/ 7229475 w 8601075"/>
                  <a:gd name="connsiteY175" fmla="*/ 2590800 h 4333875"/>
                  <a:gd name="connsiteX176" fmla="*/ 7248525 w 8601075"/>
                  <a:gd name="connsiteY176" fmla="*/ 2524125 h 4333875"/>
                  <a:gd name="connsiteX177" fmla="*/ 7372350 w 8601075"/>
                  <a:gd name="connsiteY177" fmla="*/ 2543175 h 4333875"/>
                  <a:gd name="connsiteX178" fmla="*/ 7553325 w 8601075"/>
                  <a:gd name="connsiteY178" fmla="*/ 2447925 h 4333875"/>
                  <a:gd name="connsiteX179" fmla="*/ 7620000 w 8601075"/>
                  <a:gd name="connsiteY179" fmla="*/ 2324100 h 4333875"/>
                  <a:gd name="connsiteX180" fmla="*/ 7696200 w 8601075"/>
                  <a:gd name="connsiteY180" fmla="*/ 2314575 h 4333875"/>
                  <a:gd name="connsiteX181" fmla="*/ 7658100 w 8601075"/>
                  <a:gd name="connsiteY181" fmla="*/ 2257425 h 4333875"/>
                  <a:gd name="connsiteX182" fmla="*/ 7753350 w 8601075"/>
                  <a:gd name="connsiteY182" fmla="*/ 2057400 h 4333875"/>
                  <a:gd name="connsiteX183" fmla="*/ 7934325 w 8601075"/>
                  <a:gd name="connsiteY183" fmla="*/ 2028825 h 4333875"/>
                  <a:gd name="connsiteX184" fmla="*/ 7953375 w 8601075"/>
                  <a:gd name="connsiteY184" fmla="*/ 1952625 h 4333875"/>
                  <a:gd name="connsiteX185" fmla="*/ 7953375 w 8601075"/>
                  <a:gd name="connsiteY185" fmla="*/ 1952625 h 4333875"/>
                  <a:gd name="connsiteX186" fmla="*/ 8010525 w 8601075"/>
                  <a:gd name="connsiteY186" fmla="*/ 1895475 h 4333875"/>
                  <a:gd name="connsiteX187" fmla="*/ 8048625 w 8601075"/>
                  <a:gd name="connsiteY187" fmla="*/ 1971675 h 4333875"/>
                  <a:gd name="connsiteX188" fmla="*/ 8077200 w 8601075"/>
                  <a:gd name="connsiteY188" fmla="*/ 1885950 h 4333875"/>
                  <a:gd name="connsiteX189" fmla="*/ 8220075 w 8601075"/>
                  <a:gd name="connsiteY189" fmla="*/ 1847850 h 4333875"/>
                  <a:gd name="connsiteX190" fmla="*/ 8296275 w 8601075"/>
                  <a:gd name="connsiteY190" fmla="*/ 1809750 h 4333875"/>
                  <a:gd name="connsiteX191" fmla="*/ 8324850 w 8601075"/>
                  <a:gd name="connsiteY191" fmla="*/ 1790700 h 4333875"/>
                  <a:gd name="connsiteX192" fmla="*/ 8410575 w 8601075"/>
                  <a:gd name="connsiteY192" fmla="*/ 1847850 h 4333875"/>
                  <a:gd name="connsiteX193" fmla="*/ 8505825 w 8601075"/>
                  <a:gd name="connsiteY193" fmla="*/ 1781175 h 4333875"/>
                  <a:gd name="connsiteX194" fmla="*/ 8572500 w 8601075"/>
                  <a:gd name="connsiteY194" fmla="*/ 1809750 h 4333875"/>
                  <a:gd name="connsiteX195" fmla="*/ 8601075 w 8601075"/>
                  <a:gd name="connsiteY195" fmla="*/ 1704975 h 4333875"/>
                  <a:gd name="connsiteX196" fmla="*/ 8553450 w 8601075"/>
                  <a:gd name="connsiteY196" fmla="*/ 1676400 h 4333875"/>
                  <a:gd name="connsiteX197" fmla="*/ 8534400 w 8601075"/>
                  <a:gd name="connsiteY197" fmla="*/ 1609725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124825 w 8601075"/>
                  <a:gd name="connsiteY201" fmla="*/ 1352550 h 4333875"/>
                  <a:gd name="connsiteX202" fmla="*/ 7924800 w 8601075"/>
                  <a:gd name="connsiteY202" fmla="*/ 1362075 h 4333875"/>
                  <a:gd name="connsiteX203" fmla="*/ 7867650 w 8601075"/>
                  <a:gd name="connsiteY203" fmla="*/ 1457325 h 4333875"/>
                  <a:gd name="connsiteX204" fmla="*/ 7896225 w 8601075"/>
                  <a:gd name="connsiteY204" fmla="*/ 1476375 h 4333875"/>
                  <a:gd name="connsiteX205" fmla="*/ 7858125 w 8601075"/>
                  <a:gd name="connsiteY205" fmla="*/ 1533525 h 4333875"/>
                  <a:gd name="connsiteX206" fmla="*/ 7658100 w 8601075"/>
                  <a:gd name="connsiteY206" fmla="*/ 1447800 h 4333875"/>
                  <a:gd name="connsiteX207" fmla="*/ 7515225 w 8601075"/>
                  <a:gd name="connsiteY207" fmla="*/ 1495425 h 4333875"/>
                  <a:gd name="connsiteX208" fmla="*/ 7467600 w 8601075"/>
                  <a:gd name="connsiteY208" fmla="*/ 1581150 h 4333875"/>
                  <a:gd name="connsiteX209" fmla="*/ 7296150 w 8601075"/>
                  <a:gd name="connsiteY20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800350 w 8601075"/>
                  <a:gd name="connsiteY74" fmla="*/ 628650 h 4333875"/>
                  <a:gd name="connsiteX75" fmla="*/ 2752725 w 8601075"/>
                  <a:gd name="connsiteY75" fmla="*/ 781050 h 4333875"/>
                  <a:gd name="connsiteX76" fmla="*/ 2686050 w 8601075"/>
                  <a:gd name="connsiteY76" fmla="*/ 857250 h 4333875"/>
                  <a:gd name="connsiteX77" fmla="*/ 2609850 w 8601075"/>
                  <a:gd name="connsiteY77" fmla="*/ 857250 h 4333875"/>
                  <a:gd name="connsiteX78" fmla="*/ 2514600 w 8601075"/>
                  <a:gd name="connsiteY78" fmla="*/ 914400 h 4333875"/>
                  <a:gd name="connsiteX79" fmla="*/ 2400300 w 8601075"/>
                  <a:gd name="connsiteY79" fmla="*/ 866775 h 4333875"/>
                  <a:gd name="connsiteX80" fmla="*/ 2305050 w 8601075"/>
                  <a:gd name="connsiteY80" fmla="*/ 809625 h 4333875"/>
                  <a:gd name="connsiteX81" fmla="*/ 2200275 w 8601075"/>
                  <a:gd name="connsiteY81" fmla="*/ 752475 h 4333875"/>
                  <a:gd name="connsiteX82" fmla="*/ 2105025 w 8601075"/>
                  <a:gd name="connsiteY82" fmla="*/ 762000 h 4333875"/>
                  <a:gd name="connsiteX83" fmla="*/ 1990725 w 8601075"/>
                  <a:gd name="connsiteY83" fmla="*/ 762000 h 4333875"/>
                  <a:gd name="connsiteX84" fmla="*/ 1885950 w 8601075"/>
                  <a:gd name="connsiteY84" fmla="*/ 742950 h 4333875"/>
                  <a:gd name="connsiteX85" fmla="*/ 1800225 w 8601075"/>
                  <a:gd name="connsiteY85" fmla="*/ 638175 h 4333875"/>
                  <a:gd name="connsiteX86" fmla="*/ 1809750 w 8601075"/>
                  <a:gd name="connsiteY86" fmla="*/ 495300 h 4333875"/>
                  <a:gd name="connsiteX87" fmla="*/ 1733550 w 8601075"/>
                  <a:gd name="connsiteY87" fmla="*/ 466725 h 4333875"/>
                  <a:gd name="connsiteX88" fmla="*/ 1485900 w 8601075"/>
                  <a:gd name="connsiteY88" fmla="*/ 419100 h 4333875"/>
                  <a:gd name="connsiteX89" fmla="*/ 1457325 w 8601075"/>
                  <a:gd name="connsiteY89" fmla="*/ 323850 h 4333875"/>
                  <a:gd name="connsiteX90" fmla="*/ 1457325 w 8601075"/>
                  <a:gd name="connsiteY90" fmla="*/ 323850 h 4333875"/>
                  <a:gd name="connsiteX91" fmla="*/ 1323975 w 8601075"/>
                  <a:gd name="connsiteY91" fmla="*/ 285750 h 4333875"/>
                  <a:gd name="connsiteX92" fmla="*/ 1266825 w 8601075"/>
                  <a:gd name="connsiteY92" fmla="*/ 352425 h 4333875"/>
                  <a:gd name="connsiteX93" fmla="*/ 1009650 w 8601075"/>
                  <a:gd name="connsiteY93" fmla="*/ 390525 h 4333875"/>
                  <a:gd name="connsiteX94" fmla="*/ 828675 w 8601075"/>
                  <a:gd name="connsiteY94" fmla="*/ 447675 h 4333875"/>
                  <a:gd name="connsiteX95" fmla="*/ 619125 w 8601075"/>
                  <a:gd name="connsiteY95" fmla="*/ 533400 h 4333875"/>
                  <a:gd name="connsiteX96" fmla="*/ 619125 w 8601075"/>
                  <a:gd name="connsiteY96" fmla="*/ 533400 h 4333875"/>
                  <a:gd name="connsiteX97" fmla="*/ 561975 w 8601075"/>
                  <a:gd name="connsiteY97" fmla="*/ 61912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295275 w 8601075"/>
                  <a:gd name="connsiteY101" fmla="*/ 657225 h 4333875"/>
                  <a:gd name="connsiteX102" fmla="*/ 180975 w 8601075"/>
                  <a:gd name="connsiteY102" fmla="*/ 638175 h 4333875"/>
                  <a:gd name="connsiteX103" fmla="*/ 180975 w 8601075"/>
                  <a:gd name="connsiteY103" fmla="*/ 638175 h 4333875"/>
                  <a:gd name="connsiteX104" fmla="*/ 57150 w 8601075"/>
                  <a:gd name="connsiteY104" fmla="*/ 733425 h 4333875"/>
                  <a:gd name="connsiteX105" fmla="*/ 19050 w 8601075"/>
                  <a:gd name="connsiteY105" fmla="*/ 790575 h 4333875"/>
                  <a:gd name="connsiteX106" fmla="*/ 0 w 8601075"/>
                  <a:gd name="connsiteY106" fmla="*/ 876300 h 4333875"/>
                  <a:gd name="connsiteX107" fmla="*/ 57150 w 8601075"/>
                  <a:gd name="connsiteY107" fmla="*/ 923925 h 4333875"/>
                  <a:gd name="connsiteX108" fmla="*/ 57150 w 8601075"/>
                  <a:gd name="connsiteY108" fmla="*/ 923925 h 4333875"/>
                  <a:gd name="connsiteX109" fmla="*/ 209550 w 8601075"/>
                  <a:gd name="connsiteY109" fmla="*/ 1114425 h 4333875"/>
                  <a:gd name="connsiteX110" fmla="*/ 209550 w 8601075"/>
                  <a:gd name="connsiteY110" fmla="*/ 1114425 h 4333875"/>
                  <a:gd name="connsiteX111" fmla="*/ 266700 w 8601075"/>
                  <a:gd name="connsiteY111" fmla="*/ 1295400 h 4333875"/>
                  <a:gd name="connsiteX112" fmla="*/ 409575 w 8601075"/>
                  <a:gd name="connsiteY112" fmla="*/ 1276350 h 4333875"/>
                  <a:gd name="connsiteX113" fmla="*/ 466725 w 8601075"/>
                  <a:gd name="connsiteY113" fmla="*/ 1362075 h 4333875"/>
                  <a:gd name="connsiteX114" fmla="*/ 542925 w 8601075"/>
                  <a:gd name="connsiteY114" fmla="*/ 1428750 h 4333875"/>
                  <a:gd name="connsiteX115" fmla="*/ 628650 w 8601075"/>
                  <a:gd name="connsiteY115" fmla="*/ 1571625 h 4333875"/>
                  <a:gd name="connsiteX116" fmla="*/ 628650 w 8601075"/>
                  <a:gd name="connsiteY116" fmla="*/ 1704975 h 4333875"/>
                  <a:gd name="connsiteX117" fmla="*/ 676275 w 8601075"/>
                  <a:gd name="connsiteY117" fmla="*/ 1771650 h 4333875"/>
                  <a:gd name="connsiteX118" fmla="*/ 657225 w 8601075"/>
                  <a:gd name="connsiteY118" fmla="*/ 2000250 h 4333875"/>
                  <a:gd name="connsiteX119" fmla="*/ 619125 w 8601075"/>
                  <a:gd name="connsiteY119" fmla="*/ 2095500 h 4333875"/>
                  <a:gd name="connsiteX120" fmla="*/ 542925 w 8601075"/>
                  <a:gd name="connsiteY120" fmla="*/ 2228850 h 4333875"/>
                  <a:gd name="connsiteX121" fmla="*/ 485775 w 8601075"/>
                  <a:gd name="connsiteY121" fmla="*/ 2362200 h 4333875"/>
                  <a:gd name="connsiteX122" fmla="*/ 552450 w 8601075"/>
                  <a:gd name="connsiteY122" fmla="*/ 2486025 h 4333875"/>
                  <a:gd name="connsiteX123" fmla="*/ 771525 w 8601075"/>
                  <a:gd name="connsiteY123" fmla="*/ 2571750 h 4333875"/>
                  <a:gd name="connsiteX124" fmla="*/ 866775 w 8601075"/>
                  <a:gd name="connsiteY124" fmla="*/ 2571750 h 4333875"/>
                  <a:gd name="connsiteX125" fmla="*/ 914400 w 8601075"/>
                  <a:gd name="connsiteY125" fmla="*/ 2638425 h 4333875"/>
                  <a:gd name="connsiteX126" fmla="*/ 1066800 w 8601075"/>
                  <a:gd name="connsiteY126" fmla="*/ 2638425 h 4333875"/>
                  <a:gd name="connsiteX127" fmla="*/ 1285875 w 8601075"/>
                  <a:gd name="connsiteY127" fmla="*/ 2705100 h 4333875"/>
                  <a:gd name="connsiteX128" fmla="*/ 1438275 w 8601075"/>
                  <a:gd name="connsiteY128" fmla="*/ 2838450 h 4333875"/>
                  <a:gd name="connsiteX129" fmla="*/ 1485900 w 8601075"/>
                  <a:gd name="connsiteY129" fmla="*/ 2914650 h 4333875"/>
                  <a:gd name="connsiteX130" fmla="*/ 1657350 w 8601075"/>
                  <a:gd name="connsiteY130" fmla="*/ 3038475 h 4333875"/>
                  <a:gd name="connsiteX131" fmla="*/ 1752600 w 8601075"/>
                  <a:gd name="connsiteY131" fmla="*/ 3057525 h 4333875"/>
                  <a:gd name="connsiteX132" fmla="*/ 1724025 w 8601075"/>
                  <a:gd name="connsiteY132" fmla="*/ 3143250 h 4333875"/>
                  <a:gd name="connsiteX133" fmla="*/ 1724025 w 8601075"/>
                  <a:gd name="connsiteY133" fmla="*/ 3143250 h 4333875"/>
                  <a:gd name="connsiteX134" fmla="*/ 1781175 w 8601075"/>
                  <a:gd name="connsiteY134" fmla="*/ 3181350 h 4333875"/>
                  <a:gd name="connsiteX135" fmla="*/ 1819275 w 8601075"/>
                  <a:gd name="connsiteY135" fmla="*/ 3362325 h 4333875"/>
                  <a:gd name="connsiteX136" fmla="*/ 1828800 w 8601075"/>
                  <a:gd name="connsiteY136" fmla="*/ 3457575 h 4333875"/>
                  <a:gd name="connsiteX137" fmla="*/ 1971675 w 8601075"/>
                  <a:gd name="connsiteY137" fmla="*/ 3590925 h 4333875"/>
                  <a:gd name="connsiteX138" fmla="*/ 1990725 w 8601075"/>
                  <a:gd name="connsiteY138" fmla="*/ 3714750 h 4333875"/>
                  <a:gd name="connsiteX139" fmla="*/ 2200275 w 8601075"/>
                  <a:gd name="connsiteY139" fmla="*/ 3695700 h 4333875"/>
                  <a:gd name="connsiteX140" fmla="*/ 2886075 w 8601075"/>
                  <a:gd name="connsiteY140" fmla="*/ 3886200 h 4333875"/>
                  <a:gd name="connsiteX141" fmla="*/ 3038475 w 8601075"/>
                  <a:gd name="connsiteY141" fmla="*/ 3819525 h 4333875"/>
                  <a:gd name="connsiteX142" fmla="*/ 3105150 w 8601075"/>
                  <a:gd name="connsiteY142" fmla="*/ 3867150 h 4333875"/>
                  <a:gd name="connsiteX143" fmla="*/ 3181350 w 8601075"/>
                  <a:gd name="connsiteY143" fmla="*/ 3800475 h 4333875"/>
                  <a:gd name="connsiteX144" fmla="*/ 3590925 w 8601075"/>
                  <a:gd name="connsiteY144" fmla="*/ 3943350 h 4333875"/>
                  <a:gd name="connsiteX145" fmla="*/ 3686175 w 8601075"/>
                  <a:gd name="connsiteY145" fmla="*/ 4057650 h 4333875"/>
                  <a:gd name="connsiteX146" fmla="*/ 3838575 w 8601075"/>
                  <a:gd name="connsiteY146" fmla="*/ 4057650 h 4333875"/>
                  <a:gd name="connsiteX147" fmla="*/ 4162425 w 8601075"/>
                  <a:gd name="connsiteY147" fmla="*/ 4248150 h 4333875"/>
                  <a:gd name="connsiteX148" fmla="*/ 4391025 w 8601075"/>
                  <a:gd name="connsiteY148" fmla="*/ 4200525 h 4333875"/>
                  <a:gd name="connsiteX149" fmla="*/ 4410075 w 8601075"/>
                  <a:gd name="connsiteY149" fmla="*/ 4305300 h 4333875"/>
                  <a:gd name="connsiteX150" fmla="*/ 4505325 w 8601075"/>
                  <a:gd name="connsiteY150" fmla="*/ 4276725 h 4333875"/>
                  <a:gd name="connsiteX151" fmla="*/ 4572000 w 8601075"/>
                  <a:gd name="connsiteY151" fmla="*/ 4333875 h 4333875"/>
                  <a:gd name="connsiteX152" fmla="*/ 4591050 w 8601075"/>
                  <a:gd name="connsiteY152" fmla="*/ 4248150 h 4333875"/>
                  <a:gd name="connsiteX153" fmla="*/ 5295900 w 8601075"/>
                  <a:gd name="connsiteY153" fmla="*/ 3924300 h 4333875"/>
                  <a:gd name="connsiteX154" fmla="*/ 5353050 w 8601075"/>
                  <a:gd name="connsiteY154" fmla="*/ 3990975 h 4333875"/>
                  <a:gd name="connsiteX155" fmla="*/ 5524500 w 8601075"/>
                  <a:gd name="connsiteY155" fmla="*/ 3914775 h 4333875"/>
                  <a:gd name="connsiteX156" fmla="*/ 5667375 w 8601075"/>
                  <a:gd name="connsiteY156" fmla="*/ 3962400 h 4333875"/>
                  <a:gd name="connsiteX157" fmla="*/ 5753100 w 8601075"/>
                  <a:gd name="connsiteY157" fmla="*/ 3924300 h 4333875"/>
                  <a:gd name="connsiteX158" fmla="*/ 5905500 w 8601075"/>
                  <a:gd name="connsiteY158" fmla="*/ 3943350 h 4333875"/>
                  <a:gd name="connsiteX159" fmla="*/ 6000750 w 8601075"/>
                  <a:gd name="connsiteY159" fmla="*/ 3800475 h 4333875"/>
                  <a:gd name="connsiteX160" fmla="*/ 6153150 w 8601075"/>
                  <a:gd name="connsiteY160" fmla="*/ 3781425 h 4333875"/>
                  <a:gd name="connsiteX161" fmla="*/ 6257925 w 8601075"/>
                  <a:gd name="connsiteY161" fmla="*/ 3581400 h 4333875"/>
                  <a:gd name="connsiteX162" fmla="*/ 6448425 w 8601075"/>
                  <a:gd name="connsiteY162" fmla="*/ 3448050 h 4333875"/>
                  <a:gd name="connsiteX163" fmla="*/ 6581775 w 8601075"/>
                  <a:gd name="connsiteY163" fmla="*/ 3276600 h 4333875"/>
                  <a:gd name="connsiteX164" fmla="*/ 6496050 w 8601075"/>
                  <a:gd name="connsiteY164" fmla="*/ 3228975 h 4333875"/>
                  <a:gd name="connsiteX165" fmla="*/ 6438900 w 8601075"/>
                  <a:gd name="connsiteY165" fmla="*/ 3162300 h 4333875"/>
                  <a:gd name="connsiteX166" fmla="*/ 6419850 w 8601075"/>
                  <a:gd name="connsiteY166" fmla="*/ 3105150 h 4333875"/>
                  <a:gd name="connsiteX167" fmla="*/ 6362700 w 8601075"/>
                  <a:gd name="connsiteY167" fmla="*/ 3076575 h 4333875"/>
                  <a:gd name="connsiteX168" fmla="*/ 6410325 w 8601075"/>
                  <a:gd name="connsiteY168" fmla="*/ 3019425 h 4333875"/>
                  <a:gd name="connsiteX169" fmla="*/ 6438900 w 8601075"/>
                  <a:gd name="connsiteY169" fmla="*/ 2819400 h 4333875"/>
                  <a:gd name="connsiteX170" fmla="*/ 6496050 w 8601075"/>
                  <a:gd name="connsiteY170" fmla="*/ 2762250 h 4333875"/>
                  <a:gd name="connsiteX171" fmla="*/ 6657975 w 8601075"/>
                  <a:gd name="connsiteY171" fmla="*/ 2752725 h 4333875"/>
                  <a:gd name="connsiteX172" fmla="*/ 6781800 w 8601075"/>
                  <a:gd name="connsiteY172" fmla="*/ 2838450 h 4333875"/>
                  <a:gd name="connsiteX173" fmla="*/ 7010400 w 8601075"/>
                  <a:gd name="connsiteY173" fmla="*/ 2838450 h 4333875"/>
                  <a:gd name="connsiteX174" fmla="*/ 7162800 w 8601075"/>
                  <a:gd name="connsiteY174" fmla="*/ 2705100 h 4333875"/>
                  <a:gd name="connsiteX175" fmla="*/ 7229475 w 8601075"/>
                  <a:gd name="connsiteY175" fmla="*/ 2590800 h 4333875"/>
                  <a:gd name="connsiteX176" fmla="*/ 7248525 w 8601075"/>
                  <a:gd name="connsiteY176" fmla="*/ 2524125 h 4333875"/>
                  <a:gd name="connsiteX177" fmla="*/ 7372350 w 8601075"/>
                  <a:gd name="connsiteY177" fmla="*/ 2543175 h 4333875"/>
                  <a:gd name="connsiteX178" fmla="*/ 7553325 w 8601075"/>
                  <a:gd name="connsiteY178" fmla="*/ 2447925 h 4333875"/>
                  <a:gd name="connsiteX179" fmla="*/ 7620000 w 8601075"/>
                  <a:gd name="connsiteY179" fmla="*/ 2324100 h 4333875"/>
                  <a:gd name="connsiteX180" fmla="*/ 7696200 w 8601075"/>
                  <a:gd name="connsiteY180" fmla="*/ 2314575 h 4333875"/>
                  <a:gd name="connsiteX181" fmla="*/ 7658100 w 8601075"/>
                  <a:gd name="connsiteY181" fmla="*/ 2257425 h 4333875"/>
                  <a:gd name="connsiteX182" fmla="*/ 7753350 w 8601075"/>
                  <a:gd name="connsiteY182" fmla="*/ 2057400 h 4333875"/>
                  <a:gd name="connsiteX183" fmla="*/ 7934325 w 8601075"/>
                  <a:gd name="connsiteY183" fmla="*/ 2028825 h 4333875"/>
                  <a:gd name="connsiteX184" fmla="*/ 7953375 w 8601075"/>
                  <a:gd name="connsiteY184" fmla="*/ 1952625 h 4333875"/>
                  <a:gd name="connsiteX185" fmla="*/ 7953375 w 8601075"/>
                  <a:gd name="connsiteY185" fmla="*/ 1952625 h 4333875"/>
                  <a:gd name="connsiteX186" fmla="*/ 8010525 w 8601075"/>
                  <a:gd name="connsiteY186" fmla="*/ 1895475 h 4333875"/>
                  <a:gd name="connsiteX187" fmla="*/ 8048625 w 8601075"/>
                  <a:gd name="connsiteY187" fmla="*/ 1971675 h 4333875"/>
                  <a:gd name="connsiteX188" fmla="*/ 8077200 w 8601075"/>
                  <a:gd name="connsiteY188" fmla="*/ 1885950 h 4333875"/>
                  <a:gd name="connsiteX189" fmla="*/ 8220075 w 8601075"/>
                  <a:gd name="connsiteY189" fmla="*/ 1847850 h 4333875"/>
                  <a:gd name="connsiteX190" fmla="*/ 8296275 w 8601075"/>
                  <a:gd name="connsiteY190" fmla="*/ 1809750 h 4333875"/>
                  <a:gd name="connsiteX191" fmla="*/ 8324850 w 8601075"/>
                  <a:gd name="connsiteY191" fmla="*/ 1790700 h 4333875"/>
                  <a:gd name="connsiteX192" fmla="*/ 8410575 w 8601075"/>
                  <a:gd name="connsiteY192" fmla="*/ 1847850 h 4333875"/>
                  <a:gd name="connsiteX193" fmla="*/ 8505825 w 8601075"/>
                  <a:gd name="connsiteY193" fmla="*/ 1781175 h 4333875"/>
                  <a:gd name="connsiteX194" fmla="*/ 8572500 w 8601075"/>
                  <a:gd name="connsiteY194" fmla="*/ 1809750 h 4333875"/>
                  <a:gd name="connsiteX195" fmla="*/ 8601075 w 8601075"/>
                  <a:gd name="connsiteY195" fmla="*/ 1704975 h 4333875"/>
                  <a:gd name="connsiteX196" fmla="*/ 8553450 w 8601075"/>
                  <a:gd name="connsiteY196" fmla="*/ 1676400 h 4333875"/>
                  <a:gd name="connsiteX197" fmla="*/ 8534400 w 8601075"/>
                  <a:gd name="connsiteY197" fmla="*/ 1609725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124825 w 8601075"/>
                  <a:gd name="connsiteY201" fmla="*/ 1352550 h 4333875"/>
                  <a:gd name="connsiteX202" fmla="*/ 7924800 w 8601075"/>
                  <a:gd name="connsiteY202" fmla="*/ 1362075 h 4333875"/>
                  <a:gd name="connsiteX203" fmla="*/ 7867650 w 8601075"/>
                  <a:gd name="connsiteY203" fmla="*/ 1457325 h 4333875"/>
                  <a:gd name="connsiteX204" fmla="*/ 7896225 w 8601075"/>
                  <a:gd name="connsiteY204" fmla="*/ 1476375 h 4333875"/>
                  <a:gd name="connsiteX205" fmla="*/ 7858125 w 8601075"/>
                  <a:gd name="connsiteY205" fmla="*/ 1533525 h 4333875"/>
                  <a:gd name="connsiteX206" fmla="*/ 7658100 w 8601075"/>
                  <a:gd name="connsiteY206" fmla="*/ 1447800 h 4333875"/>
                  <a:gd name="connsiteX207" fmla="*/ 7515225 w 8601075"/>
                  <a:gd name="connsiteY207" fmla="*/ 1495425 h 4333875"/>
                  <a:gd name="connsiteX208" fmla="*/ 7467600 w 8601075"/>
                  <a:gd name="connsiteY208" fmla="*/ 1581150 h 4333875"/>
                  <a:gd name="connsiteX209" fmla="*/ 7296150 w 8601075"/>
                  <a:gd name="connsiteY20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0350 w 8601075"/>
                  <a:gd name="connsiteY75" fmla="*/ 628650 h 4333875"/>
                  <a:gd name="connsiteX76" fmla="*/ 2752725 w 8601075"/>
                  <a:gd name="connsiteY76" fmla="*/ 781050 h 4333875"/>
                  <a:gd name="connsiteX77" fmla="*/ 2686050 w 8601075"/>
                  <a:gd name="connsiteY77" fmla="*/ 857250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6050 w 8601075"/>
                  <a:gd name="connsiteY77" fmla="*/ 857250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26519 w 8601075"/>
                  <a:gd name="connsiteY78" fmla="*/ 83820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26519 w 8601075"/>
                  <a:gd name="connsiteY78" fmla="*/ 838200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00300 w 8601075"/>
                  <a:gd name="connsiteY81" fmla="*/ 866775 h 4333875"/>
                  <a:gd name="connsiteX82" fmla="*/ 2305050 w 8601075"/>
                  <a:gd name="connsiteY82" fmla="*/ 809625 h 4333875"/>
                  <a:gd name="connsiteX83" fmla="*/ 2200275 w 8601075"/>
                  <a:gd name="connsiteY83" fmla="*/ 752475 h 4333875"/>
                  <a:gd name="connsiteX84" fmla="*/ 2105025 w 8601075"/>
                  <a:gd name="connsiteY84" fmla="*/ 762000 h 4333875"/>
                  <a:gd name="connsiteX85" fmla="*/ 1990725 w 8601075"/>
                  <a:gd name="connsiteY85" fmla="*/ 762000 h 4333875"/>
                  <a:gd name="connsiteX86" fmla="*/ 1885950 w 8601075"/>
                  <a:gd name="connsiteY86" fmla="*/ 742950 h 4333875"/>
                  <a:gd name="connsiteX87" fmla="*/ 1800225 w 8601075"/>
                  <a:gd name="connsiteY87" fmla="*/ 638175 h 4333875"/>
                  <a:gd name="connsiteX88" fmla="*/ 1809750 w 8601075"/>
                  <a:gd name="connsiteY88" fmla="*/ 495300 h 4333875"/>
                  <a:gd name="connsiteX89" fmla="*/ 1733550 w 8601075"/>
                  <a:gd name="connsiteY89" fmla="*/ 466725 h 4333875"/>
                  <a:gd name="connsiteX90" fmla="*/ 1485900 w 8601075"/>
                  <a:gd name="connsiteY90" fmla="*/ 419100 h 4333875"/>
                  <a:gd name="connsiteX91" fmla="*/ 1457325 w 8601075"/>
                  <a:gd name="connsiteY91" fmla="*/ 323850 h 4333875"/>
                  <a:gd name="connsiteX92" fmla="*/ 1457325 w 8601075"/>
                  <a:gd name="connsiteY92" fmla="*/ 323850 h 4333875"/>
                  <a:gd name="connsiteX93" fmla="*/ 1323975 w 8601075"/>
                  <a:gd name="connsiteY93" fmla="*/ 285750 h 4333875"/>
                  <a:gd name="connsiteX94" fmla="*/ 1266825 w 8601075"/>
                  <a:gd name="connsiteY94" fmla="*/ 352425 h 4333875"/>
                  <a:gd name="connsiteX95" fmla="*/ 1009650 w 8601075"/>
                  <a:gd name="connsiteY95" fmla="*/ 390525 h 4333875"/>
                  <a:gd name="connsiteX96" fmla="*/ 828675 w 8601075"/>
                  <a:gd name="connsiteY96" fmla="*/ 447675 h 4333875"/>
                  <a:gd name="connsiteX97" fmla="*/ 619125 w 8601075"/>
                  <a:gd name="connsiteY97" fmla="*/ 533400 h 4333875"/>
                  <a:gd name="connsiteX98" fmla="*/ 619125 w 8601075"/>
                  <a:gd name="connsiteY98" fmla="*/ 533400 h 4333875"/>
                  <a:gd name="connsiteX99" fmla="*/ 561975 w 8601075"/>
                  <a:gd name="connsiteY99" fmla="*/ 61912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295275 w 8601075"/>
                  <a:gd name="connsiteY103" fmla="*/ 657225 h 4333875"/>
                  <a:gd name="connsiteX104" fmla="*/ 180975 w 8601075"/>
                  <a:gd name="connsiteY104" fmla="*/ 638175 h 4333875"/>
                  <a:gd name="connsiteX105" fmla="*/ 180975 w 8601075"/>
                  <a:gd name="connsiteY105" fmla="*/ 638175 h 4333875"/>
                  <a:gd name="connsiteX106" fmla="*/ 57150 w 8601075"/>
                  <a:gd name="connsiteY106" fmla="*/ 733425 h 4333875"/>
                  <a:gd name="connsiteX107" fmla="*/ 19050 w 8601075"/>
                  <a:gd name="connsiteY107" fmla="*/ 790575 h 4333875"/>
                  <a:gd name="connsiteX108" fmla="*/ 0 w 8601075"/>
                  <a:gd name="connsiteY108" fmla="*/ 876300 h 4333875"/>
                  <a:gd name="connsiteX109" fmla="*/ 57150 w 8601075"/>
                  <a:gd name="connsiteY109" fmla="*/ 923925 h 4333875"/>
                  <a:gd name="connsiteX110" fmla="*/ 57150 w 8601075"/>
                  <a:gd name="connsiteY110" fmla="*/ 923925 h 4333875"/>
                  <a:gd name="connsiteX111" fmla="*/ 209550 w 8601075"/>
                  <a:gd name="connsiteY111" fmla="*/ 1114425 h 4333875"/>
                  <a:gd name="connsiteX112" fmla="*/ 209550 w 8601075"/>
                  <a:gd name="connsiteY112" fmla="*/ 1114425 h 4333875"/>
                  <a:gd name="connsiteX113" fmla="*/ 266700 w 8601075"/>
                  <a:gd name="connsiteY113" fmla="*/ 1295400 h 4333875"/>
                  <a:gd name="connsiteX114" fmla="*/ 409575 w 8601075"/>
                  <a:gd name="connsiteY114" fmla="*/ 1276350 h 4333875"/>
                  <a:gd name="connsiteX115" fmla="*/ 466725 w 8601075"/>
                  <a:gd name="connsiteY115" fmla="*/ 1362075 h 4333875"/>
                  <a:gd name="connsiteX116" fmla="*/ 542925 w 8601075"/>
                  <a:gd name="connsiteY116" fmla="*/ 1428750 h 4333875"/>
                  <a:gd name="connsiteX117" fmla="*/ 628650 w 8601075"/>
                  <a:gd name="connsiteY117" fmla="*/ 1571625 h 4333875"/>
                  <a:gd name="connsiteX118" fmla="*/ 628650 w 8601075"/>
                  <a:gd name="connsiteY118" fmla="*/ 1704975 h 4333875"/>
                  <a:gd name="connsiteX119" fmla="*/ 676275 w 8601075"/>
                  <a:gd name="connsiteY119" fmla="*/ 1771650 h 4333875"/>
                  <a:gd name="connsiteX120" fmla="*/ 657225 w 8601075"/>
                  <a:gd name="connsiteY120" fmla="*/ 2000250 h 4333875"/>
                  <a:gd name="connsiteX121" fmla="*/ 619125 w 8601075"/>
                  <a:gd name="connsiteY121" fmla="*/ 2095500 h 4333875"/>
                  <a:gd name="connsiteX122" fmla="*/ 542925 w 8601075"/>
                  <a:gd name="connsiteY122" fmla="*/ 2228850 h 4333875"/>
                  <a:gd name="connsiteX123" fmla="*/ 485775 w 8601075"/>
                  <a:gd name="connsiteY123" fmla="*/ 2362200 h 4333875"/>
                  <a:gd name="connsiteX124" fmla="*/ 552450 w 8601075"/>
                  <a:gd name="connsiteY124" fmla="*/ 2486025 h 4333875"/>
                  <a:gd name="connsiteX125" fmla="*/ 771525 w 8601075"/>
                  <a:gd name="connsiteY125" fmla="*/ 2571750 h 4333875"/>
                  <a:gd name="connsiteX126" fmla="*/ 866775 w 8601075"/>
                  <a:gd name="connsiteY126" fmla="*/ 2571750 h 4333875"/>
                  <a:gd name="connsiteX127" fmla="*/ 914400 w 8601075"/>
                  <a:gd name="connsiteY127" fmla="*/ 2638425 h 4333875"/>
                  <a:gd name="connsiteX128" fmla="*/ 1066800 w 8601075"/>
                  <a:gd name="connsiteY128" fmla="*/ 2638425 h 4333875"/>
                  <a:gd name="connsiteX129" fmla="*/ 1285875 w 8601075"/>
                  <a:gd name="connsiteY129" fmla="*/ 2705100 h 4333875"/>
                  <a:gd name="connsiteX130" fmla="*/ 1438275 w 8601075"/>
                  <a:gd name="connsiteY130" fmla="*/ 2838450 h 4333875"/>
                  <a:gd name="connsiteX131" fmla="*/ 1485900 w 8601075"/>
                  <a:gd name="connsiteY131" fmla="*/ 2914650 h 4333875"/>
                  <a:gd name="connsiteX132" fmla="*/ 1657350 w 8601075"/>
                  <a:gd name="connsiteY132" fmla="*/ 3038475 h 4333875"/>
                  <a:gd name="connsiteX133" fmla="*/ 1752600 w 8601075"/>
                  <a:gd name="connsiteY133" fmla="*/ 3057525 h 4333875"/>
                  <a:gd name="connsiteX134" fmla="*/ 1724025 w 8601075"/>
                  <a:gd name="connsiteY134" fmla="*/ 3143250 h 4333875"/>
                  <a:gd name="connsiteX135" fmla="*/ 1724025 w 8601075"/>
                  <a:gd name="connsiteY135" fmla="*/ 3143250 h 4333875"/>
                  <a:gd name="connsiteX136" fmla="*/ 1781175 w 8601075"/>
                  <a:gd name="connsiteY136" fmla="*/ 3181350 h 4333875"/>
                  <a:gd name="connsiteX137" fmla="*/ 1819275 w 8601075"/>
                  <a:gd name="connsiteY137" fmla="*/ 3362325 h 4333875"/>
                  <a:gd name="connsiteX138" fmla="*/ 1828800 w 8601075"/>
                  <a:gd name="connsiteY138" fmla="*/ 3457575 h 4333875"/>
                  <a:gd name="connsiteX139" fmla="*/ 1971675 w 8601075"/>
                  <a:gd name="connsiteY139" fmla="*/ 3590925 h 4333875"/>
                  <a:gd name="connsiteX140" fmla="*/ 1990725 w 8601075"/>
                  <a:gd name="connsiteY140" fmla="*/ 3714750 h 4333875"/>
                  <a:gd name="connsiteX141" fmla="*/ 2200275 w 8601075"/>
                  <a:gd name="connsiteY141" fmla="*/ 3695700 h 4333875"/>
                  <a:gd name="connsiteX142" fmla="*/ 2886075 w 8601075"/>
                  <a:gd name="connsiteY142" fmla="*/ 3886200 h 4333875"/>
                  <a:gd name="connsiteX143" fmla="*/ 3038475 w 8601075"/>
                  <a:gd name="connsiteY143" fmla="*/ 3819525 h 4333875"/>
                  <a:gd name="connsiteX144" fmla="*/ 3105150 w 8601075"/>
                  <a:gd name="connsiteY144" fmla="*/ 3867150 h 4333875"/>
                  <a:gd name="connsiteX145" fmla="*/ 3181350 w 8601075"/>
                  <a:gd name="connsiteY145" fmla="*/ 3800475 h 4333875"/>
                  <a:gd name="connsiteX146" fmla="*/ 3590925 w 8601075"/>
                  <a:gd name="connsiteY146" fmla="*/ 3943350 h 4333875"/>
                  <a:gd name="connsiteX147" fmla="*/ 3686175 w 8601075"/>
                  <a:gd name="connsiteY147" fmla="*/ 4057650 h 4333875"/>
                  <a:gd name="connsiteX148" fmla="*/ 3838575 w 8601075"/>
                  <a:gd name="connsiteY148" fmla="*/ 4057650 h 4333875"/>
                  <a:gd name="connsiteX149" fmla="*/ 4162425 w 8601075"/>
                  <a:gd name="connsiteY149" fmla="*/ 4248150 h 4333875"/>
                  <a:gd name="connsiteX150" fmla="*/ 4391025 w 8601075"/>
                  <a:gd name="connsiteY150" fmla="*/ 4200525 h 4333875"/>
                  <a:gd name="connsiteX151" fmla="*/ 4410075 w 8601075"/>
                  <a:gd name="connsiteY151" fmla="*/ 4305300 h 4333875"/>
                  <a:gd name="connsiteX152" fmla="*/ 4505325 w 8601075"/>
                  <a:gd name="connsiteY152" fmla="*/ 4276725 h 4333875"/>
                  <a:gd name="connsiteX153" fmla="*/ 4572000 w 8601075"/>
                  <a:gd name="connsiteY153" fmla="*/ 4333875 h 4333875"/>
                  <a:gd name="connsiteX154" fmla="*/ 4591050 w 8601075"/>
                  <a:gd name="connsiteY154" fmla="*/ 4248150 h 4333875"/>
                  <a:gd name="connsiteX155" fmla="*/ 5295900 w 8601075"/>
                  <a:gd name="connsiteY155" fmla="*/ 3924300 h 4333875"/>
                  <a:gd name="connsiteX156" fmla="*/ 5353050 w 8601075"/>
                  <a:gd name="connsiteY156" fmla="*/ 3990975 h 4333875"/>
                  <a:gd name="connsiteX157" fmla="*/ 5524500 w 8601075"/>
                  <a:gd name="connsiteY157" fmla="*/ 3914775 h 4333875"/>
                  <a:gd name="connsiteX158" fmla="*/ 5667375 w 8601075"/>
                  <a:gd name="connsiteY158" fmla="*/ 3962400 h 4333875"/>
                  <a:gd name="connsiteX159" fmla="*/ 5753100 w 8601075"/>
                  <a:gd name="connsiteY159" fmla="*/ 3924300 h 4333875"/>
                  <a:gd name="connsiteX160" fmla="*/ 5905500 w 8601075"/>
                  <a:gd name="connsiteY160" fmla="*/ 3943350 h 4333875"/>
                  <a:gd name="connsiteX161" fmla="*/ 6000750 w 8601075"/>
                  <a:gd name="connsiteY161" fmla="*/ 3800475 h 4333875"/>
                  <a:gd name="connsiteX162" fmla="*/ 6153150 w 8601075"/>
                  <a:gd name="connsiteY162" fmla="*/ 3781425 h 4333875"/>
                  <a:gd name="connsiteX163" fmla="*/ 6257925 w 8601075"/>
                  <a:gd name="connsiteY163" fmla="*/ 3581400 h 4333875"/>
                  <a:gd name="connsiteX164" fmla="*/ 6448425 w 8601075"/>
                  <a:gd name="connsiteY164" fmla="*/ 3448050 h 4333875"/>
                  <a:gd name="connsiteX165" fmla="*/ 6581775 w 8601075"/>
                  <a:gd name="connsiteY165" fmla="*/ 3276600 h 4333875"/>
                  <a:gd name="connsiteX166" fmla="*/ 6496050 w 8601075"/>
                  <a:gd name="connsiteY166" fmla="*/ 3228975 h 4333875"/>
                  <a:gd name="connsiteX167" fmla="*/ 6438900 w 8601075"/>
                  <a:gd name="connsiteY167" fmla="*/ 3162300 h 4333875"/>
                  <a:gd name="connsiteX168" fmla="*/ 6419850 w 8601075"/>
                  <a:gd name="connsiteY168" fmla="*/ 3105150 h 4333875"/>
                  <a:gd name="connsiteX169" fmla="*/ 6362700 w 8601075"/>
                  <a:gd name="connsiteY169" fmla="*/ 3076575 h 4333875"/>
                  <a:gd name="connsiteX170" fmla="*/ 6410325 w 8601075"/>
                  <a:gd name="connsiteY170" fmla="*/ 3019425 h 4333875"/>
                  <a:gd name="connsiteX171" fmla="*/ 6438900 w 8601075"/>
                  <a:gd name="connsiteY171" fmla="*/ 2819400 h 4333875"/>
                  <a:gd name="connsiteX172" fmla="*/ 6496050 w 8601075"/>
                  <a:gd name="connsiteY172" fmla="*/ 2762250 h 4333875"/>
                  <a:gd name="connsiteX173" fmla="*/ 6657975 w 8601075"/>
                  <a:gd name="connsiteY173" fmla="*/ 2752725 h 4333875"/>
                  <a:gd name="connsiteX174" fmla="*/ 6781800 w 8601075"/>
                  <a:gd name="connsiteY174" fmla="*/ 2838450 h 4333875"/>
                  <a:gd name="connsiteX175" fmla="*/ 7010400 w 8601075"/>
                  <a:gd name="connsiteY175" fmla="*/ 2838450 h 4333875"/>
                  <a:gd name="connsiteX176" fmla="*/ 7162800 w 8601075"/>
                  <a:gd name="connsiteY176" fmla="*/ 2705100 h 4333875"/>
                  <a:gd name="connsiteX177" fmla="*/ 7229475 w 8601075"/>
                  <a:gd name="connsiteY177" fmla="*/ 2590800 h 4333875"/>
                  <a:gd name="connsiteX178" fmla="*/ 7248525 w 8601075"/>
                  <a:gd name="connsiteY178" fmla="*/ 2524125 h 4333875"/>
                  <a:gd name="connsiteX179" fmla="*/ 7372350 w 8601075"/>
                  <a:gd name="connsiteY179" fmla="*/ 2543175 h 4333875"/>
                  <a:gd name="connsiteX180" fmla="*/ 7553325 w 8601075"/>
                  <a:gd name="connsiteY180" fmla="*/ 2447925 h 4333875"/>
                  <a:gd name="connsiteX181" fmla="*/ 7620000 w 8601075"/>
                  <a:gd name="connsiteY181" fmla="*/ 2324100 h 4333875"/>
                  <a:gd name="connsiteX182" fmla="*/ 7696200 w 8601075"/>
                  <a:gd name="connsiteY182" fmla="*/ 2314575 h 4333875"/>
                  <a:gd name="connsiteX183" fmla="*/ 7658100 w 8601075"/>
                  <a:gd name="connsiteY183" fmla="*/ 2257425 h 4333875"/>
                  <a:gd name="connsiteX184" fmla="*/ 7753350 w 8601075"/>
                  <a:gd name="connsiteY184" fmla="*/ 2057400 h 4333875"/>
                  <a:gd name="connsiteX185" fmla="*/ 7934325 w 8601075"/>
                  <a:gd name="connsiteY185" fmla="*/ 2028825 h 4333875"/>
                  <a:gd name="connsiteX186" fmla="*/ 7953375 w 8601075"/>
                  <a:gd name="connsiteY186" fmla="*/ 1952625 h 4333875"/>
                  <a:gd name="connsiteX187" fmla="*/ 7953375 w 8601075"/>
                  <a:gd name="connsiteY187" fmla="*/ 1952625 h 4333875"/>
                  <a:gd name="connsiteX188" fmla="*/ 8010525 w 8601075"/>
                  <a:gd name="connsiteY188" fmla="*/ 1895475 h 4333875"/>
                  <a:gd name="connsiteX189" fmla="*/ 8048625 w 8601075"/>
                  <a:gd name="connsiteY189" fmla="*/ 1971675 h 4333875"/>
                  <a:gd name="connsiteX190" fmla="*/ 8077200 w 8601075"/>
                  <a:gd name="connsiteY190" fmla="*/ 1885950 h 4333875"/>
                  <a:gd name="connsiteX191" fmla="*/ 8220075 w 8601075"/>
                  <a:gd name="connsiteY191" fmla="*/ 1847850 h 4333875"/>
                  <a:gd name="connsiteX192" fmla="*/ 8296275 w 8601075"/>
                  <a:gd name="connsiteY192" fmla="*/ 1809750 h 4333875"/>
                  <a:gd name="connsiteX193" fmla="*/ 8324850 w 8601075"/>
                  <a:gd name="connsiteY193" fmla="*/ 1790700 h 4333875"/>
                  <a:gd name="connsiteX194" fmla="*/ 8410575 w 8601075"/>
                  <a:gd name="connsiteY194" fmla="*/ 1847850 h 4333875"/>
                  <a:gd name="connsiteX195" fmla="*/ 8505825 w 8601075"/>
                  <a:gd name="connsiteY195" fmla="*/ 1781175 h 4333875"/>
                  <a:gd name="connsiteX196" fmla="*/ 8572500 w 8601075"/>
                  <a:gd name="connsiteY196" fmla="*/ 1809750 h 4333875"/>
                  <a:gd name="connsiteX197" fmla="*/ 8601075 w 8601075"/>
                  <a:gd name="connsiteY197" fmla="*/ 1704975 h 4333875"/>
                  <a:gd name="connsiteX198" fmla="*/ 8553450 w 8601075"/>
                  <a:gd name="connsiteY198" fmla="*/ 1676400 h 4333875"/>
                  <a:gd name="connsiteX199" fmla="*/ 8534400 w 8601075"/>
                  <a:gd name="connsiteY199" fmla="*/ 1609725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124825 w 8601075"/>
                  <a:gd name="connsiteY203" fmla="*/ 1352550 h 4333875"/>
                  <a:gd name="connsiteX204" fmla="*/ 7924800 w 8601075"/>
                  <a:gd name="connsiteY204" fmla="*/ 1362075 h 4333875"/>
                  <a:gd name="connsiteX205" fmla="*/ 7867650 w 8601075"/>
                  <a:gd name="connsiteY205" fmla="*/ 1457325 h 4333875"/>
                  <a:gd name="connsiteX206" fmla="*/ 7896225 w 8601075"/>
                  <a:gd name="connsiteY206" fmla="*/ 1476375 h 4333875"/>
                  <a:gd name="connsiteX207" fmla="*/ 7858125 w 8601075"/>
                  <a:gd name="connsiteY207" fmla="*/ 1533525 h 4333875"/>
                  <a:gd name="connsiteX208" fmla="*/ 7658100 w 8601075"/>
                  <a:gd name="connsiteY208" fmla="*/ 1447800 h 4333875"/>
                  <a:gd name="connsiteX209" fmla="*/ 7515225 w 8601075"/>
                  <a:gd name="connsiteY209" fmla="*/ 1495425 h 4333875"/>
                  <a:gd name="connsiteX210" fmla="*/ 7467600 w 8601075"/>
                  <a:gd name="connsiteY210" fmla="*/ 1581150 h 4333875"/>
                  <a:gd name="connsiteX211" fmla="*/ 7296150 w 8601075"/>
                  <a:gd name="connsiteY21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00300 w 8601075"/>
                  <a:gd name="connsiteY81" fmla="*/ 866775 h 4333875"/>
                  <a:gd name="connsiteX82" fmla="*/ 2305050 w 8601075"/>
                  <a:gd name="connsiteY82" fmla="*/ 809625 h 4333875"/>
                  <a:gd name="connsiteX83" fmla="*/ 2200275 w 8601075"/>
                  <a:gd name="connsiteY83" fmla="*/ 752475 h 4333875"/>
                  <a:gd name="connsiteX84" fmla="*/ 2105025 w 8601075"/>
                  <a:gd name="connsiteY84" fmla="*/ 762000 h 4333875"/>
                  <a:gd name="connsiteX85" fmla="*/ 1990725 w 8601075"/>
                  <a:gd name="connsiteY85" fmla="*/ 762000 h 4333875"/>
                  <a:gd name="connsiteX86" fmla="*/ 1885950 w 8601075"/>
                  <a:gd name="connsiteY86" fmla="*/ 742950 h 4333875"/>
                  <a:gd name="connsiteX87" fmla="*/ 1800225 w 8601075"/>
                  <a:gd name="connsiteY87" fmla="*/ 638175 h 4333875"/>
                  <a:gd name="connsiteX88" fmla="*/ 1809750 w 8601075"/>
                  <a:gd name="connsiteY88" fmla="*/ 495300 h 4333875"/>
                  <a:gd name="connsiteX89" fmla="*/ 1733550 w 8601075"/>
                  <a:gd name="connsiteY89" fmla="*/ 466725 h 4333875"/>
                  <a:gd name="connsiteX90" fmla="*/ 1485900 w 8601075"/>
                  <a:gd name="connsiteY90" fmla="*/ 419100 h 4333875"/>
                  <a:gd name="connsiteX91" fmla="*/ 1457325 w 8601075"/>
                  <a:gd name="connsiteY91" fmla="*/ 323850 h 4333875"/>
                  <a:gd name="connsiteX92" fmla="*/ 1457325 w 8601075"/>
                  <a:gd name="connsiteY92" fmla="*/ 323850 h 4333875"/>
                  <a:gd name="connsiteX93" fmla="*/ 1323975 w 8601075"/>
                  <a:gd name="connsiteY93" fmla="*/ 285750 h 4333875"/>
                  <a:gd name="connsiteX94" fmla="*/ 1266825 w 8601075"/>
                  <a:gd name="connsiteY94" fmla="*/ 352425 h 4333875"/>
                  <a:gd name="connsiteX95" fmla="*/ 1009650 w 8601075"/>
                  <a:gd name="connsiteY95" fmla="*/ 390525 h 4333875"/>
                  <a:gd name="connsiteX96" fmla="*/ 828675 w 8601075"/>
                  <a:gd name="connsiteY96" fmla="*/ 447675 h 4333875"/>
                  <a:gd name="connsiteX97" fmla="*/ 619125 w 8601075"/>
                  <a:gd name="connsiteY97" fmla="*/ 533400 h 4333875"/>
                  <a:gd name="connsiteX98" fmla="*/ 619125 w 8601075"/>
                  <a:gd name="connsiteY98" fmla="*/ 533400 h 4333875"/>
                  <a:gd name="connsiteX99" fmla="*/ 561975 w 8601075"/>
                  <a:gd name="connsiteY99" fmla="*/ 61912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295275 w 8601075"/>
                  <a:gd name="connsiteY103" fmla="*/ 657225 h 4333875"/>
                  <a:gd name="connsiteX104" fmla="*/ 180975 w 8601075"/>
                  <a:gd name="connsiteY104" fmla="*/ 638175 h 4333875"/>
                  <a:gd name="connsiteX105" fmla="*/ 180975 w 8601075"/>
                  <a:gd name="connsiteY105" fmla="*/ 638175 h 4333875"/>
                  <a:gd name="connsiteX106" fmla="*/ 57150 w 8601075"/>
                  <a:gd name="connsiteY106" fmla="*/ 733425 h 4333875"/>
                  <a:gd name="connsiteX107" fmla="*/ 19050 w 8601075"/>
                  <a:gd name="connsiteY107" fmla="*/ 790575 h 4333875"/>
                  <a:gd name="connsiteX108" fmla="*/ 0 w 8601075"/>
                  <a:gd name="connsiteY108" fmla="*/ 876300 h 4333875"/>
                  <a:gd name="connsiteX109" fmla="*/ 57150 w 8601075"/>
                  <a:gd name="connsiteY109" fmla="*/ 923925 h 4333875"/>
                  <a:gd name="connsiteX110" fmla="*/ 57150 w 8601075"/>
                  <a:gd name="connsiteY110" fmla="*/ 923925 h 4333875"/>
                  <a:gd name="connsiteX111" fmla="*/ 209550 w 8601075"/>
                  <a:gd name="connsiteY111" fmla="*/ 1114425 h 4333875"/>
                  <a:gd name="connsiteX112" fmla="*/ 209550 w 8601075"/>
                  <a:gd name="connsiteY112" fmla="*/ 1114425 h 4333875"/>
                  <a:gd name="connsiteX113" fmla="*/ 266700 w 8601075"/>
                  <a:gd name="connsiteY113" fmla="*/ 1295400 h 4333875"/>
                  <a:gd name="connsiteX114" fmla="*/ 409575 w 8601075"/>
                  <a:gd name="connsiteY114" fmla="*/ 1276350 h 4333875"/>
                  <a:gd name="connsiteX115" fmla="*/ 466725 w 8601075"/>
                  <a:gd name="connsiteY115" fmla="*/ 1362075 h 4333875"/>
                  <a:gd name="connsiteX116" fmla="*/ 542925 w 8601075"/>
                  <a:gd name="connsiteY116" fmla="*/ 1428750 h 4333875"/>
                  <a:gd name="connsiteX117" fmla="*/ 628650 w 8601075"/>
                  <a:gd name="connsiteY117" fmla="*/ 1571625 h 4333875"/>
                  <a:gd name="connsiteX118" fmla="*/ 628650 w 8601075"/>
                  <a:gd name="connsiteY118" fmla="*/ 1704975 h 4333875"/>
                  <a:gd name="connsiteX119" fmla="*/ 676275 w 8601075"/>
                  <a:gd name="connsiteY119" fmla="*/ 1771650 h 4333875"/>
                  <a:gd name="connsiteX120" fmla="*/ 657225 w 8601075"/>
                  <a:gd name="connsiteY120" fmla="*/ 2000250 h 4333875"/>
                  <a:gd name="connsiteX121" fmla="*/ 619125 w 8601075"/>
                  <a:gd name="connsiteY121" fmla="*/ 2095500 h 4333875"/>
                  <a:gd name="connsiteX122" fmla="*/ 542925 w 8601075"/>
                  <a:gd name="connsiteY122" fmla="*/ 2228850 h 4333875"/>
                  <a:gd name="connsiteX123" fmla="*/ 485775 w 8601075"/>
                  <a:gd name="connsiteY123" fmla="*/ 2362200 h 4333875"/>
                  <a:gd name="connsiteX124" fmla="*/ 552450 w 8601075"/>
                  <a:gd name="connsiteY124" fmla="*/ 2486025 h 4333875"/>
                  <a:gd name="connsiteX125" fmla="*/ 771525 w 8601075"/>
                  <a:gd name="connsiteY125" fmla="*/ 2571750 h 4333875"/>
                  <a:gd name="connsiteX126" fmla="*/ 866775 w 8601075"/>
                  <a:gd name="connsiteY126" fmla="*/ 2571750 h 4333875"/>
                  <a:gd name="connsiteX127" fmla="*/ 914400 w 8601075"/>
                  <a:gd name="connsiteY127" fmla="*/ 2638425 h 4333875"/>
                  <a:gd name="connsiteX128" fmla="*/ 1066800 w 8601075"/>
                  <a:gd name="connsiteY128" fmla="*/ 2638425 h 4333875"/>
                  <a:gd name="connsiteX129" fmla="*/ 1285875 w 8601075"/>
                  <a:gd name="connsiteY129" fmla="*/ 2705100 h 4333875"/>
                  <a:gd name="connsiteX130" fmla="*/ 1438275 w 8601075"/>
                  <a:gd name="connsiteY130" fmla="*/ 2838450 h 4333875"/>
                  <a:gd name="connsiteX131" fmla="*/ 1485900 w 8601075"/>
                  <a:gd name="connsiteY131" fmla="*/ 2914650 h 4333875"/>
                  <a:gd name="connsiteX132" fmla="*/ 1657350 w 8601075"/>
                  <a:gd name="connsiteY132" fmla="*/ 3038475 h 4333875"/>
                  <a:gd name="connsiteX133" fmla="*/ 1752600 w 8601075"/>
                  <a:gd name="connsiteY133" fmla="*/ 3057525 h 4333875"/>
                  <a:gd name="connsiteX134" fmla="*/ 1724025 w 8601075"/>
                  <a:gd name="connsiteY134" fmla="*/ 3143250 h 4333875"/>
                  <a:gd name="connsiteX135" fmla="*/ 1724025 w 8601075"/>
                  <a:gd name="connsiteY135" fmla="*/ 3143250 h 4333875"/>
                  <a:gd name="connsiteX136" fmla="*/ 1781175 w 8601075"/>
                  <a:gd name="connsiteY136" fmla="*/ 3181350 h 4333875"/>
                  <a:gd name="connsiteX137" fmla="*/ 1819275 w 8601075"/>
                  <a:gd name="connsiteY137" fmla="*/ 3362325 h 4333875"/>
                  <a:gd name="connsiteX138" fmla="*/ 1828800 w 8601075"/>
                  <a:gd name="connsiteY138" fmla="*/ 3457575 h 4333875"/>
                  <a:gd name="connsiteX139" fmla="*/ 1971675 w 8601075"/>
                  <a:gd name="connsiteY139" fmla="*/ 3590925 h 4333875"/>
                  <a:gd name="connsiteX140" fmla="*/ 1990725 w 8601075"/>
                  <a:gd name="connsiteY140" fmla="*/ 3714750 h 4333875"/>
                  <a:gd name="connsiteX141" fmla="*/ 2200275 w 8601075"/>
                  <a:gd name="connsiteY141" fmla="*/ 3695700 h 4333875"/>
                  <a:gd name="connsiteX142" fmla="*/ 2886075 w 8601075"/>
                  <a:gd name="connsiteY142" fmla="*/ 3886200 h 4333875"/>
                  <a:gd name="connsiteX143" fmla="*/ 3038475 w 8601075"/>
                  <a:gd name="connsiteY143" fmla="*/ 3819525 h 4333875"/>
                  <a:gd name="connsiteX144" fmla="*/ 3105150 w 8601075"/>
                  <a:gd name="connsiteY144" fmla="*/ 3867150 h 4333875"/>
                  <a:gd name="connsiteX145" fmla="*/ 3181350 w 8601075"/>
                  <a:gd name="connsiteY145" fmla="*/ 3800475 h 4333875"/>
                  <a:gd name="connsiteX146" fmla="*/ 3590925 w 8601075"/>
                  <a:gd name="connsiteY146" fmla="*/ 3943350 h 4333875"/>
                  <a:gd name="connsiteX147" fmla="*/ 3686175 w 8601075"/>
                  <a:gd name="connsiteY147" fmla="*/ 4057650 h 4333875"/>
                  <a:gd name="connsiteX148" fmla="*/ 3838575 w 8601075"/>
                  <a:gd name="connsiteY148" fmla="*/ 4057650 h 4333875"/>
                  <a:gd name="connsiteX149" fmla="*/ 4162425 w 8601075"/>
                  <a:gd name="connsiteY149" fmla="*/ 4248150 h 4333875"/>
                  <a:gd name="connsiteX150" fmla="*/ 4391025 w 8601075"/>
                  <a:gd name="connsiteY150" fmla="*/ 4200525 h 4333875"/>
                  <a:gd name="connsiteX151" fmla="*/ 4410075 w 8601075"/>
                  <a:gd name="connsiteY151" fmla="*/ 4305300 h 4333875"/>
                  <a:gd name="connsiteX152" fmla="*/ 4505325 w 8601075"/>
                  <a:gd name="connsiteY152" fmla="*/ 4276725 h 4333875"/>
                  <a:gd name="connsiteX153" fmla="*/ 4572000 w 8601075"/>
                  <a:gd name="connsiteY153" fmla="*/ 4333875 h 4333875"/>
                  <a:gd name="connsiteX154" fmla="*/ 4591050 w 8601075"/>
                  <a:gd name="connsiteY154" fmla="*/ 4248150 h 4333875"/>
                  <a:gd name="connsiteX155" fmla="*/ 5295900 w 8601075"/>
                  <a:gd name="connsiteY155" fmla="*/ 3924300 h 4333875"/>
                  <a:gd name="connsiteX156" fmla="*/ 5353050 w 8601075"/>
                  <a:gd name="connsiteY156" fmla="*/ 3990975 h 4333875"/>
                  <a:gd name="connsiteX157" fmla="*/ 5524500 w 8601075"/>
                  <a:gd name="connsiteY157" fmla="*/ 3914775 h 4333875"/>
                  <a:gd name="connsiteX158" fmla="*/ 5667375 w 8601075"/>
                  <a:gd name="connsiteY158" fmla="*/ 3962400 h 4333875"/>
                  <a:gd name="connsiteX159" fmla="*/ 5753100 w 8601075"/>
                  <a:gd name="connsiteY159" fmla="*/ 3924300 h 4333875"/>
                  <a:gd name="connsiteX160" fmla="*/ 5905500 w 8601075"/>
                  <a:gd name="connsiteY160" fmla="*/ 3943350 h 4333875"/>
                  <a:gd name="connsiteX161" fmla="*/ 6000750 w 8601075"/>
                  <a:gd name="connsiteY161" fmla="*/ 3800475 h 4333875"/>
                  <a:gd name="connsiteX162" fmla="*/ 6153150 w 8601075"/>
                  <a:gd name="connsiteY162" fmla="*/ 3781425 h 4333875"/>
                  <a:gd name="connsiteX163" fmla="*/ 6257925 w 8601075"/>
                  <a:gd name="connsiteY163" fmla="*/ 3581400 h 4333875"/>
                  <a:gd name="connsiteX164" fmla="*/ 6448425 w 8601075"/>
                  <a:gd name="connsiteY164" fmla="*/ 3448050 h 4333875"/>
                  <a:gd name="connsiteX165" fmla="*/ 6581775 w 8601075"/>
                  <a:gd name="connsiteY165" fmla="*/ 3276600 h 4333875"/>
                  <a:gd name="connsiteX166" fmla="*/ 6496050 w 8601075"/>
                  <a:gd name="connsiteY166" fmla="*/ 3228975 h 4333875"/>
                  <a:gd name="connsiteX167" fmla="*/ 6438900 w 8601075"/>
                  <a:gd name="connsiteY167" fmla="*/ 3162300 h 4333875"/>
                  <a:gd name="connsiteX168" fmla="*/ 6419850 w 8601075"/>
                  <a:gd name="connsiteY168" fmla="*/ 3105150 h 4333875"/>
                  <a:gd name="connsiteX169" fmla="*/ 6362700 w 8601075"/>
                  <a:gd name="connsiteY169" fmla="*/ 3076575 h 4333875"/>
                  <a:gd name="connsiteX170" fmla="*/ 6410325 w 8601075"/>
                  <a:gd name="connsiteY170" fmla="*/ 3019425 h 4333875"/>
                  <a:gd name="connsiteX171" fmla="*/ 6438900 w 8601075"/>
                  <a:gd name="connsiteY171" fmla="*/ 2819400 h 4333875"/>
                  <a:gd name="connsiteX172" fmla="*/ 6496050 w 8601075"/>
                  <a:gd name="connsiteY172" fmla="*/ 2762250 h 4333875"/>
                  <a:gd name="connsiteX173" fmla="*/ 6657975 w 8601075"/>
                  <a:gd name="connsiteY173" fmla="*/ 2752725 h 4333875"/>
                  <a:gd name="connsiteX174" fmla="*/ 6781800 w 8601075"/>
                  <a:gd name="connsiteY174" fmla="*/ 2838450 h 4333875"/>
                  <a:gd name="connsiteX175" fmla="*/ 7010400 w 8601075"/>
                  <a:gd name="connsiteY175" fmla="*/ 2838450 h 4333875"/>
                  <a:gd name="connsiteX176" fmla="*/ 7162800 w 8601075"/>
                  <a:gd name="connsiteY176" fmla="*/ 2705100 h 4333875"/>
                  <a:gd name="connsiteX177" fmla="*/ 7229475 w 8601075"/>
                  <a:gd name="connsiteY177" fmla="*/ 2590800 h 4333875"/>
                  <a:gd name="connsiteX178" fmla="*/ 7248525 w 8601075"/>
                  <a:gd name="connsiteY178" fmla="*/ 2524125 h 4333875"/>
                  <a:gd name="connsiteX179" fmla="*/ 7372350 w 8601075"/>
                  <a:gd name="connsiteY179" fmla="*/ 2543175 h 4333875"/>
                  <a:gd name="connsiteX180" fmla="*/ 7553325 w 8601075"/>
                  <a:gd name="connsiteY180" fmla="*/ 2447925 h 4333875"/>
                  <a:gd name="connsiteX181" fmla="*/ 7620000 w 8601075"/>
                  <a:gd name="connsiteY181" fmla="*/ 2324100 h 4333875"/>
                  <a:gd name="connsiteX182" fmla="*/ 7696200 w 8601075"/>
                  <a:gd name="connsiteY182" fmla="*/ 2314575 h 4333875"/>
                  <a:gd name="connsiteX183" fmla="*/ 7658100 w 8601075"/>
                  <a:gd name="connsiteY183" fmla="*/ 2257425 h 4333875"/>
                  <a:gd name="connsiteX184" fmla="*/ 7753350 w 8601075"/>
                  <a:gd name="connsiteY184" fmla="*/ 2057400 h 4333875"/>
                  <a:gd name="connsiteX185" fmla="*/ 7934325 w 8601075"/>
                  <a:gd name="connsiteY185" fmla="*/ 2028825 h 4333875"/>
                  <a:gd name="connsiteX186" fmla="*/ 7953375 w 8601075"/>
                  <a:gd name="connsiteY186" fmla="*/ 1952625 h 4333875"/>
                  <a:gd name="connsiteX187" fmla="*/ 7953375 w 8601075"/>
                  <a:gd name="connsiteY187" fmla="*/ 1952625 h 4333875"/>
                  <a:gd name="connsiteX188" fmla="*/ 8010525 w 8601075"/>
                  <a:gd name="connsiteY188" fmla="*/ 1895475 h 4333875"/>
                  <a:gd name="connsiteX189" fmla="*/ 8048625 w 8601075"/>
                  <a:gd name="connsiteY189" fmla="*/ 1971675 h 4333875"/>
                  <a:gd name="connsiteX190" fmla="*/ 8077200 w 8601075"/>
                  <a:gd name="connsiteY190" fmla="*/ 1885950 h 4333875"/>
                  <a:gd name="connsiteX191" fmla="*/ 8220075 w 8601075"/>
                  <a:gd name="connsiteY191" fmla="*/ 1847850 h 4333875"/>
                  <a:gd name="connsiteX192" fmla="*/ 8296275 w 8601075"/>
                  <a:gd name="connsiteY192" fmla="*/ 1809750 h 4333875"/>
                  <a:gd name="connsiteX193" fmla="*/ 8324850 w 8601075"/>
                  <a:gd name="connsiteY193" fmla="*/ 1790700 h 4333875"/>
                  <a:gd name="connsiteX194" fmla="*/ 8410575 w 8601075"/>
                  <a:gd name="connsiteY194" fmla="*/ 1847850 h 4333875"/>
                  <a:gd name="connsiteX195" fmla="*/ 8505825 w 8601075"/>
                  <a:gd name="connsiteY195" fmla="*/ 1781175 h 4333875"/>
                  <a:gd name="connsiteX196" fmla="*/ 8572500 w 8601075"/>
                  <a:gd name="connsiteY196" fmla="*/ 1809750 h 4333875"/>
                  <a:gd name="connsiteX197" fmla="*/ 8601075 w 8601075"/>
                  <a:gd name="connsiteY197" fmla="*/ 1704975 h 4333875"/>
                  <a:gd name="connsiteX198" fmla="*/ 8553450 w 8601075"/>
                  <a:gd name="connsiteY198" fmla="*/ 1676400 h 4333875"/>
                  <a:gd name="connsiteX199" fmla="*/ 8534400 w 8601075"/>
                  <a:gd name="connsiteY199" fmla="*/ 1609725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124825 w 8601075"/>
                  <a:gd name="connsiteY203" fmla="*/ 1352550 h 4333875"/>
                  <a:gd name="connsiteX204" fmla="*/ 7924800 w 8601075"/>
                  <a:gd name="connsiteY204" fmla="*/ 1362075 h 4333875"/>
                  <a:gd name="connsiteX205" fmla="*/ 7867650 w 8601075"/>
                  <a:gd name="connsiteY205" fmla="*/ 1457325 h 4333875"/>
                  <a:gd name="connsiteX206" fmla="*/ 7896225 w 8601075"/>
                  <a:gd name="connsiteY206" fmla="*/ 1476375 h 4333875"/>
                  <a:gd name="connsiteX207" fmla="*/ 7858125 w 8601075"/>
                  <a:gd name="connsiteY207" fmla="*/ 1533525 h 4333875"/>
                  <a:gd name="connsiteX208" fmla="*/ 7658100 w 8601075"/>
                  <a:gd name="connsiteY208" fmla="*/ 1447800 h 4333875"/>
                  <a:gd name="connsiteX209" fmla="*/ 7515225 w 8601075"/>
                  <a:gd name="connsiteY209" fmla="*/ 1495425 h 4333875"/>
                  <a:gd name="connsiteX210" fmla="*/ 7467600 w 8601075"/>
                  <a:gd name="connsiteY210" fmla="*/ 1581150 h 4333875"/>
                  <a:gd name="connsiteX211" fmla="*/ 7296150 w 8601075"/>
                  <a:gd name="connsiteY21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400300 w 8601075"/>
                  <a:gd name="connsiteY82" fmla="*/ 866775 h 4333875"/>
                  <a:gd name="connsiteX83" fmla="*/ 2305050 w 8601075"/>
                  <a:gd name="connsiteY83" fmla="*/ 809625 h 4333875"/>
                  <a:gd name="connsiteX84" fmla="*/ 2200275 w 8601075"/>
                  <a:gd name="connsiteY84" fmla="*/ 752475 h 4333875"/>
                  <a:gd name="connsiteX85" fmla="*/ 2105025 w 8601075"/>
                  <a:gd name="connsiteY85" fmla="*/ 762000 h 4333875"/>
                  <a:gd name="connsiteX86" fmla="*/ 1990725 w 8601075"/>
                  <a:gd name="connsiteY86" fmla="*/ 762000 h 4333875"/>
                  <a:gd name="connsiteX87" fmla="*/ 1885950 w 8601075"/>
                  <a:gd name="connsiteY87" fmla="*/ 742950 h 4333875"/>
                  <a:gd name="connsiteX88" fmla="*/ 1800225 w 8601075"/>
                  <a:gd name="connsiteY88" fmla="*/ 638175 h 4333875"/>
                  <a:gd name="connsiteX89" fmla="*/ 1809750 w 8601075"/>
                  <a:gd name="connsiteY89" fmla="*/ 495300 h 4333875"/>
                  <a:gd name="connsiteX90" fmla="*/ 1733550 w 8601075"/>
                  <a:gd name="connsiteY90" fmla="*/ 466725 h 4333875"/>
                  <a:gd name="connsiteX91" fmla="*/ 1485900 w 8601075"/>
                  <a:gd name="connsiteY91" fmla="*/ 419100 h 4333875"/>
                  <a:gd name="connsiteX92" fmla="*/ 1457325 w 8601075"/>
                  <a:gd name="connsiteY92" fmla="*/ 323850 h 4333875"/>
                  <a:gd name="connsiteX93" fmla="*/ 1457325 w 8601075"/>
                  <a:gd name="connsiteY93" fmla="*/ 323850 h 4333875"/>
                  <a:gd name="connsiteX94" fmla="*/ 1323975 w 8601075"/>
                  <a:gd name="connsiteY94" fmla="*/ 285750 h 4333875"/>
                  <a:gd name="connsiteX95" fmla="*/ 1266825 w 8601075"/>
                  <a:gd name="connsiteY95" fmla="*/ 352425 h 4333875"/>
                  <a:gd name="connsiteX96" fmla="*/ 1009650 w 8601075"/>
                  <a:gd name="connsiteY96" fmla="*/ 390525 h 4333875"/>
                  <a:gd name="connsiteX97" fmla="*/ 828675 w 8601075"/>
                  <a:gd name="connsiteY97" fmla="*/ 447675 h 4333875"/>
                  <a:gd name="connsiteX98" fmla="*/ 619125 w 8601075"/>
                  <a:gd name="connsiteY98" fmla="*/ 533400 h 4333875"/>
                  <a:gd name="connsiteX99" fmla="*/ 619125 w 8601075"/>
                  <a:gd name="connsiteY99" fmla="*/ 533400 h 4333875"/>
                  <a:gd name="connsiteX100" fmla="*/ 561975 w 8601075"/>
                  <a:gd name="connsiteY100" fmla="*/ 61912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295275 w 8601075"/>
                  <a:gd name="connsiteY104" fmla="*/ 657225 h 4333875"/>
                  <a:gd name="connsiteX105" fmla="*/ 180975 w 8601075"/>
                  <a:gd name="connsiteY105" fmla="*/ 638175 h 4333875"/>
                  <a:gd name="connsiteX106" fmla="*/ 180975 w 8601075"/>
                  <a:gd name="connsiteY106" fmla="*/ 638175 h 4333875"/>
                  <a:gd name="connsiteX107" fmla="*/ 57150 w 8601075"/>
                  <a:gd name="connsiteY107" fmla="*/ 733425 h 4333875"/>
                  <a:gd name="connsiteX108" fmla="*/ 19050 w 8601075"/>
                  <a:gd name="connsiteY108" fmla="*/ 790575 h 4333875"/>
                  <a:gd name="connsiteX109" fmla="*/ 0 w 8601075"/>
                  <a:gd name="connsiteY109" fmla="*/ 876300 h 4333875"/>
                  <a:gd name="connsiteX110" fmla="*/ 57150 w 8601075"/>
                  <a:gd name="connsiteY110" fmla="*/ 923925 h 4333875"/>
                  <a:gd name="connsiteX111" fmla="*/ 57150 w 8601075"/>
                  <a:gd name="connsiteY111" fmla="*/ 923925 h 4333875"/>
                  <a:gd name="connsiteX112" fmla="*/ 209550 w 8601075"/>
                  <a:gd name="connsiteY112" fmla="*/ 1114425 h 4333875"/>
                  <a:gd name="connsiteX113" fmla="*/ 209550 w 8601075"/>
                  <a:gd name="connsiteY113" fmla="*/ 1114425 h 4333875"/>
                  <a:gd name="connsiteX114" fmla="*/ 266700 w 8601075"/>
                  <a:gd name="connsiteY114" fmla="*/ 1295400 h 4333875"/>
                  <a:gd name="connsiteX115" fmla="*/ 409575 w 8601075"/>
                  <a:gd name="connsiteY115" fmla="*/ 1276350 h 4333875"/>
                  <a:gd name="connsiteX116" fmla="*/ 466725 w 8601075"/>
                  <a:gd name="connsiteY116" fmla="*/ 1362075 h 4333875"/>
                  <a:gd name="connsiteX117" fmla="*/ 542925 w 8601075"/>
                  <a:gd name="connsiteY117" fmla="*/ 1428750 h 4333875"/>
                  <a:gd name="connsiteX118" fmla="*/ 628650 w 8601075"/>
                  <a:gd name="connsiteY118" fmla="*/ 1571625 h 4333875"/>
                  <a:gd name="connsiteX119" fmla="*/ 628650 w 8601075"/>
                  <a:gd name="connsiteY119" fmla="*/ 1704975 h 4333875"/>
                  <a:gd name="connsiteX120" fmla="*/ 676275 w 8601075"/>
                  <a:gd name="connsiteY120" fmla="*/ 1771650 h 4333875"/>
                  <a:gd name="connsiteX121" fmla="*/ 657225 w 8601075"/>
                  <a:gd name="connsiteY121" fmla="*/ 2000250 h 4333875"/>
                  <a:gd name="connsiteX122" fmla="*/ 619125 w 8601075"/>
                  <a:gd name="connsiteY122" fmla="*/ 2095500 h 4333875"/>
                  <a:gd name="connsiteX123" fmla="*/ 542925 w 8601075"/>
                  <a:gd name="connsiteY123" fmla="*/ 2228850 h 4333875"/>
                  <a:gd name="connsiteX124" fmla="*/ 485775 w 8601075"/>
                  <a:gd name="connsiteY124" fmla="*/ 2362200 h 4333875"/>
                  <a:gd name="connsiteX125" fmla="*/ 552450 w 8601075"/>
                  <a:gd name="connsiteY125" fmla="*/ 2486025 h 4333875"/>
                  <a:gd name="connsiteX126" fmla="*/ 771525 w 8601075"/>
                  <a:gd name="connsiteY126" fmla="*/ 2571750 h 4333875"/>
                  <a:gd name="connsiteX127" fmla="*/ 866775 w 8601075"/>
                  <a:gd name="connsiteY127" fmla="*/ 2571750 h 4333875"/>
                  <a:gd name="connsiteX128" fmla="*/ 914400 w 8601075"/>
                  <a:gd name="connsiteY128" fmla="*/ 2638425 h 4333875"/>
                  <a:gd name="connsiteX129" fmla="*/ 1066800 w 8601075"/>
                  <a:gd name="connsiteY129" fmla="*/ 2638425 h 4333875"/>
                  <a:gd name="connsiteX130" fmla="*/ 1285875 w 8601075"/>
                  <a:gd name="connsiteY130" fmla="*/ 2705100 h 4333875"/>
                  <a:gd name="connsiteX131" fmla="*/ 1438275 w 8601075"/>
                  <a:gd name="connsiteY131" fmla="*/ 2838450 h 4333875"/>
                  <a:gd name="connsiteX132" fmla="*/ 1485900 w 8601075"/>
                  <a:gd name="connsiteY132" fmla="*/ 2914650 h 4333875"/>
                  <a:gd name="connsiteX133" fmla="*/ 1657350 w 8601075"/>
                  <a:gd name="connsiteY133" fmla="*/ 3038475 h 4333875"/>
                  <a:gd name="connsiteX134" fmla="*/ 1752600 w 8601075"/>
                  <a:gd name="connsiteY134" fmla="*/ 3057525 h 4333875"/>
                  <a:gd name="connsiteX135" fmla="*/ 1724025 w 8601075"/>
                  <a:gd name="connsiteY135" fmla="*/ 3143250 h 4333875"/>
                  <a:gd name="connsiteX136" fmla="*/ 1724025 w 8601075"/>
                  <a:gd name="connsiteY136" fmla="*/ 3143250 h 4333875"/>
                  <a:gd name="connsiteX137" fmla="*/ 1781175 w 8601075"/>
                  <a:gd name="connsiteY137" fmla="*/ 3181350 h 4333875"/>
                  <a:gd name="connsiteX138" fmla="*/ 1819275 w 8601075"/>
                  <a:gd name="connsiteY138" fmla="*/ 3362325 h 4333875"/>
                  <a:gd name="connsiteX139" fmla="*/ 1828800 w 8601075"/>
                  <a:gd name="connsiteY139" fmla="*/ 3457575 h 4333875"/>
                  <a:gd name="connsiteX140" fmla="*/ 1971675 w 8601075"/>
                  <a:gd name="connsiteY140" fmla="*/ 3590925 h 4333875"/>
                  <a:gd name="connsiteX141" fmla="*/ 1990725 w 8601075"/>
                  <a:gd name="connsiteY141" fmla="*/ 3714750 h 4333875"/>
                  <a:gd name="connsiteX142" fmla="*/ 2200275 w 8601075"/>
                  <a:gd name="connsiteY142" fmla="*/ 3695700 h 4333875"/>
                  <a:gd name="connsiteX143" fmla="*/ 2886075 w 8601075"/>
                  <a:gd name="connsiteY143" fmla="*/ 3886200 h 4333875"/>
                  <a:gd name="connsiteX144" fmla="*/ 3038475 w 8601075"/>
                  <a:gd name="connsiteY144" fmla="*/ 3819525 h 4333875"/>
                  <a:gd name="connsiteX145" fmla="*/ 3105150 w 8601075"/>
                  <a:gd name="connsiteY145" fmla="*/ 3867150 h 4333875"/>
                  <a:gd name="connsiteX146" fmla="*/ 3181350 w 8601075"/>
                  <a:gd name="connsiteY146" fmla="*/ 3800475 h 4333875"/>
                  <a:gd name="connsiteX147" fmla="*/ 3590925 w 8601075"/>
                  <a:gd name="connsiteY147" fmla="*/ 3943350 h 4333875"/>
                  <a:gd name="connsiteX148" fmla="*/ 3686175 w 8601075"/>
                  <a:gd name="connsiteY148" fmla="*/ 4057650 h 4333875"/>
                  <a:gd name="connsiteX149" fmla="*/ 3838575 w 8601075"/>
                  <a:gd name="connsiteY149" fmla="*/ 4057650 h 4333875"/>
                  <a:gd name="connsiteX150" fmla="*/ 4162425 w 8601075"/>
                  <a:gd name="connsiteY150" fmla="*/ 4248150 h 4333875"/>
                  <a:gd name="connsiteX151" fmla="*/ 4391025 w 8601075"/>
                  <a:gd name="connsiteY151" fmla="*/ 4200525 h 4333875"/>
                  <a:gd name="connsiteX152" fmla="*/ 4410075 w 8601075"/>
                  <a:gd name="connsiteY152" fmla="*/ 4305300 h 4333875"/>
                  <a:gd name="connsiteX153" fmla="*/ 4505325 w 8601075"/>
                  <a:gd name="connsiteY153" fmla="*/ 4276725 h 4333875"/>
                  <a:gd name="connsiteX154" fmla="*/ 4572000 w 8601075"/>
                  <a:gd name="connsiteY154" fmla="*/ 4333875 h 4333875"/>
                  <a:gd name="connsiteX155" fmla="*/ 4591050 w 8601075"/>
                  <a:gd name="connsiteY155" fmla="*/ 4248150 h 4333875"/>
                  <a:gd name="connsiteX156" fmla="*/ 5295900 w 8601075"/>
                  <a:gd name="connsiteY156" fmla="*/ 3924300 h 4333875"/>
                  <a:gd name="connsiteX157" fmla="*/ 5353050 w 8601075"/>
                  <a:gd name="connsiteY157" fmla="*/ 3990975 h 4333875"/>
                  <a:gd name="connsiteX158" fmla="*/ 5524500 w 8601075"/>
                  <a:gd name="connsiteY158" fmla="*/ 3914775 h 4333875"/>
                  <a:gd name="connsiteX159" fmla="*/ 5667375 w 8601075"/>
                  <a:gd name="connsiteY159" fmla="*/ 3962400 h 4333875"/>
                  <a:gd name="connsiteX160" fmla="*/ 5753100 w 8601075"/>
                  <a:gd name="connsiteY160" fmla="*/ 3924300 h 4333875"/>
                  <a:gd name="connsiteX161" fmla="*/ 5905500 w 8601075"/>
                  <a:gd name="connsiteY161" fmla="*/ 3943350 h 4333875"/>
                  <a:gd name="connsiteX162" fmla="*/ 6000750 w 8601075"/>
                  <a:gd name="connsiteY162" fmla="*/ 3800475 h 4333875"/>
                  <a:gd name="connsiteX163" fmla="*/ 6153150 w 8601075"/>
                  <a:gd name="connsiteY163" fmla="*/ 3781425 h 4333875"/>
                  <a:gd name="connsiteX164" fmla="*/ 6257925 w 8601075"/>
                  <a:gd name="connsiteY164" fmla="*/ 3581400 h 4333875"/>
                  <a:gd name="connsiteX165" fmla="*/ 6448425 w 8601075"/>
                  <a:gd name="connsiteY165" fmla="*/ 3448050 h 4333875"/>
                  <a:gd name="connsiteX166" fmla="*/ 6581775 w 8601075"/>
                  <a:gd name="connsiteY166" fmla="*/ 3276600 h 4333875"/>
                  <a:gd name="connsiteX167" fmla="*/ 6496050 w 8601075"/>
                  <a:gd name="connsiteY167" fmla="*/ 3228975 h 4333875"/>
                  <a:gd name="connsiteX168" fmla="*/ 6438900 w 8601075"/>
                  <a:gd name="connsiteY168" fmla="*/ 3162300 h 4333875"/>
                  <a:gd name="connsiteX169" fmla="*/ 6419850 w 8601075"/>
                  <a:gd name="connsiteY169" fmla="*/ 3105150 h 4333875"/>
                  <a:gd name="connsiteX170" fmla="*/ 6362700 w 8601075"/>
                  <a:gd name="connsiteY170" fmla="*/ 3076575 h 4333875"/>
                  <a:gd name="connsiteX171" fmla="*/ 6410325 w 8601075"/>
                  <a:gd name="connsiteY171" fmla="*/ 3019425 h 4333875"/>
                  <a:gd name="connsiteX172" fmla="*/ 6438900 w 8601075"/>
                  <a:gd name="connsiteY172" fmla="*/ 2819400 h 4333875"/>
                  <a:gd name="connsiteX173" fmla="*/ 6496050 w 8601075"/>
                  <a:gd name="connsiteY173" fmla="*/ 2762250 h 4333875"/>
                  <a:gd name="connsiteX174" fmla="*/ 6657975 w 8601075"/>
                  <a:gd name="connsiteY174" fmla="*/ 2752725 h 4333875"/>
                  <a:gd name="connsiteX175" fmla="*/ 6781800 w 8601075"/>
                  <a:gd name="connsiteY175" fmla="*/ 2838450 h 4333875"/>
                  <a:gd name="connsiteX176" fmla="*/ 7010400 w 8601075"/>
                  <a:gd name="connsiteY176" fmla="*/ 2838450 h 4333875"/>
                  <a:gd name="connsiteX177" fmla="*/ 7162800 w 8601075"/>
                  <a:gd name="connsiteY177" fmla="*/ 2705100 h 4333875"/>
                  <a:gd name="connsiteX178" fmla="*/ 7229475 w 8601075"/>
                  <a:gd name="connsiteY178" fmla="*/ 2590800 h 4333875"/>
                  <a:gd name="connsiteX179" fmla="*/ 7248525 w 8601075"/>
                  <a:gd name="connsiteY179" fmla="*/ 2524125 h 4333875"/>
                  <a:gd name="connsiteX180" fmla="*/ 7372350 w 8601075"/>
                  <a:gd name="connsiteY180" fmla="*/ 2543175 h 4333875"/>
                  <a:gd name="connsiteX181" fmla="*/ 7553325 w 8601075"/>
                  <a:gd name="connsiteY181" fmla="*/ 2447925 h 4333875"/>
                  <a:gd name="connsiteX182" fmla="*/ 7620000 w 8601075"/>
                  <a:gd name="connsiteY182" fmla="*/ 2324100 h 4333875"/>
                  <a:gd name="connsiteX183" fmla="*/ 7696200 w 8601075"/>
                  <a:gd name="connsiteY183" fmla="*/ 2314575 h 4333875"/>
                  <a:gd name="connsiteX184" fmla="*/ 7658100 w 8601075"/>
                  <a:gd name="connsiteY184" fmla="*/ 2257425 h 4333875"/>
                  <a:gd name="connsiteX185" fmla="*/ 7753350 w 8601075"/>
                  <a:gd name="connsiteY185" fmla="*/ 2057400 h 4333875"/>
                  <a:gd name="connsiteX186" fmla="*/ 7934325 w 8601075"/>
                  <a:gd name="connsiteY186" fmla="*/ 2028825 h 4333875"/>
                  <a:gd name="connsiteX187" fmla="*/ 7953375 w 8601075"/>
                  <a:gd name="connsiteY187" fmla="*/ 1952625 h 4333875"/>
                  <a:gd name="connsiteX188" fmla="*/ 7953375 w 8601075"/>
                  <a:gd name="connsiteY188" fmla="*/ 1952625 h 4333875"/>
                  <a:gd name="connsiteX189" fmla="*/ 8010525 w 8601075"/>
                  <a:gd name="connsiteY189" fmla="*/ 1895475 h 4333875"/>
                  <a:gd name="connsiteX190" fmla="*/ 8048625 w 8601075"/>
                  <a:gd name="connsiteY190" fmla="*/ 1971675 h 4333875"/>
                  <a:gd name="connsiteX191" fmla="*/ 8077200 w 8601075"/>
                  <a:gd name="connsiteY191" fmla="*/ 1885950 h 4333875"/>
                  <a:gd name="connsiteX192" fmla="*/ 8220075 w 8601075"/>
                  <a:gd name="connsiteY192" fmla="*/ 1847850 h 4333875"/>
                  <a:gd name="connsiteX193" fmla="*/ 8296275 w 8601075"/>
                  <a:gd name="connsiteY193" fmla="*/ 1809750 h 4333875"/>
                  <a:gd name="connsiteX194" fmla="*/ 8324850 w 8601075"/>
                  <a:gd name="connsiteY194" fmla="*/ 1790700 h 4333875"/>
                  <a:gd name="connsiteX195" fmla="*/ 8410575 w 8601075"/>
                  <a:gd name="connsiteY195" fmla="*/ 1847850 h 4333875"/>
                  <a:gd name="connsiteX196" fmla="*/ 8505825 w 8601075"/>
                  <a:gd name="connsiteY196" fmla="*/ 1781175 h 4333875"/>
                  <a:gd name="connsiteX197" fmla="*/ 8572500 w 8601075"/>
                  <a:gd name="connsiteY197" fmla="*/ 1809750 h 4333875"/>
                  <a:gd name="connsiteX198" fmla="*/ 8601075 w 8601075"/>
                  <a:gd name="connsiteY198" fmla="*/ 1704975 h 4333875"/>
                  <a:gd name="connsiteX199" fmla="*/ 8553450 w 8601075"/>
                  <a:gd name="connsiteY199" fmla="*/ 1676400 h 4333875"/>
                  <a:gd name="connsiteX200" fmla="*/ 8534400 w 8601075"/>
                  <a:gd name="connsiteY200" fmla="*/ 1609725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124825 w 8601075"/>
                  <a:gd name="connsiteY204" fmla="*/ 1352550 h 4333875"/>
                  <a:gd name="connsiteX205" fmla="*/ 7924800 w 8601075"/>
                  <a:gd name="connsiteY205" fmla="*/ 1362075 h 4333875"/>
                  <a:gd name="connsiteX206" fmla="*/ 7867650 w 8601075"/>
                  <a:gd name="connsiteY206" fmla="*/ 1457325 h 4333875"/>
                  <a:gd name="connsiteX207" fmla="*/ 7896225 w 8601075"/>
                  <a:gd name="connsiteY207" fmla="*/ 1476375 h 4333875"/>
                  <a:gd name="connsiteX208" fmla="*/ 7858125 w 8601075"/>
                  <a:gd name="connsiteY208" fmla="*/ 1533525 h 4333875"/>
                  <a:gd name="connsiteX209" fmla="*/ 7658100 w 8601075"/>
                  <a:gd name="connsiteY209" fmla="*/ 1447800 h 4333875"/>
                  <a:gd name="connsiteX210" fmla="*/ 7515225 w 8601075"/>
                  <a:gd name="connsiteY210" fmla="*/ 1495425 h 4333875"/>
                  <a:gd name="connsiteX211" fmla="*/ 7467600 w 8601075"/>
                  <a:gd name="connsiteY211" fmla="*/ 1581150 h 4333875"/>
                  <a:gd name="connsiteX212" fmla="*/ 7296150 w 8601075"/>
                  <a:gd name="connsiteY21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05050 w 8601075"/>
                  <a:gd name="connsiteY83" fmla="*/ 809625 h 4333875"/>
                  <a:gd name="connsiteX84" fmla="*/ 2200275 w 8601075"/>
                  <a:gd name="connsiteY84" fmla="*/ 752475 h 4333875"/>
                  <a:gd name="connsiteX85" fmla="*/ 2105025 w 8601075"/>
                  <a:gd name="connsiteY85" fmla="*/ 762000 h 4333875"/>
                  <a:gd name="connsiteX86" fmla="*/ 1990725 w 8601075"/>
                  <a:gd name="connsiteY86" fmla="*/ 762000 h 4333875"/>
                  <a:gd name="connsiteX87" fmla="*/ 1885950 w 8601075"/>
                  <a:gd name="connsiteY87" fmla="*/ 742950 h 4333875"/>
                  <a:gd name="connsiteX88" fmla="*/ 1800225 w 8601075"/>
                  <a:gd name="connsiteY88" fmla="*/ 638175 h 4333875"/>
                  <a:gd name="connsiteX89" fmla="*/ 1809750 w 8601075"/>
                  <a:gd name="connsiteY89" fmla="*/ 495300 h 4333875"/>
                  <a:gd name="connsiteX90" fmla="*/ 1733550 w 8601075"/>
                  <a:gd name="connsiteY90" fmla="*/ 466725 h 4333875"/>
                  <a:gd name="connsiteX91" fmla="*/ 1485900 w 8601075"/>
                  <a:gd name="connsiteY91" fmla="*/ 419100 h 4333875"/>
                  <a:gd name="connsiteX92" fmla="*/ 1457325 w 8601075"/>
                  <a:gd name="connsiteY92" fmla="*/ 323850 h 4333875"/>
                  <a:gd name="connsiteX93" fmla="*/ 1457325 w 8601075"/>
                  <a:gd name="connsiteY93" fmla="*/ 323850 h 4333875"/>
                  <a:gd name="connsiteX94" fmla="*/ 1323975 w 8601075"/>
                  <a:gd name="connsiteY94" fmla="*/ 285750 h 4333875"/>
                  <a:gd name="connsiteX95" fmla="*/ 1266825 w 8601075"/>
                  <a:gd name="connsiteY95" fmla="*/ 352425 h 4333875"/>
                  <a:gd name="connsiteX96" fmla="*/ 1009650 w 8601075"/>
                  <a:gd name="connsiteY96" fmla="*/ 390525 h 4333875"/>
                  <a:gd name="connsiteX97" fmla="*/ 828675 w 8601075"/>
                  <a:gd name="connsiteY97" fmla="*/ 447675 h 4333875"/>
                  <a:gd name="connsiteX98" fmla="*/ 619125 w 8601075"/>
                  <a:gd name="connsiteY98" fmla="*/ 533400 h 4333875"/>
                  <a:gd name="connsiteX99" fmla="*/ 619125 w 8601075"/>
                  <a:gd name="connsiteY99" fmla="*/ 533400 h 4333875"/>
                  <a:gd name="connsiteX100" fmla="*/ 561975 w 8601075"/>
                  <a:gd name="connsiteY100" fmla="*/ 61912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295275 w 8601075"/>
                  <a:gd name="connsiteY104" fmla="*/ 657225 h 4333875"/>
                  <a:gd name="connsiteX105" fmla="*/ 180975 w 8601075"/>
                  <a:gd name="connsiteY105" fmla="*/ 638175 h 4333875"/>
                  <a:gd name="connsiteX106" fmla="*/ 180975 w 8601075"/>
                  <a:gd name="connsiteY106" fmla="*/ 638175 h 4333875"/>
                  <a:gd name="connsiteX107" fmla="*/ 57150 w 8601075"/>
                  <a:gd name="connsiteY107" fmla="*/ 733425 h 4333875"/>
                  <a:gd name="connsiteX108" fmla="*/ 19050 w 8601075"/>
                  <a:gd name="connsiteY108" fmla="*/ 790575 h 4333875"/>
                  <a:gd name="connsiteX109" fmla="*/ 0 w 8601075"/>
                  <a:gd name="connsiteY109" fmla="*/ 876300 h 4333875"/>
                  <a:gd name="connsiteX110" fmla="*/ 57150 w 8601075"/>
                  <a:gd name="connsiteY110" fmla="*/ 923925 h 4333875"/>
                  <a:gd name="connsiteX111" fmla="*/ 57150 w 8601075"/>
                  <a:gd name="connsiteY111" fmla="*/ 923925 h 4333875"/>
                  <a:gd name="connsiteX112" fmla="*/ 209550 w 8601075"/>
                  <a:gd name="connsiteY112" fmla="*/ 1114425 h 4333875"/>
                  <a:gd name="connsiteX113" fmla="*/ 209550 w 8601075"/>
                  <a:gd name="connsiteY113" fmla="*/ 1114425 h 4333875"/>
                  <a:gd name="connsiteX114" fmla="*/ 266700 w 8601075"/>
                  <a:gd name="connsiteY114" fmla="*/ 1295400 h 4333875"/>
                  <a:gd name="connsiteX115" fmla="*/ 409575 w 8601075"/>
                  <a:gd name="connsiteY115" fmla="*/ 1276350 h 4333875"/>
                  <a:gd name="connsiteX116" fmla="*/ 466725 w 8601075"/>
                  <a:gd name="connsiteY116" fmla="*/ 1362075 h 4333875"/>
                  <a:gd name="connsiteX117" fmla="*/ 542925 w 8601075"/>
                  <a:gd name="connsiteY117" fmla="*/ 1428750 h 4333875"/>
                  <a:gd name="connsiteX118" fmla="*/ 628650 w 8601075"/>
                  <a:gd name="connsiteY118" fmla="*/ 1571625 h 4333875"/>
                  <a:gd name="connsiteX119" fmla="*/ 628650 w 8601075"/>
                  <a:gd name="connsiteY119" fmla="*/ 1704975 h 4333875"/>
                  <a:gd name="connsiteX120" fmla="*/ 676275 w 8601075"/>
                  <a:gd name="connsiteY120" fmla="*/ 1771650 h 4333875"/>
                  <a:gd name="connsiteX121" fmla="*/ 657225 w 8601075"/>
                  <a:gd name="connsiteY121" fmla="*/ 2000250 h 4333875"/>
                  <a:gd name="connsiteX122" fmla="*/ 619125 w 8601075"/>
                  <a:gd name="connsiteY122" fmla="*/ 2095500 h 4333875"/>
                  <a:gd name="connsiteX123" fmla="*/ 542925 w 8601075"/>
                  <a:gd name="connsiteY123" fmla="*/ 2228850 h 4333875"/>
                  <a:gd name="connsiteX124" fmla="*/ 485775 w 8601075"/>
                  <a:gd name="connsiteY124" fmla="*/ 2362200 h 4333875"/>
                  <a:gd name="connsiteX125" fmla="*/ 552450 w 8601075"/>
                  <a:gd name="connsiteY125" fmla="*/ 2486025 h 4333875"/>
                  <a:gd name="connsiteX126" fmla="*/ 771525 w 8601075"/>
                  <a:gd name="connsiteY126" fmla="*/ 2571750 h 4333875"/>
                  <a:gd name="connsiteX127" fmla="*/ 866775 w 8601075"/>
                  <a:gd name="connsiteY127" fmla="*/ 2571750 h 4333875"/>
                  <a:gd name="connsiteX128" fmla="*/ 914400 w 8601075"/>
                  <a:gd name="connsiteY128" fmla="*/ 2638425 h 4333875"/>
                  <a:gd name="connsiteX129" fmla="*/ 1066800 w 8601075"/>
                  <a:gd name="connsiteY129" fmla="*/ 2638425 h 4333875"/>
                  <a:gd name="connsiteX130" fmla="*/ 1285875 w 8601075"/>
                  <a:gd name="connsiteY130" fmla="*/ 2705100 h 4333875"/>
                  <a:gd name="connsiteX131" fmla="*/ 1438275 w 8601075"/>
                  <a:gd name="connsiteY131" fmla="*/ 2838450 h 4333875"/>
                  <a:gd name="connsiteX132" fmla="*/ 1485900 w 8601075"/>
                  <a:gd name="connsiteY132" fmla="*/ 2914650 h 4333875"/>
                  <a:gd name="connsiteX133" fmla="*/ 1657350 w 8601075"/>
                  <a:gd name="connsiteY133" fmla="*/ 3038475 h 4333875"/>
                  <a:gd name="connsiteX134" fmla="*/ 1752600 w 8601075"/>
                  <a:gd name="connsiteY134" fmla="*/ 3057525 h 4333875"/>
                  <a:gd name="connsiteX135" fmla="*/ 1724025 w 8601075"/>
                  <a:gd name="connsiteY135" fmla="*/ 3143250 h 4333875"/>
                  <a:gd name="connsiteX136" fmla="*/ 1724025 w 8601075"/>
                  <a:gd name="connsiteY136" fmla="*/ 3143250 h 4333875"/>
                  <a:gd name="connsiteX137" fmla="*/ 1781175 w 8601075"/>
                  <a:gd name="connsiteY137" fmla="*/ 3181350 h 4333875"/>
                  <a:gd name="connsiteX138" fmla="*/ 1819275 w 8601075"/>
                  <a:gd name="connsiteY138" fmla="*/ 3362325 h 4333875"/>
                  <a:gd name="connsiteX139" fmla="*/ 1828800 w 8601075"/>
                  <a:gd name="connsiteY139" fmla="*/ 3457575 h 4333875"/>
                  <a:gd name="connsiteX140" fmla="*/ 1971675 w 8601075"/>
                  <a:gd name="connsiteY140" fmla="*/ 3590925 h 4333875"/>
                  <a:gd name="connsiteX141" fmla="*/ 1990725 w 8601075"/>
                  <a:gd name="connsiteY141" fmla="*/ 3714750 h 4333875"/>
                  <a:gd name="connsiteX142" fmla="*/ 2200275 w 8601075"/>
                  <a:gd name="connsiteY142" fmla="*/ 3695700 h 4333875"/>
                  <a:gd name="connsiteX143" fmla="*/ 2886075 w 8601075"/>
                  <a:gd name="connsiteY143" fmla="*/ 3886200 h 4333875"/>
                  <a:gd name="connsiteX144" fmla="*/ 3038475 w 8601075"/>
                  <a:gd name="connsiteY144" fmla="*/ 3819525 h 4333875"/>
                  <a:gd name="connsiteX145" fmla="*/ 3105150 w 8601075"/>
                  <a:gd name="connsiteY145" fmla="*/ 3867150 h 4333875"/>
                  <a:gd name="connsiteX146" fmla="*/ 3181350 w 8601075"/>
                  <a:gd name="connsiteY146" fmla="*/ 3800475 h 4333875"/>
                  <a:gd name="connsiteX147" fmla="*/ 3590925 w 8601075"/>
                  <a:gd name="connsiteY147" fmla="*/ 3943350 h 4333875"/>
                  <a:gd name="connsiteX148" fmla="*/ 3686175 w 8601075"/>
                  <a:gd name="connsiteY148" fmla="*/ 4057650 h 4333875"/>
                  <a:gd name="connsiteX149" fmla="*/ 3838575 w 8601075"/>
                  <a:gd name="connsiteY149" fmla="*/ 4057650 h 4333875"/>
                  <a:gd name="connsiteX150" fmla="*/ 4162425 w 8601075"/>
                  <a:gd name="connsiteY150" fmla="*/ 4248150 h 4333875"/>
                  <a:gd name="connsiteX151" fmla="*/ 4391025 w 8601075"/>
                  <a:gd name="connsiteY151" fmla="*/ 4200525 h 4333875"/>
                  <a:gd name="connsiteX152" fmla="*/ 4410075 w 8601075"/>
                  <a:gd name="connsiteY152" fmla="*/ 4305300 h 4333875"/>
                  <a:gd name="connsiteX153" fmla="*/ 4505325 w 8601075"/>
                  <a:gd name="connsiteY153" fmla="*/ 4276725 h 4333875"/>
                  <a:gd name="connsiteX154" fmla="*/ 4572000 w 8601075"/>
                  <a:gd name="connsiteY154" fmla="*/ 4333875 h 4333875"/>
                  <a:gd name="connsiteX155" fmla="*/ 4591050 w 8601075"/>
                  <a:gd name="connsiteY155" fmla="*/ 4248150 h 4333875"/>
                  <a:gd name="connsiteX156" fmla="*/ 5295900 w 8601075"/>
                  <a:gd name="connsiteY156" fmla="*/ 3924300 h 4333875"/>
                  <a:gd name="connsiteX157" fmla="*/ 5353050 w 8601075"/>
                  <a:gd name="connsiteY157" fmla="*/ 3990975 h 4333875"/>
                  <a:gd name="connsiteX158" fmla="*/ 5524500 w 8601075"/>
                  <a:gd name="connsiteY158" fmla="*/ 3914775 h 4333875"/>
                  <a:gd name="connsiteX159" fmla="*/ 5667375 w 8601075"/>
                  <a:gd name="connsiteY159" fmla="*/ 3962400 h 4333875"/>
                  <a:gd name="connsiteX160" fmla="*/ 5753100 w 8601075"/>
                  <a:gd name="connsiteY160" fmla="*/ 3924300 h 4333875"/>
                  <a:gd name="connsiteX161" fmla="*/ 5905500 w 8601075"/>
                  <a:gd name="connsiteY161" fmla="*/ 3943350 h 4333875"/>
                  <a:gd name="connsiteX162" fmla="*/ 6000750 w 8601075"/>
                  <a:gd name="connsiteY162" fmla="*/ 3800475 h 4333875"/>
                  <a:gd name="connsiteX163" fmla="*/ 6153150 w 8601075"/>
                  <a:gd name="connsiteY163" fmla="*/ 3781425 h 4333875"/>
                  <a:gd name="connsiteX164" fmla="*/ 6257925 w 8601075"/>
                  <a:gd name="connsiteY164" fmla="*/ 3581400 h 4333875"/>
                  <a:gd name="connsiteX165" fmla="*/ 6448425 w 8601075"/>
                  <a:gd name="connsiteY165" fmla="*/ 3448050 h 4333875"/>
                  <a:gd name="connsiteX166" fmla="*/ 6581775 w 8601075"/>
                  <a:gd name="connsiteY166" fmla="*/ 3276600 h 4333875"/>
                  <a:gd name="connsiteX167" fmla="*/ 6496050 w 8601075"/>
                  <a:gd name="connsiteY167" fmla="*/ 3228975 h 4333875"/>
                  <a:gd name="connsiteX168" fmla="*/ 6438900 w 8601075"/>
                  <a:gd name="connsiteY168" fmla="*/ 3162300 h 4333875"/>
                  <a:gd name="connsiteX169" fmla="*/ 6419850 w 8601075"/>
                  <a:gd name="connsiteY169" fmla="*/ 3105150 h 4333875"/>
                  <a:gd name="connsiteX170" fmla="*/ 6362700 w 8601075"/>
                  <a:gd name="connsiteY170" fmla="*/ 3076575 h 4333875"/>
                  <a:gd name="connsiteX171" fmla="*/ 6410325 w 8601075"/>
                  <a:gd name="connsiteY171" fmla="*/ 3019425 h 4333875"/>
                  <a:gd name="connsiteX172" fmla="*/ 6438900 w 8601075"/>
                  <a:gd name="connsiteY172" fmla="*/ 2819400 h 4333875"/>
                  <a:gd name="connsiteX173" fmla="*/ 6496050 w 8601075"/>
                  <a:gd name="connsiteY173" fmla="*/ 2762250 h 4333875"/>
                  <a:gd name="connsiteX174" fmla="*/ 6657975 w 8601075"/>
                  <a:gd name="connsiteY174" fmla="*/ 2752725 h 4333875"/>
                  <a:gd name="connsiteX175" fmla="*/ 6781800 w 8601075"/>
                  <a:gd name="connsiteY175" fmla="*/ 2838450 h 4333875"/>
                  <a:gd name="connsiteX176" fmla="*/ 7010400 w 8601075"/>
                  <a:gd name="connsiteY176" fmla="*/ 2838450 h 4333875"/>
                  <a:gd name="connsiteX177" fmla="*/ 7162800 w 8601075"/>
                  <a:gd name="connsiteY177" fmla="*/ 2705100 h 4333875"/>
                  <a:gd name="connsiteX178" fmla="*/ 7229475 w 8601075"/>
                  <a:gd name="connsiteY178" fmla="*/ 2590800 h 4333875"/>
                  <a:gd name="connsiteX179" fmla="*/ 7248525 w 8601075"/>
                  <a:gd name="connsiteY179" fmla="*/ 2524125 h 4333875"/>
                  <a:gd name="connsiteX180" fmla="*/ 7372350 w 8601075"/>
                  <a:gd name="connsiteY180" fmla="*/ 2543175 h 4333875"/>
                  <a:gd name="connsiteX181" fmla="*/ 7553325 w 8601075"/>
                  <a:gd name="connsiteY181" fmla="*/ 2447925 h 4333875"/>
                  <a:gd name="connsiteX182" fmla="*/ 7620000 w 8601075"/>
                  <a:gd name="connsiteY182" fmla="*/ 2324100 h 4333875"/>
                  <a:gd name="connsiteX183" fmla="*/ 7696200 w 8601075"/>
                  <a:gd name="connsiteY183" fmla="*/ 2314575 h 4333875"/>
                  <a:gd name="connsiteX184" fmla="*/ 7658100 w 8601075"/>
                  <a:gd name="connsiteY184" fmla="*/ 2257425 h 4333875"/>
                  <a:gd name="connsiteX185" fmla="*/ 7753350 w 8601075"/>
                  <a:gd name="connsiteY185" fmla="*/ 2057400 h 4333875"/>
                  <a:gd name="connsiteX186" fmla="*/ 7934325 w 8601075"/>
                  <a:gd name="connsiteY186" fmla="*/ 2028825 h 4333875"/>
                  <a:gd name="connsiteX187" fmla="*/ 7953375 w 8601075"/>
                  <a:gd name="connsiteY187" fmla="*/ 1952625 h 4333875"/>
                  <a:gd name="connsiteX188" fmla="*/ 7953375 w 8601075"/>
                  <a:gd name="connsiteY188" fmla="*/ 1952625 h 4333875"/>
                  <a:gd name="connsiteX189" fmla="*/ 8010525 w 8601075"/>
                  <a:gd name="connsiteY189" fmla="*/ 1895475 h 4333875"/>
                  <a:gd name="connsiteX190" fmla="*/ 8048625 w 8601075"/>
                  <a:gd name="connsiteY190" fmla="*/ 1971675 h 4333875"/>
                  <a:gd name="connsiteX191" fmla="*/ 8077200 w 8601075"/>
                  <a:gd name="connsiteY191" fmla="*/ 1885950 h 4333875"/>
                  <a:gd name="connsiteX192" fmla="*/ 8220075 w 8601075"/>
                  <a:gd name="connsiteY192" fmla="*/ 1847850 h 4333875"/>
                  <a:gd name="connsiteX193" fmla="*/ 8296275 w 8601075"/>
                  <a:gd name="connsiteY193" fmla="*/ 1809750 h 4333875"/>
                  <a:gd name="connsiteX194" fmla="*/ 8324850 w 8601075"/>
                  <a:gd name="connsiteY194" fmla="*/ 1790700 h 4333875"/>
                  <a:gd name="connsiteX195" fmla="*/ 8410575 w 8601075"/>
                  <a:gd name="connsiteY195" fmla="*/ 1847850 h 4333875"/>
                  <a:gd name="connsiteX196" fmla="*/ 8505825 w 8601075"/>
                  <a:gd name="connsiteY196" fmla="*/ 1781175 h 4333875"/>
                  <a:gd name="connsiteX197" fmla="*/ 8572500 w 8601075"/>
                  <a:gd name="connsiteY197" fmla="*/ 1809750 h 4333875"/>
                  <a:gd name="connsiteX198" fmla="*/ 8601075 w 8601075"/>
                  <a:gd name="connsiteY198" fmla="*/ 1704975 h 4333875"/>
                  <a:gd name="connsiteX199" fmla="*/ 8553450 w 8601075"/>
                  <a:gd name="connsiteY199" fmla="*/ 1676400 h 4333875"/>
                  <a:gd name="connsiteX200" fmla="*/ 8534400 w 8601075"/>
                  <a:gd name="connsiteY200" fmla="*/ 1609725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124825 w 8601075"/>
                  <a:gd name="connsiteY204" fmla="*/ 1352550 h 4333875"/>
                  <a:gd name="connsiteX205" fmla="*/ 7924800 w 8601075"/>
                  <a:gd name="connsiteY205" fmla="*/ 1362075 h 4333875"/>
                  <a:gd name="connsiteX206" fmla="*/ 7867650 w 8601075"/>
                  <a:gd name="connsiteY206" fmla="*/ 1457325 h 4333875"/>
                  <a:gd name="connsiteX207" fmla="*/ 7896225 w 8601075"/>
                  <a:gd name="connsiteY207" fmla="*/ 1476375 h 4333875"/>
                  <a:gd name="connsiteX208" fmla="*/ 7858125 w 8601075"/>
                  <a:gd name="connsiteY208" fmla="*/ 1533525 h 4333875"/>
                  <a:gd name="connsiteX209" fmla="*/ 7658100 w 8601075"/>
                  <a:gd name="connsiteY209" fmla="*/ 1447800 h 4333875"/>
                  <a:gd name="connsiteX210" fmla="*/ 7515225 w 8601075"/>
                  <a:gd name="connsiteY210" fmla="*/ 1495425 h 4333875"/>
                  <a:gd name="connsiteX211" fmla="*/ 7467600 w 8601075"/>
                  <a:gd name="connsiteY211" fmla="*/ 1581150 h 4333875"/>
                  <a:gd name="connsiteX212" fmla="*/ 7296150 w 8601075"/>
                  <a:gd name="connsiteY21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305050 w 8601075"/>
                  <a:gd name="connsiteY84" fmla="*/ 809625 h 4333875"/>
                  <a:gd name="connsiteX85" fmla="*/ 2200275 w 8601075"/>
                  <a:gd name="connsiteY85" fmla="*/ 752475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00275 w 8601075"/>
                  <a:gd name="connsiteY85" fmla="*/ 752475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62175 w 8601075"/>
                  <a:gd name="connsiteY86" fmla="*/ 750094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1990725 w 8601075"/>
                  <a:gd name="connsiteY88" fmla="*/ 762000 h 4333875"/>
                  <a:gd name="connsiteX89" fmla="*/ 1885950 w 8601075"/>
                  <a:gd name="connsiteY89" fmla="*/ 742950 h 4333875"/>
                  <a:gd name="connsiteX90" fmla="*/ 1800225 w 8601075"/>
                  <a:gd name="connsiteY90" fmla="*/ 638175 h 4333875"/>
                  <a:gd name="connsiteX91" fmla="*/ 1809750 w 8601075"/>
                  <a:gd name="connsiteY91" fmla="*/ 495300 h 4333875"/>
                  <a:gd name="connsiteX92" fmla="*/ 1733550 w 8601075"/>
                  <a:gd name="connsiteY92" fmla="*/ 466725 h 4333875"/>
                  <a:gd name="connsiteX93" fmla="*/ 1485900 w 8601075"/>
                  <a:gd name="connsiteY93" fmla="*/ 419100 h 4333875"/>
                  <a:gd name="connsiteX94" fmla="*/ 1457325 w 8601075"/>
                  <a:gd name="connsiteY94" fmla="*/ 323850 h 4333875"/>
                  <a:gd name="connsiteX95" fmla="*/ 1457325 w 8601075"/>
                  <a:gd name="connsiteY95" fmla="*/ 323850 h 4333875"/>
                  <a:gd name="connsiteX96" fmla="*/ 1323975 w 8601075"/>
                  <a:gd name="connsiteY96" fmla="*/ 285750 h 4333875"/>
                  <a:gd name="connsiteX97" fmla="*/ 1266825 w 8601075"/>
                  <a:gd name="connsiteY97" fmla="*/ 352425 h 4333875"/>
                  <a:gd name="connsiteX98" fmla="*/ 1009650 w 8601075"/>
                  <a:gd name="connsiteY98" fmla="*/ 390525 h 4333875"/>
                  <a:gd name="connsiteX99" fmla="*/ 828675 w 8601075"/>
                  <a:gd name="connsiteY99" fmla="*/ 447675 h 4333875"/>
                  <a:gd name="connsiteX100" fmla="*/ 619125 w 8601075"/>
                  <a:gd name="connsiteY100" fmla="*/ 533400 h 4333875"/>
                  <a:gd name="connsiteX101" fmla="*/ 619125 w 8601075"/>
                  <a:gd name="connsiteY101" fmla="*/ 533400 h 4333875"/>
                  <a:gd name="connsiteX102" fmla="*/ 561975 w 8601075"/>
                  <a:gd name="connsiteY102" fmla="*/ 61912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295275 w 8601075"/>
                  <a:gd name="connsiteY106" fmla="*/ 657225 h 4333875"/>
                  <a:gd name="connsiteX107" fmla="*/ 180975 w 8601075"/>
                  <a:gd name="connsiteY107" fmla="*/ 638175 h 4333875"/>
                  <a:gd name="connsiteX108" fmla="*/ 180975 w 8601075"/>
                  <a:gd name="connsiteY108" fmla="*/ 638175 h 4333875"/>
                  <a:gd name="connsiteX109" fmla="*/ 57150 w 8601075"/>
                  <a:gd name="connsiteY109" fmla="*/ 733425 h 4333875"/>
                  <a:gd name="connsiteX110" fmla="*/ 19050 w 8601075"/>
                  <a:gd name="connsiteY110" fmla="*/ 790575 h 4333875"/>
                  <a:gd name="connsiteX111" fmla="*/ 0 w 8601075"/>
                  <a:gd name="connsiteY111" fmla="*/ 876300 h 4333875"/>
                  <a:gd name="connsiteX112" fmla="*/ 57150 w 8601075"/>
                  <a:gd name="connsiteY112" fmla="*/ 923925 h 4333875"/>
                  <a:gd name="connsiteX113" fmla="*/ 57150 w 8601075"/>
                  <a:gd name="connsiteY113" fmla="*/ 923925 h 4333875"/>
                  <a:gd name="connsiteX114" fmla="*/ 209550 w 8601075"/>
                  <a:gd name="connsiteY114" fmla="*/ 1114425 h 4333875"/>
                  <a:gd name="connsiteX115" fmla="*/ 209550 w 8601075"/>
                  <a:gd name="connsiteY115" fmla="*/ 1114425 h 4333875"/>
                  <a:gd name="connsiteX116" fmla="*/ 266700 w 8601075"/>
                  <a:gd name="connsiteY116" fmla="*/ 1295400 h 4333875"/>
                  <a:gd name="connsiteX117" fmla="*/ 409575 w 8601075"/>
                  <a:gd name="connsiteY117" fmla="*/ 1276350 h 4333875"/>
                  <a:gd name="connsiteX118" fmla="*/ 466725 w 8601075"/>
                  <a:gd name="connsiteY118" fmla="*/ 1362075 h 4333875"/>
                  <a:gd name="connsiteX119" fmla="*/ 542925 w 8601075"/>
                  <a:gd name="connsiteY119" fmla="*/ 1428750 h 4333875"/>
                  <a:gd name="connsiteX120" fmla="*/ 628650 w 8601075"/>
                  <a:gd name="connsiteY120" fmla="*/ 1571625 h 4333875"/>
                  <a:gd name="connsiteX121" fmla="*/ 628650 w 8601075"/>
                  <a:gd name="connsiteY121" fmla="*/ 1704975 h 4333875"/>
                  <a:gd name="connsiteX122" fmla="*/ 676275 w 8601075"/>
                  <a:gd name="connsiteY122" fmla="*/ 1771650 h 4333875"/>
                  <a:gd name="connsiteX123" fmla="*/ 657225 w 8601075"/>
                  <a:gd name="connsiteY123" fmla="*/ 2000250 h 4333875"/>
                  <a:gd name="connsiteX124" fmla="*/ 619125 w 8601075"/>
                  <a:gd name="connsiteY124" fmla="*/ 2095500 h 4333875"/>
                  <a:gd name="connsiteX125" fmla="*/ 542925 w 8601075"/>
                  <a:gd name="connsiteY125" fmla="*/ 2228850 h 4333875"/>
                  <a:gd name="connsiteX126" fmla="*/ 485775 w 8601075"/>
                  <a:gd name="connsiteY126" fmla="*/ 2362200 h 4333875"/>
                  <a:gd name="connsiteX127" fmla="*/ 552450 w 8601075"/>
                  <a:gd name="connsiteY127" fmla="*/ 2486025 h 4333875"/>
                  <a:gd name="connsiteX128" fmla="*/ 771525 w 8601075"/>
                  <a:gd name="connsiteY128" fmla="*/ 2571750 h 4333875"/>
                  <a:gd name="connsiteX129" fmla="*/ 866775 w 8601075"/>
                  <a:gd name="connsiteY129" fmla="*/ 2571750 h 4333875"/>
                  <a:gd name="connsiteX130" fmla="*/ 914400 w 8601075"/>
                  <a:gd name="connsiteY130" fmla="*/ 2638425 h 4333875"/>
                  <a:gd name="connsiteX131" fmla="*/ 1066800 w 8601075"/>
                  <a:gd name="connsiteY131" fmla="*/ 2638425 h 4333875"/>
                  <a:gd name="connsiteX132" fmla="*/ 1285875 w 8601075"/>
                  <a:gd name="connsiteY132" fmla="*/ 2705100 h 4333875"/>
                  <a:gd name="connsiteX133" fmla="*/ 1438275 w 8601075"/>
                  <a:gd name="connsiteY133" fmla="*/ 2838450 h 4333875"/>
                  <a:gd name="connsiteX134" fmla="*/ 1485900 w 8601075"/>
                  <a:gd name="connsiteY134" fmla="*/ 2914650 h 4333875"/>
                  <a:gd name="connsiteX135" fmla="*/ 1657350 w 8601075"/>
                  <a:gd name="connsiteY135" fmla="*/ 3038475 h 4333875"/>
                  <a:gd name="connsiteX136" fmla="*/ 1752600 w 8601075"/>
                  <a:gd name="connsiteY136" fmla="*/ 3057525 h 4333875"/>
                  <a:gd name="connsiteX137" fmla="*/ 1724025 w 8601075"/>
                  <a:gd name="connsiteY137" fmla="*/ 3143250 h 4333875"/>
                  <a:gd name="connsiteX138" fmla="*/ 1724025 w 8601075"/>
                  <a:gd name="connsiteY138" fmla="*/ 3143250 h 4333875"/>
                  <a:gd name="connsiteX139" fmla="*/ 1781175 w 8601075"/>
                  <a:gd name="connsiteY139" fmla="*/ 3181350 h 4333875"/>
                  <a:gd name="connsiteX140" fmla="*/ 1819275 w 8601075"/>
                  <a:gd name="connsiteY140" fmla="*/ 3362325 h 4333875"/>
                  <a:gd name="connsiteX141" fmla="*/ 1828800 w 8601075"/>
                  <a:gd name="connsiteY141" fmla="*/ 3457575 h 4333875"/>
                  <a:gd name="connsiteX142" fmla="*/ 1971675 w 8601075"/>
                  <a:gd name="connsiteY142" fmla="*/ 3590925 h 4333875"/>
                  <a:gd name="connsiteX143" fmla="*/ 1990725 w 8601075"/>
                  <a:gd name="connsiteY143" fmla="*/ 3714750 h 4333875"/>
                  <a:gd name="connsiteX144" fmla="*/ 2200275 w 8601075"/>
                  <a:gd name="connsiteY144" fmla="*/ 3695700 h 4333875"/>
                  <a:gd name="connsiteX145" fmla="*/ 2886075 w 8601075"/>
                  <a:gd name="connsiteY145" fmla="*/ 3886200 h 4333875"/>
                  <a:gd name="connsiteX146" fmla="*/ 3038475 w 8601075"/>
                  <a:gd name="connsiteY146" fmla="*/ 3819525 h 4333875"/>
                  <a:gd name="connsiteX147" fmla="*/ 3105150 w 8601075"/>
                  <a:gd name="connsiteY147" fmla="*/ 3867150 h 4333875"/>
                  <a:gd name="connsiteX148" fmla="*/ 3181350 w 8601075"/>
                  <a:gd name="connsiteY148" fmla="*/ 3800475 h 4333875"/>
                  <a:gd name="connsiteX149" fmla="*/ 3590925 w 8601075"/>
                  <a:gd name="connsiteY149" fmla="*/ 3943350 h 4333875"/>
                  <a:gd name="connsiteX150" fmla="*/ 3686175 w 8601075"/>
                  <a:gd name="connsiteY150" fmla="*/ 4057650 h 4333875"/>
                  <a:gd name="connsiteX151" fmla="*/ 3838575 w 8601075"/>
                  <a:gd name="connsiteY151" fmla="*/ 4057650 h 4333875"/>
                  <a:gd name="connsiteX152" fmla="*/ 4162425 w 8601075"/>
                  <a:gd name="connsiteY152" fmla="*/ 4248150 h 4333875"/>
                  <a:gd name="connsiteX153" fmla="*/ 4391025 w 8601075"/>
                  <a:gd name="connsiteY153" fmla="*/ 4200525 h 4333875"/>
                  <a:gd name="connsiteX154" fmla="*/ 4410075 w 8601075"/>
                  <a:gd name="connsiteY154" fmla="*/ 4305300 h 4333875"/>
                  <a:gd name="connsiteX155" fmla="*/ 4505325 w 8601075"/>
                  <a:gd name="connsiteY155" fmla="*/ 4276725 h 4333875"/>
                  <a:gd name="connsiteX156" fmla="*/ 4572000 w 8601075"/>
                  <a:gd name="connsiteY156" fmla="*/ 4333875 h 4333875"/>
                  <a:gd name="connsiteX157" fmla="*/ 4591050 w 8601075"/>
                  <a:gd name="connsiteY157" fmla="*/ 4248150 h 4333875"/>
                  <a:gd name="connsiteX158" fmla="*/ 5295900 w 8601075"/>
                  <a:gd name="connsiteY158" fmla="*/ 3924300 h 4333875"/>
                  <a:gd name="connsiteX159" fmla="*/ 5353050 w 8601075"/>
                  <a:gd name="connsiteY159" fmla="*/ 3990975 h 4333875"/>
                  <a:gd name="connsiteX160" fmla="*/ 5524500 w 8601075"/>
                  <a:gd name="connsiteY160" fmla="*/ 3914775 h 4333875"/>
                  <a:gd name="connsiteX161" fmla="*/ 5667375 w 8601075"/>
                  <a:gd name="connsiteY161" fmla="*/ 3962400 h 4333875"/>
                  <a:gd name="connsiteX162" fmla="*/ 5753100 w 8601075"/>
                  <a:gd name="connsiteY162" fmla="*/ 3924300 h 4333875"/>
                  <a:gd name="connsiteX163" fmla="*/ 5905500 w 8601075"/>
                  <a:gd name="connsiteY163" fmla="*/ 3943350 h 4333875"/>
                  <a:gd name="connsiteX164" fmla="*/ 6000750 w 8601075"/>
                  <a:gd name="connsiteY164" fmla="*/ 3800475 h 4333875"/>
                  <a:gd name="connsiteX165" fmla="*/ 6153150 w 8601075"/>
                  <a:gd name="connsiteY165" fmla="*/ 3781425 h 4333875"/>
                  <a:gd name="connsiteX166" fmla="*/ 6257925 w 8601075"/>
                  <a:gd name="connsiteY166" fmla="*/ 3581400 h 4333875"/>
                  <a:gd name="connsiteX167" fmla="*/ 6448425 w 8601075"/>
                  <a:gd name="connsiteY167" fmla="*/ 3448050 h 4333875"/>
                  <a:gd name="connsiteX168" fmla="*/ 6581775 w 8601075"/>
                  <a:gd name="connsiteY168" fmla="*/ 3276600 h 4333875"/>
                  <a:gd name="connsiteX169" fmla="*/ 6496050 w 8601075"/>
                  <a:gd name="connsiteY169" fmla="*/ 3228975 h 4333875"/>
                  <a:gd name="connsiteX170" fmla="*/ 6438900 w 8601075"/>
                  <a:gd name="connsiteY170" fmla="*/ 3162300 h 4333875"/>
                  <a:gd name="connsiteX171" fmla="*/ 6419850 w 8601075"/>
                  <a:gd name="connsiteY171" fmla="*/ 3105150 h 4333875"/>
                  <a:gd name="connsiteX172" fmla="*/ 6362700 w 8601075"/>
                  <a:gd name="connsiteY172" fmla="*/ 3076575 h 4333875"/>
                  <a:gd name="connsiteX173" fmla="*/ 6410325 w 8601075"/>
                  <a:gd name="connsiteY173" fmla="*/ 3019425 h 4333875"/>
                  <a:gd name="connsiteX174" fmla="*/ 6438900 w 8601075"/>
                  <a:gd name="connsiteY174" fmla="*/ 2819400 h 4333875"/>
                  <a:gd name="connsiteX175" fmla="*/ 6496050 w 8601075"/>
                  <a:gd name="connsiteY175" fmla="*/ 2762250 h 4333875"/>
                  <a:gd name="connsiteX176" fmla="*/ 6657975 w 8601075"/>
                  <a:gd name="connsiteY176" fmla="*/ 2752725 h 4333875"/>
                  <a:gd name="connsiteX177" fmla="*/ 6781800 w 8601075"/>
                  <a:gd name="connsiteY177" fmla="*/ 2838450 h 4333875"/>
                  <a:gd name="connsiteX178" fmla="*/ 7010400 w 8601075"/>
                  <a:gd name="connsiteY178" fmla="*/ 2838450 h 4333875"/>
                  <a:gd name="connsiteX179" fmla="*/ 7162800 w 8601075"/>
                  <a:gd name="connsiteY179" fmla="*/ 2705100 h 4333875"/>
                  <a:gd name="connsiteX180" fmla="*/ 7229475 w 8601075"/>
                  <a:gd name="connsiteY180" fmla="*/ 2590800 h 4333875"/>
                  <a:gd name="connsiteX181" fmla="*/ 7248525 w 8601075"/>
                  <a:gd name="connsiteY181" fmla="*/ 2524125 h 4333875"/>
                  <a:gd name="connsiteX182" fmla="*/ 7372350 w 8601075"/>
                  <a:gd name="connsiteY182" fmla="*/ 2543175 h 4333875"/>
                  <a:gd name="connsiteX183" fmla="*/ 7553325 w 8601075"/>
                  <a:gd name="connsiteY183" fmla="*/ 2447925 h 4333875"/>
                  <a:gd name="connsiteX184" fmla="*/ 7620000 w 8601075"/>
                  <a:gd name="connsiteY184" fmla="*/ 2324100 h 4333875"/>
                  <a:gd name="connsiteX185" fmla="*/ 7696200 w 8601075"/>
                  <a:gd name="connsiteY185" fmla="*/ 2314575 h 4333875"/>
                  <a:gd name="connsiteX186" fmla="*/ 7658100 w 8601075"/>
                  <a:gd name="connsiteY186" fmla="*/ 2257425 h 4333875"/>
                  <a:gd name="connsiteX187" fmla="*/ 7753350 w 8601075"/>
                  <a:gd name="connsiteY187" fmla="*/ 2057400 h 4333875"/>
                  <a:gd name="connsiteX188" fmla="*/ 7934325 w 8601075"/>
                  <a:gd name="connsiteY188" fmla="*/ 2028825 h 4333875"/>
                  <a:gd name="connsiteX189" fmla="*/ 7953375 w 8601075"/>
                  <a:gd name="connsiteY189" fmla="*/ 1952625 h 4333875"/>
                  <a:gd name="connsiteX190" fmla="*/ 7953375 w 8601075"/>
                  <a:gd name="connsiteY190" fmla="*/ 1952625 h 4333875"/>
                  <a:gd name="connsiteX191" fmla="*/ 8010525 w 8601075"/>
                  <a:gd name="connsiteY191" fmla="*/ 1895475 h 4333875"/>
                  <a:gd name="connsiteX192" fmla="*/ 8048625 w 8601075"/>
                  <a:gd name="connsiteY192" fmla="*/ 1971675 h 4333875"/>
                  <a:gd name="connsiteX193" fmla="*/ 8077200 w 8601075"/>
                  <a:gd name="connsiteY193" fmla="*/ 1885950 h 4333875"/>
                  <a:gd name="connsiteX194" fmla="*/ 8220075 w 8601075"/>
                  <a:gd name="connsiteY194" fmla="*/ 1847850 h 4333875"/>
                  <a:gd name="connsiteX195" fmla="*/ 8296275 w 8601075"/>
                  <a:gd name="connsiteY195" fmla="*/ 1809750 h 4333875"/>
                  <a:gd name="connsiteX196" fmla="*/ 8324850 w 8601075"/>
                  <a:gd name="connsiteY196" fmla="*/ 1790700 h 4333875"/>
                  <a:gd name="connsiteX197" fmla="*/ 8410575 w 8601075"/>
                  <a:gd name="connsiteY197" fmla="*/ 1847850 h 4333875"/>
                  <a:gd name="connsiteX198" fmla="*/ 8505825 w 8601075"/>
                  <a:gd name="connsiteY198" fmla="*/ 1781175 h 4333875"/>
                  <a:gd name="connsiteX199" fmla="*/ 8572500 w 8601075"/>
                  <a:gd name="connsiteY199" fmla="*/ 1809750 h 4333875"/>
                  <a:gd name="connsiteX200" fmla="*/ 8601075 w 8601075"/>
                  <a:gd name="connsiteY200" fmla="*/ 1704975 h 4333875"/>
                  <a:gd name="connsiteX201" fmla="*/ 8553450 w 8601075"/>
                  <a:gd name="connsiteY201" fmla="*/ 1676400 h 4333875"/>
                  <a:gd name="connsiteX202" fmla="*/ 8534400 w 8601075"/>
                  <a:gd name="connsiteY202" fmla="*/ 1609725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124825 w 8601075"/>
                  <a:gd name="connsiteY206" fmla="*/ 1352550 h 4333875"/>
                  <a:gd name="connsiteX207" fmla="*/ 7924800 w 8601075"/>
                  <a:gd name="connsiteY207" fmla="*/ 1362075 h 4333875"/>
                  <a:gd name="connsiteX208" fmla="*/ 7867650 w 8601075"/>
                  <a:gd name="connsiteY208" fmla="*/ 1457325 h 4333875"/>
                  <a:gd name="connsiteX209" fmla="*/ 7896225 w 8601075"/>
                  <a:gd name="connsiteY209" fmla="*/ 1476375 h 4333875"/>
                  <a:gd name="connsiteX210" fmla="*/ 7858125 w 8601075"/>
                  <a:gd name="connsiteY210" fmla="*/ 1533525 h 4333875"/>
                  <a:gd name="connsiteX211" fmla="*/ 7658100 w 8601075"/>
                  <a:gd name="connsiteY211" fmla="*/ 1447800 h 4333875"/>
                  <a:gd name="connsiteX212" fmla="*/ 7515225 w 8601075"/>
                  <a:gd name="connsiteY212" fmla="*/ 1495425 h 4333875"/>
                  <a:gd name="connsiteX213" fmla="*/ 7467600 w 8601075"/>
                  <a:gd name="connsiteY213" fmla="*/ 1581150 h 4333875"/>
                  <a:gd name="connsiteX214" fmla="*/ 7296150 w 8601075"/>
                  <a:gd name="connsiteY21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90725 w 8601075"/>
                  <a:gd name="connsiteY89" fmla="*/ 762000 h 4333875"/>
                  <a:gd name="connsiteX90" fmla="*/ 1885950 w 8601075"/>
                  <a:gd name="connsiteY90" fmla="*/ 742950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885950 w 8601075"/>
                  <a:gd name="connsiteY90" fmla="*/ 742950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852613 w 8601075"/>
                  <a:gd name="connsiteY90" fmla="*/ 728663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52613 w 8601075"/>
                  <a:gd name="connsiteY91" fmla="*/ 728663 h 4333875"/>
                  <a:gd name="connsiteX92" fmla="*/ 1800225 w 8601075"/>
                  <a:gd name="connsiteY92" fmla="*/ 638175 h 4333875"/>
                  <a:gd name="connsiteX93" fmla="*/ 1809750 w 8601075"/>
                  <a:gd name="connsiteY93" fmla="*/ 495300 h 4333875"/>
                  <a:gd name="connsiteX94" fmla="*/ 1733550 w 8601075"/>
                  <a:gd name="connsiteY94" fmla="*/ 466725 h 4333875"/>
                  <a:gd name="connsiteX95" fmla="*/ 1485900 w 8601075"/>
                  <a:gd name="connsiteY95" fmla="*/ 419100 h 4333875"/>
                  <a:gd name="connsiteX96" fmla="*/ 1457325 w 8601075"/>
                  <a:gd name="connsiteY96" fmla="*/ 323850 h 4333875"/>
                  <a:gd name="connsiteX97" fmla="*/ 1457325 w 8601075"/>
                  <a:gd name="connsiteY97" fmla="*/ 323850 h 4333875"/>
                  <a:gd name="connsiteX98" fmla="*/ 1323975 w 8601075"/>
                  <a:gd name="connsiteY98" fmla="*/ 285750 h 4333875"/>
                  <a:gd name="connsiteX99" fmla="*/ 1266825 w 8601075"/>
                  <a:gd name="connsiteY99" fmla="*/ 352425 h 4333875"/>
                  <a:gd name="connsiteX100" fmla="*/ 1009650 w 8601075"/>
                  <a:gd name="connsiteY100" fmla="*/ 390525 h 4333875"/>
                  <a:gd name="connsiteX101" fmla="*/ 828675 w 8601075"/>
                  <a:gd name="connsiteY101" fmla="*/ 447675 h 4333875"/>
                  <a:gd name="connsiteX102" fmla="*/ 619125 w 8601075"/>
                  <a:gd name="connsiteY102" fmla="*/ 533400 h 4333875"/>
                  <a:gd name="connsiteX103" fmla="*/ 619125 w 8601075"/>
                  <a:gd name="connsiteY103" fmla="*/ 533400 h 4333875"/>
                  <a:gd name="connsiteX104" fmla="*/ 561975 w 8601075"/>
                  <a:gd name="connsiteY104" fmla="*/ 61912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295275 w 8601075"/>
                  <a:gd name="connsiteY108" fmla="*/ 657225 h 4333875"/>
                  <a:gd name="connsiteX109" fmla="*/ 180975 w 8601075"/>
                  <a:gd name="connsiteY109" fmla="*/ 638175 h 4333875"/>
                  <a:gd name="connsiteX110" fmla="*/ 180975 w 8601075"/>
                  <a:gd name="connsiteY110" fmla="*/ 638175 h 4333875"/>
                  <a:gd name="connsiteX111" fmla="*/ 57150 w 8601075"/>
                  <a:gd name="connsiteY111" fmla="*/ 733425 h 4333875"/>
                  <a:gd name="connsiteX112" fmla="*/ 19050 w 8601075"/>
                  <a:gd name="connsiteY112" fmla="*/ 790575 h 4333875"/>
                  <a:gd name="connsiteX113" fmla="*/ 0 w 8601075"/>
                  <a:gd name="connsiteY113" fmla="*/ 876300 h 4333875"/>
                  <a:gd name="connsiteX114" fmla="*/ 57150 w 8601075"/>
                  <a:gd name="connsiteY114" fmla="*/ 923925 h 4333875"/>
                  <a:gd name="connsiteX115" fmla="*/ 57150 w 8601075"/>
                  <a:gd name="connsiteY115" fmla="*/ 923925 h 4333875"/>
                  <a:gd name="connsiteX116" fmla="*/ 209550 w 8601075"/>
                  <a:gd name="connsiteY116" fmla="*/ 1114425 h 4333875"/>
                  <a:gd name="connsiteX117" fmla="*/ 209550 w 8601075"/>
                  <a:gd name="connsiteY117" fmla="*/ 1114425 h 4333875"/>
                  <a:gd name="connsiteX118" fmla="*/ 266700 w 8601075"/>
                  <a:gd name="connsiteY118" fmla="*/ 1295400 h 4333875"/>
                  <a:gd name="connsiteX119" fmla="*/ 409575 w 8601075"/>
                  <a:gd name="connsiteY119" fmla="*/ 1276350 h 4333875"/>
                  <a:gd name="connsiteX120" fmla="*/ 466725 w 8601075"/>
                  <a:gd name="connsiteY120" fmla="*/ 1362075 h 4333875"/>
                  <a:gd name="connsiteX121" fmla="*/ 542925 w 8601075"/>
                  <a:gd name="connsiteY121" fmla="*/ 1428750 h 4333875"/>
                  <a:gd name="connsiteX122" fmla="*/ 628650 w 8601075"/>
                  <a:gd name="connsiteY122" fmla="*/ 1571625 h 4333875"/>
                  <a:gd name="connsiteX123" fmla="*/ 628650 w 8601075"/>
                  <a:gd name="connsiteY123" fmla="*/ 1704975 h 4333875"/>
                  <a:gd name="connsiteX124" fmla="*/ 676275 w 8601075"/>
                  <a:gd name="connsiteY124" fmla="*/ 1771650 h 4333875"/>
                  <a:gd name="connsiteX125" fmla="*/ 657225 w 8601075"/>
                  <a:gd name="connsiteY125" fmla="*/ 2000250 h 4333875"/>
                  <a:gd name="connsiteX126" fmla="*/ 619125 w 8601075"/>
                  <a:gd name="connsiteY126" fmla="*/ 2095500 h 4333875"/>
                  <a:gd name="connsiteX127" fmla="*/ 542925 w 8601075"/>
                  <a:gd name="connsiteY127" fmla="*/ 2228850 h 4333875"/>
                  <a:gd name="connsiteX128" fmla="*/ 485775 w 8601075"/>
                  <a:gd name="connsiteY128" fmla="*/ 2362200 h 4333875"/>
                  <a:gd name="connsiteX129" fmla="*/ 552450 w 8601075"/>
                  <a:gd name="connsiteY129" fmla="*/ 2486025 h 4333875"/>
                  <a:gd name="connsiteX130" fmla="*/ 771525 w 8601075"/>
                  <a:gd name="connsiteY130" fmla="*/ 2571750 h 4333875"/>
                  <a:gd name="connsiteX131" fmla="*/ 866775 w 8601075"/>
                  <a:gd name="connsiteY131" fmla="*/ 2571750 h 4333875"/>
                  <a:gd name="connsiteX132" fmla="*/ 914400 w 8601075"/>
                  <a:gd name="connsiteY132" fmla="*/ 2638425 h 4333875"/>
                  <a:gd name="connsiteX133" fmla="*/ 1066800 w 8601075"/>
                  <a:gd name="connsiteY133" fmla="*/ 2638425 h 4333875"/>
                  <a:gd name="connsiteX134" fmla="*/ 1285875 w 8601075"/>
                  <a:gd name="connsiteY134" fmla="*/ 2705100 h 4333875"/>
                  <a:gd name="connsiteX135" fmla="*/ 1438275 w 8601075"/>
                  <a:gd name="connsiteY135" fmla="*/ 2838450 h 4333875"/>
                  <a:gd name="connsiteX136" fmla="*/ 1485900 w 8601075"/>
                  <a:gd name="connsiteY136" fmla="*/ 2914650 h 4333875"/>
                  <a:gd name="connsiteX137" fmla="*/ 1657350 w 8601075"/>
                  <a:gd name="connsiteY137" fmla="*/ 3038475 h 4333875"/>
                  <a:gd name="connsiteX138" fmla="*/ 1752600 w 8601075"/>
                  <a:gd name="connsiteY138" fmla="*/ 3057525 h 4333875"/>
                  <a:gd name="connsiteX139" fmla="*/ 1724025 w 8601075"/>
                  <a:gd name="connsiteY139" fmla="*/ 3143250 h 4333875"/>
                  <a:gd name="connsiteX140" fmla="*/ 1724025 w 8601075"/>
                  <a:gd name="connsiteY140" fmla="*/ 3143250 h 4333875"/>
                  <a:gd name="connsiteX141" fmla="*/ 1781175 w 8601075"/>
                  <a:gd name="connsiteY141" fmla="*/ 3181350 h 4333875"/>
                  <a:gd name="connsiteX142" fmla="*/ 1819275 w 8601075"/>
                  <a:gd name="connsiteY142" fmla="*/ 3362325 h 4333875"/>
                  <a:gd name="connsiteX143" fmla="*/ 1828800 w 8601075"/>
                  <a:gd name="connsiteY143" fmla="*/ 3457575 h 4333875"/>
                  <a:gd name="connsiteX144" fmla="*/ 1971675 w 8601075"/>
                  <a:gd name="connsiteY144" fmla="*/ 3590925 h 4333875"/>
                  <a:gd name="connsiteX145" fmla="*/ 1990725 w 8601075"/>
                  <a:gd name="connsiteY145" fmla="*/ 3714750 h 4333875"/>
                  <a:gd name="connsiteX146" fmla="*/ 2200275 w 8601075"/>
                  <a:gd name="connsiteY146" fmla="*/ 3695700 h 4333875"/>
                  <a:gd name="connsiteX147" fmla="*/ 2886075 w 8601075"/>
                  <a:gd name="connsiteY147" fmla="*/ 3886200 h 4333875"/>
                  <a:gd name="connsiteX148" fmla="*/ 3038475 w 8601075"/>
                  <a:gd name="connsiteY148" fmla="*/ 3819525 h 4333875"/>
                  <a:gd name="connsiteX149" fmla="*/ 3105150 w 8601075"/>
                  <a:gd name="connsiteY149" fmla="*/ 3867150 h 4333875"/>
                  <a:gd name="connsiteX150" fmla="*/ 3181350 w 8601075"/>
                  <a:gd name="connsiteY150" fmla="*/ 3800475 h 4333875"/>
                  <a:gd name="connsiteX151" fmla="*/ 3590925 w 8601075"/>
                  <a:gd name="connsiteY151" fmla="*/ 3943350 h 4333875"/>
                  <a:gd name="connsiteX152" fmla="*/ 3686175 w 8601075"/>
                  <a:gd name="connsiteY152" fmla="*/ 4057650 h 4333875"/>
                  <a:gd name="connsiteX153" fmla="*/ 3838575 w 8601075"/>
                  <a:gd name="connsiteY153" fmla="*/ 4057650 h 4333875"/>
                  <a:gd name="connsiteX154" fmla="*/ 4162425 w 8601075"/>
                  <a:gd name="connsiteY154" fmla="*/ 4248150 h 4333875"/>
                  <a:gd name="connsiteX155" fmla="*/ 4391025 w 8601075"/>
                  <a:gd name="connsiteY155" fmla="*/ 4200525 h 4333875"/>
                  <a:gd name="connsiteX156" fmla="*/ 4410075 w 8601075"/>
                  <a:gd name="connsiteY156" fmla="*/ 4305300 h 4333875"/>
                  <a:gd name="connsiteX157" fmla="*/ 4505325 w 8601075"/>
                  <a:gd name="connsiteY157" fmla="*/ 4276725 h 4333875"/>
                  <a:gd name="connsiteX158" fmla="*/ 4572000 w 8601075"/>
                  <a:gd name="connsiteY158" fmla="*/ 4333875 h 4333875"/>
                  <a:gd name="connsiteX159" fmla="*/ 4591050 w 8601075"/>
                  <a:gd name="connsiteY159" fmla="*/ 4248150 h 4333875"/>
                  <a:gd name="connsiteX160" fmla="*/ 5295900 w 8601075"/>
                  <a:gd name="connsiteY160" fmla="*/ 3924300 h 4333875"/>
                  <a:gd name="connsiteX161" fmla="*/ 5353050 w 8601075"/>
                  <a:gd name="connsiteY161" fmla="*/ 3990975 h 4333875"/>
                  <a:gd name="connsiteX162" fmla="*/ 5524500 w 8601075"/>
                  <a:gd name="connsiteY162" fmla="*/ 3914775 h 4333875"/>
                  <a:gd name="connsiteX163" fmla="*/ 5667375 w 8601075"/>
                  <a:gd name="connsiteY163" fmla="*/ 3962400 h 4333875"/>
                  <a:gd name="connsiteX164" fmla="*/ 5753100 w 8601075"/>
                  <a:gd name="connsiteY164" fmla="*/ 3924300 h 4333875"/>
                  <a:gd name="connsiteX165" fmla="*/ 5905500 w 8601075"/>
                  <a:gd name="connsiteY165" fmla="*/ 3943350 h 4333875"/>
                  <a:gd name="connsiteX166" fmla="*/ 6000750 w 8601075"/>
                  <a:gd name="connsiteY166" fmla="*/ 3800475 h 4333875"/>
                  <a:gd name="connsiteX167" fmla="*/ 6153150 w 8601075"/>
                  <a:gd name="connsiteY167" fmla="*/ 3781425 h 4333875"/>
                  <a:gd name="connsiteX168" fmla="*/ 6257925 w 8601075"/>
                  <a:gd name="connsiteY168" fmla="*/ 3581400 h 4333875"/>
                  <a:gd name="connsiteX169" fmla="*/ 6448425 w 8601075"/>
                  <a:gd name="connsiteY169" fmla="*/ 3448050 h 4333875"/>
                  <a:gd name="connsiteX170" fmla="*/ 6581775 w 8601075"/>
                  <a:gd name="connsiteY170" fmla="*/ 3276600 h 4333875"/>
                  <a:gd name="connsiteX171" fmla="*/ 6496050 w 8601075"/>
                  <a:gd name="connsiteY171" fmla="*/ 3228975 h 4333875"/>
                  <a:gd name="connsiteX172" fmla="*/ 6438900 w 8601075"/>
                  <a:gd name="connsiteY172" fmla="*/ 3162300 h 4333875"/>
                  <a:gd name="connsiteX173" fmla="*/ 6419850 w 8601075"/>
                  <a:gd name="connsiteY173" fmla="*/ 3105150 h 4333875"/>
                  <a:gd name="connsiteX174" fmla="*/ 6362700 w 8601075"/>
                  <a:gd name="connsiteY174" fmla="*/ 3076575 h 4333875"/>
                  <a:gd name="connsiteX175" fmla="*/ 6410325 w 8601075"/>
                  <a:gd name="connsiteY175" fmla="*/ 3019425 h 4333875"/>
                  <a:gd name="connsiteX176" fmla="*/ 6438900 w 8601075"/>
                  <a:gd name="connsiteY176" fmla="*/ 2819400 h 4333875"/>
                  <a:gd name="connsiteX177" fmla="*/ 6496050 w 8601075"/>
                  <a:gd name="connsiteY177" fmla="*/ 2762250 h 4333875"/>
                  <a:gd name="connsiteX178" fmla="*/ 6657975 w 8601075"/>
                  <a:gd name="connsiteY178" fmla="*/ 2752725 h 4333875"/>
                  <a:gd name="connsiteX179" fmla="*/ 6781800 w 8601075"/>
                  <a:gd name="connsiteY179" fmla="*/ 2838450 h 4333875"/>
                  <a:gd name="connsiteX180" fmla="*/ 7010400 w 8601075"/>
                  <a:gd name="connsiteY180" fmla="*/ 2838450 h 4333875"/>
                  <a:gd name="connsiteX181" fmla="*/ 7162800 w 8601075"/>
                  <a:gd name="connsiteY181" fmla="*/ 2705100 h 4333875"/>
                  <a:gd name="connsiteX182" fmla="*/ 7229475 w 8601075"/>
                  <a:gd name="connsiteY182" fmla="*/ 2590800 h 4333875"/>
                  <a:gd name="connsiteX183" fmla="*/ 7248525 w 8601075"/>
                  <a:gd name="connsiteY183" fmla="*/ 2524125 h 4333875"/>
                  <a:gd name="connsiteX184" fmla="*/ 7372350 w 8601075"/>
                  <a:gd name="connsiteY184" fmla="*/ 2543175 h 4333875"/>
                  <a:gd name="connsiteX185" fmla="*/ 7553325 w 8601075"/>
                  <a:gd name="connsiteY185" fmla="*/ 2447925 h 4333875"/>
                  <a:gd name="connsiteX186" fmla="*/ 7620000 w 8601075"/>
                  <a:gd name="connsiteY186" fmla="*/ 2324100 h 4333875"/>
                  <a:gd name="connsiteX187" fmla="*/ 7696200 w 8601075"/>
                  <a:gd name="connsiteY187" fmla="*/ 2314575 h 4333875"/>
                  <a:gd name="connsiteX188" fmla="*/ 7658100 w 8601075"/>
                  <a:gd name="connsiteY188" fmla="*/ 2257425 h 4333875"/>
                  <a:gd name="connsiteX189" fmla="*/ 7753350 w 8601075"/>
                  <a:gd name="connsiteY189" fmla="*/ 2057400 h 4333875"/>
                  <a:gd name="connsiteX190" fmla="*/ 7934325 w 8601075"/>
                  <a:gd name="connsiteY190" fmla="*/ 2028825 h 4333875"/>
                  <a:gd name="connsiteX191" fmla="*/ 7953375 w 8601075"/>
                  <a:gd name="connsiteY191" fmla="*/ 1952625 h 4333875"/>
                  <a:gd name="connsiteX192" fmla="*/ 7953375 w 8601075"/>
                  <a:gd name="connsiteY192" fmla="*/ 1952625 h 4333875"/>
                  <a:gd name="connsiteX193" fmla="*/ 8010525 w 8601075"/>
                  <a:gd name="connsiteY193" fmla="*/ 1895475 h 4333875"/>
                  <a:gd name="connsiteX194" fmla="*/ 8048625 w 8601075"/>
                  <a:gd name="connsiteY194" fmla="*/ 1971675 h 4333875"/>
                  <a:gd name="connsiteX195" fmla="*/ 8077200 w 8601075"/>
                  <a:gd name="connsiteY195" fmla="*/ 1885950 h 4333875"/>
                  <a:gd name="connsiteX196" fmla="*/ 8220075 w 8601075"/>
                  <a:gd name="connsiteY196" fmla="*/ 1847850 h 4333875"/>
                  <a:gd name="connsiteX197" fmla="*/ 8296275 w 8601075"/>
                  <a:gd name="connsiteY197" fmla="*/ 1809750 h 4333875"/>
                  <a:gd name="connsiteX198" fmla="*/ 8324850 w 8601075"/>
                  <a:gd name="connsiteY198" fmla="*/ 1790700 h 4333875"/>
                  <a:gd name="connsiteX199" fmla="*/ 8410575 w 8601075"/>
                  <a:gd name="connsiteY199" fmla="*/ 1847850 h 4333875"/>
                  <a:gd name="connsiteX200" fmla="*/ 8505825 w 8601075"/>
                  <a:gd name="connsiteY200" fmla="*/ 1781175 h 4333875"/>
                  <a:gd name="connsiteX201" fmla="*/ 8572500 w 8601075"/>
                  <a:gd name="connsiteY201" fmla="*/ 1809750 h 4333875"/>
                  <a:gd name="connsiteX202" fmla="*/ 8601075 w 8601075"/>
                  <a:gd name="connsiteY202" fmla="*/ 1704975 h 4333875"/>
                  <a:gd name="connsiteX203" fmla="*/ 8553450 w 8601075"/>
                  <a:gd name="connsiteY203" fmla="*/ 1676400 h 4333875"/>
                  <a:gd name="connsiteX204" fmla="*/ 8534400 w 8601075"/>
                  <a:gd name="connsiteY204" fmla="*/ 1609725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124825 w 8601075"/>
                  <a:gd name="connsiteY208" fmla="*/ 1352550 h 4333875"/>
                  <a:gd name="connsiteX209" fmla="*/ 7924800 w 8601075"/>
                  <a:gd name="connsiteY209" fmla="*/ 1362075 h 4333875"/>
                  <a:gd name="connsiteX210" fmla="*/ 7867650 w 8601075"/>
                  <a:gd name="connsiteY210" fmla="*/ 1457325 h 4333875"/>
                  <a:gd name="connsiteX211" fmla="*/ 7896225 w 8601075"/>
                  <a:gd name="connsiteY211" fmla="*/ 1476375 h 4333875"/>
                  <a:gd name="connsiteX212" fmla="*/ 7858125 w 8601075"/>
                  <a:gd name="connsiteY212" fmla="*/ 1533525 h 4333875"/>
                  <a:gd name="connsiteX213" fmla="*/ 7658100 w 8601075"/>
                  <a:gd name="connsiteY213" fmla="*/ 1447800 h 4333875"/>
                  <a:gd name="connsiteX214" fmla="*/ 7515225 w 8601075"/>
                  <a:gd name="connsiteY214" fmla="*/ 1495425 h 4333875"/>
                  <a:gd name="connsiteX215" fmla="*/ 7467600 w 8601075"/>
                  <a:gd name="connsiteY215" fmla="*/ 1581150 h 4333875"/>
                  <a:gd name="connsiteX216" fmla="*/ 7296150 w 8601075"/>
                  <a:gd name="connsiteY21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809750 w 8601075"/>
                  <a:gd name="connsiteY94" fmla="*/ 495300 h 4333875"/>
                  <a:gd name="connsiteX95" fmla="*/ 1733550 w 8601075"/>
                  <a:gd name="connsiteY95" fmla="*/ 466725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3550 w 8601075"/>
                  <a:gd name="connsiteY95" fmla="*/ 466725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593056 w 8601075"/>
                  <a:gd name="connsiteY96" fmla="*/ 435769 h 4333875"/>
                  <a:gd name="connsiteX97" fmla="*/ 1485900 w 8601075"/>
                  <a:gd name="connsiteY97" fmla="*/ 419100 h 4333875"/>
                  <a:gd name="connsiteX98" fmla="*/ 1457325 w 8601075"/>
                  <a:gd name="connsiteY98" fmla="*/ 323850 h 4333875"/>
                  <a:gd name="connsiteX99" fmla="*/ 1457325 w 8601075"/>
                  <a:gd name="connsiteY99" fmla="*/ 323850 h 4333875"/>
                  <a:gd name="connsiteX100" fmla="*/ 1323975 w 8601075"/>
                  <a:gd name="connsiteY100" fmla="*/ 285750 h 4333875"/>
                  <a:gd name="connsiteX101" fmla="*/ 1266825 w 8601075"/>
                  <a:gd name="connsiteY101" fmla="*/ 352425 h 4333875"/>
                  <a:gd name="connsiteX102" fmla="*/ 1009650 w 8601075"/>
                  <a:gd name="connsiteY102" fmla="*/ 390525 h 4333875"/>
                  <a:gd name="connsiteX103" fmla="*/ 828675 w 8601075"/>
                  <a:gd name="connsiteY103" fmla="*/ 447675 h 4333875"/>
                  <a:gd name="connsiteX104" fmla="*/ 619125 w 8601075"/>
                  <a:gd name="connsiteY104" fmla="*/ 533400 h 4333875"/>
                  <a:gd name="connsiteX105" fmla="*/ 619125 w 8601075"/>
                  <a:gd name="connsiteY105" fmla="*/ 533400 h 4333875"/>
                  <a:gd name="connsiteX106" fmla="*/ 561975 w 8601075"/>
                  <a:gd name="connsiteY106" fmla="*/ 61912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295275 w 8601075"/>
                  <a:gd name="connsiteY110" fmla="*/ 657225 h 4333875"/>
                  <a:gd name="connsiteX111" fmla="*/ 180975 w 8601075"/>
                  <a:gd name="connsiteY111" fmla="*/ 638175 h 4333875"/>
                  <a:gd name="connsiteX112" fmla="*/ 180975 w 8601075"/>
                  <a:gd name="connsiteY112" fmla="*/ 638175 h 4333875"/>
                  <a:gd name="connsiteX113" fmla="*/ 57150 w 8601075"/>
                  <a:gd name="connsiteY113" fmla="*/ 733425 h 4333875"/>
                  <a:gd name="connsiteX114" fmla="*/ 19050 w 8601075"/>
                  <a:gd name="connsiteY114" fmla="*/ 790575 h 4333875"/>
                  <a:gd name="connsiteX115" fmla="*/ 0 w 8601075"/>
                  <a:gd name="connsiteY115" fmla="*/ 876300 h 4333875"/>
                  <a:gd name="connsiteX116" fmla="*/ 57150 w 8601075"/>
                  <a:gd name="connsiteY116" fmla="*/ 923925 h 4333875"/>
                  <a:gd name="connsiteX117" fmla="*/ 57150 w 8601075"/>
                  <a:gd name="connsiteY117" fmla="*/ 923925 h 4333875"/>
                  <a:gd name="connsiteX118" fmla="*/ 209550 w 8601075"/>
                  <a:gd name="connsiteY118" fmla="*/ 1114425 h 4333875"/>
                  <a:gd name="connsiteX119" fmla="*/ 209550 w 8601075"/>
                  <a:gd name="connsiteY119" fmla="*/ 1114425 h 4333875"/>
                  <a:gd name="connsiteX120" fmla="*/ 266700 w 8601075"/>
                  <a:gd name="connsiteY120" fmla="*/ 1295400 h 4333875"/>
                  <a:gd name="connsiteX121" fmla="*/ 409575 w 8601075"/>
                  <a:gd name="connsiteY121" fmla="*/ 1276350 h 4333875"/>
                  <a:gd name="connsiteX122" fmla="*/ 466725 w 8601075"/>
                  <a:gd name="connsiteY122" fmla="*/ 1362075 h 4333875"/>
                  <a:gd name="connsiteX123" fmla="*/ 542925 w 8601075"/>
                  <a:gd name="connsiteY123" fmla="*/ 1428750 h 4333875"/>
                  <a:gd name="connsiteX124" fmla="*/ 628650 w 8601075"/>
                  <a:gd name="connsiteY124" fmla="*/ 1571625 h 4333875"/>
                  <a:gd name="connsiteX125" fmla="*/ 628650 w 8601075"/>
                  <a:gd name="connsiteY125" fmla="*/ 1704975 h 4333875"/>
                  <a:gd name="connsiteX126" fmla="*/ 676275 w 8601075"/>
                  <a:gd name="connsiteY126" fmla="*/ 1771650 h 4333875"/>
                  <a:gd name="connsiteX127" fmla="*/ 657225 w 8601075"/>
                  <a:gd name="connsiteY127" fmla="*/ 2000250 h 4333875"/>
                  <a:gd name="connsiteX128" fmla="*/ 619125 w 8601075"/>
                  <a:gd name="connsiteY128" fmla="*/ 2095500 h 4333875"/>
                  <a:gd name="connsiteX129" fmla="*/ 542925 w 8601075"/>
                  <a:gd name="connsiteY129" fmla="*/ 2228850 h 4333875"/>
                  <a:gd name="connsiteX130" fmla="*/ 485775 w 8601075"/>
                  <a:gd name="connsiteY130" fmla="*/ 2362200 h 4333875"/>
                  <a:gd name="connsiteX131" fmla="*/ 552450 w 8601075"/>
                  <a:gd name="connsiteY131" fmla="*/ 2486025 h 4333875"/>
                  <a:gd name="connsiteX132" fmla="*/ 771525 w 8601075"/>
                  <a:gd name="connsiteY132" fmla="*/ 2571750 h 4333875"/>
                  <a:gd name="connsiteX133" fmla="*/ 866775 w 8601075"/>
                  <a:gd name="connsiteY133" fmla="*/ 2571750 h 4333875"/>
                  <a:gd name="connsiteX134" fmla="*/ 914400 w 8601075"/>
                  <a:gd name="connsiteY134" fmla="*/ 2638425 h 4333875"/>
                  <a:gd name="connsiteX135" fmla="*/ 1066800 w 8601075"/>
                  <a:gd name="connsiteY135" fmla="*/ 2638425 h 4333875"/>
                  <a:gd name="connsiteX136" fmla="*/ 1285875 w 8601075"/>
                  <a:gd name="connsiteY136" fmla="*/ 2705100 h 4333875"/>
                  <a:gd name="connsiteX137" fmla="*/ 1438275 w 8601075"/>
                  <a:gd name="connsiteY137" fmla="*/ 2838450 h 4333875"/>
                  <a:gd name="connsiteX138" fmla="*/ 1485900 w 8601075"/>
                  <a:gd name="connsiteY138" fmla="*/ 2914650 h 4333875"/>
                  <a:gd name="connsiteX139" fmla="*/ 1657350 w 8601075"/>
                  <a:gd name="connsiteY139" fmla="*/ 3038475 h 4333875"/>
                  <a:gd name="connsiteX140" fmla="*/ 1752600 w 8601075"/>
                  <a:gd name="connsiteY140" fmla="*/ 3057525 h 4333875"/>
                  <a:gd name="connsiteX141" fmla="*/ 1724025 w 8601075"/>
                  <a:gd name="connsiteY141" fmla="*/ 3143250 h 4333875"/>
                  <a:gd name="connsiteX142" fmla="*/ 1724025 w 8601075"/>
                  <a:gd name="connsiteY142" fmla="*/ 3143250 h 4333875"/>
                  <a:gd name="connsiteX143" fmla="*/ 1781175 w 8601075"/>
                  <a:gd name="connsiteY143" fmla="*/ 3181350 h 4333875"/>
                  <a:gd name="connsiteX144" fmla="*/ 1819275 w 8601075"/>
                  <a:gd name="connsiteY144" fmla="*/ 3362325 h 4333875"/>
                  <a:gd name="connsiteX145" fmla="*/ 1828800 w 8601075"/>
                  <a:gd name="connsiteY145" fmla="*/ 3457575 h 4333875"/>
                  <a:gd name="connsiteX146" fmla="*/ 1971675 w 8601075"/>
                  <a:gd name="connsiteY146" fmla="*/ 3590925 h 4333875"/>
                  <a:gd name="connsiteX147" fmla="*/ 1990725 w 8601075"/>
                  <a:gd name="connsiteY147" fmla="*/ 3714750 h 4333875"/>
                  <a:gd name="connsiteX148" fmla="*/ 2200275 w 8601075"/>
                  <a:gd name="connsiteY148" fmla="*/ 3695700 h 4333875"/>
                  <a:gd name="connsiteX149" fmla="*/ 2886075 w 8601075"/>
                  <a:gd name="connsiteY149" fmla="*/ 3886200 h 4333875"/>
                  <a:gd name="connsiteX150" fmla="*/ 3038475 w 8601075"/>
                  <a:gd name="connsiteY150" fmla="*/ 3819525 h 4333875"/>
                  <a:gd name="connsiteX151" fmla="*/ 3105150 w 8601075"/>
                  <a:gd name="connsiteY151" fmla="*/ 3867150 h 4333875"/>
                  <a:gd name="connsiteX152" fmla="*/ 3181350 w 8601075"/>
                  <a:gd name="connsiteY152" fmla="*/ 3800475 h 4333875"/>
                  <a:gd name="connsiteX153" fmla="*/ 3590925 w 8601075"/>
                  <a:gd name="connsiteY153" fmla="*/ 3943350 h 4333875"/>
                  <a:gd name="connsiteX154" fmla="*/ 3686175 w 8601075"/>
                  <a:gd name="connsiteY154" fmla="*/ 4057650 h 4333875"/>
                  <a:gd name="connsiteX155" fmla="*/ 3838575 w 8601075"/>
                  <a:gd name="connsiteY155" fmla="*/ 4057650 h 4333875"/>
                  <a:gd name="connsiteX156" fmla="*/ 4162425 w 8601075"/>
                  <a:gd name="connsiteY156" fmla="*/ 4248150 h 4333875"/>
                  <a:gd name="connsiteX157" fmla="*/ 4391025 w 8601075"/>
                  <a:gd name="connsiteY157" fmla="*/ 4200525 h 4333875"/>
                  <a:gd name="connsiteX158" fmla="*/ 4410075 w 8601075"/>
                  <a:gd name="connsiteY158" fmla="*/ 4305300 h 4333875"/>
                  <a:gd name="connsiteX159" fmla="*/ 4505325 w 8601075"/>
                  <a:gd name="connsiteY159" fmla="*/ 4276725 h 4333875"/>
                  <a:gd name="connsiteX160" fmla="*/ 4572000 w 8601075"/>
                  <a:gd name="connsiteY160" fmla="*/ 4333875 h 4333875"/>
                  <a:gd name="connsiteX161" fmla="*/ 4591050 w 8601075"/>
                  <a:gd name="connsiteY161" fmla="*/ 4248150 h 4333875"/>
                  <a:gd name="connsiteX162" fmla="*/ 5295900 w 8601075"/>
                  <a:gd name="connsiteY162" fmla="*/ 3924300 h 4333875"/>
                  <a:gd name="connsiteX163" fmla="*/ 5353050 w 8601075"/>
                  <a:gd name="connsiteY163" fmla="*/ 3990975 h 4333875"/>
                  <a:gd name="connsiteX164" fmla="*/ 5524500 w 8601075"/>
                  <a:gd name="connsiteY164" fmla="*/ 3914775 h 4333875"/>
                  <a:gd name="connsiteX165" fmla="*/ 5667375 w 8601075"/>
                  <a:gd name="connsiteY165" fmla="*/ 3962400 h 4333875"/>
                  <a:gd name="connsiteX166" fmla="*/ 5753100 w 8601075"/>
                  <a:gd name="connsiteY166" fmla="*/ 3924300 h 4333875"/>
                  <a:gd name="connsiteX167" fmla="*/ 5905500 w 8601075"/>
                  <a:gd name="connsiteY167" fmla="*/ 3943350 h 4333875"/>
                  <a:gd name="connsiteX168" fmla="*/ 6000750 w 8601075"/>
                  <a:gd name="connsiteY168" fmla="*/ 3800475 h 4333875"/>
                  <a:gd name="connsiteX169" fmla="*/ 6153150 w 8601075"/>
                  <a:gd name="connsiteY169" fmla="*/ 3781425 h 4333875"/>
                  <a:gd name="connsiteX170" fmla="*/ 6257925 w 8601075"/>
                  <a:gd name="connsiteY170" fmla="*/ 3581400 h 4333875"/>
                  <a:gd name="connsiteX171" fmla="*/ 6448425 w 8601075"/>
                  <a:gd name="connsiteY171" fmla="*/ 3448050 h 4333875"/>
                  <a:gd name="connsiteX172" fmla="*/ 6581775 w 8601075"/>
                  <a:gd name="connsiteY172" fmla="*/ 3276600 h 4333875"/>
                  <a:gd name="connsiteX173" fmla="*/ 6496050 w 8601075"/>
                  <a:gd name="connsiteY173" fmla="*/ 3228975 h 4333875"/>
                  <a:gd name="connsiteX174" fmla="*/ 6438900 w 8601075"/>
                  <a:gd name="connsiteY174" fmla="*/ 3162300 h 4333875"/>
                  <a:gd name="connsiteX175" fmla="*/ 6419850 w 8601075"/>
                  <a:gd name="connsiteY175" fmla="*/ 3105150 h 4333875"/>
                  <a:gd name="connsiteX176" fmla="*/ 6362700 w 8601075"/>
                  <a:gd name="connsiteY176" fmla="*/ 3076575 h 4333875"/>
                  <a:gd name="connsiteX177" fmla="*/ 6410325 w 8601075"/>
                  <a:gd name="connsiteY177" fmla="*/ 3019425 h 4333875"/>
                  <a:gd name="connsiteX178" fmla="*/ 6438900 w 8601075"/>
                  <a:gd name="connsiteY178" fmla="*/ 2819400 h 4333875"/>
                  <a:gd name="connsiteX179" fmla="*/ 6496050 w 8601075"/>
                  <a:gd name="connsiteY179" fmla="*/ 2762250 h 4333875"/>
                  <a:gd name="connsiteX180" fmla="*/ 6657975 w 8601075"/>
                  <a:gd name="connsiteY180" fmla="*/ 2752725 h 4333875"/>
                  <a:gd name="connsiteX181" fmla="*/ 6781800 w 8601075"/>
                  <a:gd name="connsiteY181" fmla="*/ 2838450 h 4333875"/>
                  <a:gd name="connsiteX182" fmla="*/ 7010400 w 8601075"/>
                  <a:gd name="connsiteY182" fmla="*/ 2838450 h 4333875"/>
                  <a:gd name="connsiteX183" fmla="*/ 7162800 w 8601075"/>
                  <a:gd name="connsiteY183" fmla="*/ 2705100 h 4333875"/>
                  <a:gd name="connsiteX184" fmla="*/ 7229475 w 8601075"/>
                  <a:gd name="connsiteY184" fmla="*/ 2590800 h 4333875"/>
                  <a:gd name="connsiteX185" fmla="*/ 7248525 w 8601075"/>
                  <a:gd name="connsiteY185" fmla="*/ 2524125 h 4333875"/>
                  <a:gd name="connsiteX186" fmla="*/ 7372350 w 8601075"/>
                  <a:gd name="connsiteY186" fmla="*/ 2543175 h 4333875"/>
                  <a:gd name="connsiteX187" fmla="*/ 7553325 w 8601075"/>
                  <a:gd name="connsiteY187" fmla="*/ 2447925 h 4333875"/>
                  <a:gd name="connsiteX188" fmla="*/ 7620000 w 8601075"/>
                  <a:gd name="connsiteY188" fmla="*/ 2324100 h 4333875"/>
                  <a:gd name="connsiteX189" fmla="*/ 7696200 w 8601075"/>
                  <a:gd name="connsiteY189" fmla="*/ 2314575 h 4333875"/>
                  <a:gd name="connsiteX190" fmla="*/ 7658100 w 8601075"/>
                  <a:gd name="connsiteY190" fmla="*/ 2257425 h 4333875"/>
                  <a:gd name="connsiteX191" fmla="*/ 7753350 w 8601075"/>
                  <a:gd name="connsiteY191" fmla="*/ 2057400 h 4333875"/>
                  <a:gd name="connsiteX192" fmla="*/ 7934325 w 8601075"/>
                  <a:gd name="connsiteY192" fmla="*/ 2028825 h 4333875"/>
                  <a:gd name="connsiteX193" fmla="*/ 7953375 w 8601075"/>
                  <a:gd name="connsiteY193" fmla="*/ 1952625 h 4333875"/>
                  <a:gd name="connsiteX194" fmla="*/ 7953375 w 8601075"/>
                  <a:gd name="connsiteY194" fmla="*/ 1952625 h 4333875"/>
                  <a:gd name="connsiteX195" fmla="*/ 8010525 w 8601075"/>
                  <a:gd name="connsiteY195" fmla="*/ 1895475 h 4333875"/>
                  <a:gd name="connsiteX196" fmla="*/ 8048625 w 8601075"/>
                  <a:gd name="connsiteY196" fmla="*/ 1971675 h 4333875"/>
                  <a:gd name="connsiteX197" fmla="*/ 8077200 w 8601075"/>
                  <a:gd name="connsiteY197" fmla="*/ 1885950 h 4333875"/>
                  <a:gd name="connsiteX198" fmla="*/ 8220075 w 8601075"/>
                  <a:gd name="connsiteY198" fmla="*/ 1847850 h 4333875"/>
                  <a:gd name="connsiteX199" fmla="*/ 8296275 w 8601075"/>
                  <a:gd name="connsiteY199" fmla="*/ 1809750 h 4333875"/>
                  <a:gd name="connsiteX200" fmla="*/ 8324850 w 8601075"/>
                  <a:gd name="connsiteY200" fmla="*/ 1790700 h 4333875"/>
                  <a:gd name="connsiteX201" fmla="*/ 8410575 w 8601075"/>
                  <a:gd name="connsiteY201" fmla="*/ 1847850 h 4333875"/>
                  <a:gd name="connsiteX202" fmla="*/ 8505825 w 8601075"/>
                  <a:gd name="connsiteY202" fmla="*/ 1781175 h 4333875"/>
                  <a:gd name="connsiteX203" fmla="*/ 8572500 w 8601075"/>
                  <a:gd name="connsiteY203" fmla="*/ 1809750 h 4333875"/>
                  <a:gd name="connsiteX204" fmla="*/ 8601075 w 8601075"/>
                  <a:gd name="connsiteY204" fmla="*/ 1704975 h 4333875"/>
                  <a:gd name="connsiteX205" fmla="*/ 8553450 w 8601075"/>
                  <a:gd name="connsiteY205" fmla="*/ 1676400 h 4333875"/>
                  <a:gd name="connsiteX206" fmla="*/ 8534400 w 8601075"/>
                  <a:gd name="connsiteY206" fmla="*/ 1609725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124825 w 8601075"/>
                  <a:gd name="connsiteY210" fmla="*/ 1352550 h 4333875"/>
                  <a:gd name="connsiteX211" fmla="*/ 7924800 w 8601075"/>
                  <a:gd name="connsiteY211" fmla="*/ 1362075 h 4333875"/>
                  <a:gd name="connsiteX212" fmla="*/ 7867650 w 8601075"/>
                  <a:gd name="connsiteY212" fmla="*/ 1457325 h 4333875"/>
                  <a:gd name="connsiteX213" fmla="*/ 7896225 w 8601075"/>
                  <a:gd name="connsiteY213" fmla="*/ 1476375 h 4333875"/>
                  <a:gd name="connsiteX214" fmla="*/ 7858125 w 8601075"/>
                  <a:gd name="connsiteY214" fmla="*/ 1533525 h 4333875"/>
                  <a:gd name="connsiteX215" fmla="*/ 7658100 w 8601075"/>
                  <a:gd name="connsiteY215" fmla="*/ 1447800 h 4333875"/>
                  <a:gd name="connsiteX216" fmla="*/ 7515225 w 8601075"/>
                  <a:gd name="connsiteY216" fmla="*/ 1495425 h 4333875"/>
                  <a:gd name="connsiteX217" fmla="*/ 7467600 w 8601075"/>
                  <a:gd name="connsiteY217" fmla="*/ 1581150 h 4333875"/>
                  <a:gd name="connsiteX218" fmla="*/ 7296150 w 8601075"/>
                  <a:gd name="connsiteY21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485900 w 8601075"/>
                  <a:gd name="connsiteY98" fmla="*/ 419100 h 4333875"/>
                  <a:gd name="connsiteX99" fmla="*/ 1457325 w 8601075"/>
                  <a:gd name="connsiteY99" fmla="*/ 323850 h 4333875"/>
                  <a:gd name="connsiteX100" fmla="*/ 1457325 w 8601075"/>
                  <a:gd name="connsiteY100" fmla="*/ 323850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85900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57325 w 8601075"/>
                  <a:gd name="connsiteY101" fmla="*/ 32385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57325 w 8601075"/>
                  <a:gd name="connsiteY101" fmla="*/ 32385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66850 w 8601075"/>
                  <a:gd name="connsiteY101" fmla="*/ 34290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02556 w 8601075"/>
                  <a:gd name="connsiteY101" fmla="*/ 373856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2556 w 8601075"/>
                  <a:gd name="connsiteY102" fmla="*/ 373856 h 4333875"/>
                  <a:gd name="connsiteX103" fmla="*/ 1323975 w 8601075"/>
                  <a:gd name="connsiteY103" fmla="*/ 285750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3975 w 8601075"/>
                  <a:gd name="connsiteY103" fmla="*/ 285750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073944 w 8601075"/>
                  <a:gd name="connsiteY105" fmla="*/ 407193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073944 w 8601075"/>
                  <a:gd name="connsiteY106" fmla="*/ 407193 h 4333875"/>
                  <a:gd name="connsiteX107" fmla="*/ 828675 w 8601075"/>
                  <a:gd name="connsiteY107" fmla="*/ 447675 h 4333875"/>
                  <a:gd name="connsiteX108" fmla="*/ 619125 w 8601075"/>
                  <a:gd name="connsiteY108" fmla="*/ 533400 h 4333875"/>
                  <a:gd name="connsiteX109" fmla="*/ 619125 w 8601075"/>
                  <a:gd name="connsiteY109" fmla="*/ 533400 h 4333875"/>
                  <a:gd name="connsiteX110" fmla="*/ 561975 w 8601075"/>
                  <a:gd name="connsiteY110" fmla="*/ 61912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447675 w 8601075"/>
                  <a:gd name="connsiteY113" fmla="*/ 638175 h 4333875"/>
                  <a:gd name="connsiteX114" fmla="*/ 295275 w 8601075"/>
                  <a:gd name="connsiteY114" fmla="*/ 657225 h 4333875"/>
                  <a:gd name="connsiteX115" fmla="*/ 180975 w 8601075"/>
                  <a:gd name="connsiteY115" fmla="*/ 638175 h 4333875"/>
                  <a:gd name="connsiteX116" fmla="*/ 180975 w 8601075"/>
                  <a:gd name="connsiteY116" fmla="*/ 638175 h 4333875"/>
                  <a:gd name="connsiteX117" fmla="*/ 57150 w 8601075"/>
                  <a:gd name="connsiteY117" fmla="*/ 733425 h 4333875"/>
                  <a:gd name="connsiteX118" fmla="*/ 19050 w 8601075"/>
                  <a:gd name="connsiteY118" fmla="*/ 790575 h 4333875"/>
                  <a:gd name="connsiteX119" fmla="*/ 0 w 8601075"/>
                  <a:gd name="connsiteY119" fmla="*/ 876300 h 4333875"/>
                  <a:gd name="connsiteX120" fmla="*/ 57150 w 8601075"/>
                  <a:gd name="connsiteY120" fmla="*/ 923925 h 4333875"/>
                  <a:gd name="connsiteX121" fmla="*/ 57150 w 8601075"/>
                  <a:gd name="connsiteY121" fmla="*/ 923925 h 4333875"/>
                  <a:gd name="connsiteX122" fmla="*/ 209550 w 8601075"/>
                  <a:gd name="connsiteY122" fmla="*/ 1114425 h 4333875"/>
                  <a:gd name="connsiteX123" fmla="*/ 209550 w 8601075"/>
                  <a:gd name="connsiteY123" fmla="*/ 1114425 h 4333875"/>
                  <a:gd name="connsiteX124" fmla="*/ 266700 w 8601075"/>
                  <a:gd name="connsiteY124" fmla="*/ 1295400 h 4333875"/>
                  <a:gd name="connsiteX125" fmla="*/ 409575 w 8601075"/>
                  <a:gd name="connsiteY125" fmla="*/ 1276350 h 4333875"/>
                  <a:gd name="connsiteX126" fmla="*/ 466725 w 8601075"/>
                  <a:gd name="connsiteY126" fmla="*/ 1362075 h 4333875"/>
                  <a:gd name="connsiteX127" fmla="*/ 542925 w 8601075"/>
                  <a:gd name="connsiteY127" fmla="*/ 1428750 h 4333875"/>
                  <a:gd name="connsiteX128" fmla="*/ 628650 w 8601075"/>
                  <a:gd name="connsiteY128" fmla="*/ 1571625 h 4333875"/>
                  <a:gd name="connsiteX129" fmla="*/ 628650 w 8601075"/>
                  <a:gd name="connsiteY129" fmla="*/ 1704975 h 4333875"/>
                  <a:gd name="connsiteX130" fmla="*/ 676275 w 8601075"/>
                  <a:gd name="connsiteY130" fmla="*/ 1771650 h 4333875"/>
                  <a:gd name="connsiteX131" fmla="*/ 657225 w 8601075"/>
                  <a:gd name="connsiteY131" fmla="*/ 2000250 h 4333875"/>
                  <a:gd name="connsiteX132" fmla="*/ 619125 w 8601075"/>
                  <a:gd name="connsiteY132" fmla="*/ 2095500 h 4333875"/>
                  <a:gd name="connsiteX133" fmla="*/ 542925 w 8601075"/>
                  <a:gd name="connsiteY133" fmla="*/ 2228850 h 4333875"/>
                  <a:gd name="connsiteX134" fmla="*/ 485775 w 8601075"/>
                  <a:gd name="connsiteY134" fmla="*/ 2362200 h 4333875"/>
                  <a:gd name="connsiteX135" fmla="*/ 552450 w 8601075"/>
                  <a:gd name="connsiteY135" fmla="*/ 2486025 h 4333875"/>
                  <a:gd name="connsiteX136" fmla="*/ 771525 w 8601075"/>
                  <a:gd name="connsiteY136" fmla="*/ 2571750 h 4333875"/>
                  <a:gd name="connsiteX137" fmla="*/ 866775 w 8601075"/>
                  <a:gd name="connsiteY137" fmla="*/ 2571750 h 4333875"/>
                  <a:gd name="connsiteX138" fmla="*/ 914400 w 8601075"/>
                  <a:gd name="connsiteY138" fmla="*/ 2638425 h 4333875"/>
                  <a:gd name="connsiteX139" fmla="*/ 1066800 w 8601075"/>
                  <a:gd name="connsiteY139" fmla="*/ 2638425 h 4333875"/>
                  <a:gd name="connsiteX140" fmla="*/ 1285875 w 8601075"/>
                  <a:gd name="connsiteY140" fmla="*/ 2705100 h 4333875"/>
                  <a:gd name="connsiteX141" fmla="*/ 1438275 w 8601075"/>
                  <a:gd name="connsiteY141" fmla="*/ 2838450 h 4333875"/>
                  <a:gd name="connsiteX142" fmla="*/ 1485900 w 8601075"/>
                  <a:gd name="connsiteY142" fmla="*/ 2914650 h 4333875"/>
                  <a:gd name="connsiteX143" fmla="*/ 1657350 w 8601075"/>
                  <a:gd name="connsiteY143" fmla="*/ 3038475 h 4333875"/>
                  <a:gd name="connsiteX144" fmla="*/ 1752600 w 8601075"/>
                  <a:gd name="connsiteY144" fmla="*/ 3057525 h 4333875"/>
                  <a:gd name="connsiteX145" fmla="*/ 1724025 w 8601075"/>
                  <a:gd name="connsiteY145" fmla="*/ 3143250 h 4333875"/>
                  <a:gd name="connsiteX146" fmla="*/ 1724025 w 8601075"/>
                  <a:gd name="connsiteY146" fmla="*/ 3143250 h 4333875"/>
                  <a:gd name="connsiteX147" fmla="*/ 1781175 w 8601075"/>
                  <a:gd name="connsiteY147" fmla="*/ 3181350 h 4333875"/>
                  <a:gd name="connsiteX148" fmla="*/ 1819275 w 8601075"/>
                  <a:gd name="connsiteY148" fmla="*/ 3362325 h 4333875"/>
                  <a:gd name="connsiteX149" fmla="*/ 1828800 w 8601075"/>
                  <a:gd name="connsiteY149" fmla="*/ 3457575 h 4333875"/>
                  <a:gd name="connsiteX150" fmla="*/ 1971675 w 8601075"/>
                  <a:gd name="connsiteY150" fmla="*/ 3590925 h 4333875"/>
                  <a:gd name="connsiteX151" fmla="*/ 1990725 w 8601075"/>
                  <a:gd name="connsiteY151" fmla="*/ 3714750 h 4333875"/>
                  <a:gd name="connsiteX152" fmla="*/ 2200275 w 8601075"/>
                  <a:gd name="connsiteY152" fmla="*/ 3695700 h 4333875"/>
                  <a:gd name="connsiteX153" fmla="*/ 2886075 w 8601075"/>
                  <a:gd name="connsiteY153" fmla="*/ 3886200 h 4333875"/>
                  <a:gd name="connsiteX154" fmla="*/ 3038475 w 8601075"/>
                  <a:gd name="connsiteY154" fmla="*/ 3819525 h 4333875"/>
                  <a:gd name="connsiteX155" fmla="*/ 3105150 w 8601075"/>
                  <a:gd name="connsiteY155" fmla="*/ 3867150 h 4333875"/>
                  <a:gd name="connsiteX156" fmla="*/ 3181350 w 8601075"/>
                  <a:gd name="connsiteY156" fmla="*/ 3800475 h 4333875"/>
                  <a:gd name="connsiteX157" fmla="*/ 3590925 w 8601075"/>
                  <a:gd name="connsiteY157" fmla="*/ 3943350 h 4333875"/>
                  <a:gd name="connsiteX158" fmla="*/ 3686175 w 8601075"/>
                  <a:gd name="connsiteY158" fmla="*/ 4057650 h 4333875"/>
                  <a:gd name="connsiteX159" fmla="*/ 3838575 w 8601075"/>
                  <a:gd name="connsiteY159" fmla="*/ 4057650 h 4333875"/>
                  <a:gd name="connsiteX160" fmla="*/ 4162425 w 8601075"/>
                  <a:gd name="connsiteY160" fmla="*/ 4248150 h 4333875"/>
                  <a:gd name="connsiteX161" fmla="*/ 4391025 w 8601075"/>
                  <a:gd name="connsiteY161" fmla="*/ 4200525 h 4333875"/>
                  <a:gd name="connsiteX162" fmla="*/ 4410075 w 8601075"/>
                  <a:gd name="connsiteY162" fmla="*/ 4305300 h 4333875"/>
                  <a:gd name="connsiteX163" fmla="*/ 4505325 w 8601075"/>
                  <a:gd name="connsiteY163" fmla="*/ 4276725 h 4333875"/>
                  <a:gd name="connsiteX164" fmla="*/ 4572000 w 8601075"/>
                  <a:gd name="connsiteY164" fmla="*/ 4333875 h 4333875"/>
                  <a:gd name="connsiteX165" fmla="*/ 4591050 w 8601075"/>
                  <a:gd name="connsiteY165" fmla="*/ 4248150 h 4333875"/>
                  <a:gd name="connsiteX166" fmla="*/ 5295900 w 8601075"/>
                  <a:gd name="connsiteY166" fmla="*/ 3924300 h 4333875"/>
                  <a:gd name="connsiteX167" fmla="*/ 5353050 w 8601075"/>
                  <a:gd name="connsiteY167" fmla="*/ 3990975 h 4333875"/>
                  <a:gd name="connsiteX168" fmla="*/ 5524500 w 8601075"/>
                  <a:gd name="connsiteY168" fmla="*/ 3914775 h 4333875"/>
                  <a:gd name="connsiteX169" fmla="*/ 5667375 w 8601075"/>
                  <a:gd name="connsiteY169" fmla="*/ 3962400 h 4333875"/>
                  <a:gd name="connsiteX170" fmla="*/ 5753100 w 8601075"/>
                  <a:gd name="connsiteY170" fmla="*/ 3924300 h 4333875"/>
                  <a:gd name="connsiteX171" fmla="*/ 5905500 w 8601075"/>
                  <a:gd name="connsiteY171" fmla="*/ 3943350 h 4333875"/>
                  <a:gd name="connsiteX172" fmla="*/ 6000750 w 8601075"/>
                  <a:gd name="connsiteY172" fmla="*/ 3800475 h 4333875"/>
                  <a:gd name="connsiteX173" fmla="*/ 6153150 w 8601075"/>
                  <a:gd name="connsiteY173" fmla="*/ 3781425 h 4333875"/>
                  <a:gd name="connsiteX174" fmla="*/ 6257925 w 8601075"/>
                  <a:gd name="connsiteY174" fmla="*/ 3581400 h 4333875"/>
                  <a:gd name="connsiteX175" fmla="*/ 6448425 w 8601075"/>
                  <a:gd name="connsiteY175" fmla="*/ 3448050 h 4333875"/>
                  <a:gd name="connsiteX176" fmla="*/ 6581775 w 8601075"/>
                  <a:gd name="connsiteY176" fmla="*/ 3276600 h 4333875"/>
                  <a:gd name="connsiteX177" fmla="*/ 6496050 w 8601075"/>
                  <a:gd name="connsiteY177" fmla="*/ 3228975 h 4333875"/>
                  <a:gd name="connsiteX178" fmla="*/ 6438900 w 8601075"/>
                  <a:gd name="connsiteY178" fmla="*/ 3162300 h 4333875"/>
                  <a:gd name="connsiteX179" fmla="*/ 6419850 w 8601075"/>
                  <a:gd name="connsiteY179" fmla="*/ 3105150 h 4333875"/>
                  <a:gd name="connsiteX180" fmla="*/ 6362700 w 8601075"/>
                  <a:gd name="connsiteY180" fmla="*/ 3076575 h 4333875"/>
                  <a:gd name="connsiteX181" fmla="*/ 6410325 w 8601075"/>
                  <a:gd name="connsiteY181" fmla="*/ 3019425 h 4333875"/>
                  <a:gd name="connsiteX182" fmla="*/ 6438900 w 8601075"/>
                  <a:gd name="connsiteY182" fmla="*/ 2819400 h 4333875"/>
                  <a:gd name="connsiteX183" fmla="*/ 6496050 w 8601075"/>
                  <a:gd name="connsiteY183" fmla="*/ 2762250 h 4333875"/>
                  <a:gd name="connsiteX184" fmla="*/ 6657975 w 8601075"/>
                  <a:gd name="connsiteY184" fmla="*/ 2752725 h 4333875"/>
                  <a:gd name="connsiteX185" fmla="*/ 6781800 w 8601075"/>
                  <a:gd name="connsiteY185" fmla="*/ 2838450 h 4333875"/>
                  <a:gd name="connsiteX186" fmla="*/ 7010400 w 8601075"/>
                  <a:gd name="connsiteY186" fmla="*/ 2838450 h 4333875"/>
                  <a:gd name="connsiteX187" fmla="*/ 7162800 w 8601075"/>
                  <a:gd name="connsiteY187" fmla="*/ 2705100 h 4333875"/>
                  <a:gd name="connsiteX188" fmla="*/ 7229475 w 8601075"/>
                  <a:gd name="connsiteY188" fmla="*/ 2590800 h 4333875"/>
                  <a:gd name="connsiteX189" fmla="*/ 7248525 w 8601075"/>
                  <a:gd name="connsiteY189" fmla="*/ 2524125 h 4333875"/>
                  <a:gd name="connsiteX190" fmla="*/ 7372350 w 8601075"/>
                  <a:gd name="connsiteY190" fmla="*/ 2543175 h 4333875"/>
                  <a:gd name="connsiteX191" fmla="*/ 7553325 w 8601075"/>
                  <a:gd name="connsiteY191" fmla="*/ 2447925 h 4333875"/>
                  <a:gd name="connsiteX192" fmla="*/ 7620000 w 8601075"/>
                  <a:gd name="connsiteY192" fmla="*/ 2324100 h 4333875"/>
                  <a:gd name="connsiteX193" fmla="*/ 7696200 w 8601075"/>
                  <a:gd name="connsiteY193" fmla="*/ 2314575 h 4333875"/>
                  <a:gd name="connsiteX194" fmla="*/ 7658100 w 8601075"/>
                  <a:gd name="connsiteY194" fmla="*/ 2257425 h 4333875"/>
                  <a:gd name="connsiteX195" fmla="*/ 7753350 w 8601075"/>
                  <a:gd name="connsiteY195" fmla="*/ 2057400 h 4333875"/>
                  <a:gd name="connsiteX196" fmla="*/ 7934325 w 8601075"/>
                  <a:gd name="connsiteY196" fmla="*/ 2028825 h 4333875"/>
                  <a:gd name="connsiteX197" fmla="*/ 7953375 w 8601075"/>
                  <a:gd name="connsiteY197" fmla="*/ 1952625 h 4333875"/>
                  <a:gd name="connsiteX198" fmla="*/ 7953375 w 8601075"/>
                  <a:gd name="connsiteY198" fmla="*/ 1952625 h 4333875"/>
                  <a:gd name="connsiteX199" fmla="*/ 8010525 w 8601075"/>
                  <a:gd name="connsiteY199" fmla="*/ 1895475 h 4333875"/>
                  <a:gd name="connsiteX200" fmla="*/ 8048625 w 8601075"/>
                  <a:gd name="connsiteY200" fmla="*/ 1971675 h 4333875"/>
                  <a:gd name="connsiteX201" fmla="*/ 8077200 w 8601075"/>
                  <a:gd name="connsiteY201" fmla="*/ 1885950 h 4333875"/>
                  <a:gd name="connsiteX202" fmla="*/ 8220075 w 8601075"/>
                  <a:gd name="connsiteY202" fmla="*/ 1847850 h 4333875"/>
                  <a:gd name="connsiteX203" fmla="*/ 8296275 w 8601075"/>
                  <a:gd name="connsiteY203" fmla="*/ 1809750 h 4333875"/>
                  <a:gd name="connsiteX204" fmla="*/ 8324850 w 8601075"/>
                  <a:gd name="connsiteY204" fmla="*/ 1790700 h 4333875"/>
                  <a:gd name="connsiteX205" fmla="*/ 8410575 w 8601075"/>
                  <a:gd name="connsiteY205" fmla="*/ 1847850 h 4333875"/>
                  <a:gd name="connsiteX206" fmla="*/ 8505825 w 8601075"/>
                  <a:gd name="connsiteY206" fmla="*/ 1781175 h 4333875"/>
                  <a:gd name="connsiteX207" fmla="*/ 8572500 w 8601075"/>
                  <a:gd name="connsiteY207" fmla="*/ 1809750 h 4333875"/>
                  <a:gd name="connsiteX208" fmla="*/ 8601075 w 8601075"/>
                  <a:gd name="connsiteY208" fmla="*/ 1704975 h 4333875"/>
                  <a:gd name="connsiteX209" fmla="*/ 8553450 w 8601075"/>
                  <a:gd name="connsiteY209" fmla="*/ 1676400 h 4333875"/>
                  <a:gd name="connsiteX210" fmla="*/ 8534400 w 8601075"/>
                  <a:gd name="connsiteY210" fmla="*/ 1609725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277225 w 8601075"/>
                  <a:gd name="connsiteY213" fmla="*/ 1409700 h 4333875"/>
                  <a:gd name="connsiteX214" fmla="*/ 8124825 w 8601075"/>
                  <a:gd name="connsiteY214" fmla="*/ 1352550 h 4333875"/>
                  <a:gd name="connsiteX215" fmla="*/ 7924800 w 8601075"/>
                  <a:gd name="connsiteY215" fmla="*/ 1362075 h 4333875"/>
                  <a:gd name="connsiteX216" fmla="*/ 7867650 w 8601075"/>
                  <a:gd name="connsiteY216" fmla="*/ 1457325 h 4333875"/>
                  <a:gd name="connsiteX217" fmla="*/ 7896225 w 8601075"/>
                  <a:gd name="connsiteY217" fmla="*/ 1476375 h 4333875"/>
                  <a:gd name="connsiteX218" fmla="*/ 7858125 w 8601075"/>
                  <a:gd name="connsiteY218" fmla="*/ 1533525 h 4333875"/>
                  <a:gd name="connsiteX219" fmla="*/ 7658100 w 8601075"/>
                  <a:gd name="connsiteY219" fmla="*/ 1447800 h 4333875"/>
                  <a:gd name="connsiteX220" fmla="*/ 7515225 w 8601075"/>
                  <a:gd name="connsiteY220" fmla="*/ 1495425 h 4333875"/>
                  <a:gd name="connsiteX221" fmla="*/ 7467600 w 8601075"/>
                  <a:gd name="connsiteY221" fmla="*/ 1581150 h 4333875"/>
                  <a:gd name="connsiteX222" fmla="*/ 7296150 w 8601075"/>
                  <a:gd name="connsiteY22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828675 w 8601075"/>
                  <a:gd name="connsiteY108" fmla="*/ 447675 h 4333875"/>
                  <a:gd name="connsiteX109" fmla="*/ 619125 w 8601075"/>
                  <a:gd name="connsiteY109" fmla="*/ 533400 h 4333875"/>
                  <a:gd name="connsiteX110" fmla="*/ 619125 w 8601075"/>
                  <a:gd name="connsiteY110" fmla="*/ 533400 h 4333875"/>
                  <a:gd name="connsiteX111" fmla="*/ 561975 w 8601075"/>
                  <a:gd name="connsiteY111" fmla="*/ 619125 h 4333875"/>
                  <a:gd name="connsiteX112" fmla="*/ 447675 w 8601075"/>
                  <a:gd name="connsiteY112" fmla="*/ 638175 h 4333875"/>
                  <a:gd name="connsiteX113" fmla="*/ 447675 w 8601075"/>
                  <a:gd name="connsiteY113" fmla="*/ 638175 h 4333875"/>
                  <a:gd name="connsiteX114" fmla="*/ 447675 w 8601075"/>
                  <a:gd name="connsiteY114" fmla="*/ 638175 h 4333875"/>
                  <a:gd name="connsiteX115" fmla="*/ 295275 w 8601075"/>
                  <a:gd name="connsiteY115" fmla="*/ 657225 h 4333875"/>
                  <a:gd name="connsiteX116" fmla="*/ 180975 w 8601075"/>
                  <a:gd name="connsiteY116" fmla="*/ 638175 h 4333875"/>
                  <a:gd name="connsiteX117" fmla="*/ 180975 w 8601075"/>
                  <a:gd name="connsiteY117" fmla="*/ 638175 h 4333875"/>
                  <a:gd name="connsiteX118" fmla="*/ 57150 w 8601075"/>
                  <a:gd name="connsiteY118" fmla="*/ 733425 h 4333875"/>
                  <a:gd name="connsiteX119" fmla="*/ 19050 w 8601075"/>
                  <a:gd name="connsiteY119" fmla="*/ 790575 h 4333875"/>
                  <a:gd name="connsiteX120" fmla="*/ 0 w 8601075"/>
                  <a:gd name="connsiteY120" fmla="*/ 876300 h 4333875"/>
                  <a:gd name="connsiteX121" fmla="*/ 57150 w 8601075"/>
                  <a:gd name="connsiteY121" fmla="*/ 923925 h 4333875"/>
                  <a:gd name="connsiteX122" fmla="*/ 57150 w 8601075"/>
                  <a:gd name="connsiteY122" fmla="*/ 923925 h 4333875"/>
                  <a:gd name="connsiteX123" fmla="*/ 209550 w 8601075"/>
                  <a:gd name="connsiteY123" fmla="*/ 1114425 h 4333875"/>
                  <a:gd name="connsiteX124" fmla="*/ 209550 w 8601075"/>
                  <a:gd name="connsiteY124" fmla="*/ 1114425 h 4333875"/>
                  <a:gd name="connsiteX125" fmla="*/ 266700 w 8601075"/>
                  <a:gd name="connsiteY125" fmla="*/ 1295400 h 4333875"/>
                  <a:gd name="connsiteX126" fmla="*/ 409575 w 8601075"/>
                  <a:gd name="connsiteY126" fmla="*/ 1276350 h 4333875"/>
                  <a:gd name="connsiteX127" fmla="*/ 466725 w 8601075"/>
                  <a:gd name="connsiteY127" fmla="*/ 1362075 h 4333875"/>
                  <a:gd name="connsiteX128" fmla="*/ 542925 w 8601075"/>
                  <a:gd name="connsiteY128" fmla="*/ 1428750 h 4333875"/>
                  <a:gd name="connsiteX129" fmla="*/ 628650 w 8601075"/>
                  <a:gd name="connsiteY129" fmla="*/ 1571625 h 4333875"/>
                  <a:gd name="connsiteX130" fmla="*/ 628650 w 8601075"/>
                  <a:gd name="connsiteY130" fmla="*/ 1704975 h 4333875"/>
                  <a:gd name="connsiteX131" fmla="*/ 676275 w 8601075"/>
                  <a:gd name="connsiteY131" fmla="*/ 1771650 h 4333875"/>
                  <a:gd name="connsiteX132" fmla="*/ 657225 w 8601075"/>
                  <a:gd name="connsiteY132" fmla="*/ 2000250 h 4333875"/>
                  <a:gd name="connsiteX133" fmla="*/ 619125 w 8601075"/>
                  <a:gd name="connsiteY133" fmla="*/ 2095500 h 4333875"/>
                  <a:gd name="connsiteX134" fmla="*/ 542925 w 8601075"/>
                  <a:gd name="connsiteY134" fmla="*/ 2228850 h 4333875"/>
                  <a:gd name="connsiteX135" fmla="*/ 485775 w 8601075"/>
                  <a:gd name="connsiteY135" fmla="*/ 2362200 h 4333875"/>
                  <a:gd name="connsiteX136" fmla="*/ 552450 w 8601075"/>
                  <a:gd name="connsiteY136" fmla="*/ 2486025 h 4333875"/>
                  <a:gd name="connsiteX137" fmla="*/ 771525 w 8601075"/>
                  <a:gd name="connsiteY137" fmla="*/ 2571750 h 4333875"/>
                  <a:gd name="connsiteX138" fmla="*/ 866775 w 8601075"/>
                  <a:gd name="connsiteY138" fmla="*/ 2571750 h 4333875"/>
                  <a:gd name="connsiteX139" fmla="*/ 914400 w 8601075"/>
                  <a:gd name="connsiteY139" fmla="*/ 2638425 h 4333875"/>
                  <a:gd name="connsiteX140" fmla="*/ 1066800 w 8601075"/>
                  <a:gd name="connsiteY140" fmla="*/ 2638425 h 4333875"/>
                  <a:gd name="connsiteX141" fmla="*/ 1285875 w 8601075"/>
                  <a:gd name="connsiteY141" fmla="*/ 2705100 h 4333875"/>
                  <a:gd name="connsiteX142" fmla="*/ 1438275 w 8601075"/>
                  <a:gd name="connsiteY142" fmla="*/ 2838450 h 4333875"/>
                  <a:gd name="connsiteX143" fmla="*/ 1485900 w 8601075"/>
                  <a:gd name="connsiteY143" fmla="*/ 2914650 h 4333875"/>
                  <a:gd name="connsiteX144" fmla="*/ 1657350 w 8601075"/>
                  <a:gd name="connsiteY144" fmla="*/ 3038475 h 4333875"/>
                  <a:gd name="connsiteX145" fmla="*/ 1752600 w 8601075"/>
                  <a:gd name="connsiteY145" fmla="*/ 3057525 h 4333875"/>
                  <a:gd name="connsiteX146" fmla="*/ 1724025 w 8601075"/>
                  <a:gd name="connsiteY146" fmla="*/ 3143250 h 4333875"/>
                  <a:gd name="connsiteX147" fmla="*/ 1724025 w 8601075"/>
                  <a:gd name="connsiteY147" fmla="*/ 3143250 h 4333875"/>
                  <a:gd name="connsiteX148" fmla="*/ 1781175 w 8601075"/>
                  <a:gd name="connsiteY148" fmla="*/ 3181350 h 4333875"/>
                  <a:gd name="connsiteX149" fmla="*/ 1819275 w 8601075"/>
                  <a:gd name="connsiteY149" fmla="*/ 3362325 h 4333875"/>
                  <a:gd name="connsiteX150" fmla="*/ 1828800 w 8601075"/>
                  <a:gd name="connsiteY150" fmla="*/ 3457575 h 4333875"/>
                  <a:gd name="connsiteX151" fmla="*/ 1971675 w 8601075"/>
                  <a:gd name="connsiteY151" fmla="*/ 3590925 h 4333875"/>
                  <a:gd name="connsiteX152" fmla="*/ 1990725 w 8601075"/>
                  <a:gd name="connsiteY152" fmla="*/ 3714750 h 4333875"/>
                  <a:gd name="connsiteX153" fmla="*/ 2200275 w 8601075"/>
                  <a:gd name="connsiteY153" fmla="*/ 3695700 h 4333875"/>
                  <a:gd name="connsiteX154" fmla="*/ 2886075 w 8601075"/>
                  <a:gd name="connsiteY154" fmla="*/ 3886200 h 4333875"/>
                  <a:gd name="connsiteX155" fmla="*/ 3038475 w 8601075"/>
                  <a:gd name="connsiteY155" fmla="*/ 3819525 h 4333875"/>
                  <a:gd name="connsiteX156" fmla="*/ 3105150 w 8601075"/>
                  <a:gd name="connsiteY156" fmla="*/ 3867150 h 4333875"/>
                  <a:gd name="connsiteX157" fmla="*/ 3181350 w 8601075"/>
                  <a:gd name="connsiteY157" fmla="*/ 3800475 h 4333875"/>
                  <a:gd name="connsiteX158" fmla="*/ 3590925 w 8601075"/>
                  <a:gd name="connsiteY158" fmla="*/ 3943350 h 4333875"/>
                  <a:gd name="connsiteX159" fmla="*/ 3686175 w 8601075"/>
                  <a:gd name="connsiteY159" fmla="*/ 4057650 h 4333875"/>
                  <a:gd name="connsiteX160" fmla="*/ 3838575 w 8601075"/>
                  <a:gd name="connsiteY160" fmla="*/ 4057650 h 4333875"/>
                  <a:gd name="connsiteX161" fmla="*/ 4162425 w 8601075"/>
                  <a:gd name="connsiteY161" fmla="*/ 4248150 h 4333875"/>
                  <a:gd name="connsiteX162" fmla="*/ 4391025 w 8601075"/>
                  <a:gd name="connsiteY162" fmla="*/ 4200525 h 4333875"/>
                  <a:gd name="connsiteX163" fmla="*/ 4410075 w 8601075"/>
                  <a:gd name="connsiteY163" fmla="*/ 4305300 h 4333875"/>
                  <a:gd name="connsiteX164" fmla="*/ 4505325 w 8601075"/>
                  <a:gd name="connsiteY164" fmla="*/ 4276725 h 4333875"/>
                  <a:gd name="connsiteX165" fmla="*/ 4572000 w 8601075"/>
                  <a:gd name="connsiteY165" fmla="*/ 4333875 h 4333875"/>
                  <a:gd name="connsiteX166" fmla="*/ 4591050 w 8601075"/>
                  <a:gd name="connsiteY166" fmla="*/ 4248150 h 4333875"/>
                  <a:gd name="connsiteX167" fmla="*/ 5295900 w 8601075"/>
                  <a:gd name="connsiteY167" fmla="*/ 3924300 h 4333875"/>
                  <a:gd name="connsiteX168" fmla="*/ 5353050 w 8601075"/>
                  <a:gd name="connsiteY168" fmla="*/ 3990975 h 4333875"/>
                  <a:gd name="connsiteX169" fmla="*/ 5524500 w 8601075"/>
                  <a:gd name="connsiteY169" fmla="*/ 3914775 h 4333875"/>
                  <a:gd name="connsiteX170" fmla="*/ 5667375 w 8601075"/>
                  <a:gd name="connsiteY170" fmla="*/ 3962400 h 4333875"/>
                  <a:gd name="connsiteX171" fmla="*/ 5753100 w 8601075"/>
                  <a:gd name="connsiteY171" fmla="*/ 3924300 h 4333875"/>
                  <a:gd name="connsiteX172" fmla="*/ 5905500 w 8601075"/>
                  <a:gd name="connsiteY172" fmla="*/ 3943350 h 4333875"/>
                  <a:gd name="connsiteX173" fmla="*/ 6000750 w 8601075"/>
                  <a:gd name="connsiteY173" fmla="*/ 3800475 h 4333875"/>
                  <a:gd name="connsiteX174" fmla="*/ 6153150 w 8601075"/>
                  <a:gd name="connsiteY174" fmla="*/ 3781425 h 4333875"/>
                  <a:gd name="connsiteX175" fmla="*/ 6257925 w 8601075"/>
                  <a:gd name="connsiteY175" fmla="*/ 3581400 h 4333875"/>
                  <a:gd name="connsiteX176" fmla="*/ 6448425 w 8601075"/>
                  <a:gd name="connsiteY176" fmla="*/ 3448050 h 4333875"/>
                  <a:gd name="connsiteX177" fmla="*/ 6581775 w 8601075"/>
                  <a:gd name="connsiteY177" fmla="*/ 3276600 h 4333875"/>
                  <a:gd name="connsiteX178" fmla="*/ 6496050 w 8601075"/>
                  <a:gd name="connsiteY178" fmla="*/ 3228975 h 4333875"/>
                  <a:gd name="connsiteX179" fmla="*/ 6438900 w 8601075"/>
                  <a:gd name="connsiteY179" fmla="*/ 3162300 h 4333875"/>
                  <a:gd name="connsiteX180" fmla="*/ 6419850 w 8601075"/>
                  <a:gd name="connsiteY180" fmla="*/ 3105150 h 4333875"/>
                  <a:gd name="connsiteX181" fmla="*/ 6362700 w 8601075"/>
                  <a:gd name="connsiteY181" fmla="*/ 3076575 h 4333875"/>
                  <a:gd name="connsiteX182" fmla="*/ 6410325 w 8601075"/>
                  <a:gd name="connsiteY182" fmla="*/ 3019425 h 4333875"/>
                  <a:gd name="connsiteX183" fmla="*/ 6438900 w 8601075"/>
                  <a:gd name="connsiteY183" fmla="*/ 2819400 h 4333875"/>
                  <a:gd name="connsiteX184" fmla="*/ 6496050 w 8601075"/>
                  <a:gd name="connsiteY184" fmla="*/ 2762250 h 4333875"/>
                  <a:gd name="connsiteX185" fmla="*/ 6657975 w 8601075"/>
                  <a:gd name="connsiteY185" fmla="*/ 2752725 h 4333875"/>
                  <a:gd name="connsiteX186" fmla="*/ 6781800 w 8601075"/>
                  <a:gd name="connsiteY186" fmla="*/ 2838450 h 4333875"/>
                  <a:gd name="connsiteX187" fmla="*/ 7010400 w 8601075"/>
                  <a:gd name="connsiteY187" fmla="*/ 2838450 h 4333875"/>
                  <a:gd name="connsiteX188" fmla="*/ 7162800 w 8601075"/>
                  <a:gd name="connsiteY188" fmla="*/ 2705100 h 4333875"/>
                  <a:gd name="connsiteX189" fmla="*/ 7229475 w 8601075"/>
                  <a:gd name="connsiteY189" fmla="*/ 2590800 h 4333875"/>
                  <a:gd name="connsiteX190" fmla="*/ 7248525 w 8601075"/>
                  <a:gd name="connsiteY190" fmla="*/ 2524125 h 4333875"/>
                  <a:gd name="connsiteX191" fmla="*/ 7372350 w 8601075"/>
                  <a:gd name="connsiteY191" fmla="*/ 2543175 h 4333875"/>
                  <a:gd name="connsiteX192" fmla="*/ 7553325 w 8601075"/>
                  <a:gd name="connsiteY192" fmla="*/ 2447925 h 4333875"/>
                  <a:gd name="connsiteX193" fmla="*/ 7620000 w 8601075"/>
                  <a:gd name="connsiteY193" fmla="*/ 2324100 h 4333875"/>
                  <a:gd name="connsiteX194" fmla="*/ 7696200 w 8601075"/>
                  <a:gd name="connsiteY194" fmla="*/ 2314575 h 4333875"/>
                  <a:gd name="connsiteX195" fmla="*/ 7658100 w 8601075"/>
                  <a:gd name="connsiteY195" fmla="*/ 2257425 h 4333875"/>
                  <a:gd name="connsiteX196" fmla="*/ 7753350 w 8601075"/>
                  <a:gd name="connsiteY196" fmla="*/ 2057400 h 4333875"/>
                  <a:gd name="connsiteX197" fmla="*/ 7934325 w 8601075"/>
                  <a:gd name="connsiteY197" fmla="*/ 2028825 h 4333875"/>
                  <a:gd name="connsiteX198" fmla="*/ 7953375 w 8601075"/>
                  <a:gd name="connsiteY198" fmla="*/ 1952625 h 4333875"/>
                  <a:gd name="connsiteX199" fmla="*/ 7953375 w 8601075"/>
                  <a:gd name="connsiteY199" fmla="*/ 1952625 h 4333875"/>
                  <a:gd name="connsiteX200" fmla="*/ 8010525 w 8601075"/>
                  <a:gd name="connsiteY200" fmla="*/ 1895475 h 4333875"/>
                  <a:gd name="connsiteX201" fmla="*/ 8048625 w 8601075"/>
                  <a:gd name="connsiteY201" fmla="*/ 1971675 h 4333875"/>
                  <a:gd name="connsiteX202" fmla="*/ 8077200 w 8601075"/>
                  <a:gd name="connsiteY202" fmla="*/ 1885950 h 4333875"/>
                  <a:gd name="connsiteX203" fmla="*/ 8220075 w 8601075"/>
                  <a:gd name="connsiteY203" fmla="*/ 1847850 h 4333875"/>
                  <a:gd name="connsiteX204" fmla="*/ 8296275 w 8601075"/>
                  <a:gd name="connsiteY204" fmla="*/ 1809750 h 4333875"/>
                  <a:gd name="connsiteX205" fmla="*/ 8324850 w 8601075"/>
                  <a:gd name="connsiteY205" fmla="*/ 1790700 h 4333875"/>
                  <a:gd name="connsiteX206" fmla="*/ 8410575 w 8601075"/>
                  <a:gd name="connsiteY206" fmla="*/ 1847850 h 4333875"/>
                  <a:gd name="connsiteX207" fmla="*/ 8505825 w 8601075"/>
                  <a:gd name="connsiteY207" fmla="*/ 1781175 h 4333875"/>
                  <a:gd name="connsiteX208" fmla="*/ 8572500 w 8601075"/>
                  <a:gd name="connsiteY208" fmla="*/ 1809750 h 4333875"/>
                  <a:gd name="connsiteX209" fmla="*/ 8601075 w 8601075"/>
                  <a:gd name="connsiteY209" fmla="*/ 1704975 h 4333875"/>
                  <a:gd name="connsiteX210" fmla="*/ 8553450 w 8601075"/>
                  <a:gd name="connsiteY210" fmla="*/ 1676400 h 4333875"/>
                  <a:gd name="connsiteX211" fmla="*/ 8534400 w 8601075"/>
                  <a:gd name="connsiteY211" fmla="*/ 1609725 h 4333875"/>
                  <a:gd name="connsiteX212" fmla="*/ 8277225 w 8601075"/>
                  <a:gd name="connsiteY212" fmla="*/ 1409700 h 4333875"/>
                  <a:gd name="connsiteX213" fmla="*/ 8277225 w 8601075"/>
                  <a:gd name="connsiteY213" fmla="*/ 1409700 h 4333875"/>
                  <a:gd name="connsiteX214" fmla="*/ 8277225 w 8601075"/>
                  <a:gd name="connsiteY214" fmla="*/ 1409700 h 4333875"/>
                  <a:gd name="connsiteX215" fmla="*/ 8124825 w 8601075"/>
                  <a:gd name="connsiteY215" fmla="*/ 1352550 h 4333875"/>
                  <a:gd name="connsiteX216" fmla="*/ 7924800 w 8601075"/>
                  <a:gd name="connsiteY216" fmla="*/ 1362075 h 4333875"/>
                  <a:gd name="connsiteX217" fmla="*/ 7867650 w 8601075"/>
                  <a:gd name="connsiteY217" fmla="*/ 1457325 h 4333875"/>
                  <a:gd name="connsiteX218" fmla="*/ 7896225 w 8601075"/>
                  <a:gd name="connsiteY218" fmla="*/ 1476375 h 4333875"/>
                  <a:gd name="connsiteX219" fmla="*/ 7858125 w 8601075"/>
                  <a:gd name="connsiteY219" fmla="*/ 1533525 h 4333875"/>
                  <a:gd name="connsiteX220" fmla="*/ 7658100 w 8601075"/>
                  <a:gd name="connsiteY220" fmla="*/ 1447800 h 4333875"/>
                  <a:gd name="connsiteX221" fmla="*/ 7515225 w 8601075"/>
                  <a:gd name="connsiteY221" fmla="*/ 1495425 h 4333875"/>
                  <a:gd name="connsiteX222" fmla="*/ 7467600 w 8601075"/>
                  <a:gd name="connsiteY222" fmla="*/ 1581150 h 4333875"/>
                  <a:gd name="connsiteX223" fmla="*/ 7296150 w 8601075"/>
                  <a:gd name="connsiteY22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828675 w 8601075"/>
                  <a:gd name="connsiteY109" fmla="*/ 447675 h 4333875"/>
                  <a:gd name="connsiteX110" fmla="*/ 619125 w 8601075"/>
                  <a:gd name="connsiteY110" fmla="*/ 533400 h 4333875"/>
                  <a:gd name="connsiteX111" fmla="*/ 619125 w 8601075"/>
                  <a:gd name="connsiteY111" fmla="*/ 533400 h 4333875"/>
                  <a:gd name="connsiteX112" fmla="*/ 561975 w 8601075"/>
                  <a:gd name="connsiteY112" fmla="*/ 619125 h 4333875"/>
                  <a:gd name="connsiteX113" fmla="*/ 447675 w 8601075"/>
                  <a:gd name="connsiteY113" fmla="*/ 638175 h 4333875"/>
                  <a:gd name="connsiteX114" fmla="*/ 447675 w 8601075"/>
                  <a:gd name="connsiteY114" fmla="*/ 638175 h 4333875"/>
                  <a:gd name="connsiteX115" fmla="*/ 447675 w 8601075"/>
                  <a:gd name="connsiteY115" fmla="*/ 638175 h 4333875"/>
                  <a:gd name="connsiteX116" fmla="*/ 295275 w 8601075"/>
                  <a:gd name="connsiteY116" fmla="*/ 657225 h 4333875"/>
                  <a:gd name="connsiteX117" fmla="*/ 180975 w 8601075"/>
                  <a:gd name="connsiteY117" fmla="*/ 638175 h 4333875"/>
                  <a:gd name="connsiteX118" fmla="*/ 180975 w 8601075"/>
                  <a:gd name="connsiteY118" fmla="*/ 638175 h 4333875"/>
                  <a:gd name="connsiteX119" fmla="*/ 57150 w 8601075"/>
                  <a:gd name="connsiteY119" fmla="*/ 733425 h 4333875"/>
                  <a:gd name="connsiteX120" fmla="*/ 19050 w 8601075"/>
                  <a:gd name="connsiteY120" fmla="*/ 790575 h 4333875"/>
                  <a:gd name="connsiteX121" fmla="*/ 0 w 8601075"/>
                  <a:gd name="connsiteY121" fmla="*/ 876300 h 4333875"/>
                  <a:gd name="connsiteX122" fmla="*/ 57150 w 8601075"/>
                  <a:gd name="connsiteY122" fmla="*/ 923925 h 4333875"/>
                  <a:gd name="connsiteX123" fmla="*/ 57150 w 8601075"/>
                  <a:gd name="connsiteY123" fmla="*/ 923925 h 4333875"/>
                  <a:gd name="connsiteX124" fmla="*/ 209550 w 8601075"/>
                  <a:gd name="connsiteY124" fmla="*/ 1114425 h 4333875"/>
                  <a:gd name="connsiteX125" fmla="*/ 209550 w 8601075"/>
                  <a:gd name="connsiteY125" fmla="*/ 1114425 h 4333875"/>
                  <a:gd name="connsiteX126" fmla="*/ 266700 w 8601075"/>
                  <a:gd name="connsiteY126" fmla="*/ 1295400 h 4333875"/>
                  <a:gd name="connsiteX127" fmla="*/ 409575 w 8601075"/>
                  <a:gd name="connsiteY127" fmla="*/ 1276350 h 4333875"/>
                  <a:gd name="connsiteX128" fmla="*/ 466725 w 8601075"/>
                  <a:gd name="connsiteY128" fmla="*/ 1362075 h 4333875"/>
                  <a:gd name="connsiteX129" fmla="*/ 542925 w 8601075"/>
                  <a:gd name="connsiteY129" fmla="*/ 1428750 h 4333875"/>
                  <a:gd name="connsiteX130" fmla="*/ 628650 w 8601075"/>
                  <a:gd name="connsiteY130" fmla="*/ 1571625 h 4333875"/>
                  <a:gd name="connsiteX131" fmla="*/ 628650 w 8601075"/>
                  <a:gd name="connsiteY131" fmla="*/ 1704975 h 4333875"/>
                  <a:gd name="connsiteX132" fmla="*/ 676275 w 8601075"/>
                  <a:gd name="connsiteY132" fmla="*/ 1771650 h 4333875"/>
                  <a:gd name="connsiteX133" fmla="*/ 657225 w 8601075"/>
                  <a:gd name="connsiteY133" fmla="*/ 2000250 h 4333875"/>
                  <a:gd name="connsiteX134" fmla="*/ 619125 w 8601075"/>
                  <a:gd name="connsiteY134" fmla="*/ 2095500 h 4333875"/>
                  <a:gd name="connsiteX135" fmla="*/ 542925 w 8601075"/>
                  <a:gd name="connsiteY135" fmla="*/ 2228850 h 4333875"/>
                  <a:gd name="connsiteX136" fmla="*/ 485775 w 8601075"/>
                  <a:gd name="connsiteY136" fmla="*/ 2362200 h 4333875"/>
                  <a:gd name="connsiteX137" fmla="*/ 552450 w 8601075"/>
                  <a:gd name="connsiteY137" fmla="*/ 2486025 h 4333875"/>
                  <a:gd name="connsiteX138" fmla="*/ 771525 w 8601075"/>
                  <a:gd name="connsiteY138" fmla="*/ 2571750 h 4333875"/>
                  <a:gd name="connsiteX139" fmla="*/ 866775 w 8601075"/>
                  <a:gd name="connsiteY139" fmla="*/ 2571750 h 4333875"/>
                  <a:gd name="connsiteX140" fmla="*/ 914400 w 8601075"/>
                  <a:gd name="connsiteY140" fmla="*/ 2638425 h 4333875"/>
                  <a:gd name="connsiteX141" fmla="*/ 1066800 w 8601075"/>
                  <a:gd name="connsiteY141" fmla="*/ 2638425 h 4333875"/>
                  <a:gd name="connsiteX142" fmla="*/ 1285875 w 8601075"/>
                  <a:gd name="connsiteY142" fmla="*/ 2705100 h 4333875"/>
                  <a:gd name="connsiteX143" fmla="*/ 1438275 w 8601075"/>
                  <a:gd name="connsiteY143" fmla="*/ 2838450 h 4333875"/>
                  <a:gd name="connsiteX144" fmla="*/ 1485900 w 8601075"/>
                  <a:gd name="connsiteY144" fmla="*/ 2914650 h 4333875"/>
                  <a:gd name="connsiteX145" fmla="*/ 1657350 w 8601075"/>
                  <a:gd name="connsiteY145" fmla="*/ 3038475 h 4333875"/>
                  <a:gd name="connsiteX146" fmla="*/ 1752600 w 8601075"/>
                  <a:gd name="connsiteY146" fmla="*/ 3057525 h 4333875"/>
                  <a:gd name="connsiteX147" fmla="*/ 1724025 w 8601075"/>
                  <a:gd name="connsiteY147" fmla="*/ 3143250 h 4333875"/>
                  <a:gd name="connsiteX148" fmla="*/ 1724025 w 8601075"/>
                  <a:gd name="connsiteY148" fmla="*/ 3143250 h 4333875"/>
                  <a:gd name="connsiteX149" fmla="*/ 1781175 w 8601075"/>
                  <a:gd name="connsiteY149" fmla="*/ 3181350 h 4333875"/>
                  <a:gd name="connsiteX150" fmla="*/ 1819275 w 8601075"/>
                  <a:gd name="connsiteY150" fmla="*/ 3362325 h 4333875"/>
                  <a:gd name="connsiteX151" fmla="*/ 1828800 w 8601075"/>
                  <a:gd name="connsiteY151" fmla="*/ 3457575 h 4333875"/>
                  <a:gd name="connsiteX152" fmla="*/ 1971675 w 8601075"/>
                  <a:gd name="connsiteY152" fmla="*/ 3590925 h 4333875"/>
                  <a:gd name="connsiteX153" fmla="*/ 1990725 w 8601075"/>
                  <a:gd name="connsiteY153" fmla="*/ 3714750 h 4333875"/>
                  <a:gd name="connsiteX154" fmla="*/ 2200275 w 8601075"/>
                  <a:gd name="connsiteY154" fmla="*/ 3695700 h 4333875"/>
                  <a:gd name="connsiteX155" fmla="*/ 2886075 w 8601075"/>
                  <a:gd name="connsiteY155" fmla="*/ 3886200 h 4333875"/>
                  <a:gd name="connsiteX156" fmla="*/ 3038475 w 8601075"/>
                  <a:gd name="connsiteY156" fmla="*/ 3819525 h 4333875"/>
                  <a:gd name="connsiteX157" fmla="*/ 3105150 w 8601075"/>
                  <a:gd name="connsiteY157" fmla="*/ 3867150 h 4333875"/>
                  <a:gd name="connsiteX158" fmla="*/ 3181350 w 8601075"/>
                  <a:gd name="connsiteY158" fmla="*/ 3800475 h 4333875"/>
                  <a:gd name="connsiteX159" fmla="*/ 3590925 w 8601075"/>
                  <a:gd name="connsiteY159" fmla="*/ 3943350 h 4333875"/>
                  <a:gd name="connsiteX160" fmla="*/ 3686175 w 8601075"/>
                  <a:gd name="connsiteY160" fmla="*/ 4057650 h 4333875"/>
                  <a:gd name="connsiteX161" fmla="*/ 3838575 w 8601075"/>
                  <a:gd name="connsiteY161" fmla="*/ 4057650 h 4333875"/>
                  <a:gd name="connsiteX162" fmla="*/ 4162425 w 8601075"/>
                  <a:gd name="connsiteY162" fmla="*/ 4248150 h 4333875"/>
                  <a:gd name="connsiteX163" fmla="*/ 4391025 w 8601075"/>
                  <a:gd name="connsiteY163" fmla="*/ 4200525 h 4333875"/>
                  <a:gd name="connsiteX164" fmla="*/ 4410075 w 8601075"/>
                  <a:gd name="connsiteY164" fmla="*/ 4305300 h 4333875"/>
                  <a:gd name="connsiteX165" fmla="*/ 4505325 w 8601075"/>
                  <a:gd name="connsiteY165" fmla="*/ 4276725 h 4333875"/>
                  <a:gd name="connsiteX166" fmla="*/ 4572000 w 8601075"/>
                  <a:gd name="connsiteY166" fmla="*/ 4333875 h 4333875"/>
                  <a:gd name="connsiteX167" fmla="*/ 4591050 w 8601075"/>
                  <a:gd name="connsiteY167" fmla="*/ 4248150 h 4333875"/>
                  <a:gd name="connsiteX168" fmla="*/ 5295900 w 8601075"/>
                  <a:gd name="connsiteY168" fmla="*/ 3924300 h 4333875"/>
                  <a:gd name="connsiteX169" fmla="*/ 5353050 w 8601075"/>
                  <a:gd name="connsiteY169" fmla="*/ 3990975 h 4333875"/>
                  <a:gd name="connsiteX170" fmla="*/ 5524500 w 8601075"/>
                  <a:gd name="connsiteY170" fmla="*/ 3914775 h 4333875"/>
                  <a:gd name="connsiteX171" fmla="*/ 5667375 w 8601075"/>
                  <a:gd name="connsiteY171" fmla="*/ 3962400 h 4333875"/>
                  <a:gd name="connsiteX172" fmla="*/ 5753100 w 8601075"/>
                  <a:gd name="connsiteY172" fmla="*/ 3924300 h 4333875"/>
                  <a:gd name="connsiteX173" fmla="*/ 5905500 w 8601075"/>
                  <a:gd name="connsiteY173" fmla="*/ 3943350 h 4333875"/>
                  <a:gd name="connsiteX174" fmla="*/ 6000750 w 8601075"/>
                  <a:gd name="connsiteY174" fmla="*/ 3800475 h 4333875"/>
                  <a:gd name="connsiteX175" fmla="*/ 6153150 w 8601075"/>
                  <a:gd name="connsiteY175" fmla="*/ 3781425 h 4333875"/>
                  <a:gd name="connsiteX176" fmla="*/ 6257925 w 8601075"/>
                  <a:gd name="connsiteY176" fmla="*/ 3581400 h 4333875"/>
                  <a:gd name="connsiteX177" fmla="*/ 6448425 w 8601075"/>
                  <a:gd name="connsiteY177" fmla="*/ 3448050 h 4333875"/>
                  <a:gd name="connsiteX178" fmla="*/ 6581775 w 8601075"/>
                  <a:gd name="connsiteY178" fmla="*/ 3276600 h 4333875"/>
                  <a:gd name="connsiteX179" fmla="*/ 6496050 w 8601075"/>
                  <a:gd name="connsiteY179" fmla="*/ 3228975 h 4333875"/>
                  <a:gd name="connsiteX180" fmla="*/ 6438900 w 8601075"/>
                  <a:gd name="connsiteY180" fmla="*/ 3162300 h 4333875"/>
                  <a:gd name="connsiteX181" fmla="*/ 6419850 w 8601075"/>
                  <a:gd name="connsiteY181" fmla="*/ 3105150 h 4333875"/>
                  <a:gd name="connsiteX182" fmla="*/ 6362700 w 8601075"/>
                  <a:gd name="connsiteY182" fmla="*/ 3076575 h 4333875"/>
                  <a:gd name="connsiteX183" fmla="*/ 6410325 w 8601075"/>
                  <a:gd name="connsiteY183" fmla="*/ 3019425 h 4333875"/>
                  <a:gd name="connsiteX184" fmla="*/ 6438900 w 8601075"/>
                  <a:gd name="connsiteY184" fmla="*/ 2819400 h 4333875"/>
                  <a:gd name="connsiteX185" fmla="*/ 6496050 w 8601075"/>
                  <a:gd name="connsiteY185" fmla="*/ 2762250 h 4333875"/>
                  <a:gd name="connsiteX186" fmla="*/ 6657975 w 8601075"/>
                  <a:gd name="connsiteY186" fmla="*/ 2752725 h 4333875"/>
                  <a:gd name="connsiteX187" fmla="*/ 6781800 w 8601075"/>
                  <a:gd name="connsiteY187" fmla="*/ 2838450 h 4333875"/>
                  <a:gd name="connsiteX188" fmla="*/ 7010400 w 8601075"/>
                  <a:gd name="connsiteY188" fmla="*/ 2838450 h 4333875"/>
                  <a:gd name="connsiteX189" fmla="*/ 7162800 w 8601075"/>
                  <a:gd name="connsiteY189" fmla="*/ 2705100 h 4333875"/>
                  <a:gd name="connsiteX190" fmla="*/ 7229475 w 8601075"/>
                  <a:gd name="connsiteY190" fmla="*/ 2590800 h 4333875"/>
                  <a:gd name="connsiteX191" fmla="*/ 7248525 w 8601075"/>
                  <a:gd name="connsiteY191" fmla="*/ 2524125 h 4333875"/>
                  <a:gd name="connsiteX192" fmla="*/ 7372350 w 8601075"/>
                  <a:gd name="connsiteY192" fmla="*/ 2543175 h 4333875"/>
                  <a:gd name="connsiteX193" fmla="*/ 7553325 w 8601075"/>
                  <a:gd name="connsiteY193" fmla="*/ 2447925 h 4333875"/>
                  <a:gd name="connsiteX194" fmla="*/ 7620000 w 8601075"/>
                  <a:gd name="connsiteY194" fmla="*/ 2324100 h 4333875"/>
                  <a:gd name="connsiteX195" fmla="*/ 7696200 w 8601075"/>
                  <a:gd name="connsiteY195" fmla="*/ 2314575 h 4333875"/>
                  <a:gd name="connsiteX196" fmla="*/ 7658100 w 8601075"/>
                  <a:gd name="connsiteY196" fmla="*/ 2257425 h 4333875"/>
                  <a:gd name="connsiteX197" fmla="*/ 7753350 w 8601075"/>
                  <a:gd name="connsiteY197" fmla="*/ 2057400 h 4333875"/>
                  <a:gd name="connsiteX198" fmla="*/ 7934325 w 8601075"/>
                  <a:gd name="connsiteY198" fmla="*/ 2028825 h 4333875"/>
                  <a:gd name="connsiteX199" fmla="*/ 7953375 w 8601075"/>
                  <a:gd name="connsiteY199" fmla="*/ 1952625 h 4333875"/>
                  <a:gd name="connsiteX200" fmla="*/ 7953375 w 8601075"/>
                  <a:gd name="connsiteY200" fmla="*/ 1952625 h 4333875"/>
                  <a:gd name="connsiteX201" fmla="*/ 8010525 w 8601075"/>
                  <a:gd name="connsiteY201" fmla="*/ 1895475 h 4333875"/>
                  <a:gd name="connsiteX202" fmla="*/ 8048625 w 8601075"/>
                  <a:gd name="connsiteY202" fmla="*/ 1971675 h 4333875"/>
                  <a:gd name="connsiteX203" fmla="*/ 8077200 w 8601075"/>
                  <a:gd name="connsiteY203" fmla="*/ 1885950 h 4333875"/>
                  <a:gd name="connsiteX204" fmla="*/ 8220075 w 8601075"/>
                  <a:gd name="connsiteY204" fmla="*/ 1847850 h 4333875"/>
                  <a:gd name="connsiteX205" fmla="*/ 8296275 w 8601075"/>
                  <a:gd name="connsiteY205" fmla="*/ 1809750 h 4333875"/>
                  <a:gd name="connsiteX206" fmla="*/ 8324850 w 8601075"/>
                  <a:gd name="connsiteY206" fmla="*/ 1790700 h 4333875"/>
                  <a:gd name="connsiteX207" fmla="*/ 8410575 w 8601075"/>
                  <a:gd name="connsiteY207" fmla="*/ 1847850 h 4333875"/>
                  <a:gd name="connsiteX208" fmla="*/ 8505825 w 8601075"/>
                  <a:gd name="connsiteY208" fmla="*/ 1781175 h 4333875"/>
                  <a:gd name="connsiteX209" fmla="*/ 8572500 w 8601075"/>
                  <a:gd name="connsiteY209" fmla="*/ 1809750 h 4333875"/>
                  <a:gd name="connsiteX210" fmla="*/ 8601075 w 8601075"/>
                  <a:gd name="connsiteY210" fmla="*/ 1704975 h 4333875"/>
                  <a:gd name="connsiteX211" fmla="*/ 8553450 w 8601075"/>
                  <a:gd name="connsiteY211" fmla="*/ 1676400 h 4333875"/>
                  <a:gd name="connsiteX212" fmla="*/ 8534400 w 8601075"/>
                  <a:gd name="connsiteY212" fmla="*/ 1609725 h 4333875"/>
                  <a:gd name="connsiteX213" fmla="*/ 8277225 w 8601075"/>
                  <a:gd name="connsiteY213" fmla="*/ 1409700 h 4333875"/>
                  <a:gd name="connsiteX214" fmla="*/ 8277225 w 8601075"/>
                  <a:gd name="connsiteY214" fmla="*/ 1409700 h 4333875"/>
                  <a:gd name="connsiteX215" fmla="*/ 8277225 w 8601075"/>
                  <a:gd name="connsiteY215" fmla="*/ 1409700 h 4333875"/>
                  <a:gd name="connsiteX216" fmla="*/ 8124825 w 8601075"/>
                  <a:gd name="connsiteY216" fmla="*/ 1352550 h 4333875"/>
                  <a:gd name="connsiteX217" fmla="*/ 7924800 w 8601075"/>
                  <a:gd name="connsiteY217" fmla="*/ 1362075 h 4333875"/>
                  <a:gd name="connsiteX218" fmla="*/ 7867650 w 8601075"/>
                  <a:gd name="connsiteY218" fmla="*/ 1457325 h 4333875"/>
                  <a:gd name="connsiteX219" fmla="*/ 7896225 w 8601075"/>
                  <a:gd name="connsiteY219" fmla="*/ 1476375 h 4333875"/>
                  <a:gd name="connsiteX220" fmla="*/ 7858125 w 8601075"/>
                  <a:gd name="connsiteY220" fmla="*/ 1533525 h 4333875"/>
                  <a:gd name="connsiteX221" fmla="*/ 7658100 w 8601075"/>
                  <a:gd name="connsiteY221" fmla="*/ 1447800 h 4333875"/>
                  <a:gd name="connsiteX222" fmla="*/ 7515225 w 8601075"/>
                  <a:gd name="connsiteY222" fmla="*/ 1495425 h 4333875"/>
                  <a:gd name="connsiteX223" fmla="*/ 7467600 w 8601075"/>
                  <a:gd name="connsiteY223" fmla="*/ 1581150 h 4333875"/>
                  <a:gd name="connsiteX224" fmla="*/ 7296150 w 8601075"/>
                  <a:gd name="connsiteY22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28675 w 8601075"/>
                  <a:gd name="connsiteY110" fmla="*/ 447675 h 4333875"/>
                  <a:gd name="connsiteX111" fmla="*/ 619125 w 8601075"/>
                  <a:gd name="connsiteY111" fmla="*/ 533400 h 4333875"/>
                  <a:gd name="connsiteX112" fmla="*/ 619125 w 8601075"/>
                  <a:gd name="connsiteY112" fmla="*/ 533400 h 4333875"/>
                  <a:gd name="connsiteX113" fmla="*/ 561975 w 8601075"/>
                  <a:gd name="connsiteY113" fmla="*/ 619125 h 4333875"/>
                  <a:gd name="connsiteX114" fmla="*/ 447675 w 8601075"/>
                  <a:gd name="connsiteY114" fmla="*/ 63817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295275 w 8601075"/>
                  <a:gd name="connsiteY117" fmla="*/ 657225 h 4333875"/>
                  <a:gd name="connsiteX118" fmla="*/ 180975 w 8601075"/>
                  <a:gd name="connsiteY118" fmla="*/ 638175 h 4333875"/>
                  <a:gd name="connsiteX119" fmla="*/ 180975 w 8601075"/>
                  <a:gd name="connsiteY119" fmla="*/ 638175 h 4333875"/>
                  <a:gd name="connsiteX120" fmla="*/ 57150 w 8601075"/>
                  <a:gd name="connsiteY120" fmla="*/ 733425 h 4333875"/>
                  <a:gd name="connsiteX121" fmla="*/ 19050 w 8601075"/>
                  <a:gd name="connsiteY121" fmla="*/ 790575 h 4333875"/>
                  <a:gd name="connsiteX122" fmla="*/ 0 w 8601075"/>
                  <a:gd name="connsiteY122" fmla="*/ 876300 h 4333875"/>
                  <a:gd name="connsiteX123" fmla="*/ 57150 w 8601075"/>
                  <a:gd name="connsiteY123" fmla="*/ 923925 h 4333875"/>
                  <a:gd name="connsiteX124" fmla="*/ 57150 w 8601075"/>
                  <a:gd name="connsiteY124" fmla="*/ 923925 h 4333875"/>
                  <a:gd name="connsiteX125" fmla="*/ 209550 w 8601075"/>
                  <a:gd name="connsiteY125" fmla="*/ 1114425 h 4333875"/>
                  <a:gd name="connsiteX126" fmla="*/ 209550 w 8601075"/>
                  <a:gd name="connsiteY126" fmla="*/ 1114425 h 4333875"/>
                  <a:gd name="connsiteX127" fmla="*/ 266700 w 8601075"/>
                  <a:gd name="connsiteY127" fmla="*/ 1295400 h 4333875"/>
                  <a:gd name="connsiteX128" fmla="*/ 409575 w 8601075"/>
                  <a:gd name="connsiteY128" fmla="*/ 1276350 h 4333875"/>
                  <a:gd name="connsiteX129" fmla="*/ 466725 w 8601075"/>
                  <a:gd name="connsiteY129" fmla="*/ 1362075 h 4333875"/>
                  <a:gd name="connsiteX130" fmla="*/ 542925 w 8601075"/>
                  <a:gd name="connsiteY130" fmla="*/ 1428750 h 4333875"/>
                  <a:gd name="connsiteX131" fmla="*/ 628650 w 8601075"/>
                  <a:gd name="connsiteY131" fmla="*/ 1571625 h 4333875"/>
                  <a:gd name="connsiteX132" fmla="*/ 628650 w 8601075"/>
                  <a:gd name="connsiteY132" fmla="*/ 1704975 h 4333875"/>
                  <a:gd name="connsiteX133" fmla="*/ 676275 w 8601075"/>
                  <a:gd name="connsiteY133" fmla="*/ 1771650 h 4333875"/>
                  <a:gd name="connsiteX134" fmla="*/ 657225 w 8601075"/>
                  <a:gd name="connsiteY134" fmla="*/ 2000250 h 4333875"/>
                  <a:gd name="connsiteX135" fmla="*/ 619125 w 8601075"/>
                  <a:gd name="connsiteY135" fmla="*/ 2095500 h 4333875"/>
                  <a:gd name="connsiteX136" fmla="*/ 542925 w 8601075"/>
                  <a:gd name="connsiteY136" fmla="*/ 2228850 h 4333875"/>
                  <a:gd name="connsiteX137" fmla="*/ 485775 w 8601075"/>
                  <a:gd name="connsiteY137" fmla="*/ 2362200 h 4333875"/>
                  <a:gd name="connsiteX138" fmla="*/ 552450 w 8601075"/>
                  <a:gd name="connsiteY138" fmla="*/ 2486025 h 4333875"/>
                  <a:gd name="connsiteX139" fmla="*/ 771525 w 8601075"/>
                  <a:gd name="connsiteY139" fmla="*/ 2571750 h 4333875"/>
                  <a:gd name="connsiteX140" fmla="*/ 866775 w 8601075"/>
                  <a:gd name="connsiteY140" fmla="*/ 2571750 h 4333875"/>
                  <a:gd name="connsiteX141" fmla="*/ 914400 w 8601075"/>
                  <a:gd name="connsiteY141" fmla="*/ 2638425 h 4333875"/>
                  <a:gd name="connsiteX142" fmla="*/ 1066800 w 8601075"/>
                  <a:gd name="connsiteY142" fmla="*/ 2638425 h 4333875"/>
                  <a:gd name="connsiteX143" fmla="*/ 1285875 w 8601075"/>
                  <a:gd name="connsiteY143" fmla="*/ 2705100 h 4333875"/>
                  <a:gd name="connsiteX144" fmla="*/ 1438275 w 8601075"/>
                  <a:gd name="connsiteY144" fmla="*/ 2838450 h 4333875"/>
                  <a:gd name="connsiteX145" fmla="*/ 1485900 w 8601075"/>
                  <a:gd name="connsiteY145" fmla="*/ 2914650 h 4333875"/>
                  <a:gd name="connsiteX146" fmla="*/ 1657350 w 8601075"/>
                  <a:gd name="connsiteY146" fmla="*/ 3038475 h 4333875"/>
                  <a:gd name="connsiteX147" fmla="*/ 1752600 w 8601075"/>
                  <a:gd name="connsiteY147" fmla="*/ 3057525 h 4333875"/>
                  <a:gd name="connsiteX148" fmla="*/ 1724025 w 8601075"/>
                  <a:gd name="connsiteY148" fmla="*/ 3143250 h 4333875"/>
                  <a:gd name="connsiteX149" fmla="*/ 1724025 w 8601075"/>
                  <a:gd name="connsiteY149" fmla="*/ 3143250 h 4333875"/>
                  <a:gd name="connsiteX150" fmla="*/ 1781175 w 8601075"/>
                  <a:gd name="connsiteY150" fmla="*/ 3181350 h 4333875"/>
                  <a:gd name="connsiteX151" fmla="*/ 1819275 w 8601075"/>
                  <a:gd name="connsiteY151" fmla="*/ 3362325 h 4333875"/>
                  <a:gd name="connsiteX152" fmla="*/ 1828800 w 8601075"/>
                  <a:gd name="connsiteY152" fmla="*/ 3457575 h 4333875"/>
                  <a:gd name="connsiteX153" fmla="*/ 1971675 w 8601075"/>
                  <a:gd name="connsiteY153" fmla="*/ 3590925 h 4333875"/>
                  <a:gd name="connsiteX154" fmla="*/ 1990725 w 8601075"/>
                  <a:gd name="connsiteY154" fmla="*/ 3714750 h 4333875"/>
                  <a:gd name="connsiteX155" fmla="*/ 2200275 w 8601075"/>
                  <a:gd name="connsiteY155" fmla="*/ 3695700 h 4333875"/>
                  <a:gd name="connsiteX156" fmla="*/ 2886075 w 8601075"/>
                  <a:gd name="connsiteY156" fmla="*/ 3886200 h 4333875"/>
                  <a:gd name="connsiteX157" fmla="*/ 3038475 w 8601075"/>
                  <a:gd name="connsiteY157" fmla="*/ 3819525 h 4333875"/>
                  <a:gd name="connsiteX158" fmla="*/ 3105150 w 8601075"/>
                  <a:gd name="connsiteY158" fmla="*/ 3867150 h 4333875"/>
                  <a:gd name="connsiteX159" fmla="*/ 3181350 w 8601075"/>
                  <a:gd name="connsiteY159" fmla="*/ 3800475 h 4333875"/>
                  <a:gd name="connsiteX160" fmla="*/ 3590925 w 8601075"/>
                  <a:gd name="connsiteY160" fmla="*/ 3943350 h 4333875"/>
                  <a:gd name="connsiteX161" fmla="*/ 3686175 w 8601075"/>
                  <a:gd name="connsiteY161" fmla="*/ 4057650 h 4333875"/>
                  <a:gd name="connsiteX162" fmla="*/ 3838575 w 8601075"/>
                  <a:gd name="connsiteY162" fmla="*/ 4057650 h 4333875"/>
                  <a:gd name="connsiteX163" fmla="*/ 4162425 w 8601075"/>
                  <a:gd name="connsiteY163" fmla="*/ 4248150 h 4333875"/>
                  <a:gd name="connsiteX164" fmla="*/ 4391025 w 8601075"/>
                  <a:gd name="connsiteY164" fmla="*/ 4200525 h 4333875"/>
                  <a:gd name="connsiteX165" fmla="*/ 4410075 w 8601075"/>
                  <a:gd name="connsiteY165" fmla="*/ 4305300 h 4333875"/>
                  <a:gd name="connsiteX166" fmla="*/ 4505325 w 8601075"/>
                  <a:gd name="connsiteY166" fmla="*/ 4276725 h 4333875"/>
                  <a:gd name="connsiteX167" fmla="*/ 4572000 w 8601075"/>
                  <a:gd name="connsiteY167" fmla="*/ 4333875 h 4333875"/>
                  <a:gd name="connsiteX168" fmla="*/ 4591050 w 8601075"/>
                  <a:gd name="connsiteY168" fmla="*/ 4248150 h 4333875"/>
                  <a:gd name="connsiteX169" fmla="*/ 5295900 w 8601075"/>
                  <a:gd name="connsiteY169" fmla="*/ 3924300 h 4333875"/>
                  <a:gd name="connsiteX170" fmla="*/ 5353050 w 8601075"/>
                  <a:gd name="connsiteY170" fmla="*/ 3990975 h 4333875"/>
                  <a:gd name="connsiteX171" fmla="*/ 5524500 w 8601075"/>
                  <a:gd name="connsiteY171" fmla="*/ 3914775 h 4333875"/>
                  <a:gd name="connsiteX172" fmla="*/ 5667375 w 8601075"/>
                  <a:gd name="connsiteY172" fmla="*/ 3962400 h 4333875"/>
                  <a:gd name="connsiteX173" fmla="*/ 5753100 w 8601075"/>
                  <a:gd name="connsiteY173" fmla="*/ 3924300 h 4333875"/>
                  <a:gd name="connsiteX174" fmla="*/ 5905500 w 8601075"/>
                  <a:gd name="connsiteY174" fmla="*/ 3943350 h 4333875"/>
                  <a:gd name="connsiteX175" fmla="*/ 6000750 w 8601075"/>
                  <a:gd name="connsiteY175" fmla="*/ 3800475 h 4333875"/>
                  <a:gd name="connsiteX176" fmla="*/ 6153150 w 8601075"/>
                  <a:gd name="connsiteY176" fmla="*/ 3781425 h 4333875"/>
                  <a:gd name="connsiteX177" fmla="*/ 6257925 w 8601075"/>
                  <a:gd name="connsiteY177" fmla="*/ 3581400 h 4333875"/>
                  <a:gd name="connsiteX178" fmla="*/ 6448425 w 8601075"/>
                  <a:gd name="connsiteY178" fmla="*/ 3448050 h 4333875"/>
                  <a:gd name="connsiteX179" fmla="*/ 6581775 w 8601075"/>
                  <a:gd name="connsiteY179" fmla="*/ 3276600 h 4333875"/>
                  <a:gd name="connsiteX180" fmla="*/ 6496050 w 8601075"/>
                  <a:gd name="connsiteY180" fmla="*/ 3228975 h 4333875"/>
                  <a:gd name="connsiteX181" fmla="*/ 6438900 w 8601075"/>
                  <a:gd name="connsiteY181" fmla="*/ 3162300 h 4333875"/>
                  <a:gd name="connsiteX182" fmla="*/ 6419850 w 8601075"/>
                  <a:gd name="connsiteY182" fmla="*/ 3105150 h 4333875"/>
                  <a:gd name="connsiteX183" fmla="*/ 6362700 w 8601075"/>
                  <a:gd name="connsiteY183" fmla="*/ 3076575 h 4333875"/>
                  <a:gd name="connsiteX184" fmla="*/ 6410325 w 8601075"/>
                  <a:gd name="connsiteY184" fmla="*/ 3019425 h 4333875"/>
                  <a:gd name="connsiteX185" fmla="*/ 6438900 w 8601075"/>
                  <a:gd name="connsiteY185" fmla="*/ 2819400 h 4333875"/>
                  <a:gd name="connsiteX186" fmla="*/ 6496050 w 8601075"/>
                  <a:gd name="connsiteY186" fmla="*/ 2762250 h 4333875"/>
                  <a:gd name="connsiteX187" fmla="*/ 6657975 w 8601075"/>
                  <a:gd name="connsiteY187" fmla="*/ 2752725 h 4333875"/>
                  <a:gd name="connsiteX188" fmla="*/ 6781800 w 8601075"/>
                  <a:gd name="connsiteY188" fmla="*/ 2838450 h 4333875"/>
                  <a:gd name="connsiteX189" fmla="*/ 7010400 w 8601075"/>
                  <a:gd name="connsiteY189" fmla="*/ 2838450 h 4333875"/>
                  <a:gd name="connsiteX190" fmla="*/ 7162800 w 8601075"/>
                  <a:gd name="connsiteY190" fmla="*/ 2705100 h 4333875"/>
                  <a:gd name="connsiteX191" fmla="*/ 7229475 w 8601075"/>
                  <a:gd name="connsiteY191" fmla="*/ 2590800 h 4333875"/>
                  <a:gd name="connsiteX192" fmla="*/ 7248525 w 8601075"/>
                  <a:gd name="connsiteY192" fmla="*/ 2524125 h 4333875"/>
                  <a:gd name="connsiteX193" fmla="*/ 7372350 w 8601075"/>
                  <a:gd name="connsiteY193" fmla="*/ 2543175 h 4333875"/>
                  <a:gd name="connsiteX194" fmla="*/ 7553325 w 8601075"/>
                  <a:gd name="connsiteY194" fmla="*/ 2447925 h 4333875"/>
                  <a:gd name="connsiteX195" fmla="*/ 7620000 w 8601075"/>
                  <a:gd name="connsiteY195" fmla="*/ 2324100 h 4333875"/>
                  <a:gd name="connsiteX196" fmla="*/ 7696200 w 8601075"/>
                  <a:gd name="connsiteY196" fmla="*/ 2314575 h 4333875"/>
                  <a:gd name="connsiteX197" fmla="*/ 7658100 w 8601075"/>
                  <a:gd name="connsiteY197" fmla="*/ 2257425 h 4333875"/>
                  <a:gd name="connsiteX198" fmla="*/ 7753350 w 8601075"/>
                  <a:gd name="connsiteY198" fmla="*/ 2057400 h 4333875"/>
                  <a:gd name="connsiteX199" fmla="*/ 7934325 w 8601075"/>
                  <a:gd name="connsiteY199" fmla="*/ 2028825 h 4333875"/>
                  <a:gd name="connsiteX200" fmla="*/ 7953375 w 8601075"/>
                  <a:gd name="connsiteY200" fmla="*/ 1952625 h 4333875"/>
                  <a:gd name="connsiteX201" fmla="*/ 7953375 w 8601075"/>
                  <a:gd name="connsiteY201" fmla="*/ 1952625 h 4333875"/>
                  <a:gd name="connsiteX202" fmla="*/ 8010525 w 8601075"/>
                  <a:gd name="connsiteY202" fmla="*/ 1895475 h 4333875"/>
                  <a:gd name="connsiteX203" fmla="*/ 8048625 w 8601075"/>
                  <a:gd name="connsiteY203" fmla="*/ 1971675 h 4333875"/>
                  <a:gd name="connsiteX204" fmla="*/ 8077200 w 8601075"/>
                  <a:gd name="connsiteY204" fmla="*/ 1885950 h 4333875"/>
                  <a:gd name="connsiteX205" fmla="*/ 8220075 w 8601075"/>
                  <a:gd name="connsiteY205" fmla="*/ 1847850 h 4333875"/>
                  <a:gd name="connsiteX206" fmla="*/ 8296275 w 8601075"/>
                  <a:gd name="connsiteY206" fmla="*/ 1809750 h 4333875"/>
                  <a:gd name="connsiteX207" fmla="*/ 8324850 w 8601075"/>
                  <a:gd name="connsiteY207" fmla="*/ 1790700 h 4333875"/>
                  <a:gd name="connsiteX208" fmla="*/ 8410575 w 8601075"/>
                  <a:gd name="connsiteY208" fmla="*/ 1847850 h 4333875"/>
                  <a:gd name="connsiteX209" fmla="*/ 8505825 w 8601075"/>
                  <a:gd name="connsiteY209" fmla="*/ 1781175 h 4333875"/>
                  <a:gd name="connsiteX210" fmla="*/ 8572500 w 8601075"/>
                  <a:gd name="connsiteY210" fmla="*/ 1809750 h 4333875"/>
                  <a:gd name="connsiteX211" fmla="*/ 8601075 w 8601075"/>
                  <a:gd name="connsiteY211" fmla="*/ 1704975 h 4333875"/>
                  <a:gd name="connsiteX212" fmla="*/ 8553450 w 8601075"/>
                  <a:gd name="connsiteY212" fmla="*/ 1676400 h 4333875"/>
                  <a:gd name="connsiteX213" fmla="*/ 8534400 w 8601075"/>
                  <a:gd name="connsiteY213" fmla="*/ 1609725 h 4333875"/>
                  <a:gd name="connsiteX214" fmla="*/ 8277225 w 8601075"/>
                  <a:gd name="connsiteY214" fmla="*/ 1409700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124825 w 8601075"/>
                  <a:gd name="connsiteY217" fmla="*/ 1352550 h 4333875"/>
                  <a:gd name="connsiteX218" fmla="*/ 7924800 w 8601075"/>
                  <a:gd name="connsiteY218" fmla="*/ 1362075 h 4333875"/>
                  <a:gd name="connsiteX219" fmla="*/ 7867650 w 8601075"/>
                  <a:gd name="connsiteY219" fmla="*/ 1457325 h 4333875"/>
                  <a:gd name="connsiteX220" fmla="*/ 7896225 w 8601075"/>
                  <a:gd name="connsiteY220" fmla="*/ 1476375 h 4333875"/>
                  <a:gd name="connsiteX221" fmla="*/ 7858125 w 8601075"/>
                  <a:gd name="connsiteY221" fmla="*/ 1533525 h 4333875"/>
                  <a:gd name="connsiteX222" fmla="*/ 7658100 w 8601075"/>
                  <a:gd name="connsiteY222" fmla="*/ 1447800 h 4333875"/>
                  <a:gd name="connsiteX223" fmla="*/ 7515225 w 8601075"/>
                  <a:gd name="connsiteY223" fmla="*/ 1495425 h 4333875"/>
                  <a:gd name="connsiteX224" fmla="*/ 7467600 w 8601075"/>
                  <a:gd name="connsiteY224" fmla="*/ 1581150 h 4333875"/>
                  <a:gd name="connsiteX225" fmla="*/ 7296150 w 8601075"/>
                  <a:gd name="connsiteY22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1063 w 8601075"/>
                  <a:gd name="connsiteY110" fmla="*/ 457200 h 4333875"/>
                  <a:gd name="connsiteX111" fmla="*/ 828675 w 8601075"/>
                  <a:gd name="connsiteY111" fmla="*/ 447675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1063 w 8601075"/>
                  <a:gd name="connsiteY110" fmla="*/ 457200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76275 w 8601075"/>
                  <a:gd name="connsiteY113" fmla="*/ 51435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571500 w 8601075"/>
                  <a:gd name="connsiteY113" fmla="*/ 545306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73894 w 8601075"/>
                  <a:gd name="connsiteY112" fmla="*/ 523875 h 4333875"/>
                  <a:gd name="connsiteX113" fmla="*/ 571500 w 8601075"/>
                  <a:gd name="connsiteY113" fmla="*/ 545306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673894 w 8601075"/>
                  <a:gd name="connsiteY113" fmla="*/ 523875 h 4333875"/>
                  <a:gd name="connsiteX114" fmla="*/ 571500 w 8601075"/>
                  <a:gd name="connsiteY114" fmla="*/ 545306 h 4333875"/>
                  <a:gd name="connsiteX115" fmla="*/ 561975 w 8601075"/>
                  <a:gd name="connsiteY115" fmla="*/ 61912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295275 w 8601075"/>
                  <a:gd name="connsiteY119" fmla="*/ 657225 h 4333875"/>
                  <a:gd name="connsiteX120" fmla="*/ 180975 w 8601075"/>
                  <a:gd name="connsiteY120" fmla="*/ 638175 h 4333875"/>
                  <a:gd name="connsiteX121" fmla="*/ 180975 w 8601075"/>
                  <a:gd name="connsiteY121" fmla="*/ 638175 h 4333875"/>
                  <a:gd name="connsiteX122" fmla="*/ 57150 w 8601075"/>
                  <a:gd name="connsiteY122" fmla="*/ 733425 h 4333875"/>
                  <a:gd name="connsiteX123" fmla="*/ 19050 w 8601075"/>
                  <a:gd name="connsiteY123" fmla="*/ 790575 h 4333875"/>
                  <a:gd name="connsiteX124" fmla="*/ 0 w 8601075"/>
                  <a:gd name="connsiteY124" fmla="*/ 876300 h 4333875"/>
                  <a:gd name="connsiteX125" fmla="*/ 57150 w 8601075"/>
                  <a:gd name="connsiteY125" fmla="*/ 923925 h 4333875"/>
                  <a:gd name="connsiteX126" fmla="*/ 57150 w 8601075"/>
                  <a:gd name="connsiteY126" fmla="*/ 923925 h 4333875"/>
                  <a:gd name="connsiteX127" fmla="*/ 209550 w 8601075"/>
                  <a:gd name="connsiteY127" fmla="*/ 1114425 h 4333875"/>
                  <a:gd name="connsiteX128" fmla="*/ 209550 w 8601075"/>
                  <a:gd name="connsiteY128" fmla="*/ 1114425 h 4333875"/>
                  <a:gd name="connsiteX129" fmla="*/ 266700 w 8601075"/>
                  <a:gd name="connsiteY129" fmla="*/ 1295400 h 4333875"/>
                  <a:gd name="connsiteX130" fmla="*/ 409575 w 8601075"/>
                  <a:gd name="connsiteY130" fmla="*/ 1276350 h 4333875"/>
                  <a:gd name="connsiteX131" fmla="*/ 466725 w 8601075"/>
                  <a:gd name="connsiteY131" fmla="*/ 1362075 h 4333875"/>
                  <a:gd name="connsiteX132" fmla="*/ 542925 w 8601075"/>
                  <a:gd name="connsiteY132" fmla="*/ 1428750 h 4333875"/>
                  <a:gd name="connsiteX133" fmla="*/ 628650 w 8601075"/>
                  <a:gd name="connsiteY133" fmla="*/ 1571625 h 4333875"/>
                  <a:gd name="connsiteX134" fmla="*/ 628650 w 8601075"/>
                  <a:gd name="connsiteY134" fmla="*/ 1704975 h 4333875"/>
                  <a:gd name="connsiteX135" fmla="*/ 676275 w 8601075"/>
                  <a:gd name="connsiteY135" fmla="*/ 1771650 h 4333875"/>
                  <a:gd name="connsiteX136" fmla="*/ 657225 w 8601075"/>
                  <a:gd name="connsiteY136" fmla="*/ 2000250 h 4333875"/>
                  <a:gd name="connsiteX137" fmla="*/ 619125 w 8601075"/>
                  <a:gd name="connsiteY137" fmla="*/ 2095500 h 4333875"/>
                  <a:gd name="connsiteX138" fmla="*/ 542925 w 8601075"/>
                  <a:gd name="connsiteY138" fmla="*/ 2228850 h 4333875"/>
                  <a:gd name="connsiteX139" fmla="*/ 485775 w 8601075"/>
                  <a:gd name="connsiteY139" fmla="*/ 2362200 h 4333875"/>
                  <a:gd name="connsiteX140" fmla="*/ 552450 w 8601075"/>
                  <a:gd name="connsiteY140" fmla="*/ 2486025 h 4333875"/>
                  <a:gd name="connsiteX141" fmla="*/ 771525 w 8601075"/>
                  <a:gd name="connsiteY141" fmla="*/ 2571750 h 4333875"/>
                  <a:gd name="connsiteX142" fmla="*/ 866775 w 8601075"/>
                  <a:gd name="connsiteY142" fmla="*/ 2571750 h 4333875"/>
                  <a:gd name="connsiteX143" fmla="*/ 914400 w 8601075"/>
                  <a:gd name="connsiteY143" fmla="*/ 2638425 h 4333875"/>
                  <a:gd name="connsiteX144" fmla="*/ 1066800 w 8601075"/>
                  <a:gd name="connsiteY144" fmla="*/ 2638425 h 4333875"/>
                  <a:gd name="connsiteX145" fmla="*/ 1285875 w 8601075"/>
                  <a:gd name="connsiteY145" fmla="*/ 2705100 h 4333875"/>
                  <a:gd name="connsiteX146" fmla="*/ 1438275 w 8601075"/>
                  <a:gd name="connsiteY146" fmla="*/ 2838450 h 4333875"/>
                  <a:gd name="connsiteX147" fmla="*/ 1485900 w 8601075"/>
                  <a:gd name="connsiteY147" fmla="*/ 2914650 h 4333875"/>
                  <a:gd name="connsiteX148" fmla="*/ 1657350 w 8601075"/>
                  <a:gd name="connsiteY148" fmla="*/ 3038475 h 4333875"/>
                  <a:gd name="connsiteX149" fmla="*/ 1752600 w 8601075"/>
                  <a:gd name="connsiteY149" fmla="*/ 3057525 h 4333875"/>
                  <a:gd name="connsiteX150" fmla="*/ 1724025 w 8601075"/>
                  <a:gd name="connsiteY150" fmla="*/ 3143250 h 4333875"/>
                  <a:gd name="connsiteX151" fmla="*/ 1724025 w 8601075"/>
                  <a:gd name="connsiteY151" fmla="*/ 3143250 h 4333875"/>
                  <a:gd name="connsiteX152" fmla="*/ 1781175 w 8601075"/>
                  <a:gd name="connsiteY152" fmla="*/ 3181350 h 4333875"/>
                  <a:gd name="connsiteX153" fmla="*/ 1819275 w 8601075"/>
                  <a:gd name="connsiteY153" fmla="*/ 3362325 h 4333875"/>
                  <a:gd name="connsiteX154" fmla="*/ 1828800 w 8601075"/>
                  <a:gd name="connsiteY154" fmla="*/ 3457575 h 4333875"/>
                  <a:gd name="connsiteX155" fmla="*/ 1971675 w 8601075"/>
                  <a:gd name="connsiteY155" fmla="*/ 3590925 h 4333875"/>
                  <a:gd name="connsiteX156" fmla="*/ 1990725 w 8601075"/>
                  <a:gd name="connsiteY156" fmla="*/ 3714750 h 4333875"/>
                  <a:gd name="connsiteX157" fmla="*/ 2200275 w 8601075"/>
                  <a:gd name="connsiteY157" fmla="*/ 3695700 h 4333875"/>
                  <a:gd name="connsiteX158" fmla="*/ 2886075 w 8601075"/>
                  <a:gd name="connsiteY158" fmla="*/ 3886200 h 4333875"/>
                  <a:gd name="connsiteX159" fmla="*/ 3038475 w 8601075"/>
                  <a:gd name="connsiteY159" fmla="*/ 3819525 h 4333875"/>
                  <a:gd name="connsiteX160" fmla="*/ 3105150 w 8601075"/>
                  <a:gd name="connsiteY160" fmla="*/ 3867150 h 4333875"/>
                  <a:gd name="connsiteX161" fmla="*/ 3181350 w 8601075"/>
                  <a:gd name="connsiteY161" fmla="*/ 3800475 h 4333875"/>
                  <a:gd name="connsiteX162" fmla="*/ 3590925 w 8601075"/>
                  <a:gd name="connsiteY162" fmla="*/ 3943350 h 4333875"/>
                  <a:gd name="connsiteX163" fmla="*/ 3686175 w 8601075"/>
                  <a:gd name="connsiteY163" fmla="*/ 4057650 h 4333875"/>
                  <a:gd name="connsiteX164" fmla="*/ 3838575 w 8601075"/>
                  <a:gd name="connsiteY164" fmla="*/ 4057650 h 4333875"/>
                  <a:gd name="connsiteX165" fmla="*/ 4162425 w 8601075"/>
                  <a:gd name="connsiteY165" fmla="*/ 4248150 h 4333875"/>
                  <a:gd name="connsiteX166" fmla="*/ 4391025 w 8601075"/>
                  <a:gd name="connsiteY166" fmla="*/ 4200525 h 4333875"/>
                  <a:gd name="connsiteX167" fmla="*/ 4410075 w 8601075"/>
                  <a:gd name="connsiteY167" fmla="*/ 4305300 h 4333875"/>
                  <a:gd name="connsiteX168" fmla="*/ 4505325 w 8601075"/>
                  <a:gd name="connsiteY168" fmla="*/ 4276725 h 4333875"/>
                  <a:gd name="connsiteX169" fmla="*/ 4572000 w 8601075"/>
                  <a:gd name="connsiteY169" fmla="*/ 4333875 h 4333875"/>
                  <a:gd name="connsiteX170" fmla="*/ 4591050 w 8601075"/>
                  <a:gd name="connsiteY170" fmla="*/ 4248150 h 4333875"/>
                  <a:gd name="connsiteX171" fmla="*/ 5295900 w 8601075"/>
                  <a:gd name="connsiteY171" fmla="*/ 3924300 h 4333875"/>
                  <a:gd name="connsiteX172" fmla="*/ 5353050 w 8601075"/>
                  <a:gd name="connsiteY172" fmla="*/ 3990975 h 4333875"/>
                  <a:gd name="connsiteX173" fmla="*/ 5524500 w 8601075"/>
                  <a:gd name="connsiteY173" fmla="*/ 3914775 h 4333875"/>
                  <a:gd name="connsiteX174" fmla="*/ 5667375 w 8601075"/>
                  <a:gd name="connsiteY174" fmla="*/ 3962400 h 4333875"/>
                  <a:gd name="connsiteX175" fmla="*/ 5753100 w 8601075"/>
                  <a:gd name="connsiteY175" fmla="*/ 3924300 h 4333875"/>
                  <a:gd name="connsiteX176" fmla="*/ 5905500 w 8601075"/>
                  <a:gd name="connsiteY176" fmla="*/ 3943350 h 4333875"/>
                  <a:gd name="connsiteX177" fmla="*/ 6000750 w 8601075"/>
                  <a:gd name="connsiteY177" fmla="*/ 3800475 h 4333875"/>
                  <a:gd name="connsiteX178" fmla="*/ 6153150 w 8601075"/>
                  <a:gd name="connsiteY178" fmla="*/ 3781425 h 4333875"/>
                  <a:gd name="connsiteX179" fmla="*/ 6257925 w 8601075"/>
                  <a:gd name="connsiteY179" fmla="*/ 3581400 h 4333875"/>
                  <a:gd name="connsiteX180" fmla="*/ 6448425 w 8601075"/>
                  <a:gd name="connsiteY180" fmla="*/ 3448050 h 4333875"/>
                  <a:gd name="connsiteX181" fmla="*/ 6581775 w 8601075"/>
                  <a:gd name="connsiteY181" fmla="*/ 3276600 h 4333875"/>
                  <a:gd name="connsiteX182" fmla="*/ 6496050 w 8601075"/>
                  <a:gd name="connsiteY182" fmla="*/ 3228975 h 4333875"/>
                  <a:gd name="connsiteX183" fmla="*/ 6438900 w 8601075"/>
                  <a:gd name="connsiteY183" fmla="*/ 3162300 h 4333875"/>
                  <a:gd name="connsiteX184" fmla="*/ 6419850 w 8601075"/>
                  <a:gd name="connsiteY184" fmla="*/ 3105150 h 4333875"/>
                  <a:gd name="connsiteX185" fmla="*/ 6362700 w 8601075"/>
                  <a:gd name="connsiteY185" fmla="*/ 3076575 h 4333875"/>
                  <a:gd name="connsiteX186" fmla="*/ 6410325 w 8601075"/>
                  <a:gd name="connsiteY186" fmla="*/ 3019425 h 4333875"/>
                  <a:gd name="connsiteX187" fmla="*/ 6438900 w 8601075"/>
                  <a:gd name="connsiteY187" fmla="*/ 2819400 h 4333875"/>
                  <a:gd name="connsiteX188" fmla="*/ 6496050 w 8601075"/>
                  <a:gd name="connsiteY188" fmla="*/ 2762250 h 4333875"/>
                  <a:gd name="connsiteX189" fmla="*/ 6657975 w 8601075"/>
                  <a:gd name="connsiteY189" fmla="*/ 2752725 h 4333875"/>
                  <a:gd name="connsiteX190" fmla="*/ 6781800 w 8601075"/>
                  <a:gd name="connsiteY190" fmla="*/ 2838450 h 4333875"/>
                  <a:gd name="connsiteX191" fmla="*/ 7010400 w 8601075"/>
                  <a:gd name="connsiteY191" fmla="*/ 2838450 h 4333875"/>
                  <a:gd name="connsiteX192" fmla="*/ 7162800 w 8601075"/>
                  <a:gd name="connsiteY192" fmla="*/ 2705100 h 4333875"/>
                  <a:gd name="connsiteX193" fmla="*/ 7229475 w 8601075"/>
                  <a:gd name="connsiteY193" fmla="*/ 2590800 h 4333875"/>
                  <a:gd name="connsiteX194" fmla="*/ 7248525 w 8601075"/>
                  <a:gd name="connsiteY194" fmla="*/ 2524125 h 4333875"/>
                  <a:gd name="connsiteX195" fmla="*/ 7372350 w 8601075"/>
                  <a:gd name="connsiteY195" fmla="*/ 2543175 h 4333875"/>
                  <a:gd name="connsiteX196" fmla="*/ 7553325 w 8601075"/>
                  <a:gd name="connsiteY196" fmla="*/ 2447925 h 4333875"/>
                  <a:gd name="connsiteX197" fmla="*/ 7620000 w 8601075"/>
                  <a:gd name="connsiteY197" fmla="*/ 2324100 h 4333875"/>
                  <a:gd name="connsiteX198" fmla="*/ 7696200 w 8601075"/>
                  <a:gd name="connsiteY198" fmla="*/ 2314575 h 4333875"/>
                  <a:gd name="connsiteX199" fmla="*/ 7658100 w 8601075"/>
                  <a:gd name="connsiteY199" fmla="*/ 2257425 h 4333875"/>
                  <a:gd name="connsiteX200" fmla="*/ 7753350 w 8601075"/>
                  <a:gd name="connsiteY200" fmla="*/ 2057400 h 4333875"/>
                  <a:gd name="connsiteX201" fmla="*/ 7934325 w 8601075"/>
                  <a:gd name="connsiteY201" fmla="*/ 2028825 h 4333875"/>
                  <a:gd name="connsiteX202" fmla="*/ 7953375 w 8601075"/>
                  <a:gd name="connsiteY202" fmla="*/ 1952625 h 4333875"/>
                  <a:gd name="connsiteX203" fmla="*/ 7953375 w 8601075"/>
                  <a:gd name="connsiteY203" fmla="*/ 1952625 h 4333875"/>
                  <a:gd name="connsiteX204" fmla="*/ 8010525 w 8601075"/>
                  <a:gd name="connsiteY204" fmla="*/ 1895475 h 4333875"/>
                  <a:gd name="connsiteX205" fmla="*/ 8048625 w 8601075"/>
                  <a:gd name="connsiteY205" fmla="*/ 1971675 h 4333875"/>
                  <a:gd name="connsiteX206" fmla="*/ 8077200 w 8601075"/>
                  <a:gd name="connsiteY206" fmla="*/ 1885950 h 4333875"/>
                  <a:gd name="connsiteX207" fmla="*/ 8220075 w 8601075"/>
                  <a:gd name="connsiteY207" fmla="*/ 1847850 h 4333875"/>
                  <a:gd name="connsiteX208" fmla="*/ 8296275 w 8601075"/>
                  <a:gd name="connsiteY208" fmla="*/ 1809750 h 4333875"/>
                  <a:gd name="connsiteX209" fmla="*/ 8324850 w 8601075"/>
                  <a:gd name="connsiteY209" fmla="*/ 1790700 h 4333875"/>
                  <a:gd name="connsiteX210" fmla="*/ 8410575 w 8601075"/>
                  <a:gd name="connsiteY210" fmla="*/ 1847850 h 4333875"/>
                  <a:gd name="connsiteX211" fmla="*/ 8505825 w 8601075"/>
                  <a:gd name="connsiteY211" fmla="*/ 1781175 h 4333875"/>
                  <a:gd name="connsiteX212" fmla="*/ 8572500 w 8601075"/>
                  <a:gd name="connsiteY212" fmla="*/ 1809750 h 4333875"/>
                  <a:gd name="connsiteX213" fmla="*/ 8601075 w 8601075"/>
                  <a:gd name="connsiteY213" fmla="*/ 1704975 h 4333875"/>
                  <a:gd name="connsiteX214" fmla="*/ 8553450 w 8601075"/>
                  <a:gd name="connsiteY214" fmla="*/ 1676400 h 4333875"/>
                  <a:gd name="connsiteX215" fmla="*/ 8534400 w 8601075"/>
                  <a:gd name="connsiteY215" fmla="*/ 1609725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124825 w 8601075"/>
                  <a:gd name="connsiteY219" fmla="*/ 1352550 h 4333875"/>
                  <a:gd name="connsiteX220" fmla="*/ 7924800 w 8601075"/>
                  <a:gd name="connsiteY220" fmla="*/ 1362075 h 4333875"/>
                  <a:gd name="connsiteX221" fmla="*/ 7867650 w 8601075"/>
                  <a:gd name="connsiteY221" fmla="*/ 1457325 h 4333875"/>
                  <a:gd name="connsiteX222" fmla="*/ 7896225 w 8601075"/>
                  <a:gd name="connsiteY222" fmla="*/ 1476375 h 4333875"/>
                  <a:gd name="connsiteX223" fmla="*/ 7858125 w 8601075"/>
                  <a:gd name="connsiteY223" fmla="*/ 1533525 h 4333875"/>
                  <a:gd name="connsiteX224" fmla="*/ 7658100 w 8601075"/>
                  <a:gd name="connsiteY224" fmla="*/ 1447800 h 4333875"/>
                  <a:gd name="connsiteX225" fmla="*/ 7515225 w 8601075"/>
                  <a:gd name="connsiteY225" fmla="*/ 1495425 h 4333875"/>
                  <a:gd name="connsiteX226" fmla="*/ 7467600 w 8601075"/>
                  <a:gd name="connsiteY226" fmla="*/ 1581150 h 4333875"/>
                  <a:gd name="connsiteX227" fmla="*/ 7296150 w 8601075"/>
                  <a:gd name="connsiteY22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1500 w 8601075"/>
                  <a:gd name="connsiteY115" fmla="*/ 545306 h 4333875"/>
                  <a:gd name="connsiteX116" fmla="*/ 561975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1975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83406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83406 w 8601075"/>
                  <a:gd name="connsiteY117" fmla="*/ 61912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7675 w 8601075"/>
                  <a:gd name="connsiteY120" fmla="*/ 638175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7675 w 8601075"/>
                  <a:gd name="connsiteY120" fmla="*/ 638175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76250 w 8601075"/>
                  <a:gd name="connsiteY119" fmla="*/ 664368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76250 w 8601075"/>
                  <a:gd name="connsiteY119" fmla="*/ 664368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295275 w 8601075"/>
                  <a:gd name="connsiteY122" fmla="*/ 657225 h 4333875"/>
                  <a:gd name="connsiteX123" fmla="*/ 180975 w 8601075"/>
                  <a:gd name="connsiteY123" fmla="*/ 638175 h 4333875"/>
                  <a:gd name="connsiteX124" fmla="*/ 180975 w 8601075"/>
                  <a:gd name="connsiteY124" fmla="*/ 638175 h 4333875"/>
                  <a:gd name="connsiteX125" fmla="*/ 57150 w 8601075"/>
                  <a:gd name="connsiteY125" fmla="*/ 733425 h 4333875"/>
                  <a:gd name="connsiteX126" fmla="*/ 19050 w 8601075"/>
                  <a:gd name="connsiteY126" fmla="*/ 790575 h 4333875"/>
                  <a:gd name="connsiteX127" fmla="*/ 0 w 8601075"/>
                  <a:gd name="connsiteY127" fmla="*/ 876300 h 4333875"/>
                  <a:gd name="connsiteX128" fmla="*/ 57150 w 8601075"/>
                  <a:gd name="connsiteY128" fmla="*/ 923925 h 4333875"/>
                  <a:gd name="connsiteX129" fmla="*/ 57150 w 8601075"/>
                  <a:gd name="connsiteY129" fmla="*/ 923925 h 4333875"/>
                  <a:gd name="connsiteX130" fmla="*/ 209550 w 8601075"/>
                  <a:gd name="connsiteY130" fmla="*/ 1114425 h 4333875"/>
                  <a:gd name="connsiteX131" fmla="*/ 209550 w 8601075"/>
                  <a:gd name="connsiteY131" fmla="*/ 1114425 h 4333875"/>
                  <a:gd name="connsiteX132" fmla="*/ 266700 w 8601075"/>
                  <a:gd name="connsiteY132" fmla="*/ 1295400 h 4333875"/>
                  <a:gd name="connsiteX133" fmla="*/ 409575 w 8601075"/>
                  <a:gd name="connsiteY133" fmla="*/ 1276350 h 4333875"/>
                  <a:gd name="connsiteX134" fmla="*/ 466725 w 8601075"/>
                  <a:gd name="connsiteY134" fmla="*/ 1362075 h 4333875"/>
                  <a:gd name="connsiteX135" fmla="*/ 542925 w 8601075"/>
                  <a:gd name="connsiteY135" fmla="*/ 1428750 h 4333875"/>
                  <a:gd name="connsiteX136" fmla="*/ 628650 w 8601075"/>
                  <a:gd name="connsiteY136" fmla="*/ 1571625 h 4333875"/>
                  <a:gd name="connsiteX137" fmla="*/ 628650 w 8601075"/>
                  <a:gd name="connsiteY137" fmla="*/ 1704975 h 4333875"/>
                  <a:gd name="connsiteX138" fmla="*/ 676275 w 8601075"/>
                  <a:gd name="connsiteY138" fmla="*/ 1771650 h 4333875"/>
                  <a:gd name="connsiteX139" fmla="*/ 657225 w 8601075"/>
                  <a:gd name="connsiteY139" fmla="*/ 2000250 h 4333875"/>
                  <a:gd name="connsiteX140" fmla="*/ 619125 w 8601075"/>
                  <a:gd name="connsiteY140" fmla="*/ 2095500 h 4333875"/>
                  <a:gd name="connsiteX141" fmla="*/ 542925 w 8601075"/>
                  <a:gd name="connsiteY141" fmla="*/ 2228850 h 4333875"/>
                  <a:gd name="connsiteX142" fmla="*/ 485775 w 8601075"/>
                  <a:gd name="connsiteY142" fmla="*/ 2362200 h 4333875"/>
                  <a:gd name="connsiteX143" fmla="*/ 552450 w 8601075"/>
                  <a:gd name="connsiteY143" fmla="*/ 2486025 h 4333875"/>
                  <a:gd name="connsiteX144" fmla="*/ 771525 w 8601075"/>
                  <a:gd name="connsiteY144" fmla="*/ 2571750 h 4333875"/>
                  <a:gd name="connsiteX145" fmla="*/ 866775 w 8601075"/>
                  <a:gd name="connsiteY145" fmla="*/ 2571750 h 4333875"/>
                  <a:gd name="connsiteX146" fmla="*/ 914400 w 8601075"/>
                  <a:gd name="connsiteY146" fmla="*/ 2638425 h 4333875"/>
                  <a:gd name="connsiteX147" fmla="*/ 1066800 w 8601075"/>
                  <a:gd name="connsiteY147" fmla="*/ 2638425 h 4333875"/>
                  <a:gd name="connsiteX148" fmla="*/ 1285875 w 8601075"/>
                  <a:gd name="connsiteY148" fmla="*/ 2705100 h 4333875"/>
                  <a:gd name="connsiteX149" fmla="*/ 1438275 w 8601075"/>
                  <a:gd name="connsiteY149" fmla="*/ 2838450 h 4333875"/>
                  <a:gd name="connsiteX150" fmla="*/ 1485900 w 8601075"/>
                  <a:gd name="connsiteY150" fmla="*/ 2914650 h 4333875"/>
                  <a:gd name="connsiteX151" fmla="*/ 1657350 w 8601075"/>
                  <a:gd name="connsiteY151" fmla="*/ 3038475 h 4333875"/>
                  <a:gd name="connsiteX152" fmla="*/ 1752600 w 8601075"/>
                  <a:gd name="connsiteY152" fmla="*/ 3057525 h 4333875"/>
                  <a:gd name="connsiteX153" fmla="*/ 1724025 w 8601075"/>
                  <a:gd name="connsiteY153" fmla="*/ 3143250 h 4333875"/>
                  <a:gd name="connsiteX154" fmla="*/ 1724025 w 8601075"/>
                  <a:gd name="connsiteY154" fmla="*/ 3143250 h 4333875"/>
                  <a:gd name="connsiteX155" fmla="*/ 1781175 w 8601075"/>
                  <a:gd name="connsiteY155" fmla="*/ 3181350 h 4333875"/>
                  <a:gd name="connsiteX156" fmla="*/ 1819275 w 8601075"/>
                  <a:gd name="connsiteY156" fmla="*/ 3362325 h 4333875"/>
                  <a:gd name="connsiteX157" fmla="*/ 1828800 w 8601075"/>
                  <a:gd name="connsiteY157" fmla="*/ 3457575 h 4333875"/>
                  <a:gd name="connsiteX158" fmla="*/ 1971675 w 8601075"/>
                  <a:gd name="connsiteY158" fmla="*/ 3590925 h 4333875"/>
                  <a:gd name="connsiteX159" fmla="*/ 1990725 w 8601075"/>
                  <a:gd name="connsiteY159" fmla="*/ 3714750 h 4333875"/>
                  <a:gd name="connsiteX160" fmla="*/ 2200275 w 8601075"/>
                  <a:gd name="connsiteY160" fmla="*/ 3695700 h 4333875"/>
                  <a:gd name="connsiteX161" fmla="*/ 2886075 w 8601075"/>
                  <a:gd name="connsiteY161" fmla="*/ 3886200 h 4333875"/>
                  <a:gd name="connsiteX162" fmla="*/ 3038475 w 8601075"/>
                  <a:gd name="connsiteY162" fmla="*/ 3819525 h 4333875"/>
                  <a:gd name="connsiteX163" fmla="*/ 3105150 w 8601075"/>
                  <a:gd name="connsiteY163" fmla="*/ 3867150 h 4333875"/>
                  <a:gd name="connsiteX164" fmla="*/ 3181350 w 8601075"/>
                  <a:gd name="connsiteY164" fmla="*/ 3800475 h 4333875"/>
                  <a:gd name="connsiteX165" fmla="*/ 3590925 w 8601075"/>
                  <a:gd name="connsiteY165" fmla="*/ 3943350 h 4333875"/>
                  <a:gd name="connsiteX166" fmla="*/ 3686175 w 8601075"/>
                  <a:gd name="connsiteY166" fmla="*/ 4057650 h 4333875"/>
                  <a:gd name="connsiteX167" fmla="*/ 3838575 w 8601075"/>
                  <a:gd name="connsiteY167" fmla="*/ 4057650 h 4333875"/>
                  <a:gd name="connsiteX168" fmla="*/ 4162425 w 8601075"/>
                  <a:gd name="connsiteY168" fmla="*/ 4248150 h 4333875"/>
                  <a:gd name="connsiteX169" fmla="*/ 4391025 w 8601075"/>
                  <a:gd name="connsiteY169" fmla="*/ 4200525 h 4333875"/>
                  <a:gd name="connsiteX170" fmla="*/ 4410075 w 8601075"/>
                  <a:gd name="connsiteY170" fmla="*/ 4305300 h 4333875"/>
                  <a:gd name="connsiteX171" fmla="*/ 4505325 w 8601075"/>
                  <a:gd name="connsiteY171" fmla="*/ 4276725 h 4333875"/>
                  <a:gd name="connsiteX172" fmla="*/ 4572000 w 8601075"/>
                  <a:gd name="connsiteY172" fmla="*/ 4333875 h 4333875"/>
                  <a:gd name="connsiteX173" fmla="*/ 4591050 w 8601075"/>
                  <a:gd name="connsiteY173" fmla="*/ 4248150 h 4333875"/>
                  <a:gd name="connsiteX174" fmla="*/ 5295900 w 8601075"/>
                  <a:gd name="connsiteY174" fmla="*/ 3924300 h 4333875"/>
                  <a:gd name="connsiteX175" fmla="*/ 5353050 w 8601075"/>
                  <a:gd name="connsiteY175" fmla="*/ 3990975 h 4333875"/>
                  <a:gd name="connsiteX176" fmla="*/ 5524500 w 8601075"/>
                  <a:gd name="connsiteY176" fmla="*/ 3914775 h 4333875"/>
                  <a:gd name="connsiteX177" fmla="*/ 5667375 w 8601075"/>
                  <a:gd name="connsiteY177" fmla="*/ 3962400 h 4333875"/>
                  <a:gd name="connsiteX178" fmla="*/ 5753100 w 8601075"/>
                  <a:gd name="connsiteY178" fmla="*/ 3924300 h 4333875"/>
                  <a:gd name="connsiteX179" fmla="*/ 5905500 w 8601075"/>
                  <a:gd name="connsiteY179" fmla="*/ 3943350 h 4333875"/>
                  <a:gd name="connsiteX180" fmla="*/ 6000750 w 8601075"/>
                  <a:gd name="connsiteY180" fmla="*/ 3800475 h 4333875"/>
                  <a:gd name="connsiteX181" fmla="*/ 6153150 w 8601075"/>
                  <a:gd name="connsiteY181" fmla="*/ 3781425 h 4333875"/>
                  <a:gd name="connsiteX182" fmla="*/ 6257925 w 8601075"/>
                  <a:gd name="connsiteY182" fmla="*/ 3581400 h 4333875"/>
                  <a:gd name="connsiteX183" fmla="*/ 6448425 w 8601075"/>
                  <a:gd name="connsiteY183" fmla="*/ 3448050 h 4333875"/>
                  <a:gd name="connsiteX184" fmla="*/ 6581775 w 8601075"/>
                  <a:gd name="connsiteY184" fmla="*/ 3276600 h 4333875"/>
                  <a:gd name="connsiteX185" fmla="*/ 6496050 w 8601075"/>
                  <a:gd name="connsiteY185" fmla="*/ 3228975 h 4333875"/>
                  <a:gd name="connsiteX186" fmla="*/ 6438900 w 8601075"/>
                  <a:gd name="connsiteY186" fmla="*/ 3162300 h 4333875"/>
                  <a:gd name="connsiteX187" fmla="*/ 6419850 w 8601075"/>
                  <a:gd name="connsiteY187" fmla="*/ 3105150 h 4333875"/>
                  <a:gd name="connsiteX188" fmla="*/ 6362700 w 8601075"/>
                  <a:gd name="connsiteY188" fmla="*/ 3076575 h 4333875"/>
                  <a:gd name="connsiteX189" fmla="*/ 6410325 w 8601075"/>
                  <a:gd name="connsiteY189" fmla="*/ 3019425 h 4333875"/>
                  <a:gd name="connsiteX190" fmla="*/ 6438900 w 8601075"/>
                  <a:gd name="connsiteY190" fmla="*/ 2819400 h 4333875"/>
                  <a:gd name="connsiteX191" fmla="*/ 6496050 w 8601075"/>
                  <a:gd name="connsiteY191" fmla="*/ 2762250 h 4333875"/>
                  <a:gd name="connsiteX192" fmla="*/ 6657975 w 8601075"/>
                  <a:gd name="connsiteY192" fmla="*/ 2752725 h 4333875"/>
                  <a:gd name="connsiteX193" fmla="*/ 6781800 w 8601075"/>
                  <a:gd name="connsiteY193" fmla="*/ 2838450 h 4333875"/>
                  <a:gd name="connsiteX194" fmla="*/ 7010400 w 8601075"/>
                  <a:gd name="connsiteY194" fmla="*/ 2838450 h 4333875"/>
                  <a:gd name="connsiteX195" fmla="*/ 7162800 w 8601075"/>
                  <a:gd name="connsiteY195" fmla="*/ 2705100 h 4333875"/>
                  <a:gd name="connsiteX196" fmla="*/ 7229475 w 8601075"/>
                  <a:gd name="connsiteY196" fmla="*/ 2590800 h 4333875"/>
                  <a:gd name="connsiteX197" fmla="*/ 7248525 w 8601075"/>
                  <a:gd name="connsiteY197" fmla="*/ 2524125 h 4333875"/>
                  <a:gd name="connsiteX198" fmla="*/ 7372350 w 8601075"/>
                  <a:gd name="connsiteY198" fmla="*/ 2543175 h 4333875"/>
                  <a:gd name="connsiteX199" fmla="*/ 7553325 w 8601075"/>
                  <a:gd name="connsiteY199" fmla="*/ 2447925 h 4333875"/>
                  <a:gd name="connsiteX200" fmla="*/ 7620000 w 8601075"/>
                  <a:gd name="connsiteY200" fmla="*/ 2324100 h 4333875"/>
                  <a:gd name="connsiteX201" fmla="*/ 7696200 w 8601075"/>
                  <a:gd name="connsiteY201" fmla="*/ 2314575 h 4333875"/>
                  <a:gd name="connsiteX202" fmla="*/ 7658100 w 8601075"/>
                  <a:gd name="connsiteY202" fmla="*/ 2257425 h 4333875"/>
                  <a:gd name="connsiteX203" fmla="*/ 7753350 w 8601075"/>
                  <a:gd name="connsiteY203" fmla="*/ 2057400 h 4333875"/>
                  <a:gd name="connsiteX204" fmla="*/ 7934325 w 8601075"/>
                  <a:gd name="connsiteY204" fmla="*/ 2028825 h 4333875"/>
                  <a:gd name="connsiteX205" fmla="*/ 7953375 w 8601075"/>
                  <a:gd name="connsiteY205" fmla="*/ 1952625 h 4333875"/>
                  <a:gd name="connsiteX206" fmla="*/ 7953375 w 8601075"/>
                  <a:gd name="connsiteY206" fmla="*/ 1952625 h 4333875"/>
                  <a:gd name="connsiteX207" fmla="*/ 8010525 w 8601075"/>
                  <a:gd name="connsiteY207" fmla="*/ 1895475 h 4333875"/>
                  <a:gd name="connsiteX208" fmla="*/ 8048625 w 8601075"/>
                  <a:gd name="connsiteY208" fmla="*/ 1971675 h 4333875"/>
                  <a:gd name="connsiteX209" fmla="*/ 8077200 w 8601075"/>
                  <a:gd name="connsiteY209" fmla="*/ 1885950 h 4333875"/>
                  <a:gd name="connsiteX210" fmla="*/ 8220075 w 8601075"/>
                  <a:gd name="connsiteY210" fmla="*/ 1847850 h 4333875"/>
                  <a:gd name="connsiteX211" fmla="*/ 8296275 w 8601075"/>
                  <a:gd name="connsiteY211" fmla="*/ 1809750 h 4333875"/>
                  <a:gd name="connsiteX212" fmla="*/ 8324850 w 8601075"/>
                  <a:gd name="connsiteY212" fmla="*/ 1790700 h 4333875"/>
                  <a:gd name="connsiteX213" fmla="*/ 8410575 w 8601075"/>
                  <a:gd name="connsiteY213" fmla="*/ 1847850 h 4333875"/>
                  <a:gd name="connsiteX214" fmla="*/ 8505825 w 8601075"/>
                  <a:gd name="connsiteY214" fmla="*/ 1781175 h 4333875"/>
                  <a:gd name="connsiteX215" fmla="*/ 8572500 w 8601075"/>
                  <a:gd name="connsiteY215" fmla="*/ 1809750 h 4333875"/>
                  <a:gd name="connsiteX216" fmla="*/ 8601075 w 8601075"/>
                  <a:gd name="connsiteY216" fmla="*/ 1704975 h 4333875"/>
                  <a:gd name="connsiteX217" fmla="*/ 8553450 w 8601075"/>
                  <a:gd name="connsiteY217" fmla="*/ 1676400 h 4333875"/>
                  <a:gd name="connsiteX218" fmla="*/ 8534400 w 8601075"/>
                  <a:gd name="connsiteY218" fmla="*/ 1609725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124825 w 8601075"/>
                  <a:gd name="connsiteY222" fmla="*/ 1352550 h 4333875"/>
                  <a:gd name="connsiteX223" fmla="*/ 7924800 w 8601075"/>
                  <a:gd name="connsiteY223" fmla="*/ 1362075 h 4333875"/>
                  <a:gd name="connsiteX224" fmla="*/ 7867650 w 8601075"/>
                  <a:gd name="connsiteY224" fmla="*/ 1457325 h 4333875"/>
                  <a:gd name="connsiteX225" fmla="*/ 7896225 w 8601075"/>
                  <a:gd name="connsiteY225" fmla="*/ 1476375 h 4333875"/>
                  <a:gd name="connsiteX226" fmla="*/ 7858125 w 8601075"/>
                  <a:gd name="connsiteY226" fmla="*/ 1533525 h 4333875"/>
                  <a:gd name="connsiteX227" fmla="*/ 7658100 w 8601075"/>
                  <a:gd name="connsiteY227" fmla="*/ 1447800 h 4333875"/>
                  <a:gd name="connsiteX228" fmla="*/ 7515225 w 8601075"/>
                  <a:gd name="connsiteY228" fmla="*/ 1495425 h 4333875"/>
                  <a:gd name="connsiteX229" fmla="*/ 7467600 w 8601075"/>
                  <a:gd name="connsiteY229" fmla="*/ 1581150 h 4333875"/>
                  <a:gd name="connsiteX230" fmla="*/ 7296150 w 8601075"/>
                  <a:gd name="connsiteY23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180975 w 8601075"/>
                  <a:gd name="connsiteY123" fmla="*/ 638175 h 4333875"/>
                  <a:gd name="connsiteX124" fmla="*/ 180975 w 8601075"/>
                  <a:gd name="connsiteY124" fmla="*/ 638175 h 4333875"/>
                  <a:gd name="connsiteX125" fmla="*/ 57150 w 8601075"/>
                  <a:gd name="connsiteY125" fmla="*/ 733425 h 4333875"/>
                  <a:gd name="connsiteX126" fmla="*/ 19050 w 8601075"/>
                  <a:gd name="connsiteY126" fmla="*/ 790575 h 4333875"/>
                  <a:gd name="connsiteX127" fmla="*/ 0 w 8601075"/>
                  <a:gd name="connsiteY127" fmla="*/ 876300 h 4333875"/>
                  <a:gd name="connsiteX128" fmla="*/ 57150 w 8601075"/>
                  <a:gd name="connsiteY128" fmla="*/ 923925 h 4333875"/>
                  <a:gd name="connsiteX129" fmla="*/ 57150 w 8601075"/>
                  <a:gd name="connsiteY129" fmla="*/ 923925 h 4333875"/>
                  <a:gd name="connsiteX130" fmla="*/ 209550 w 8601075"/>
                  <a:gd name="connsiteY130" fmla="*/ 1114425 h 4333875"/>
                  <a:gd name="connsiteX131" fmla="*/ 209550 w 8601075"/>
                  <a:gd name="connsiteY131" fmla="*/ 1114425 h 4333875"/>
                  <a:gd name="connsiteX132" fmla="*/ 266700 w 8601075"/>
                  <a:gd name="connsiteY132" fmla="*/ 1295400 h 4333875"/>
                  <a:gd name="connsiteX133" fmla="*/ 409575 w 8601075"/>
                  <a:gd name="connsiteY133" fmla="*/ 1276350 h 4333875"/>
                  <a:gd name="connsiteX134" fmla="*/ 466725 w 8601075"/>
                  <a:gd name="connsiteY134" fmla="*/ 1362075 h 4333875"/>
                  <a:gd name="connsiteX135" fmla="*/ 542925 w 8601075"/>
                  <a:gd name="connsiteY135" fmla="*/ 1428750 h 4333875"/>
                  <a:gd name="connsiteX136" fmla="*/ 628650 w 8601075"/>
                  <a:gd name="connsiteY136" fmla="*/ 1571625 h 4333875"/>
                  <a:gd name="connsiteX137" fmla="*/ 628650 w 8601075"/>
                  <a:gd name="connsiteY137" fmla="*/ 1704975 h 4333875"/>
                  <a:gd name="connsiteX138" fmla="*/ 676275 w 8601075"/>
                  <a:gd name="connsiteY138" fmla="*/ 1771650 h 4333875"/>
                  <a:gd name="connsiteX139" fmla="*/ 657225 w 8601075"/>
                  <a:gd name="connsiteY139" fmla="*/ 2000250 h 4333875"/>
                  <a:gd name="connsiteX140" fmla="*/ 619125 w 8601075"/>
                  <a:gd name="connsiteY140" fmla="*/ 2095500 h 4333875"/>
                  <a:gd name="connsiteX141" fmla="*/ 542925 w 8601075"/>
                  <a:gd name="connsiteY141" fmla="*/ 2228850 h 4333875"/>
                  <a:gd name="connsiteX142" fmla="*/ 485775 w 8601075"/>
                  <a:gd name="connsiteY142" fmla="*/ 2362200 h 4333875"/>
                  <a:gd name="connsiteX143" fmla="*/ 552450 w 8601075"/>
                  <a:gd name="connsiteY143" fmla="*/ 2486025 h 4333875"/>
                  <a:gd name="connsiteX144" fmla="*/ 771525 w 8601075"/>
                  <a:gd name="connsiteY144" fmla="*/ 2571750 h 4333875"/>
                  <a:gd name="connsiteX145" fmla="*/ 866775 w 8601075"/>
                  <a:gd name="connsiteY145" fmla="*/ 2571750 h 4333875"/>
                  <a:gd name="connsiteX146" fmla="*/ 914400 w 8601075"/>
                  <a:gd name="connsiteY146" fmla="*/ 2638425 h 4333875"/>
                  <a:gd name="connsiteX147" fmla="*/ 1066800 w 8601075"/>
                  <a:gd name="connsiteY147" fmla="*/ 2638425 h 4333875"/>
                  <a:gd name="connsiteX148" fmla="*/ 1285875 w 8601075"/>
                  <a:gd name="connsiteY148" fmla="*/ 2705100 h 4333875"/>
                  <a:gd name="connsiteX149" fmla="*/ 1438275 w 8601075"/>
                  <a:gd name="connsiteY149" fmla="*/ 2838450 h 4333875"/>
                  <a:gd name="connsiteX150" fmla="*/ 1485900 w 8601075"/>
                  <a:gd name="connsiteY150" fmla="*/ 2914650 h 4333875"/>
                  <a:gd name="connsiteX151" fmla="*/ 1657350 w 8601075"/>
                  <a:gd name="connsiteY151" fmla="*/ 3038475 h 4333875"/>
                  <a:gd name="connsiteX152" fmla="*/ 1752600 w 8601075"/>
                  <a:gd name="connsiteY152" fmla="*/ 3057525 h 4333875"/>
                  <a:gd name="connsiteX153" fmla="*/ 1724025 w 8601075"/>
                  <a:gd name="connsiteY153" fmla="*/ 3143250 h 4333875"/>
                  <a:gd name="connsiteX154" fmla="*/ 1724025 w 8601075"/>
                  <a:gd name="connsiteY154" fmla="*/ 3143250 h 4333875"/>
                  <a:gd name="connsiteX155" fmla="*/ 1781175 w 8601075"/>
                  <a:gd name="connsiteY155" fmla="*/ 3181350 h 4333875"/>
                  <a:gd name="connsiteX156" fmla="*/ 1819275 w 8601075"/>
                  <a:gd name="connsiteY156" fmla="*/ 3362325 h 4333875"/>
                  <a:gd name="connsiteX157" fmla="*/ 1828800 w 8601075"/>
                  <a:gd name="connsiteY157" fmla="*/ 3457575 h 4333875"/>
                  <a:gd name="connsiteX158" fmla="*/ 1971675 w 8601075"/>
                  <a:gd name="connsiteY158" fmla="*/ 3590925 h 4333875"/>
                  <a:gd name="connsiteX159" fmla="*/ 1990725 w 8601075"/>
                  <a:gd name="connsiteY159" fmla="*/ 3714750 h 4333875"/>
                  <a:gd name="connsiteX160" fmla="*/ 2200275 w 8601075"/>
                  <a:gd name="connsiteY160" fmla="*/ 3695700 h 4333875"/>
                  <a:gd name="connsiteX161" fmla="*/ 2886075 w 8601075"/>
                  <a:gd name="connsiteY161" fmla="*/ 3886200 h 4333875"/>
                  <a:gd name="connsiteX162" fmla="*/ 3038475 w 8601075"/>
                  <a:gd name="connsiteY162" fmla="*/ 3819525 h 4333875"/>
                  <a:gd name="connsiteX163" fmla="*/ 3105150 w 8601075"/>
                  <a:gd name="connsiteY163" fmla="*/ 3867150 h 4333875"/>
                  <a:gd name="connsiteX164" fmla="*/ 3181350 w 8601075"/>
                  <a:gd name="connsiteY164" fmla="*/ 3800475 h 4333875"/>
                  <a:gd name="connsiteX165" fmla="*/ 3590925 w 8601075"/>
                  <a:gd name="connsiteY165" fmla="*/ 3943350 h 4333875"/>
                  <a:gd name="connsiteX166" fmla="*/ 3686175 w 8601075"/>
                  <a:gd name="connsiteY166" fmla="*/ 4057650 h 4333875"/>
                  <a:gd name="connsiteX167" fmla="*/ 3838575 w 8601075"/>
                  <a:gd name="connsiteY167" fmla="*/ 4057650 h 4333875"/>
                  <a:gd name="connsiteX168" fmla="*/ 4162425 w 8601075"/>
                  <a:gd name="connsiteY168" fmla="*/ 4248150 h 4333875"/>
                  <a:gd name="connsiteX169" fmla="*/ 4391025 w 8601075"/>
                  <a:gd name="connsiteY169" fmla="*/ 4200525 h 4333875"/>
                  <a:gd name="connsiteX170" fmla="*/ 4410075 w 8601075"/>
                  <a:gd name="connsiteY170" fmla="*/ 4305300 h 4333875"/>
                  <a:gd name="connsiteX171" fmla="*/ 4505325 w 8601075"/>
                  <a:gd name="connsiteY171" fmla="*/ 4276725 h 4333875"/>
                  <a:gd name="connsiteX172" fmla="*/ 4572000 w 8601075"/>
                  <a:gd name="connsiteY172" fmla="*/ 4333875 h 4333875"/>
                  <a:gd name="connsiteX173" fmla="*/ 4591050 w 8601075"/>
                  <a:gd name="connsiteY173" fmla="*/ 4248150 h 4333875"/>
                  <a:gd name="connsiteX174" fmla="*/ 5295900 w 8601075"/>
                  <a:gd name="connsiteY174" fmla="*/ 3924300 h 4333875"/>
                  <a:gd name="connsiteX175" fmla="*/ 5353050 w 8601075"/>
                  <a:gd name="connsiteY175" fmla="*/ 3990975 h 4333875"/>
                  <a:gd name="connsiteX176" fmla="*/ 5524500 w 8601075"/>
                  <a:gd name="connsiteY176" fmla="*/ 3914775 h 4333875"/>
                  <a:gd name="connsiteX177" fmla="*/ 5667375 w 8601075"/>
                  <a:gd name="connsiteY177" fmla="*/ 3962400 h 4333875"/>
                  <a:gd name="connsiteX178" fmla="*/ 5753100 w 8601075"/>
                  <a:gd name="connsiteY178" fmla="*/ 3924300 h 4333875"/>
                  <a:gd name="connsiteX179" fmla="*/ 5905500 w 8601075"/>
                  <a:gd name="connsiteY179" fmla="*/ 3943350 h 4333875"/>
                  <a:gd name="connsiteX180" fmla="*/ 6000750 w 8601075"/>
                  <a:gd name="connsiteY180" fmla="*/ 3800475 h 4333875"/>
                  <a:gd name="connsiteX181" fmla="*/ 6153150 w 8601075"/>
                  <a:gd name="connsiteY181" fmla="*/ 3781425 h 4333875"/>
                  <a:gd name="connsiteX182" fmla="*/ 6257925 w 8601075"/>
                  <a:gd name="connsiteY182" fmla="*/ 3581400 h 4333875"/>
                  <a:gd name="connsiteX183" fmla="*/ 6448425 w 8601075"/>
                  <a:gd name="connsiteY183" fmla="*/ 3448050 h 4333875"/>
                  <a:gd name="connsiteX184" fmla="*/ 6581775 w 8601075"/>
                  <a:gd name="connsiteY184" fmla="*/ 3276600 h 4333875"/>
                  <a:gd name="connsiteX185" fmla="*/ 6496050 w 8601075"/>
                  <a:gd name="connsiteY185" fmla="*/ 3228975 h 4333875"/>
                  <a:gd name="connsiteX186" fmla="*/ 6438900 w 8601075"/>
                  <a:gd name="connsiteY186" fmla="*/ 3162300 h 4333875"/>
                  <a:gd name="connsiteX187" fmla="*/ 6419850 w 8601075"/>
                  <a:gd name="connsiteY187" fmla="*/ 3105150 h 4333875"/>
                  <a:gd name="connsiteX188" fmla="*/ 6362700 w 8601075"/>
                  <a:gd name="connsiteY188" fmla="*/ 3076575 h 4333875"/>
                  <a:gd name="connsiteX189" fmla="*/ 6410325 w 8601075"/>
                  <a:gd name="connsiteY189" fmla="*/ 3019425 h 4333875"/>
                  <a:gd name="connsiteX190" fmla="*/ 6438900 w 8601075"/>
                  <a:gd name="connsiteY190" fmla="*/ 2819400 h 4333875"/>
                  <a:gd name="connsiteX191" fmla="*/ 6496050 w 8601075"/>
                  <a:gd name="connsiteY191" fmla="*/ 2762250 h 4333875"/>
                  <a:gd name="connsiteX192" fmla="*/ 6657975 w 8601075"/>
                  <a:gd name="connsiteY192" fmla="*/ 2752725 h 4333875"/>
                  <a:gd name="connsiteX193" fmla="*/ 6781800 w 8601075"/>
                  <a:gd name="connsiteY193" fmla="*/ 2838450 h 4333875"/>
                  <a:gd name="connsiteX194" fmla="*/ 7010400 w 8601075"/>
                  <a:gd name="connsiteY194" fmla="*/ 2838450 h 4333875"/>
                  <a:gd name="connsiteX195" fmla="*/ 7162800 w 8601075"/>
                  <a:gd name="connsiteY195" fmla="*/ 2705100 h 4333875"/>
                  <a:gd name="connsiteX196" fmla="*/ 7229475 w 8601075"/>
                  <a:gd name="connsiteY196" fmla="*/ 2590800 h 4333875"/>
                  <a:gd name="connsiteX197" fmla="*/ 7248525 w 8601075"/>
                  <a:gd name="connsiteY197" fmla="*/ 2524125 h 4333875"/>
                  <a:gd name="connsiteX198" fmla="*/ 7372350 w 8601075"/>
                  <a:gd name="connsiteY198" fmla="*/ 2543175 h 4333875"/>
                  <a:gd name="connsiteX199" fmla="*/ 7553325 w 8601075"/>
                  <a:gd name="connsiteY199" fmla="*/ 2447925 h 4333875"/>
                  <a:gd name="connsiteX200" fmla="*/ 7620000 w 8601075"/>
                  <a:gd name="connsiteY200" fmla="*/ 2324100 h 4333875"/>
                  <a:gd name="connsiteX201" fmla="*/ 7696200 w 8601075"/>
                  <a:gd name="connsiteY201" fmla="*/ 2314575 h 4333875"/>
                  <a:gd name="connsiteX202" fmla="*/ 7658100 w 8601075"/>
                  <a:gd name="connsiteY202" fmla="*/ 2257425 h 4333875"/>
                  <a:gd name="connsiteX203" fmla="*/ 7753350 w 8601075"/>
                  <a:gd name="connsiteY203" fmla="*/ 2057400 h 4333875"/>
                  <a:gd name="connsiteX204" fmla="*/ 7934325 w 8601075"/>
                  <a:gd name="connsiteY204" fmla="*/ 2028825 h 4333875"/>
                  <a:gd name="connsiteX205" fmla="*/ 7953375 w 8601075"/>
                  <a:gd name="connsiteY205" fmla="*/ 1952625 h 4333875"/>
                  <a:gd name="connsiteX206" fmla="*/ 7953375 w 8601075"/>
                  <a:gd name="connsiteY206" fmla="*/ 1952625 h 4333875"/>
                  <a:gd name="connsiteX207" fmla="*/ 8010525 w 8601075"/>
                  <a:gd name="connsiteY207" fmla="*/ 1895475 h 4333875"/>
                  <a:gd name="connsiteX208" fmla="*/ 8048625 w 8601075"/>
                  <a:gd name="connsiteY208" fmla="*/ 1971675 h 4333875"/>
                  <a:gd name="connsiteX209" fmla="*/ 8077200 w 8601075"/>
                  <a:gd name="connsiteY209" fmla="*/ 1885950 h 4333875"/>
                  <a:gd name="connsiteX210" fmla="*/ 8220075 w 8601075"/>
                  <a:gd name="connsiteY210" fmla="*/ 1847850 h 4333875"/>
                  <a:gd name="connsiteX211" fmla="*/ 8296275 w 8601075"/>
                  <a:gd name="connsiteY211" fmla="*/ 1809750 h 4333875"/>
                  <a:gd name="connsiteX212" fmla="*/ 8324850 w 8601075"/>
                  <a:gd name="connsiteY212" fmla="*/ 1790700 h 4333875"/>
                  <a:gd name="connsiteX213" fmla="*/ 8410575 w 8601075"/>
                  <a:gd name="connsiteY213" fmla="*/ 1847850 h 4333875"/>
                  <a:gd name="connsiteX214" fmla="*/ 8505825 w 8601075"/>
                  <a:gd name="connsiteY214" fmla="*/ 1781175 h 4333875"/>
                  <a:gd name="connsiteX215" fmla="*/ 8572500 w 8601075"/>
                  <a:gd name="connsiteY215" fmla="*/ 1809750 h 4333875"/>
                  <a:gd name="connsiteX216" fmla="*/ 8601075 w 8601075"/>
                  <a:gd name="connsiteY216" fmla="*/ 1704975 h 4333875"/>
                  <a:gd name="connsiteX217" fmla="*/ 8553450 w 8601075"/>
                  <a:gd name="connsiteY217" fmla="*/ 1676400 h 4333875"/>
                  <a:gd name="connsiteX218" fmla="*/ 8534400 w 8601075"/>
                  <a:gd name="connsiteY218" fmla="*/ 1609725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124825 w 8601075"/>
                  <a:gd name="connsiteY222" fmla="*/ 1352550 h 4333875"/>
                  <a:gd name="connsiteX223" fmla="*/ 7924800 w 8601075"/>
                  <a:gd name="connsiteY223" fmla="*/ 1362075 h 4333875"/>
                  <a:gd name="connsiteX224" fmla="*/ 7867650 w 8601075"/>
                  <a:gd name="connsiteY224" fmla="*/ 1457325 h 4333875"/>
                  <a:gd name="connsiteX225" fmla="*/ 7896225 w 8601075"/>
                  <a:gd name="connsiteY225" fmla="*/ 1476375 h 4333875"/>
                  <a:gd name="connsiteX226" fmla="*/ 7858125 w 8601075"/>
                  <a:gd name="connsiteY226" fmla="*/ 1533525 h 4333875"/>
                  <a:gd name="connsiteX227" fmla="*/ 7658100 w 8601075"/>
                  <a:gd name="connsiteY227" fmla="*/ 1447800 h 4333875"/>
                  <a:gd name="connsiteX228" fmla="*/ 7515225 w 8601075"/>
                  <a:gd name="connsiteY228" fmla="*/ 1495425 h 4333875"/>
                  <a:gd name="connsiteX229" fmla="*/ 7467600 w 8601075"/>
                  <a:gd name="connsiteY229" fmla="*/ 1581150 h 4333875"/>
                  <a:gd name="connsiteX230" fmla="*/ 7296150 w 8601075"/>
                  <a:gd name="connsiteY23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180975 w 8601075"/>
                  <a:gd name="connsiteY124" fmla="*/ 638175 h 4333875"/>
                  <a:gd name="connsiteX125" fmla="*/ 180975 w 8601075"/>
                  <a:gd name="connsiteY125" fmla="*/ 638175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180975 w 8601075"/>
                  <a:gd name="connsiteY124" fmla="*/ 638175 h 4333875"/>
                  <a:gd name="connsiteX125" fmla="*/ 180975 w 8601075"/>
                  <a:gd name="connsiteY125" fmla="*/ 623888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57150 w 8601075"/>
                  <a:gd name="connsiteY127" fmla="*/ 733425 h 4333875"/>
                  <a:gd name="connsiteX128" fmla="*/ 19050 w 8601075"/>
                  <a:gd name="connsiteY128" fmla="*/ 790575 h 4333875"/>
                  <a:gd name="connsiteX129" fmla="*/ 0 w 8601075"/>
                  <a:gd name="connsiteY129" fmla="*/ 876300 h 4333875"/>
                  <a:gd name="connsiteX130" fmla="*/ 57150 w 8601075"/>
                  <a:gd name="connsiteY130" fmla="*/ 923925 h 4333875"/>
                  <a:gd name="connsiteX131" fmla="*/ 57150 w 8601075"/>
                  <a:gd name="connsiteY131" fmla="*/ 923925 h 4333875"/>
                  <a:gd name="connsiteX132" fmla="*/ 209550 w 8601075"/>
                  <a:gd name="connsiteY132" fmla="*/ 1114425 h 4333875"/>
                  <a:gd name="connsiteX133" fmla="*/ 209550 w 8601075"/>
                  <a:gd name="connsiteY133" fmla="*/ 1114425 h 4333875"/>
                  <a:gd name="connsiteX134" fmla="*/ 266700 w 8601075"/>
                  <a:gd name="connsiteY134" fmla="*/ 1295400 h 4333875"/>
                  <a:gd name="connsiteX135" fmla="*/ 409575 w 8601075"/>
                  <a:gd name="connsiteY135" fmla="*/ 1276350 h 4333875"/>
                  <a:gd name="connsiteX136" fmla="*/ 466725 w 8601075"/>
                  <a:gd name="connsiteY136" fmla="*/ 1362075 h 4333875"/>
                  <a:gd name="connsiteX137" fmla="*/ 542925 w 8601075"/>
                  <a:gd name="connsiteY137" fmla="*/ 1428750 h 4333875"/>
                  <a:gd name="connsiteX138" fmla="*/ 628650 w 8601075"/>
                  <a:gd name="connsiteY138" fmla="*/ 1571625 h 4333875"/>
                  <a:gd name="connsiteX139" fmla="*/ 628650 w 8601075"/>
                  <a:gd name="connsiteY139" fmla="*/ 1704975 h 4333875"/>
                  <a:gd name="connsiteX140" fmla="*/ 676275 w 8601075"/>
                  <a:gd name="connsiteY140" fmla="*/ 1771650 h 4333875"/>
                  <a:gd name="connsiteX141" fmla="*/ 657225 w 8601075"/>
                  <a:gd name="connsiteY141" fmla="*/ 2000250 h 4333875"/>
                  <a:gd name="connsiteX142" fmla="*/ 619125 w 8601075"/>
                  <a:gd name="connsiteY142" fmla="*/ 2095500 h 4333875"/>
                  <a:gd name="connsiteX143" fmla="*/ 542925 w 8601075"/>
                  <a:gd name="connsiteY143" fmla="*/ 2228850 h 4333875"/>
                  <a:gd name="connsiteX144" fmla="*/ 485775 w 8601075"/>
                  <a:gd name="connsiteY144" fmla="*/ 2362200 h 4333875"/>
                  <a:gd name="connsiteX145" fmla="*/ 552450 w 8601075"/>
                  <a:gd name="connsiteY145" fmla="*/ 2486025 h 4333875"/>
                  <a:gd name="connsiteX146" fmla="*/ 771525 w 8601075"/>
                  <a:gd name="connsiteY146" fmla="*/ 2571750 h 4333875"/>
                  <a:gd name="connsiteX147" fmla="*/ 866775 w 8601075"/>
                  <a:gd name="connsiteY147" fmla="*/ 2571750 h 4333875"/>
                  <a:gd name="connsiteX148" fmla="*/ 914400 w 8601075"/>
                  <a:gd name="connsiteY148" fmla="*/ 2638425 h 4333875"/>
                  <a:gd name="connsiteX149" fmla="*/ 1066800 w 8601075"/>
                  <a:gd name="connsiteY149" fmla="*/ 2638425 h 4333875"/>
                  <a:gd name="connsiteX150" fmla="*/ 1285875 w 8601075"/>
                  <a:gd name="connsiteY150" fmla="*/ 2705100 h 4333875"/>
                  <a:gd name="connsiteX151" fmla="*/ 1438275 w 8601075"/>
                  <a:gd name="connsiteY151" fmla="*/ 2838450 h 4333875"/>
                  <a:gd name="connsiteX152" fmla="*/ 1485900 w 8601075"/>
                  <a:gd name="connsiteY152" fmla="*/ 2914650 h 4333875"/>
                  <a:gd name="connsiteX153" fmla="*/ 1657350 w 8601075"/>
                  <a:gd name="connsiteY153" fmla="*/ 3038475 h 4333875"/>
                  <a:gd name="connsiteX154" fmla="*/ 1752600 w 8601075"/>
                  <a:gd name="connsiteY154" fmla="*/ 3057525 h 4333875"/>
                  <a:gd name="connsiteX155" fmla="*/ 1724025 w 8601075"/>
                  <a:gd name="connsiteY155" fmla="*/ 3143250 h 4333875"/>
                  <a:gd name="connsiteX156" fmla="*/ 1724025 w 8601075"/>
                  <a:gd name="connsiteY156" fmla="*/ 3143250 h 4333875"/>
                  <a:gd name="connsiteX157" fmla="*/ 1781175 w 8601075"/>
                  <a:gd name="connsiteY157" fmla="*/ 3181350 h 4333875"/>
                  <a:gd name="connsiteX158" fmla="*/ 1819275 w 8601075"/>
                  <a:gd name="connsiteY158" fmla="*/ 3362325 h 4333875"/>
                  <a:gd name="connsiteX159" fmla="*/ 1828800 w 8601075"/>
                  <a:gd name="connsiteY159" fmla="*/ 3457575 h 4333875"/>
                  <a:gd name="connsiteX160" fmla="*/ 1971675 w 8601075"/>
                  <a:gd name="connsiteY160" fmla="*/ 3590925 h 4333875"/>
                  <a:gd name="connsiteX161" fmla="*/ 1990725 w 8601075"/>
                  <a:gd name="connsiteY161" fmla="*/ 3714750 h 4333875"/>
                  <a:gd name="connsiteX162" fmla="*/ 2200275 w 8601075"/>
                  <a:gd name="connsiteY162" fmla="*/ 3695700 h 4333875"/>
                  <a:gd name="connsiteX163" fmla="*/ 2886075 w 8601075"/>
                  <a:gd name="connsiteY163" fmla="*/ 3886200 h 4333875"/>
                  <a:gd name="connsiteX164" fmla="*/ 3038475 w 8601075"/>
                  <a:gd name="connsiteY164" fmla="*/ 3819525 h 4333875"/>
                  <a:gd name="connsiteX165" fmla="*/ 3105150 w 8601075"/>
                  <a:gd name="connsiteY165" fmla="*/ 3867150 h 4333875"/>
                  <a:gd name="connsiteX166" fmla="*/ 3181350 w 8601075"/>
                  <a:gd name="connsiteY166" fmla="*/ 3800475 h 4333875"/>
                  <a:gd name="connsiteX167" fmla="*/ 3590925 w 8601075"/>
                  <a:gd name="connsiteY167" fmla="*/ 3943350 h 4333875"/>
                  <a:gd name="connsiteX168" fmla="*/ 3686175 w 8601075"/>
                  <a:gd name="connsiteY168" fmla="*/ 4057650 h 4333875"/>
                  <a:gd name="connsiteX169" fmla="*/ 3838575 w 8601075"/>
                  <a:gd name="connsiteY169" fmla="*/ 4057650 h 4333875"/>
                  <a:gd name="connsiteX170" fmla="*/ 4162425 w 8601075"/>
                  <a:gd name="connsiteY170" fmla="*/ 4248150 h 4333875"/>
                  <a:gd name="connsiteX171" fmla="*/ 4391025 w 8601075"/>
                  <a:gd name="connsiteY171" fmla="*/ 4200525 h 4333875"/>
                  <a:gd name="connsiteX172" fmla="*/ 4410075 w 8601075"/>
                  <a:gd name="connsiteY172" fmla="*/ 4305300 h 4333875"/>
                  <a:gd name="connsiteX173" fmla="*/ 4505325 w 8601075"/>
                  <a:gd name="connsiteY173" fmla="*/ 4276725 h 4333875"/>
                  <a:gd name="connsiteX174" fmla="*/ 4572000 w 8601075"/>
                  <a:gd name="connsiteY174" fmla="*/ 4333875 h 4333875"/>
                  <a:gd name="connsiteX175" fmla="*/ 4591050 w 8601075"/>
                  <a:gd name="connsiteY175" fmla="*/ 4248150 h 4333875"/>
                  <a:gd name="connsiteX176" fmla="*/ 5295900 w 8601075"/>
                  <a:gd name="connsiteY176" fmla="*/ 3924300 h 4333875"/>
                  <a:gd name="connsiteX177" fmla="*/ 5353050 w 8601075"/>
                  <a:gd name="connsiteY177" fmla="*/ 3990975 h 4333875"/>
                  <a:gd name="connsiteX178" fmla="*/ 5524500 w 8601075"/>
                  <a:gd name="connsiteY178" fmla="*/ 3914775 h 4333875"/>
                  <a:gd name="connsiteX179" fmla="*/ 5667375 w 8601075"/>
                  <a:gd name="connsiteY179" fmla="*/ 3962400 h 4333875"/>
                  <a:gd name="connsiteX180" fmla="*/ 5753100 w 8601075"/>
                  <a:gd name="connsiteY180" fmla="*/ 3924300 h 4333875"/>
                  <a:gd name="connsiteX181" fmla="*/ 5905500 w 8601075"/>
                  <a:gd name="connsiteY181" fmla="*/ 3943350 h 4333875"/>
                  <a:gd name="connsiteX182" fmla="*/ 6000750 w 8601075"/>
                  <a:gd name="connsiteY182" fmla="*/ 3800475 h 4333875"/>
                  <a:gd name="connsiteX183" fmla="*/ 6153150 w 8601075"/>
                  <a:gd name="connsiteY183" fmla="*/ 3781425 h 4333875"/>
                  <a:gd name="connsiteX184" fmla="*/ 6257925 w 8601075"/>
                  <a:gd name="connsiteY184" fmla="*/ 3581400 h 4333875"/>
                  <a:gd name="connsiteX185" fmla="*/ 6448425 w 8601075"/>
                  <a:gd name="connsiteY185" fmla="*/ 3448050 h 4333875"/>
                  <a:gd name="connsiteX186" fmla="*/ 6581775 w 8601075"/>
                  <a:gd name="connsiteY186" fmla="*/ 3276600 h 4333875"/>
                  <a:gd name="connsiteX187" fmla="*/ 6496050 w 8601075"/>
                  <a:gd name="connsiteY187" fmla="*/ 3228975 h 4333875"/>
                  <a:gd name="connsiteX188" fmla="*/ 6438900 w 8601075"/>
                  <a:gd name="connsiteY188" fmla="*/ 3162300 h 4333875"/>
                  <a:gd name="connsiteX189" fmla="*/ 6419850 w 8601075"/>
                  <a:gd name="connsiteY189" fmla="*/ 3105150 h 4333875"/>
                  <a:gd name="connsiteX190" fmla="*/ 6362700 w 8601075"/>
                  <a:gd name="connsiteY190" fmla="*/ 3076575 h 4333875"/>
                  <a:gd name="connsiteX191" fmla="*/ 6410325 w 8601075"/>
                  <a:gd name="connsiteY191" fmla="*/ 3019425 h 4333875"/>
                  <a:gd name="connsiteX192" fmla="*/ 6438900 w 8601075"/>
                  <a:gd name="connsiteY192" fmla="*/ 2819400 h 4333875"/>
                  <a:gd name="connsiteX193" fmla="*/ 6496050 w 8601075"/>
                  <a:gd name="connsiteY193" fmla="*/ 2762250 h 4333875"/>
                  <a:gd name="connsiteX194" fmla="*/ 6657975 w 8601075"/>
                  <a:gd name="connsiteY194" fmla="*/ 2752725 h 4333875"/>
                  <a:gd name="connsiteX195" fmla="*/ 6781800 w 8601075"/>
                  <a:gd name="connsiteY195" fmla="*/ 2838450 h 4333875"/>
                  <a:gd name="connsiteX196" fmla="*/ 7010400 w 8601075"/>
                  <a:gd name="connsiteY196" fmla="*/ 2838450 h 4333875"/>
                  <a:gd name="connsiteX197" fmla="*/ 7162800 w 8601075"/>
                  <a:gd name="connsiteY197" fmla="*/ 2705100 h 4333875"/>
                  <a:gd name="connsiteX198" fmla="*/ 7229475 w 8601075"/>
                  <a:gd name="connsiteY198" fmla="*/ 2590800 h 4333875"/>
                  <a:gd name="connsiteX199" fmla="*/ 7248525 w 8601075"/>
                  <a:gd name="connsiteY199" fmla="*/ 2524125 h 4333875"/>
                  <a:gd name="connsiteX200" fmla="*/ 7372350 w 8601075"/>
                  <a:gd name="connsiteY200" fmla="*/ 2543175 h 4333875"/>
                  <a:gd name="connsiteX201" fmla="*/ 7553325 w 8601075"/>
                  <a:gd name="connsiteY201" fmla="*/ 2447925 h 4333875"/>
                  <a:gd name="connsiteX202" fmla="*/ 7620000 w 8601075"/>
                  <a:gd name="connsiteY202" fmla="*/ 2324100 h 4333875"/>
                  <a:gd name="connsiteX203" fmla="*/ 7696200 w 8601075"/>
                  <a:gd name="connsiteY203" fmla="*/ 2314575 h 4333875"/>
                  <a:gd name="connsiteX204" fmla="*/ 7658100 w 8601075"/>
                  <a:gd name="connsiteY204" fmla="*/ 2257425 h 4333875"/>
                  <a:gd name="connsiteX205" fmla="*/ 7753350 w 8601075"/>
                  <a:gd name="connsiteY205" fmla="*/ 2057400 h 4333875"/>
                  <a:gd name="connsiteX206" fmla="*/ 7934325 w 8601075"/>
                  <a:gd name="connsiteY206" fmla="*/ 2028825 h 4333875"/>
                  <a:gd name="connsiteX207" fmla="*/ 7953375 w 8601075"/>
                  <a:gd name="connsiteY207" fmla="*/ 1952625 h 4333875"/>
                  <a:gd name="connsiteX208" fmla="*/ 7953375 w 8601075"/>
                  <a:gd name="connsiteY208" fmla="*/ 1952625 h 4333875"/>
                  <a:gd name="connsiteX209" fmla="*/ 8010525 w 8601075"/>
                  <a:gd name="connsiteY209" fmla="*/ 1895475 h 4333875"/>
                  <a:gd name="connsiteX210" fmla="*/ 8048625 w 8601075"/>
                  <a:gd name="connsiteY210" fmla="*/ 1971675 h 4333875"/>
                  <a:gd name="connsiteX211" fmla="*/ 8077200 w 8601075"/>
                  <a:gd name="connsiteY211" fmla="*/ 1885950 h 4333875"/>
                  <a:gd name="connsiteX212" fmla="*/ 8220075 w 8601075"/>
                  <a:gd name="connsiteY212" fmla="*/ 1847850 h 4333875"/>
                  <a:gd name="connsiteX213" fmla="*/ 8296275 w 8601075"/>
                  <a:gd name="connsiteY213" fmla="*/ 1809750 h 4333875"/>
                  <a:gd name="connsiteX214" fmla="*/ 8324850 w 8601075"/>
                  <a:gd name="connsiteY214" fmla="*/ 1790700 h 4333875"/>
                  <a:gd name="connsiteX215" fmla="*/ 8410575 w 8601075"/>
                  <a:gd name="connsiteY215" fmla="*/ 1847850 h 4333875"/>
                  <a:gd name="connsiteX216" fmla="*/ 8505825 w 8601075"/>
                  <a:gd name="connsiteY216" fmla="*/ 1781175 h 4333875"/>
                  <a:gd name="connsiteX217" fmla="*/ 8572500 w 8601075"/>
                  <a:gd name="connsiteY217" fmla="*/ 1809750 h 4333875"/>
                  <a:gd name="connsiteX218" fmla="*/ 8601075 w 8601075"/>
                  <a:gd name="connsiteY218" fmla="*/ 1704975 h 4333875"/>
                  <a:gd name="connsiteX219" fmla="*/ 8553450 w 8601075"/>
                  <a:gd name="connsiteY219" fmla="*/ 1676400 h 4333875"/>
                  <a:gd name="connsiteX220" fmla="*/ 8534400 w 8601075"/>
                  <a:gd name="connsiteY220" fmla="*/ 1609725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124825 w 8601075"/>
                  <a:gd name="connsiteY224" fmla="*/ 1352550 h 4333875"/>
                  <a:gd name="connsiteX225" fmla="*/ 7924800 w 8601075"/>
                  <a:gd name="connsiteY225" fmla="*/ 1362075 h 4333875"/>
                  <a:gd name="connsiteX226" fmla="*/ 7867650 w 8601075"/>
                  <a:gd name="connsiteY226" fmla="*/ 1457325 h 4333875"/>
                  <a:gd name="connsiteX227" fmla="*/ 7896225 w 8601075"/>
                  <a:gd name="connsiteY227" fmla="*/ 1476375 h 4333875"/>
                  <a:gd name="connsiteX228" fmla="*/ 7858125 w 8601075"/>
                  <a:gd name="connsiteY228" fmla="*/ 1533525 h 4333875"/>
                  <a:gd name="connsiteX229" fmla="*/ 7658100 w 8601075"/>
                  <a:gd name="connsiteY229" fmla="*/ 1447800 h 4333875"/>
                  <a:gd name="connsiteX230" fmla="*/ 7515225 w 8601075"/>
                  <a:gd name="connsiteY230" fmla="*/ 1495425 h 4333875"/>
                  <a:gd name="connsiteX231" fmla="*/ 7467600 w 8601075"/>
                  <a:gd name="connsiteY231" fmla="*/ 1581150 h 4333875"/>
                  <a:gd name="connsiteX232" fmla="*/ 7296150 w 8601075"/>
                  <a:gd name="connsiteY23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57150 w 8601075"/>
                  <a:gd name="connsiteY128" fmla="*/ 733425 h 4333875"/>
                  <a:gd name="connsiteX129" fmla="*/ 19050 w 8601075"/>
                  <a:gd name="connsiteY129" fmla="*/ 790575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19050 w 8601075"/>
                  <a:gd name="connsiteY129" fmla="*/ 790575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0 w 8601075"/>
                  <a:gd name="connsiteY129" fmla="*/ 816769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33338 w 8601075"/>
                  <a:gd name="connsiteY129" fmla="*/ 812006 h 4333875"/>
                  <a:gd name="connsiteX130" fmla="*/ 0 w 8601075"/>
                  <a:gd name="connsiteY130" fmla="*/ 816769 h 4333875"/>
                  <a:gd name="connsiteX131" fmla="*/ 0 w 8601075"/>
                  <a:gd name="connsiteY131" fmla="*/ 876300 h 4333875"/>
                  <a:gd name="connsiteX132" fmla="*/ 57150 w 8601075"/>
                  <a:gd name="connsiteY132" fmla="*/ 923925 h 4333875"/>
                  <a:gd name="connsiteX133" fmla="*/ 57150 w 8601075"/>
                  <a:gd name="connsiteY133" fmla="*/ 923925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0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239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26194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239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26194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16781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16781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57150 w 8601075"/>
                  <a:gd name="connsiteY133" fmla="*/ 923925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209550 w 8601075"/>
                  <a:gd name="connsiteY136" fmla="*/ 1114425 h 4333875"/>
                  <a:gd name="connsiteX137" fmla="*/ 209550 w 8601075"/>
                  <a:gd name="connsiteY137" fmla="*/ 1114425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209550 w 8601075"/>
                  <a:gd name="connsiteY136" fmla="*/ 1114425 h 4333875"/>
                  <a:gd name="connsiteX137" fmla="*/ 169069 w 8601075"/>
                  <a:gd name="connsiteY137" fmla="*/ 1085850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14325 w 8601075"/>
                  <a:gd name="connsiteY138" fmla="*/ 127635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97656 w 8601075"/>
                  <a:gd name="connsiteY138" fmla="*/ 1273969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97656 w 8601075"/>
                  <a:gd name="connsiteY138" fmla="*/ 1273969 h 4333875"/>
                  <a:gd name="connsiteX139" fmla="*/ 361950 w 8601075"/>
                  <a:gd name="connsiteY139" fmla="*/ 1254919 h 4333875"/>
                  <a:gd name="connsiteX140" fmla="*/ 409575 w 8601075"/>
                  <a:gd name="connsiteY140" fmla="*/ 1276350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9575 w 8601075"/>
                  <a:gd name="connsiteY140" fmla="*/ 1276350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628650 w 8601075"/>
                  <a:gd name="connsiteY145" fmla="*/ 1704975 h 4333875"/>
                  <a:gd name="connsiteX146" fmla="*/ 676275 w 8601075"/>
                  <a:gd name="connsiteY146" fmla="*/ 1771650 h 4333875"/>
                  <a:gd name="connsiteX147" fmla="*/ 657225 w 8601075"/>
                  <a:gd name="connsiteY147" fmla="*/ 2000250 h 4333875"/>
                  <a:gd name="connsiteX148" fmla="*/ 619125 w 8601075"/>
                  <a:gd name="connsiteY148" fmla="*/ 2095500 h 4333875"/>
                  <a:gd name="connsiteX149" fmla="*/ 542925 w 8601075"/>
                  <a:gd name="connsiteY149" fmla="*/ 2228850 h 4333875"/>
                  <a:gd name="connsiteX150" fmla="*/ 485775 w 8601075"/>
                  <a:gd name="connsiteY150" fmla="*/ 2362200 h 4333875"/>
                  <a:gd name="connsiteX151" fmla="*/ 552450 w 8601075"/>
                  <a:gd name="connsiteY151" fmla="*/ 2486025 h 4333875"/>
                  <a:gd name="connsiteX152" fmla="*/ 771525 w 8601075"/>
                  <a:gd name="connsiteY152" fmla="*/ 2571750 h 4333875"/>
                  <a:gd name="connsiteX153" fmla="*/ 866775 w 8601075"/>
                  <a:gd name="connsiteY153" fmla="*/ 2571750 h 4333875"/>
                  <a:gd name="connsiteX154" fmla="*/ 914400 w 8601075"/>
                  <a:gd name="connsiteY154" fmla="*/ 2638425 h 4333875"/>
                  <a:gd name="connsiteX155" fmla="*/ 1066800 w 8601075"/>
                  <a:gd name="connsiteY155" fmla="*/ 2638425 h 4333875"/>
                  <a:gd name="connsiteX156" fmla="*/ 1285875 w 8601075"/>
                  <a:gd name="connsiteY156" fmla="*/ 2705100 h 4333875"/>
                  <a:gd name="connsiteX157" fmla="*/ 1438275 w 8601075"/>
                  <a:gd name="connsiteY157" fmla="*/ 2838450 h 4333875"/>
                  <a:gd name="connsiteX158" fmla="*/ 1485900 w 8601075"/>
                  <a:gd name="connsiteY158" fmla="*/ 2914650 h 4333875"/>
                  <a:gd name="connsiteX159" fmla="*/ 1657350 w 8601075"/>
                  <a:gd name="connsiteY159" fmla="*/ 3038475 h 4333875"/>
                  <a:gd name="connsiteX160" fmla="*/ 1752600 w 8601075"/>
                  <a:gd name="connsiteY160" fmla="*/ 3057525 h 4333875"/>
                  <a:gd name="connsiteX161" fmla="*/ 1724025 w 8601075"/>
                  <a:gd name="connsiteY161" fmla="*/ 3143250 h 4333875"/>
                  <a:gd name="connsiteX162" fmla="*/ 1724025 w 8601075"/>
                  <a:gd name="connsiteY162" fmla="*/ 3143250 h 4333875"/>
                  <a:gd name="connsiteX163" fmla="*/ 1781175 w 8601075"/>
                  <a:gd name="connsiteY163" fmla="*/ 3181350 h 4333875"/>
                  <a:gd name="connsiteX164" fmla="*/ 1819275 w 8601075"/>
                  <a:gd name="connsiteY164" fmla="*/ 3362325 h 4333875"/>
                  <a:gd name="connsiteX165" fmla="*/ 1828800 w 8601075"/>
                  <a:gd name="connsiteY165" fmla="*/ 3457575 h 4333875"/>
                  <a:gd name="connsiteX166" fmla="*/ 1971675 w 8601075"/>
                  <a:gd name="connsiteY166" fmla="*/ 3590925 h 4333875"/>
                  <a:gd name="connsiteX167" fmla="*/ 1990725 w 8601075"/>
                  <a:gd name="connsiteY167" fmla="*/ 3714750 h 4333875"/>
                  <a:gd name="connsiteX168" fmla="*/ 2200275 w 8601075"/>
                  <a:gd name="connsiteY168" fmla="*/ 3695700 h 4333875"/>
                  <a:gd name="connsiteX169" fmla="*/ 2886075 w 8601075"/>
                  <a:gd name="connsiteY169" fmla="*/ 3886200 h 4333875"/>
                  <a:gd name="connsiteX170" fmla="*/ 3038475 w 8601075"/>
                  <a:gd name="connsiteY170" fmla="*/ 3819525 h 4333875"/>
                  <a:gd name="connsiteX171" fmla="*/ 3105150 w 8601075"/>
                  <a:gd name="connsiteY171" fmla="*/ 3867150 h 4333875"/>
                  <a:gd name="connsiteX172" fmla="*/ 3181350 w 8601075"/>
                  <a:gd name="connsiteY172" fmla="*/ 3800475 h 4333875"/>
                  <a:gd name="connsiteX173" fmla="*/ 3590925 w 8601075"/>
                  <a:gd name="connsiteY173" fmla="*/ 3943350 h 4333875"/>
                  <a:gd name="connsiteX174" fmla="*/ 3686175 w 8601075"/>
                  <a:gd name="connsiteY174" fmla="*/ 4057650 h 4333875"/>
                  <a:gd name="connsiteX175" fmla="*/ 3838575 w 8601075"/>
                  <a:gd name="connsiteY175" fmla="*/ 4057650 h 4333875"/>
                  <a:gd name="connsiteX176" fmla="*/ 4162425 w 8601075"/>
                  <a:gd name="connsiteY176" fmla="*/ 4248150 h 4333875"/>
                  <a:gd name="connsiteX177" fmla="*/ 4391025 w 8601075"/>
                  <a:gd name="connsiteY177" fmla="*/ 4200525 h 4333875"/>
                  <a:gd name="connsiteX178" fmla="*/ 4410075 w 8601075"/>
                  <a:gd name="connsiteY178" fmla="*/ 4305300 h 4333875"/>
                  <a:gd name="connsiteX179" fmla="*/ 4505325 w 8601075"/>
                  <a:gd name="connsiteY179" fmla="*/ 4276725 h 4333875"/>
                  <a:gd name="connsiteX180" fmla="*/ 4572000 w 8601075"/>
                  <a:gd name="connsiteY180" fmla="*/ 4333875 h 4333875"/>
                  <a:gd name="connsiteX181" fmla="*/ 4591050 w 8601075"/>
                  <a:gd name="connsiteY181" fmla="*/ 4248150 h 4333875"/>
                  <a:gd name="connsiteX182" fmla="*/ 5295900 w 8601075"/>
                  <a:gd name="connsiteY182" fmla="*/ 3924300 h 4333875"/>
                  <a:gd name="connsiteX183" fmla="*/ 5353050 w 8601075"/>
                  <a:gd name="connsiteY183" fmla="*/ 3990975 h 4333875"/>
                  <a:gd name="connsiteX184" fmla="*/ 5524500 w 8601075"/>
                  <a:gd name="connsiteY184" fmla="*/ 3914775 h 4333875"/>
                  <a:gd name="connsiteX185" fmla="*/ 5667375 w 8601075"/>
                  <a:gd name="connsiteY185" fmla="*/ 3962400 h 4333875"/>
                  <a:gd name="connsiteX186" fmla="*/ 5753100 w 8601075"/>
                  <a:gd name="connsiteY186" fmla="*/ 3924300 h 4333875"/>
                  <a:gd name="connsiteX187" fmla="*/ 5905500 w 8601075"/>
                  <a:gd name="connsiteY187" fmla="*/ 3943350 h 4333875"/>
                  <a:gd name="connsiteX188" fmla="*/ 6000750 w 8601075"/>
                  <a:gd name="connsiteY188" fmla="*/ 3800475 h 4333875"/>
                  <a:gd name="connsiteX189" fmla="*/ 6153150 w 8601075"/>
                  <a:gd name="connsiteY189" fmla="*/ 3781425 h 4333875"/>
                  <a:gd name="connsiteX190" fmla="*/ 6257925 w 8601075"/>
                  <a:gd name="connsiteY190" fmla="*/ 3581400 h 4333875"/>
                  <a:gd name="connsiteX191" fmla="*/ 6448425 w 8601075"/>
                  <a:gd name="connsiteY191" fmla="*/ 3448050 h 4333875"/>
                  <a:gd name="connsiteX192" fmla="*/ 6581775 w 8601075"/>
                  <a:gd name="connsiteY192" fmla="*/ 3276600 h 4333875"/>
                  <a:gd name="connsiteX193" fmla="*/ 6496050 w 8601075"/>
                  <a:gd name="connsiteY193" fmla="*/ 3228975 h 4333875"/>
                  <a:gd name="connsiteX194" fmla="*/ 6438900 w 8601075"/>
                  <a:gd name="connsiteY194" fmla="*/ 3162300 h 4333875"/>
                  <a:gd name="connsiteX195" fmla="*/ 6419850 w 8601075"/>
                  <a:gd name="connsiteY195" fmla="*/ 3105150 h 4333875"/>
                  <a:gd name="connsiteX196" fmla="*/ 6362700 w 8601075"/>
                  <a:gd name="connsiteY196" fmla="*/ 3076575 h 4333875"/>
                  <a:gd name="connsiteX197" fmla="*/ 6410325 w 8601075"/>
                  <a:gd name="connsiteY197" fmla="*/ 3019425 h 4333875"/>
                  <a:gd name="connsiteX198" fmla="*/ 6438900 w 8601075"/>
                  <a:gd name="connsiteY198" fmla="*/ 2819400 h 4333875"/>
                  <a:gd name="connsiteX199" fmla="*/ 6496050 w 8601075"/>
                  <a:gd name="connsiteY199" fmla="*/ 2762250 h 4333875"/>
                  <a:gd name="connsiteX200" fmla="*/ 6657975 w 8601075"/>
                  <a:gd name="connsiteY200" fmla="*/ 2752725 h 4333875"/>
                  <a:gd name="connsiteX201" fmla="*/ 6781800 w 8601075"/>
                  <a:gd name="connsiteY201" fmla="*/ 2838450 h 4333875"/>
                  <a:gd name="connsiteX202" fmla="*/ 7010400 w 8601075"/>
                  <a:gd name="connsiteY202" fmla="*/ 2838450 h 4333875"/>
                  <a:gd name="connsiteX203" fmla="*/ 7162800 w 8601075"/>
                  <a:gd name="connsiteY203" fmla="*/ 2705100 h 4333875"/>
                  <a:gd name="connsiteX204" fmla="*/ 7229475 w 8601075"/>
                  <a:gd name="connsiteY204" fmla="*/ 2590800 h 4333875"/>
                  <a:gd name="connsiteX205" fmla="*/ 7248525 w 8601075"/>
                  <a:gd name="connsiteY205" fmla="*/ 2524125 h 4333875"/>
                  <a:gd name="connsiteX206" fmla="*/ 7372350 w 8601075"/>
                  <a:gd name="connsiteY206" fmla="*/ 2543175 h 4333875"/>
                  <a:gd name="connsiteX207" fmla="*/ 7553325 w 8601075"/>
                  <a:gd name="connsiteY207" fmla="*/ 2447925 h 4333875"/>
                  <a:gd name="connsiteX208" fmla="*/ 7620000 w 8601075"/>
                  <a:gd name="connsiteY208" fmla="*/ 2324100 h 4333875"/>
                  <a:gd name="connsiteX209" fmla="*/ 7696200 w 8601075"/>
                  <a:gd name="connsiteY209" fmla="*/ 2314575 h 4333875"/>
                  <a:gd name="connsiteX210" fmla="*/ 7658100 w 8601075"/>
                  <a:gd name="connsiteY210" fmla="*/ 2257425 h 4333875"/>
                  <a:gd name="connsiteX211" fmla="*/ 7753350 w 8601075"/>
                  <a:gd name="connsiteY211" fmla="*/ 2057400 h 4333875"/>
                  <a:gd name="connsiteX212" fmla="*/ 7934325 w 8601075"/>
                  <a:gd name="connsiteY212" fmla="*/ 2028825 h 4333875"/>
                  <a:gd name="connsiteX213" fmla="*/ 7953375 w 8601075"/>
                  <a:gd name="connsiteY213" fmla="*/ 1952625 h 4333875"/>
                  <a:gd name="connsiteX214" fmla="*/ 7953375 w 8601075"/>
                  <a:gd name="connsiteY214" fmla="*/ 1952625 h 4333875"/>
                  <a:gd name="connsiteX215" fmla="*/ 8010525 w 8601075"/>
                  <a:gd name="connsiteY215" fmla="*/ 1895475 h 4333875"/>
                  <a:gd name="connsiteX216" fmla="*/ 8048625 w 8601075"/>
                  <a:gd name="connsiteY216" fmla="*/ 1971675 h 4333875"/>
                  <a:gd name="connsiteX217" fmla="*/ 8077200 w 8601075"/>
                  <a:gd name="connsiteY217" fmla="*/ 1885950 h 4333875"/>
                  <a:gd name="connsiteX218" fmla="*/ 8220075 w 8601075"/>
                  <a:gd name="connsiteY218" fmla="*/ 1847850 h 4333875"/>
                  <a:gd name="connsiteX219" fmla="*/ 8296275 w 8601075"/>
                  <a:gd name="connsiteY219" fmla="*/ 1809750 h 4333875"/>
                  <a:gd name="connsiteX220" fmla="*/ 8324850 w 8601075"/>
                  <a:gd name="connsiteY220" fmla="*/ 1790700 h 4333875"/>
                  <a:gd name="connsiteX221" fmla="*/ 8410575 w 8601075"/>
                  <a:gd name="connsiteY221" fmla="*/ 1847850 h 4333875"/>
                  <a:gd name="connsiteX222" fmla="*/ 8505825 w 8601075"/>
                  <a:gd name="connsiteY222" fmla="*/ 1781175 h 4333875"/>
                  <a:gd name="connsiteX223" fmla="*/ 8572500 w 8601075"/>
                  <a:gd name="connsiteY223" fmla="*/ 1809750 h 4333875"/>
                  <a:gd name="connsiteX224" fmla="*/ 8601075 w 8601075"/>
                  <a:gd name="connsiteY224" fmla="*/ 1704975 h 4333875"/>
                  <a:gd name="connsiteX225" fmla="*/ 8553450 w 8601075"/>
                  <a:gd name="connsiteY225" fmla="*/ 1676400 h 4333875"/>
                  <a:gd name="connsiteX226" fmla="*/ 8534400 w 8601075"/>
                  <a:gd name="connsiteY226" fmla="*/ 1609725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124825 w 8601075"/>
                  <a:gd name="connsiteY230" fmla="*/ 1352550 h 4333875"/>
                  <a:gd name="connsiteX231" fmla="*/ 7924800 w 8601075"/>
                  <a:gd name="connsiteY231" fmla="*/ 1362075 h 4333875"/>
                  <a:gd name="connsiteX232" fmla="*/ 7867650 w 8601075"/>
                  <a:gd name="connsiteY232" fmla="*/ 1457325 h 4333875"/>
                  <a:gd name="connsiteX233" fmla="*/ 7896225 w 8601075"/>
                  <a:gd name="connsiteY233" fmla="*/ 1476375 h 4333875"/>
                  <a:gd name="connsiteX234" fmla="*/ 7858125 w 8601075"/>
                  <a:gd name="connsiteY234" fmla="*/ 1533525 h 4333875"/>
                  <a:gd name="connsiteX235" fmla="*/ 7658100 w 8601075"/>
                  <a:gd name="connsiteY235" fmla="*/ 1447800 h 4333875"/>
                  <a:gd name="connsiteX236" fmla="*/ 7515225 w 8601075"/>
                  <a:gd name="connsiteY236" fmla="*/ 1495425 h 4333875"/>
                  <a:gd name="connsiteX237" fmla="*/ 7467600 w 8601075"/>
                  <a:gd name="connsiteY237" fmla="*/ 1581150 h 4333875"/>
                  <a:gd name="connsiteX238" fmla="*/ 7296150 w 8601075"/>
                  <a:gd name="connsiteY23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628650 w 8601075"/>
                  <a:gd name="connsiteY146" fmla="*/ 1704975 h 4333875"/>
                  <a:gd name="connsiteX147" fmla="*/ 676275 w 8601075"/>
                  <a:gd name="connsiteY147" fmla="*/ 1771650 h 4333875"/>
                  <a:gd name="connsiteX148" fmla="*/ 657225 w 8601075"/>
                  <a:gd name="connsiteY148" fmla="*/ 2000250 h 4333875"/>
                  <a:gd name="connsiteX149" fmla="*/ 619125 w 8601075"/>
                  <a:gd name="connsiteY149" fmla="*/ 2095500 h 4333875"/>
                  <a:gd name="connsiteX150" fmla="*/ 542925 w 8601075"/>
                  <a:gd name="connsiteY150" fmla="*/ 2228850 h 4333875"/>
                  <a:gd name="connsiteX151" fmla="*/ 485775 w 8601075"/>
                  <a:gd name="connsiteY151" fmla="*/ 2362200 h 4333875"/>
                  <a:gd name="connsiteX152" fmla="*/ 552450 w 8601075"/>
                  <a:gd name="connsiteY152" fmla="*/ 2486025 h 4333875"/>
                  <a:gd name="connsiteX153" fmla="*/ 771525 w 8601075"/>
                  <a:gd name="connsiteY153" fmla="*/ 2571750 h 4333875"/>
                  <a:gd name="connsiteX154" fmla="*/ 866775 w 8601075"/>
                  <a:gd name="connsiteY154" fmla="*/ 2571750 h 4333875"/>
                  <a:gd name="connsiteX155" fmla="*/ 914400 w 8601075"/>
                  <a:gd name="connsiteY155" fmla="*/ 2638425 h 4333875"/>
                  <a:gd name="connsiteX156" fmla="*/ 1066800 w 8601075"/>
                  <a:gd name="connsiteY156" fmla="*/ 2638425 h 4333875"/>
                  <a:gd name="connsiteX157" fmla="*/ 1285875 w 8601075"/>
                  <a:gd name="connsiteY157" fmla="*/ 2705100 h 4333875"/>
                  <a:gd name="connsiteX158" fmla="*/ 1438275 w 8601075"/>
                  <a:gd name="connsiteY158" fmla="*/ 2838450 h 4333875"/>
                  <a:gd name="connsiteX159" fmla="*/ 1485900 w 8601075"/>
                  <a:gd name="connsiteY159" fmla="*/ 2914650 h 4333875"/>
                  <a:gd name="connsiteX160" fmla="*/ 1657350 w 8601075"/>
                  <a:gd name="connsiteY160" fmla="*/ 3038475 h 4333875"/>
                  <a:gd name="connsiteX161" fmla="*/ 1752600 w 8601075"/>
                  <a:gd name="connsiteY161" fmla="*/ 3057525 h 4333875"/>
                  <a:gd name="connsiteX162" fmla="*/ 1724025 w 8601075"/>
                  <a:gd name="connsiteY162" fmla="*/ 3143250 h 4333875"/>
                  <a:gd name="connsiteX163" fmla="*/ 1724025 w 8601075"/>
                  <a:gd name="connsiteY163" fmla="*/ 3143250 h 4333875"/>
                  <a:gd name="connsiteX164" fmla="*/ 1781175 w 8601075"/>
                  <a:gd name="connsiteY164" fmla="*/ 3181350 h 4333875"/>
                  <a:gd name="connsiteX165" fmla="*/ 1819275 w 8601075"/>
                  <a:gd name="connsiteY165" fmla="*/ 3362325 h 4333875"/>
                  <a:gd name="connsiteX166" fmla="*/ 1828800 w 8601075"/>
                  <a:gd name="connsiteY166" fmla="*/ 3457575 h 4333875"/>
                  <a:gd name="connsiteX167" fmla="*/ 1971675 w 8601075"/>
                  <a:gd name="connsiteY167" fmla="*/ 3590925 h 4333875"/>
                  <a:gd name="connsiteX168" fmla="*/ 1990725 w 8601075"/>
                  <a:gd name="connsiteY168" fmla="*/ 3714750 h 4333875"/>
                  <a:gd name="connsiteX169" fmla="*/ 2200275 w 8601075"/>
                  <a:gd name="connsiteY169" fmla="*/ 3695700 h 4333875"/>
                  <a:gd name="connsiteX170" fmla="*/ 2886075 w 8601075"/>
                  <a:gd name="connsiteY170" fmla="*/ 3886200 h 4333875"/>
                  <a:gd name="connsiteX171" fmla="*/ 3038475 w 8601075"/>
                  <a:gd name="connsiteY171" fmla="*/ 3819525 h 4333875"/>
                  <a:gd name="connsiteX172" fmla="*/ 3105150 w 8601075"/>
                  <a:gd name="connsiteY172" fmla="*/ 3867150 h 4333875"/>
                  <a:gd name="connsiteX173" fmla="*/ 3181350 w 8601075"/>
                  <a:gd name="connsiteY173" fmla="*/ 3800475 h 4333875"/>
                  <a:gd name="connsiteX174" fmla="*/ 3590925 w 8601075"/>
                  <a:gd name="connsiteY174" fmla="*/ 3943350 h 4333875"/>
                  <a:gd name="connsiteX175" fmla="*/ 3686175 w 8601075"/>
                  <a:gd name="connsiteY175" fmla="*/ 4057650 h 4333875"/>
                  <a:gd name="connsiteX176" fmla="*/ 3838575 w 8601075"/>
                  <a:gd name="connsiteY176" fmla="*/ 4057650 h 4333875"/>
                  <a:gd name="connsiteX177" fmla="*/ 4162425 w 8601075"/>
                  <a:gd name="connsiteY177" fmla="*/ 4248150 h 4333875"/>
                  <a:gd name="connsiteX178" fmla="*/ 4391025 w 8601075"/>
                  <a:gd name="connsiteY178" fmla="*/ 4200525 h 4333875"/>
                  <a:gd name="connsiteX179" fmla="*/ 4410075 w 8601075"/>
                  <a:gd name="connsiteY179" fmla="*/ 4305300 h 4333875"/>
                  <a:gd name="connsiteX180" fmla="*/ 4505325 w 8601075"/>
                  <a:gd name="connsiteY180" fmla="*/ 4276725 h 4333875"/>
                  <a:gd name="connsiteX181" fmla="*/ 4572000 w 8601075"/>
                  <a:gd name="connsiteY181" fmla="*/ 4333875 h 4333875"/>
                  <a:gd name="connsiteX182" fmla="*/ 4591050 w 8601075"/>
                  <a:gd name="connsiteY182" fmla="*/ 4248150 h 4333875"/>
                  <a:gd name="connsiteX183" fmla="*/ 5295900 w 8601075"/>
                  <a:gd name="connsiteY183" fmla="*/ 3924300 h 4333875"/>
                  <a:gd name="connsiteX184" fmla="*/ 5353050 w 8601075"/>
                  <a:gd name="connsiteY184" fmla="*/ 3990975 h 4333875"/>
                  <a:gd name="connsiteX185" fmla="*/ 5524500 w 8601075"/>
                  <a:gd name="connsiteY185" fmla="*/ 3914775 h 4333875"/>
                  <a:gd name="connsiteX186" fmla="*/ 5667375 w 8601075"/>
                  <a:gd name="connsiteY186" fmla="*/ 3962400 h 4333875"/>
                  <a:gd name="connsiteX187" fmla="*/ 5753100 w 8601075"/>
                  <a:gd name="connsiteY187" fmla="*/ 3924300 h 4333875"/>
                  <a:gd name="connsiteX188" fmla="*/ 5905500 w 8601075"/>
                  <a:gd name="connsiteY188" fmla="*/ 3943350 h 4333875"/>
                  <a:gd name="connsiteX189" fmla="*/ 6000750 w 8601075"/>
                  <a:gd name="connsiteY189" fmla="*/ 3800475 h 4333875"/>
                  <a:gd name="connsiteX190" fmla="*/ 6153150 w 8601075"/>
                  <a:gd name="connsiteY190" fmla="*/ 3781425 h 4333875"/>
                  <a:gd name="connsiteX191" fmla="*/ 6257925 w 8601075"/>
                  <a:gd name="connsiteY191" fmla="*/ 3581400 h 4333875"/>
                  <a:gd name="connsiteX192" fmla="*/ 6448425 w 8601075"/>
                  <a:gd name="connsiteY192" fmla="*/ 3448050 h 4333875"/>
                  <a:gd name="connsiteX193" fmla="*/ 6581775 w 8601075"/>
                  <a:gd name="connsiteY193" fmla="*/ 3276600 h 4333875"/>
                  <a:gd name="connsiteX194" fmla="*/ 6496050 w 8601075"/>
                  <a:gd name="connsiteY194" fmla="*/ 3228975 h 4333875"/>
                  <a:gd name="connsiteX195" fmla="*/ 6438900 w 8601075"/>
                  <a:gd name="connsiteY195" fmla="*/ 3162300 h 4333875"/>
                  <a:gd name="connsiteX196" fmla="*/ 6419850 w 8601075"/>
                  <a:gd name="connsiteY196" fmla="*/ 3105150 h 4333875"/>
                  <a:gd name="connsiteX197" fmla="*/ 6362700 w 8601075"/>
                  <a:gd name="connsiteY197" fmla="*/ 3076575 h 4333875"/>
                  <a:gd name="connsiteX198" fmla="*/ 6410325 w 8601075"/>
                  <a:gd name="connsiteY198" fmla="*/ 3019425 h 4333875"/>
                  <a:gd name="connsiteX199" fmla="*/ 6438900 w 8601075"/>
                  <a:gd name="connsiteY199" fmla="*/ 2819400 h 4333875"/>
                  <a:gd name="connsiteX200" fmla="*/ 6496050 w 8601075"/>
                  <a:gd name="connsiteY200" fmla="*/ 2762250 h 4333875"/>
                  <a:gd name="connsiteX201" fmla="*/ 6657975 w 8601075"/>
                  <a:gd name="connsiteY201" fmla="*/ 2752725 h 4333875"/>
                  <a:gd name="connsiteX202" fmla="*/ 6781800 w 8601075"/>
                  <a:gd name="connsiteY202" fmla="*/ 2838450 h 4333875"/>
                  <a:gd name="connsiteX203" fmla="*/ 7010400 w 8601075"/>
                  <a:gd name="connsiteY203" fmla="*/ 2838450 h 4333875"/>
                  <a:gd name="connsiteX204" fmla="*/ 7162800 w 8601075"/>
                  <a:gd name="connsiteY204" fmla="*/ 2705100 h 4333875"/>
                  <a:gd name="connsiteX205" fmla="*/ 7229475 w 8601075"/>
                  <a:gd name="connsiteY205" fmla="*/ 2590800 h 4333875"/>
                  <a:gd name="connsiteX206" fmla="*/ 7248525 w 8601075"/>
                  <a:gd name="connsiteY206" fmla="*/ 2524125 h 4333875"/>
                  <a:gd name="connsiteX207" fmla="*/ 7372350 w 8601075"/>
                  <a:gd name="connsiteY207" fmla="*/ 2543175 h 4333875"/>
                  <a:gd name="connsiteX208" fmla="*/ 7553325 w 8601075"/>
                  <a:gd name="connsiteY208" fmla="*/ 2447925 h 4333875"/>
                  <a:gd name="connsiteX209" fmla="*/ 7620000 w 8601075"/>
                  <a:gd name="connsiteY209" fmla="*/ 2324100 h 4333875"/>
                  <a:gd name="connsiteX210" fmla="*/ 7696200 w 8601075"/>
                  <a:gd name="connsiteY210" fmla="*/ 2314575 h 4333875"/>
                  <a:gd name="connsiteX211" fmla="*/ 7658100 w 8601075"/>
                  <a:gd name="connsiteY211" fmla="*/ 2257425 h 4333875"/>
                  <a:gd name="connsiteX212" fmla="*/ 7753350 w 8601075"/>
                  <a:gd name="connsiteY212" fmla="*/ 2057400 h 4333875"/>
                  <a:gd name="connsiteX213" fmla="*/ 7934325 w 8601075"/>
                  <a:gd name="connsiteY213" fmla="*/ 2028825 h 4333875"/>
                  <a:gd name="connsiteX214" fmla="*/ 7953375 w 8601075"/>
                  <a:gd name="connsiteY214" fmla="*/ 1952625 h 4333875"/>
                  <a:gd name="connsiteX215" fmla="*/ 7953375 w 8601075"/>
                  <a:gd name="connsiteY215" fmla="*/ 1952625 h 4333875"/>
                  <a:gd name="connsiteX216" fmla="*/ 8010525 w 8601075"/>
                  <a:gd name="connsiteY216" fmla="*/ 1895475 h 4333875"/>
                  <a:gd name="connsiteX217" fmla="*/ 8048625 w 8601075"/>
                  <a:gd name="connsiteY217" fmla="*/ 1971675 h 4333875"/>
                  <a:gd name="connsiteX218" fmla="*/ 8077200 w 8601075"/>
                  <a:gd name="connsiteY218" fmla="*/ 1885950 h 4333875"/>
                  <a:gd name="connsiteX219" fmla="*/ 8220075 w 8601075"/>
                  <a:gd name="connsiteY219" fmla="*/ 1847850 h 4333875"/>
                  <a:gd name="connsiteX220" fmla="*/ 8296275 w 8601075"/>
                  <a:gd name="connsiteY220" fmla="*/ 1809750 h 4333875"/>
                  <a:gd name="connsiteX221" fmla="*/ 8324850 w 8601075"/>
                  <a:gd name="connsiteY221" fmla="*/ 1790700 h 4333875"/>
                  <a:gd name="connsiteX222" fmla="*/ 8410575 w 8601075"/>
                  <a:gd name="connsiteY222" fmla="*/ 1847850 h 4333875"/>
                  <a:gd name="connsiteX223" fmla="*/ 8505825 w 8601075"/>
                  <a:gd name="connsiteY223" fmla="*/ 1781175 h 4333875"/>
                  <a:gd name="connsiteX224" fmla="*/ 8572500 w 8601075"/>
                  <a:gd name="connsiteY224" fmla="*/ 1809750 h 4333875"/>
                  <a:gd name="connsiteX225" fmla="*/ 8601075 w 8601075"/>
                  <a:gd name="connsiteY225" fmla="*/ 1704975 h 4333875"/>
                  <a:gd name="connsiteX226" fmla="*/ 8553450 w 8601075"/>
                  <a:gd name="connsiteY226" fmla="*/ 1676400 h 4333875"/>
                  <a:gd name="connsiteX227" fmla="*/ 8534400 w 8601075"/>
                  <a:gd name="connsiteY227" fmla="*/ 1609725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124825 w 8601075"/>
                  <a:gd name="connsiteY231" fmla="*/ 1352550 h 4333875"/>
                  <a:gd name="connsiteX232" fmla="*/ 7924800 w 8601075"/>
                  <a:gd name="connsiteY232" fmla="*/ 1362075 h 4333875"/>
                  <a:gd name="connsiteX233" fmla="*/ 7867650 w 8601075"/>
                  <a:gd name="connsiteY233" fmla="*/ 1457325 h 4333875"/>
                  <a:gd name="connsiteX234" fmla="*/ 7896225 w 8601075"/>
                  <a:gd name="connsiteY234" fmla="*/ 1476375 h 4333875"/>
                  <a:gd name="connsiteX235" fmla="*/ 7858125 w 8601075"/>
                  <a:gd name="connsiteY235" fmla="*/ 1533525 h 4333875"/>
                  <a:gd name="connsiteX236" fmla="*/ 7658100 w 8601075"/>
                  <a:gd name="connsiteY236" fmla="*/ 1447800 h 4333875"/>
                  <a:gd name="connsiteX237" fmla="*/ 7515225 w 8601075"/>
                  <a:gd name="connsiteY237" fmla="*/ 1495425 h 4333875"/>
                  <a:gd name="connsiteX238" fmla="*/ 7467600 w 8601075"/>
                  <a:gd name="connsiteY238" fmla="*/ 1581150 h 4333875"/>
                  <a:gd name="connsiteX239" fmla="*/ 7296150 w 8601075"/>
                  <a:gd name="connsiteY23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676275 w 8601075"/>
                  <a:gd name="connsiteY147" fmla="*/ 1771650 h 4333875"/>
                  <a:gd name="connsiteX148" fmla="*/ 657225 w 8601075"/>
                  <a:gd name="connsiteY148" fmla="*/ 2000250 h 4333875"/>
                  <a:gd name="connsiteX149" fmla="*/ 619125 w 8601075"/>
                  <a:gd name="connsiteY149" fmla="*/ 2095500 h 4333875"/>
                  <a:gd name="connsiteX150" fmla="*/ 542925 w 8601075"/>
                  <a:gd name="connsiteY150" fmla="*/ 2228850 h 4333875"/>
                  <a:gd name="connsiteX151" fmla="*/ 485775 w 8601075"/>
                  <a:gd name="connsiteY151" fmla="*/ 2362200 h 4333875"/>
                  <a:gd name="connsiteX152" fmla="*/ 552450 w 8601075"/>
                  <a:gd name="connsiteY152" fmla="*/ 2486025 h 4333875"/>
                  <a:gd name="connsiteX153" fmla="*/ 771525 w 8601075"/>
                  <a:gd name="connsiteY153" fmla="*/ 2571750 h 4333875"/>
                  <a:gd name="connsiteX154" fmla="*/ 866775 w 8601075"/>
                  <a:gd name="connsiteY154" fmla="*/ 2571750 h 4333875"/>
                  <a:gd name="connsiteX155" fmla="*/ 914400 w 8601075"/>
                  <a:gd name="connsiteY155" fmla="*/ 2638425 h 4333875"/>
                  <a:gd name="connsiteX156" fmla="*/ 1066800 w 8601075"/>
                  <a:gd name="connsiteY156" fmla="*/ 2638425 h 4333875"/>
                  <a:gd name="connsiteX157" fmla="*/ 1285875 w 8601075"/>
                  <a:gd name="connsiteY157" fmla="*/ 2705100 h 4333875"/>
                  <a:gd name="connsiteX158" fmla="*/ 1438275 w 8601075"/>
                  <a:gd name="connsiteY158" fmla="*/ 2838450 h 4333875"/>
                  <a:gd name="connsiteX159" fmla="*/ 1485900 w 8601075"/>
                  <a:gd name="connsiteY159" fmla="*/ 2914650 h 4333875"/>
                  <a:gd name="connsiteX160" fmla="*/ 1657350 w 8601075"/>
                  <a:gd name="connsiteY160" fmla="*/ 3038475 h 4333875"/>
                  <a:gd name="connsiteX161" fmla="*/ 1752600 w 8601075"/>
                  <a:gd name="connsiteY161" fmla="*/ 3057525 h 4333875"/>
                  <a:gd name="connsiteX162" fmla="*/ 1724025 w 8601075"/>
                  <a:gd name="connsiteY162" fmla="*/ 3143250 h 4333875"/>
                  <a:gd name="connsiteX163" fmla="*/ 1724025 w 8601075"/>
                  <a:gd name="connsiteY163" fmla="*/ 3143250 h 4333875"/>
                  <a:gd name="connsiteX164" fmla="*/ 1781175 w 8601075"/>
                  <a:gd name="connsiteY164" fmla="*/ 3181350 h 4333875"/>
                  <a:gd name="connsiteX165" fmla="*/ 1819275 w 8601075"/>
                  <a:gd name="connsiteY165" fmla="*/ 3362325 h 4333875"/>
                  <a:gd name="connsiteX166" fmla="*/ 1828800 w 8601075"/>
                  <a:gd name="connsiteY166" fmla="*/ 3457575 h 4333875"/>
                  <a:gd name="connsiteX167" fmla="*/ 1971675 w 8601075"/>
                  <a:gd name="connsiteY167" fmla="*/ 3590925 h 4333875"/>
                  <a:gd name="connsiteX168" fmla="*/ 1990725 w 8601075"/>
                  <a:gd name="connsiteY168" fmla="*/ 3714750 h 4333875"/>
                  <a:gd name="connsiteX169" fmla="*/ 2200275 w 8601075"/>
                  <a:gd name="connsiteY169" fmla="*/ 3695700 h 4333875"/>
                  <a:gd name="connsiteX170" fmla="*/ 2886075 w 8601075"/>
                  <a:gd name="connsiteY170" fmla="*/ 3886200 h 4333875"/>
                  <a:gd name="connsiteX171" fmla="*/ 3038475 w 8601075"/>
                  <a:gd name="connsiteY171" fmla="*/ 3819525 h 4333875"/>
                  <a:gd name="connsiteX172" fmla="*/ 3105150 w 8601075"/>
                  <a:gd name="connsiteY172" fmla="*/ 3867150 h 4333875"/>
                  <a:gd name="connsiteX173" fmla="*/ 3181350 w 8601075"/>
                  <a:gd name="connsiteY173" fmla="*/ 3800475 h 4333875"/>
                  <a:gd name="connsiteX174" fmla="*/ 3590925 w 8601075"/>
                  <a:gd name="connsiteY174" fmla="*/ 3943350 h 4333875"/>
                  <a:gd name="connsiteX175" fmla="*/ 3686175 w 8601075"/>
                  <a:gd name="connsiteY175" fmla="*/ 4057650 h 4333875"/>
                  <a:gd name="connsiteX176" fmla="*/ 3838575 w 8601075"/>
                  <a:gd name="connsiteY176" fmla="*/ 4057650 h 4333875"/>
                  <a:gd name="connsiteX177" fmla="*/ 4162425 w 8601075"/>
                  <a:gd name="connsiteY177" fmla="*/ 4248150 h 4333875"/>
                  <a:gd name="connsiteX178" fmla="*/ 4391025 w 8601075"/>
                  <a:gd name="connsiteY178" fmla="*/ 4200525 h 4333875"/>
                  <a:gd name="connsiteX179" fmla="*/ 4410075 w 8601075"/>
                  <a:gd name="connsiteY179" fmla="*/ 4305300 h 4333875"/>
                  <a:gd name="connsiteX180" fmla="*/ 4505325 w 8601075"/>
                  <a:gd name="connsiteY180" fmla="*/ 4276725 h 4333875"/>
                  <a:gd name="connsiteX181" fmla="*/ 4572000 w 8601075"/>
                  <a:gd name="connsiteY181" fmla="*/ 4333875 h 4333875"/>
                  <a:gd name="connsiteX182" fmla="*/ 4591050 w 8601075"/>
                  <a:gd name="connsiteY182" fmla="*/ 4248150 h 4333875"/>
                  <a:gd name="connsiteX183" fmla="*/ 5295900 w 8601075"/>
                  <a:gd name="connsiteY183" fmla="*/ 3924300 h 4333875"/>
                  <a:gd name="connsiteX184" fmla="*/ 5353050 w 8601075"/>
                  <a:gd name="connsiteY184" fmla="*/ 3990975 h 4333875"/>
                  <a:gd name="connsiteX185" fmla="*/ 5524500 w 8601075"/>
                  <a:gd name="connsiteY185" fmla="*/ 3914775 h 4333875"/>
                  <a:gd name="connsiteX186" fmla="*/ 5667375 w 8601075"/>
                  <a:gd name="connsiteY186" fmla="*/ 3962400 h 4333875"/>
                  <a:gd name="connsiteX187" fmla="*/ 5753100 w 8601075"/>
                  <a:gd name="connsiteY187" fmla="*/ 3924300 h 4333875"/>
                  <a:gd name="connsiteX188" fmla="*/ 5905500 w 8601075"/>
                  <a:gd name="connsiteY188" fmla="*/ 3943350 h 4333875"/>
                  <a:gd name="connsiteX189" fmla="*/ 6000750 w 8601075"/>
                  <a:gd name="connsiteY189" fmla="*/ 3800475 h 4333875"/>
                  <a:gd name="connsiteX190" fmla="*/ 6153150 w 8601075"/>
                  <a:gd name="connsiteY190" fmla="*/ 3781425 h 4333875"/>
                  <a:gd name="connsiteX191" fmla="*/ 6257925 w 8601075"/>
                  <a:gd name="connsiteY191" fmla="*/ 3581400 h 4333875"/>
                  <a:gd name="connsiteX192" fmla="*/ 6448425 w 8601075"/>
                  <a:gd name="connsiteY192" fmla="*/ 3448050 h 4333875"/>
                  <a:gd name="connsiteX193" fmla="*/ 6581775 w 8601075"/>
                  <a:gd name="connsiteY193" fmla="*/ 3276600 h 4333875"/>
                  <a:gd name="connsiteX194" fmla="*/ 6496050 w 8601075"/>
                  <a:gd name="connsiteY194" fmla="*/ 3228975 h 4333875"/>
                  <a:gd name="connsiteX195" fmla="*/ 6438900 w 8601075"/>
                  <a:gd name="connsiteY195" fmla="*/ 3162300 h 4333875"/>
                  <a:gd name="connsiteX196" fmla="*/ 6419850 w 8601075"/>
                  <a:gd name="connsiteY196" fmla="*/ 3105150 h 4333875"/>
                  <a:gd name="connsiteX197" fmla="*/ 6362700 w 8601075"/>
                  <a:gd name="connsiteY197" fmla="*/ 3076575 h 4333875"/>
                  <a:gd name="connsiteX198" fmla="*/ 6410325 w 8601075"/>
                  <a:gd name="connsiteY198" fmla="*/ 3019425 h 4333875"/>
                  <a:gd name="connsiteX199" fmla="*/ 6438900 w 8601075"/>
                  <a:gd name="connsiteY199" fmla="*/ 2819400 h 4333875"/>
                  <a:gd name="connsiteX200" fmla="*/ 6496050 w 8601075"/>
                  <a:gd name="connsiteY200" fmla="*/ 2762250 h 4333875"/>
                  <a:gd name="connsiteX201" fmla="*/ 6657975 w 8601075"/>
                  <a:gd name="connsiteY201" fmla="*/ 2752725 h 4333875"/>
                  <a:gd name="connsiteX202" fmla="*/ 6781800 w 8601075"/>
                  <a:gd name="connsiteY202" fmla="*/ 2838450 h 4333875"/>
                  <a:gd name="connsiteX203" fmla="*/ 7010400 w 8601075"/>
                  <a:gd name="connsiteY203" fmla="*/ 2838450 h 4333875"/>
                  <a:gd name="connsiteX204" fmla="*/ 7162800 w 8601075"/>
                  <a:gd name="connsiteY204" fmla="*/ 2705100 h 4333875"/>
                  <a:gd name="connsiteX205" fmla="*/ 7229475 w 8601075"/>
                  <a:gd name="connsiteY205" fmla="*/ 2590800 h 4333875"/>
                  <a:gd name="connsiteX206" fmla="*/ 7248525 w 8601075"/>
                  <a:gd name="connsiteY206" fmla="*/ 2524125 h 4333875"/>
                  <a:gd name="connsiteX207" fmla="*/ 7372350 w 8601075"/>
                  <a:gd name="connsiteY207" fmla="*/ 2543175 h 4333875"/>
                  <a:gd name="connsiteX208" fmla="*/ 7553325 w 8601075"/>
                  <a:gd name="connsiteY208" fmla="*/ 2447925 h 4333875"/>
                  <a:gd name="connsiteX209" fmla="*/ 7620000 w 8601075"/>
                  <a:gd name="connsiteY209" fmla="*/ 2324100 h 4333875"/>
                  <a:gd name="connsiteX210" fmla="*/ 7696200 w 8601075"/>
                  <a:gd name="connsiteY210" fmla="*/ 2314575 h 4333875"/>
                  <a:gd name="connsiteX211" fmla="*/ 7658100 w 8601075"/>
                  <a:gd name="connsiteY211" fmla="*/ 2257425 h 4333875"/>
                  <a:gd name="connsiteX212" fmla="*/ 7753350 w 8601075"/>
                  <a:gd name="connsiteY212" fmla="*/ 2057400 h 4333875"/>
                  <a:gd name="connsiteX213" fmla="*/ 7934325 w 8601075"/>
                  <a:gd name="connsiteY213" fmla="*/ 2028825 h 4333875"/>
                  <a:gd name="connsiteX214" fmla="*/ 7953375 w 8601075"/>
                  <a:gd name="connsiteY214" fmla="*/ 1952625 h 4333875"/>
                  <a:gd name="connsiteX215" fmla="*/ 7953375 w 8601075"/>
                  <a:gd name="connsiteY215" fmla="*/ 1952625 h 4333875"/>
                  <a:gd name="connsiteX216" fmla="*/ 8010525 w 8601075"/>
                  <a:gd name="connsiteY216" fmla="*/ 1895475 h 4333875"/>
                  <a:gd name="connsiteX217" fmla="*/ 8048625 w 8601075"/>
                  <a:gd name="connsiteY217" fmla="*/ 1971675 h 4333875"/>
                  <a:gd name="connsiteX218" fmla="*/ 8077200 w 8601075"/>
                  <a:gd name="connsiteY218" fmla="*/ 1885950 h 4333875"/>
                  <a:gd name="connsiteX219" fmla="*/ 8220075 w 8601075"/>
                  <a:gd name="connsiteY219" fmla="*/ 1847850 h 4333875"/>
                  <a:gd name="connsiteX220" fmla="*/ 8296275 w 8601075"/>
                  <a:gd name="connsiteY220" fmla="*/ 1809750 h 4333875"/>
                  <a:gd name="connsiteX221" fmla="*/ 8324850 w 8601075"/>
                  <a:gd name="connsiteY221" fmla="*/ 1790700 h 4333875"/>
                  <a:gd name="connsiteX222" fmla="*/ 8410575 w 8601075"/>
                  <a:gd name="connsiteY222" fmla="*/ 1847850 h 4333875"/>
                  <a:gd name="connsiteX223" fmla="*/ 8505825 w 8601075"/>
                  <a:gd name="connsiteY223" fmla="*/ 1781175 h 4333875"/>
                  <a:gd name="connsiteX224" fmla="*/ 8572500 w 8601075"/>
                  <a:gd name="connsiteY224" fmla="*/ 1809750 h 4333875"/>
                  <a:gd name="connsiteX225" fmla="*/ 8601075 w 8601075"/>
                  <a:gd name="connsiteY225" fmla="*/ 1704975 h 4333875"/>
                  <a:gd name="connsiteX226" fmla="*/ 8553450 w 8601075"/>
                  <a:gd name="connsiteY226" fmla="*/ 1676400 h 4333875"/>
                  <a:gd name="connsiteX227" fmla="*/ 8534400 w 8601075"/>
                  <a:gd name="connsiteY227" fmla="*/ 1609725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124825 w 8601075"/>
                  <a:gd name="connsiteY231" fmla="*/ 1352550 h 4333875"/>
                  <a:gd name="connsiteX232" fmla="*/ 7924800 w 8601075"/>
                  <a:gd name="connsiteY232" fmla="*/ 1362075 h 4333875"/>
                  <a:gd name="connsiteX233" fmla="*/ 7867650 w 8601075"/>
                  <a:gd name="connsiteY233" fmla="*/ 1457325 h 4333875"/>
                  <a:gd name="connsiteX234" fmla="*/ 7896225 w 8601075"/>
                  <a:gd name="connsiteY234" fmla="*/ 1476375 h 4333875"/>
                  <a:gd name="connsiteX235" fmla="*/ 7858125 w 8601075"/>
                  <a:gd name="connsiteY235" fmla="*/ 1533525 h 4333875"/>
                  <a:gd name="connsiteX236" fmla="*/ 7658100 w 8601075"/>
                  <a:gd name="connsiteY236" fmla="*/ 1447800 h 4333875"/>
                  <a:gd name="connsiteX237" fmla="*/ 7515225 w 8601075"/>
                  <a:gd name="connsiteY237" fmla="*/ 1495425 h 4333875"/>
                  <a:gd name="connsiteX238" fmla="*/ 7467600 w 8601075"/>
                  <a:gd name="connsiteY238" fmla="*/ 1581150 h 4333875"/>
                  <a:gd name="connsiteX239" fmla="*/ 7296150 w 8601075"/>
                  <a:gd name="connsiteY23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76275 w 8601075"/>
                  <a:gd name="connsiteY148" fmla="*/ 1771650 h 4333875"/>
                  <a:gd name="connsiteX149" fmla="*/ 657225 w 8601075"/>
                  <a:gd name="connsiteY149" fmla="*/ 2000250 h 4333875"/>
                  <a:gd name="connsiteX150" fmla="*/ 619125 w 8601075"/>
                  <a:gd name="connsiteY150" fmla="*/ 2095500 h 4333875"/>
                  <a:gd name="connsiteX151" fmla="*/ 542925 w 8601075"/>
                  <a:gd name="connsiteY151" fmla="*/ 2228850 h 4333875"/>
                  <a:gd name="connsiteX152" fmla="*/ 485775 w 8601075"/>
                  <a:gd name="connsiteY152" fmla="*/ 2362200 h 4333875"/>
                  <a:gd name="connsiteX153" fmla="*/ 552450 w 8601075"/>
                  <a:gd name="connsiteY153" fmla="*/ 2486025 h 4333875"/>
                  <a:gd name="connsiteX154" fmla="*/ 771525 w 8601075"/>
                  <a:gd name="connsiteY154" fmla="*/ 2571750 h 4333875"/>
                  <a:gd name="connsiteX155" fmla="*/ 866775 w 8601075"/>
                  <a:gd name="connsiteY155" fmla="*/ 2571750 h 4333875"/>
                  <a:gd name="connsiteX156" fmla="*/ 914400 w 8601075"/>
                  <a:gd name="connsiteY156" fmla="*/ 2638425 h 4333875"/>
                  <a:gd name="connsiteX157" fmla="*/ 1066800 w 8601075"/>
                  <a:gd name="connsiteY157" fmla="*/ 2638425 h 4333875"/>
                  <a:gd name="connsiteX158" fmla="*/ 1285875 w 8601075"/>
                  <a:gd name="connsiteY158" fmla="*/ 2705100 h 4333875"/>
                  <a:gd name="connsiteX159" fmla="*/ 1438275 w 8601075"/>
                  <a:gd name="connsiteY159" fmla="*/ 2838450 h 4333875"/>
                  <a:gd name="connsiteX160" fmla="*/ 1485900 w 8601075"/>
                  <a:gd name="connsiteY160" fmla="*/ 2914650 h 4333875"/>
                  <a:gd name="connsiteX161" fmla="*/ 1657350 w 8601075"/>
                  <a:gd name="connsiteY161" fmla="*/ 3038475 h 4333875"/>
                  <a:gd name="connsiteX162" fmla="*/ 1752600 w 8601075"/>
                  <a:gd name="connsiteY162" fmla="*/ 3057525 h 4333875"/>
                  <a:gd name="connsiteX163" fmla="*/ 1724025 w 8601075"/>
                  <a:gd name="connsiteY163" fmla="*/ 3143250 h 4333875"/>
                  <a:gd name="connsiteX164" fmla="*/ 1724025 w 8601075"/>
                  <a:gd name="connsiteY164" fmla="*/ 3143250 h 4333875"/>
                  <a:gd name="connsiteX165" fmla="*/ 1781175 w 8601075"/>
                  <a:gd name="connsiteY165" fmla="*/ 3181350 h 4333875"/>
                  <a:gd name="connsiteX166" fmla="*/ 1819275 w 8601075"/>
                  <a:gd name="connsiteY166" fmla="*/ 3362325 h 4333875"/>
                  <a:gd name="connsiteX167" fmla="*/ 1828800 w 8601075"/>
                  <a:gd name="connsiteY167" fmla="*/ 3457575 h 4333875"/>
                  <a:gd name="connsiteX168" fmla="*/ 1971675 w 8601075"/>
                  <a:gd name="connsiteY168" fmla="*/ 3590925 h 4333875"/>
                  <a:gd name="connsiteX169" fmla="*/ 1990725 w 8601075"/>
                  <a:gd name="connsiteY169" fmla="*/ 3714750 h 4333875"/>
                  <a:gd name="connsiteX170" fmla="*/ 2200275 w 8601075"/>
                  <a:gd name="connsiteY170" fmla="*/ 3695700 h 4333875"/>
                  <a:gd name="connsiteX171" fmla="*/ 2886075 w 8601075"/>
                  <a:gd name="connsiteY171" fmla="*/ 3886200 h 4333875"/>
                  <a:gd name="connsiteX172" fmla="*/ 3038475 w 8601075"/>
                  <a:gd name="connsiteY172" fmla="*/ 3819525 h 4333875"/>
                  <a:gd name="connsiteX173" fmla="*/ 3105150 w 8601075"/>
                  <a:gd name="connsiteY173" fmla="*/ 3867150 h 4333875"/>
                  <a:gd name="connsiteX174" fmla="*/ 3181350 w 8601075"/>
                  <a:gd name="connsiteY174" fmla="*/ 3800475 h 4333875"/>
                  <a:gd name="connsiteX175" fmla="*/ 3590925 w 8601075"/>
                  <a:gd name="connsiteY175" fmla="*/ 3943350 h 4333875"/>
                  <a:gd name="connsiteX176" fmla="*/ 3686175 w 8601075"/>
                  <a:gd name="connsiteY176" fmla="*/ 4057650 h 4333875"/>
                  <a:gd name="connsiteX177" fmla="*/ 3838575 w 8601075"/>
                  <a:gd name="connsiteY177" fmla="*/ 4057650 h 4333875"/>
                  <a:gd name="connsiteX178" fmla="*/ 4162425 w 8601075"/>
                  <a:gd name="connsiteY178" fmla="*/ 4248150 h 4333875"/>
                  <a:gd name="connsiteX179" fmla="*/ 4391025 w 8601075"/>
                  <a:gd name="connsiteY179" fmla="*/ 4200525 h 4333875"/>
                  <a:gd name="connsiteX180" fmla="*/ 4410075 w 8601075"/>
                  <a:gd name="connsiteY180" fmla="*/ 4305300 h 4333875"/>
                  <a:gd name="connsiteX181" fmla="*/ 4505325 w 8601075"/>
                  <a:gd name="connsiteY181" fmla="*/ 4276725 h 4333875"/>
                  <a:gd name="connsiteX182" fmla="*/ 4572000 w 8601075"/>
                  <a:gd name="connsiteY182" fmla="*/ 4333875 h 4333875"/>
                  <a:gd name="connsiteX183" fmla="*/ 4591050 w 8601075"/>
                  <a:gd name="connsiteY183" fmla="*/ 4248150 h 4333875"/>
                  <a:gd name="connsiteX184" fmla="*/ 5295900 w 8601075"/>
                  <a:gd name="connsiteY184" fmla="*/ 3924300 h 4333875"/>
                  <a:gd name="connsiteX185" fmla="*/ 5353050 w 8601075"/>
                  <a:gd name="connsiteY185" fmla="*/ 3990975 h 4333875"/>
                  <a:gd name="connsiteX186" fmla="*/ 5524500 w 8601075"/>
                  <a:gd name="connsiteY186" fmla="*/ 3914775 h 4333875"/>
                  <a:gd name="connsiteX187" fmla="*/ 5667375 w 8601075"/>
                  <a:gd name="connsiteY187" fmla="*/ 3962400 h 4333875"/>
                  <a:gd name="connsiteX188" fmla="*/ 5753100 w 8601075"/>
                  <a:gd name="connsiteY188" fmla="*/ 3924300 h 4333875"/>
                  <a:gd name="connsiteX189" fmla="*/ 5905500 w 8601075"/>
                  <a:gd name="connsiteY189" fmla="*/ 3943350 h 4333875"/>
                  <a:gd name="connsiteX190" fmla="*/ 6000750 w 8601075"/>
                  <a:gd name="connsiteY190" fmla="*/ 3800475 h 4333875"/>
                  <a:gd name="connsiteX191" fmla="*/ 6153150 w 8601075"/>
                  <a:gd name="connsiteY191" fmla="*/ 3781425 h 4333875"/>
                  <a:gd name="connsiteX192" fmla="*/ 6257925 w 8601075"/>
                  <a:gd name="connsiteY192" fmla="*/ 3581400 h 4333875"/>
                  <a:gd name="connsiteX193" fmla="*/ 6448425 w 8601075"/>
                  <a:gd name="connsiteY193" fmla="*/ 3448050 h 4333875"/>
                  <a:gd name="connsiteX194" fmla="*/ 6581775 w 8601075"/>
                  <a:gd name="connsiteY194" fmla="*/ 3276600 h 4333875"/>
                  <a:gd name="connsiteX195" fmla="*/ 6496050 w 8601075"/>
                  <a:gd name="connsiteY195" fmla="*/ 3228975 h 4333875"/>
                  <a:gd name="connsiteX196" fmla="*/ 6438900 w 8601075"/>
                  <a:gd name="connsiteY196" fmla="*/ 3162300 h 4333875"/>
                  <a:gd name="connsiteX197" fmla="*/ 6419850 w 8601075"/>
                  <a:gd name="connsiteY197" fmla="*/ 3105150 h 4333875"/>
                  <a:gd name="connsiteX198" fmla="*/ 6362700 w 8601075"/>
                  <a:gd name="connsiteY198" fmla="*/ 3076575 h 4333875"/>
                  <a:gd name="connsiteX199" fmla="*/ 6410325 w 8601075"/>
                  <a:gd name="connsiteY199" fmla="*/ 3019425 h 4333875"/>
                  <a:gd name="connsiteX200" fmla="*/ 6438900 w 8601075"/>
                  <a:gd name="connsiteY200" fmla="*/ 2819400 h 4333875"/>
                  <a:gd name="connsiteX201" fmla="*/ 6496050 w 8601075"/>
                  <a:gd name="connsiteY201" fmla="*/ 2762250 h 4333875"/>
                  <a:gd name="connsiteX202" fmla="*/ 6657975 w 8601075"/>
                  <a:gd name="connsiteY202" fmla="*/ 2752725 h 4333875"/>
                  <a:gd name="connsiteX203" fmla="*/ 6781800 w 8601075"/>
                  <a:gd name="connsiteY203" fmla="*/ 2838450 h 4333875"/>
                  <a:gd name="connsiteX204" fmla="*/ 7010400 w 8601075"/>
                  <a:gd name="connsiteY204" fmla="*/ 2838450 h 4333875"/>
                  <a:gd name="connsiteX205" fmla="*/ 7162800 w 8601075"/>
                  <a:gd name="connsiteY205" fmla="*/ 2705100 h 4333875"/>
                  <a:gd name="connsiteX206" fmla="*/ 7229475 w 8601075"/>
                  <a:gd name="connsiteY206" fmla="*/ 2590800 h 4333875"/>
                  <a:gd name="connsiteX207" fmla="*/ 7248525 w 8601075"/>
                  <a:gd name="connsiteY207" fmla="*/ 2524125 h 4333875"/>
                  <a:gd name="connsiteX208" fmla="*/ 7372350 w 8601075"/>
                  <a:gd name="connsiteY208" fmla="*/ 2543175 h 4333875"/>
                  <a:gd name="connsiteX209" fmla="*/ 7553325 w 8601075"/>
                  <a:gd name="connsiteY209" fmla="*/ 2447925 h 4333875"/>
                  <a:gd name="connsiteX210" fmla="*/ 7620000 w 8601075"/>
                  <a:gd name="connsiteY210" fmla="*/ 2324100 h 4333875"/>
                  <a:gd name="connsiteX211" fmla="*/ 7696200 w 8601075"/>
                  <a:gd name="connsiteY211" fmla="*/ 2314575 h 4333875"/>
                  <a:gd name="connsiteX212" fmla="*/ 7658100 w 8601075"/>
                  <a:gd name="connsiteY212" fmla="*/ 2257425 h 4333875"/>
                  <a:gd name="connsiteX213" fmla="*/ 7753350 w 8601075"/>
                  <a:gd name="connsiteY213" fmla="*/ 2057400 h 4333875"/>
                  <a:gd name="connsiteX214" fmla="*/ 7934325 w 8601075"/>
                  <a:gd name="connsiteY214" fmla="*/ 2028825 h 4333875"/>
                  <a:gd name="connsiteX215" fmla="*/ 7953375 w 8601075"/>
                  <a:gd name="connsiteY215" fmla="*/ 1952625 h 4333875"/>
                  <a:gd name="connsiteX216" fmla="*/ 7953375 w 8601075"/>
                  <a:gd name="connsiteY216" fmla="*/ 1952625 h 4333875"/>
                  <a:gd name="connsiteX217" fmla="*/ 8010525 w 8601075"/>
                  <a:gd name="connsiteY217" fmla="*/ 1895475 h 4333875"/>
                  <a:gd name="connsiteX218" fmla="*/ 8048625 w 8601075"/>
                  <a:gd name="connsiteY218" fmla="*/ 1971675 h 4333875"/>
                  <a:gd name="connsiteX219" fmla="*/ 8077200 w 8601075"/>
                  <a:gd name="connsiteY219" fmla="*/ 1885950 h 4333875"/>
                  <a:gd name="connsiteX220" fmla="*/ 8220075 w 8601075"/>
                  <a:gd name="connsiteY220" fmla="*/ 1847850 h 4333875"/>
                  <a:gd name="connsiteX221" fmla="*/ 8296275 w 8601075"/>
                  <a:gd name="connsiteY221" fmla="*/ 1809750 h 4333875"/>
                  <a:gd name="connsiteX222" fmla="*/ 8324850 w 8601075"/>
                  <a:gd name="connsiteY222" fmla="*/ 1790700 h 4333875"/>
                  <a:gd name="connsiteX223" fmla="*/ 8410575 w 8601075"/>
                  <a:gd name="connsiteY223" fmla="*/ 1847850 h 4333875"/>
                  <a:gd name="connsiteX224" fmla="*/ 8505825 w 8601075"/>
                  <a:gd name="connsiteY224" fmla="*/ 1781175 h 4333875"/>
                  <a:gd name="connsiteX225" fmla="*/ 8572500 w 8601075"/>
                  <a:gd name="connsiteY225" fmla="*/ 1809750 h 4333875"/>
                  <a:gd name="connsiteX226" fmla="*/ 8601075 w 8601075"/>
                  <a:gd name="connsiteY226" fmla="*/ 1704975 h 4333875"/>
                  <a:gd name="connsiteX227" fmla="*/ 8553450 w 8601075"/>
                  <a:gd name="connsiteY227" fmla="*/ 1676400 h 4333875"/>
                  <a:gd name="connsiteX228" fmla="*/ 8534400 w 8601075"/>
                  <a:gd name="connsiteY228" fmla="*/ 1609725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124825 w 8601075"/>
                  <a:gd name="connsiteY232" fmla="*/ 1352550 h 4333875"/>
                  <a:gd name="connsiteX233" fmla="*/ 7924800 w 8601075"/>
                  <a:gd name="connsiteY233" fmla="*/ 1362075 h 4333875"/>
                  <a:gd name="connsiteX234" fmla="*/ 7867650 w 8601075"/>
                  <a:gd name="connsiteY234" fmla="*/ 1457325 h 4333875"/>
                  <a:gd name="connsiteX235" fmla="*/ 7896225 w 8601075"/>
                  <a:gd name="connsiteY235" fmla="*/ 1476375 h 4333875"/>
                  <a:gd name="connsiteX236" fmla="*/ 7858125 w 8601075"/>
                  <a:gd name="connsiteY236" fmla="*/ 1533525 h 4333875"/>
                  <a:gd name="connsiteX237" fmla="*/ 7658100 w 8601075"/>
                  <a:gd name="connsiteY237" fmla="*/ 1447800 h 4333875"/>
                  <a:gd name="connsiteX238" fmla="*/ 7515225 w 8601075"/>
                  <a:gd name="connsiteY238" fmla="*/ 1495425 h 4333875"/>
                  <a:gd name="connsiteX239" fmla="*/ 7467600 w 8601075"/>
                  <a:gd name="connsiteY239" fmla="*/ 1581150 h 4333875"/>
                  <a:gd name="connsiteX240" fmla="*/ 7296150 w 8601075"/>
                  <a:gd name="connsiteY24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76275 w 8601075"/>
                  <a:gd name="connsiteY149" fmla="*/ 1771650 h 4333875"/>
                  <a:gd name="connsiteX150" fmla="*/ 657225 w 8601075"/>
                  <a:gd name="connsiteY150" fmla="*/ 2000250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57225 w 8601075"/>
                  <a:gd name="connsiteY150" fmla="*/ 2000250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33413 w 8601075"/>
                  <a:gd name="connsiteY151" fmla="*/ 211455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33413 w 8601075"/>
                  <a:gd name="connsiteY152" fmla="*/ 2114550 h 4333875"/>
                  <a:gd name="connsiteX153" fmla="*/ 542925 w 8601075"/>
                  <a:gd name="connsiteY153" fmla="*/ 2228850 h 4333875"/>
                  <a:gd name="connsiteX154" fmla="*/ 485775 w 8601075"/>
                  <a:gd name="connsiteY154" fmla="*/ 2362200 h 4333875"/>
                  <a:gd name="connsiteX155" fmla="*/ 552450 w 8601075"/>
                  <a:gd name="connsiteY155" fmla="*/ 2486025 h 4333875"/>
                  <a:gd name="connsiteX156" fmla="*/ 771525 w 8601075"/>
                  <a:gd name="connsiteY156" fmla="*/ 2571750 h 4333875"/>
                  <a:gd name="connsiteX157" fmla="*/ 866775 w 8601075"/>
                  <a:gd name="connsiteY157" fmla="*/ 2571750 h 4333875"/>
                  <a:gd name="connsiteX158" fmla="*/ 914400 w 8601075"/>
                  <a:gd name="connsiteY158" fmla="*/ 2638425 h 4333875"/>
                  <a:gd name="connsiteX159" fmla="*/ 1066800 w 8601075"/>
                  <a:gd name="connsiteY159" fmla="*/ 2638425 h 4333875"/>
                  <a:gd name="connsiteX160" fmla="*/ 1285875 w 8601075"/>
                  <a:gd name="connsiteY160" fmla="*/ 2705100 h 4333875"/>
                  <a:gd name="connsiteX161" fmla="*/ 1438275 w 8601075"/>
                  <a:gd name="connsiteY161" fmla="*/ 2838450 h 4333875"/>
                  <a:gd name="connsiteX162" fmla="*/ 1485900 w 8601075"/>
                  <a:gd name="connsiteY162" fmla="*/ 2914650 h 4333875"/>
                  <a:gd name="connsiteX163" fmla="*/ 1657350 w 8601075"/>
                  <a:gd name="connsiteY163" fmla="*/ 3038475 h 4333875"/>
                  <a:gd name="connsiteX164" fmla="*/ 1752600 w 8601075"/>
                  <a:gd name="connsiteY164" fmla="*/ 3057525 h 4333875"/>
                  <a:gd name="connsiteX165" fmla="*/ 1724025 w 8601075"/>
                  <a:gd name="connsiteY165" fmla="*/ 3143250 h 4333875"/>
                  <a:gd name="connsiteX166" fmla="*/ 1724025 w 8601075"/>
                  <a:gd name="connsiteY166" fmla="*/ 3143250 h 4333875"/>
                  <a:gd name="connsiteX167" fmla="*/ 1781175 w 8601075"/>
                  <a:gd name="connsiteY167" fmla="*/ 3181350 h 4333875"/>
                  <a:gd name="connsiteX168" fmla="*/ 1819275 w 8601075"/>
                  <a:gd name="connsiteY168" fmla="*/ 3362325 h 4333875"/>
                  <a:gd name="connsiteX169" fmla="*/ 1828800 w 8601075"/>
                  <a:gd name="connsiteY169" fmla="*/ 3457575 h 4333875"/>
                  <a:gd name="connsiteX170" fmla="*/ 1971675 w 8601075"/>
                  <a:gd name="connsiteY170" fmla="*/ 3590925 h 4333875"/>
                  <a:gd name="connsiteX171" fmla="*/ 1990725 w 8601075"/>
                  <a:gd name="connsiteY171" fmla="*/ 3714750 h 4333875"/>
                  <a:gd name="connsiteX172" fmla="*/ 2200275 w 8601075"/>
                  <a:gd name="connsiteY172" fmla="*/ 3695700 h 4333875"/>
                  <a:gd name="connsiteX173" fmla="*/ 2886075 w 8601075"/>
                  <a:gd name="connsiteY173" fmla="*/ 3886200 h 4333875"/>
                  <a:gd name="connsiteX174" fmla="*/ 3038475 w 8601075"/>
                  <a:gd name="connsiteY174" fmla="*/ 3819525 h 4333875"/>
                  <a:gd name="connsiteX175" fmla="*/ 3105150 w 8601075"/>
                  <a:gd name="connsiteY175" fmla="*/ 3867150 h 4333875"/>
                  <a:gd name="connsiteX176" fmla="*/ 3181350 w 8601075"/>
                  <a:gd name="connsiteY176" fmla="*/ 3800475 h 4333875"/>
                  <a:gd name="connsiteX177" fmla="*/ 3590925 w 8601075"/>
                  <a:gd name="connsiteY177" fmla="*/ 3943350 h 4333875"/>
                  <a:gd name="connsiteX178" fmla="*/ 3686175 w 8601075"/>
                  <a:gd name="connsiteY178" fmla="*/ 4057650 h 4333875"/>
                  <a:gd name="connsiteX179" fmla="*/ 3838575 w 8601075"/>
                  <a:gd name="connsiteY179" fmla="*/ 4057650 h 4333875"/>
                  <a:gd name="connsiteX180" fmla="*/ 4162425 w 8601075"/>
                  <a:gd name="connsiteY180" fmla="*/ 4248150 h 4333875"/>
                  <a:gd name="connsiteX181" fmla="*/ 4391025 w 8601075"/>
                  <a:gd name="connsiteY181" fmla="*/ 4200525 h 4333875"/>
                  <a:gd name="connsiteX182" fmla="*/ 4410075 w 8601075"/>
                  <a:gd name="connsiteY182" fmla="*/ 4305300 h 4333875"/>
                  <a:gd name="connsiteX183" fmla="*/ 4505325 w 8601075"/>
                  <a:gd name="connsiteY183" fmla="*/ 4276725 h 4333875"/>
                  <a:gd name="connsiteX184" fmla="*/ 4572000 w 8601075"/>
                  <a:gd name="connsiteY184" fmla="*/ 4333875 h 4333875"/>
                  <a:gd name="connsiteX185" fmla="*/ 4591050 w 8601075"/>
                  <a:gd name="connsiteY185" fmla="*/ 4248150 h 4333875"/>
                  <a:gd name="connsiteX186" fmla="*/ 5295900 w 8601075"/>
                  <a:gd name="connsiteY186" fmla="*/ 3924300 h 4333875"/>
                  <a:gd name="connsiteX187" fmla="*/ 5353050 w 8601075"/>
                  <a:gd name="connsiteY187" fmla="*/ 3990975 h 4333875"/>
                  <a:gd name="connsiteX188" fmla="*/ 5524500 w 8601075"/>
                  <a:gd name="connsiteY188" fmla="*/ 3914775 h 4333875"/>
                  <a:gd name="connsiteX189" fmla="*/ 5667375 w 8601075"/>
                  <a:gd name="connsiteY189" fmla="*/ 3962400 h 4333875"/>
                  <a:gd name="connsiteX190" fmla="*/ 5753100 w 8601075"/>
                  <a:gd name="connsiteY190" fmla="*/ 3924300 h 4333875"/>
                  <a:gd name="connsiteX191" fmla="*/ 5905500 w 8601075"/>
                  <a:gd name="connsiteY191" fmla="*/ 3943350 h 4333875"/>
                  <a:gd name="connsiteX192" fmla="*/ 6000750 w 8601075"/>
                  <a:gd name="connsiteY192" fmla="*/ 3800475 h 4333875"/>
                  <a:gd name="connsiteX193" fmla="*/ 6153150 w 8601075"/>
                  <a:gd name="connsiteY193" fmla="*/ 3781425 h 4333875"/>
                  <a:gd name="connsiteX194" fmla="*/ 6257925 w 8601075"/>
                  <a:gd name="connsiteY194" fmla="*/ 3581400 h 4333875"/>
                  <a:gd name="connsiteX195" fmla="*/ 6448425 w 8601075"/>
                  <a:gd name="connsiteY195" fmla="*/ 3448050 h 4333875"/>
                  <a:gd name="connsiteX196" fmla="*/ 6581775 w 8601075"/>
                  <a:gd name="connsiteY196" fmla="*/ 3276600 h 4333875"/>
                  <a:gd name="connsiteX197" fmla="*/ 6496050 w 8601075"/>
                  <a:gd name="connsiteY197" fmla="*/ 3228975 h 4333875"/>
                  <a:gd name="connsiteX198" fmla="*/ 6438900 w 8601075"/>
                  <a:gd name="connsiteY198" fmla="*/ 3162300 h 4333875"/>
                  <a:gd name="connsiteX199" fmla="*/ 6419850 w 8601075"/>
                  <a:gd name="connsiteY199" fmla="*/ 3105150 h 4333875"/>
                  <a:gd name="connsiteX200" fmla="*/ 6362700 w 8601075"/>
                  <a:gd name="connsiteY200" fmla="*/ 3076575 h 4333875"/>
                  <a:gd name="connsiteX201" fmla="*/ 6410325 w 8601075"/>
                  <a:gd name="connsiteY201" fmla="*/ 3019425 h 4333875"/>
                  <a:gd name="connsiteX202" fmla="*/ 6438900 w 8601075"/>
                  <a:gd name="connsiteY202" fmla="*/ 2819400 h 4333875"/>
                  <a:gd name="connsiteX203" fmla="*/ 6496050 w 8601075"/>
                  <a:gd name="connsiteY203" fmla="*/ 2762250 h 4333875"/>
                  <a:gd name="connsiteX204" fmla="*/ 6657975 w 8601075"/>
                  <a:gd name="connsiteY204" fmla="*/ 2752725 h 4333875"/>
                  <a:gd name="connsiteX205" fmla="*/ 6781800 w 8601075"/>
                  <a:gd name="connsiteY205" fmla="*/ 2838450 h 4333875"/>
                  <a:gd name="connsiteX206" fmla="*/ 7010400 w 8601075"/>
                  <a:gd name="connsiteY206" fmla="*/ 2838450 h 4333875"/>
                  <a:gd name="connsiteX207" fmla="*/ 7162800 w 8601075"/>
                  <a:gd name="connsiteY207" fmla="*/ 2705100 h 4333875"/>
                  <a:gd name="connsiteX208" fmla="*/ 7229475 w 8601075"/>
                  <a:gd name="connsiteY208" fmla="*/ 2590800 h 4333875"/>
                  <a:gd name="connsiteX209" fmla="*/ 7248525 w 8601075"/>
                  <a:gd name="connsiteY209" fmla="*/ 2524125 h 4333875"/>
                  <a:gd name="connsiteX210" fmla="*/ 7372350 w 8601075"/>
                  <a:gd name="connsiteY210" fmla="*/ 2543175 h 4333875"/>
                  <a:gd name="connsiteX211" fmla="*/ 7553325 w 8601075"/>
                  <a:gd name="connsiteY211" fmla="*/ 2447925 h 4333875"/>
                  <a:gd name="connsiteX212" fmla="*/ 7620000 w 8601075"/>
                  <a:gd name="connsiteY212" fmla="*/ 2324100 h 4333875"/>
                  <a:gd name="connsiteX213" fmla="*/ 7696200 w 8601075"/>
                  <a:gd name="connsiteY213" fmla="*/ 2314575 h 4333875"/>
                  <a:gd name="connsiteX214" fmla="*/ 7658100 w 8601075"/>
                  <a:gd name="connsiteY214" fmla="*/ 2257425 h 4333875"/>
                  <a:gd name="connsiteX215" fmla="*/ 7753350 w 8601075"/>
                  <a:gd name="connsiteY215" fmla="*/ 2057400 h 4333875"/>
                  <a:gd name="connsiteX216" fmla="*/ 7934325 w 8601075"/>
                  <a:gd name="connsiteY216" fmla="*/ 2028825 h 4333875"/>
                  <a:gd name="connsiteX217" fmla="*/ 7953375 w 8601075"/>
                  <a:gd name="connsiteY217" fmla="*/ 1952625 h 4333875"/>
                  <a:gd name="connsiteX218" fmla="*/ 7953375 w 8601075"/>
                  <a:gd name="connsiteY218" fmla="*/ 1952625 h 4333875"/>
                  <a:gd name="connsiteX219" fmla="*/ 8010525 w 8601075"/>
                  <a:gd name="connsiteY219" fmla="*/ 1895475 h 4333875"/>
                  <a:gd name="connsiteX220" fmla="*/ 8048625 w 8601075"/>
                  <a:gd name="connsiteY220" fmla="*/ 1971675 h 4333875"/>
                  <a:gd name="connsiteX221" fmla="*/ 8077200 w 8601075"/>
                  <a:gd name="connsiteY221" fmla="*/ 1885950 h 4333875"/>
                  <a:gd name="connsiteX222" fmla="*/ 8220075 w 8601075"/>
                  <a:gd name="connsiteY222" fmla="*/ 1847850 h 4333875"/>
                  <a:gd name="connsiteX223" fmla="*/ 8296275 w 8601075"/>
                  <a:gd name="connsiteY223" fmla="*/ 1809750 h 4333875"/>
                  <a:gd name="connsiteX224" fmla="*/ 8324850 w 8601075"/>
                  <a:gd name="connsiteY224" fmla="*/ 1790700 h 4333875"/>
                  <a:gd name="connsiteX225" fmla="*/ 8410575 w 8601075"/>
                  <a:gd name="connsiteY225" fmla="*/ 1847850 h 4333875"/>
                  <a:gd name="connsiteX226" fmla="*/ 8505825 w 8601075"/>
                  <a:gd name="connsiteY226" fmla="*/ 1781175 h 4333875"/>
                  <a:gd name="connsiteX227" fmla="*/ 8572500 w 8601075"/>
                  <a:gd name="connsiteY227" fmla="*/ 1809750 h 4333875"/>
                  <a:gd name="connsiteX228" fmla="*/ 8601075 w 8601075"/>
                  <a:gd name="connsiteY228" fmla="*/ 1704975 h 4333875"/>
                  <a:gd name="connsiteX229" fmla="*/ 8553450 w 8601075"/>
                  <a:gd name="connsiteY229" fmla="*/ 1676400 h 4333875"/>
                  <a:gd name="connsiteX230" fmla="*/ 8534400 w 8601075"/>
                  <a:gd name="connsiteY230" fmla="*/ 1609725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124825 w 8601075"/>
                  <a:gd name="connsiteY234" fmla="*/ 1352550 h 4333875"/>
                  <a:gd name="connsiteX235" fmla="*/ 7924800 w 8601075"/>
                  <a:gd name="connsiteY235" fmla="*/ 1362075 h 4333875"/>
                  <a:gd name="connsiteX236" fmla="*/ 7867650 w 8601075"/>
                  <a:gd name="connsiteY236" fmla="*/ 1457325 h 4333875"/>
                  <a:gd name="connsiteX237" fmla="*/ 7896225 w 8601075"/>
                  <a:gd name="connsiteY237" fmla="*/ 1476375 h 4333875"/>
                  <a:gd name="connsiteX238" fmla="*/ 7858125 w 8601075"/>
                  <a:gd name="connsiteY238" fmla="*/ 1533525 h 4333875"/>
                  <a:gd name="connsiteX239" fmla="*/ 7658100 w 8601075"/>
                  <a:gd name="connsiteY239" fmla="*/ 1447800 h 4333875"/>
                  <a:gd name="connsiteX240" fmla="*/ 7515225 w 8601075"/>
                  <a:gd name="connsiteY240" fmla="*/ 1495425 h 4333875"/>
                  <a:gd name="connsiteX241" fmla="*/ 7467600 w 8601075"/>
                  <a:gd name="connsiteY241" fmla="*/ 1581150 h 4333875"/>
                  <a:gd name="connsiteX242" fmla="*/ 7296150 w 8601075"/>
                  <a:gd name="connsiteY24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42925 w 8601075"/>
                  <a:gd name="connsiteY154" fmla="*/ 2228850 h 4333875"/>
                  <a:gd name="connsiteX155" fmla="*/ 485775 w 8601075"/>
                  <a:gd name="connsiteY155" fmla="*/ 2362200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85775 w 8601075"/>
                  <a:gd name="connsiteY155" fmla="*/ 2362200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40544 w 8601075"/>
                  <a:gd name="connsiteY156" fmla="*/ 2462213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40544 w 8601075"/>
                  <a:gd name="connsiteY157" fmla="*/ 2462213 h 4333875"/>
                  <a:gd name="connsiteX158" fmla="*/ 771525 w 8601075"/>
                  <a:gd name="connsiteY158" fmla="*/ 2571750 h 4333875"/>
                  <a:gd name="connsiteX159" fmla="*/ 866775 w 8601075"/>
                  <a:gd name="connsiteY159" fmla="*/ 2571750 h 4333875"/>
                  <a:gd name="connsiteX160" fmla="*/ 914400 w 8601075"/>
                  <a:gd name="connsiteY160" fmla="*/ 2638425 h 4333875"/>
                  <a:gd name="connsiteX161" fmla="*/ 1066800 w 8601075"/>
                  <a:gd name="connsiteY161" fmla="*/ 2638425 h 4333875"/>
                  <a:gd name="connsiteX162" fmla="*/ 1285875 w 8601075"/>
                  <a:gd name="connsiteY162" fmla="*/ 2705100 h 4333875"/>
                  <a:gd name="connsiteX163" fmla="*/ 1438275 w 8601075"/>
                  <a:gd name="connsiteY163" fmla="*/ 2838450 h 4333875"/>
                  <a:gd name="connsiteX164" fmla="*/ 1485900 w 8601075"/>
                  <a:gd name="connsiteY164" fmla="*/ 2914650 h 4333875"/>
                  <a:gd name="connsiteX165" fmla="*/ 1657350 w 8601075"/>
                  <a:gd name="connsiteY165" fmla="*/ 3038475 h 4333875"/>
                  <a:gd name="connsiteX166" fmla="*/ 1752600 w 8601075"/>
                  <a:gd name="connsiteY166" fmla="*/ 3057525 h 4333875"/>
                  <a:gd name="connsiteX167" fmla="*/ 1724025 w 8601075"/>
                  <a:gd name="connsiteY167" fmla="*/ 3143250 h 4333875"/>
                  <a:gd name="connsiteX168" fmla="*/ 1724025 w 8601075"/>
                  <a:gd name="connsiteY168" fmla="*/ 3143250 h 4333875"/>
                  <a:gd name="connsiteX169" fmla="*/ 1781175 w 8601075"/>
                  <a:gd name="connsiteY169" fmla="*/ 3181350 h 4333875"/>
                  <a:gd name="connsiteX170" fmla="*/ 1819275 w 8601075"/>
                  <a:gd name="connsiteY170" fmla="*/ 3362325 h 4333875"/>
                  <a:gd name="connsiteX171" fmla="*/ 1828800 w 8601075"/>
                  <a:gd name="connsiteY171" fmla="*/ 3457575 h 4333875"/>
                  <a:gd name="connsiteX172" fmla="*/ 1971675 w 8601075"/>
                  <a:gd name="connsiteY172" fmla="*/ 3590925 h 4333875"/>
                  <a:gd name="connsiteX173" fmla="*/ 1990725 w 8601075"/>
                  <a:gd name="connsiteY173" fmla="*/ 3714750 h 4333875"/>
                  <a:gd name="connsiteX174" fmla="*/ 2200275 w 8601075"/>
                  <a:gd name="connsiteY174" fmla="*/ 3695700 h 4333875"/>
                  <a:gd name="connsiteX175" fmla="*/ 2886075 w 8601075"/>
                  <a:gd name="connsiteY175" fmla="*/ 3886200 h 4333875"/>
                  <a:gd name="connsiteX176" fmla="*/ 3038475 w 8601075"/>
                  <a:gd name="connsiteY176" fmla="*/ 3819525 h 4333875"/>
                  <a:gd name="connsiteX177" fmla="*/ 3105150 w 8601075"/>
                  <a:gd name="connsiteY177" fmla="*/ 3867150 h 4333875"/>
                  <a:gd name="connsiteX178" fmla="*/ 3181350 w 8601075"/>
                  <a:gd name="connsiteY178" fmla="*/ 3800475 h 4333875"/>
                  <a:gd name="connsiteX179" fmla="*/ 3590925 w 8601075"/>
                  <a:gd name="connsiteY179" fmla="*/ 3943350 h 4333875"/>
                  <a:gd name="connsiteX180" fmla="*/ 3686175 w 8601075"/>
                  <a:gd name="connsiteY180" fmla="*/ 4057650 h 4333875"/>
                  <a:gd name="connsiteX181" fmla="*/ 3838575 w 8601075"/>
                  <a:gd name="connsiteY181" fmla="*/ 4057650 h 4333875"/>
                  <a:gd name="connsiteX182" fmla="*/ 4162425 w 8601075"/>
                  <a:gd name="connsiteY182" fmla="*/ 4248150 h 4333875"/>
                  <a:gd name="connsiteX183" fmla="*/ 4391025 w 8601075"/>
                  <a:gd name="connsiteY183" fmla="*/ 4200525 h 4333875"/>
                  <a:gd name="connsiteX184" fmla="*/ 4410075 w 8601075"/>
                  <a:gd name="connsiteY184" fmla="*/ 4305300 h 4333875"/>
                  <a:gd name="connsiteX185" fmla="*/ 4505325 w 8601075"/>
                  <a:gd name="connsiteY185" fmla="*/ 4276725 h 4333875"/>
                  <a:gd name="connsiteX186" fmla="*/ 4572000 w 8601075"/>
                  <a:gd name="connsiteY186" fmla="*/ 4333875 h 4333875"/>
                  <a:gd name="connsiteX187" fmla="*/ 4591050 w 8601075"/>
                  <a:gd name="connsiteY187" fmla="*/ 4248150 h 4333875"/>
                  <a:gd name="connsiteX188" fmla="*/ 5295900 w 8601075"/>
                  <a:gd name="connsiteY188" fmla="*/ 3924300 h 4333875"/>
                  <a:gd name="connsiteX189" fmla="*/ 5353050 w 8601075"/>
                  <a:gd name="connsiteY189" fmla="*/ 3990975 h 4333875"/>
                  <a:gd name="connsiteX190" fmla="*/ 5524500 w 8601075"/>
                  <a:gd name="connsiteY190" fmla="*/ 3914775 h 4333875"/>
                  <a:gd name="connsiteX191" fmla="*/ 5667375 w 8601075"/>
                  <a:gd name="connsiteY191" fmla="*/ 3962400 h 4333875"/>
                  <a:gd name="connsiteX192" fmla="*/ 5753100 w 8601075"/>
                  <a:gd name="connsiteY192" fmla="*/ 3924300 h 4333875"/>
                  <a:gd name="connsiteX193" fmla="*/ 5905500 w 8601075"/>
                  <a:gd name="connsiteY193" fmla="*/ 3943350 h 4333875"/>
                  <a:gd name="connsiteX194" fmla="*/ 6000750 w 8601075"/>
                  <a:gd name="connsiteY194" fmla="*/ 3800475 h 4333875"/>
                  <a:gd name="connsiteX195" fmla="*/ 6153150 w 8601075"/>
                  <a:gd name="connsiteY195" fmla="*/ 3781425 h 4333875"/>
                  <a:gd name="connsiteX196" fmla="*/ 6257925 w 8601075"/>
                  <a:gd name="connsiteY196" fmla="*/ 3581400 h 4333875"/>
                  <a:gd name="connsiteX197" fmla="*/ 6448425 w 8601075"/>
                  <a:gd name="connsiteY197" fmla="*/ 3448050 h 4333875"/>
                  <a:gd name="connsiteX198" fmla="*/ 6581775 w 8601075"/>
                  <a:gd name="connsiteY198" fmla="*/ 3276600 h 4333875"/>
                  <a:gd name="connsiteX199" fmla="*/ 6496050 w 8601075"/>
                  <a:gd name="connsiteY199" fmla="*/ 3228975 h 4333875"/>
                  <a:gd name="connsiteX200" fmla="*/ 6438900 w 8601075"/>
                  <a:gd name="connsiteY200" fmla="*/ 3162300 h 4333875"/>
                  <a:gd name="connsiteX201" fmla="*/ 6419850 w 8601075"/>
                  <a:gd name="connsiteY201" fmla="*/ 3105150 h 4333875"/>
                  <a:gd name="connsiteX202" fmla="*/ 6362700 w 8601075"/>
                  <a:gd name="connsiteY202" fmla="*/ 3076575 h 4333875"/>
                  <a:gd name="connsiteX203" fmla="*/ 6410325 w 8601075"/>
                  <a:gd name="connsiteY203" fmla="*/ 3019425 h 4333875"/>
                  <a:gd name="connsiteX204" fmla="*/ 6438900 w 8601075"/>
                  <a:gd name="connsiteY204" fmla="*/ 2819400 h 4333875"/>
                  <a:gd name="connsiteX205" fmla="*/ 6496050 w 8601075"/>
                  <a:gd name="connsiteY205" fmla="*/ 2762250 h 4333875"/>
                  <a:gd name="connsiteX206" fmla="*/ 6657975 w 8601075"/>
                  <a:gd name="connsiteY206" fmla="*/ 2752725 h 4333875"/>
                  <a:gd name="connsiteX207" fmla="*/ 6781800 w 8601075"/>
                  <a:gd name="connsiteY207" fmla="*/ 2838450 h 4333875"/>
                  <a:gd name="connsiteX208" fmla="*/ 7010400 w 8601075"/>
                  <a:gd name="connsiteY208" fmla="*/ 2838450 h 4333875"/>
                  <a:gd name="connsiteX209" fmla="*/ 7162800 w 8601075"/>
                  <a:gd name="connsiteY209" fmla="*/ 2705100 h 4333875"/>
                  <a:gd name="connsiteX210" fmla="*/ 7229475 w 8601075"/>
                  <a:gd name="connsiteY210" fmla="*/ 2590800 h 4333875"/>
                  <a:gd name="connsiteX211" fmla="*/ 7248525 w 8601075"/>
                  <a:gd name="connsiteY211" fmla="*/ 2524125 h 4333875"/>
                  <a:gd name="connsiteX212" fmla="*/ 7372350 w 8601075"/>
                  <a:gd name="connsiteY212" fmla="*/ 2543175 h 4333875"/>
                  <a:gd name="connsiteX213" fmla="*/ 7553325 w 8601075"/>
                  <a:gd name="connsiteY213" fmla="*/ 2447925 h 4333875"/>
                  <a:gd name="connsiteX214" fmla="*/ 7620000 w 8601075"/>
                  <a:gd name="connsiteY214" fmla="*/ 2324100 h 4333875"/>
                  <a:gd name="connsiteX215" fmla="*/ 7696200 w 8601075"/>
                  <a:gd name="connsiteY215" fmla="*/ 2314575 h 4333875"/>
                  <a:gd name="connsiteX216" fmla="*/ 7658100 w 8601075"/>
                  <a:gd name="connsiteY216" fmla="*/ 2257425 h 4333875"/>
                  <a:gd name="connsiteX217" fmla="*/ 7753350 w 8601075"/>
                  <a:gd name="connsiteY217" fmla="*/ 2057400 h 4333875"/>
                  <a:gd name="connsiteX218" fmla="*/ 7934325 w 8601075"/>
                  <a:gd name="connsiteY218" fmla="*/ 2028825 h 4333875"/>
                  <a:gd name="connsiteX219" fmla="*/ 7953375 w 8601075"/>
                  <a:gd name="connsiteY219" fmla="*/ 1952625 h 4333875"/>
                  <a:gd name="connsiteX220" fmla="*/ 7953375 w 8601075"/>
                  <a:gd name="connsiteY220" fmla="*/ 1952625 h 4333875"/>
                  <a:gd name="connsiteX221" fmla="*/ 8010525 w 8601075"/>
                  <a:gd name="connsiteY221" fmla="*/ 1895475 h 4333875"/>
                  <a:gd name="connsiteX222" fmla="*/ 8048625 w 8601075"/>
                  <a:gd name="connsiteY222" fmla="*/ 1971675 h 4333875"/>
                  <a:gd name="connsiteX223" fmla="*/ 8077200 w 8601075"/>
                  <a:gd name="connsiteY223" fmla="*/ 1885950 h 4333875"/>
                  <a:gd name="connsiteX224" fmla="*/ 8220075 w 8601075"/>
                  <a:gd name="connsiteY224" fmla="*/ 1847850 h 4333875"/>
                  <a:gd name="connsiteX225" fmla="*/ 8296275 w 8601075"/>
                  <a:gd name="connsiteY225" fmla="*/ 1809750 h 4333875"/>
                  <a:gd name="connsiteX226" fmla="*/ 8324850 w 8601075"/>
                  <a:gd name="connsiteY226" fmla="*/ 1790700 h 4333875"/>
                  <a:gd name="connsiteX227" fmla="*/ 8410575 w 8601075"/>
                  <a:gd name="connsiteY227" fmla="*/ 1847850 h 4333875"/>
                  <a:gd name="connsiteX228" fmla="*/ 8505825 w 8601075"/>
                  <a:gd name="connsiteY228" fmla="*/ 1781175 h 4333875"/>
                  <a:gd name="connsiteX229" fmla="*/ 8572500 w 8601075"/>
                  <a:gd name="connsiteY229" fmla="*/ 1809750 h 4333875"/>
                  <a:gd name="connsiteX230" fmla="*/ 8601075 w 8601075"/>
                  <a:gd name="connsiteY230" fmla="*/ 1704975 h 4333875"/>
                  <a:gd name="connsiteX231" fmla="*/ 8553450 w 8601075"/>
                  <a:gd name="connsiteY231" fmla="*/ 1676400 h 4333875"/>
                  <a:gd name="connsiteX232" fmla="*/ 8534400 w 8601075"/>
                  <a:gd name="connsiteY232" fmla="*/ 1609725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277225 w 8601075"/>
                  <a:gd name="connsiteY235" fmla="*/ 1409700 h 4333875"/>
                  <a:gd name="connsiteX236" fmla="*/ 8124825 w 8601075"/>
                  <a:gd name="connsiteY236" fmla="*/ 1352550 h 4333875"/>
                  <a:gd name="connsiteX237" fmla="*/ 7924800 w 8601075"/>
                  <a:gd name="connsiteY237" fmla="*/ 1362075 h 4333875"/>
                  <a:gd name="connsiteX238" fmla="*/ 7867650 w 8601075"/>
                  <a:gd name="connsiteY238" fmla="*/ 1457325 h 4333875"/>
                  <a:gd name="connsiteX239" fmla="*/ 7896225 w 8601075"/>
                  <a:gd name="connsiteY239" fmla="*/ 1476375 h 4333875"/>
                  <a:gd name="connsiteX240" fmla="*/ 7858125 w 8601075"/>
                  <a:gd name="connsiteY240" fmla="*/ 1533525 h 4333875"/>
                  <a:gd name="connsiteX241" fmla="*/ 7658100 w 8601075"/>
                  <a:gd name="connsiteY241" fmla="*/ 1447800 h 4333875"/>
                  <a:gd name="connsiteX242" fmla="*/ 7515225 w 8601075"/>
                  <a:gd name="connsiteY242" fmla="*/ 1495425 h 4333875"/>
                  <a:gd name="connsiteX243" fmla="*/ 7467600 w 8601075"/>
                  <a:gd name="connsiteY243" fmla="*/ 1581150 h 4333875"/>
                  <a:gd name="connsiteX244" fmla="*/ 7296150 w 8601075"/>
                  <a:gd name="connsiteY24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771525 w 8601075"/>
                  <a:gd name="connsiteY159" fmla="*/ 2571750 h 4333875"/>
                  <a:gd name="connsiteX160" fmla="*/ 866775 w 8601075"/>
                  <a:gd name="connsiteY160" fmla="*/ 2571750 h 4333875"/>
                  <a:gd name="connsiteX161" fmla="*/ 914400 w 8601075"/>
                  <a:gd name="connsiteY161" fmla="*/ 2638425 h 4333875"/>
                  <a:gd name="connsiteX162" fmla="*/ 1066800 w 8601075"/>
                  <a:gd name="connsiteY162" fmla="*/ 2638425 h 4333875"/>
                  <a:gd name="connsiteX163" fmla="*/ 1285875 w 8601075"/>
                  <a:gd name="connsiteY163" fmla="*/ 2705100 h 4333875"/>
                  <a:gd name="connsiteX164" fmla="*/ 1438275 w 8601075"/>
                  <a:gd name="connsiteY164" fmla="*/ 2838450 h 4333875"/>
                  <a:gd name="connsiteX165" fmla="*/ 1485900 w 8601075"/>
                  <a:gd name="connsiteY165" fmla="*/ 2914650 h 4333875"/>
                  <a:gd name="connsiteX166" fmla="*/ 1657350 w 8601075"/>
                  <a:gd name="connsiteY166" fmla="*/ 3038475 h 4333875"/>
                  <a:gd name="connsiteX167" fmla="*/ 1752600 w 8601075"/>
                  <a:gd name="connsiteY167" fmla="*/ 3057525 h 4333875"/>
                  <a:gd name="connsiteX168" fmla="*/ 1724025 w 8601075"/>
                  <a:gd name="connsiteY168" fmla="*/ 3143250 h 4333875"/>
                  <a:gd name="connsiteX169" fmla="*/ 1724025 w 8601075"/>
                  <a:gd name="connsiteY169" fmla="*/ 3143250 h 4333875"/>
                  <a:gd name="connsiteX170" fmla="*/ 1781175 w 8601075"/>
                  <a:gd name="connsiteY170" fmla="*/ 3181350 h 4333875"/>
                  <a:gd name="connsiteX171" fmla="*/ 1819275 w 8601075"/>
                  <a:gd name="connsiteY171" fmla="*/ 3362325 h 4333875"/>
                  <a:gd name="connsiteX172" fmla="*/ 1828800 w 8601075"/>
                  <a:gd name="connsiteY172" fmla="*/ 3457575 h 4333875"/>
                  <a:gd name="connsiteX173" fmla="*/ 1971675 w 8601075"/>
                  <a:gd name="connsiteY173" fmla="*/ 3590925 h 4333875"/>
                  <a:gd name="connsiteX174" fmla="*/ 1990725 w 8601075"/>
                  <a:gd name="connsiteY174" fmla="*/ 3714750 h 4333875"/>
                  <a:gd name="connsiteX175" fmla="*/ 2200275 w 8601075"/>
                  <a:gd name="connsiteY175" fmla="*/ 3695700 h 4333875"/>
                  <a:gd name="connsiteX176" fmla="*/ 2886075 w 8601075"/>
                  <a:gd name="connsiteY176" fmla="*/ 3886200 h 4333875"/>
                  <a:gd name="connsiteX177" fmla="*/ 3038475 w 8601075"/>
                  <a:gd name="connsiteY177" fmla="*/ 3819525 h 4333875"/>
                  <a:gd name="connsiteX178" fmla="*/ 3105150 w 8601075"/>
                  <a:gd name="connsiteY178" fmla="*/ 3867150 h 4333875"/>
                  <a:gd name="connsiteX179" fmla="*/ 3181350 w 8601075"/>
                  <a:gd name="connsiteY179" fmla="*/ 3800475 h 4333875"/>
                  <a:gd name="connsiteX180" fmla="*/ 3590925 w 8601075"/>
                  <a:gd name="connsiteY180" fmla="*/ 3943350 h 4333875"/>
                  <a:gd name="connsiteX181" fmla="*/ 3686175 w 8601075"/>
                  <a:gd name="connsiteY181" fmla="*/ 4057650 h 4333875"/>
                  <a:gd name="connsiteX182" fmla="*/ 3838575 w 8601075"/>
                  <a:gd name="connsiteY182" fmla="*/ 4057650 h 4333875"/>
                  <a:gd name="connsiteX183" fmla="*/ 4162425 w 8601075"/>
                  <a:gd name="connsiteY183" fmla="*/ 4248150 h 4333875"/>
                  <a:gd name="connsiteX184" fmla="*/ 4391025 w 8601075"/>
                  <a:gd name="connsiteY184" fmla="*/ 4200525 h 4333875"/>
                  <a:gd name="connsiteX185" fmla="*/ 4410075 w 8601075"/>
                  <a:gd name="connsiteY185" fmla="*/ 4305300 h 4333875"/>
                  <a:gd name="connsiteX186" fmla="*/ 4505325 w 8601075"/>
                  <a:gd name="connsiteY186" fmla="*/ 4276725 h 4333875"/>
                  <a:gd name="connsiteX187" fmla="*/ 4572000 w 8601075"/>
                  <a:gd name="connsiteY187" fmla="*/ 4333875 h 4333875"/>
                  <a:gd name="connsiteX188" fmla="*/ 4591050 w 8601075"/>
                  <a:gd name="connsiteY188" fmla="*/ 4248150 h 4333875"/>
                  <a:gd name="connsiteX189" fmla="*/ 5295900 w 8601075"/>
                  <a:gd name="connsiteY189" fmla="*/ 3924300 h 4333875"/>
                  <a:gd name="connsiteX190" fmla="*/ 5353050 w 8601075"/>
                  <a:gd name="connsiteY190" fmla="*/ 3990975 h 4333875"/>
                  <a:gd name="connsiteX191" fmla="*/ 5524500 w 8601075"/>
                  <a:gd name="connsiteY191" fmla="*/ 3914775 h 4333875"/>
                  <a:gd name="connsiteX192" fmla="*/ 5667375 w 8601075"/>
                  <a:gd name="connsiteY192" fmla="*/ 3962400 h 4333875"/>
                  <a:gd name="connsiteX193" fmla="*/ 5753100 w 8601075"/>
                  <a:gd name="connsiteY193" fmla="*/ 3924300 h 4333875"/>
                  <a:gd name="connsiteX194" fmla="*/ 5905500 w 8601075"/>
                  <a:gd name="connsiteY194" fmla="*/ 3943350 h 4333875"/>
                  <a:gd name="connsiteX195" fmla="*/ 6000750 w 8601075"/>
                  <a:gd name="connsiteY195" fmla="*/ 3800475 h 4333875"/>
                  <a:gd name="connsiteX196" fmla="*/ 6153150 w 8601075"/>
                  <a:gd name="connsiteY196" fmla="*/ 3781425 h 4333875"/>
                  <a:gd name="connsiteX197" fmla="*/ 6257925 w 8601075"/>
                  <a:gd name="connsiteY197" fmla="*/ 3581400 h 4333875"/>
                  <a:gd name="connsiteX198" fmla="*/ 6448425 w 8601075"/>
                  <a:gd name="connsiteY198" fmla="*/ 3448050 h 4333875"/>
                  <a:gd name="connsiteX199" fmla="*/ 6581775 w 8601075"/>
                  <a:gd name="connsiteY199" fmla="*/ 3276600 h 4333875"/>
                  <a:gd name="connsiteX200" fmla="*/ 6496050 w 8601075"/>
                  <a:gd name="connsiteY200" fmla="*/ 3228975 h 4333875"/>
                  <a:gd name="connsiteX201" fmla="*/ 6438900 w 8601075"/>
                  <a:gd name="connsiteY201" fmla="*/ 3162300 h 4333875"/>
                  <a:gd name="connsiteX202" fmla="*/ 6419850 w 8601075"/>
                  <a:gd name="connsiteY202" fmla="*/ 3105150 h 4333875"/>
                  <a:gd name="connsiteX203" fmla="*/ 6362700 w 8601075"/>
                  <a:gd name="connsiteY203" fmla="*/ 3076575 h 4333875"/>
                  <a:gd name="connsiteX204" fmla="*/ 6410325 w 8601075"/>
                  <a:gd name="connsiteY204" fmla="*/ 3019425 h 4333875"/>
                  <a:gd name="connsiteX205" fmla="*/ 6438900 w 8601075"/>
                  <a:gd name="connsiteY205" fmla="*/ 2819400 h 4333875"/>
                  <a:gd name="connsiteX206" fmla="*/ 6496050 w 8601075"/>
                  <a:gd name="connsiteY206" fmla="*/ 2762250 h 4333875"/>
                  <a:gd name="connsiteX207" fmla="*/ 6657975 w 8601075"/>
                  <a:gd name="connsiteY207" fmla="*/ 2752725 h 4333875"/>
                  <a:gd name="connsiteX208" fmla="*/ 6781800 w 8601075"/>
                  <a:gd name="connsiteY208" fmla="*/ 2838450 h 4333875"/>
                  <a:gd name="connsiteX209" fmla="*/ 7010400 w 8601075"/>
                  <a:gd name="connsiteY209" fmla="*/ 2838450 h 4333875"/>
                  <a:gd name="connsiteX210" fmla="*/ 7162800 w 8601075"/>
                  <a:gd name="connsiteY210" fmla="*/ 2705100 h 4333875"/>
                  <a:gd name="connsiteX211" fmla="*/ 7229475 w 8601075"/>
                  <a:gd name="connsiteY211" fmla="*/ 2590800 h 4333875"/>
                  <a:gd name="connsiteX212" fmla="*/ 7248525 w 8601075"/>
                  <a:gd name="connsiteY212" fmla="*/ 2524125 h 4333875"/>
                  <a:gd name="connsiteX213" fmla="*/ 7372350 w 8601075"/>
                  <a:gd name="connsiteY213" fmla="*/ 2543175 h 4333875"/>
                  <a:gd name="connsiteX214" fmla="*/ 7553325 w 8601075"/>
                  <a:gd name="connsiteY214" fmla="*/ 2447925 h 4333875"/>
                  <a:gd name="connsiteX215" fmla="*/ 7620000 w 8601075"/>
                  <a:gd name="connsiteY215" fmla="*/ 2324100 h 4333875"/>
                  <a:gd name="connsiteX216" fmla="*/ 7696200 w 8601075"/>
                  <a:gd name="connsiteY216" fmla="*/ 2314575 h 4333875"/>
                  <a:gd name="connsiteX217" fmla="*/ 7658100 w 8601075"/>
                  <a:gd name="connsiteY217" fmla="*/ 2257425 h 4333875"/>
                  <a:gd name="connsiteX218" fmla="*/ 7753350 w 8601075"/>
                  <a:gd name="connsiteY218" fmla="*/ 2057400 h 4333875"/>
                  <a:gd name="connsiteX219" fmla="*/ 7934325 w 8601075"/>
                  <a:gd name="connsiteY219" fmla="*/ 2028825 h 4333875"/>
                  <a:gd name="connsiteX220" fmla="*/ 7953375 w 8601075"/>
                  <a:gd name="connsiteY220" fmla="*/ 1952625 h 4333875"/>
                  <a:gd name="connsiteX221" fmla="*/ 7953375 w 8601075"/>
                  <a:gd name="connsiteY221" fmla="*/ 1952625 h 4333875"/>
                  <a:gd name="connsiteX222" fmla="*/ 8010525 w 8601075"/>
                  <a:gd name="connsiteY222" fmla="*/ 1895475 h 4333875"/>
                  <a:gd name="connsiteX223" fmla="*/ 8048625 w 8601075"/>
                  <a:gd name="connsiteY223" fmla="*/ 1971675 h 4333875"/>
                  <a:gd name="connsiteX224" fmla="*/ 8077200 w 8601075"/>
                  <a:gd name="connsiteY224" fmla="*/ 1885950 h 4333875"/>
                  <a:gd name="connsiteX225" fmla="*/ 8220075 w 8601075"/>
                  <a:gd name="connsiteY225" fmla="*/ 1847850 h 4333875"/>
                  <a:gd name="connsiteX226" fmla="*/ 8296275 w 8601075"/>
                  <a:gd name="connsiteY226" fmla="*/ 1809750 h 4333875"/>
                  <a:gd name="connsiteX227" fmla="*/ 8324850 w 8601075"/>
                  <a:gd name="connsiteY227" fmla="*/ 1790700 h 4333875"/>
                  <a:gd name="connsiteX228" fmla="*/ 8410575 w 8601075"/>
                  <a:gd name="connsiteY228" fmla="*/ 1847850 h 4333875"/>
                  <a:gd name="connsiteX229" fmla="*/ 8505825 w 8601075"/>
                  <a:gd name="connsiteY229" fmla="*/ 1781175 h 4333875"/>
                  <a:gd name="connsiteX230" fmla="*/ 8572500 w 8601075"/>
                  <a:gd name="connsiteY230" fmla="*/ 1809750 h 4333875"/>
                  <a:gd name="connsiteX231" fmla="*/ 8601075 w 8601075"/>
                  <a:gd name="connsiteY231" fmla="*/ 1704975 h 4333875"/>
                  <a:gd name="connsiteX232" fmla="*/ 8553450 w 8601075"/>
                  <a:gd name="connsiteY232" fmla="*/ 1676400 h 4333875"/>
                  <a:gd name="connsiteX233" fmla="*/ 8534400 w 8601075"/>
                  <a:gd name="connsiteY233" fmla="*/ 1609725 h 4333875"/>
                  <a:gd name="connsiteX234" fmla="*/ 8277225 w 8601075"/>
                  <a:gd name="connsiteY234" fmla="*/ 1409700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124825 w 8601075"/>
                  <a:gd name="connsiteY237" fmla="*/ 1352550 h 4333875"/>
                  <a:gd name="connsiteX238" fmla="*/ 7924800 w 8601075"/>
                  <a:gd name="connsiteY238" fmla="*/ 1362075 h 4333875"/>
                  <a:gd name="connsiteX239" fmla="*/ 7867650 w 8601075"/>
                  <a:gd name="connsiteY239" fmla="*/ 1457325 h 4333875"/>
                  <a:gd name="connsiteX240" fmla="*/ 7896225 w 8601075"/>
                  <a:gd name="connsiteY240" fmla="*/ 1476375 h 4333875"/>
                  <a:gd name="connsiteX241" fmla="*/ 7858125 w 8601075"/>
                  <a:gd name="connsiteY241" fmla="*/ 1533525 h 4333875"/>
                  <a:gd name="connsiteX242" fmla="*/ 7658100 w 8601075"/>
                  <a:gd name="connsiteY242" fmla="*/ 1447800 h 4333875"/>
                  <a:gd name="connsiteX243" fmla="*/ 7515225 w 8601075"/>
                  <a:gd name="connsiteY243" fmla="*/ 1495425 h 4333875"/>
                  <a:gd name="connsiteX244" fmla="*/ 7467600 w 8601075"/>
                  <a:gd name="connsiteY244" fmla="*/ 1581150 h 4333875"/>
                  <a:gd name="connsiteX245" fmla="*/ 7296150 w 8601075"/>
                  <a:gd name="connsiteY24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71525 w 8601075"/>
                  <a:gd name="connsiteY160" fmla="*/ 2571750 h 4333875"/>
                  <a:gd name="connsiteX161" fmla="*/ 866775 w 8601075"/>
                  <a:gd name="connsiteY161" fmla="*/ 2571750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66775 w 8601075"/>
                  <a:gd name="connsiteY161" fmla="*/ 2571750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52600 w 8601075"/>
                  <a:gd name="connsiteY169" fmla="*/ 3057525 h 4333875"/>
                  <a:gd name="connsiteX170" fmla="*/ 1724025 w 8601075"/>
                  <a:gd name="connsiteY170" fmla="*/ 3143250 h 4333875"/>
                  <a:gd name="connsiteX171" fmla="*/ 1724025 w 8601075"/>
                  <a:gd name="connsiteY171" fmla="*/ 3143250 h 4333875"/>
                  <a:gd name="connsiteX172" fmla="*/ 1781175 w 8601075"/>
                  <a:gd name="connsiteY172" fmla="*/ 3181350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24025 w 8601075"/>
                  <a:gd name="connsiteY170" fmla="*/ 3143250 h 4333875"/>
                  <a:gd name="connsiteX171" fmla="*/ 1724025 w 8601075"/>
                  <a:gd name="connsiteY171" fmla="*/ 3143250 h 4333875"/>
                  <a:gd name="connsiteX172" fmla="*/ 1781175 w 8601075"/>
                  <a:gd name="connsiteY172" fmla="*/ 3181350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4025 w 8601075"/>
                  <a:gd name="connsiteY172" fmla="*/ 3143250 h 4333875"/>
                  <a:gd name="connsiteX173" fmla="*/ 1781175 w 8601075"/>
                  <a:gd name="connsiteY173" fmla="*/ 3181350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8787 w 8601075"/>
                  <a:gd name="connsiteY172" fmla="*/ 3136107 h 4333875"/>
                  <a:gd name="connsiteX173" fmla="*/ 1781175 w 8601075"/>
                  <a:gd name="connsiteY173" fmla="*/ 3181350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8787 w 8601075"/>
                  <a:gd name="connsiteY172" fmla="*/ 3136107 h 4333875"/>
                  <a:gd name="connsiteX173" fmla="*/ 1776413 w 8601075"/>
                  <a:gd name="connsiteY173" fmla="*/ 3169444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59769 w 8601075"/>
                  <a:gd name="connsiteY176" fmla="*/ 369570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66913 w 8601075"/>
                  <a:gd name="connsiteY176" fmla="*/ 3705225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66913 w 8601075"/>
                  <a:gd name="connsiteY177" fmla="*/ 3705225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200275 w 8601075"/>
                  <a:gd name="connsiteY179" fmla="*/ 3695700 h 4333875"/>
                  <a:gd name="connsiteX180" fmla="*/ 2886075 w 8601075"/>
                  <a:gd name="connsiteY180" fmla="*/ 3886200 h 4333875"/>
                  <a:gd name="connsiteX181" fmla="*/ 3038475 w 8601075"/>
                  <a:gd name="connsiteY181" fmla="*/ 3819525 h 4333875"/>
                  <a:gd name="connsiteX182" fmla="*/ 3105150 w 8601075"/>
                  <a:gd name="connsiteY182" fmla="*/ 3867150 h 4333875"/>
                  <a:gd name="connsiteX183" fmla="*/ 3181350 w 8601075"/>
                  <a:gd name="connsiteY183" fmla="*/ 3800475 h 4333875"/>
                  <a:gd name="connsiteX184" fmla="*/ 3590925 w 8601075"/>
                  <a:gd name="connsiteY184" fmla="*/ 3943350 h 4333875"/>
                  <a:gd name="connsiteX185" fmla="*/ 3686175 w 8601075"/>
                  <a:gd name="connsiteY185" fmla="*/ 4057650 h 4333875"/>
                  <a:gd name="connsiteX186" fmla="*/ 3838575 w 8601075"/>
                  <a:gd name="connsiteY186" fmla="*/ 4057650 h 4333875"/>
                  <a:gd name="connsiteX187" fmla="*/ 4162425 w 8601075"/>
                  <a:gd name="connsiteY187" fmla="*/ 4248150 h 4333875"/>
                  <a:gd name="connsiteX188" fmla="*/ 4391025 w 8601075"/>
                  <a:gd name="connsiteY188" fmla="*/ 4200525 h 4333875"/>
                  <a:gd name="connsiteX189" fmla="*/ 4410075 w 8601075"/>
                  <a:gd name="connsiteY189" fmla="*/ 4305300 h 4333875"/>
                  <a:gd name="connsiteX190" fmla="*/ 4505325 w 8601075"/>
                  <a:gd name="connsiteY190" fmla="*/ 4276725 h 4333875"/>
                  <a:gd name="connsiteX191" fmla="*/ 4572000 w 8601075"/>
                  <a:gd name="connsiteY191" fmla="*/ 4333875 h 4333875"/>
                  <a:gd name="connsiteX192" fmla="*/ 4591050 w 8601075"/>
                  <a:gd name="connsiteY192" fmla="*/ 4248150 h 4333875"/>
                  <a:gd name="connsiteX193" fmla="*/ 5295900 w 8601075"/>
                  <a:gd name="connsiteY193" fmla="*/ 3924300 h 4333875"/>
                  <a:gd name="connsiteX194" fmla="*/ 5353050 w 8601075"/>
                  <a:gd name="connsiteY194" fmla="*/ 3990975 h 4333875"/>
                  <a:gd name="connsiteX195" fmla="*/ 5524500 w 8601075"/>
                  <a:gd name="connsiteY195" fmla="*/ 3914775 h 4333875"/>
                  <a:gd name="connsiteX196" fmla="*/ 5667375 w 8601075"/>
                  <a:gd name="connsiteY196" fmla="*/ 3962400 h 4333875"/>
                  <a:gd name="connsiteX197" fmla="*/ 5753100 w 8601075"/>
                  <a:gd name="connsiteY197" fmla="*/ 3924300 h 4333875"/>
                  <a:gd name="connsiteX198" fmla="*/ 5905500 w 8601075"/>
                  <a:gd name="connsiteY198" fmla="*/ 3943350 h 4333875"/>
                  <a:gd name="connsiteX199" fmla="*/ 6000750 w 8601075"/>
                  <a:gd name="connsiteY199" fmla="*/ 3800475 h 4333875"/>
                  <a:gd name="connsiteX200" fmla="*/ 6153150 w 8601075"/>
                  <a:gd name="connsiteY200" fmla="*/ 3781425 h 4333875"/>
                  <a:gd name="connsiteX201" fmla="*/ 6257925 w 8601075"/>
                  <a:gd name="connsiteY201" fmla="*/ 3581400 h 4333875"/>
                  <a:gd name="connsiteX202" fmla="*/ 6448425 w 8601075"/>
                  <a:gd name="connsiteY202" fmla="*/ 3448050 h 4333875"/>
                  <a:gd name="connsiteX203" fmla="*/ 6581775 w 8601075"/>
                  <a:gd name="connsiteY203" fmla="*/ 3276600 h 4333875"/>
                  <a:gd name="connsiteX204" fmla="*/ 6496050 w 8601075"/>
                  <a:gd name="connsiteY204" fmla="*/ 3228975 h 4333875"/>
                  <a:gd name="connsiteX205" fmla="*/ 6438900 w 8601075"/>
                  <a:gd name="connsiteY205" fmla="*/ 3162300 h 4333875"/>
                  <a:gd name="connsiteX206" fmla="*/ 6419850 w 8601075"/>
                  <a:gd name="connsiteY206" fmla="*/ 3105150 h 4333875"/>
                  <a:gd name="connsiteX207" fmla="*/ 6362700 w 8601075"/>
                  <a:gd name="connsiteY207" fmla="*/ 3076575 h 4333875"/>
                  <a:gd name="connsiteX208" fmla="*/ 6410325 w 8601075"/>
                  <a:gd name="connsiteY208" fmla="*/ 3019425 h 4333875"/>
                  <a:gd name="connsiteX209" fmla="*/ 6438900 w 8601075"/>
                  <a:gd name="connsiteY209" fmla="*/ 2819400 h 4333875"/>
                  <a:gd name="connsiteX210" fmla="*/ 6496050 w 8601075"/>
                  <a:gd name="connsiteY210" fmla="*/ 2762250 h 4333875"/>
                  <a:gd name="connsiteX211" fmla="*/ 6657975 w 8601075"/>
                  <a:gd name="connsiteY211" fmla="*/ 2752725 h 4333875"/>
                  <a:gd name="connsiteX212" fmla="*/ 6781800 w 8601075"/>
                  <a:gd name="connsiteY212" fmla="*/ 2838450 h 4333875"/>
                  <a:gd name="connsiteX213" fmla="*/ 7010400 w 8601075"/>
                  <a:gd name="connsiteY213" fmla="*/ 2838450 h 4333875"/>
                  <a:gd name="connsiteX214" fmla="*/ 7162800 w 8601075"/>
                  <a:gd name="connsiteY214" fmla="*/ 2705100 h 4333875"/>
                  <a:gd name="connsiteX215" fmla="*/ 7229475 w 8601075"/>
                  <a:gd name="connsiteY215" fmla="*/ 2590800 h 4333875"/>
                  <a:gd name="connsiteX216" fmla="*/ 7248525 w 8601075"/>
                  <a:gd name="connsiteY216" fmla="*/ 2524125 h 4333875"/>
                  <a:gd name="connsiteX217" fmla="*/ 7372350 w 8601075"/>
                  <a:gd name="connsiteY217" fmla="*/ 2543175 h 4333875"/>
                  <a:gd name="connsiteX218" fmla="*/ 7553325 w 8601075"/>
                  <a:gd name="connsiteY218" fmla="*/ 2447925 h 4333875"/>
                  <a:gd name="connsiteX219" fmla="*/ 7620000 w 8601075"/>
                  <a:gd name="connsiteY219" fmla="*/ 2324100 h 4333875"/>
                  <a:gd name="connsiteX220" fmla="*/ 7696200 w 8601075"/>
                  <a:gd name="connsiteY220" fmla="*/ 2314575 h 4333875"/>
                  <a:gd name="connsiteX221" fmla="*/ 7658100 w 8601075"/>
                  <a:gd name="connsiteY221" fmla="*/ 2257425 h 4333875"/>
                  <a:gd name="connsiteX222" fmla="*/ 7753350 w 8601075"/>
                  <a:gd name="connsiteY222" fmla="*/ 2057400 h 4333875"/>
                  <a:gd name="connsiteX223" fmla="*/ 7934325 w 8601075"/>
                  <a:gd name="connsiteY223" fmla="*/ 2028825 h 4333875"/>
                  <a:gd name="connsiteX224" fmla="*/ 7953375 w 8601075"/>
                  <a:gd name="connsiteY224" fmla="*/ 1952625 h 4333875"/>
                  <a:gd name="connsiteX225" fmla="*/ 7953375 w 8601075"/>
                  <a:gd name="connsiteY225" fmla="*/ 1952625 h 4333875"/>
                  <a:gd name="connsiteX226" fmla="*/ 8010525 w 8601075"/>
                  <a:gd name="connsiteY226" fmla="*/ 1895475 h 4333875"/>
                  <a:gd name="connsiteX227" fmla="*/ 8048625 w 8601075"/>
                  <a:gd name="connsiteY227" fmla="*/ 1971675 h 4333875"/>
                  <a:gd name="connsiteX228" fmla="*/ 8077200 w 8601075"/>
                  <a:gd name="connsiteY228" fmla="*/ 1885950 h 4333875"/>
                  <a:gd name="connsiteX229" fmla="*/ 8220075 w 8601075"/>
                  <a:gd name="connsiteY229" fmla="*/ 1847850 h 4333875"/>
                  <a:gd name="connsiteX230" fmla="*/ 8296275 w 8601075"/>
                  <a:gd name="connsiteY230" fmla="*/ 1809750 h 4333875"/>
                  <a:gd name="connsiteX231" fmla="*/ 8324850 w 8601075"/>
                  <a:gd name="connsiteY231" fmla="*/ 1790700 h 4333875"/>
                  <a:gd name="connsiteX232" fmla="*/ 8410575 w 8601075"/>
                  <a:gd name="connsiteY232" fmla="*/ 1847850 h 4333875"/>
                  <a:gd name="connsiteX233" fmla="*/ 8505825 w 8601075"/>
                  <a:gd name="connsiteY233" fmla="*/ 1781175 h 4333875"/>
                  <a:gd name="connsiteX234" fmla="*/ 8572500 w 8601075"/>
                  <a:gd name="connsiteY234" fmla="*/ 1809750 h 4333875"/>
                  <a:gd name="connsiteX235" fmla="*/ 8601075 w 8601075"/>
                  <a:gd name="connsiteY235" fmla="*/ 1704975 h 4333875"/>
                  <a:gd name="connsiteX236" fmla="*/ 8553450 w 8601075"/>
                  <a:gd name="connsiteY236" fmla="*/ 1676400 h 4333875"/>
                  <a:gd name="connsiteX237" fmla="*/ 8534400 w 8601075"/>
                  <a:gd name="connsiteY237" fmla="*/ 1609725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124825 w 8601075"/>
                  <a:gd name="connsiteY241" fmla="*/ 1352550 h 4333875"/>
                  <a:gd name="connsiteX242" fmla="*/ 7924800 w 8601075"/>
                  <a:gd name="connsiteY242" fmla="*/ 1362075 h 4333875"/>
                  <a:gd name="connsiteX243" fmla="*/ 7867650 w 8601075"/>
                  <a:gd name="connsiteY243" fmla="*/ 1457325 h 4333875"/>
                  <a:gd name="connsiteX244" fmla="*/ 7896225 w 8601075"/>
                  <a:gd name="connsiteY244" fmla="*/ 1476375 h 4333875"/>
                  <a:gd name="connsiteX245" fmla="*/ 7858125 w 8601075"/>
                  <a:gd name="connsiteY245" fmla="*/ 1533525 h 4333875"/>
                  <a:gd name="connsiteX246" fmla="*/ 7658100 w 8601075"/>
                  <a:gd name="connsiteY246" fmla="*/ 1447800 h 4333875"/>
                  <a:gd name="connsiteX247" fmla="*/ 7515225 w 8601075"/>
                  <a:gd name="connsiteY247" fmla="*/ 1495425 h 4333875"/>
                  <a:gd name="connsiteX248" fmla="*/ 7467600 w 8601075"/>
                  <a:gd name="connsiteY248" fmla="*/ 1581150 h 4333875"/>
                  <a:gd name="connsiteX249" fmla="*/ 7296150 w 8601075"/>
                  <a:gd name="connsiteY24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886075 w 8601075"/>
                  <a:gd name="connsiteY180" fmla="*/ 3886200 h 4333875"/>
                  <a:gd name="connsiteX181" fmla="*/ 3038475 w 8601075"/>
                  <a:gd name="connsiteY181" fmla="*/ 3819525 h 4333875"/>
                  <a:gd name="connsiteX182" fmla="*/ 3105150 w 8601075"/>
                  <a:gd name="connsiteY182" fmla="*/ 3867150 h 4333875"/>
                  <a:gd name="connsiteX183" fmla="*/ 3181350 w 8601075"/>
                  <a:gd name="connsiteY183" fmla="*/ 3800475 h 4333875"/>
                  <a:gd name="connsiteX184" fmla="*/ 3590925 w 8601075"/>
                  <a:gd name="connsiteY184" fmla="*/ 3943350 h 4333875"/>
                  <a:gd name="connsiteX185" fmla="*/ 3686175 w 8601075"/>
                  <a:gd name="connsiteY185" fmla="*/ 4057650 h 4333875"/>
                  <a:gd name="connsiteX186" fmla="*/ 3838575 w 8601075"/>
                  <a:gd name="connsiteY186" fmla="*/ 4057650 h 4333875"/>
                  <a:gd name="connsiteX187" fmla="*/ 4162425 w 8601075"/>
                  <a:gd name="connsiteY187" fmla="*/ 4248150 h 4333875"/>
                  <a:gd name="connsiteX188" fmla="*/ 4391025 w 8601075"/>
                  <a:gd name="connsiteY188" fmla="*/ 4200525 h 4333875"/>
                  <a:gd name="connsiteX189" fmla="*/ 4410075 w 8601075"/>
                  <a:gd name="connsiteY189" fmla="*/ 4305300 h 4333875"/>
                  <a:gd name="connsiteX190" fmla="*/ 4505325 w 8601075"/>
                  <a:gd name="connsiteY190" fmla="*/ 4276725 h 4333875"/>
                  <a:gd name="connsiteX191" fmla="*/ 4572000 w 8601075"/>
                  <a:gd name="connsiteY191" fmla="*/ 4333875 h 4333875"/>
                  <a:gd name="connsiteX192" fmla="*/ 4591050 w 8601075"/>
                  <a:gd name="connsiteY192" fmla="*/ 4248150 h 4333875"/>
                  <a:gd name="connsiteX193" fmla="*/ 5295900 w 8601075"/>
                  <a:gd name="connsiteY193" fmla="*/ 3924300 h 4333875"/>
                  <a:gd name="connsiteX194" fmla="*/ 5353050 w 8601075"/>
                  <a:gd name="connsiteY194" fmla="*/ 3990975 h 4333875"/>
                  <a:gd name="connsiteX195" fmla="*/ 5524500 w 8601075"/>
                  <a:gd name="connsiteY195" fmla="*/ 3914775 h 4333875"/>
                  <a:gd name="connsiteX196" fmla="*/ 5667375 w 8601075"/>
                  <a:gd name="connsiteY196" fmla="*/ 3962400 h 4333875"/>
                  <a:gd name="connsiteX197" fmla="*/ 5753100 w 8601075"/>
                  <a:gd name="connsiteY197" fmla="*/ 3924300 h 4333875"/>
                  <a:gd name="connsiteX198" fmla="*/ 5905500 w 8601075"/>
                  <a:gd name="connsiteY198" fmla="*/ 3943350 h 4333875"/>
                  <a:gd name="connsiteX199" fmla="*/ 6000750 w 8601075"/>
                  <a:gd name="connsiteY199" fmla="*/ 3800475 h 4333875"/>
                  <a:gd name="connsiteX200" fmla="*/ 6153150 w 8601075"/>
                  <a:gd name="connsiteY200" fmla="*/ 3781425 h 4333875"/>
                  <a:gd name="connsiteX201" fmla="*/ 6257925 w 8601075"/>
                  <a:gd name="connsiteY201" fmla="*/ 3581400 h 4333875"/>
                  <a:gd name="connsiteX202" fmla="*/ 6448425 w 8601075"/>
                  <a:gd name="connsiteY202" fmla="*/ 3448050 h 4333875"/>
                  <a:gd name="connsiteX203" fmla="*/ 6581775 w 8601075"/>
                  <a:gd name="connsiteY203" fmla="*/ 3276600 h 4333875"/>
                  <a:gd name="connsiteX204" fmla="*/ 6496050 w 8601075"/>
                  <a:gd name="connsiteY204" fmla="*/ 3228975 h 4333875"/>
                  <a:gd name="connsiteX205" fmla="*/ 6438900 w 8601075"/>
                  <a:gd name="connsiteY205" fmla="*/ 3162300 h 4333875"/>
                  <a:gd name="connsiteX206" fmla="*/ 6419850 w 8601075"/>
                  <a:gd name="connsiteY206" fmla="*/ 3105150 h 4333875"/>
                  <a:gd name="connsiteX207" fmla="*/ 6362700 w 8601075"/>
                  <a:gd name="connsiteY207" fmla="*/ 3076575 h 4333875"/>
                  <a:gd name="connsiteX208" fmla="*/ 6410325 w 8601075"/>
                  <a:gd name="connsiteY208" fmla="*/ 3019425 h 4333875"/>
                  <a:gd name="connsiteX209" fmla="*/ 6438900 w 8601075"/>
                  <a:gd name="connsiteY209" fmla="*/ 2819400 h 4333875"/>
                  <a:gd name="connsiteX210" fmla="*/ 6496050 w 8601075"/>
                  <a:gd name="connsiteY210" fmla="*/ 2762250 h 4333875"/>
                  <a:gd name="connsiteX211" fmla="*/ 6657975 w 8601075"/>
                  <a:gd name="connsiteY211" fmla="*/ 2752725 h 4333875"/>
                  <a:gd name="connsiteX212" fmla="*/ 6781800 w 8601075"/>
                  <a:gd name="connsiteY212" fmla="*/ 2838450 h 4333875"/>
                  <a:gd name="connsiteX213" fmla="*/ 7010400 w 8601075"/>
                  <a:gd name="connsiteY213" fmla="*/ 2838450 h 4333875"/>
                  <a:gd name="connsiteX214" fmla="*/ 7162800 w 8601075"/>
                  <a:gd name="connsiteY214" fmla="*/ 2705100 h 4333875"/>
                  <a:gd name="connsiteX215" fmla="*/ 7229475 w 8601075"/>
                  <a:gd name="connsiteY215" fmla="*/ 2590800 h 4333875"/>
                  <a:gd name="connsiteX216" fmla="*/ 7248525 w 8601075"/>
                  <a:gd name="connsiteY216" fmla="*/ 2524125 h 4333875"/>
                  <a:gd name="connsiteX217" fmla="*/ 7372350 w 8601075"/>
                  <a:gd name="connsiteY217" fmla="*/ 2543175 h 4333875"/>
                  <a:gd name="connsiteX218" fmla="*/ 7553325 w 8601075"/>
                  <a:gd name="connsiteY218" fmla="*/ 2447925 h 4333875"/>
                  <a:gd name="connsiteX219" fmla="*/ 7620000 w 8601075"/>
                  <a:gd name="connsiteY219" fmla="*/ 2324100 h 4333875"/>
                  <a:gd name="connsiteX220" fmla="*/ 7696200 w 8601075"/>
                  <a:gd name="connsiteY220" fmla="*/ 2314575 h 4333875"/>
                  <a:gd name="connsiteX221" fmla="*/ 7658100 w 8601075"/>
                  <a:gd name="connsiteY221" fmla="*/ 2257425 h 4333875"/>
                  <a:gd name="connsiteX222" fmla="*/ 7753350 w 8601075"/>
                  <a:gd name="connsiteY222" fmla="*/ 2057400 h 4333875"/>
                  <a:gd name="connsiteX223" fmla="*/ 7934325 w 8601075"/>
                  <a:gd name="connsiteY223" fmla="*/ 2028825 h 4333875"/>
                  <a:gd name="connsiteX224" fmla="*/ 7953375 w 8601075"/>
                  <a:gd name="connsiteY224" fmla="*/ 1952625 h 4333875"/>
                  <a:gd name="connsiteX225" fmla="*/ 7953375 w 8601075"/>
                  <a:gd name="connsiteY225" fmla="*/ 1952625 h 4333875"/>
                  <a:gd name="connsiteX226" fmla="*/ 8010525 w 8601075"/>
                  <a:gd name="connsiteY226" fmla="*/ 1895475 h 4333875"/>
                  <a:gd name="connsiteX227" fmla="*/ 8048625 w 8601075"/>
                  <a:gd name="connsiteY227" fmla="*/ 1971675 h 4333875"/>
                  <a:gd name="connsiteX228" fmla="*/ 8077200 w 8601075"/>
                  <a:gd name="connsiteY228" fmla="*/ 1885950 h 4333875"/>
                  <a:gd name="connsiteX229" fmla="*/ 8220075 w 8601075"/>
                  <a:gd name="connsiteY229" fmla="*/ 1847850 h 4333875"/>
                  <a:gd name="connsiteX230" fmla="*/ 8296275 w 8601075"/>
                  <a:gd name="connsiteY230" fmla="*/ 1809750 h 4333875"/>
                  <a:gd name="connsiteX231" fmla="*/ 8324850 w 8601075"/>
                  <a:gd name="connsiteY231" fmla="*/ 1790700 h 4333875"/>
                  <a:gd name="connsiteX232" fmla="*/ 8410575 w 8601075"/>
                  <a:gd name="connsiteY232" fmla="*/ 1847850 h 4333875"/>
                  <a:gd name="connsiteX233" fmla="*/ 8505825 w 8601075"/>
                  <a:gd name="connsiteY233" fmla="*/ 1781175 h 4333875"/>
                  <a:gd name="connsiteX234" fmla="*/ 8572500 w 8601075"/>
                  <a:gd name="connsiteY234" fmla="*/ 1809750 h 4333875"/>
                  <a:gd name="connsiteX235" fmla="*/ 8601075 w 8601075"/>
                  <a:gd name="connsiteY235" fmla="*/ 1704975 h 4333875"/>
                  <a:gd name="connsiteX236" fmla="*/ 8553450 w 8601075"/>
                  <a:gd name="connsiteY236" fmla="*/ 1676400 h 4333875"/>
                  <a:gd name="connsiteX237" fmla="*/ 8534400 w 8601075"/>
                  <a:gd name="connsiteY237" fmla="*/ 1609725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124825 w 8601075"/>
                  <a:gd name="connsiteY241" fmla="*/ 1352550 h 4333875"/>
                  <a:gd name="connsiteX242" fmla="*/ 7924800 w 8601075"/>
                  <a:gd name="connsiteY242" fmla="*/ 1362075 h 4333875"/>
                  <a:gd name="connsiteX243" fmla="*/ 7867650 w 8601075"/>
                  <a:gd name="connsiteY243" fmla="*/ 1457325 h 4333875"/>
                  <a:gd name="connsiteX244" fmla="*/ 7896225 w 8601075"/>
                  <a:gd name="connsiteY244" fmla="*/ 1476375 h 4333875"/>
                  <a:gd name="connsiteX245" fmla="*/ 7858125 w 8601075"/>
                  <a:gd name="connsiteY245" fmla="*/ 1533525 h 4333875"/>
                  <a:gd name="connsiteX246" fmla="*/ 7658100 w 8601075"/>
                  <a:gd name="connsiteY246" fmla="*/ 1447800 h 4333875"/>
                  <a:gd name="connsiteX247" fmla="*/ 7515225 w 8601075"/>
                  <a:gd name="connsiteY247" fmla="*/ 1495425 h 4333875"/>
                  <a:gd name="connsiteX248" fmla="*/ 7467600 w 8601075"/>
                  <a:gd name="connsiteY248" fmla="*/ 1581150 h 4333875"/>
                  <a:gd name="connsiteX249" fmla="*/ 7296150 w 8601075"/>
                  <a:gd name="connsiteY24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86075 w 8601075"/>
                  <a:gd name="connsiteY181" fmla="*/ 3886200 h 4333875"/>
                  <a:gd name="connsiteX182" fmla="*/ 3038475 w 8601075"/>
                  <a:gd name="connsiteY182" fmla="*/ 3819525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38475 w 8601075"/>
                  <a:gd name="connsiteY182" fmla="*/ 3819525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38575 w 8601075"/>
                  <a:gd name="connsiteY188" fmla="*/ 4057650 h 4333875"/>
                  <a:gd name="connsiteX189" fmla="*/ 4162425 w 8601075"/>
                  <a:gd name="connsiteY189" fmla="*/ 424815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2425 w 8601075"/>
                  <a:gd name="connsiteY189" fmla="*/ 424815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29087 w 8601075"/>
                  <a:gd name="connsiteY189" fmla="*/ 4214812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79119 w 8601075"/>
                  <a:gd name="connsiteY190" fmla="*/ 4193381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395788 w 8601075"/>
                  <a:gd name="connsiteY191" fmla="*/ 4279106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395788 w 8601075"/>
                  <a:gd name="connsiteY191" fmla="*/ 4279106 h 4333875"/>
                  <a:gd name="connsiteX192" fmla="*/ 4481513 w 8601075"/>
                  <a:gd name="connsiteY192" fmla="*/ 4274343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591050 w 8601075"/>
                  <a:gd name="connsiteY194" fmla="*/ 4248150 h 4305300"/>
                  <a:gd name="connsiteX195" fmla="*/ 5295900 w 8601075"/>
                  <a:gd name="connsiteY195" fmla="*/ 3924300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95900 w 8601075"/>
                  <a:gd name="connsiteY195" fmla="*/ 3924300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448425 w 8601075"/>
                  <a:gd name="connsiteY205" fmla="*/ 3448050 h 4305300"/>
                  <a:gd name="connsiteX206" fmla="*/ 6581775 w 8601075"/>
                  <a:gd name="connsiteY206" fmla="*/ 3276600 h 4305300"/>
                  <a:gd name="connsiteX207" fmla="*/ 6496050 w 8601075"/>
                  <a:gd name="connsiteY207" fmla="*/ 3228975 h 4305300"/>
                  <a:gd name="connsiteX208" fmla="*/ 6438900 w 8601075"/>
                  <a:gd name="connsiteY208" fmla="*/ 3162300 h 4305300"/>
                  <a:gd name="connsiteX209" fmla="*/ 6419850 w 8601075"/>
                  <a:gd name="connsiteY209" fmla="*/ 3105150 h 4305300"/>
                  <a:gd name="connsiteX210" fmla="*/ 6362700 w 8601075"/>
                  <a:gd name="connsiteY210" fmla="*/ 3076575 h 4305300"/>
                  <a:gd name="connsiteX211" fmla="*/ 6410325 w 8601075"/>
                  <a:gd name="connsiteY211" fmla="*/ 3019425 h 4305300"/>
                  <a:gd name="connsiteX212" fmla="*/ 6438900 w 8601075"/>
                  <a:gd name="connsiteY212" fmla="*/ 2819400 h 4305300"/>
                  <a:gd name="connsiteX213" fmla="*/ 6496050 w 8601075"/>
                  <a:gd name="connsiteY213" fmla="*/ 2762250 h 4305300"/>
                  <a:gd name="connsiteX214" fmla="*/ 6657975 w 8601075"/>
                  <a:gd name="connsiteY214" fmla="*/ 2752725 h 4305300"/>
                  <a:gd name="connsiteX215" fmla="*/ 6781800 w 8601075"/>
                  <a:gd name="connsiteY215" fmla="*/ 2838450 h 4305300"/>
                  <a:gd name="connsiteX216" fmla="*/ 7010400 w 8601075"/>
                  <a:gd name="connsiteY216" fmla="*/ 2838450 h 4305300"/>
                  <a:gd name="connsiteX217" fmla="*/ 7162800 w 8601075"/>
                  <a:gd name="connsiteY217" fmla="*/ 2705100 h 4305300"/>
                  <a:gd name="connsiteX218" fmla="*/ 7229475 w 8601075"/>
                  <a:gd name="connsiteY218" fmla="*/ 2590800 h 4305300"/>
                  <a:gd name="connsiteX219" fmla="*/ 7248525 w 8601075"/>
                  <a:gd name="connsiteY219" fmla="*/ 2524125 h 4305300"/>
                  <a:gd name="connsiteX220" fmla="*/ 7372350 w 8601075"/>
                  <a:gd name="connsiteY220" fmla="*/ 2543175 h 4305300"/>
                  <a:gd name="connsiteX221" fmla="*/ 7553325 w 8601075"/>
                  <a:gd name="connsiteY221" fmla="*/ 2447925 h 4305300"/>
                  <a:gd name="connsiteX222" fmla="*/ 7620000 w 8601075"/>
                  <a:gd name="connsiteY222" fmla="*/ 2324100 h 4305300"/>
                  <a:gd name="connsiteX223" fmla="*/ 7696200 w 8601075"/>
                  <a:gd name="connsiteY223" fmla="*/ 2314575 h 4305300"/>
                  <a:gd name="connsiteX224" fmla="*/ 7658100 w 8601075"/>
                  <a:gd name="connsiteY224" fmla="*/ 2257425 h 4305300"/>
                  <a:gd name="connsiteX225" fmla="*/ 7753350 w 8601075"/>
                  <a:gd name="connsiteY225" fmla="*/ 2057400 h 4305300"/>
                  <a:gd name="connsiteX226" fmla="*/ 7934325 w 8601075"/>
                  <a:gd name="connsiteY226" fmla="*/ 2028825 h 4305300"/>
                  <a:gd name="connsiteX227" fmla="*/ 7953375 w 8601075"/>
                  <a:gd name="connsiteY227" fmla="*/ 1952625 h 4305300"/>
                  <a:gd name="connsiteX228" fmla="*/ 7953375 w 8601075"/>
                  <a:gd name="connsiteY228" fmla="*/ 1952625 h 4305300"/>
                  <a:gd name="connsiteX229" fmla="*/ 8010525 w 8601075"/>
                  <a:gd name="connsiteY229" fmla="*/ 1895475 h 4305300"/>
                  <a:gd name="connsiteX230" fmla="*/ 8048625 w 8601075"/>
                  <a:gd name="connsiteY230" fmla="*/ 1971675 h 4305300"/>
                  <a:gd name="connsiteX231" fmla="*/ 8077200 w 8601075"/>
                  <a:gd name="connsiteY231" fmla="*/ 1885950 h 4305300"/>
                  <a:gd name="connsiteX232" fmla="*/ 8220075 w 8601075"/>
                  <a:gd name="connsiteY232" fmla="*/ 1847850 h 4305300"/>
                  <a:gd name="connsiteX233" fmla="*/ 8296275 w 8601075"/>
                  <a:gd name="connsiteY233" fmla="*/ 1809750 h 4305300"/>
                  <a:gd name="connsiteX234" fmla="*/ 8324850 w 8601075"/>
                  <a:gd name="connsiteY234" fmla="*/ 1790700 h 4305300"/>
                  <a:gd name="connsiteX235" fmla="*/ 8410575 w 8601075"/>
                  <a:gd name="connsiteY235" fmla="*/ 1847850 h 4305300"/>
                  <a:gd name="connsiteX236" fmla="*/ 8505825 w 8601075"/>
                  <a:gd name="connsiteY236" fmla="*/ 1781175 h 4305300"/>
                  <a:gd name="connsiteX237" fmla="*/ 8572500 w 8601075"/>
                  <a:gd name="connsiteY237" fmla="*/ 1809750 h 4305300"/>
                  <a:gd name="connsiteX238" fmla="*/ 8601075 w 8601075"/>
                  <a:gd name="connsiteY238" fmla="*/ 1704975 h 4305300"/>
                  <a:gd name="connsiteX239" fmla="*/ 8553450 w 8601075"/>
                  <a:gd name="connsiteY239" fmla="*/ 1676400 h 4305300"/>
                  <a:gd name="connsiteX240" fmla="*/ 8534400 w 8601075"/>
                  <a:gd name="connsiteY240" fmla="*/ 1609725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277225 w 8601075"/>
                  <a:gd name="connsiteY243" fmla="*/ 1409700 h 4305300"/>
                  <a:gd name="connsiteX244" fmla="*/ 8124825 w 8601075"/>
                  <a:gd name="connsiteY244" fmla="*/ 1352550 h 4305300"/>
                  <a:gd name="connsiteX245" fmla="*/ 7924800 w 8601075"/>
                  <a:gd name="connsiteY245" fmla="*/ 1362075 h 4305300"/>
                  <a:gd name="connsiteX246" fmla="*/ 7867650 w 8601075"/>
                  <a:gd name="connsiteY246" fmla="*/ 1457325 h 4305300"/>
                  <a:gd name="connsiteX247" fmla="*/ 7896225 w 8601075"/>
                  <a:gd name="connsiteY247" fmla="*/ 1476375 h 4305300"/>
                  <a:gd name="connsiteX248" fmla="*/ 7858125 w 8601075"/>
                  <a:gd name="connsiteY248" fmla="*/ 1533525 h 4305300"/>
                  <a:gd name="connsiteX249" fmla="*/ 7658100 w 8601075"/>
                  <a:gd name="connsiteY249" fmla="*/ 1447800 h 4305300"/>
                  <a:gd name="connsiteX250" fmla="*/ 7515225 w 8601075"/>
                  <a:gd name="connsiteY250" fmla="*/ 1495425 h 4305300"/>
                  <a:gd name="connsiteX251" fmla="*/ 7467600 w 8601075"/>
                  <a:gd name="connsiteY251" fmla="*/ 1581150 h 4305300"/>
                  <a:gd name="connsiteX252" fmla="*/ 7296150 w 8601075"/>
                  <a:gd name="connsiteY25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448425 w 8601075"/>
                  <a:gd name="connsiteY206" fmla="*/ 3448050 h 4305300"/>
                  <a:gd name="connsiteX207" fmla="*/ 6581775 w 8601075"/>
                  <a:gd name="connsiteY207" fmla="*/ 3276600 h 4305300"/>
                  <a:gd name="connsiteX208" fmla="*/ 6496050 w 8601075"/>
                  <a:gd name="connsiteY208" fmla="*/ 3228975 h 4305300"/>
                  <a:gd name="connsiteX209" fmla="*/ 6438900 w 8601075"/>
                  <a:gd name="connsiteY209" fmla="*/ 3162300 h 4305300"/>
                  <a:gd name="connsiteX210" fmla="*/ 6419850 w 8601075"/>
                  <a:gd name="connsiteY210" fmla="*/ 3105150 h 4305300"/>
                  <a:gd name="connsiteX211" fmla="*/ 6362700 w 8601075"/>
                  <a:gd name="connsiteY211" fmla="*/ 3076575 h 4305300"/>
                  <a:gd name="connsiteX212" fmla="*/ 6410325 w 8601075"/>
                  <a:gd name="connsiteY212" fmla="*/ 3019425 h 4305300"/>
                  <a:gd name="connsiteX213" fmla="*/ 6438900 w 8601075"/>
                  <a:gd name="connsiteY213" fmla="*/ 2819400 h 4305300"/>
                  <a:gd name="connsiteX214" fmla="*/ 6496050 w 8601075"/>
                  <a:gd name="connsiteY214" fmla="*/ 2762250 h 4305300"/>
                  <a:gd name="connsiteX215" fmla="*/ 6657975 w 8601075"/>
                  <a:gd name="connsiteY215" fmla="*/ 2752725 h 4305300"/>
                  <a:gd name="connsiteX216" fmla="*/ 6781800 w 8601075"/>
                  <a:gd name="connsiteY216" fmla="*/ 2838450 h 4305300"/>
                  <a:gd name="connsiteX217" fmla="*/ 7010400 w 8601075"/>
                  <a:gd name="connsiteY217" fmla="*/ 2838450 h 4305300"/>
                  <a:gd name="connsiteX218" fmla="*/ 7162800 w 8601075"/>
                  <a:gd name="connsiteY218" fmla="*/ 2705100 h 4305300"/>
                  <a:gd name="connsiteX219" fmla="*/ 7229475 w 8601075"/>
                  <a:gd name="connsiteY219" fmla="*/ 2590800 h 4305300"/>
                  <a:gd name="connsiteX220" fmla="*/ 7248525 w 8601075"/>
                  <a:gd name="connsiteY220" fmla="*/ 2524125 h 4305300"/>
                  <a:gd name="connsiteX221" fmla="*/ 7372350 w 8601075"/>
                  <a:gd name="connsiteY221" fmla="*/ 2543175 h 4305300"/>
                  <a:gd name="connsiteX222" fmla="*/ 7553325 w 8601075"/>
                  <a:gd name="connsiteY222" fmla="*/ 2447925 h 4305300"/>
                  <a:gd name="connsiteX223" fmla="*/ 7620000 w 8601075"/>
                  <a:gd name="connsiteY223" fmla="*/ 2324100 h 4305300"/>
                  <a:gd name="connsiteX224" fmla="*/ 7696200 w 8601075"/>
                  <a:gd name="connsiteY224" fmla="*/ 2314575 h 4305300"/>
                  <a:gd name="connsiteX225" fmla="*/ 7658100 w 8601075"/>
                  <a:gd name="connsiteY225" fmla="*/ 2257425 h 4305300"/>
                  <a:gd name="connsiteX226" fmla="*/ 7753350 w 8601075"/>
                  <a:gd name="connsiteY226" fmla="*/ 2057400 h 4305300"/>
                  <a:gd name="connsiteX227" fmla="*/ 7934325 w 8601075"/>
                  <a:gd name="connsiteY227" fmla="*/ 2028825 h 4305300"/>
                  <a:gd name="connsiteX228" fmla="*/ 7953375 w 8601075"/>
                  <a:gd name="connsiteY228" fmla="*/ 1952625 h 4305300"/>
                  <a:gd name="connsiteX229" fmla="*/ 7953375 w 8601075"/>
                  <a:gd name="connsiteY229" fmla="*/ 1952625 h 4305300"/>
                  <a:gd name="connsiteX230" fmla="*/ 8010525 w 8601075"/>
                  <a:gd name="connsiteY230" fmla="*/ 1895475 h 4305300"/>
                  <a:gd name="connsiteX231" fmla="*/ 8048625 w 8601075"/>
                  <a:gd name="connsiteY231" fmla="*/ 1971675 h 4305300"/>
                  <a:gd name="connsiteX232" fmla="*/ 8077200 w 8601075"/>
                  <a:gd name="connsiteY232" fmla="*/ 1885950 h 4305300"/>
                  <a:gd name="connsiteX233" fmla="*/ 8220075 w 8601075"/>
                  <a:gd name="connsiteY233" fmla="*/ 1847850 h 4305300"/>
                  <a:gd name="connsiteX234" fmla="*/ 8296275 w 8601075"/>
                  <a:gd name="connsiteY234" fmla="*/ 1809750 h 4305300"/>
                  <a:gd name="connsiteX235" fmla="*/ 8324850 w 8601075"/>
                  <a:gd name="connsiteY235" fmla="*/ 1790700 h 4305300"/>
                  <a:gd name="connsiteX236" fmla="*/ 8410575 w 8601075"/>
                  <a:gd name="connsiteY236" fmla="*/ 1847850 h 4305300"/>
                  <a:gd name="connsiteX237" fmla="*/ 8505825 w 8601075"/>
                  <a:gd name="connsiteY237" fmla="*/ 1781175 h 4305300"/>
                  <a:gd name="connsiteX238" fmla="*/ 8572500 w 8601075"/>
                  <a:gd name="connsiteY238" fmla="*/ 1809750 h 4305300"/>
                  <a:gd name="connsiteX239" fmla="*/ 8601075 w 8601075"/>
                  <a:gd name="connsiteY239" fmla="*/ 1704975 h 4305300"/>
                  <a:gd name="connsiteX240" fmla="*/ 8553450 w 8601075"/>
                  <a:gd name="connsiteY240" fmla="*/ 1676400 h 4305300"/>
                  <a:gd name="connsiteX241" fmla="*/ 8534400 w 8601075"/>
                  <a:gd name="connsiteY241" fmla="*/ 1609725 h 4305300"/>
                  <a:gd name="connsiteX242" fmla="*/ 8277225 w 8601075"/>
                  <a:gd name="connsiteY242" fmla="*/ 1409700 h 4305300"/>
                  <a:gd name="connsiteX243" fmla="*/ 8277225 w 8601075"/>
                  <a:gd name="connsiteY243" fmla="*/ 1409700 h 4305300"/>
                  <a:gd name="connsiteX244" fmla="*/ 8277225 w 8601075"/>
                  <a:gd name="connsiteY244" fmla="*/ 1409700 h 4305300"/>
                  <a:gd name="connsiteX245" fmla="*/ 8124825 w 8601075"/>
                  <a:gd name="connsiteY245" fmla="*/ 1352550 h 4305300"/>
                  <a:gd name="connsiteX246" fmla="*/ 7924800 w 8601075"/>
                  <a:gd name="connsiteY246" fmla="*/ 1362075 h 4305300"/>
                  <a:gd name="connsiteX247" fmla="*/ 7867650 w 8601075"/>
                  <a:gd name="connsiteY247" fmla="*/ 1457325 h 4305300"/>
                  <a:gd name="connsiteX248" fmla="*/ 7896225 w 8601075"/>
                  <a:gd name="connsiteY248" fmla="*/ 1476375 h 4305300"/>
                  <a:gd name="connsiteX249" fmla="*/ 7858125 w 8601075"/>
                  <a:gd name="connsiteY249" fmla="*/ 1533525 h 4305300"/>
                  <a:gd name="connsiteX250" fmla="*/ 7658100 w 8601075"/>
                  <a:gd name="connsiteY250" fmla="*/ 1447800 h 4305300"/>
                  <a:gd name="connsiteX251" fmla="*/ 7515225 w 8601075"/>
                  <a:gd name="connsiteY251" fmla="*/ 1495425 h 4305300"/>
                  <a:gd name="connsiteX252" fmla="*/ 7467600 w 8601075"/>
                  <a:gd name="connsiteY252" fmla="*/ 1581150 h 4305300"/>
                  <a:gd name="connsiteX253" fmla="*/ 7296150 w 8601075"/>
                  <a:gd name="connsiteY25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48425 w 8601075"/>
                  <a:gd name="connsiteY207" fmla="*/ 3448050 h 4305300"/>
                  <a:gd name="connsiteX208" fmla="*/ 6581775 w 8601075"/>
                  <a:gd name="connsiteY208" fmla="*/ 3276600 h 4305300"/>
                  <a:gd name="connsiteX209" fmla="*/ 6496050 w 8601075"/>
                  <a:gd name="connsiteY209" fmla="*/ 3228975 h 4305300"/>
                  <a:gd name="connsiteX210" fmla="*/ 6438900 w 8601075"/>
                  <a:gd name="connsiteY210" fmla="*/ 3162300 h 4305300"/>
                  <a:gd name="connsiteX211" fmla="*/ 6419850 w 8601075"/>
                  <a:gd name="connsiteY211" fmla="*/ 3105150 h 4305300"/>
                  <a:gd name="connsiteX212" fmla="*/ 6362700 w 8601075"/>
                  <a:gd name="connsiteY212" fmla="*/ 3076575 h 4305300"/>
                  <a:gd name="connsiteX213" fmla="*/ 6410325 w 8601075"/>
                  <a:gd name="connsiteY213" fmla="*/ 3019425 h 4305300"/>
                  <a:gd name="connsiteX214" fmla="*/ 6438900 w 8601075"/>
                  <a:gd name="connsiteY214" fmla="*/ 2819400 h 4305300"/>
                  <a:gd name="connsiteX215" fmla="*/ 6496050 w 8601075"/>
                  <a:gd name="connsiteY215" fmla="*/ 2762250 h 4305300"/>
                  <a:gd name="connsiteX216" fmla="*/ 6657975 w 8601075"/>
                  <a:gd name="connsiteY216" fmla="*/ 2752725 h 4305300"/>
                  <a:gd name="connsiteX217" fmla="*/ 6781800 w 8601075"/>
                  <a:gd name="connsiteY217" fmla="*/ 2838450 h 4305300"/>
                  <a:gd name="connsiteX218" fmla="*/ 7010400 w 8601075"/>
                  <a:gd name="connsiteY218" fmla="*/ 2838450 h 4305300"/>
                  <a:gd name="connsiteX219" fmla="*/ 7162800 w 8601075"/>
                  <a:gd name="connsiteY219" fmla="*/ 2705100 h 4305300"/>
                  <a:gd name="connsiteX220" fmla="*/ 7229475 w 8601075"/>
                  <a:gd name="connsiteY220" fmla="*/ 2590800 h 4305300"/>
                  <a:gd name="connsiteX221" fmla="*/ 7248525 w 8601075"/>
                  <a:gd name="connsiteY221" fmla="*/ 2524125 h 4305300"/>
                  <a:gd name="connsiteX222" fmla="*/ 7372350 w 8601075"/>
                  <a:gd name="connsiteY222" fmla="*/ 2543175 h 4305300"/>
                  <a:gd name="connsiteX223" fmla="*/ 7553325 w 8601075"/>
                  <a:gd name="connsiteY223" fmla="*/ 2447925 h 4305300"/>
                  <a:gd name="connsiteX224" fmla="*/ 7620000 w 8601075"/>
                  <a:gd name="connsiteY224" fmla="*/ 2324100 h 4305300"/>
                  <a:gd name="connsiteX225" fmla="*/ 7696200 w 8601075"/>
                  <a:gd name="connsiteY225" fmla="*/ 2314575 h 4305300"/>
                  <a:gd name="connsiteX226" fmla="*/ 7658100 w 8601075"/>
                  <a:gd name="connsiteY226" fmla="*/ 2257425 h 4305300"/>
                  <a:gd name="connsiteX227" fmla="*/ 7753350 w 8601075"/>
                  <a:gd name="connsiteY227" fmla="*/ 2057400 h 4305300"/>
                  <a:gd name="connsiteX228" fmla="*/ 7934325 w 8601075"/>
                  <a:gd name="connsiteY228" fmla="*/ 2028825 h 4305300"/>
                  <a:gd name="connsiteX229" fmla="*/ 7953375 w 8601075"/>
                  <a:gd name="connsiteY229" fmla="*/ 1952625 h 4305300"/>
                  <a:gd name="connsiteX230" fmla="*/ 7953375 w 8601075"/>
                  <a:gd name="connsiteY230" fmla="*/ 1952625 h 4305300"/>
                  <a:gd name="connsiteX231" fmla="*/ 8010525 w 8601075"/>
                  <a:gd name="connsiteY231" fmla="*/ 1895475 h 4305300"/>
                  <a:gd name="connsiteX232" fmla="*/ 8048625 w 8601075"/>
                  <a:gd name="connsiteY232" fmla="*/ 1971675 h 4305300"/>
                  <a:gd name="connsiteX233" fmla="*/ 8077200 w 8601075"/>
                  <a:gd name="connsiteY233" fmla="*/ 1885950 h 4305300"/>
                  <a:gd name="connsiteX234" fmla="*/ 8220075 w 8601075"/>
                  <a:gd name="connsiteY234" fmla="*/ 1847850 h 4305300"/>
                  <a:gd name="connsiteX235" fmla="*/ 8296275 w 8601075"/>
                  <a:gd name="connsiteY235" fmla="*/ 1809750 h 4305300"/>
                  <a:gd name="connsiteX236" fmla="*/ 8324850 w 8601075"/>
                  <a:gd name="connsiteY236" fmla="*/ 1790700 h 4305300"/>
                  <a:gd name="connsiteX237" fmla="*/ 8410575 w 8601075"/>
                  <a:gd name="connsiteY237" fmla="*/ 1847850 h 4305300"/>
                  <a:gd name="connsiteX238" fmla="*/ 8505825 w 8601075"/>
                  <a:gd name="connsiteY238" fmla="*/ 1781175 h 4305300"/>
                  <a:gd name="connsiteX239" fmla="*/ 8572500 w 8601075"/>
                  <a:gd name="connsiteY239" fmla="*/ 1809750 h 4305300"/>
                  <a:gd name="connsiteX240" fmla="*/ 8601075 w 8601075"/>
                  <a:gd name="connsiteY240" fmla="*/ 1704975 h 4305300"/>
                  <a:gd name="connsiteX241" fmla="*/ 8553450 w 8601075"/>
                  <a:gd name="connsiteY241" fmla="*/ 1676400 h 4305300"/>
                  <a:gd name="connsiteX242" fmla="*/ 8534400 w 8601075"/>
                  <a:gd name="connsiteY242" fmla="*/ 1609725 h 4305300"/>
                  <a:gd name="connsiteX243" fmla="*/ 8277225 w 8601075"/>
                  <a:gd name="connsiteY243" fmla="*/ 1409700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124825 w 8601075"/>
                  <a:gd name="connsiteY246" fmla="*/ 1352550 h 4305300"/>
                  <a:gd name="connsiteX247" fmla="*/ 7924800 w 8601075"/>
                  <a:gd name="connsiteY247" fmla="*/ 1362075 h 4305300"/>
                  <a:gd name="connsiteX248" fmla="*/ 7867650 w 8601075"/>
                  <a:gd name="connsiteY248" fmla="*/ 1457325 h 4305300"/>
                  <a:gd name="connsiteX249" fmla="*/ 7896225 w 8601075"/>
                  <a:gd name="connsiteY249" fmla="*/ 1476375 h 4305300"/>
                  <a:gd name="connsiteX250" fmla="*/ 7858125 w 8601075"/>
                  <a:gd name="connsiteY250" fmla="*/ 1533525 h 4305300"/>
                  <a:gd name="connsiteX251" fmla="*/ 7658100 w 8601075"/>
                  <a:gd name="connsiteY251" fmla="*/ 1447800 h 4305300"/>
                  <a:gd name="connsiteX252" fmla="*/ 7515225 w 8601075"/>
                  <a:gd name="connsiteY252" fmla="*/ 1495425 h 4305300"/>
                  <a:gd name="connsiteX253" fmla="*/ 7467600 w 8601075"/>
                  <a:gd name="connsiteY253" fmla="*/ 1581150 h 4305300"/>
                  <a:gd name="connsiteX254" fmla="*/ 7296150 w 8601075"/>
                  <a:gd name="connsiteY25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48425 w 8601075"/>
                  <a:gd name="connsiteY208" fmla="*/ 3448050 h 4305300"/>
                  <a:gd name="connsiteX209" fmla="*/ 6581775 w 8601075"/>
                  <a:gd name="connsiteY209" fmla="*/ 3276600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81775 w 8601075"/>
                  <a:gd name="connsiteY209" fmla="*/ 3276600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496050 w 8601075"/>
                  <a:gd name="connsiteY211" fmla="*/ 3228975 h 4305300"/>
                  <a:gd name="connsiteX212" fmla="*/ 6438900 w 8601075"/>
                  <a:gd name="connsiteY212" fmla="*/ 3162300 h 4305300"/>
                  <a:gd name="connsiteX213" fmla="*/ 6419850 w 8601075"/>
                  <a:gd name="connsiteY213" fmla="*/ 3105150 h 4305300"/>
                  <a:gd name="connsiteX214" fmla="*/ 6362700 w 8601075"/>
                  <a:gd name="connsiteY214" fmla="*/ 3076575 h 4305300"/>
                  <a:gd name="connsiteX215" fmla="*/ 6410325 w 8601075"/>
                  <a:gd name="connsiteY215" fmla="*/ 3019425 h 4305300"/>
                  <a:gd name="connsiteX216" fmla="*/ 6438900 w 8601075"/>
                  <a:gd name="connsiteY216" fmla="*/ 2819400 h 4305300"/>
                  <a:gd name="connsiteX217" fmla="*/ 6496050 w 8601075"/>
                  <a:gd name="connsiteY217" fmla="*/ 2762250 h 4305300"/>
                  <a:gd name="connsiteX218" fmla="*/ 6657975 w 8601075"/>
                  <a:gd name="connsiteY218" fmla="*/ 2752725 h 4305300"/>
                  <a:gd name="connsiteX219" fmla="*/ 6781800 w 8601075"/>
                  <a:gd name="connsiteY219" fmla="*/ 2838450 h 4305300"/>
                  <a:gd name="connsiteX220" fmla="*/ 7010400 w 8601075"/>
                  <a:gd name="connsiteY220" fmla="*/ 2838450 h 4305300"/>
                  <a:gd name="connsiteX221" fmla="*/ 7162800 w 8601075"/>
                  <a:gd name="connsiteY221" fmla="*/ 2705100 h 4305300"/>
                  <a:gd name="connsiteX222" fmla="*/ 7229475 w 8601075"/>
                  <a:gd name="connsiteY222" fmla="*/ 2590800 h 4305300"/>
                  <a:gd name="connsiteX223" fmla="*/ 7248525 w 8601075"/>
                  <a:gd name="connsiteY223" fmla="*/ 2524125 h 4305300"/>
                  <a:gd name="connsiteX224" fmla="*/ 7372350 w 8601075"/>
                  <a:gd name="connsiteY224" fmla="*/ 2543175 h 4305300"/>
                  <a:gd name="connsiteX225" fmla="*/ 7553325 w 8601075"/>
                  <a:gd name="connsiteY225" fmla="*/ 2447925 h 4305300"/>
                  <a:gd name="connsiteX226" fmla="*/ 7620000 w 8601075"/>
                  <a:gd name="connsiteY226" fmla="*/ 2324100 h 4305300"/>
                  <a:gd name="connsiteX227" fmla="*/ 7696200 w 8601075"/>
                  <a:gd name="connsiteY227" fmla="*/ 2314575 h 4305300"/>
                  <a:gd name="connsiteX228" fmla="*/ 7658100 w 8601075"/>
                  <a:gd name="connsiteY228" fmla="*/ 2257425 h 4305300"/>
                  <a:gd name="connsiteX229" fmla="*/ 7753350 w 8601075"/>
                  <a:gd name="connsiteY229" fmla="*/ 2057400 h 4305300"/>
                  <a:gd name="connsiteX230" fmla="*/ 7934325 w 8601075"/>
                  <a:gd name="connsiteY230" fmla="*/ 2028825 h 4305300"/>
                  <a:gd name="connsiteX231" fmla="*/ 7953375 w 8601075"/>
                  <a:gd name="connsiteY231" fmla="*/ 1952625 h 4305300"/>
                  <a:gd name="connsiteX232" fmla="*/ 7953375 w 8601075"/>
                  <a:gd name="connsiteY232" fmla="*/ 1952625 h 4305300"/>
                  <a:gd name="connsiteX233" fmla="*/ 8010525 w 8601075"/>
                  <a:gd name="connsiteY233" fmla="*/ 1895475 h 4305300"/>
                  <a:gd name="connsiteX234" fmla="*/ 8048625 w 8601075"/>
                  <a:gd name="connsiteY234" fmla="*/ 1971675 h 4305300"/>
                  <a:gd name="connsiteX235" fmla="*/ 8077200 w 8601075"/>
                  <a:gd name="connsiteY235" fmla="*/ 1885950 h 4305300"/>
                  <a:gd name="connsiteX236" fmla="*/ 8220075 w 8601075"/>
                  <a:gd name="connsiteY236" fmla="*/ 1847850 h 4305300"/>
                  <a:gd name="connsiteX237" fmla="*/ 8296275 w 8601075"/>
                  <a:gd name="connsiteY237" fmla="*/ 1809750 h 4305300"/>
                  <a:gd name="connsiteX238" fmla="*/ 8324850 w 8601075"/>
                  <a:gd name="connsiteY238" fmla="*/ 1790700 h 4305300"/>
                  <a:gd name="connsiteX239" fmla="*/ 8410575 w 8601075"/>
                  <a:gd name="connsiteY239" fmla="*/ 1847850 h 4305300"/>
                  <a:gd name="connsiteX240" fmla="*/ 8505825 w 8601075"/>
                  <a:gd name="connsiteY240" fmla="*/ 1781175 h 4305300"/>
                  <a:gd name="connsiteX241" fmla="*/ 8572500 w 8601075"/>
                  <a:gd name="connsiteY241" fmla="*/ 1809750 h 4305300"/>
                  <a:gd name="connsiteX242" fmla="*/ 8601075 w 8601075"/>
                  <a:gd name="connsiteY242" fmla="*/ 1704975 h 4305300"/>
                  <a:gd name="connsiteX243" fmla="*/ 8553450 w 8601075"/>
                  <a:gd name="connsiteY243" fmla="*/ 1676400 h 4305300"/>
                  <a:gd name="connsiteX244" fmla="*/ 8534400 w 8601075"/>
                  <a:gd name="connsiteY244" fmla="*/ 1609725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124825 w 8601075"/>
                  <a:gd name="connsiteY248" fmla="*/ 1352550 h 4305300"/>
                  <a:gd name="connsiteX249" fmla="*/ 7924800 w 8601075"/>
                  <a:gd name="connsiteY249" fmla="*/ 1362075 h 4305300"/>
                  <a:gd name="connsiteX250" fmla="*/ 7867650 w 8601075"/>
                  <a:gd name="connsiteY250" fmla="*/ 1457325 h 4305300"/>
                  <a:gd name="connsiteX251" fmla="*/ 7896225 w 8601075"/>
                  <a:gd name="connsiteY251" fmla="*/ 1476375 h 4305300"/>
                  <a:gd name="connsiteX252" fmla="*/ 7858125 w 8601075"/>
                  <a:gd name="connsiteY252" fmla="*/ 1533525 h 4305300"/>
                  <a:gd name="connsiteX253" fmla="*/ 7658100 w 8601075"/>
                  <a:gd name="connsiteY253" fmla="*/ 1447800 h 4305300"/>
                  <a:gd name="connsiteX254" fmla="*/ 7515225 w 8601075"/>
                  <a:gd name="connsiteY254" fmla="*/ 1495425 h 4305300"/>
                  <a:gd name="connsiteX255" fmla="*/ 7467600 w 8601075"/>
                  <a:gd name="connsiteY255" fmla="*/ 1581150 h 4305300"/>
                  <a:gd name="connsiteX256" fmla="*/ 7296150 w 8601075"/>
                  <a:gd name="connsiteY256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6050 w 8601075"/>
                  <a:gd name="connsiteY212" fmla="*/ 3228975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62700 w 8601075"/>
                  <a:gd name="connsiteY215" fmla="*/ 3076575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62700 w 8601075"/>
                  <a:gd name="connsiteY215" fmla="*/ 3076575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7010400 w 8601075"/>
                  <a:gd name="connsiteY222" fmla="*/ 2838450 h 4305300"/>
                  <a:gd name="connsiteX223" fmla="*/ 7162800 w 8601075"/>
                  <a:gd name="connsiteY223" fmla="*/ 2705100 h 4305300"/>
                  <a:gd name="connsiteX224" fmla="*/ 7229475 w 8601075"/>
                  <a:gd name="connsiteY224" fmla="*/ 2590800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29475 w 8601075"/>
                  <a:gd name="connsiteY224" fmla="*/ 2590800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34238 w 8601075"/>
                  <a:gd name="connsiteY225" fmla="*/ 2540794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934325 w 8601075"/>
                  <a:gd name="connsiteY233" fmla="*/ 2028825 h 4305300"/>
                  <a:gd name="connsiteX234" fmla="*/ 7953375 w 8601075"/>
                  <a:gd name="connsiteY234" fmla="*/ 1952625 h 4305300"/>
                  <a:gd name="connsiteX235" fmla="*/ 7953375 w 8601075"/>
                  <a:gd name="connsiteY235" fmla="*/ 1952625 h 4305300"/>
                  <a:gd name="connsiteX236" fmla="*/ 8010525 w 8601075"/>
                  <a:gd name="connsiteY236" fmla="*/ 1895475 h 4305300"/>
                  <a:gd name="connsiteX237" fmla="*/ 8048625 w 8601075"/>
                  <a:gd name="connsiteY237" fmla="*/ 1971675 h 4305300"/>
                  <a:gd name="connsiteX238" fmla="*/ 8077200 w 8601075"/>
                  <a:gd name="connsiteY238" fmla="*/ 1885950 h 4305300"/>
                  <a:gd name="connsiteX239" fmla="*/ 8220075 w 8601075"/>
                  <a:gd name="connsiteY239" fmla="*/ 1847850 h 4305300"/>
                  <a:gd name="connsiteX240" fmla="*/ 8296275 w 8601075"/>
                  <a:gd name="connsiteY240" fmla="*/ 1809750 h 4305300"/>
                  <a:gd name="connsiteX241" fmla="*/ 8324850 w 8601075"/>
                  <a:gd name="connsiteY241" fmla="*/ 1790700 h 4305300"/>
                  <a:gd name="connsiteX242" fmla="*/ 8410575 w 8601075"/>
                  <a:gd name="connsiteY242" fmla="*/ 1847850 h 4305300"/>
                  <a:gd name="connsiteX243" fmla="*/ 8505825 w 8601075"/>
                  <a:gd name="connsiteY243" fmla="*/ 1781175 h 4305300"/>
                  <a:gd name="connsiteX244" fmla="*/ 8572500 w 8601075"/>
                  <a:gd name="connsiteY244" fmla="*/ 1809750 h 4305300"/>
                  <a:gd name="connsiteX245" fmla="*/ 8601075 w 8601075"/>
                  <a:gd name="connsiteY245" fmla="*/ 1704975 h 4305300"/>
                  <a:gd name="connsiteX246" fmla="*/ 8553450 w 8601075"/>
                  <a:gd name="connsiteY246" fmla="*/ 1676400 h 4305300"/>
                  <a:gd name="connsiteX247" fmla="*/ 8534400 w 8601075"/>
                  <a:gd name="connsiteY247" fmla="*/ 1609725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124825 w 8601075"/>
                  <a:gd name="connsiteY251" fmla="*/ 1352550 h 4305300"/>
                  <a:gd name="connsiteX252" fmla="*/ 7924800 w 8601075"/>
                  <a:gd name="connsiteY252" fmla="*/ 1362075 h 4305300"/>
                  <a:gd name="connsiteX253" fmla="*/ 7867650 w 8601075"/>
                  <a:gd name="connsiteY253" fmla="*/ 1457325 h 4305300"/>
                  <a:gd name="connsiteX254" fmla="*/ 7896225 w 8601075"/>
                  <a:gd name="connsiteY254" fmla="*/ 1476375 h 4305300"/>
                  <a:gd name="connsiteX255" fmla="*/ 7858125 w 8601075"/>
                  <a:gd name="connsiteY255" fmla="*/ 1533525 h 4305300"/>
                  <a:gd name="connsiteX256" fmla="*/ 7658100 w 8601075"/>
                  <a:gd name="connsiteY256" fmla="*/ 1447800 h 4305300"/>
                  <a:gd name="connsiteX257" fmla="*/ 7515225 w 8601075"/>
                  <a:gd name="connsiteY257" fmla="*/ 1495425 h 4305300"/>
                  <a:gd name="connsiteX258" fmla="*/ 7467600 w 8601075"/>
                  <a:gd name="connsiteY258" fmla="*/ 1581150 h 4305300"/>
                  <a:gd name="connsiteX259" fmla="*/ 7296150 w 8601075"/>
                  <a:gd name="connsiteY25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934325 w 8601075"/>
                  <a:gd name="connsiteY234" fmla="*/ 2028825 h 4305300"/>
                  <a:gd name="connsiteX235" fmla="*/ 7953375 w 8601075"/>
                  <a:gd name="connsiteY235" fmla="*/ 1952625 h 4305300"/>
                  <a:gd name="connsiteX236" fmla="*/ 7953375 w 8601075"/>
                  <a:gd name="connsiteY236" fmla="*/ 1952625 h 4305300"/>
                  <a:gd name="connsiteX237" fmla="*/ 8010525 w 8601075"/>
                  <a:gd name="connsiteY237" fmla="*/ 1895475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28825 h 4305300"/>
                  <a:gd name="connsiteX236" fmla="*/ 7953375 w 8601075"/>
                  <a:gd name="connsiteY236" fmla="*/ 1952625 h 4305300"/>
                  <a:gd name="connsiteX237" fmla="*/ 7953375 w 8601075"/>
                  <a:gd name="connsiteY237" fmla="*/ 1952625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53375 w 8601075"/>
                  <a:gd name="connsiteY237" fmla="*/ 1952625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43850 w 8601075"/>
                  <a:gd name="connsiteY237" fmla="*/ 1957388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43850 w 8601075"/>
                  <a:gd name="connsiteY237" fmla="*/ 1957388 h 4305300"/>
                  <a:gd name="connsiteX238" fmla="*/ 7967662 w 8601075"/>
                  <a:gd name="connsiteY238" fmla="*/ 1909763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67662 w 8601075"/>
                  <a:gd name="connsiteY237" fmla="*/ 1909763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67662 w 8601075"/>
                  <a:gd name="connsiteY237" fmla="*/ 1909763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58150 w 8601075"/>
                  <a:gd name="connsiteY239" fmla="*/ 1909762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58150 w 8601075"/>
                  <a:gd name="connsiteY239" fmla="*/ 1909762 h 4305300"/>
                  <a:gd name="connsiteX240" fmla="*/ 8155781 w 8601075"/>
                  <a:gd name="connsiteY240" fmla="*/ 1835944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55781 w 8601075"/>
                  <a:gd name="connsiteY240" fmla="*/ 1835944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410575 w 8601075"/>
                  <a:gd name="connsiteY245" fmla="*/ 1847850 h 4305300"/>
                  <a:gd name="connsiteX246" fmla="*/ 8505825 w 8601075"/>
                  <a:gd name="connsiteY246" fmla="*/ 1781175 h 4305300"/>
                  <a:gd name="connsiteX247" fmla="*/ 8572500 w 8601075"/>
                  <a:gd name="connsiteY247" fmla="*/ 1809750 h 4305300"/>
                  <a:gd name="connsiteX248" fmla="*/ 8601075 w 8601075"/>
                  <a:gd name="connsiteY248" fmla="*/ 1704975 h 4305300"/>
                  <a:gd name="connsiteX249" fmla="*/ 8553450 w 8601075"/>
                  <a:gd name="connsiteY249" fmla="*/ 1676400 h 4305300"/>
                  <a:gd name="connsiteX250" fmla="*/ 8534400 w 8601075"/>
                  <a:gd name="connsiteY250" fmla="*/ 1609725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124825 w 8601075"/>
                  <a:gd name="connsiteY254" fmla="*/ 1352550 h 4305300"/>
                  <a:gd name="connsiteX255" fmla="*/ 7924800 w 8601075"/>
                  <a:gd name="connsiteY255" fmla="*/ 1362075 h 4305300"/>
                  <a:gd name="connsiteX256" fmla="*/ 7867650 w 8601075"/>
                  <a:gd name="connsiteY256" fmla="*/ 1457325 h 4305300"/>
                  <a:gd name="connsiteX257" fmla="*/ 7896225 w 8601075"/>
                  <a:gd name="connsiteY257" fmla="*/ 1476375 h 4305300"/>
                  <a:gd name="connsiteX258" fmla="*/ 7858125 w 8601075"/>
                  <a:gd name="connsiteY258" fmla="*/ 1533525 h 4305300"/>
                  <a:gd name="connsiteX259" fmla="*/ 7658100 w 8601075"/>
                  <a:gd name="connsiteY259" fmla="*/ 1447800 h 4305300"/>
                  <a:gd name="connsiteX260" fmla="*/ 7515225 w 8601075"/>
                  <a:gd name="connsiteY260" fmla="*/ 1495425 h 4305300"/>
                  <a:gd name="connsiteX261" fmla="*/ 7467600 w 8601075"/>
                  <a:gd name="connsiteY261" fmla="*/ 1581150 h 4305300"/>
                  <a:gd name="connsiteX262" fmla="*/ 7296150 w 8601075"/>
                  <a:gd name="connsiteY26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505825 w 8601075"/>
                  <a:gd name="connsiteY246" fmla="*/ 1781175 h 4305300"/>
                  <a:gd name="connsiteX247" fmla="*/ 8572500 w 8601075"/>
                  <a:gd name="connsiteY247" fmla="*/ 1809750 h 4305300"/>
                  <a:gd name="connsiteX248" fmla="*/ 8601075 w 8601075"/>
                  <a:gd name="connsiteY248" fmla="*/ 1704975 h 4305300"/>
                  <a:gd name="connsiteX249" fmla="*/ 8553450 w 8601075"/>
                  <a:gd name="connsiteY249" fmla="*/ 1676400 h 4305300"/>
                  <a:gd name="connsiteX250" fmla="*/ 8534400 w 8601075"/>
                  <a:gd name="connsiteY250" fmla="*/ 1609725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124825 w 8601075"/>
                  <a:gd name="connsiteY254" fmla="*/ 1352550 h 4305300"/>
                  <a:gd name="connsiteX255" fmla="*/ 7924800 w 8601075"/>
                  <a:gd name="connsiteY255" fmla="*/ 1362075 h 4305300"/>
                  <a:gd name="connsiteX256" fmla="*/ 7867650 w 8601075"/>
                  <a:gd name="connsiteY256" fmla="*/ 1457325 h 4305300"/>
                  <a:gd name="connsiteX257" fmla="*/ 7896225 w 8601075"/>
                  <a:gd name="connsiteY257" fmla="*/ 1476375 h 4305300"/>
                  <a:gd name="connsiteX258" fmla="*/ 7858125 w 8601075"/>
                  <a:gd name="connsiteY258" fmla="*/ 1533525 h 4305300"/>
                  <a:gd name="connsiteX259" fmla="*/ 7658100 w 8601075"/>
                  <a:gd name="connsiteY259" fmla="*/ 1447800 h 4305300"/>
                  <a:gd name="connsiteX260" fmla="*/ 7515225 w 8601075"/>
                  <a:gd name="connsiteY260" fmla="*/ 1495425 h 4305300"/>
                  <a:gd name="connsiteX261" fmla="*/ 7467600 w 8601075"/>
                  <a:gd name="connsiteY261" fmla="*/ 1581150 h 4305300"/>
                  <a:gd name="connsiteX262" fmla="*/ 7296150 w 8601075"/>
                  <a:gd name="connsiteY26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505825 w 8601075"/>
                  <a:gd name="connsiteY247" fmla="*/ 1781175 h 4305300"/>
                  <a:gd name="connsiteX248" fmla="*/ 8572500 w 8601075"/>
                  <a:gd name="connsiteY248" fmla="*/ 1809750 h 4305300"/>
                  <a:gd name="connsiteX249" fmla="*/ 8601075 w 8601075"/>
                  <a:gd name="connsiteY249" fmla="*/ 1704975 h 4305300"/>
                  <a:gd name="connsiteX250" fmla="*/ 8553450 w 8601075"/>
                  <a:gd name="connsiteY250" fmla="*/ 1676400 h 4305300"/>
                  <a:gd name="connsiteX251" fmla="*/ 8534400 w 8601075"/>
                  <a:gd name="connsiteY251" fmla="*/ 1609725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124825 w 8601075"/>
                  <a:gd name="connsiteY255" fmla="*/ 1352550 h 4305300"/>
                  <a:gd name="connsiteX256" fmla="*/ 7924800 w 8601075"/>
                  <a:gd name="connsiteY256" fmla="*/ 1362075 h 4305300"/>
                  <a:gd name="connsiteX257" fmla="*/ 7867650 w 8601075"/>
                  <a:gd name="connsiteY257" fmla="*/ 1457325 h 4305300"/>
                  <a:gd name="connsiteX258" fmla="*/ 7896225 w 8601075"/>
                  <a:gd name="connsiteY258" fmla="*/ 1476375 h 4305300"/>
                  <a:gd name="connsiteX259" fmla="*/ 7858125 w 8601075"/>
                  <a:gd name="connsiteY259" fmla="*/ 1533525 h 4305300"/>
                  <a:gd name="connsiteX260" fmla="*/ 7658100 w 8601075"/>
                  <a:gd name="connsiteY260" fmla="*/ 1447800 h 4305300"/>
                  <a:gd name="connsiteX261" fmla="*/ 7515225 w 8601075"/>
                  <a:gd name="connsiteY261" fmla="*/ 1495425 h 4305300"/>
                  <a:gd name="connsiteX262" fmla="*/ 7467600 w 8601075"/>
                  <a:gd name="connsiteY262" fmla="*/ 1581150 h 4305300"/>
                  <a:gd name="connsiteX263" fmla="*/ 7296150 w 8601075"/>
                  <a:gd name="connsiteY26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72500 w 8601075"/>
                  <a:gd name="connsiteY248" fmla="*/ 1809750 h 4305300"/>
                  <a:gd name="connsiteX249" fmla="*/ 8601075 w 8601075"/>
                  <a:gd name="connsiteY249" fmla="*/ 1704975 h 4305300"/>
                  <a:gd name="connsiteX250" fmla="*/ 8553450 w 8601075"/>
                  <a:gd name="connsiteY250" fmla="*/ 1676400 h 4305300"/>
                  <a:gd name="connsiteX251" fmla="*/ 8534400 w 8601075"/>
                  <a:gd name="connsiteY251" fmla="*/ 1609725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124825 w 8601075"/>
                  <a:gd name="connsiteY255" fmla="*/ 1352550 h 4305300"/>
                  <a:gd name="connsiteX256" fmla="*/ 7924800 w 8601075"/>
                  <a:gd name="connsiteY256" fmla="*/ 1362075 h 4305300"/>
                  <a:gd name="connsiteX257" fmla="*/ 7867650 w 8601075"/>
                  <a:gd name="connsiteY257" fmla="*/ 1457325 h 4305300"/>
                  <a:gd name="connsiteX258" fmla="*/ 7896225 w 8601075"/>
                  <a:gd name="connsiteY258" fmla="*/ 1476375 h 4305300"/>
                  <a:gd name="connsiteX259" fmla="*/ 7858125 w 8601075"/>
                  <a:gd name="connsiteY259" fmla="*/ 1533525 h 4305300"/>
                  <a:gd name="connsiteX260" fmla="*/ 7658100 w 8601075"/>
                  <a:gd name="connsiteY260" fmla="*/ 1447800 h 4305300"/>
                  <a:gd name="connsiteX261" fmla="*/ 7515225 w 8601075"/>
                  <a:gd name="connsiteY261" fmla="*/ 1495425 h 4305300"/>
                  <a:gd name="connsiteX262" fmla="*/ 7467600 w 8601075"/>
                  <a:gd name="connsiteY262" fmla="*/ 1581150 h 4305300"/>
                  <a:gd name="connsiteX263" fmla="*/ 7296150 w 8601075"/>
                  <a:gd name="connsiteY26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72500 w 8601075"/>
                  <a:gd name="connsiteY248" fmla="*/ 1809750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3450 w 8601075"/>
                  <a:gd name="connsiteY251" fmla="*/ 1676400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3450 w 8601075"/>
                  <a:gd name="connsiteY251" fmla="*/ 1676400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277225 w 8601075"/>
                  <a:gd name="connsiteY256" fmla="*/ 1409700 h 4305300"/>
                  <a:gd name="connsiteX257" fmla="*/ 8124825 w 8601075"/>
                  <a:gd name="connsiteY257" fmla="*/ 1352550 h 4305300"/>
                  <a:gd name="connsiteX258" fmla="*/ 7924800 w 8601075"/>
                  <a:gd name="connsiteY258" fmla="*/ 1362075 h 4305300"/>
                  <a:gd name="connsiteX259" fmla="*/ 7867650 w 8601075"/>
                  <a:gd name="connsiteY259" fmla="*/ 1457325 h 4305300"/>
                  <a:gd name="connsiteX260" fmla="*/ 7896225 w 8601075"/>
                  <a:gd name="connsiteY260" fmla="*/ 1476375 h 4305300"/>
                  <a:gd name="connsiteX261" fmla="*/ 7858125 w 8601075"/>
                  <a:gd name="connsiteY261" fmla="*/ 1533525 h 4305300"/>
                  <a:gd name="connsiteX262" fmla="*/ 7658100 w 8601075"/>
                  <a:gd name="connsiteY262" fmla="*/ 1447800 h 4305300"/>
                  <a:gd name="connsiteX263" fmla="*/ 7515225 w 8601075"/>
                  <a:gd name="connsiteY263" fmla="*/ 1495425 h 4305300"/>
                  <a:gd name="connsiteX264" fmla="*/ 7467600 w 8601075"/>
                  <a:gd name="connsiteY264" fmla="*/ 1581150 h 4305300"/>
                  <a:gd name="connsiteX265" fmla="*/ 7296150 w 8601075"/>
                  <a:gd name="connsiteY26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277225 w 8601075"/>
                  <a:gd name="connsiteY255" fmla="*/ 1409700 h 4305300"/>
                  <a:gd name="connsiteX256" fmla="*/ 8277225 w 8601075"/>
                  <a:gd name="connsiteY256" fmla="*/ 1409700 h 4305300"/>
                  <a:gd name="connsiteX257" fmla="*/ 8277225 w 8601075"/>
                  <a:gd name="connsiteY257" fmla="*/ 1409700 h 4305300"/>
                  <a:gd name="connsiteX258" fmla="*/ 8124825 w 8601075"/>
                  <a:gd name="connsiteY258" fmla="*/ 1352550 h 4305300"/>
                  <a:gd name="connsiteX259" fmla="*/ 7924800 w 8601075"/>
                  <a:gd name="connsiteY259" fmla="*/ 1362075 h 4305300"/>
                  <a:gd name="connsiteX260" fmla="*/ 7867650 w 8601075"/>
                  <a:gd name="connsiteY260" fmla="*/ 1457325 h 4305300"/>
                  <a:gd name="connsiteX261" fmla="*/ 7896225 w 8601075"/>
                  <a:gd name="connsiteY261" fmla="*/ 1476375 h 4305300"/>
                  <a:gd name="connsiteX262" fmla="*/ 7858125 w 8601075"/>
                  <a:gd name="connsiteY262" fmla="*/ 1533525 h 4305300"/>
                  <a:gd name="connsiteX263" fmla="*/ 7658100 w 8601075"/>
                  <a:gd name="connsiteY263" fmla="*/ 1447800 h 4305300"/>
                  <a:gd name="connsiteX264" fmla="*/ 7515225 w 8601075"/>
                  <a:gd name="connsiteY264" fmla="*/ 1495425 h 4305300"/>
                  <a:gd name="connsiteX265" fmla="*/ 7467600 w 8601075"/>
                  <a:gd name="connsiteY265" fmla="*/ 1581150 h 4305300"/>
                  <a:gd name="connsiteX266" fmla="*/ 7296150 w 8601075"/>
                  <a:gd name="connsiteY266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277225 w 8601075"/>
                  <a:gd name="connsiteY256" fmla="*/ 1409700 h 4305300"/>
                  <a:gd name="connsiteX257" fmla="*/ 8277225 w 8601075"/>
                  <a:gd name="connsiteY257" fmla="*/ 1409700 h 4305300"/>
                  <a:gd name="connsiteX258" fmla="*/ 8277225 w 8601075"/>
                  <a:gd name="connsiteY258" fmla="*/ 1409700 h 4305300"/>
                  <a:gd name="connsiteX259" fmla="*/ 8124825 w 8601075"/>
                  <a:gd name="connsiteY259" fmla="*/ 1352550 h 4305300"/>
                  <a:gd name="connsiteX260" fmla="*/ 7924800 w 8601075"/>
                  <a:gd name="connsiteY260" fmla="*/ 1362075 h 4305300"/>
                  <a:gd name="connsiteX261" fmla="*/ 7867650 w 8601075"/>
                  <a:gd name="connsiteY261" fmla="*/ 1457325 h 4305300"/>
                  <a:gd name="connsiteX262" fmla="*/ 7896225 w 8601075"/>
                  <a:gd name="connsiteY262" fmla="*/ 1476375 h 4305300"/>
                  <a:gd name="connsiteX263" fmla="*/ 7858125 w 8601075"/>
                  <a:gd name="connsiteY263" fmla="*/ 1533525 h 4305300"/>
                  <a:gd name="connsiteX264" fmla="*/ 7658100 w 8601075"/>
                  <a:gd name="connsiteY264" fmla="*/ 1447800 h 4305300"/>
                  <a:gd name="connsiteX265" fmla="*/ 7515225 w 8601075"/>
                  <a:gd name="connsiteY265" fmla="*/ 1495425 h 4305300"/>
                  <a:gd name="connsiteX266" fmla="*/ 7467600 w 8601075"/>
                  <a:gd name="connsiteY266" fmla="*/ 1581150 h 4305300"/>
                  <a:gd name="connsiteX267" fmla="*/ 7296150 w 8601075"/>
                  <a:gd name="connsiteY26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277225 w 8601075"/>
                  <a:gd name="connsiteY257" fmla="*/ 1409700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124825 w 8601075"/>
                  <a:gd name="connsiteY260" fmla="*/ 1352550 h 4305300"/>
                  <a:gd name="connsiteX261" fmla="*/ 7924800 w 8601075"/>
                  <a:gd name="connsiteY261" fmla="*/ 1362075 h 4305300"/>
                  <a:gd name="connsiteX262" fmla="*/ 7867650 w 8601075"/>
                  <a:gd name="connsiteY262" fmla="*/ 1457325 h 4305300"/>
                  <a:gd name="connsiteX263" fmla="*/ 7896225 w 8601075"/>
                  <a:gd name="connsiteY263" fmla="*/ 1476375 h 4305300"/>
                  <a:gd name="connsiteX264" fmla="*/ 7858125 w 8601075"/>
                  <a:gd name="connsiteY264" fmla="*/ 1533525 h 4305300"/>
                  <a:gd name="connsiteX265" fmla="*/ 7658100 w 8601075"/>
                  <a:gd name="connsiteY265" fmla="*/ 1447800 h 4305300"/>
                  <a:gd name="connsiteX266" fmla="*/ 7515225 w 8601075"/>
                  <a:gd name="connsiteY266" fmla="*/ 1495425 h 4305300"/>
                  <a:gd name="connsiteX267" fmla="*/ 7467600 w 8601075"/>
                  <a:gd name="connsiteY267" fmla="*/ 1581150 h 4305300"/>
                  <a:gd name="connsiteX268" fmla="*/ 7296150 w 8601075"/>
                  <a:gd name="connsiteY26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81988 w 8601075"/>
                  <a:gd name="connsiteY260" fmla="*/ 1421607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124825 w 8601075"/>
                  <a:gd name="connsiteY260" fmla="*/ 1352550 h 4305300"/>
                  <a:gd name="connsiteX261" fmla="*/ 7924800 w 8601075"/>
                  <a:gd name="connsiteY261" fmla="*/ 1362075 h 4305300"/>
                  <a:gd name="connsiteX262" fmla="*/ 7867650 w 8601075"/>
                  <a:gd name="connsiteY262" fmla="*/ 1457325 h 4305300"/>
                  <a:gd name="connsiteX263" fmla="*/ 7896225 w 8601075"/>
                  <a:gd name="connsiteY263" fmla="*/ 1476375 h 4305300"/>
                  <a:gd name="connsiteX264" fmla="*/ 7858125 w 8601075"/>
                  <a:gd name="connsiteY264" fmla="*/ 1533525 h 4305300"/>
                  <a:gd name="connsiteX265" fmla="*/ 7658100 w 8601075"/>
                  <a:gd name="connsiteY265" fmla="*/ 1447800 h 4305300"/>
                  <a:gd name="connsiteX266" fmla="*/ 7515225 w 8601075"/>
                  <a:gd name="connsiteY266" fmla="*/ 1495425 h 4305300"/>
                  <a:gd name="connsiteX267" fmla="*/ 7467600 w 8601075"/>
                  <a:gd name="connsiteY267" fmla="*/ 1581150 h 4305300"/>
                  <a:gd name="connsiteX268" fmla="*/ 7296150 w 8601075"/>
                  <a:gd name="connsiteY26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96225 w 8601075"/>
                  <a:gd name="connsiteY265" fmla="*/ 1476375 h 4305300"/>
                  <a:gd name="connsiteX266" fmla="*/ 7858125 w 8601075"/>
                  <a:gd name="connsiteY266" fmla="*/ 1533525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58125 w 8601075"/>
                  <a:gd name="connsiteY266" fmla="*/ 1533525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24750 w 8601075"/>
                  <a:gd name="connsiteY268" fmla="*/ 1485900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98569 w 8601075"/>
                  <a:gd name="connsiteY268" fmla="*/ 1488281 h 4305300"/>
                  <a:gd name="connsiteX269" fmla="*/ 7524750 w 8601075"/>
                  <a:gd name="connsiteY269" fmla="*/ 1485900 h 4305300"/>
                  <a:gd name="connsiteX270" fmla="*/ 7467600 w 8601075"/>
                  <a:gd name="connsiteY270" fmla="*/ 1581150 h 4305300"/>
                  <a:gd name="connsiteX271" fmla="*/ 7296150 w 8601075"/>
                  <a:gd name="connsiteY271" fmla="*/ 1466850 h 4305300"/>
                  <a:gd name="connsiteX0" fmla="*/ 7329488 w 8601075"/>
                  <a:gd name="connsiteY0" fmla="*/ 1483519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98569 w 8601075"/>
                  <a:gd name="connsiteY268" fmla="*/ 1488281 h 4305300"/>
                  <a:gd name="connsiteX269" fmla="*/ 7524750 w 8601075"/>
                  <a:gd name="connsiteY269" fmla="*/ 1485900 h 4305300"/>
                  <a:gd name="connsiteX270" fmla="*/ 7467600 w 8601075"/>
                  <a:gd name="connsiteY270" fmla="*/ 1581150 h 4305300"/>
                  <a:gd name="connsiteX271" fmla="*/ 7329488 w 8601075"/>
                  <a:gd name="connsiteY27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1875 w 8601075"/>
                  <a:gd name="connsiteY2" fmla="*/ 1323975 h 4305300"/>
                  <a:gd name="connsiteX3" fmla="*/ 7372350 w 8601075"/>
                  <a:gd name="connsiteY3" fmla="*/ 1190625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190625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424738 w 8601075"/>
                  <a:gd name="connsiteY4" fmla="*/ 1131094 h 4305300"/>
                  <a:gd name="connsiteX5" fmla="*/ 7419975 w 8601075"/>
                  <a:gd name="connsiteY5" fmla="*/ 1047750 h 4305300"/>
                  <a:gd name="connsiteX6" fmla="*/ 7486650 w 8601075"/>
                  <a:gd name="connsiteY6" fmla="*/ 638175 h 4305300"/>
                  <a:gd name="connsiteX7" fmla="*/ 7343775 w 8601075"/>
                  <a:gd name="connsiteY7" fmla="*/ 647700 h 4305300"/>
                  <a:gd name="connsiteX8" fmla="*/ 7172325 w 8601075"/>
                  <a:gd name="connsiteY8" fmla="*/ 742950 h 4305300"/>
                  <a:gd name="connsiteX9" fmla="*/ 7010400 w 8601075"/>
                  <a:gd name="connsiteY9" fmla="*/ 609600 h 4305300"/>
                  <a:gd name="connsiteX10" fmla="*/ 6877050 w 8601075"/>
                  <a:gd name="connsiteY10" fmla="*/ 600075 h 4305300"/>
                  <a:gd name="connsiteX11" fmla="*/ 6600825 w 8601075"/>
                  <a:gd name="connsiteY11" fmla="*/ 904875 h 4305300"/>
                  <a:gd name="connsiteX12" fmla="*/ 6600825 w 8601075"/>
                  <a:gd name="connsiteY12" fmla="*/ 904875 h 4305300"/>
                  <a:gd name="connsiteX13" fmla="*/ 6534150 w 8601075"/>
                  <a:gd name="connsiteY13" fmla="*/ 942975 h 4305300"/>
                  <a:gd name="connsiteX14" fmla="*/ 6534150 w 8601075"/>
                  <a:gd name="connsiteY14" fmla="*/ 942975 h 4305300"/>
                  <a:gd name="connsiteX15" fmla="*/ 6362700 w 8601075"/>
                  <a:gd name="connsiteY15" fmla="*/ 1009650 h 4305300"/>
                  <a:gd name="connsiteX16" fmla="*/ 6238875 w 8601075"/>
                  <a:gd name="connsiteY16" fmla="*/ 1057275 h 4305300"/>
                  <a:gd name="connsiteX17" fmla="*/ 6115050 w 8601075"/>
                  <a:gd name="connsiteY17" fmla="*/ 1114425 h 4305300"/>
                  <a:gd name="connsiteX18" fmla="*/ 5962650 w 8601075"/>
                  <a:gd name="connsiteY18" fmla="*/ 1190625 h 4305300"/>
                  <a:gd name="connsiteX19" fmla="*/ 5895975 w 8601075"/>
                  <a:gd name="connsiteY19" fmla="*/ 1143000 h 4305300"/>
                  <a:gd name="connsiteX20" fmla="*/ 5895975 w 8601075"/>
                  <a:gd name="connsiteY20" fmla="*/ 1143000 h 4305300"/>
                  <a:gd name="connsiteX21" fmla="*/ 5676900 w 8601075"/>
                  <a:gd name="connsiteY21" fmla="*/ 1181100 h 4305300"/>
                  <a:gd name="connsiteX22" fmla="*/ 5600700 w 8601075"/>
                  <a:gd name="connsiteY22" fmla="*/ 1114425 h 4305300"/>
                  <a:gd name="connsiteX23" fmla="*/ 5391150 w 8601075"/>
                  <a:gd name="connsiteY23" fmla="*/ 1123950 h 4305300"/>
                  <a:gd name="connsiteX24" fmla="*/ 5334000 w 8601075"/>
                  <a:gd name="connsiteY24" fmla="*/ 1066800 h 4305300"/>
                  <a:gd name="connsiteX25" fmla="*/ 5248275 w 8601075"/>
                  <a:gd name="connsiteY25" fmla="*/ 981075 h 4305300"/>
                  <a:gd name="connsiteX26" fmla="*/ 5238750 w 8601075"/>
                  <a:gd name="connsiteY26" fmla="*/ 895350 h 4305300"/>
                  <a:gd name="connsiteX27" fmla="*/ 5133975 w 8601075"/>
                  <a:gd name="connsiteY27" fmla="*/ 895350 h 4305300"/>
                  <a:gd name="connsiteX28" fmla="*/ 4991100 w 8601075"/>
                  <a:gd name="connsiteY28" fmla="*/ 838200 h 4305300"/>
                  <a:gd name="connsiteX29" fmla="*/ 4905375 w 8601075"/>
                  <a:gd name="connsiteY29" fmla="*/ 771525 h 4305300"/>
                  <a:gd name="connsiteX30" fmla="*/ 4905375 w 8601075"/>
                  <a:gd name="connsiteY30" fmla="*/ 771525 h 4305300"/>
                  <a:gd name="connsiteX31" fmla="*/ 4781550 w 8601075"/>
                  <a:gd name="connsiteY31" fmla="*/ 762000 h 4305300"/>
                  <a:gd name="connsiteX32" fmla="*/ 4648200 w 8601075"/>
                  <a:gd name="connsiteY32" fmla="*/ 714375 h 4305300"/>
                  <a:gd name="connsiteX33" fmla="*/ 4581525 w 8601075"/>
                  <a:gd name="connsiteY33" fmla="*/ 695325 h 4305300"/>
                  <a:gd name="connsiteX34" fmla="*/ 4495800 w 8601075"/>
                  <a:gd name="connsiteY34" fmla="*/ 742950 h 4305300"/>
                  <a:gd name="connsiteX35" fmla="*/ 4343400 w 8601075"/>
                  <a:gd name="connsiteY35" fmla="*/ 781050 h 4305300"/>
                  <a:gd name="connsiteX36" fmla="*/ 4252913 w 8601075"/>
                  <a:gd name="connsiteY36" fmla="*/ 862013 h 4305300"/>
                  <a:gd name="connsiteX37" fmla="*/ 4205287 w 8601075"/>
                  <a:gd name="connsiteY37" fmla="*/ 823913 h 4305300"/>
                  <a:gd name="connsiteX38" fmla="*/ 4183856 w 8601075"/>
                  <a:gd name="connsiteY38" fmla="*/ 854868 h 4305300"/>
                  <a:gd name="connsiteX39" fmla="*/ 4110038 w 8601075"/>
                  <a:gd name="connsiteY39" fmla="*/ 804863 h 4305300"/>
                  <a:gd name="connsiteX40" fmla="*/ 4071938 w 8601075"/>
                  <a:gd name="connsiteY40" fmla="*/ 812006 h 4305300"/>
                  <a:gd name="connsiteX41" fmla="*/ 4050506 w 8601075"/>
                  <a:gd name="connsiteY41" fmla="*/ 773906 h 4305300"/>
                  <a:gd name="connsiteX42" fmla="*/ 3990975 w 8601075"/>
                  <a:gd name="connsiteY42" fmla="*/ 778669 h 4305300"/>
                  <a:gd name="connsiteX43" fmla="*/ 3945731 w 8601075"/>
                  <a:gd name="connsiteY43" fmla="*/ 750094 h 4305300"/>
                  <a:gd name="connsiteX44" fmla="*/ 3907631 w 8601075"/>
                  <a:gd name="connsiteY44" fmla="*/ 747713 h 4305300"/>
                  <a:gd name="connsiteX45" fmla="*/ 3888581 w 8601075"/>
                  <a:gd name="connsiteY45" fmla="*/ 700087 h 4305300"/>
                  <a:gd name="connsiteX46" fmla="*/ 3874294 w 8601075"/>
                  <a:gd name="connsiteY46" fmla="*/ 669131 h 4305300"/>
                  <a:gd name="connsiteX47" fmla="*/ 3829050 w 8601075"/>
                  <a:gd name="connsiteY47" fmla="*/ 678656 h 4305300"/>
                  <a:gd name="connsiteX48" fmla="*/ 3810000 w 8601075"/>
                  <a:gd name="connsiteY48" fmla="*/ 642938 h 4305300"/>
                  <a:gd name="connsiteX49" fmla="*/ 3831432 w 8601075"/>
                  <a:gd name="connsiteY49" fmla="*/ 588169 h 4305300"/>
                  <a:gd name="connsiteX50" fmla="*/ 3800475 w 8601075"/>
                  <a:gd name="connsiteY50" fmla="*/ 561975 h 4305300"/>
                  <a:gd name="connsiteX51" fmla="*/ 3817144 w 8601075"/>
                  <a:gd name="connsiteY51" fmla="*/ 519113 h 4305300"/>
                  <a:gd name="connsiteX52" fmla="*/ 3790950 w 8601075"/>
                  <a:gd name="connsiteY52" fmla="*/ 476250 h 4305300"/>
                  <a:gd name="connsiteX53" fmla="*/ 3786188 w 8601075"/>
                  <a:gd name="connsiteY53" fmla="*/ 414338 h 4305300"/>
                  <a:gd name="connsiteX54" fmla="*/ 3810000 w 8601075"/>
                  <a:gd name="connsiteY54" fmla="*/ 350043 h 4305300"/>
                  <a:gd name="connsiteX55" fmla="*/ 3771900 w 8601075"/>
                  <a:gd name="connsiteY55" fmla="*/ 352425 h 4305300"/>
                  <a:gd name="connsiteX56" fmla="*/ 3652838 w 8601075"/>
                  <a:gd name="connsiteY56" fmla="*/ 295275 h 4305300"/>
                  <a:gd name="connsiteX57" fmla="*/ 3614737 w 8601075"/>
                  <a:gd name="connsiteY57" fmla="*/ 300037 h 4305300"/>
                  <a:gd name="connsiteX58" fmla="*/ 3409950 w 8601075"/>
                  <a:gd name="connsiteY58" fmla="*/ 190500 h 4305300"/>
                  <a:gd name="connsiteX59" fmla="*/ 3305175 w 8601075"/>
                  <a:gd name="connsiteY59" fmla="*/ 159544 h 4305300"/>
                  <a:gd name="connsiteX60" fmla="*/ 3240881 w 8601075"/>
                  <a:gd name="connsiteY60" fmla="*/ 169068 h 4305300"/>
                  <a:gd name="connsiteX61" fmla="*/ 3209925 w 8601075"/>
                  <a:gd name="connsiteY61" fmla="*/ 104775 h 4305300"/>
                  <a:gd name="connsiteX62" fmla="*/ 3152775 w 8601075"/>
                  <a:gd name="connsiteY62" fmla="*/ 104775 h 4305300"/>
                  <a:gd name="connsiteX63" fmla="*/ 3014662 w 8601075"/>
                  <a:gd name="connsiteY63" fmla="*/ 0 h 4305300"/>
                  <a:gd name="connsiteX64" fmla="*/ 2981325 w 8601075"/>
                  <a:gd name="connsiteY64" fmla="*/ 59532 h 4305300"/>
                  <a:gd name="connsiteX65" fmla="*/ 2926556 w 8601075"/>
                  <a:gd name="connsiteY65" fmla="*/ 128588 h 4305300"/>
                  <a:gd name="connsiteX66" fmla="*/ 2883694 w 8601075"/>
                  <a:gd name="connsiteY66" fmla="*/ 145256 h 4305300"/>
                  <a:gd name="connsiteX67" fmla="*/ 2852738 w 8601075"/>
                  <a:gd name="connsiteY67" fmla="*/ 138113 h 4305300"/>
                  <a:gd name="connsiteX68" fmla="*/ 2828925 w 8601075"/>
                  <a:gd name="connsiteY68" fmla="*/ 166688 h 4305300"/>
                  <a:gd name="connsiteX69" fmla="*/ 2802731 w 8601075"/>
                  <a:gd name="connsiteY69" fmla="*/ 245269 h 4305300"/>
                  <a:gd name="connsiteX70" fmla="*/ 2759869 w 8601075"/>
                  <a:gd name="connsiteY70" fmla="*/ 242888 h 4305300"/>
                  <a:gd name="connsiteX71" fmla="*/ 2728912 w 8601075"/>
                  <a:gd name="connsiteY71" fmla="*/ 304800 h 4305300"/>
                  <a:gd name="connsiteX72" fmla="*/ 2724150 w 8601075"/>
                  <a:gd name="connsiteY72" fmla="*/ 369094 h 4305300"/>
                  <a:gd name="connsiteX73" fmla="*/ 2697957 w 8601075"/>
                  <a:gd name="connsiteY73" fmla="*/ 407194 h 4305300"/>
                  <a:gd name="connsiteX74" fmla="*/ 2724150 w 8601075"/>
                  <a:gd name="connsiteY74" fmla="*/ 466725 h 4305300"/>
                  <a:gd name="connsiteX75" fmla="*/ 2726531 w 8601075"/>
                  <a:gd name="connsiteY75" fmla="*/ 535781 h 4305300"/>
                  <a:gd name="connsiteX76" fmla="*/ 2755106 w 8601075"/>
                  <a:gd name="connsiteY76" fmla="*/ 588169 h 4305300"/>
                  <a:gd name="connsiteX77" fmla="*/ 2802732 w 8601075"/>
                  <a:gd name="connsiteY77" fmla="*/ 642938 h 4305300"/>
                  <a:gd name="connsiteX78" fmla="*/ 2752725 w 8601075"/>
                  <a:gd name="connsiteY78" fmla="*/ 781050 h 4305300"/>
                  <a:gd name="connsiteX79" fmla="*/ 2683669 w 8601075"/>
                  <a:gd name="connsiteY79" fmla="*/ 847725 h 4305300"/>
                  <a:gd name="connsiteX80" fmla="*/ 2612231 w 8601075"/>
                  <a:gd name="connsiteY80" fmla="*/ 842963 h 4305300"/>
                  <a:gd name="connsiteX81" fmla="*/ 2574131 w 8601075"/>
                  <a:gd name="connsiteY81" fmla="*/ 900113 h 4305300"/>
                  <a:gd name="connsiteX82" fmla="*/ 2514600 w 8601075"/>
                  <a:gd name="connsiteY82" fmla="*/ 914400 h 4305300"/>
                  <a:gd name="connsiteX83" fmla="*/ 2445544 w 8601075"/>
                  <a:gd name="connsiteY83" fmla="*/ 854869 h 4305300"/>
                  <a:gd name="connsiteX84" fmla="*/ 2390775 w 8601075"/>
                  <a:gd name="connsiteY84" fmla="*/ 826294 h 4305300"/>
                  <a:gd name="connsiteX85" fmla="*/ 2347913 w 8601075"/>
                  <a:gd name="connsiteY85" fmla="*/ 840581 h 4305300"/>
                  <a:gd name="connsiteX86" fmla="*/ 2295525 w 8601075"/>
                  <a:gd name="connsiteY86" fmla="*/ 823913 h 4305300"/>
                  <a:gd name="connsiteX87" fmla="*/ 2228850 w 8601075"/>
                  <a:gd name="connsiteY87" fmla="*/ 769144 h 4305300"/>
                  <a:gd name="connsiteX88" fmla="*/ 2183606 w 8601075"/>
                  <a:gd name="connsiteY88" fmla="*/ 781050 h 4305300"/>
                  <a:gd name="connsiteX89" fmla="*/ 2162175 w 8601075"/>
                  <a:gd name="connsiteY89" fmla="*/ 750094 h 4305300"/>
                  <a:gd name="connsiteX90" fmla="*/ 2105025 w 8601075"/>
                  <a:gd name="connsiteY90" fmla="*/ 790575 h 4305300"/>
                  <a:gd name="connsiteX91" fmla="*/ 1988344 w 8601075"/>
                  <a:gd name="connsiteY91" fmla="*/ 769144 h 4305300"/>
                  <a:gd name="connsiteX92" fmla="*/ 1938338 w 8601075"/>
                  <a:gd name="connsiteY92" fmla="*/ 716756 h 4305300"/>
                  <a:gd name="connsiteX93" fmla="*/ 1895475 w 8601075"/>
                  <a:gd name="connsiteY93" fmla="*/ 702469 h 4305300"/>
                  <a:gd name="connsiteX94" fmla="*/ 1852613 w 8601075"/>
                  <a:gd name="connsiteY94" fmla="*/ 728663 h 4305300"/>
                  <a:gd name="connsiteX95" fmla="*/ 1800225 w 8601075"/>
                  <a:gd name="connsiteY95" fmla="*/ 638175 h 4305300"/>
                  <a:gd name="connsiteX96" fmla="*/ 1790700 w 8601075"/>
                  <a:gd name="connsiteY96" fmla="*/ 490537 h 4305300"/>
                  <a:gd name="connsiteX97" fmla="*/ 1738312 w 8601075"/>
                  <a:gd name="connsiteY97" fmla="*/ 483393 h 4305300"/>
                  <a:gd name="connsiteX98" fmla="*/ 1647825 w 8601075"/>
                  <a:gd name="connsiteY98" fmla="*/ 473869 h 4305300"/>
                  <a:gd name="connsiteX99" fmla="*/ 1593056 w 8601075"/>
                  <a:gd name="connsiteY99" fmla="*/ 435769 h 4305300"/>
                  <a:gd name="connsiteX100" fmla="*/ 1524000 w 8601075"/>
                  <a:gd name="connsiteY100" fmla="*/ 445294 h 4305300"/>
                  <a:gd name="connsiteX101" fmla="*/ 1478756 w 8601075"/>
                  <a:gd name="connsiteY101" fmla="*/ 419100 h 4305300"/>
                  <a:gd name="connsiteX102" fmla="*/ 1469232 w 8601075"/>
                  <a:gd name="connsiteY102" fmla="*/ 347663 h 4305300"/>
                  <a:gd name="connsiteX103" fmla="*/ 1445419 w 8601075"/>
                  <a:gd name="connsiteY103" fmla="*/ 333375 h 4305300"/>
                  <a:gd name="connsiteX104" fmla="*/ 1407319 w 8601075"/>
                  <a:gd name="connsiteY104" fmla="*/ 380999 h 4305300"/>
                  <a:gd name="connsiteX105" fmla="*/ 1328737 w 8601075"/>
                  <a:gd name="connsiteY105" fmla="*/ 307181 h 4305300"/>
                  <a:gd name="connsiteX106" fmla="*/ 1288256 w 8601075"/>
                  <a:gd name="connsiteY106" fmla="*/ 347663 h 4305300"/>
                  <a:gd name="connsiteX107" fmla="*/ 1212056 w 8601075"/>
                  <a:gd name="connsiteY107" fmla="*/ 333375 h 4305300"/>
                  <a:gd name="connsiteX108" fmla="*/ 1133475 w 8601075"/>
                  <a:gd name="connsiteY108" fmla="*/ 359569 h 4305300"/>
                  <a:gd name="connsiteX109" fmla="*/ 1073944 w 8601075"/>
                  <a:gd name="connsiteY109" fmla="*/ 407193 h 4305300"/>
                  <a:gd name="connsiteX110" fmla="*/ 1000125 w 8601075"/>
                  <a:gd name="connsiteY110" fmla="*/ 419100 h 4305300"/>
                  <a:gd name="connsiteX111" fmla="*/ 964406 w 8601075"/>
                  <a:gd name="connsiteY111" fmla="*/ 411956 h 4305300"/>
                  <a:gd name="connsiteX112" fmla="*/ 885826 w 8601075"/>
                  <a:gd name="connsiteY112" fmla="*/ 442913 h 4305300"/>
                  <a:gd name="connsiteX113" fmla="*/ 864394 w 8601075"/>
                  <a:gd name="connsiteY113" fmla="*/ 471488 h 4305300"/>
                  <a:gd name="connsiteX114" fmla="*/ 797719 w 8601075"/>
                  <a:gd name="connsiteY114" fmla="*/ 461963 h 4305300"/>
                  <a:gd name="connsiteX115" fmla="*/ 728663 w 8601075"/>
                  <a:gd name="connsiteY115" fmla="*/ 485775 h 4305300"/>
                  <a:gd name="connsiteX116" fmla="*/ 673894 w 8601075"/>
                  <a:gd name="connsiteY116" fmla="*/ 523875 h 4305300"/>
                  <a:gd name="connsiteX117" fmla="*/ 578644 w 8601075"/>
                  <a:gd name="connsiteY117" fmla="*/ 538162 h 4305300"/>
                  <a:gd name="connsiteX118" fmla="*/ 564356 w 8601075"/>
                  <a:gd name="connsiteY118" fmla="*/ 559594 h 4305300"/>
                  <a:gd name="connsiteX119" fmla="*/ 576262 w 8601075"/>
                  <a:gd name="connsiteY119" fmla="*/ 604838 h 4305300"/>
                  <a:gd name="connsiteX120" fmla="*/ 476251 w 8601075"/>
                  <a:gd name="connsiteY120" fmla="*/ 657225 h 4305300"/>
                  <a:gd name="connsiteX121" fmla="*/ 438150 w 8601075"/>
                  <a:gd name="connsiteY121" fmla="*/ 628649 h 4305300"/>
                  <a:gd name="connsiteX122" fmla="*/ 407194 w 8601075"/>
                  <a:gd name="connsiteY122" fmla="*/ 685800 h 4305300"/>
                  <a:gd name="connsiteX123" fmla="*/ 350044 w 8601075"/>
                  <a:gd name="connsiteY123" fmla="*/ 647700 h 4305300"/>
                  <a:gd name="connsiteX124" fmla="*/ 314325 w 8601075"/>
                  <a:gd name="connsiteY124" fmla="*/ 676275 h 4305300"/>
                  <a:gd name="connsiteX125" fmla="*/ 278606 w 8601075"/>
                  <a:gd name="connsiteY125" fmla="*/ 640556 h 4305300"/>
                  <a:gd name="connsiteX126" fmla="*/ 226219 w 8601075"/>
                  <a:gd name="connsiteY126" fmla="*/ 652463 h 4305300"/>
                  <a:gd name="connsiteX127" fmla="*/ 180975 w 8601075"/>
                  <a:gd name="connsiteY127" fmla="*/ 623888 h 4305300"/>
                  <a:gd name="connsiteX128" fmla="*/ 157163 w 8601075"/>
                  <a:gd name="connsiteY128" fmla="*/ 642938 h 4305300"/>
                  <a:gd name="connsiteX129" fmla="*/ 133350 w 8601075"/>
                  <a:gd name="connsiteY129" fmla="*/ 702469 h 4305300"/>
                  <a:gd name="connsiteX130" fmla="*/ 61913 w 8601075"/>
                  <a:gd name="connsiteY130" fmla="*/ 740568 h 4305300"/>
                  <a:gd name="connsiteX131" fmla="*/ 28575 w 8601075"/>
                  <a:gd name="connsiteY131" fmla="*/ 769144 h 4305300"/>
                  <a:gd name="connsiteX132" fmla="*/ 33338 w 8601075"/>
                  <a:gd name="connsiteY132" fmla="*/ 812006 h 4305300"/>
                  <a:gd name="connsiteX133" fmla="*/ 0 w 8601075"/>
                  <a:gd name="connsiteY133" fmla="*/ 816769 h 4305300"/>
                  <a:gd name="connsiteX134" fmla="*/ 4763 w 8601075"/>
                  <a:gd name="connsiteY134" fmla="*/ 840581 h 4305300"/>
                  <a:gd name="connsiteX135" fmla="*/ 61912 w 8601075"/>
                  <a:gd name="connsiteY135" fmla="*/ 914400 h 4305300"/>
                  <a:gd name="connsiteX136" fmla="*/ 23813 w 8601075"/>
                  <a:gd name="connsiteY136" fmla="*/ 962025 h 4305300"/>
                  <a:gd name="connsiteX137" fmla="*/ 78581 w 8601075"/>
                  <a:gd name="connsiteY137" fmla="*/ 997744 h 4305300"/>
                  <a:gd name="connsiteX138" fmla="*/ 169069 w 8601075"/>
                  <a:gd name="connsiteY138" fmla="*/ 1085850 h 4305300"/>
                  <a:gd name="connsiteX139" fmla="*/ 171450 w 8601075"/>
                  <a:gd name="connsiteY139" fmla="*/ 1145381 h 4305300"/>
                  <a:gd name="connsiteX140" fmla="*/ 307181 w 8601075"/>
                  <a:gd name="connsiteY140" fmla="*/ 1278732 h 4305300"/>
                  <a:gd name="connsiteX141" fmla="*/ 361950 w 8601075"/>
                  <a:gd name="connsiteY141" fmla="*/ 1254919 h 4305300"/>
                  <a:gd name="connsiteX142" fmla="*/ 400050 w 8601075"/>
                  <a:gd name="connsiteY142" fmla="*/ 1281112 h 4305300"/>
                  <a:gd name="connsiteX143" fmla="*/ 414338 w 8601075"/>
                  <a:gd name="connsiteY143" fmla="*/ 1331118 h 4305300"/>
                  <a:gd name="connsiteX144" fmla="*/ 457200 w 8601075"/>
                  <a:gd name="connsiteY144" fmla="*/ 1366838 h 4305300"/>
                  <a:gd name="connsiteX145" fmla="*/ 497681 w 8601075"/>
                  <a:gd name="connsiteY145" fmla="*/ 1354931 h 4305300"/>
                  <a:gd name="connsiteX146" fmla="*/ 516731 w 8601075"/>
                  <a:gd name="connsiteY146" fmla="*/ 1412081 h 4305300"/>
                  <a:gd name="connsiteX147" fmla="*/ 564356 w 8601075"/>
                  <a:gd name="connsiteY147" fmla="*/ 1454944 h 4305300"/>
                  <a:gd name="connsiteX148" fmla="*/ 588169 w 8601075"/>
                  <a:gd name="connsiteY148" fmla="*/ 1557338 h 4305300"/>
                  <a:gd name="connsiteX149" fmla="*/ 585788 w 8601075"/>
                  <a:gd name="connsiteY149" fmla="*/ 1604963 h 4305300"/>
                  <a:gd name="connsiteX150" fmla="*/ 621506 w 8601075"/>
                  <a:gd name="connsiteY150" fmla="*/ 1704975 h 4305300"/>
                  <a:gd name="connsiteX151" fmla="*/ 666750 w 8601075"/>
                  <a:gd name="connsiteY151" fmla="*/ 1762125 h 4305300"/>
                  <a:gd name="connsiteX152" fmla="*/ 683418 w 8601075"/>
                  <a:gd name="connsiteY152" fmla="*/ 1919287 h 4305300"/>
                  <a:gd name="connsiteX153" fmla="*/ 650081 w 8601075"/>
                  <a:gd name="connsiteY153" fmla="*/ 1981200 h 4305300"/>
                  <a:gd name="connsiteX154" fmla="*/ 619125 w 8601075"/>
                  <a:gd name="connsiteY154" fmla="*/ 2057400 h 4305300"/>
                  <a:gd name="connsiteX155" fmla="*/ 633413 w 8601075"/>
                  <a:gd name="connsiteY155" fmla="*/ 2114550 h 4305300"/>
                  <a:gd name="connsiteX156" fmla="*/ 535781 w 8601075"/>
                  <a:gd name="connsiteY156" fmla="*/ 2221707 h 4305300"/>
                  <a:gd name="connsiteX157" fmla="*/ 492919 w 8601075"/>
                  <a:gd name="connsiteY157" fmla="*/ 2336006 h 4305300"/>
                  <a:gd name="connsiteX158" fmla="*/ 526256 w 8601075"/>
                  <a:gd name="connsiteY158" fmla="*/ 2376488 h 4305300"/>
                  <a:gd name="connsiteX159" fmla="*/ 509588 w 8601075"/>
                  <a:gd name="connsiteY159" fmla="*/ 2405063 h 4305300"/>
                  <a:gd name="connsiteX160" fmla="*/ 540544 w 8601075"/>
                  <a:gd name="connsiteY160" fmla="*/ 2462213 h 4305300"/>
                  <a:gd name="connsiteX161" fmla="*/ 569119 w 8601075"/>
                  <a:gd name="connsiteY161" fmla="*/ 2462213 h 4305300"/>
                  <a:gd name="connsiteX162" fmla="*/ 731044 w 8601075"/>
                  <a:gd name="connsiteY162" fmla="*/ 2564606 h 4305300"/>
                  <a:gd name="connsiteX163" fmla="*/ 835819 w 8601075"/>
                  <a:gd name="connsiteY163" fmla="*/ 2562225 h 4305300"/>
                  <a:gd name="connsiteX164" fmla="*/ 914400 w 8601075"/>
                  <a:gd name="connsiteY164" fmla="*/ 2616994 h 4305300"/>
                  <a:gd name="connsiteX165" fmla="*/ 1045368 w 8601075"/>
                  <a:gd name="connsiteY165" fmla="*/ 2619375 h 4305300"/>
                  <a:gd name="connsiteX166" fmla="*/ 1235868 w 8601075"/>
                  <a:gd name="connsiteY166" fmla="*/ 2688431 h 4305300"/>
                  <a:gd name="connsiteX167" fmla="*/ 1438275 w 8601075"/>
                  <a:gd name="connsiteY167" fmla="*/ 2838450 h 4305300"/>
                  <a:gd name="connsiteX168" fmla="*/ 1471612 w 8601075"/>
                  <a:gd name="connsiteY168" fmla="*/ 2905125 h 4305300"/>
                  <a:gd name="connsiteX169" fmla="*/ 1638300 w 8601075"/>
                  <a:gd name="connsiteY169" fmla="*/ 3031331 h 4305300"/>
                  <a:gd name="connsiteX170" fmla="*/ 1709738 w 8601075"/>
                  <a:gd name="connsiteY170" fmla="*/ 3026569 h 4305300"/>
                  <a:gd name="connsiteX171" fmla="*/ 1745457 w 8601075"/>
                  <a:gd name="connsiteY171" fmla="*/ 3050381 h 4305300"/>
                  <a:gd name="connsiteX172" fmla="*/ 1716881 w 8601075"/>
                  <a:gd name="connsiteY172" fmla="*/ 3090863 h 4305300"/>
                  <a:gd name="connsiteX173" fmla="*/ 1724025 w 8601075"/>
                  <a:gd name="connsiteY173" fmla="*/ 3143250 h 4305300"/>
                  <a:gd name="connsiteX174" fmla="*/ 1776413 w 8601075"/>
                  <a:gd name="connsiteY174" fmla="*/ 3169444 h 4305300"/>
                  <a:gd name="connsiteX175" fmla="*/ 1838325 w 8601075"/>
                  <a:gd name="connsiteY175" fmla="*/ 3393282 h 4305300"/>
                  <a:gd name="connsiteX176" fmla="*/ 1828800 w 8601075"/>
                  <a:gd name="connsiteY176" fmla="*/ 3457575 h 4305300"/>
                  <a:gd name="connsiteX177" fmla="*/ 1964531 w 8601075"/>
                  <a:gd name="connsiteY177" fmla="*/ 3624263 h 4305300"/>
                  <a:gd name="connsiteX178" fmla="*/ 1983581 w 8601075"/>
                  <a:gd name="connsiteY178" fmla="*/ 3674269 h 4305300"/>
                  <a:gd name="connsiteX179" fmla="*/ 1957388 w 8601075"/>
                  <a:gd name="connsiteY179" fmla="*/ 3693319 h 4305300"/>
                  <a:gd name="connsiteX180" fmla="*/ 2059781 w 8601075"/>
                  <a:gd name="connsiteY180" fmla="*/ 3702844 h 4305300"/>
                  <a:gd name="connsiteX181" fmla="*/ 2171700 w 8601075"/>
                  <a:gd name="connsiteY181" fmla="*/ 3690938 h 4305300"/>
                  <a:gd name="connsiteX182" fmla="*/ 2450306 w 8601075"/>
                  <a:gd name="connsiteY182" fmla="*/ 3774281 h 4305300"/>
                  <a:gd name="connsiteX183" fmla="*/ 2857500 w 8601075"/>
                  <a:gd name="connsiteY183" fmla="*/ 3855244 h 4305300"/>
                  <a:gd name="connsiteX184" fmla="*/ 3055144 w 8601075"/>
                  <a:gd name="connsiteY184" fmla="*/ 3824287 h 4305300"/>
                  <a:gd name="connsiteX185" fmla="*/ 3100388 w 8601075"/>
                  <a:gd name="connsiteY185" fmla="*/ 3836193 h 4305300"/>
                  <a:gd name="connsiteX186" fmla="*/ 3155156 w 8601075"/>
                  <a:gd name="connsiteY186" fmla="*/ 3812382 h 4305300"/>
                  <a:gd name="connsiteX187" fmla="*/ 3548062 w 8601075"/>
                  <a:gd name="connsiteY187" fmla="*/ 3902869 h 4305300"/>
                  <a:gd name="connsiteX188" fmla="*/ 3631407 w 8601075"/>
                  <a:gd name="connsiteY188" fmla="*/ 4000500 h 4305300"/>
                  <a:gd name="connsiteX189" fmla="*/ 3750469 w 8601075"/>
                  <a:gd name="connsiteY189" fmla="*/ 4071938 h 4305300"/>
                  <a:gd name="connsiteX190" fmla="*/ 3810000 w 8601075"/>
                  <a:gd name="connsiteY190" fmla="*/ 4055269 h 4305300"/>
                  <a:gd name="connsiteX191" fmla="*/ 4160043 w 8601075"/>
                  <a:gd name="connsiteY191" fmla="*/ 4229100 h 4305300"/>
                  <a:gd name="connsiteX192" fmla="*/ 4386263 w 8601075"/>
                  <a:gd name="connsiteY192" fmla="*/ 4200525 h 4305300"/>
                  <a:gd name="connsiteX193" fmla="*/ 4395788 w 8601075"/>
                  <a:gd name="connsiteY193" fmla="*/ 4279106 h 4305300"/>
                  <a:gd name="connsiteX194" fmla="*/ 4481513 w 8601075"/>
                  <a:gd name="connsiteY194" fmla="*/ 4274343 h 4305300"/>
                  <a:gd name="connsiteX195" fmla="*/ 4560094 w 8601075"/>
                  <a:gd name="connsiteY195" fmla="*/ 4305300 h 4305300"/>
                  <a:gd name="connsiteX196" fmla="*/ 4602956 w 8601075"/>
                  <a:gd name="connsiteY196" fmla="*/ 4245769 h 4305300"/>
                  <a:gd name="connsiteX197" fmla="*/ 5274469 w 8601075"/>
                  <a:gd name="connsiteY197" fmla="*/ 3926681 h 4305300"/>
                  <a:gd name="connsiteX198" fmla="*/ 5362575 w 8601075"/>
                  <a:gd name="connsiteY198" fmla="*/ 3955257 h 4305300"/>
                  <a:gd name="connsiteX199" fmla="*/ 5493544 w 8601075"/>
                  <a:gd name="connsiteY199" fmla="*/ 3926681 h 4305300"/>
                  <a:gd name="connsiteX200" fmla="*/ 5672137 w 8601075"/>
                  <a:gd name="connsiteY200" fmla="*/ 3943350 h 4305300"/>
                  <a:gd name="connsiteX201" fmla="*/ 5729288 w 8601075"/>
                  <a:gd name="connsiteY201" fmla="*/ 3917157 h 4305300"/>
                  <a:gd name="connsiteX202" fmla="*/ 5862637 w 8601075"/>
                  <a:gd name="connsiteY202" fmla="*/ 3914775 h 4305300"/>
                  <a:gd name="connsiteX203" fmla="*/ 5995987 w 8601075"/>
                  <a:gd name="connsiteY203" fmla="*/ 3817144 h 4305300"/>
                  <a:gd name="connsiteX204" fmla="*/ 6062662 w 8601075"/>
                  <a:gd name="connsiteY204" fmla="*/ 3810000 h 4305300"/>
                  <a:gd name="connsiteX205" fmla="*/ 6160294 w 8601075"/>
                  <a:gd name="connsiteY205" fmla="*/ 3736181 h 4305300"/>
                  <a:gd name="connsiteX206" fmla="*/ 6234113 w 8601075"/>
                  <a:gd name="connsiteY206" fmla="*/ 3667125 h 4305300"/>
                  <a:gd name="connsiteX207" fmla="*/ 6243638 w 8601075"/>
                  <a:gd name="connsiteY207" fmla="*/ 3605213 h 4305300"/>
                  <a:gd name="connsiteX208" fmla="*/ 6276975 w 8601075"/>
                  <a:gd name="connsiteY208" fmla="*/ 3536156 h 4305300"/>
                  <a:gd name="connsiteX209" fmla="*/ 6429375 w 8601075"/>
                  <a:gd name="connsiteY209" fmla="*/ 3429000 h 4305300"/>
                  <a:gd name="connsiteX210" fmla="*/ 6462713 w 8601075"/>
                  <a:gd name="connsiteY210" fmla="*/ 3433763 h 4305300"/>
                  <a:gd name="connsiteX211" fmla="*/ 6515100 w 8601075"/>
                  <a:gd name="connsiteY211" fmla="*/ 3355181 h 4305300"/>
                  <a:gd name="connsiteX212" fmla="*/ 6562725 w 8601075"/>
                  <a:gd name="connsiteY212" fmla="*/ 3317081 h 4305300"/>
                  <a:gd name="connsiteX213" fmla="*/ 6548438 w 8601075"/>
                  <a:gd name="connsiteY213" fmla="*/ 3248025 h 4305300"/>
                  <a:gd name="connsiteX214" fmla="*/ 6498431 w 8601075"/>
                  <a:gd name="connsiteY214" fmla="*/ 3217068 h 4305300"/>
                  <a:gd name="connsiteX215" fmla="*/ 6438900 w 8601075"/>
                  <a:gd name="connsiteY215" fmla="*/ 3162300 h 4305300"/>
                  <a:gd name="connsiteX216" fmla="*/ 6419850 w 8601075"/>
                  <a:gd name="connsiteY216" fmla="*/ 3105150 h 4305300"/>
                  <a:gd name="connsiteX217" fmla="*/ 6384131 w 8601075"/>
                  <a:gd name="connsiteY217" fmla="*/ 3071813 h 4305300"/>
                  <a:gd name="connsiteX218" fmla="*/ 6410325 w 8601075"/>
                  <a:gd name="connsiteY218" fmla="*/ 3019425 h 4305300"/>
                  <a:gd name="connsiteX219" fmla="*/ 6450806 w 8601075"/>
                  <a:gd name="connsiteY219" fmla="*/ 2840831 h 4305300"/>
                  <a:gd name="connsiteX220" fmla="*/ 6491288 w 8601075"/>
                  <a:gd name="connsiteY220" fmla="*/ 2774156 h 4305300"/>
                  <a:gd name="connsiteX221" fmla="*/ 6636544 w 8601075"/>
                  <a:gd name="connsiteY221" fmla="*/ 2757487 h 4305300"/>
                  <a:gd name="connsiteX222" fmla="*/ 6705600 w 8601075"/>
                  <a:gd name="connsiteY222" fmla="*/ 2814638 h 4305300"/>
                  <a:gd name="connsiteX223" fmla="*/ 6781800 w 8601075"/>
                  <a:gd name="connsiteY223" fmla="*/ 2838450 h 4305300"/>
                  <a:gd name="connsiteX224" fmla="*/ 6986587 w 8601075"/>
                  <a:gd name="connsiteY224" fmla="*/ 2843213 h 4305300"/>
                  <a:gd name="connsiteX225" fmla="*/ 7162800 w 8601075"/>
                  <a:gd name="connsiteY225" fmla="*/ 2705100 h 4305300"/>
                  <a:gd name="connsiteX226" fmla="*/ 7219950 w 8601075"/>
                  <a:gd name="connsiteY226" fmla="*/ 2614612 h 4305300"/>
                  <a:gd name="connsiteX227" fmla="*/ 7246144 w 8601075"/>
                  <a:gd name="connsiteY227" fmla="*/ 2531269 h 4305300"/>
                  <a:gd name="connsiteX228" fmla="*/ 7377112 w 8601075"/>
                  <a:gd name="connsiteY228" fmla="*/ 2531269 h 4305300"/>
                  <a:gd name="connsiteX229" fmla="*/ 7550944 w 8601075"/>
                  <a:gd name="connsiteY229" fmla="*/ 2474118 h 4305300"/>
                  <a:gd name="connsiteX230" fmla="*/ 7610475 w 8601075"/>
                  <a:gd name="connsiteY230" fmla="*/ 2362200 h 4305300"/>
                  <a:gd name="connsiteX231" fmla="*/ 7674769 w 8601075"/>
                  <a:gd name="connsiteY231" fmla="*/ 2326481 h 4305300"/>
                  <a:gd name="connsiteX232" fmla="*/ 7653338 w 8601075"/>
                  <a:gd name="connsiteY232" fmla="*/ 2281238 h 4305300"/>
                  <a:gd name="connsiteX233" fmla="*/ 7731919 w 8601075"/>
                  <a:gd name="connsiteY233" fmla="*/ 2112168 h 4305300"/>
                  <a:gd name="connsiteX234" fmla="*/ 7786688 w 8601075"/>
                  <a:gd name="connsiteY234" fmla="*/ 2052638 h 4305300"/>
                  <a:gd name="connsiteX235" fmla="*/ 7824788 w 8601075"/>
                  <a:gd name="connsiteY235" fmla="*/ 2047875 h 4305300"/>
                  <a:gd name="connsiteX236" fmla="*/ 7870031 w 8601075"/>
                  <a:gd name="connsiteY236" fmla="*/ 2052638 h 4305300"/>
                  <a:gd name="connsiteX237" fmla="*/ 7934325 w 8601075"/>
                  <a:gd name="connsiteY237" fmla="*/ 2019300 h 4305300"/>
                  <a:gd name="connsiteX238" fmla="*/ 7943850 w 8601075"/>
                  <a:gd name="connsiteY238" fmla="*/ 1955006 h 4305300"/>
                  <a:gd name="connsiteX239" fmla="*/ 7984330 w 8601075"/>
                  <a:gd name="connsiteY239" fmla="*/ 1919288 h 4305300"/>
                  <a:gd name="connsiteX240" fmla="*/ 8043863 w 8601075"/>
                  <a:gd name="connsiteY240" fmla="*/ 1959768 h 4305300"/>
                  <a:gd name="connsiteX241" fmla="*/ 8070057 w 8601075"/>
                  <a:gd name="connsiteY241" fmla="*/ 1909762 h 4305300"/>
                  <a:gd name="connsiteX242" fmla="*/ 8165306 w 8601075"/>
                  <a:gd name="connsiteY242" fmla="*/ 1840706 h 4305300"/>
                  <a:gd name="connsiteX243" fmla="*/ 8227219 w 8601075"/>
                  <a:gd name="connsiteY243" fmla="*/ 1847850 h 4305300"/>
                  <a:gd name="connsiteX244" fmla="*/ 8277225 w 8601075"/>
                  <a:gd name="connsiteY244" fmla="*/ 1828800 h 4305300"/>
                  <a:gd name="connsiteX245" fmla="*/ 8315325 w 8601075"/>
                  <a:gd name="connsiteY245" fmla="*/ 1800225 h 4305300"/>
                  <a:gd name="connsiteX246" fmla="*/ 8348663 w 8601075"/>
                  <a:gd name="connsiteY246" fmla="*/ 1797844 h 4305300"/>
                  <a:gd name="connsiteX247" fmla="*/ 8384381 w 8601075"/>
                  <a:gd name="connsiteY247" fmla="*/ 1828800 h 4305300"/>
                  <a:gd name="connsiteX248" fmla="*/ 8443913 w 8601075"/>
                  <a:gd name="connsiteY248" fmla="*/ 1828800 h 4305300"/>
                  <a:gd name="connsiteX249" fmla="*/ 8482012 w 8601075"/>
                  <a:gd name="connsiteY249" fmla="*/ 1809750 h 4305300"/>
                  <a:gd name="connsiteX250" fmla="*/ 8565356 w 8601075"/>
                  <a:gd name="connsiteY250" fmla="*/ 1812132 h 4305300"/>
                  <a:gd name="connsiteX251" fmla="*/ 8596313 w 8601075"/>
                  <a:gd name="connsiteY251" fmla="*/ 1766888 h 4305300"/>
                  <a:gd name="connsiteX252" fmla="*/ 8601075 w 8601075"/>
                  <a:gd name="connsiteY252" fmla="*/ 1704975 h 4305300"/>
                  <a:gd name="connsiteX253" fmla="*/ 8551068 w 8601075"/>
                  <a:gd name="connsiteY253" fmla="*/ 1664494 h 4305300"/>
                  <a:gd name="connsiteX254" fmla="*/ 8534400 w 8601075"/>
                  <a:gd name="connsiteY254" fmla="*/ 1609725 h 4305300"/>
                  <a:gd name="connsiteX255" fmla="*/ 8443913 w 8601075"/>
                  <a:gd name="connsiteY255" fmla="*/ 1547813 h 4305300"/>
                  <a:gd name="connsiteX256" fmla="*/ 8403431 w 8601075"/>
                  <a:gd name="connsiteY256" fmla="*/ 1526381 h 4305300"/>
                  <a:gd name="connsiteX257" fmla="*/ 8365331 w 8601075"/>
                  <a:gd name="connsiteY257" fmla="*/ 1481138 h 4305300"/>
                  <a:gd name="connsiteX258" fmla="*/ 8334375 w 8601075"/>
                  <a:gd name="connsiteY258" fmla="*/ 1478756 h 4305300"/>
                  <a:gd name="connsiteX259" fmla="*/ 8317706 w 8601075"/>
                  <a:gd name="connsiteY259" fmla="*/ 1426369 h 4305300"/>
                  <a:gd name="connsiteX260" fmla="*/ 8277225 w 8601075"/>
                  <a:gd name="connsiteY260" fmla="*/ 1409700 h 4305300"/>
                  <a:gd name="connsiteX261" fmla="*/ 8277225 w 8601075"/>
                  <a:gd name="connsiteY261" fmla="*/ 1409700 h 4305300"/>
                  <a:gd name="connsiteX262" fmla="*/ 8236744 w 8601075"/>
                  <a:gd name="connsiteY262" fmla="*/ 1414463 h 4305300"/>
                  <a:gd name="connsiteX263" fmla="*/ 8151018 w 8601075"/>
                  <a:gd name="connsiteY263" fmla="*/ 1340644 h 4305300"/>
                  <a:gd name="connsiteX264" fmla="*/ 7970044 w 8601075"/>
                  <a:gd name="connsiteY264" fmla="*/ 1340643 h 4305300"/>
                  <a:gd name="connsiteX265" fmla="*/ 7917656 w 8601075"/>
                  <a:gd name="connsiteY265" fmla="*/ 1378744 h 4305300"/>
                  <a:gd name="connsiteX266" fmla="*/ 7867650 w 8601075"/>
                  <a:gd name="connsiteY266" fmla="*/ 1457325 h 4305300"/>
                  <a:gd name="connsiteX267" fmla="*/ 7884319 w 8601075"/>
                  <a:gd name="connsiteY267" fmla="*/ 1478756 h 4305300"/>
                  <a:gd name="connsiteX268" fmla="*/ 7839075 w 8601075"/>
                  <a:gd name="connsiteY268" fmla="*/ 1528762 h 4305300"/>
                  <a:gd name="connsiteX269" fmla="*/ 7689056 w 8601075"/>
                  <a:gd name="connsiteY269" fmla="*/ 1452562 h 4305300"/>
                  <a:gd name="connsiteX270" fmla="*/ 7598569 w 8601075"/>
                  <a:gd name="connsiteY270" fmla="*/ 1488281 h 4305300"/>
                  <a:gd name="connsiteX271" fmla="*/ 7524750 w 8601075"/>
                  <a:gd name="connsiteY271" fmla="*/ 1485900 h 4305300"/>
                  <a:gd name="connsiteX272" fmla="*/ 7467600 w 8601075"/>
                  <a:gd name="connsiteY272" fmla="*/ 1581150 h 4305300"/>
                  <a:gd name="connsiteX273" fmla="*/ 7329488 w 8601075"/>
                  <a:gd name="connsiteY27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19975 w 8601075"/>
                  <a:gd name="connsiteY6" fmla="*/ 1047750 h 4305300"/>
                  <a:gd name="connsiteX7" fmla="*/ 7486650 w 8601075"/>
                  <a:gd name="connsiteY7" fmla="*/ 638175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486650 w 8601075"/>
                  <a:gd name="connsiteY7" fmla="*/ 638175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43775 w 8601075"/>
                  <a:gd name="connsiteY9" fmla="*/ 647700 h 4305300"/>
                  <a:gd name="connsiteX10" fmla="*/ 7172325 w 8601075"/>
                  <a:gd name="connsiteY10" fmla="*/ 742950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72325 w 8601075"/>
                  <a:gd name="connsiteY10" fmla="*/ 742950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00075 h 4305300"/>
                  <a:gd name="connsiteX14" fmla="*/ 6600825 w 8601075"/>
                  <a:gd name="connsiteY14" fmla="*/ 904875 h 4305300"/>
                  <a:gd name="connsiteX15" fmla="*/ 6600825 w 8601075"/>
                  <a:gd name="connsiteY15" fmla="*/ 904875 h 4305300"/>
                  <a:gd name="connsiteX16" fmla="*/ 6534150 w 8601075"/>
                  <a:gd name="connsiteY16" fmla="*/ 942975 h 4305300"/>
                  <a:gd name="connsiteX17" fmla="*/ 6534150 w 8601075"/>
                  <a:gd name="connsiteY17" fmla="*/ 942975 h 4305300"/>
                  <a:gd name="connsiteX18" fmla="*/ 6362700 w 8601075"/>
                  <a:gd name="connsiteY18" fmla="*/ 1009650 h 4305300"/>
                  <a:gd name="connsiteX19" fmla="*/ 6238875 w 8601075"/>
                  <a:gd name="connsiteY19" fmla="*/ 1057275 h 4305300"/>
                  <a:gd name="connsiteX20" fmla="*/ 6115050 w 8601075"/>
                  <a:gd name="connsiteY20" fmla="*/ 1114425 h 4305300"/>
                  <a:gd name="connsiteX21" fmla="*/ 5962650 w 8601075"/>
                  <a:gd name="connsiteY21" fmla="*/ 1190625 h 4305300"/>
                  <a:gd name="connsiteX22" fmla="*/ 5895975 w 8601075"/>
                  <a:gd name="connsiteY22" fmla="*/ 1143000 h 4305300"/>
                  <a:gd name="connsiteX23" fmla="*/ 5895975 w 8601075"/>
                  <a:gd name="connsiteY23" fmla="*/ 1143000 h 4305300"/>
                  <a:gd name="connsiteX24" fmla="*/ 5676900 w 8601075"/>
                  <a:gd name="connsiteY24" fmla="*/ 1181100 h 4305300"/>
                  <a:gd name="connsiteX25" fmla="*/ 5600700 w 8601075"/>
                  <a:gd name="connsiteY25" fmla="*/ 1114425 h 4305300"/>
                  <a:gd name="connsiteX26" fmla="*/ 5391150 w 8601075"/>
                  <a:gd name="connsiteY26" fmla="*/ 1123950 h 4305300"/>
                  <a:gd name="connsiteX27" fmla="*/ 5334000 w 8601075"/>
                  <a:gd name="connsiteY27" fmla="*/ 1066800 h 4305300"/>
                  <a:gd name="connsiteX28" fmla="*/ 5248275 w 8601075"/>
                  <a:gd name="connsiteY28" fmla="*/ 981075 h 4305300"/>
                  <a:gd name="connsiteX29" fmla="*/ 5238750 w 8601075"/>
                  <a:gd name="connsiteY29" fmla="*/ 895350 h 4305300"/>
                  <a:gd name="connsiteX30" fmla="*/ 5133975 w 8601075"/>
                  <a:gd name="connsiteY30" fmla="*/ 895350 h 4305300"/>
                  <a:gd name="connsiteX31" fmla="*/ 4991100 w 8601075"/>
                  <a:gd name="connsiteY31" fmla="*/ 838200 h 4305300"/>
                  <a:gd name="connsiteX32" fmla="*/ 4905375 w 8601075"/>
                  <a:gd name="connsiteY32" fmla="*/ 771525 h 4305300"/>
                  <a:gd name="connsiteX33" fmla="*/ 4905375 w 8601075"/>
                  <a:gd name="connsiteY33" fmla="*/ 771525 h 4305300"/>
                  <a:gd name="connsiteX34" fmla="*/ 4781550 w 8601075"/>
                  <a:gd name="connsiteY34" fmla="*/ 762000 h 4305300"/>
                  <a:gd name="connsiteX35" fmla="*/ 4648200 w 8601075"/>
                  <a:gd name="connsiteY35" fmla="*/ 714375 h 4305300"/>
                  <a:gd name="connsiteX36" fmla="*/ 4581525 w 8601075"/>
                  <a:gd name="connsiteY36" fmla="*/ 695325 h 4305300"/>
                  <a:gd name="connsiteX37" fmla="*/ 4495800 w 8601075"/>
                  <a:gd name="connsiteY37" fmla="*/ 742950 h 4305300"/>
                  <a:gd name="connsiteX38" fmla="*/ 4343400 w 8601075"/>
                  <a:gd name="connsiteY38" fmla="*/ 781050 h 4305300"/>
                  <a:gd name="connsiteX39" fmla="*/ 4252913 w 8601075"/>
                  <a:gd name="connsiteY39" fmla="*/ 862013 h 4305300"/>
                  <a:gd name="connsiteX40" fmla="*/ 4205287 w 8601075"/>
                  <a:gd name="connsiteY40" fmla="*/ 823913 h 4305300"/>
                  <a:gd name="connsiteX41" fmla="*/ 4183856 w 8601075"/>
                  <a:gd name="connsiteY41" fmla="*/ 854868 h 4305300"/>
                  <a:gd name="connsiteX42" fmla="*/ 4110038 w 8601075"/>
                  <a:gd name="connsiteY42" fmla="*/ 804863 h 4305300"/>
                  <a:gd name="connsiteX43" fmla="*/ 4071938 w 8601075"/>
                  <a:gd name="connsiteY43" fmla="*/ 812006 h 4305300"/>
                  <a:gd name="connsiteX44" fmla="*/ 4050506 w 8601075"/>
                  <a:gd name="connsiteY44" fmla="*/ 773906 h 4305300"/>
                  <a:gd name="connsiteX45" fmla="*/ 3990975 w 8601075"/>
                  <a:gd name="connsiteY45" fmla="*/ 778669 h 4305300"/>
                  <a:gd name="connsiteX46" fmla="*/ 3945731 w 8601075"/>
                  <a:gd name="connsiteY46" fmla="*/ 750094 h 4305300"/>
                  <a:gd name="connsiteX47" fmla="*/ 3907631 w 8601075"/>
                  <a:gd name="connsiteY47" fmla="*/ 747713 h 4305300"/>
                  <a:gd name="connsiteX48" fmla="*/ 3888581 w 8601075"/>
                  <a:gd name="connsiteY48" fmla="*/ 700087 h 4305300"/>
                  <a:gd name="connsiteX49" fmla="*/ 3874294 w 8601075"/>
                  <a:gd name="connsiteY49" fmla="*/ 669131 h 4305300"/>
                  <a:gd name="connsiteX50" fmla="*/ 3829050 w 8601075"/>
                  <a:gd name="connsiteY50" fmla="*/ 678656 h 4305300"/>
                  <a:gd name="connsiteX51" fmla="*/ 3810000 w 8601075"/>
                  <a:gd name="connsiteY51" fmla="*/ 642938 h 4305300"/>
                  <a:gd name="connsiteX52" fmla="*/ 3831432 w 8601075"/>
                  <a:gd name="connsiteY52" fmla="*/ 588169 h 4305300"/>
                  <a:gd name="connsiteX53" fmla="*/ 3800475 w 8601075"/>
                  <a:gd name="connsiteY53" fmla="*/ 561975 h 4305300"/>
                  <a:gd name="connsiteX54" fmla="*/ 3817144 w 8601075"/>
                  <a:gd name="connsiteY54" fmla="*/ 519113 h 4305300"/>
                  <a:gd name="connsiteX55" fmla="*/ 3790950 w 8601075"/>
                  <a:gd name="connsiteY55" fmla="*/ 476250 h 4305300"/>
                  <a:gd name="connsiteX56" fmla="*/ 3786188 w 8601075"/>
                  <a:gd name="connsiteY56" fmla="*/ 414338 h 4305300"/>
                  <a:gd name="connsiteX57" fmla="*/ 3810000 w 8601075"/>
                  <a:gd name="connsiteY57" fmla="*/ 350043 h 4305300"/>
                  <a:gd name="connsiteX58" fmla="*/ 3771900 w 8601075"/>
                  <a:gd name="connsiteY58" fmla="*/ 352425 h 4305300"/>
                  <a:gd name="connsiteX59" fmla="*/ 3652838 w 8601075"/>
                  <a:gd name="connsiteY59" fmla="*/ 295275 h 4305300"/>
                  <a:gd name="connsiteX60" fmla="*/ 3614737 w 8601075"/>
                  <a:gd name="connsiteY60" fmla="*/ 300037 h 4305300"/>
                  <a:gd name="connsiteX61" fmla="*/ 3409950 w 8601075"/>
                  <a:gd name="connsiteY61" fmla="*/ 190500 h 4305300"/>
                  <a:gd name="connsiteX62" fmla="*/ 3305175 w 8601075"/>
                  <a:gd name="connsiteY62" fmla="*/ 159544 h 4305300"/>
                  <a:gd name="connsiteX63" fmla="*/ 3240881 w 8601075"/>
                  <a:gd name="connsiteY63" fmla="*/ 169068 h 4305300"/>
                  <a:gd name="connsiteX64" fmla="*/ 3209925 w 8601075"/>
                  <a:gd name="connsiteY64" fmla="*/ 104775 h 4305300"/>
                  <a:gd name="connsiteX65" fmla="*/ 3152775 w 8601075"/>
                  <a:gd name="connsiteY65" fmla="*/ 104775 h 4305300"/>
                  <a:gd name="connsiteX66" fmla="*/ 3014662 w 8601075"/>
                  <a:gd name="connsiteY66" fmla="*/ 0 h 4305300"/>
                  <a:gd name="connsiteX67" fmla="*/ 2981325 w 8601075"/>
                  <a:gd name="connsiteY67" fmla="*/ 59532 h 4305300"/>
                  <a:gd name="connsiteX68" fmla="*/ 2926556 w 8601075"/>
                  <a:gd name="connsiteY68" fmla="*/ 128588 h 4305300"/>
                  <a:gd name="connsiteX69" fmla="*/ 2883694 w 8601075"/>
                  <a:gd name="connsiteY69" fmla="*/ 145256 h 4305300"/>
                  <a:gd name="connsiteX70" fmla="*/ 2852738 w 8601075"/>
                  <a:gd name="connsiteY70" fmla="*/ 138113 h 4305300"/>
                  <a:gd name="connsiteX71" fmla="*/ 2828925 w 8601075"/>
                  <a:gd name="connsiteY71" fmla="*/ 166688 h 4305300"/>
                  <a:gd name="connsiteX72" fmla="*/ 2802731 w 8601075"/>
                  <a:gd name="connsiteY72" fmla="*/ 245269 h 4305300"/>
                  <a:gd name="connsiteX73" fmla="*/ 2759869 w 8601075"/>
                  <a:gd name="connsiteY73" fmla="*/ 242888 h 4305300"/>
                  <a:gd name="connsiteX74" fmla="*/ 2728912 w 8601075"/>
                  <a:gd name="connsiteY74" fmla="*/ 304800 h 4305300"/>
                  <a:gd name="connsiteX75" fmla="*/ 2724150 w 8601075"/>
                  <a:gd name="connsiteY75" fmla="*/ 369094 h 4305300"/>
                  <a:gd name="connsiteX76" fmla="*/ 2697957 w 8601075"/>
                  <a:gd name="connsiteY76" fmla="*/ 407194 h 4305300"/>
                  <a:gd name="connsiteX77" fmla="*/ 2724150 w 8601075"/>
                  <a:gd name="connsiteY77" fmla="*/ 466725 h 4305300"/>
                  <a:gd name="connsiteX78" fmla="*/ 2726531 w 8601075"/>
                  <a:gd name="connsiteY78" fmla="*/ 535781 h 4305300"/>
                  <a:gd name="connsiteX79" fmla="*/ 2755106 w 8601075"/>
                  <a:gd name="connsiteY79" fmla="*/ 588169 h 4305300"/>
                  <a:gd name="connsiteX80" fmla="*/ 2802732 w 8601075"/>
                  <a:gd name="connsiteY80" fmla="*/ 642938 h 4305300"/>
                  <a:gd name="connsiteX81" fmla="*/ 2752725 w 8601075"/>
                  <a:gd name="connsiteY81" fmla="*/ 781050 h 4305300"/>
                  <a:gd name="connsiteX82" fmla="*/ 2683669 w 8601075"/>
                  <a:gd name="connsiteY82" fmla="*/ 847725 h 4305300"/>
                  <a:gd name="connsiteX83" fmla="*/ 2612231 w 8601075"/>
                  <a:gd name="connsiteY83" fmla="*/ 842963 h 4305300"/>
                  <a:gd name="connsiteX84" fmla="*/ 2574131 w 8601075"/>
                  <a:gd name="connsiteY84" fmla="*/ 900113 h 4305300"/>
                  <a:gd name="connsiteX85" fmla="*/ 2514600 w 8601075"/>
                  <a:gd name="connsiteY85" fmla="*/ 914400 h 4305300"/>
                  <a:gd name="connsiteX86" fmla="*/ 2445544 w 8601075"/>
                  <a:gd name="connsiteY86" fmla="*/ 854869 h 4305300"/>
                  <a:gd name="connsiteX87" fmla="*/ 2390775 w 8601075"/>
                  <a:gd name="connsiteY87" fmla="*/ 826294 h 4305300"/>
                  <a:gd name="connsiteX88" fmla="*/ 2347913 w 8601075"/>
                  <a:gd name="connsiteY88" fmla="*/ 840581 h 4305300"/>
                  <a:gd name="connsiteX89" fmla="*/ 2295525 w 8601075"/>
                  <a:gd name="connsiteY89" fmla="*/ 823913 h 4305300"/>
                  <a:gd name="connsiteX90" fmla="*/ 2228850 w 8601075"/>
                  <a:gd name="connsiteY90" fmla="*/ 769144 h 4305300"/>
                  <a:gd name="connsiteX91" fmla="*/ 2183606 w 8601075"/>
                  <a:gd name="connsiteY91" fmla="*/ 781050 h 4305300"/>
                  <a:gd name="connsiteX92" fmla="*/ 2162175 w 8601075"/>
                  <a:gd name="connsiteY92" fmla="*/ 750094 h 4305300"/>
                  <a:gd name="connsiteX93" fmla="*/ 2105025 w 8601075"/>
                  <a:gd name="connsiteY93" fmla="*/ 790575 h 4305300"/>
                  <a:gd name="connsiteX94" fmla="*/ 1988344 w 8601075"/>
                  <a:gd name="connsiteY94" fmla="*/ 769144 h 4305300"/>
                  <a:gd name="connsiteX95" fmla="*/ 1938338 w 8601075"/>
                  <a:gd name="connsiteY95" fmla="*/ 716756 h 4305300"/>
                  <a:gd name="connsiteX96" fmla="*/ 1895475 w 8601075"/>
                  <a:gd name="connsiteY96" fmla="*/ 702469 h 4305300"/>
                  <a:gd name="connsiteX97" fmla="*/ 1852613 w 8601075"/>
                  <a:gd name="connsiteY97" fmla="*/ 728663 h 4305300"/>
                  <a:gd name="connsiteX98" fmla="*/ 1800225 w 8601075"/>
                  <a:gd name="connsiteY98" fmla="*/ 638175 h 4305300"/>
                  <a:gd name="connsiteX99" fmla="*/ 1790700 w 8601075"/>
                  <a:gd name="connsiteY99" fmla="*/ 490537 h 4305300"/>
                  <a:gd name="connsiteX100" fmla="*/ 1738312 w 8601075"/>
                  <a:gd name="connsiteY100" fmla="*/ 483393 h 4305300"/>
                  <a:gd name="connsiteX101" fmla="*/ 1647825 w 8601075"/>
                  <a:gd name="connsiteY101" fmla="*/ 473869 h 4305300"/>
                  <a:gd name="connsiteX102" fmla="*/ 1593056 w 8601075"/>
                  <a:gd name="connsiteY102" fmla="*/ 435769 h 4305300"/>
                  <a:gd name="connsiteX103" fmla="*/ 1524000 w 8601075"/>
                  <a:gd name="connsiteY103" fmla="*/ 445294 h 4305300"/>
                  <a:gd name="connsiteX104" fmla="*/ 1478756 w 8601075"/>
                  <a:gd name="connsiteY104" fmla="*/ 419100 h 4305300"/>
                  <a:gd name="connsiteX105" fmla="*/ 1469232 w 8601075"/>
                  <a:gd name="connsiteY105" fmla="*/ 347663 h 4305300"/>
                  <a:gd name="connsiteX106" fmla="*/ 1445419 w 8601075"/>
                  <a:gd name="connsiteY106" fmla="*/ 333375 h 4305300"/>
                  <a:gd name="connsiteX107" fmla="*/ 1407319 w 8601075"/>
                  <a:gd name="connsiteY107" fmla="*/ 380999 h 4305300"/>
                  <a:gd name="connsiteX108" fmla="*/ 1328737 w 8601075"/>
                  <a:gd name="connsiteY108" fmla="*/ 307181 h 4305300"/>
                  <a:gd name="connsiteX109" fmla="*/ 1288256 w 8601075"/>
                  <a:gd name="connsiteY109" fmla="*/ 347663 h 4305300"/>
                  <a:gd name="connsiteX110" fmla="*/ 1212056 w 8601075"/>
                  <a:gd name="connsiteY110" fmla="*/ 333375 h 4305300"/>
                  <a:gd name="connsiteX111" fmla="*/ 1133475 w 8601075"/>
                  <a:gd name="connsiteY111" fmla="*/ 359569 h 4305300"/>
                  <a:gd name="connsiteX112" fmla="*/ 1073944 w 8601075"/>
                  <a:gd name="connsiteY112" fmla="*/ 407193 h 4305300"/>
                  <a:gd name="connsiteX113" fmla="*/ 1000125 w 8601075"/>
                  <a:gd name="connsiteY113" fmla="*/ 419100 h 4305300"/>
                  <a:gd name="connsiteX114" fmla="*/ 964406 w 8601075"/>
                  <a:gd name="connsiteY114" fmla="*/ 411956 h 4305300"/>
                  <a:gd name="connsiteX115" fmla="*/ 885826 w 8601075"/>
                  <a:gd name="connsiteY115" fmla="*/ 442913 h 4305300"/>
                  <a:gd name="connsiteX116" fmla="*/ 864394 w 8601075"/>
                  <a:gd name="connsiteY116" fmla="*/ 471488 h 4305300"/>
                  <a:gd name="connsiteX117" fmla="*/ 797719 w 8601075"/>
                  <a:gd name="connsiteY117" fmla="*/ 461963 h 4305300"/>
                  <a:gd name="connsiteX118" fmla="*/ 728663 w 8601075"/>
                  <a:gd name="connsiteY118" fmla="*/ 485775 h 4305300"/>
                  <a:gd name="connsiteX119" fmla="*/ 673894 w 8601075"/>
                  <a:gd name="connsiteY119" fmla="*/ 523875 h 4305300"/>
                  <a:gd name="connsiteX120" fmla="*/ 578644 w 8601075"/>
                  <a:gd name="connsiteY120" fmla="*/ 538162 h 4305300"/>
                  <a:gd name="connsiteX121" fmla="*/ 564356 w 8601075"/>
                  <a:gd name="connsiteY121" fmla="*/ 559594 h 4305300"/>
                  <a:gd name="connsiteX122" fmla="*/ 576262 w 8601075"/>
                  <a:gd name="connsiteY122" fmla="*/ 604838 h 4305300"/>
                  <a:gd name="connsiteX123" fmla="*/ 476251 w 8601075"/>
                  <a:gd name="connsiteY123" fmla="*/ 657225 h 4305300"/>
                  <a:gd name="connsiteX124" fmla="*/ 438150 w 8601075"/>
                  <a:gd name="connsiteY124" fmla="*/ 628649 h 4305300"/>
                  <a:gd name="connsiteX125" fmla="*/ 407194 w 8601075"/>
                  <a:gd name="connsiteY125" fmla="*/ 685800 h 4305300"/>
                  <a:gd name="connsiteX126" fmla="*/ 350044 w 8601075"/>
                  <a:gd name="connsiteY126" fmla="*/ 647700 h 4305300"/>
                  <a:gd name="connsiteX127" fmla="*/ 314325 w 8601075"/>
                  <a:gd name="connsiteY127" fmla="*/ 676275 h 4305300"/>
                  <a:gd name="connsiteX128" fmla="*/ 278606 w 8601075"/>
                  <a:gd name="connsiteY128" fmla="*/ 640556 h 4305300"/>
                  <a:gd name="connsiteX129" fmla="*/ 226219 w 8601075"/>
                  <a:gd name="connsiteY129" fmla="*/ 652463 h 4305300"/>
                  <a:gd name="connsiteX130" fmla="*/ 180975 w 8601075"/>
                  <a:gd name="connsiteY130" fmla="*/ 623888 h 4305300"/>
                  <a:gd name="connsiteX131" fmla="*/ 157163 w 8601075"/>
                  <a:gd name="connsiteY131" fmla="*/ 642938 h 4305300"/>
                  <a:gd name="connsiteX132" fmla="*/ 133350 w 8601075"/>
                  <a:gd name="connsiteY132" fmla="*/ 702469 h 4305300"/>
                  <a:gd name="connsiteX133" fmla="*/ 61913 w 8601075"/>
                  <a:gd name="connsiteY133" fmla="*/ 740568 h 4305300"/>
                  <a:gd name="connsiteX134" fmla="*/ 28575 w 8601075"/>
                  <a:gd name="connsiteY134" fmla="*/ 769144 h 4305300"/>
                  <a:gd name="connsiteX135" fmla="*/ 33338 w 8601075"/>
                  <a:gd name="connsiteY135" fmla="*/ 812006 h 4305300"/>
                  <a:gd name="connsiteX136" fmla="*/ 0 w 8601075"/>
                  <a:gd name="connsiteY136" fmla="*/ 816769 h 4305300"/>
                  <a:gd name="connsiteX137" fmla="*/ 4763 w 8601075"/>
                  <a:gd name="connsiteY137" fmla="*/ 840581 h 4305300"/>
                  <a:gd name="connsiteX138" fmla="*/ 61912 w 8601075"/>
                  <a:gd name="connsiteY138" fmla="*/ 914400 h 4305300"/>
                  <a:gd name="connsiteX139" fmla="*/ 23813 w 8601075"/>
                  <a:gd name="connsiteY139" fmla="*/ 962025 h 4305300"/>
                  <a:gd name="connsiteX140" fmla="*/ 78581 w 8601075"/>
                  <a:gd name="connsiteY140" fmla="*/ 997744 h 4305300"/>
                  <a:gd name="connsiteX141" fmla="*/ 169069 w 8601075"/>
                  <a:gd name="connsiteY141" fmla="*/ 1085850 h 4305300"/>
                  <a:gd name="connsiteX142" fmla="*/ 171450 w 8601075"/>
                  <a:gd name="connsiteY142" fmla="*/ 1145381 h 4305300"/>
                  <a:gd name="connsiteX143" fmla="*/ 307181 w 8601075"/>
                  <a:gd name="connsiteY143" fmla="*/ 1278732 h 4305300"/>
                  <a:gd name="connsiteX144" fmla="*/ 361950 w 8601075"/>
                  <a:gd name="connsiteY144" fmla="*/ 1254919 h 4305300"/>
                  <a:gd name="connsiteX145" fmla="*/ 400050 w 8601075"/>
                  <a:gd name="connsiteY145" fmla="*/ 1281112 h 4305300"/>
                  <a:gd name="connsiteX146" fmla="*/ 414338 w 8601075"/>
                  <a:gd name="connsiteY146" fmla="*/ 1331118 h 4305300"/>
                  <a:gd name="connsiteX147" fmla="*/ 457200 w 8601075"/>
                  <a:gd name="connsiteY147" fmla="*/ 1366838 h 4305300"/>
                  <a:gd name="connsiteX148" fmla="*/ 497681 w 8601075"/>
                  <a:gd name="connsiteY148" fmla="*/ 1354931 h 4305300"/>
                  <a:gd name="connsiteX149" fmla="*/ 516731 w 8601075"/>
                  <a:gd name="connsiteY149" fmla="*/ 1412081 h 4305300"/>
                  <a:gd name="connsiteX150" fmla="*/ 564356 w 8601075"/>
                  <a:gd name="connsiteY150" fmla="*/ 1454944 h 4305300"/>
                  <a:gd name="connsiteX151" fmla="*/ 588169 w 8601075"/>
                  <a:gd name="connsiteY151" fmla="*/ 1557338 h 4305300"/>
                  <a:gd name="connsiteX152" fmla="*/ 585788 w 8601075"/>
                  <a:gd name="connsiteY152" fmla="*/ 1604963 h 4305300"/>
                  <a:gd name="connsiteX153" fmla="*/ 621506 w 8601075"/>
                  <a:gd name="connsiteY153" fmla="*/ 1704975 h 4305300"/>
                  <a:gd name="connsiteX154" fmla="*/ 666750 w 8601075"/>
                  <a:gd name="connsiteY154" fmla="*/ 1762125 h 4305300"/>
                  <a:gd name="connsiteX155" fmla="*/ 683418 w 8601075"/>
                  <a:gd name="connsiteY155" fmla="*/ 1919287 h 4305300"/>
                  <a:gd name="connsiteX156" fmla="*/ 650081 w 8601075"/>
                  <a:gd name="connsiteY156" fmla="*/ 1981200 h 4305300"/>
                  <a:gd name="connsiteX157" fmla="*/ 619125 w 8601075"/>
                  <a:gd name="connsiteY157" fmla="*/ 2057400 h 4305300"/>
                  <a:gd name="connsiteX158" fmla="*/ 633413 w 8601075"/>
                  <a:gd name="connsiteY158" fmla="*/ 2114550 h 4305300"/>
                  <a:gd name="connsiteX159" fmla="*/ 535781 w 8601075"/>
                  <a:gd name="connsiteY159" fmla="*/ 2221707 h 4305300"/>
                  <a:gd name="connsiteX160" fmla="*/ 492919 w 8601075"/>
                  <a:gd name="connsiteY160" fmla="*/ 2336006 h 4305300"/>
                  <a:gd name="connsiteX161" fmla="*/ 526256 w 8601075"/>
                  <a:gd name="connsiteY161" fmla="*/ 2376488 h 4305300"/>
                  <a:gd name="connsiteX162" fmla="*/ 509588 w 8601075"/>
                  <a:gd name="connsiteY162" fmla="*/ 2405063 h 4305300"/>
                  <a:gd name="connsiteX163" fmla="*/ 540544 w 8601075"/>
                  <a:gd name="connsiteY163" fmla="*/ 2462213 h 4305300"/>
                  <a:gd name="connsiteX164" fmla="*/ 569119 w 8601075"/>
                  <a:gd name="connsiteY164" fmla="*/ 2462213 h 4305300"/>
                  <a:gd name="connsiteX165" fmla="*/ 731044 w 8601075"/>
                  <a:gd name="connsiteY165" fmla="*/ 2564606 h 4305300"/>
                  <a:gd name="connsiteX166" fmla="*/ 835819 w 8601075"/>
                  <a:gd name="connsiteY166" fmla="*/ 2562225 h 4305300"/>
                  <a:gd name="connsiteX167" fmla="*/ 914400 w 8601075"/>
                  <a:gd name="connsiteY167" fmla="*/ 2616994 h 4305300"/>
                  <a:gd name="connsiteX168" fmla="*/ 1045368 w 8601075"/>
                  <a:gd name="connsiteY168" fmla="*/ 2619375 h 4305300"/>
                  <a:gd name="connsiteX169" fmla="*/ 1235868 w 8601075"/>
                  <a:gd name="connsiteY169" fmla="*/ 2688431 h 4305300"/>
                  <a:gd name="connsiteX170" fmla="*/ 1438275 w 8601075"/>
                  <a:gd name="connsiteY170" fmla="*/ 2838450 h 4305300"/>
                  <a:gd name="connsiteX171" fmla="*/ 1471612 w 8601075"/>
                  <a:gd name="connsiteY171" fmla="*/ 2905125 h 4305300"/>
                  <a:gd name="connsiteX172" fmla="*/ 1638300 w 8601075"/>
                  <a:gd name="connsiteY172" fmla="*/ 3031331 h 4305300"/>
                  <a:gd name="connsiteX173" fmla="*/ 1709738 w 8601075"/>
                  <a:gd name="connsiteY173" fmla="*/ 3026569 h 4305300"/>
                  <a:gd name="connsiteX174" fmla="*/ 1745457 w 8601075"/>
                  <a:gd name="connsiteY174" fmla="*/ 3050381 h 4305300"/>
                  <a:gd name="connsiteX175" fmla="*/ 1716881 w 8601075"/>
                  <a:gd name="connsiteY175" fmla="*/ 3090863 h 4305300"/>
                  <a:gd name="connsiteX176" fmla="*/ 1724025 w 8601075"/>
                  <a:gd name="connsiteY176" fmla="*/ 3143250 h 4305300"/>
                  <a:gd name="connsiteX177" fmla="*/ 1776413 w 8601075"/>
                  <a:gd name="connsiteY177" fmla="*/ 3169444 h 4305300"/>
                  <a:gd name="connsiteX178" fmla="*/ 1838325 w 8601075"/>
                  <a:gd name="connsiteY178" fmla="*/ 3393282 h 4305300"/>
                  <a:gd name="connsiteX179" fmla="*/ 1828800 w 8601075"/>
                  <a:gd name="connsiteY179" fmla="*/ 3457575 h 4305300"/>
                  <a:gd name="connsiteX180" fmla="*/ 1964531 w 8601075"/>
                  <a:gd name="connsiteY180" fmla="*/ 3624263 h 4305300"/>
                  <a:gd name="connsiteX181" fmla="*/ 1983581 w 8601075"/>
                  <a:gd name="connsiteY181" fmla="*/ 3674269 h 4305300"/>
                  <a:gd name="connsiteX182" fmla="*/ 1957388 w 8601075"/>
                  <a:gd name="connsiteY182" fmla="*/ 3693319 h 4305300"/>
                  <a:gd name="connsiteX183" fmla="*/ 2059781 w 8601075"/>
                  <a:gd name="connsiteY183" fmla="*/ 3702844 h 4305300"/>
                  <a:gd name="connsiteX184" fmla="*/ 2171700 w 8601075"/>
                  <a:gd name="connsiteY184" fmla="*/ 3690938 h 4305300"/>
                  <a:gd name="connsiteX185" fmla="*/ 2450306 w 8601075"/>
                  <a:gd name="connsiteY185" fmla="*/ 3774281 h 4305300"/>
                  <a:gd name="connsiteX186" fmla="*/ 2857500 w 8601075"/>
                  <a:gd name="connsiteY186" fmla="*/ 3855244 h 4305300"/>
                  <a:gd name="connsiteX187" fmla="*/ 3055144 w 8601075"/>
                  <a:gd name="connsiteY187" fmla="*/ 3824287 h 4305300"/>
                  <a:gd name="connsiteX188" fmla="*/ 3100388 w 8601075"/>
                  <a:gd name="connsiteY188" fmla="*/ 3836193 h 4305300"/>
                  <a:gd name="connsiteX189" fmla="*/ 3155156 w 8601075"/>
                  <a:gd name="connsiteY189" fmla="*/ 3812382 h 4305300"/>
                  <a:gd name="connsiteX190" fmla="*/ 3548062 w 8601075"/>
                  <a:gd name="connsiteY190" fmla="*/ 3902869 h 4305300"/>
                  <a:gd name="connsiteX191" fmla="*/ 3631407 w 8601075"/>
                  <a:gd name="connsiteY191" fmla="*/ 4000500 h 4305300"/>
                  <a:gd name="connsiteX192" fmla="*/ 3750469 w 8601075"/>
                  <a:gd name="connsiteY192" fmla="*/ 4071938 h 4305300"/>
                  <a:gd name="connsiteX193" fmla="*/ 3810000 w 8601075"/>
                  <a:gd name="connsiteY193" fmla="*/ 4055269 h 4305300"/>
                  <a:gd name="connsiteX194" fmla="*/ 4160043 w 8601075"/>
                  <a:gd name="connsiteY194" fmla="*/ 4229100 h 4305300"/>
                  <a:gd name="connsiteX195" fmla="*/ 4386263 w 8601075"/>
                  <a:gd name="connsiteY195" fmla="*/ 4200525 h 4305300"/>
                  <a:gd name="connsiteX196" fmla="*/ 4395788 w 8601075"/>
                  <a:gd name="connsiteY196" fmla="*/ 4279106 h 4305300"/>
                  <a:gd name="connsiteX197" fmla="*/ 4481513 w 8601075"/>
                  <a:gd name="connsiteY197" fmla="*/ 4274343 h 4305300"/>
                  <a:gd name="connsiteX198" fmla="*/ 4560094 w 8601075"/>
                  <a:gd name="connsiteY198" fmla="*/ 4305300 h 4305300"/>
                  <a:gd name="connsiteX199" fmla="*/ 4602956 w 8601075"/>
                  <a:gd name="connsiteY199" fmla="*/ 4245769 h 4305300"/>
                  <a:gd name="connsiteX200" fmla="*/ 5274469 w 8601075"/>
                  <a:gd name="connsiteY200" fmla="*/ 3926681 h 4305300"/>
                  <a:gd name="connsiteX201" fmla="*/ 5362575 w 8601075"/>
                  <a:gd name="connsiteY201" fmla="*/ 3955257 h 4305300"/>
                  <a:gd name="connsiteX202" fmla="*/ 5493544 w 8601075"/>
                  <a:gd name="connsiteY202" fmla="*/ 3926681 h 4305300"/>
                  <a:gd name="connsiteX203" fmla="*/ 5672137 w 8601075"/>
                  <a:gd name="connsiteY203" fmla="*/ 3943350 h 4305300"/>
                  <a:gd name="connsiteX204" fmla="*/ 5729288 w 8601075"/>
                  <a:gd name="connsiteY204" fmla="*/ 3917157 h 4305300"/>
                  <a:gd name="connsiteX205" fmla="*/ 5862637 w 8601075"/>
                  <a:gd name="connsiteY205" fmla="*/ 3914775 h 4305300"/>
                  <a:gd name="connsiteX206" fmla="*/ 5995987 w 8601075"/>
                  <a:gd name="connsiteY206" fmla="*/ 3817144 h 4305300"/>
                  <a:gd name="connsiteX207" fmla="*/ 6062662 w 8601075"/>
                  <a:gd name="connsiteY207" fmla="*/ 3810000 h 4305300"/>
                  <a:gd name="connsiteX208" fmla="*/ 6160294 w 8601075"/>
                  <a:gd name="connsiteY208" fmla="*/ 3736181 h 4305300"/>
                  <a:gd name="connsiteX209" fmla="*/ 6234113 w 8601075"/>
                  <a:gd name="connsiteY209" fmla="*/ 3667125 h 4305300"/>
                  <a:gd name="connsiteX210" fmla="*/ 6243638 w 8601075"/>
                  <a:gd name="connsiteY210" fmla="*/ 3605213 h 4305300"/>
                  <a:gd name="connsiteX211" fmla="*/ 6276975 w 8601075"/>
                  <a:gd name="connsiteY211" fmla="*/ 3536156 h 4305300"/>
                  <a:gd name="connsiteX212" fmla="*/ 6429375 w 8601075"/>
                  <a:gd name="connsiteY212" fmla="*/ 3429000 h 4305300"/>
                  <a:gd name="connsiteX213" fmla="*/ 6462713 w 8601075"/>
                  <a:gd name="connsiteY213" fmla="*/ 3433763 h 4305300"/>
                  <a:gd name="connsiteX214" fmla="*/ 6515100 w 8601075"/>
                  <a:gd name="connsiteY214" fmla="*/ 3355181 h 4305300"/>
                  <a:gd name="connsiteX215" fmla="*/ 6562725 w 8601075"/>
                  <a:gd name="connsiteY215" fmla="*/ 3317081 h 4305300"/>
                  <a:gd name="connsiteX216" fmla="*/ 6548438 w 8601075"/>
                  <a:gd name="connsiteY216" fmla="*/ 3248025 h 4305300"/>
                  <a:gd name="connsiteX217" fmla="*/ 6498431 w 8601075"/>
                  <a:gd name="connsiteY217" fmla="*/ 3217068 h 4305300"/>
                  <a:gd name="connsiteX218" fmla="*/ 6438900 w 8601075"/>
                  <a:gd name="connsiteY218" fmla="*/ 3162300 h 4305300"/>
                  <a:gd name="connsiteX219" fmla="*/ 6419850 w 8601075"/>
                  <a:gd name="connsiteY219" fmla="*/ 3105150 h 4305300"/>
                  <a:gd name="connsiteX220" fmla="*/ 6384131 w 8601075"/>
                  <a:gd name="connsiteY220" fmla="*/ 3071813 h 4305300"/>
                  <a:gd name="connsiteX221" fmla="*/ 6410325 w 8601075"/>
                  <a:gd name="connsiteY221" fmla="*/ 3019425 h 4305300"/>
                  <a:gd name="connsiteX222" fmla="*/ 6450806 w 8601075"/>
                  <a:gd name="connsiteY222" fmla="*/ 2840831 h 4305300"/>
                  <a:gd name="connsiteX223" fmla="*/ 6491288 w 8601075"/>
                  <a:gd name="connsiteY223" fmla="*/ 2774156 h 4305300"/>
                  <a:gd name="connsiteX224" fmla="*/ 6636544 w 8601075"/>
                  <a:gd name="connsiteY224" fmla="*/ 2757487 h 4305300"/>
                  <a:gd name="connsiteX225" fmla="*/ 6705600 w 8601075"/>
                  <a:gd name="connsiteY225" fmla="*/ 2814638 h 4305300"/>
                  <a:gd name="connsiteX226" fmla="*/ 6781800 w 8601075"/>
                  <a:gd name="connsiteY226" fmla="*/ 2838450 h 4305300"/>
                  <a:gd name="connsiteX227" fmla="*/ 6986587 w 8601075"/>
                  <a:gd name="connsiteY227" fmla="*/ 2843213 h 4305300"/>
                  <a:gd name="connsiteX228" fmla="*/ 7162800 w 8601075"/>
                  <a:gd name="connsiteY228" fmla="*/ 2705100 h 4305300"/>
                  <a:gd name="connsiteX229" fmla="*/ 7219950 w 8601075"/>
                  <a:gd name="connsiteY229" fmla="*/ 2614612 h 4305300"/>
                  <a:gd name="connsiteX230" fmla="*/ 7246144 w 8601075"/>
                  <a:gd name="connsiteY230" fmla="*/ 2531269 h 4305300"/>
                  <a:gd name="connsiteX231" fmla="*/ 7377112 w 8601075"/>
                  <a:gd name="connsiteY231" fmla="*/ 2531269 h 4305300"/>
                  <a:gd name="connsiteX232" fmla="*/ 7550944 w 8601075"/>
                  <a:gd name="connsiteY232" fmla="*/ 2474118 h 4305300"/>
                  <a:gd name="connsiteX233" fmla="*/ 7610475 w 8601075"/>
                  <a:gd name="connsiteY233" fmla="*/ 2362200 h 4305300"/>
                  <a:gd name="connsiteX234" fmla="*/ 7674769 w 8601075"/>
                  <a:gd name="connsiteY234" fmla="*/ 2326481 h 4305300"/>
                  <a:gd name="connsiteX235" fmla="*/ 7653338 w 8601075"/>
                  <a:gd name="connsiteY235" fmla="*/ 2281238 h 4305300"/>
                  <a:gd name="connsiteX236" fmla="*/ 7731919 w 8601075"/>
                  <a:gd name="connsiteY236" fmla="*/ 2112168 h 4305300"/>
                  <a:gd name="connsiteX237" fmla="*/ 7786688 w 8601075"/>
                  <a:gd name="connsiteY237" fmla="*/ 2052638 h 4305300"/>
                  <a:gd name="connsiteX238" fmla="*/ 7824788 w 8601075"/>
                  <a:gd name="connsiteY238" fmla="*/ 2047875 h 4305300"/>
                  <a:gd name="connsiteX239" fmla="*/ 7870031 w 8601075"/>
                  <a:gd name="connsiteY239" fmla="*/ 2052638 h 4305300"/>
                  <a:gd name="connsiteX240" fmla="*/ 7934325 w 8601075"/>
                  <a:gd name="connsiteY240" fmla="*/ 2019300 h 4305300"/>
                  <a:gd name="connsiteX241" fmla="*/ 7943850 w 8601075"/>
                  <a:gd name="connsiteY241" fmla="*/ 1955006 h 4305300"/>
                  <a:gd name="connsiteX242" fmla="*/ 7984330 w 8601075"/>
                  <a:gd name="connsiteY242" fmla="*/ 1919288 h 4305300"/>
                  <a:gd name="connsiteX243" fmla="*/ 8043863 w 8601075"/>
                  <a:gd name="connsiteY243" fmla="*/ 1959768 h 4305300"/>
                  <a:gd name="connsiteX244" fmla="*/ 8070057 w 8601075"/>
                  <a:gd name="connsiteY244" fmla="*/ 1909762 h 4305300"/>
                  <a:gd name="connsiteX245" fmla="*/ 8165306 w 8601075"/>
                  <a:gd name="connsiteY245" fmla="*/ 1840706 h 4305300"/>
                  <a:gd name="connsiteX246" fmla="*/ 8227219 w 8601075"/>
                  <a:gd name="connsiteY246" fmla="*/ 1847850 h 4305300"/>
                  <a:gd name="connsiteX247" fmla="*/ 8277225 w 8601075"/>
                  <a:gd name="connsiteY247" fmla="*/ 1828800 h 4305300"/>
                  <a:gd name="connsiteX248" fmla="*/ 8315325 w 8601075"/>
                  <a:gd name="connsiteY248" fmla="*/ 1800225 h 4305300"/>
                  <a:gd name="connsiteX249" fmla="*/ 8348663 w 8601075"/>
                  <a:gd name="connsiteY249" fmla="*/ 1797844 h 4305300"/>
                  <a:gd name="connsiteX250" fmla="*/ 8384381 w 8601075"/>
                  <a:gd name="connsiteY250" fmla="*/ 1828800 h 4305300"/>
                  <a:gd name="connsiteX251" fmla="*/ 8443913 w 8601075"/>
                  <a:gd name="connsiteY251" fmla="*/ 1828800 h 4305300"/>
                  <a:gd name="connsiteX252" fmla="*/ 8482012 w 8601075"/>
                  <a:gd name="connsiteY252" fmla="*/ 1809750 h 4305300"/>
                  <a:gd name="connsiteX253" fmla="*/ 8565356 w 8601075"/>
                  <a:gd name="connsiteY253" fmla="*/ 1812132 h 4305300"/>
                  <a:gd name="connsiteX254" fmla="*/ 8596313 w 8601075"/>
                  <a:gd name="connsiteY254" fmla="*/ 1766888 h 4305300"/>
                  <a:gd name="connsiteX255" fmla="*/ 8601075 w 8601075"/>
                  <a:gd name="connsiteY255" fmla="*/ 1704975 h 4305300"/>
                  <a:gd name="connsiteX256" fmla="*/ 8551068 w 8601075"/>
                  <a:gd name="connsiteY256" fmla="*/ 1664494 h 4305300"/>
                  <a:gd name="connsiteX257" fmla="*/ 8534400 w 8601075"/>
                  <a:gd name="connsiteY257" fmla="*/ 1609725 h 4305300"/>
                  <a:gd name="connsiteX258" fmla="*/ 8443913 w 8601075"/>
                  <a:gd name="connsiteY258" fmla="*/ 1547813 h 4305300"/>
                  <a:gd name="connsiteX259" fmla="*/ 8403431 w 8601075"/>
                  <a:gd name="connsiteY259" fmla="*/ 1526381 h 4305300"/>
                  <a:gd name="connsiteX260" fmla="*/ 8365331 w 8601075"/>
                  <a:gd name="connsiteY260" fmla="*/ 1481138 h 4305300"/>
                  <a:gd name="connsiteX261" fmla="*/ 8334375 w 8601075"/>
                  <a:gd name="connsiteY261" fmla="*/ 1478756 h 4305300"/>
                  <a:gd name="connsiteX262" fmla="*/ 8317706 w 8601075"/>
                  <a:gd name="connsiteY262" fmla="*/ 1426369 h 4305300"/>
                  <a:gd name="connsiteX263" fmla="*/ 8277225 w 8601075"/>
                  <a:gd name="connsiteY263" fmla="*/ 1409700 h 4305300"/>
                  <a:gd name="connsiteX264" fmla="*/ 8277225 w 8601075"/>
                  <a:gd name="connsiteY264" fmla="*/ 1409700 h 4305300"/>
                  <a:gd name="connsiteX265" fmla="*/ 8236744 w 8601075"/>
                  <a:gd name="connsiteY265" fmla="*/ 1414463 h 4305300"/>
                  <a:gd name="connsiteX266" fmla="*/ 8151018 w 8601075"/>
                  <a:gd name="connsiteY266" fmla="*/ 1340644 h 4305300"/>
                  <a:gd name="connsiteX267" fmla="*/ 7970044 w 8601075"/>
                  <a:gd name="connsiteY267" fmla="*/ 1340643 h 4305300"/>
                  <a:gd name="connsiteX268" fmla="*/ 7917656 w 8601075"/>
                  <a:gd name="connsiteY268" fmla="*/ 1378744 h 4305300"/>
                  <a:gd name="connsiteX269" fmla="*/ 7867650 w 8601075"/>
                  <a:gd name="connsiteY269" fmla="*/ 1457325 h 4305300"/>
                  <a:gd name="connsiteX270" fmla="*/ 7884319 w 8601075"/>
                  <a:gd name="connsiteY270" fmla="*/ 1478756 h 4305300"/>
                  <a:gd name="connsiteX271" fmla="*/ 7839075 w 8601075"/>
                  <a:gd name="connsiteY271" fmla="*/ 1528762 h 4305300"/>
                  <a:gd name="connsiteX272" fmla="*/ 7689056 w 8601075"/>
                  <a:gd name="connsiteY272" fmla="*/ 1452562 h 4305300"/>
                  <a:gd name="connsiteX273" fmla="*/ 7598569 w 8601075"/>
                  <a:gd name="connsiteY273" fmla="*/ 1488281 h 4305300"/>
                  <a:gd name="connsiteX274" fmla="*/ 7524750 w 8601075"/>
                  <a:gd name="connsiteY274" fmla="*/ 1485900 h 4305300"/>
                  <a:gd name="connsiteX275" fmla="*/ 7467600 w 8601075"/>
                  <a:gd name="connsiteY275" fmla="*/ 1581150 h 4305300"/>
                  <a:gd name="connsiteX276" fmla="*/ 7329488 w 8601075"/>
                  <a:gd name="connsiteY276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600825 w 8601075"/>
                  <a:gd name="connsiteY14" fmla="*/ 904875 h 4305300"/>
                  <a:gd name="connsiteX15" fmla="*/ 6600825 w 8601075"/>
                  <a:gd name="connsiteY15" fmla="*/ 904875 h 4305300"/>
                  <a:gd name="connsiteX16" fmla="*/ 6534150 w 8601075"/>
                  <a:gd name="connsiteY16" fmla="*/ 942975 h 4305300"/>
                  <a:gd name="connsiteX17" fmla="*/ 6534150 w 8601075"/>
                  <a:gd name="connsiteY17" fmla="*/ 942975 h 4305300"/>
                  <a:gd name="connsiteX18" fmla="*/ 6362700 w 8601075"/>
                  <a:gd name="connsiteY18" fmla="*/ 1009650 h 4305300"/>
                  <a:gd name="connsiteX19" fmla="*/ 6238875 w 8601075"/>
                  <a:gd name="connsiteY19" fmla="*/ 1057275 h 4305300"/>
                  <a:gd name="connsiteX20" fmla="*/ 6115050 w 8601075"/>
                  <a:gd name="connsiteY20" fmla="*/ 1114425 h 4305300"/>
                  <a:gd name="connsiteX21" fmla="*/ 5962650 w 8601075"/>
                  <a:gd name="connsiteY21" fmla="*/ 1190625 h 4305300"/>
                  <a:gd name="connsiteX22" fmla="*/ 5895975 w 8601075"/>
                  <a:gd name="connsiteY22" fmla="*/ 1143000 h 4305300"/>
                  <a:gd name="connsiteX23" fmla="*/ 5895975 w 8601075"/>
                  <a:gd name="connsiteY23" fmla="*/ 1143000 h 4305300"/>
                  <a:gd name="connsiteX24" fmla="*/ 5676900 w 8601075"/>
                  <a:gd name="connsiteY24" fmla="*/ 1181100 h 4305300"/>
                  <a:gd name="connsiteX25" fmla="*/ 5600700 w 8601075"/>
                  <a:gd name="connsiteY25" fmla="*/ 1114425 h 4305300"/>
                  <a:gd name="connsiteX26" fmla="*/ 5391150 w 8601075"/>
                  <a:gd name="connsiteY26" fmla="*/ 1123950 h 4305300"/>
                  <a:gd name="connsiteX27" fmla="*/ 5334000 w 8601075"/>
                  <a:gd name="connsiteY27" fmla="*/ 1066800 h 4305300"/>
                  <a:gd name="connsiteX28" fmla="*/ 5248275 w 8601075"/>
                  <a:gd name="connsiteY28" fmla="*/ 981075 h 4305300"/>
                  <a:gd name="connsiteX29" fmla="*/ 5238750 w 8601075"/>
                  <a:gd name="connsiteY29" fmla="*/ 895350 h 4305300"/>
                  <a:gd name="connsiteX30" fmla="*/ 5133975 w 8601075"/>
                  <a:gd name="connsiteY30" fmla="*/ 895350 h 4305300"/>
                  <a:gd name="connsiteX31" fmla="*/ 4991100 w 8601075"/>
                  <a:gd name="connsiteY31" fmla="*/ 838200 h 4305300"/>
                  <a:gd name="connsiteX32" fmla="*/ 4905375 w 8601075"/>
                  <a:gd name="connsiteY32" fmla="*/ 771525 h 4305300"/>
                  <a:gd name="connsiteX33" fmla="*/ 4905375 w 8601075"/>
                  <a:gd name="connsiteY33" fmla="*/ 771525 h 4305300"/>
                  <a:gd name="connsiteX34" fmla="*/ 4781550 w 8601075"/>
                  <a:gd name="connsiteY34" fmla="*/ 762000 h 4305300"/>
                  <a:gd name="connsiteX35" fmla="*/ 4648200 w 8601075"/>
                  <a:gd name="connsiteY35" fmla="*/ 714375 h 4305300"/>
                  <a:gd name="connsiteX36" fmla="*/ 4581525 w 8601075"/>
                  <a:gd name="connsiteY36" fmla="*/ 695325 h 4305300"/>
                  <a:gd name="connsiteX37" fmla="*/ 4495800 w 8601075"/>
                  <a:gd name="connsiteY37" fmla="*/ 742950 h 4305300"/>
                  <a:gd name="connsiteX38" fmla="*/ 4343400 w 8601075"/>
                  <a:gd name="connsiteY38" fmla="*/ 781050 h 4305300"/>
                  <a:gd name="connsiteX39" fmla="*/ 4252913 w 8601075"/>
                  <a:gd name="connsiteY39" fmla="*/ 862013 h 4305300"/>
                  <a:gd name="connsiteX40" fmla="*/ 4205287 w 8601075"/>
                  <a:gd name="connsiteY40" fmla="*/ 823913 h 4305300"/>
                  <a:gd name="connsiteX41" fmla="*/ 4183856 w 8601075"/>
                  <a:gd name="connsiteY41" fmla="*/ 854868 h 4305300"/>
                  <a:gd name="connsiteX42" fmla="*/ 4110038 w 8601075"/>
                  <a:gd name="connsiteY42" fmla="*/ 804863 h 4305300"/>
                  <a:gd name="connsiteX43" fmla="*/ 4071938 w 8601075"/>
                  <a:gd name="connsiteY43" fmla="*/ 812006 h 4305300"/>
                  <a:gd name="connsiteX44" fmla="*/ 4050506 w 8601075"/>
                  <a:gd name="connsiteY44" fmla="*/ 773906 h 4305300"/>
                  <a:gd name="connsiteX45" fmla="*/ 3990975 w 8601075"/>
                  <a:gd name="connsiteY45" fmla="*/ 778669 h 4305300"/>
                  <a:gd name="connsiteX46" fmla="*/ 3945731 w 8601075"/>
                  <a:gd name="connsiteY46" fmla="*/ 750094 h 4305300"/>
                  <a:gd name="connsiteX47" fmla="*/ 3907631 w 8601075"/>
                  <a:gd name="connsiteY47" fmla="*/ 747713 h 4305300"/>
                  <a:gd name="connsiteX48" fmla="*/ 3888581 w 8601075"/>
                  <a:gd name="connsiteY48" fmla="*/ 700087 h 4305300"/>
                  <a:gd name="connsiteX49" fmla="*/ 3874294 w 8601075"/>
                  <a:gd name="connsiteY49" fmla="*/ 669131 h 4305300"/>
                  <a:gd name="connsiteX50" fmla="*/ 3829050 w 8601075"/>
                  <a:gd name="connsiteY50" fmla="*/ 678656 h 4305300"/>
                  <a:gd name="connsiteX51" fmla="*/ 3810000 w 8601075"/>
                  <a:gd name="connsiteY51" fmla="*/ 642938 h 4305300"/>
                  <a:gd name="connsiteX52" fmla="*/ 3831432 w 8601075"/>
                  <a:gd name="connsiteY52" fmla="*/ 588169 h 4305300"/>
                  <a:gd name="connsiteX53" fmla="*/ 3800475 w 8601075"/>
                  <a:gd name="connsiteY53" fmla="*/ 561975 h 4305300"/>
                  <a:gd name="connsiteX54" fmla="*/ 3817144 w 8601075"/>
                  <a:gd name="connsiteY54" fmla="*/ 519113 h 4305300"/>
                  <a:gd name="connsiteX55" fmla="*/ 3790950 w 8601075"/>
                  <a:gd name="connsiteY55" fmla="*/ 476250 h 4305300"/>
                  <a:gd name="connsiteX56" fmla="*/ 3786188 w 8601075"/>
                  <a:gd name="connsiteY56" fmla="*/ 414338 h 4305300"/>
                  <a:gd name="connsiteX57" fmla="*/ 3810000 w 8601075"/>
                  <a:gd name="connsiteY57" fmla="*/ 350043 h 4305300"/>
                  <a:gd name="connsiteX58" fmla="*/ 3771900 w 8601075"/>
                  <a:gd name="connsiteY58" fmla="*/ 352425 h 4305300"/>
                  <a:gd name="connsiteX59" fmla="*/ 3652838 w 8601075"/>
                  <a:gd name="connsiteY59" fmla="*/ 295275 h 4305300"/>
                  <a:gd name="connsiteX60" fmla="*/ 3614737 w 8601075"/>
                  <a:gd name="connsiteY60" fmla="*/ 300037 h 4305300"/>
                  <a:gd name="connsiteX61" fmla="*/ 3409950 w 8601075"/>
                  <a:gd name="connsiteY61" fmla="*/ 190500 h 4305300"/>
                  <a:gd name="connsiteX62" fmla="*/ 3305175 w 8601075"/>
                  <a:gd name="connsiteY62" fmla="*/ 159544 h 4305300"/>
                  <a:gd name="connsiteX63" fmla="*/ 3240881 w 8601075"/>
                  <a:gd name="connsiteY63" fmla="*/ 169068 h 4305300"/>
                  <a:gd name="connsiteX64" fmla="*/ 3209925 w 8601075"/>
                  <a:gd name="connsiteY64" fmla="*/ 104775 h 4305300"/>
                  <a:gd name="connsiteX65" fmla="*/ 3152775 w 8601075"/>
                  <a:gd name="connsiteY65" fmla="*/ 104775 h 4305300"/>
                  <a:gd name="connsiteX66" fmla="*/ 3014662 w 8601075"/>
                  <a:gd name="connsiteY66" fmla="*/ 0 h 4305300"/>
                  <a:gd name="connsiteX67" fmla="*/ 2981325 w 8601075"/>
                  <a:gd name="connsiteY67" fmla="*/ 59532 h 4305300"/>
                  <a:gd name="connsiteX68" fmla="*/ 2926556 w 8601075"/>
                  <a:gd name="connsiteY68" fmla="*/ 128588 h 4305300"/>
                  <a:gd name="connsiteX69" fmla="*/ 2883694 w 8601075"/>
                  <a:gd name="connsiteY69" fmla="*/ 145256 h 4305300"/>
                  <a:gd name="connsiteX70" fmla="*/ 2852738 w 8601075"/>
                  <a:gd name="connsiteY70" fmla="*/ 138113 h 4305300"/>
                  <a:gd name="connsiteX71" fmla="*/ 2828925 w 8601075"/>
                  <a:gd name="connsiteY71" fmla="*/ 166688 h 4305300"/>
                  <a:gd name="connsiteX72" fmla="*/ 2802731 w 8601075"/>
                  <a:gd name="connsiteY72" fmla="*/ 245269 h 4305300"/>
                  <a:gd name="connsiteX73" fmla="*/ 2759869 w 8601075"/>
                  <a:gd name="connsiteY73" fmla="*/ 242888 h 4305300"/>
                  <a:gd name="connsiteX74" fmla="*/ 2728912 w 8601075"/>
                  <a:gd name="connsiteY74" fmla="*/ 304800 h 4305300"/>
                  <a:gd name="connsiteX75" fmla="*/ 2724150 w 8601075"/>
                  <a:gd name="connsiteY75" fmla="*/ 369094 h 4305300"/>
                  <a:gd name="connsiteX76" fmla="*/ 2697957 w 8601075"/>
                  <a:gd name="connsiteY76" fmla="*/ 407194 h 4305300"/>
                  <a:gd name="connsiteX77" fmla="*/ 2724150 w 8601075"/>
                  <a:gd name="connsiteY77" fmla="*/ 466725 h 4305300"/>
                  <a:gd name="connsiteX78" fmla="*/ 2726531 w 8601075"/>
                  <a:gd name="connsiteY78" fmla="*/ 535781 h 4305300"/>
                  <a:gd name="connsiteX79" fmla="*/ 2755106 w 8601075"/>
                  <a:gd name="connsiteY79" fmla="*/ 588169 h 4305300"/>
                  <a:gd name="connsiteX80" fmla="*/ 2802732 w 8601075"/>
                  <a:gd name="connsiteY80" fmla="*/ 642938 h 4305300"/>
                  <a:gd name="connsiteX81" fmla="*/ 2752725 w 8601075"/>
                  <a:gd name="connsiteY81" fmla="*/ 781050 h 4305300"/>
                  <a:gd name="connsiteX82" fmla="*/ 2683669 w 8601075"/>
                  <a:gd name="connsiteY82" fmla="*/ 847725 h 4305300"/>
                  <a:gd name="connsiteX83" fmla="*/ 2612231 w 8601075"/>
                  <a:gd name="connsiteY83" fmla="*/ 842963 h 4305300"/>
                  <a:gd name="connsiteX84" fmla="*/ 2574131 w 8601075"/>
                  <a:gd name="connsiteY84" fmla="*/ 900113 h 4305300"/>
                  <a:gd name="connsiteX85" fmla="*/ 2514600 w 8601075"/>
                  <a:gd name="connsiteY85" fmla="*/ 914400 h 4305300"/>
                  <a:gd name="connsiteX86" fmla="*/ 2445544 w 8601075"/>
                  <a:gd name="connsiteY86" fmla="*/ 854869 h 4305300"/>
                  <a:gd name="connsiteX87" fmla="*/ 2390775 w 8601075"/>
                  <a:gd name="connsiteY87" fmla="*/ 826294 h 4305300"/>
                  <a:gd name="connsiteX88" fmla="*/ 2347913 w 8601075"/>
                  <a:gd name="connsiteY88" fmla="*/ 840581 h 4305300"/>
                  <a:gd name="connsiteX89" fmla="*/ 2295525 w 8601075"/>
                  <a:gd name="connsiteY89" fmla="*/ 823913 h 4305300"/>
                  <a:gd name="connsiteX90" fmla="*/ 2228850 w 8601075"/>
                  <a:gd name="connsiteY90" fmla="*/ 769144 h 4305300"/>
                  <a:gd name="connsiteX91" fmla="*/ 2183606 w 8601075"/>
                  <a:gd name="connsiteY91" fmla="*/ 781050 h 4305300"/>
                  <a:gd name="connsiteX92" fmla="*/ 2162175 w 8601075"/>
                  <a:gd name="connsiteY92" fmla="*/ 750094 h 4305300"/>
                  <a:gd name="connsiteX93" fmla="*/ 2105025 w 8601075"/>
                  <a:gd name="connsiteY93" fmla="*/ 790575 h 4305300"/>
                  <a:gd name="connsiteX94" fmla="*/ 1988344 w 8601075"/>
                  <a:gd name="connsiteY94" fmla="*/ 769144 h 4305300"/>
                  <a:gd name="connsiteX95" fmla="*/ 1938338 w 8601075"/>
                  <a:gd name="connsiteY95" fmla="*/ 716756 h 4305300"/>
                  <a:gd name="connsiteX96" fmla="*/ 1895475 w 8601075"/>
                  <a:gd name="connsiteY96" fmla="*/ 702469 h 4305300"/>
                  <a:gd name="connsiteX97" fmla="*/ 1852613 w 8601075"/>
                  <a:gd name="connsiteY97" fmla="*/ 728663 h 4305300"/>
                  <a:gd name="connsiteX98" fmla="*/ 1800225 w 8601075"/>
                  <a:gd name="connsiteY98" fmla="*/ 638175 h 4305300"/>
                  <a:gd name="connsiteX99" fmla="*/ 1790700 w 8601075"/>
                  <a:gd name="connsiteY99" fmla="*/ 490537 h 4305300"/>
                  <a:gd name="connsiteX100" fmla="*/ 1738312 w 8601075"/>
                  <a:gd name="connsiteY100" fmla="*/ 483393 h 4305300"/>
                  <a:gd name="connsiteX101" fmla="*/ 1647825 w 8601075"/>
                  <a:gd name="connsiteY101" fmla="*/ 473869 h 4305300"/>
                  <a:gd name="connsiteX102" fmla="*/ 1593056 w 8601075"/>
                  <a:gd name="connsiteY102" fmla="*/ 435769 h 4305300"/>
                  <a:gd name="connsiteX103" fmla="*/ 1524000 w 8601075"/>
                  <a:gd name="connsiteY103" fmla="*/ 445294 h 4305300"/>
                  <a:gd name="connsiteX104" fmla="*/ 1478756 w 8601075"/>
                  <a:gd name="connsiteY104" fmla="*/ 419100 h 4305300"/>
                  <a:gd name="connsiteX105" fmla="*/ 1469232 w 8601075"/>
                  <a:gd name="connsiteY105" fmla="*/ 347663 h 4305300"/>
                  <a:gd name="connsiteX106" fmla="*/ 1445419 w 8601075"/>
                  <a:gd name="connsiteY106" fmla="*/ 333375 h 4305300"/>
                  <a:gd name="connsiteX107" fmla="*/ 1407319 w 8601075"/>
                  <a:gd name="connsiteY107" fmla="*/ 380999 h 4305300"/>
                  <a:gd name="connsiteX108" fmla="*/ 1328737 w 8601075"/>
                  <a:gd name="connsiteY108" fmla="*/ 307181 h 4305300"/>
                  <a:gd name="connsiteX109" fmla="*/ 1288256 w 8601075"/>
                  <a:gd name="connsiteY109" fmla="*/ 347663 h 4305300"/>
                  <a:gd name="connsiteX110" fmla="*/ 1212056 w 8601075"/>
                  <a:gd name="connsiteY110" fmla="*/ 333375 h 4305300"/>
                  <a:gd name="connsiteX111" fmla="*/ 1133475 w 8601075"/>
                  <a:gd name="connsiteY111" fmla="*/ 359569 h 4305300"/>
                  <a:gd name="connsiteX112" fmla="*/ 1073944 w 8601075"/>
                  <a:gd name="connsiteY112" fmla="*/ 407193 h 4305300"/>
                  <a:gd name="connsiteX113" fmla="*/ 1000125 w 8601075"/>
                  <a:gd name="connsiteY113" fmla="*/ 419100 h 4305300"/>
                  <a:gd name="connsiteX114" fmla="*/ 964406 w 8601075"/>
                  <a:gd name="connsiteY114" fmla="*/ 411956 h 4305300"/>
                  <a:gd name="connsiteX115" fmla="*/ 885826 w 8601075"/>
                  <a:gd name="connsiteY115" fmla="*/ 442913 h 4305300"/>
                  <a:gd name="connsiteX116" fmla="*/ 864394 w 8601075"/>
                  <a:gd name="connsiteY116" fmla="*/ 471488 h 4305300"/>
                  <a:gd name="connsiteX117" fmla="*/ 797719 w 8601075"/>
                  <a:gd name="connsiteY117" fmla="*/ 461963 h 4305300"/>
                  <a:gd name="connsiteX118" fmla="*/ 728663 w 8601075"/>
                  <a:gd name="connsiteY118" fmla="*/ 485775 h 4305300"/>
                  <a:gd name="connsiteX119" fmla="*/ 673894 w 8601075"/>
                  <a:gd name="connsiteY119" fmla="*/ 523875 h 4305300"/>
                  <a:gd name="connsiteX120" fmla="*/ 578644 w 8601075"/>
                  <a:gd name="connsiteY120" fmla="*/ 538162 h 4305300"/>
                  <a:gd name="connsiteX121" fmla="*/ 564356 w 8601075"/>
                  <a:gd name="connsiteY121" fmla="*/ 559594 h 4305300"/>
                  <a:gd name="connsiteX122" fmla="*/ 576262 w 8601075"/>
                  <a:gd name="connsiteY122" fmla="*/ 604838 h 4305300"/>
                  <a:gd name="connsiteX123" fmla="*/ 476251 w 8601075"/>
                  <a:gd name="connsiteY123" fmla="*/ 657225 h 4305300"/>
                  <a:gd name="connsiteX124" fmla="*/ 438150 w 8601075"/>
                  <a:gd name="connsiteY124" fmla="*/ 628649 h 4305300"/>
                  <a:gd name="connsiteX125" fmla="*/ 407194 w 8601075"/>
                  <a:gd name="connsiteY125" fmla="*/ 685800 h 4305300"/>
                  <a:gd name="connsiteX126" fmla="*/ 350044 w 8601075"/>
                  <a:gd name="connsiteY126" fmla="*/ 647700 h 4305300"/>
                  <a:gd name="connsiteX127" fmla="*/ 314325 w 8601075"/>
                  <a:gd name="connsiteY127" fmla="*/ 676275 h 4305300"/>
                  <a:gd name="connsiteX128" fmla="*/ 278606 w 8601075"/>
                  <a:gd name="connsiteY128" fmla="*/ 640556 h 4305300"/>
                  <a:gd name="connsiteX129" fmla="*/ 226219 w 8601075"/>
                  <a:gd name="connsiteY129" fmla="*/ 652463 h 4305300"/>
                  <a:gd name="connsiteX130" fmla="*/ 180975 w 8601075"/>
                  <a:gd name="connsiteY130" fmla="*/ 623888 h 4305300"/>
                  <a:gd name="connsiteX131" fmla="*/ 157163 w 8601075"/>
                  <a:gd name="connsiteY131" fmla="*/ 642938 h 4305300"/>
                  <a:gd name="connsiteX132" fmla="*/ 133350 w 8601075"/>
                  <a:gd name="connsiteY132" fmla="*/ 702469 h 4305300"/>
                  <a:gd name="connsiteX133" fmla="*/ 61913 w 8601075"/>
                  <a:gd name="connsiteY133" fmla="*/ 740568 h 4305300"/>
                  <a:gd name="connsiteX134" fmla="*/ 28575 w 8601075"/>
                  <a:gd name="connsiteY134" fmla="*/ 769144 h 4305300"/>
                  <a:gd name="connsiteX135" fmla="*/ 33338 w 8601075"/>
                  <a:gd name="connsiteY135" fmla="*/ 812006 h 4305300"/>
                  <a:gd name="connsiteX136" fmla="*/ 0 w 8601075"/>
                  <a:gd name="connsiteY136" fmla="*/ 816769 h 4305300"/>
                  <a:gd name="connsiteX137" fmla="*/ 4763 w 8601075"/>
                  <a:gd name="connsiteY137" fmla="*/ 840581 h 4305300"/>
                  <a:gd name="connsiteX138" fmla="*/ 61912 w 8601075"/>
                  <a:gd name="connsiteY138" fmla="*/ 914400 h 4305300"/>
                  <a:gd name="connsiteX139" fmla="*/ 23813 w 8601075"/>
                  <a:gd name="connsiteY139" fmla="*/ 962025 h 4305300"/>
                  <a:gd name="connsiteX140" fmla="*/ 78581 w 8601075"/>
                  <a:gd name="connsiteY140" fmla="*/ 997744 h 4305300"/>
                  <a:gd name="connsiteX141" fmla="*/ 169069 w 8601075"/>
                  <a:gd name="connsiteY141" fmla="*/ 1085850 h 4305300"/>
                  <a:gd name="connsiteX142" fmla="*/ 171450 w 8601075"/>
                  <a:gd name="connsiteY142" fmla="*/ 1145381 h 4305300"/>
                  <a:gd name="connsiteX143" fmla="*/ 307181 w 8601075"/>
                  <a:gd name="connsiteY143" fmla="*/ 1278732 h 4305300"/>
                  <a:gd name="connsiteX144" fmla="*/ 361950 w 8601075"/>
                  <a:gd name="connsiteY144" fmla="*/ 1254919 h 4305300"/>
                  <a:gd name="connsiteX145" fmla="*/ 400050 w 8601075"/>
                  <a:gd name="connsiteY145" fmla="*/ 1281112 h 4305300"/>
                  <a:gd name="connsiteX146" fmla="*/ 414338 w 8601075"/>
                  <a:gd name="connsiteY146" fmla="*/ 1331118 h 4305300"/>
                  <a:gd name="connsiteX147" fmla="*/ 457200 w 8601075"/>
                  <a:gd name="connsiteY147" fmla="*/ 1366838 h 4305300"/>
                  <a:gd name="connsiteX148" fmla="*/ 497681 w 8601075"/>
                  <a:gd name="connsiteY148" fmla="*/ 1354931 h 4305300"/>
                  <a:gd name="connsiteX149" fmla="*/ 516731 w 8601075"/>
                  <a:gd name="connsiteY149" fmla="*/ 1412081 h 4305300"/>
                  <a:gd name="connsiteX150" fmla="*/ 564356 w 8601075"/>
                  <a:gd name="connsiteY150" fmla="*/ 1454944 h 4305300"/>
                  <a:gd name="connsiteX151" fmla="*/ 588169 w 8601075"/>
                  <a:gd name="connsiteY151" fmla="*/ 1557338 h 4305300"/>
                  <a:gd name="connsiteX152" fmla="*/ 585788 w 8601075"/>
                  <a:gd name="connsiteY152" fmla="*/ 1604963 h 4305300"/>
                  <a:gd name="connsiteX153" fmla="*/ 621506 w 8601075"/>
                  <a:gd name="connsiteY153" fmla="*/ 1704975 h 4305300"/>
                  <a:gd name="connsiteX154" fmla="*/ 666750 w 8601075"/>
                  <a:gd name="connsiteY154" fmla="*/ 1762125 h 4305300"/>
                  <a:gd name="connsiteX155" fmla="*/ 683418 w 8601075"/>
                  <a:gd name="connsiteY155" fmla="*/ 1919287 h 4305300"/>
                  <a:gd name="connsiteX156" fmla="*/ 650081 w 8601075"/>
                  <a:gd name="connsiteY156" fmla="*/ 1981200 h 4305300"/>
                  <a:gd name="connsiteX157" fmla="*/ 619125 w 8601075"/>
                  <a:gd name="connsiteY157" fmla="*/ 2057400 h 4305300"/>
                  <a:gd name="connsiteX158" fmla="*/ 633413 w 8601075"/>
                  <a:gd name="connsiteY158" fmla="*/ 2114550 h 4305300"/>
                  <a:gd name="connsiteX159" fmla="*/ 535781 w 8601075"/>
                  <a:gd name="connsiteY159" fmla="*/ 2221707 h 4305300"/>
                  <a:gd name="connsiteX160" fmla="*/ 492919 w 8601075"/>
                  <a:gd name="connsiteY160" fmla="*/ 2336006 h 4305300"/>
                  <a:gd name="connsiteX161" fmla="*/ 526256 w 8601075"/>
                  <a:gd name="connsiteY161" fmla="*/ 2376488 h 4305300"/>
                  <a:gd name="connsiteX162" fmla="*/ 509588 w 8601075"/>
                  <a:gd name="connsiteY162" fmla="*/ 2405063 h 4305300"/>
                  <a:gd name="connsiteX163" fmla="*/ 540544 w 8601075"/>
                  <a:gd name="connsiteY163" fmla="*/ 2462213 h 4305300"/>
                  <a:gd name="connsiteX164" fmla="*/ 569119 w 8601075"/>
                  <a:gd name="connsiteY164" fmla="*/ 2462213 h 4305300"/>
                  <a:gd name="connsiteX165" fmla="*/ 731044 w 8601075"/>
                  <a:gd name="connsiteY165" fmla="*/ 2564606 h 4305300"/>
                  <a:gd name="connsiteX166" fmla="*/ 835819 w 8601075"/>
                  <a:gd name="connsiteY166" fmla="*/ 2562225 h 4305300"/>
                  <a:gd name="connsiteX167" fmla="*/ 914400 w 8601075"/>
                  <a:gd name="connsiteY167" fmla="*/ 2616994 h 4305300"/>
                  <a:gd name="connsiteX168" fmla="*/ 1045368 w 8601075"/>
                  <a:gd name="connsiteY168" fmla="*/ 2619375 h 4305300"/>
                  <a:gd name="connsiteX169" fmla="*/ 1235868 w 8601075"/>
                  <a:gd name="connsiteY169" fmla="*/ 2688431 h 4305300"/>
                  <a:gd name="connsiteX170" fmla="*/ 1438275 w 8601075"/>
                  <a:gd name="connsiteY170" fmla="*/ 2838450 h 4305300"/>
                  <a:gd name="connsiteX171" fmla="*/ 1471612 w 8601075"/>
                  <a:gd name="connsiteY171" fmla="*/ 2905125 h 4305300"/>
                  <a:gd name="connsiteX172" fmla="*/ 1638300 w 8601075"/>
                  <a:gd name="connsiteY172" fmla="*/ 3031331 h 4305300"/>
                  <a:gd name="connsiteX173" fmla="*/ 1709738 w 8601075"/>
                  <a:gd name="connsiteY173" fmla="*/ 3026569 h 4305300"/>
                  <a:gd name="connsiteX174" fmla="*/ 1745457 w 8601075"/>
                  <a:gd name="connsiteY174" fmla="*/ 3050381 h 4305300"/>
                  <a:gd name="connsiteX175" fmla="*/ 1716881 w 8601075"/>
                  <a:gd name="connsiteY175" fmla="*/ 3090863 h 4305300"/>
                  <a:gd name="connsiteX176" fmla="*/ 1724025 w 8601075"/>
                  <a:gd name="connsiteY176" fmla="*/ 3143250 h 4305300"/>
                  <a:gd name="connsiteX177" fmla="*/ 1776413 w 8601075"/>
                  <a:gd name="connsiteY177" fmla="*/ 3169444 h 4305300"/>
                  <a:gd name="connsiteX178" fmla="*/ 1838325 w 8601075"/>
                  <a:gd name="connsiteY178" fmla="*/ 3393282 h 4305300"/>
                  <a:gd name="connsiteX179" fmla="*/ 1828800 w 8601075"/>
                  <a:gd name="connsiteY179" fmla="*/ 3457575 h 4305300"/>
                  <a:gd name="connsiteX180" fmla="*/ 1964531 w 8601075"/>
                  <a:gd name="connsiteY180" fmla="*/ 3624263 h 4305300"/>
                  <a:gd name="connsiteX181" fmla="*/ 1983581 w 8601075"/>
                  <a:gd name="connsiteY181" fmla="*/ 3674269 h 4305300"/>
                  <a:gd name="connsiteX182" fmla="*/ 1957388 w 8601075"/>
                  <a:gd name="connsiteY182" fmla="*/ 3693319 h 4305300"/>
                  <a:gd name="connsiteX183" fmla="*/ 2059781 w 8601075"/>
                  <a:gd name="connsiteY183" fmla="*/ 3702844 h 4305300"/>
                  <a:gd name="connsiteX184" fmla="*/ 2171700 w 8601075"/>
                  <a:gd name="connsiteY184" fmla="*/ 3690938 h 4305300"/>
                  <a:gd name="connsiteX185" fmla="*/ 2450306 w 8601075"/>
                  <a:gd name="connsiteY185" fmla="*/ 3774281 h 4305300"/>
                  <a:gd name="connsiteX186" fmla="*/ 2857500 w 8601075"/>
                  <a:gd name="connsiteY186" fmla="*/ 3855244 h 4305300"/>
                  <a:gd name="connsiteX187" fmla="*/ 3055144 w 8601075"/>
                  <a:gd name="connsiteY187" fmla="*/ 3824287 h 4305300"/>
                  <a:gd name="connsiteX188" fmla="*/ 3100388 w 8601075"/>
                  <a:gd name="connsiteY188" fmla="*/ 3836193 h 4305300"/>
                  <a:gd name="connsiteX189" fmla="*/ 3155156 w 8601075"/>
                  <a:gd name="connsiteY189" fmla="*/ 3812382 h 4305300"/>
                  <a:gd name="connsiteX190" fmla="*/ 3548062 w 8601075"/>
                  <a:gd name="connsiteY190" fmla="*/ 3902869 h 4305300"/>
                  <a:gd name="connsiteX191" fmla="*/ 3631407 w 8601075"/>
                  <a:gd name="connsiteY191" fmla="*/ 4000500 h 4305300"/>
                  <a:gd name="connsiteX192" fmla="*/ 3750469 w 8601075"/>
                  <a:gd name="connsiteY192" fmla="*/ 4071938 h 4305300"/>
                  <a:gd name="connsiteX193" fmla="*/ 3810000 w 8601075"/>
                  <a:gd name="connsiteY193" fmla="*/ 4055269 h 4305300"/>
                  <a:gd name="connsiteX194" fmla="*/ 4160043 w 8601075"/>
                  <a:gd name="connsiteY194" fmla="*/ 4229100 h 4305300"/>
                  <a:gd name="connsiteX195" fmla="*/ 4386263 w 8601075"/>
                  <a:gd name="connsiteY195" fmla="*/ 4200525 h 4305300"/>
                  <a:gd name="connsiteX196" fmla="*/ 4395788 w 8601075"/>
                  <a:gd name="connsiteY196" fmla="*/ 4279106 h 4305300"/>
                  <a:gd name="connsiteX197" fmla="*/ 4481513 w 8601075"/>
                  <a:gd name="connsiteY197" fmla="*/ 4274343 h 4305300"/>
                  <a:gd name="connsiteX198" fmla="*/ 4560094 w 8601075"/>
                  <a:gd name="connsiteY198" fmla="*/ 4305300 h 4305300"/>
                  <a:gd name="connsiteX199" fmla="*/ 4602956 w 8601075"/>
                  <a:gd name="connsiteY199" fmla="*/ 4245769 h 4305300"/>
                  <a:gd name="connsiteX200" fmla="*/ 5274469 w 8601075"/>
                  <a:gd name="connsiteY200" fmla="*/ 3926681 h 4305300"/>
                  <a:gd name="connsiteX201" fmla="*/ 5362575 w 8601075"/>
                  <a:gd name="connsiteY201" fmla="*/ 3955257 h 4305300"/>
                  <a:gd name="connsiteX202" fmla="*/ 5493544 w 8601075"/>
                  <a:gd name="connsiteY202" fmla="*/ 3926681 h 4305300"/>
                  <a:gd name="connsiteX203" fmla="*/ 5672137 w 8601075"/>
                  <a:gd name="connsiteY203" fmla="*/ 3943350 h 4305300"/>
                  <a:gd name="connsiteX204" fmla="*/ 5729288 w 8601075"/>
                  <a:gd name="connsiteY204" fmla="*/ 3917157 h 4305300"/>
                  <a:gd name="connsiteX205" fmla="*/ 5862637 w 8601075"/>
                  <a:gd name="connsiteY205" fmla="*/ 3914775 h 4305300"/>
                  <a:gd name="connsiteX206" fmla="*/ 5995987 w 8601075"/>
                  <a:gd name="connsiteY206" fmla="*/ 3817144 h 4305300"/>
                  <a:gd name="connsiteX207" fmla="*/ 6062662 w 8601075"/>
                  <a:gd name="connsiteY207" fmla="*/ 3810000 h 4305300"/>
                  <a:gd name="connsiteX208" fmla="*/ 6160294 w 8601075"/>
                  <a:gd name="connsiteY208" fmla="*/ 3736181 h 4305300"/>
                  <a:gd name="connsiteX209" fmla="*/ 6234113 w 8601075"/>
                  <a:gd name="connsiteY209" fmla="*/ 3667125 h 4305300"/>
                  <a:gd name="connsiteX210" fmla="*/ 6243638 w 8601075"/>
                  <a:gd name="connsiteY210" fmla="*/ 3605213 h 4305300"/>
                  <a:gd name="connsiteX211" fmla="*/ 6276975 w 8601075"/>
                  <a:gd name="connsiteY211" fmla="*/ 3536156 h 4305300"/>
                  <a:gd name="connsiteX212" fmla="*/ 6429375 w 8601075"/>
                  <a:gd name="connsiteY212" fmla="*/ 3429000 h 4305300"/>
                  <a:gd name="connsiteX213" fmla="*/ 6462713 w 8601075"/>
                  <a:gd name="connsiteY213" fmla="*/ 3433763 h 4305300"/>
                  <a:gd name="connsiteX214" fmla="*/ 6515100 w 8601075"/>
                  <a:gd name="connsiteY214" fmla="*/ 3355181 h 4305300"/>
                  <a:gd name="connsiteX215" fmla="*/ 6562725 w 8601075"/>
                  <a:gd name="connsiteY215" fmla="*/ 3317081 h 4305300"/>
                  <a:gd name="connsiteX216" fmla="*/ 6548438 w 8601075"/>
                  <a:gd name="connsiteY216" fmla="*/ 3248025 h 4305300"/>
                  <a:gd name="connsiteX217" fmla="*/ 6498431 w 8601075"/>
                  <a:gd name="connsiteY217" fmla="*/ 3217068 h 4305300"/>
                  <a:gd name="connsiteX218" fmla="*/ 6438900 w 8601075"/>
                  <a:gd name="connsiteY218" fmla="*/ 3162300 h 4305300"/>
                  <a:gd name="connsiteX219" fmla="*/ 6419850 w 8601075"/>
                  <a:gd name="connsiteY219" fmla="*/ 3105150 h 4305300"/>
                  <a:gd name="connsiteX220" fmla="*/ 6384131 w 8601075"/>
                  <a:gd name="connsiteY220" fmla="*/ 3071813 h 4305300"/>
                  <a:gd name="connsiteX221" fmla="*/ 6410325 w 8601075"/>
                  <a:gd name="connsiteY221" fmla="*/ 3019425 h 4305300"/>
                  <a:gd name="connsiteX222" fmla="*/ 6450806 w 8601075"/>
                  <a:gd name="connsiteY222" fmla="*/ 2840831 h 4305300"/>
                  <a:gd name="connsiteX223" fmla="*/ 6491288 w 8601075"/>
                  <a:gd name="connsiteY223" fmla="*/ 2774156 h 4305300"/>
                  <a:gd name="connsiteX224" fmla="*/ 6636544 w 8601075"/>
                  <a:gd name="connsiteY224" fmla="*/ 2757487 h 4305300"/>
                  <a:gd name="connsiteX225" fmla="*/ 6705600 w 8601075"/>
                  <a:gd name="connsiteY225" fmla="*/ 2814638 h 4305300"/>
                  <a:gd name="connsiteX226" fmla="*/ 6781800 w 8601075"/>
                  <a:gd name="connsiteY226" fmla="*/ 2838450 h 4305300"/>
                  <a:gd name="connsiteX227" fmla="*/ 6986587 w 8601075"/>
                  <a:gd name="connsiteY227" fmla="*/ 2843213 h 4305300"/>
                  <a:gd name="connsiteX228" fmla="*/ 7162800 w 8601075"/>
                  <a:gd name="connsiteY228" fmla="*/ 2705100 h 4305300"/>
                  <a:gd name="connsiteX229" fmla="*/ 7219950 w 8601075"/>
                  <a:gd name="connsiteY229" fmla="*/ 2614612 h 4305300"/>
                  <a:gd name="connsiteX230" fmla="*/ 7246144 w 8601075"/>
                  <a:gd name="connsiteY230" fmla="*/ 2531269 h 4305300"/>
                  <a:gd name="connsiteX231" fmla="*/ 7377112 w 8601075"/>
                  <a:gd name="connsiteY231" fmla="*/ 2531269 h 4305300"/>
                  <a:gd name="connsiteX232" fmla="*/ 7550944 w 8601075"/>
                  <a:gd name="connsiteY232" fmla="*/ 2474118 h 4305300"/>
                  <a:gd name="connsiteX233" fmla="*/ 7610475 w 8601075"/>
                  <a:gd name="connsiteY233" fmla="*/ 2362200 h 4305300"/>
                  <a:gd name="connsiteX234" fmla="*/ 7674769 w 8601075"/>
                  <a:gd name="connsiteY234" fmla="*/ 2326481 h 4305300"/>
                  <a:gd name="connsiteX235" fmla="*/ 7653338 w 8601075"/>
                  <a:gd name="connsiteY235" fmla="*/ 2281238 h 4305300"/>
                  <a:gd name="connsiteX236" fmla="*/ 7731919 w 8601075"/>
                  <a:gd name="connsiteY236" fmla="*/ 2112168 h 4305300"/>
                  <a:gd name="connsiteX237" fmla="*/ 7786688 w 8601075"/>
                  <a:gd name="connsiteY237" fmla="*/ 2052638 h 4305300"/>
                  <a:gd name="connsiteX238" fmla="*/ 7824788 w 8601075"/>
                  <a:gd name="connsiteY238" fmla="*/ 2047875 h 4305300"/>
                  <a:gd name="connsiteX239" fmla="*/ 7870031 w 8601075"/>
                  <a:gd name="connsiteY239" fmla="*/ 2052638 h 4305300"/>
                  <a:gd name="connsiteX240" fmla="*/ 7934325 w 8601075"/>
                  <a:gd name="connsiteY240" fmla="*/ 2019300 h 4305300"/>
                  <a:gd name="connsiteX241" fmla="*/ 7943850 w 8601075"/>
                  <a:gd name="connsiteY241" fmla="*/ 1955006 h 4305300"/>
                  <a:gd name="connsiteX242" fmla="*/ 7984330 w 8601075"/>
                  <a:gd name="connsiteY242" fmla="*/ 1919288 h 4305300"/>
                  <a:gd name="connsiteX243" fmla="*/ 8043863 w 8601075"/>
                  <a:gd name="connsiteY243" fmla="*/ 1959768 h 4305300"/>
                  <a:gd name="connsiteX244" fmla="*/ 8070057 w 8601075"/>
                  <a:gd name="connsiteY244" fmla="*/ 1909762 h 4305300"/>
                  <a:gd name="connsiteX245" fmla="*/ 8165306 w 8601075"/>
                  <a:gd name="connsiteY245" fmla="*/ 1840706 h 4305300"/>
                  <a:gd name="connsiteX246" fmla="*/ 8227219 w 8601075"/>
                  <a:gd name="connsiteY246" fmla="*/ 1847850 h 4305300"/>
                  <a:gd name="connsiteX247" fmla="*/ 8277225 w 8601075"/>
                  <a:gd name="connsiteY247" fmla="*/ 1828800 h 4305300"/>
                  <a:gd name="connsiteX248" fmla="*/ 8315325 w 8601075"/>
                  <a:gd name="connsiteY248" fmla="*/ 1800225 h 4305300"/>
                  <a:gd name="connsiteX249" fmla="*/ 8348663 w 8601075"/>
                  <a:gd name="connsiteY249" fmla="*/ 1797844 h 4305300"/>
                  <a:gd name="connsiteX250" fmla="*/ 8384381 w 8601075"/>
                  <a:gd name="connsiteY250" fmla="*/ 1828800 h 4305300"/>
                  <a:gd name="connsiteX251" fmla="*/ 8443913 w 8601075"/>
                  <a:gd name="connsiteY251" fmla="*/ 1828800 h 4305300"/>
                  <a:gd name="connsiteX252" fmla="*/ 8482012 w 8601075"/>
                  <a:gd name="connsiteY252" fmla="*/ 1809750 h 4305300"/>
                  <a:gd name="connsiteX253" fmla="*/ 8565356 w 8601075"/>
                  <a:gd name="connsiteY253" fmla="*/ 1812132 h 4305300"/>
                  <a:gd name="connsiteX254" fmla="*/ 8596313 w 8601075"/>
                  <a:gd name="connsiteY254" fmla="*/ 1766888 h 4305300"/>
                  <a:gd name="connsiteX255" fmla="*/ 8601075 w 8601075"/>
                  <a:gd name="connsiteY255" fmla="*/ 1704975 h 4305300"/>
                  <a:gd name="connsiteX256" fmla="*/ 8551068 w 8601075"/>
                  <a:gd name="connsiteY256" fmla="*/ 1664494 h 4305300"/>
                  <a:gd name="connsiteX257" fmla="*/ 8534400 w 8601075"/>
                  <a:gd name="connsiteY257" fmla="*/ 1609725 h 4305300"/>
                  <a:gd name="connsiteX258" fmla="*/ 8443913 w 8601075"/>
                  <a:gd name="connsiteY258" fmla="*/ 1547813 h 4305300"/>
                  <a:gd name="connsiteX259" fmla="*/ 8403431 w 8601075"/>
                  <a:gd name="connsiteY259" fmla="*/ 1526381 h 4305300"/>
                  <a:gd name="connsiteX260" fmla="*/ 8365331 w 8601075"/>
                  <a:gd name="connsiteY260" fmla="*/ 1481138 h 4305300"/>
                  <a:gd name="connsiteX261" fmla="*/ 8334375 w 8601075"/>
                  <a:gd name="connsiteY261" fmla="*/ 1478756 h 4305300"/>
                  <a:gd name="connsiteX262" fmla="*/ 8317706 w 8601075"/>
                  <a:gd name="connsiteY262" fmla="*/ 1426369 h 4305300"/>
                  <a:gd name="connsiteX263" fmla="*/ 8277225 w 8601075"/>
                  <a:gd name="connsiteY263" fmla="*/ 1409700 h 4305300"/>
                  <a:gd name="connsiteX264" fmla="*/ 8277225 w 8601075"/>
                  <a:gd name="connsiteY264" fmla="*/ 1409700 h 4305300"/>
                  <a:gd name="connsiteX265" fmla="*/ 8236744 w 8601075"/>
                  <a:gd name="connsiteY265" fmla="*/ 1414463 h 4305300"/>
                  <a:gd name="connsiteX266" fmla="*/ 8151018 w 8601075"/>
                  <a:gd name="connsiteY266" fmla="*/ 1340644 h 4305300"/>
                  <a:gd name="connsiteX267" fmla="*/ 7970044 w 8601075"/>
                  <a:gd name="connsiteY267" fmla="*/ 1340643 h 4305300"/>
                  <a:gd name="connsiteX268" fmla="*/ 7917656 w 8601075"/>
                  <a:gd name="connsiteY268" fmla="*/ 1378744 h 4305300"/>
                  <a:gd name="connsiteX269" fmla="*/ 7867650 w 8601075"/>
                  <a:gd name="connsiteY269" fmla="*/ 1457325 h 4305300"/>
                  <a:gd name="connsiteX270" fmla="*/ 7884319 w 8601075"/>
                  <a:gd name="connsiteY270" fmla="*/ 1478756 h 4305300"/>
                  <a:gd name="connsiteX271" fmla="*/ 7839075 w 8601075"/>
                  <a:gd name="connsiteY271" fmla="*/ 1528762 h 4305300"/>
                  <a:gd name="connsiteX272" fmla="*/ 7689056 w 8601075"/>
                  <a:gd name="connsiteY272" fmla="*/ 1452562 h 4305300"/>
                  <a:gd name="connsiteX273" fmla="*/ 7598569 w 8601075"/>
                  <a:gd name="connsiteY273" fmla="*/ 1488281 h 4305300"/>
                  <a:gd name="connsiteX274" fmla="*/ 7524750 w 8601075"/>
                  <a:gd name="connsiteY274" fmla="*/ 1485900 h 4305300"/>
                  <a:gd name="connsiteX275" fmla="*/ 7467600 w 8601075"/>
                  <a:gd name="connsiteY275" fmla="*/ 1581150 h 4305300"/>
                  <a:gd name="connsiteX276" fmla="*/ 7329488 w 8601075"/>
                  <a:gd name="connsiteY276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631781 w 8601075"/>
                  <a:gd name="connsiteY14" fmla="*/ 826294 h 4305300"/>
                  <a:gd name="connsiteX15" fmla="*/ 6600825 w 8601075"/>
                  <a:gd name="connsiteY15" fmla="*/ 904875 h 4305300"/>
                  <a:gd name="connsiteX16" fmla="*/ 6600825 w 8601075"/>
                  <a:gd name="connsiteY16" fmla="*/ 904875 h 4305300"/>
                  <a:gd name="connsiteX17" fmla="*/ 6534150 w 8601075"/>
                  <a:gd name="connsiteY17" fmla="*/ 942975 h 4305300"/>
                  <a:gd name="connsiteX18" fmla="*/ 6534150 w 8601075"/>
                  <a:gd name="connsiteY18" fmla="*/ 942975 h 4305300"/>
                  <a:gd name="connsiteX19" fmla="*/ 6362700 w 8601075"/>
                  <a:gd name="connsiteY19" fmla="*/ 1009650 h 4305300"/>
                  <a:gd name="connsiteX20" fmla="*/ 6238875 w 8601075"/>
                  <a:gd name="connsiteY20" fmla="*/ 1057275 h 4305300"/>
                  <a:gd name="connsiteX21" fmla="*/ 6115050 w 8601075"/>
                  <a:gd name="connsiteY21" fmla="*/ 1114425 h 4305300"/>
                  <a:gd name="connsiteX22" fmla="*/ 5962650 w 8601075"/>
                  <a:gd name="connsiteY22" fmla="*/ 1190625 h 4305300"/>
                  <a:gd name="connsiteX23" fmla="*/ 5895975 w 8601075"/>
                  <a:gd name="connsiteY23" fmla="*/ 1143000 h 4305300"/>
                  <a:gd name="connsiteX24" fmla="*/ 5895975 w 8601075"/>
                  <a:gd name="connsiteY24" fmla="*/ 1143000 h 4305300"/>
                  <a:gd name="connsiteX25" fmla="*/ 5676900 w 8601075"/>
                  <a:gd name="connsiteY25" fmla="*/ 1181100 h 4305300"/>
                  <a:gd name="connsiteX26" fmla="*/ 5600700 w 8601075"/>
                  <a:gd name="connsiteY26" fmla="*/ 1114425 h 4305300"/>
                  <a:gd name="connsiteX27" fmla="*/ 5391150 w 8601075"/>
                  <a:gd name="connsiteY27" fmla="*/ 1123950 h 4305300"/>
                  <a:gd name="connsiteX28" fmla="*/ 5334000 w 8601075"/>
                  <a:gd name="connsiteY28" fmla="*/ 1066800 h 4305300"/>
                  <a:gd name="connsiteX29" fmla="*/ 5248275 w 8601075"/>
                  <a:gd name="connsiteY29" fmla="*/ 981075 h 4305300"/>
                  <a:gd name="connsiteX30" fmla="*/ 5238750 w 8601075"/>
                  <a:gd name="connsiteY30" fmla="*/ 895350 h 4305300"/>
                  <a:gd name="connsiteX31" fmla="*/ 5133975 w 8601075"/>
                  <a:gd name="connsiteY31" fmla="*/ 895350 h 4305300"/>
                  <a:gd name="connsiteX32" fmla="*/ 4991100 w 8601075"/>
                  <a:gd name="connsiteY32" fmla="*/ 838200 h 4305300"/>
                  <a:gd name="connsiteX33" fmla="*/ 4905375 w 8601075"/>
                  <a:gd name="connsiteY33" fmla="*/ 771525 h 4305300"/>
                  <a:gd name="connsiteX34" fmla="*/ 4905375 w 8601075"/>
                  <a:gd name="connsiteY34" fmla="*/ 771525 h 4305300"/>
                  <a:gd name="connsiteX35" fmla="*/ 4781550 w 8601075"/>
                  <a:gd name="connsiteY35" fmla="*/ 762000 h 4305300"/>
                  <a:gd name="connsiteX36" fmla="*/ 4648200 w 8601075"/>
                  <a:gd name="connsiteY36" fmla="*/ 714375 h 4305300"/>
                  <a:gd name="connsiteX37" fmla="*/ 4581525 w 8601075"/>
                  <a:gd name="connsiteY37" fmla="*/ 695325 h 4305300"/>
                  <a:gd name="connsiteX38" fmla="*/ 4495800 w 8601075"/>
                  <a:gd name="connsiteY38" fmla="*/ 742950 h 4305300"/>
                  <a:gd name="connsiteX39" fmla="*/ 4343400 w 8601075"/>
                  <a:gd name="connsiteY39" fmla="*/ 781050 h 4305300"/>
                  <a:gd name="connsiteX40" fmla="*/ 4252913 w 8601075"/>
                  <a:gd name="connsiteY40" fmla="*/ 862013 h 4305300"/>
                  <a:gd name="connsiteX41" fmla="*/ 4205287 w 8601075"/>
                  <a:gd name="connsiteY41" fmla="*/ 823913 h 4305300"/>
                  <a:gd name="connsiteX42" fmla="*/ 4183856 w 8601075"/>
                  <a:gd name="connsiteY42" fmla="*/ 854868 h 4305300"/>
                  <a:gd name="connsiteX43" fmla="*/ 4110038 w 8601075"/>
                  <a:gd name="connsiteY43" fmla="*/ 804863 h 4305300"/>
                  <a:gd name="connsiteX44" fmla="*/ 4071938 w 8601075"/>
                  <a:gd name="connsiteY44" fmla="*/ 812006 h 4305300"/>
                  <a:gd name="connsiteX45" fmla="*/ 4050506 w 8601075"/>
                  <a:gd name="connsiteY45" fmla="*/ 773906 h 4305300"/>
                  <a:gd name="connsiteX46" fmla="*/ 3990975 w 8601075"/>
                  <a:gd name="connsiteY46" fmla="*/ 778669 h 4305300"/>
                  <a:gd name="connsiteX47" fmla="*/ 3945731 w 8601075"/>
                  <a:gd name="connsiteY47" fmla="*/ 750094 h 4305300"/>
                  <a:gd name="connsiteX48" fmla="*/ 3907631 w 8601075"/>
                  <a:gd name="connsiteY48" fmla="*/ 747713 h 4305300"/>
                  <a:gd name="connsiteX49" fmla="*/ 3888581 w 8601075"/>
                  <a:gd name="connsiteY49" fmla="*/ 700087 h 4305300"/>
                  <a:gd name="connsiteX50" fmla="*/ 3874294 w 8601075"/>
                  <a:gd name="connsiteY50" fmla="*/ 669131 h 4305300"/>
                  <a:gd name="connsiteX51" fmla="*/ 3829050 w 8601075"/>
                  <a:gd name="connsiteY51" fmla="*/ 678656 h 4305300"/>
                  <a:gd name="connsiteX52" fmla="*/ 3810000 w 8601075"/>
                  <a:gd name="connsiteY52" fmla="*/ 642938 h 4305300"/>
                  <a:gd name="connsiteX53" fmla="*/ 3831432 w 8601075"/>
                  <a:gd name="connsiteY53" fmla="*/ 588169 h 4305300"/>
                  <a:gd name="connsiteX54" fmla="*/ 3800475 w 8601075"/>
                  <a:gd name="connsiteY54" fmla="*/ 561975 h 4305300"/>
                  <a:gd name="connsiteX55" fmla="*/ 3817144 w 8601075"/>
                  <a:gd name="connsiteY55" fmla="*/ 519113 h 4305300"/>
                  <a:gd name="connsiteX56" fmla="*/ 3790950 w 8601075"/>
                  <a:gd name="connsiteY56" fmla="*/ 476250 h 4305300"/>
                  <a:gd name="connsiteX57" fmla="*/ 3786188 w 8601075"/>
                  <a:gd name="connsiteY57" fmla="*/ 414338 h 4305300"/>
                  <a:gd name="connsiteX58" fmla="*/ 3810000 w 8601075"/>
                  <a:gd name="connsiteY58" fmla="*/ 350043 h 4305300"/>
                  <a:gd name="connsiteX59" fmla="*/ 3771900 w 8601075"/>
                  <a:gd name="connsiteY59" fmla="*/ 352425 h 4305300"/>
                  <a:gd name="connsiteX60" fmla="*/ 3652838 w 8601075"/>
                  <a:gd name="connsiteY60" fmla="*/ 295275 h 4305300"/>
                  <a:gd name="connsiteX61" fmla="*/ 3614737 w 8601075"/>
                  <a:gd name="connsiteY61" fmla="*/ 300037 h 4305300"/>
                  <a:gd name="connsiteX62" fmla="*/ 3409950 w 8601075"/>
                  <a:gd name="connsiteY62" fmla="*/ 190500 h 4305300"/>
                  <a:gd name="connsiteX63" fmla="*/ 3305175 w 8601075"/>
                  <a:gd name="connsiteY63" fmla="*/ 159544 h 4305300"/>
                  <a:gd name="connsiteX64" fmla="*/ 3240881 w 8601075"/>
                  <a:gd name="connsiteY64" fmla="*/ 169068 h 4305300"/>
                  <a:gd name="connsiteX65" fmla="*/ 3209925 w 8601075"/>
                  <a:gd name="connsiteY65" fmla="*/ 104775 h 4305300"/>
                  <a:gd name="connsiteX66" fmla="*/ 3152775 w 8601075"/>
                  <a:gd name="connsiteY66" fmla="*/ 104775 h 4305300"/>
                  <a:gd name="connsiteX67" fmla="*/ 3014662 w 8601075"/>
                  <a:gd name="connsiteY67" fmla="*/ 0 h 4305300"/>
                  <a:gd name="connsiteX68" fmla="*/ 2981325 w 8601075"/>
                  <a:gd name="connsiteY68" fmla="*/ 59532 h 4305300"/>
                  <a:gd name="connsiteX69" fmla="*/ 2926556 w 8601075"/>
                  <a:gd name="connsiteY69" fmla="*/ 128588 h 4305300"/>
                  <a:gd name="connsiteX70" fmla="*/ 2883694 w 8601075"/>
                  <a:gd name="connsiteY70" fmla="*/ 145256 h 4305300"/>
                  <a:gd name="connsiteX71" fmla="*/ 2852738 w 8601075"/>
                  <a:gd name="connsiteY71" fmla="*/ 138113 h 4305300"/>
                  <a:gd name="connsiteX72" fmla="*/ 2828925 w 8601075"/>
                  <a:gd name="connsiteY72" fmla="*/ 166688 h 4305300"/>
                  <a:gd name="connsiteX73" fmla="*/ 2802731 w 8601075"/>
                  <a:gd name="connsiteY73" fmla="*/ 245269 h 4305300"/>
                  <a:gd name="connsiteX74" fmla="*/ 2759869 w 8601075"/>
                  <a:gd name="connsiteY74" fmla="*/ 242888 h 4305300"/>
                  <a:gd name="connsiteX75" fmla="*/ 2728912 w 8601075"/>
                  <a:gd name="connsiteY75" fmla="*/ 304800 h 4305300"/>
                  <a:gd name="connsiteX76" fmla="*/ 2724150 w 8601075"/>
                  <a:gd name="connsiteY76" fmla="*/ 369094 h 4305300"/>
                  <a:gd name="connsiteX77" fmla="*/ 2697957 w 8601075"/>
                  <a:gd name="connsiteY77" fmla="*/ 407194 h 4305300"/>
                  <a:gd name="connsiteX78" fmla="*/ 2724150 w 8601075"/>
                  <a:gd name="connsiteY78" fmla="*/ 466725 h 4305300"/>
                  <a:gd name="connsiteX79" fmla="*/ 2726531 w 8601075"/>
                  <a:gd name="connsiteY79" fmla="*/ 535781 h 4305300"/>
                  <a:gd name="connsiteX80" fmla="*/ 2755106 w 8601075"/>
                  <a:gd name="connsiteY80" fmla="*/ 588169 h 4305300"/>
                  <a:gd name="connsiteX81" fmla="*/ 2802732 w 8601075"/>
                  <a:gd name="connsiteY81" fmla="*/ 642938 h 4305300"/>
                  <a:gd name="connsiteX82" fmla="*/ 2752725 w 8601075"/>
                  <a:gd name="connsiteY82" fmla="*/ 781050 h 4305300"/>
                  <a:gd name="connsiteX83" fmla="*/ 2683669 w 8601075"/>
                  <a:gd name="connsiteY83" fmla="*/ 847725 h 4305300"/>
                  <a:gd name="connsiteX84" fmla="*/ 2612231 w 8601075"/>
                  <a:gd name="connsiteY84" fmla="*/ 842963 h 4305300"/>
                  <a:gd name="connsiteX85" fmla="*/ 2574131 w 8601075"/>
                  <a:gd name="connsiteY85" fmla="*/ 900113 h 4305300"/>
                  <a:gd name="connsiteX86" fmla="*/ 2514600 w 8601075"/>
                  <a:gd name="connsiteY86" fmla="*/ 914400 h 4305300"/>
                  <a:gd name="connsiteX87" fmla="*/ 2445544 w 8601075"/>
                  <a:gd name="connsiteY87" fmla="*/ 854869 h 4305300"/>
                  <a:gd name="connsiteX88" fmla="*/ 2390775 w 8601075"/>
                  <a:gd name="connsiteY88" fmla="*/ 826294 h 4305300"/>
                  <a:gd name="connsiteX89" fmla="*/ 2347913 w 8601075"/>
                  <a:gd name="connsiteY89" fmla="*/ 840581 h 4305300"/>
                  <a:gd name="connsiteX90" fmla="*/ 2295525 w 8601075"/>
                  <a:gd name="connsiteY90" fmla="*/ 823913 h 4305300"/>
                  <a:gd name="connsiteX91" fmla="*/ 2228850 w 8601075"/>
                  <a:gd name="connsiteY91" fmla="*/ 769144 h 4305300"/>
                  <a:gd name="connsiteX92" fmla="*/ 2183606 w 8601075"/>
                  <a:gd name="connsiteY92" fmla="*/ 781050 h 4305300"/>
                  <a:gd name="connsiteX93" fmla="*/ 2162175 w 8601075"/>
                  <a:gd name="connsiteY93" fmla="*/ 750094 h 4305300"/>
                  <a:gd name="connsiteX94" fmla="*/ 2105025 w 8601075"/>
                  <a:gd name="connsiteY94" fmla="*/ 790575 h 4305300"/>
                  <a:gd name="connsiteX95" fmla="*/ 1988344 w 8601075"/>
                  <a:gd name="connsiteY95" fmla="*/ 769144 h 4305300"/>
                  <a:gd name="connsiteX96" fmla="*/ 1938338 w 8601075"/>
                  <a:gd name="connsiteY96" fmla="*/ 716756 h 4305300"/>
                  <a:gd name="connsiteX97" fmla="*/ 1895475 w 8601075"/>
                  <a:gd name="connsiteY97" fmla="*/ 702469 h 4305300"/>
                  <a:gd name="connsiteX98" fmla="*/ 1852613 w 8601075"/>
                  <a:gd name="connsiteY98" fmla="*/ 728663 h 4305300"/>
                  <a:gd name="connsiteX99" fmla="*/ 1800225 w 8601075"/>
                  <a:gd name="connsiteY99" fmla="*/ 638175 h 4305300"/>
                  <a:gd name="connsiteX100" fmla="*/ 1790700 w 8601075"/>
                  <a:gd name="connsiteY100" fmla="*/ 490537 h 4305300"/>
                  <a:gd name="connsiteX101" fmla="*/ 1738312 w 8601075"/>
                  <a:gd name="connsiteY101" fmla="*/ 483393 h 4305300"/>
                  <a:gd name="connsiteX102" fmla="*/ 1647825 w 8601075"/>
                  <a:gd name="connsiteY102" fmla="*/ 473869 h 4305300"/>
                  <a:gd name="connsiteX103" fmla="*/ 1593056 w 8601075"/>
                  <a:gd name="connsiteY103" fmla="*/ 435769 h 4305300"/>
                  <a:gd name="connsiteX104" fmla="*/ 1524000 w 8601075"/>
                  <a:gd name="connsiteY104" fmla="*/ 445294 h 4305300"/>
                  <a:gd name="connsiteX105" fmla="*/ 1478756 w 8601075"/>
                  <a:gd name="connsiteY105" fmla="*/ 419100 h 4305300"/>
                  <a:gd name="connsiteX106" fmla="*/ 1469232 w 8601075"/>
                  <a:gd name="connsiteY106" fmla="*/ 347663 h 4305300"/>
                  <a:gd name="connsiteX107" fmla="*/ 1445419 w 8601075"/>
                  <a:gd name="connsiteY107" fmla="*/ 333375 h 4305300"/>
                  <a:gd name="connsiteX108" fmla="*/ 1407319 w 8601075"/>
                  <a:gd name="connsiteY108" fmla="*/ 380999 h 4305300"/>
                  <a:gd name="connsiteX109" fmla="*/ 1328737 w 8601075"/>
                  <a:gd name="connsiteY109" fmla="*/ 307181 h 4305300"/>
                  <a:gd name="connsiteX110" fmla="*/ 1288256 w 8601075"/>
                  <a:gd name="connsiteY110" fmla="*/ 347663 h 4305300"/>
                  <a:gd name="connsiteX111" fmla="*/ 1212056 w 8601075"/>
                  <a:gd name="connsiteY111" fmla="*/ 333375 h 4305300"/>
                  <a:gd name="connsiteX112" fmla="*/ 1133475 w 8601075"/>
                  <a:gd name="connsiteY112" fmla="*/ 359569 h 4305300"/>
                  <a:gd name="connsiteX113" fmla="*/ 1073944 w 8601075"/>
                  <a:gd name="connsiteY113" fmla="*/ 407193 h 4305300"/>
                  <a:gd name="connsiteX114" fmla="*/ 1000125 w 8601075"/>
                  <a:gd name="connsiteY114" fmla="*/ 419100 h 4305300"/>
                  <a:gd name="connsiteX115" fmla="*/ 964406 w 8601075"/>
                  <a:gd name="connsiteY115" fmla="*/ 411956 h 4305300"/>
                  <a:gd name="connsiteX116" fmla="*/ 885826 w 8601075"/>
                  <a:gd name="connsiteY116" fmla="*/ 442913 h 4305300"/>
                  <a:gd name="connsiteX117" fmla="*/ 864394 w 8601075"/>
                  <a:gd name="connsiteY117" fmla="*/ 471488 h 4305300"/>
                  <a:gd name="connsiteX118" fmla="*/ 797719 w 8601075"/>
                  <a:gd name="connsiteY118" fmla="*/ 461963 h 4305300"/>
                  <a:gd name="connsiteX119" fmla="*/ 728663 w 8601075"/>
                  <a:gd name="connsiteY119" fmla="*/ 485775 h 4305300"/>
                  <a:gd name="connsiteX120" fmla="*/ 673894 w 8601075"/>
                  <a:gd name="connsiteY120" fmla="*/ 523875 h 4305300"/>
                  <a:gd name="connsiteX121" fmla="*/ 578644 w 8601075"/>
                  <a:gd name="connsiteY121" fmla="*/ 538162 h 4305300"/>
                  <a:gd name="connsiteX122" fmla="*/ 564356 w 8601075"/>
                  <a:gd name="connsiteY122" fmla="*/ 559594 h 4305300"/>
                  <a:gd name="connsiteX123" fmla="*/ 576262 w 8601075"/>
                  <a:gd name="connsiteY123" fmla="*/ 604838 h 4305300"/>
                  <a:gd name="connsiteX124" fmla="*/ 476251 w 8601075"/>
                  <a:gd name="connsiteY124" fmla="*/ 657225 h 4305300"/>
                  <a:gd name="connsiteX125" fmla="*/ 438150 w 8601075"/>
                  <a:gd name="connsiteY125" fmla="*/ 628649 h 4305300"/>
                  <a:gd name="connsiteX126" fmla="*/ 407194 w 8601075"/>
                  <a:gd name="connsiteY126" fmla="*/ 685800 h 4305300"/>
                  <a:gd name="connsiteX127" fmla="*/ 350044 w 8601075"/>
                  <a:gd name="connsiteY127" fmla="*/ 647700 h 4305300"/>
                  <a:gd name="connsiteX128" fmla="*/ 314325 w 8601075"/>
                  <a:gd name="connsiteY128" fmla="*/ 676275 h 4305300"/>
                  <a:gd name="connsiteX129" fmla="*/ 278606 w 8601075"/>
                  <a:gd name="connsiteY129" fmla="*/ 640556 h 4305300"/>
                  <a:gd name="connsiteX130" fmla="*/ 226219 w 8601075"/>
                  <a:gd name="connsiteY130" fmla="*/ 652463 h 4305300"/>
                  <a:gd name="connsiteX131" fmla="*/ 180975 w 8601075"/>
                  <a:gd name="connsiteY131" fmla="*/ 623888 h 4305300"/>
                  <a:gd name="connsiteX132" fmla="*/ 157163 w 8601075"/>
                  <a:gd name="connsiteY132" fmla="*/ 642938 h 4305300"/>
                  <a:gd name="connsiteX133" fmla="*/ 133350 w 8601075"/>
                  <a:gd name="connsiteY133" fmla="*/ 702469 h 4305300"/>
                  <a:gd name="connsiteX134" fmla="*/ 61913 w 8601075"/>
                  <a:gd name="connsiteY134" fmla="*/ 740568 h 4305300"/>
                  <a:gd name="connsiteX135" fmla="*/ 28575 w 8601075"/>
                  <a:gd name="connsiteY135" fmla="*/ 769144 h 4305300"/>
                  <a:gd name="connsiteX136" fmla="*/ 33338 w 8601075"/>
                  <a:gd name="connsiteY136" fmla="*/ 812006 h 4305300"/>
                  <a:gd name="connsiteX137" fmla="*/ 0 w 8601075"/>
                  <a:gd name="connsiteY137" fmla="*/ 816769 h 4305300"/>
                  <a:gd name="connsiteX138" fmla="*/ 4763 w 8601075"/>
                  <a:gd name="connsiteY138" fmla="*/ 840581 h 4305300"/>
                  <a:gd name="connsiteX139" fmla="*/ 61912 w 8601075"/>
                  <a:gd name="connsiteY139" fmla="*/ 914400 h 4305300"/>
                  <a:gd name="connsiteX140" fmla="*/ 23813 w 8601075"/>
                  <a:gd name="connsiteY140" fmla="*/ 962025 h 4305300"/>
                  <a:gd name="connsiteX141" fmla="*/ 78581 w 8601075"/>
                  <a:gd name="connsiteY141" fmla="*/ 997744 h 4305300"/>
                  <a:gd name="connsiteX142" fmla="*/ 169069 w 8601075"/>
                  <a:gd name="connsiteY142" fmla="*/ 1085850 h 4305300"/>
                  <a:gd name="connsiteX143" fmla="*/ 171450 w 8601075"/>
                  <a:gd name="connsiteY143" fmla="*/ 1145381 h 4305300"/>
                  <a:gd name="connsiteX144" fmla="*/ 307181 w 8601075"/>
                  <a:gd name="connsiteY144" fmla="*/ 1278732 h 4305300"/>
                  <a:gd name="connsiteX145" fmla="*/ 361950 w 8601075"/>
                  <a:gd name="connsiteY145" fmla="*/ 1254919 h 4305300"/>
                  <a:gd name="connsiteX146" fmla="*/ 400050 w 8601075"/>
                  <a:gd name="connsiteY146" fmla="*/ 1281112 h 4305300"/>
                  <a:gd name="connsiteX147" fmla="*/ 414338 w 8601075"/>
                  <a:gd name="connsiteY147" fmla="*/ 1331118 h 4305300"/>
                  <a:gd name="connsiteX148" fmla="*/ 457200 w 8601075"/>
                  <a:gd name="connsiteY148" fmla="*/ 1366838 h 4305300"/>
                  <a:gd name="connsiteX149" fmla="*/ 497681 w 8601075"/>
                  <a:gd name="connsiteY149" fmla="*/ 1354931 h 4305300"/>
                  <a:gd name="connsiteX150" fmla="*/ 516731 w 8601075"/>
                  <a:gd name="connsiteY150" fmla="*/ 1412081 h 4305300"/>
                  <a:gd name="connsiteX151" fmla="*/ 564356 w 8601075"/>
                  <a:gd name="connsiteY151" fmla="*/ 1454944 h 4305300"/>
                  <a:gd name="connsiteX152" fmla="*/ 588169 w 8601075"/>
                  <a:gd name="connsiteY152" fmla="*/ 1557338 h 4305300"/>
                  <a:gd name="connsiteX153" fmla="*/ 585788 w 8601075"/>
                  <a:gd name="connsiteY153" fmla="*/ 1604963 h 4305300"/>
                  <a:gd name="connsiteX154" fmla="*/ 621506 w 8601075"/>
                  <a:gd name="connsiteY154" fmla="*/ 1704975 h 4305300"/>
                  <a:gd name="connsiteX155" fmla="*/ 666750 w 8601075"/>
                  <a:gd name="connsiteY155" fmla="*/ 1762125 h 4305300"/>
                  <a:gd name="connsiteX156" fmla="*/ 683418 w 8601075"/>
                  <a:gd name="connsiteY156" fmla="*/ 1919287 h 4305300"/>
                  <a:gd name="connsiteX157" fmla="*/ 650081 w 8601075"/>
                  <a:gd name="connsiteY157" fmla="*/ 1981200 h 4305300"/>
                  <a:gd name="connsiteX158" fmla="*/ 619125 w 8601075"/>
                  <a:gd name="connsiteY158" fmla="*/ 2057400 h 4305300"/>
                  <a:gd name="connsiteX159" fmla="*/ 633413 w 8601075"/>
                  <a:gd name="connsiteY159" fmla="*/ 2114550 h 4305300"/>
                  <a:gd name="connsiteX160" fmla="*/ 535781 w 8601075"/>
                  <a:gd name="connsiteY160" fmla="*/ 2221707 h 4305300"/>
                  <a:gd name="connsiteX161" fmla="*/ 492919 w 8601075"/>
                  <a:gd name="connsiteY161" fmla="*/ 2336006 h 4305300"/>
                  <a:gd name="connsiteX162" fmla="*/ 526256 w 8601075"/>
                  <a:gd name="connsiteY162" fmla="*/ 2376488 h 4305300"/>
                  <a:gd name="connsiteX163" fmla="*/ 509588 w 8601075"/>
                  <a:gd name="connsiteY163" fmla="*/ 2405063 h 4305300"/>
                  <a:gd name="connsiteX164" fmla="*/ 540544 w 8601075"/>
                  <a:gd name="connsiteY164" fmla="*/ 2462213 h 4305300"/>
                  <a:gd name="connsiteX165" fmla="*/ 569119 w 8601075"/>
                  <a:gd name="connsiteY165" fmla="*/ 2462213 h 4305300"/>
                  <a:gd name="connsiteX166" fmla="*/ 731044 w 8601075"/>
                  <a:gd name="connsiteY166" fmla="*/ 2564606 h 4305300"/>
                  <a:gd name="connsiteX167" fmla="*/ 835819 w 8601075"/>
                  <a:gd name="connsiteY167" fmla="*/ 2562225 h 4305300"/>
                  <a:gd name="connsiteX168" fmla="*/ 914400 w 8601075"/>
                  <a:gd name="connsiteY168" fmla="*/ 2616994 h 4305300"/>
                  <a:gd name="connsiteX169" fmla="*/ 1045368 w 8601075"/>
                  <a:gd name="connsiteY169" fmla="*/ 2619375 h 4305300"/>
                  <a:gd name="connsiteX170" fmla="*/ 1235868 w 8601075"/>
                  <a:gd name="connsiteY170" fmla="*/ 2688431 h 4305300"/>
                  <a:gd name="connsiteX171" fmla="*/ 1438275 w 8601075"/>
                  <a:gd name="connsiteY171" fmla="*/ 2838450 h 4305300"/>
                  <a:gd name="connsiteX172" fmla="*/ 1471612 w 8601075"/>
                  <a:gd name="connsiteY172" fmla="*/ 2905125 h 4305300"/>
                  <a:gd name="connsiteX173" fmla="*/ 1638300 w 8601075"/>
                  <a:gd name="connsiteY173" fmla="*/ 3031331 h 4305300"/>
                  <a:gd name="connsiteX174" fmla="*/ 1709738 w 8601075"/>
                  <a:gd name="connsiteY174" fmla="*/ 3026569 h 4305300"/>
                  <a:gd name="connsiteX175" fmla="*/ 1745457 w 8601075"/>
                  <a:gd name="connsiteY175" fmla="*/ 3050381 h 4305300"/>
                  <a:gd name="connsiteX176" fmla="*/ 1716881 w 8601075"/>
                  <a:gd name="connsiteY176" fmla="*/ 3090863 h 4305300"/>
                  <a:gd name="connsiteX177" fmla="*/ 1724025 w 8601075"/>
                  <a:gd name="connsiteY177" fmla="*/ 3143250 h 4305300"/>
                  <a:gd name="connsiteX178" fmla="*/ 1776413 w 8601075"/>
                  <a:gd name="connsiteY178" fmla="*/ 3169444 h 4305300"/>
                  <a:gd name="connsiteX179" fmla="*/ 1838325 w 8601075"/>
                  <a:gd name="connsiteY179" fmla="*/ 3393282 h 4305300"/>
                  <a:gd name="connsiteX180" fmla="*/ 1828800 w 8601075"/>
                  <a:gd name="connsiteY180" fmla="*/ 3457575 h 4305300"/>
                  <a:gd name="connsiteX181" fmla="*/ 1964531 w 8601075"/>
                  <a:gd name="connsiteY181" fmla="*/ 3624263 h 4305300"/>
                  <a:gd name="connsiteX182" fmla="*/ 1983581 w 8601075"/>
                  <a:gd name="connsiteY182" fmla="*/ 3674269 h 4305300"/>
                  <a:gd name="connsiteX183" fmla="*/ 1957388 w 8601075"/>
                  <a:gd name="connsiteY183" fmla="*/ 3693319 h 4305300"/>
                  <a:gd name="connsiteX184" fmla="*/ 2059781 w 8601075"/>
                  <a:gd name="connsiteY184" fmla="*/ 3702844 h 4305300"/>
                  <a:gd name="connsiteX185" fmla="*/ 2171700 w 8601075"/>
                  <a:gd name="connsiteY185" fmla="*/ 3690938 h 4305300"/>
                  <a:gd name="connsiteX186" fmla="*/ 2450306 w 8601075"/>
                  <a:gd name="connsiteY186" fmla="*/ 3774281 h 4305300"/>
                  <a:gd name="connsiteX187" fmla="*/ 2857500 w 8601075"/>
                  <a:gd name="connsiteY187" fmla="*/ 3855244 h 4305300"/>
                  <a:gd name="connsiteX188" fmla="*/ 3055144 w 8601075"/>
                  <a:gd name="connsiteY188" fmla="*/ 3824287 h 4305300"/>
                  <a:gd name="connsiteX189" fmla="*/ 3100388 w 8601075"/>
                  <a:gd name="connsiteY189" fmla="*/ 3836193 h 4305300"/>
                  <a:gd name="connsiteX190" fmla="*/ 3155156 w 8601075"/>
                  <a:gd name="connsiteY190" fmla="*/ 3812382 h 4305300"/>
                  <a:gd name="connsiteX191" fmla="*/ 3548062 w 8601075"/>
                  <a:gd name="connsiteY191" fmla="*/ 3902869 h 4305300"/>
                  <a:gd name="connsiteX192" fmla="*/ 3631407 w 8601075"/>
                  <a:gd name="connsiteY192" fmla="*/ 4000500 h 4305300"/>
                  <a:gd name="connsiteX193" fmla="*/ 3750469 w 8601075"/>
                  <a:gd name="connsiteY193" fmla="*/ 4071938 h 4305300"/>
                  <a:gd name="connsiteX194" fmla="*/ 3810000 w 8601075"/>
                  <a:gd name="connsiteY194" fmla="*/ 4055269 h 4305300"/>
                  <a:gd name="connsiteX195" fmla="*/ 4160043 w 8601075"/>
                  <a:gd name="connsiteY195" fmla="*/ 4229100 h 4305300"/>
                  <a:gd name="connsiteX196" fmla="*/ 4386263 w 8601075"/>
                  <a:gd name="connsiteY196" fmla="*/ 4200525 h 4305300"/>
                  <a:gd name="connsiteX197" fmla="*/ 4395788 w 8601075"/>
                  <a:gd name="connsiteY197" fmla="*/ 4279106 h 4305300"/>
                  <a:gd name="connsiteX198" fmla="*/ 4481513 w 8601075"/>
                  <a:gd name="connsiteY198" fmla="*/ 4274343 h 4305300"/>
                  <a:gd name="connsiteX199" fmla="*/ 4560094 w 8601075"/>
                  <a:gd name="connsiteY199" fmla="*/ 4305300 h 4305300"/>
                  <a:gd name="connsiteX200" fmla="*/ 4602956 w 8601075"/>
                  <a:gd name="connsiteY200" fmla="*/ 4245769 h 4305300"/>
                  <a:gd name="connsiteX201" fmla="*/ 5274469 w 8601075"/>
                  <a:gd name="connsiteY201" fmla="*/ 3926681 h 4305300"/>
                  <a:gd name="connsiteX202" fmla="*/ 5362575 w 8601075"/>
                  <a:gd name="connsiteY202" fmla="*/ 3955257 h 4305300"/>
                  <a:gd name="connsiteX203" fmla="*/ 5493544 w 8601075"/>
                  <a:gd name="connsiteY203" fmla="*/ 3926681 h 4305300"/>
                  <a:gd name="connsiteX204" fmla="*/ 5672137 w 8601075"/>
                  <a:gd name="connsiteY204" fmla="*/ 3943350 h 4305300"/>
                  <a:gd name="connsiteX205" fmla="*/ 5729288 w 8601075"/>
                  <a:gd name="connsiteY205" fmla="*/ 3917157 h 4305300"/>
                  <a:gd name="connsiteX206" fmla="*/ 5862637 w 8601075"/>
                  <a:gd name="connsiteY206" fmla="*/ 3914775 h 4305300"/>
                  <a:gd name="connsiteX207" fmla="*/ 5995987 w 8601075"/>
                  <a:gd name="connsiteY207" fmla="*/ 3817144 h 4305300"/>
                  <a:gd name="connsiteX208" fmla="*/ 6062662 w 8601075"/>
                  <a:gd name="connsiteY208" fmla="*/ 3810000 h 4305300"/>
                  <a:gd name="connsiteX209" fmla="*/ 6160294 w 8601075"/>
                  <a:gd name="connsiteY209" fmla="*/ 3736181 h 4305300"/>
                  <a:gd name="connsiteX210" fmla="*/ 6234113 w 8601075"/>
                  <a:gd name="connsiteY210" fmla="*/ 3667125 h 4305300"/>
                  <a:gd name="connsiteX211" fmla="*/ 6243638 w 8601075"/>
                  <a:gd name="connsiteY211" fmla="*/ 3605213 h 4305300"/>
                  <a:gd name="connsiteX212" fmla="*/ 6276975 w 8601075"/>
                  <a:gd name="connsiteY212" fmla="*/ 3536156 h 4305300"/>
                  <a:gd name="connsiteX213" fmla="*/ 6429375 w 8601075"/>
                  <a:gd name="connsiteY213" fmla="*/ 3429000 h 4305300"/>
                  <a:gd name="connsiteX214" fmla="*/ 6462713 w 8601075"/>
                  <a:gd name="connsiteY214" fmla="*/ 3433763 h 4305300"/>
                  <a:gd name="connsiteX215" fmla="*/ 6515100 w 8601075"/>
                  <a:gd name="connsiteY215" fmla="*/ 3355181 h 4305300"/>
                  <a:gd name="connsiteX216" fmla="*/ 6562725 w 8601075"/>
                  <a:gd name="connsiteY216" fmla="*/ 3317081 h 4305300"/>
                  <a:gd name="connsiteX217" fmla="*/ 6548438 w 8601075"/>
                  <a:gd name="connsiteY217" fmla="*/ 3248025 h 4305300"/>
                  <a:gd name="connsiteX218" fmla="*/ 6498431 w 8601075"/>
                  <a:gd name="connsiteY218" fmla="*/ 3217068 h 4305300"/>
                  <a:gd name="connsiteX219" fmla="*/ 6438900 w 8601075"/>
                  <a:gd name="connsiteY219" fmla="*/ 3162300 h 4305300"/>
                  <a:gd name="connsiteX220" fmla="*/ 6419850 w 8601075"/>
                  <a:gd name="connsiteY220" fmla="*/ 3105150 h 4305300"/>
                  <a:gd name="connsiteX221" fmla="*/ 6384131 w 8601075"/>
                  <a:gd name="connsiteY221" fmla="*/ 3071813 h 4305300"/>
                  <a:gd name="connsiteX222" fmla="*/ 6410325 w 8601075"/>
                  <a:gd name="connsiteY222" fmla="*/ 3019425 h 4305300"/>
                  <a:gd name="connsiteX223" fmla="*/ 6450806 w 8601075"/>
                  <a:gd name="connsiteY223" fmla="*/ 2840831 h 4305300"/>
                  <a:gd name="connsiteX224" fmla="*/ 6491288 w 8601075"/>
                  <a:gd name="connsiteY224" fmla="*/ 2774156 h 4305300"/>
                  <a:gd name="connsiteX225" fmla="*/ 6636544 w 8601075"/>
                  <a:gd name="connsiteY225" fmla="*/ 2757487 h 4305300"/>
                  <a:gd name="connsiteX226" fmla="*/ 6705600 w 8601075"/>
                  <a:gd name="connsiteY226" fmla="*/ 2814638 h 4305300"/>
                  <a:gd name="connsiteX227" fmla="*/ 6781800 w 8601075"/>
                  <a:gd name="connsiteY227" fmla="*/ 2838450 h 4305300"/>
                  <a:gd name="connsiteX228" fmla="*/ 6986587 w 8601075"/>
                  <a:gd name="connsiteY228" fmla="*/ 2843213 h 4305300"/>
                  <a:gd name="connsiteX229" fmla="*/ 7162800 w 8601075"/>
                  <a:gd name="connsiteY229" fmla="*/ 2705100 h 4305300"/>
                  <a:gd name="connsiteX230" fmla="*/ 7219950 w 8601075"/>
                  <a:gd name="connsiteY230" fmla="*/ 2614612 h 4305300"/>
                  <a:gd name="connsiteX231" fmla="*/ 7246144 w 8601075"/>
                  <a:gd name="connsiteY231" fmla="*/ 2531269 h 4305300"/>
                  <a:gd name="connsiteX232" fmla="*/ 7377112 w 8601075"/>
                  <a:gd name="connsiteY232" fmla="*/ 2531269 h 4305300"/>
                  <a:gd name="connsiteX233" fmla="*/ 7550944 w 8601075"/>
                  <a:gd name="connsiteY233" fmla="*/ 2474118 h 4305300"/>
                  <a:gd name="connsiteX234" fmla="*/ 7610475 w 8601075"/>
                  <a:gd name="connsiteY234" fmla="*/ 2362200 h 4305300"/>
                  <a:gd name="connsiteX235" fmla="*/ 7674769 w 8601075"/>
                  <a:gd name="connsiteY235" fmla="*/ 2326481 h 4305300"/>
                  <a:gd name="connsiteX236" fmla="*/ 7653338 w 8601075"/>
                  <a:gd name="connsiteY236" fmla="*/ 2281238 h 4305300"/>
                  <a:gd name="connsiteX237" fmla="*/ 7731919 w 8601075"/>
                  <a:gd name="connsiteY237" fmla="*/ 2112168 h 4305300"/>
                  <a:gd name="connsiteX238" fmla="*/ 7786688 w 8601075"/>
                  <a:gd name="connsiteY238" fmla="*/ 2052638 h 4305300"/>
                  <a:gd name="connsiteX239" fmla="*/ 7824788 w 8601075"/>
                  <a:gd name="connsiteY239" fmla="*/ 2047875 h 4305300"/>
                  <a:gd name="connsiteX240" fmla="*/ 7870031 w 8601075"/>
                  <a:gd name="connsiteY240" fmla="*/ 2052638 h 4305300"/>
                  <a:gd name="connsiteX241" fmla="*/ 7934325 w 8601075"/>
                  <a:gd name="connsiteY241" fmla="*/ 2019300 h 4305300"/>
                  <a:gd name="connsiteX242" fmla="*/ 7943850 w 8601075"/>
                  <a:gd name="connsiteY242" fmla="*/ 1955006 h 4305300"/>
                  <a:gd name="connsiteX243" fmla="*/ 7984330 w 8601075"/>
                  <a:gd name="connsiteY243" fmla="*/ 1919288 h 4305300"/>
                  <a:gd name="connsiteX244" fmla="*/ 8043863 w 8601075"/>
                  <a:gd name="connsiteY244" fmla="*/ 1959768 h 4305300"/>
                  <a:gd name="connsiteX245" fmla="*/ 8070057 w 8601075"/>
                  <a:gd name="connsiteY245" fmla="*/ 1909762 h 4305300"/>
                  <a:gd name="connsiteX246" fmla="*/ 8165306 w 8601075"/>
                  <a:gd name="connsiteY246" fmla="*/ 1840706 h 4305300"/>
                  <a:gd name="connsiteX247" fmla="*/ 8227219 w 8601075"/>
                  <a:gd name="connsiteY247" fmla="*/ 1847850 h 4305300"/>
                  <a:gd name="connsiteX248" fmla="*/ 8277225 w 8601075"/>
                  <a:gd name="connsiteY248" fmla="*/ 1828800 h 4305300"/>
                  <a:gd name="connsiteX249" fmla="*/ 8315325 w 8601075"/>
                  <a:gd name="connsiteY249" fmla="*/ 1800225 h 4305300"/>
                  <a:gd name="connsiteX250" fmla="*/ 8348663 w 8601075"/>
                  <a:gd name="connsiteY250" fmla="*/ 1797844 h 4305300"/>
                  <a:gd name="connsiteX251" fmla="*/ 8384381 w 8601075"/>
                  <a:gd name="connsiteY251" fmla="*/ 1828800 h 4305300"/>
                  <a:gd name="connsiteX252" fmla="*/ 8443913 w 8601075"/>
                  <a:gd name="connsiteY252" fmla="*/ 1828800 h 4305300"/>
                  <a:gd name="connsiteX253" fmla="*/ 8482012 w 8601075"/>
                  <a:gd name="connsiteY253" fmla="*/ 1809750 h 4305300"/>
                  <a:gd name="connsiteX254" fmla="*/ 8565356 w 8601075"/>
                  <a:gd name="connsiteY254" fmla="*/ 1812132 h 4305300"/>
                  <a:gd name="connsiteX255" fmla="*/ 8596313 w 8601075"/>
                  <a:gd name="connsiteY255" fmla="*/ 1766888 h 4305300"/>
                  <a:gd name="connsiteX256" fmla="*/ 8601075 w 8601075"/>
                  <a:gd name="connsiteY256" fmla="*/ 1704975 h 4305300"/>
                  <a:gd name="connsiteX257" fmla="*/ 8551068 w 8601075"/>
                  <a:gd name="connsiteY257" fmla="*/ 1664494 h 4305300"/>
                  <a:gd name="connsiteX258" fmla="*/ 8534400 w 8601075"/>
                  <a:gd name="connsiteY258" fmla="*/ 1609725 h 4305300"/>
                  <a:gd name="connsiteX259" fmla="*/ 8443913 w 8601075"/>
                  <a:gd name="connsiteY259" fmla="*/ 1547813 h 4305300"/>
                  <a:gd name="connsiteX260" fmla="*/ 8403431 w 8601075"/>
                  <a:gd name="connsiteY260" fmla="*/ 1526381 h 4305300"/>
                  <a:gd name="connsiteX261" fmla="*/ 8365331 w 8601075"/>
                  <a:gd name="connsiteY261" fmla="*/ 1481138 h 4305300"/>
                  <a:gd name="connsiteX262" fmla="*/ 8334375 w 8601075"/>
                  <a:gd name="connsiteY262" fmla="*/ 1478756 h 4305300"/>
                  <a:gd name="connsiteX263" fmla="*/ 8317706 w 8601075"/>
                  <a:gd name="connsiteY263" fmla="*/ 1426369 h 4305300"/>
                  <a:gd name="connsiteX264" fmla="*/ 8277225 w 8601075"/>
                  <a:gd name="connsiteY264" fmla="*/ 1409700 h 4305300"/>
                  <a:gd name="connsiteX265" fmla="*/ 8277225 w 8601075"/>
                  <a:gd name="connsiteY265" fmla="*/ 1409700 h 4305300"/>
                  <a:gd name="connsiteX266" fmla="*/ 8236744 w 8601075"/>
                  <a:gd name="connsiteY266" fmla="*/ 1414463 h 4305300"/>
                  <a:gd name="connsiteX267" fmla="*/ 8151018 w 8601075"/>
                  <a:gd name="connsiteY267" fmla="*/ 1340644 h 4305300"/>
                  <a:gd name="connsiteX268" fmla="*/ 7970044 w 8601075"/>
                  <a:gd name="connsiteY268" fmla="*/ 1340643 h 4305300"/>
                  <a:gd name="connsiteX269" fmla="*/ 7917656 w 8601075"/>
                  <a:gd name="connsiteY269" fmla="*/ 1378744 h 4305300"/>
                  <a:gd name="connsiteX270" fmla="*/ 7867650 w 8601075"/>
                  <a:gd name="connsiteY270" fmla="*/ 1457325 h 4305300"/>
                  <a:gd name="connsiteX271" fmla="*/ 7884319 w 8601075"/>
                  <a:gd name="connsiteY271" fmla="*/ 1478756 h 4305300"/>
                  <a:gd name="connsiteX272" fmla="*/ 7839075 w 8601075"/>
                  <a:gd name="connsiteY272" fmla="*/ 1528762 h 4305300"/>
                  <a:gd name="connsiteX273" fmla="*/ 7689056 w 8601075"/>
                  <a:gd name="connsiteY273" fmla="*/ 1452562 h 4305300"/>
                  <a:gd name="connsiteX274" fmla="*/ 7598569 w 8601075"/>
                  <a:gd name="connsiteY274" fmla="*/ 1488281 h 4305300"/>
                  <a:gd name="connsiteX275" fmla="*/ 7524750 w 8601075"/>
                  <a:gd name="connsiteY275" fmla="*/ 1485900 h 4305300"/>
                  <a:gd name="connsiteX276" fmla="*/ 7467600 w 8601075"/>
                  <a:gd name="connsiteY276" fmla="*/ 1581150 h 4305300"/>
                  <a:gd name="connsiteX277" fmla="*/ 7329488 w 8601075"/>
                  <a:gd name="connsiteY277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600825 w 8601075"/>
                  <a:gd name="connsiteY16" fmla="*/ 904875 h 4305300"/>
                  <a:gd name="connsiteX17" fmla="*/ 6600825 w 8601075"/>
                  <a:gd name="connsiteY17" fmla="*/ 904875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600825 w 8601075"/>
                  <a:gd name="connsiteY16" fmla="*/ 904875 h 4305300"/>
                  <a:gd name="connsiteX17" fmla="*/ 6581775 w 8601075"/>
                  <a:gd name="connsiteY17" fmla="*/ 928688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81775 w 8601075"/>
                  <a:gd name="connsiteY17" fmla="*/ 928688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60331 w 8601075"/>
                  <a:gd name="connsiteY21" fmla="*/ 964407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60331 w 8601075"/>
                  <a:gd name="connsiteY21" fmla="*/ 964407 h 4305300"/>
                  <a:gd name="connsiteX22" fmla="*/ 6355556 w 8601075"/>
                  <a:gd name="connsiteY22" fmla="*/ 1021556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55556 w 8601075"/>
                  <a:gd name="connsiteY22" fmla="*/ 1021556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17456 w 8601075"/>
                  <a:gd name="connsiteY22" fmla="*/ 1042987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115050 w 8601075"/>
                  <a:gd name="connsiteY24" fmla="*/ 1114425 h 4305300"/>
                  <a:gd name="connsiteX25" fmla="*/ 5962650 w 8601075"/>
                  <a:gd name="connsiteY25" fmla="*/ 1190625 h 4305300"/>
                  <a:gd name="connsiteX26" fmla="*/ 5895975 w 8601075"/>
                  <a:gd name="connsiteY26" fmla="*/ 1143000 h 4305300"/>
                  <a:gd name="connsiteX27" fmla="*/ 5895975 w 8601075"/>
                  <a:gd name="connsiteY27" fmla="*/ 1143000 h 4305300"/>
                  <a:gd name="connsiteX28" fmla="*/ 5676900 w 8601075"/>
                  <a:gd name="connsiteY28" fmla="*/ 1181100 h 4305300"/>
                  <a:gd name="connsiteX29" fmla="*/ 5600700 w 8601075"/>
                  <a:gd name="connsiteY29" fmla="*/ 1114425 h 4305300"/>
                  <a:gd name="connsiteX30" fmla="*/ 5391150 w 8601075"/>
                  <a:gd name="connsiteY30" fmla="*/ 1123950 h 4305300"/>
                  <a:gd name="connsiteX31" fmla="*/ 5334000 w 8601075"/>
                  <a:gd name="connsiteY31" fmla="*/ 1066800 h 4305300"/>
                  <a:gd name="connsiteX32" fmla="*/ 5248275 w 8601075"/>
                  <a:gd name="connsiteY32" fmla="*/ 981075 h 4305300"/>
                  <a:gd name="connsiteX33" fmla="*/ 5238750 w 8601075"/>
                  <a:gd name="connsiteY33" fmla="*/ 895350 h 4305300"/>
                  <a:gd name="connsiteX34" fmla="*/ 5133975 w 8601075"/>
                  <a:gd name="connsiteY34" fmla="*/ 895350 h 4305300"/>
                  <a:gd name="connsiteX35" fmla="*/ 4991100 w 8601075"/>
                  <a:gd name="connsiteY35" fmla="*/ 838200 h 4305300"/>
                  <a:gd name="connsiteX36" fmla="*/ 4905375 w 8601075"/>
                  <a:gd name="connsiteY36" fmla="*/ 771525 h 4305300"/>
                  <a:gd name="connsiteX37" fmla="*/ 4905375 w 8601075"/>
                  <a:gd name="connsiteY37" fmla="*/ 771525 h 4305300"/>
                  <a:gd name="connsiteX38" fmla="*/ 4781550 w 8601075"/>
                  <a:gd name="connsiteY38" fmla="*/ 762000 h 4305300"/>
                  <a:gd name="connsiteX39" fmla="*/ 4648200 w 8601075"/>
                  <a:gd name="connsiteY39" fmla="*/ 714375 h 4305300"/>
                  <a:gd name="connsiteX40" fmla="*/ 4581525 w 8601075"/>
                  <a:gd name="connsiteY40" fmla="*/ 695325 h 4305300"/>
                  <a:gd name="connsiteX41" fmla="*/ 4495800 w 8601075"/>
                  <a:gd name="connsiteY41" fmla="*/ 742950 h 4305300"/>
                  <a:gd name="connsiteX42" fmla="*/ 4343400 w 8601075"/>
                  <a:gd name="connsiteY42" fmla="*/ 781050 h 4305300"/>
                  <a:gd name="connsiteX43" fmla="*/ 4252913 w 8601075"/>
                  <a:gd name="connsiteY43" fmla="*/ 862013 h 4305300"/>
                  <a:gd name="connsiteX44" fmla="*/ 4205287 w 8601075"/>
                  <a:gd name="connsiteY44" fmla="*/ 823913 h 4305300"/>
                  <a:gd name="connsiteX45" fmla="*/ 4183856 w 8601075"/>
                  <a:gd name="connsiteY45" fmla="*/ 854868 h 4305300"/>
                  <a:gd name="connsiteX46" fmla="*/ 4110038 w 8601075"/>
                  <a:gd name="connsiteY46" fmla="*/ 804863 h 4305300"/>
                  <a:gd name="connsiteX47" fmla="*/ 4071938 w 8601075"/>
                  <a:gd name="connsiteY47" fmla="*/ 812006 h 4305300"/>
                  <a:gd name="connsiteX48" fmla="*/ 4050506 w 8601075"/>
                  <a:gd name="connsiteY48" fmla="*/ 773906 h 4305300"/>
                  <a:gd name="connsiteX49" fmla="*/ 3990975 w 8601075"/>
                  <a:gd name="connsiteY49" fmla="*/ 778669 h 4305300"/>
                  <a:gd name="connsiteX50" fmla="*/ 3945731 w 8601075"/>
                  <a:gd name="connsiteY50" fmla="*/ 750094 h 4305300"/>
                  <a:gd name="connsiteX51" fmla="*/ 3907631 w 8601075"/>
                  <a:gd name="connsiteY51" fmla="*/ 747713 h 4305300"/>
                  <a:gd name="connsiteX52" fmla="*/ 3888581 w 8601075"/>
                  <a:gd name="connsiteY52" fmla="*/ 700087 h 4305300"/>
                  <a:gd name="connsiteX53" fmla="*/ 3874294 w 8601075"/>
                  <a:gd name="connsiteY53" fmla="*/ 669131 h 4305300"/>
                  <a:gd name="connsiteX54" fmla="*/ 3829050 w 8601075"/>
                  <a:gd name="connsiteY54" fmla="*/ 678656 h 4305300"/>
                  <a:gd name="connsiteX55" fmla="*/ 3810000 w 8601075"/>
                  <a:gd name="connsiteY55" fmla="*/ 642938 h 4305300"/>
                  <a:gd name="connsiteX56" fmla="*/ 3831432 w 8601075"/>
                  <a:gd name="connsiteY56" fmla="*/ 588169 h 4305300"/>
                  <a:gd name="connsiteX57" fmla="*/ 3800475 w 8601075"/>
                  <a:gd name="connsiteY57" fmla="*/ 561975 h 4305300"/>
                  <a:gd name="connsiteX58" fmla="*/ 3817144 w 8601075"/>
                  <a:gd name="connsiteY58" fmla="*/ 519113 h 4305300"/>
                  <a:gd name="connsiteX59" fmla="*/ 3790950 w 8601075"/>
                  <a:gd name="connsiteY59" fmla="*/ 476250 h 4305300"/>
                  <a:gd name="connsiteX60" fmla="*/ 3786188 w 8601075"/>
                  <a:gd name="connsiteY60" fmla="*/ 414338 h 4305300"/>
                  <a:gd name="connsiteX61" fmla="*/ 3810000 w 8601075"/>
                  <a:gd name="connsiteY61" fmla="*/ 350043 h 4305300"/>
                  <a:gd name="connsiteX62" fmla="*/ 3771900 w 8601075"/>
                  <a:gd name="connsiteY62" fmla="*/ 352425 h 4305300"/>
                  <a:gd name="connsiteX63" fmla="*/ 3652838 w 8601075"/>
                  <a:gd name="connsiteY63" fmla="*/ 295275 h 4305300"/>
                  <a:gd name="connsiteX64" fmla="*/ 3614737 w 8601075"/>
                  <a:gd name="connsiteY64" fmla="*/ 300037 h 4305300"/>
                  <a:gd name="connsiteX65" fmla="*/ 3409950 w 8601075"/>
                  <a:gd name="connsiteY65" fmla="*/ 190500 h 4305300"/>
                  <a:gd name="connsiteX66" fmla="*/ 3305175 w 8601075"/>
                  <a:gd name="connsiteY66" fmla="*/ 159544 h 4305300"/>
                  <a:gd name="connsiteX67" fmla="*/ 3240881 w 8601075"/>
                  <a:gd name="connsiteY67" fmla="*/ 169068 h 4305300"/>
                  <a:gd name="connsiteX68" fmla="*/ 3209925 w 8601075"/>
                  <a:gd name="connsiteY68" fmla="*/ 104775 h 4305300"/>
                  <a:gd name="connsiteX69" fmla="*/ 3152775 w 8601075"/>
                  <a:gd name="connsiteY69" fmla="*/ 104775 h 4305300"/>
                  <a:gd name="connsiteX70" fmla="*/ 3014662 w 8601075"/>
                  <a:gd name="connsiteY70" fmla="*/ 0 h 4305300"/>
                  <a:gd name="connsiteX71" fmla="*/ 2981325 w 8601075"/>
                  <a:gd name="connsiteY71" fmla="*/ 59532 h 4305300"/>
                  <a:gd name="connsiteX72" fmla="*/ 2926556 w 8601075"/>
                  <a:gd name="connsiteY72" fmla="*/ 128588 h 4305300"/>
                  <a:gd name="connsiteX73" fmla="*/ 2883694 w 8601075"/>
                  <a:gd name="connsiteY73" fmla="*/ 145256 h 4305300"/>
                  <a:gd name="connsiteX74" fmla="*/ 2852738 w 8601075"/>
                  <a:gd name="connsiteY74" fmla="*/ 138113 h 4305300"/>
                  <a:gd name="connsiteX75" fmla="*/ 2828925 w 8601075"/>
                  <a:gd name="connsiteY75" fmla="*/ 166688 h 4305300"/>
                  <a:gd name="connsiteX76" fmla="*/ 2802731 w 8601075"/>
                  <a:gd name="connsiteY76" fmla="*/ 245269 h 4305300"/>
                  <a:gd name="connsiteX77" fmla="*/ 2759869 w 8601075"/>
                  <a:gd name="connsiteY77" fmla="*/ 242888 h 4305300"/>
                  <a:gd name="connsiteX78" fmla="*/ 2728912 w 8601075"/>
                  <a:gd name="connsiteY78" fmla="*/ 304800 h 4305300"/>
                  <a:gd name="connsiteX79" fmla="*/ 2724150 w 8601075"/>
                  <a:gd name="connsiteY79" fmla="*/ 369094 h 4305300"/>
                  <a:gd name="connsiteX80" fmla="*/ 2697957 w 8601075"/>
                  <a:gd name="connsiteY80" fmla="*/ 407194 h 4305300"/>
                  <a:gd name="connsiteX81" fmla="*/ 2724150 w 8601075"/>
                  <a:gd name="connsiteY81" fmla="*/ 466725 h 4305300"/>
                  <a:gd name="connsiteX82" fmla="*/ 2726531 w 8601075"/>
                  <a:gd name="connsiteY82" fmla="*/ 535781 h 4305300"/>
                  <a:gd name="connsiteX83" fmla="*/ 2755106 w 8601075"/>
                  <a:gd name="connsiteY83" fmla="*/ 588169 h 4305300"/>
                  <a:gd name="connsiteX84" fmla="*/ 2802732 w 8601075"/>
                  <a:gd name="connsiteY84" fmla="*/ 642938 h 4305300"/>
                  <a:gd name="connsiteX85" fmla="*/ 2752725 w 8601075"/>
                  <a:gd name="connsiteY85" fmla="*/ 781050 h 4305300"/>
                  <a:gd name="connsiteX86" fmla="*/ 2683669 w 8601075"/>
                  <a:gd name="connsiteY86" fmla="*/ 847725 h 4305300"/>
                  <a:gd name="connsiteX87" fmla="*/ 2612231 w 8601075"/>
                  <a:gd name="connsiteY87" fmla="*/ 842963 h 4305300"/>
                  <a:gd name="connsiteX88" fmla="*/ 2574131 w 8601075"/>
                  <a:gd name="connsiteY88" fmla="*/ 900113 h 4305300"/>
                  <a:gd name="connsiteX89" fmla="*/ 2514600 w 8601075"/>
                  <a:gd name="connsiteY89" fmla="*/ 914400 h 4305300"/>
                  <a:gd name="connsiteX90" fmla="*/ 2445544 w 8601075"/>
                  <a:gd name="connsiteY90" fmla="*/ 854869 h 4305300"/>
                  <a:gd name="connsiteX91" fmla="*/ 2390775 w 8601075"/>
                  <a:gd name="connsiteY91" fmla="*/ 826294 h 4305300"/>
                  <a:gd name="connsiteX92" fmla="*/ 2347913 w 8601075"/>
                  <a:gd name="connsiteY92" fmla="*/ 840581 h 4305300"/>
                  <a:gd name="connsiteX93" fmla="*/ 2295525 w 8601075"/>
                  <a:gd name="connsiteY93" fmla="*/ 823913 h 4305300"/>
                  <a:gd name="connsiteX94" fmla="*/ 2228850 w 8601075"/>
                  <a:gd name="connsiteY94" fmla="*/ 769144 h 4305300"/>
                  <a:gd name="connsiteX95" fmla="*/ 2183606 w 8601075"/>
                  <a:gd name="connsiteY95" fmla="*/ 781050 h 4305300"/>
                  <a:gd name="connsiteX96" fmla="*/ 2162175 w 8601075"/>
                  <a:gd name="connsiteY96" fmla="*/ 750094 h 4305300"/>
                  <a:gd name="connsiteX97" fmla="*/ 2105025 w 8601075"/>
                  <a:gd name="connsiteY97" fmla="*/ 790575 h 4305300"/>
                  <a:gd name="connsiteX98" fmla="*/ 1988344 w 8601075"/>
                  <a:gd name="connsiteY98" fmla="*/ 769144 h 4305300"/>
                  <a:gd name="connsiteX99" fmla="*/ 1938338 w 8601075"/>
                  <a:gd name="connsiteY99" fmla="*/ 716756 h 4305300"/>
                  <a:gd name="connsiteX100" fmla="*/ 1895475 w 8601075"/>
                  <a:gd name="connsiteY100" fmla="*/ 702469 h 4305300"/>
                  <a:gd name="connsiteX101" fmla="*/ 1852613 w 8601075"/>
                  <a:gd name="connsiteY101" fmla="*/ 728663 h 4305300"/>
                  <a:gd name="connsiteX102" fmla="*/ 1800225 w 8601075"/>
                  <a:gd name="connsiteY102" fmla="*/ 638175 h 4305300"/>
                  <a:gd name="connsiteX103" fmla="*/ 1790700 w 8601075"/>
                  <a:gd name="connsiteY103" fmla="*/ 490537 h 4305300"/>
                  <a:gd name="connsiteX104" fmla="*/ 1738312 w 8601075"/>
                  <a:gd name="connsiteY104" fmla="*/ 483393 h 4305300"/>
                  <a:gd name="connsiteX105" fmla="*/ 1647825 w 8601075"/>
                  <a:gd name="connsiteY105" fmla="*/ 473869 h 4305300"/>
                  <a:gd name="connsiteX106" fmla="*/ 1593056 w 8601075"/>
                  <a:gd name="connsiteY106" fmla="*/ 435769 h 4305300"/>
                  <a:gd name="connsiteX107" fmla="*/ 1524000 w 8601075"/>
                  <a:gd name="connsiteY107" fmla="*/ 445294 h 4305300"/>
                  <a:gd name="connsiteX108" fmla="*/ 1478756 w 8601075"/>
                  <a:gd name="connsiteY108" fmla="*/ 419100 h 4305300"/>
                  <a:gd name="connsiteX109" fmla="*/ 1469232 w 8601075"/>
                  <a:gd name="connsiteY109" fmla="*/ 347663 h 4305300"/>
                  <a:gd name="connsiteX110" fmla="*/ 1445419 w 8601075"/>
                  <a:gd name="connsiteY110" fmla="*/ 333375 h 4305300"/>
                  <a:gd name="connsiteX111" fmla="*/ 1407319 w 8601075"/>
                  <a:gd name="connsiteY111" fmla="*/ 380999 h 4305300"/>
                  <a:gd name="connsiteX112" fmla="*/ 1328737 w 8601075"/>
                  <a:gd name="connsiteY112" fmla="*/ 307181 h 4305300"/>
                  <a:gd name="connsiteX113" fmla="*/ 1288256 w 8601075"/>
                  <a:gd name="connsiteY113" fmla="*/ 347663 h 4305300"/>
                  <a:gd name="connsiteX114" fmla="*/ 1212056 w 8601075"/>
                  <a:gd name="connsiteY114" fmla="*/ 333375 h 4305300"/>
                  <a:gd name="connsiteX115" fmla="*/ 1133475 w 8601075"/>
                  <a:gd name="connsiteY115" fmla="*/ 359569 h 4305300"/>
                  <a:gd name="connsiteX116" fmla="*/ 1073944 w 8601075"/>
                  <a:gd name="connsiteY116" fmla="*/ 407193 h 4305300"/>
                  <a:gd name="connsiteX117" fmla="*/ 1000125 w 8601075"/>
                  <a:gd name="connsiteY117" fmla="*/ 419100 h 4305300"/>
                  <a:gd name="connsiteX118" fmla="*/ 964406 w 8601075"/>
                  <a:gd name="connsiteY118" fmla="*/ 411956 h 4305300"/>
                  <a:gd name="connsiteX119" fmla="*/ 885826 w 8601075"/>
                  <a:gd name="connsiteY119" fmla="*/ 442913 h 4305300"/>
                  <a:gd name="connsiteX120" fmla="*/ 864394 w 8601075"/>
                  <a:gd name="connsiteY120" fmla="*/ 471488 h 4305300"/>
                  <a:gd name="connsiteX121" fmla="*/ 797719 w 8601075"/>
                  <a:gd name="connsiteY121" fmla="*/ 461963 h 4305300"/>
                  <a:gd name="connsiteX122" fmla="*/ 728663 w 8601075"/>
                  <a:gd name="connsiteY122" fmla="*/ 485775 h 4305300"/>
                  <a:gd name="connsiteX123" fmla="*/ 673894 w 8601075"/>
                  <a:gd name="connsiteY123" fmla="*/ 523875 h 4305300"/>
                  <a:gd name="connsiteX124" fmla="*/ 578644 w 8601075"/>
                  <a:gd name="connsiteY124" fmla="*/ 538162 h 4305300"/>
                  <a:gd name="connsiteX125" fmla="*/ 564356 w 8601075"/>
                  <a:gd name="connsiteY125" fmla="*/ 559594 h 4305300"/>
                  <a:gd name="connsiteX126" fmla="*/ 576262 w 8601075"/>
                  <a:gd name="connsiteY126" fmla="*/ 604838 h 4305300"/>
                  <a:gd name="connsiteX127" fmla="*/ 476251 w 8601075"/>
                  <a:gd name="connsiteY127" fmla="*/ 657225 h 4305300"/>
                  <a:gd name="connsiteX128" fmla="*/ 438150 w 8601075"/>
                  <a:gd name="connsiteY128" fmla="*/ 628649 h 4305300"/>
                  <a:gd name="connsiteX129" fmla="*/ 407194 w 8601075"/>
                  <a:gd name="connsiteY129" fmla="*/ 685800 h 4305300"/>
                  <a:gd name="connsiteX130" fmla="*/ 350044 w 8601075"/>
                  <a:gd name="connsiteY130" fmla="*/ 647700 h 4305300"/>
                  <a:gd name="connsiteX131" fmla="*/ 314325 w 8601075"/>
                  <a:gd name="connsiteY131" fmla="*/ 676275 h 4305300"/>
                  <a:gd name="connsiteX132" fmla="*/ 278606 w 8601075"/>
                  <a:gd name="connsiteY132" fmla="*/ 640556 h 4305300"/>
                  <a:gd name="connsiteX133" fmla="*/ 226219 w 8601075"/>
                  <a:gd name="connsiteY133" fmla="*/ 652463 h 4305300"/>
                  <a:gd name="connsiteX134" fmla="*/ 180975 w 8601075"/>
                  <a:gd name="connsiteY134" fmla="*/ 623888 h 4305300"/>
                  <a:gd name="connsiteX135" fmla="*/ 157163 w 8601075"/>
                  <a:gd name="connsiteY135" fmla="*/ 642938 h 4305300"/>
                  <a:gd name="connsiteX136" fmla="*/ 133350 w 8601075"/>
                  <a:gd name="connsiteY136" fmla="*/ 702469 h 4305300"/>
                  <a:gd name="connsiteX137" fmla="*/ 61913 w 8601075"/>
                  <a:gd name="connsiteY137" fmla="*/ 740568 h 4305300"/>
                  <a:gd name="connsiteX138" fmla="*/ 28575 w 8601075"/>
                  <a:gd name="connsiteY138" fmla="*/ 769144 h 4305300"/>
                  <a:gd name="connsiteX139" fmla="*/ 33338 w 8601075"/>
                  <a:gd name="connsiteY139" fmla="*/ 812006 h 4305300"/>
                  <a:gd name="connsiteX140" fmla="*/ 0 w 8601075"/>
                  <a:gd name="connsiteY140" fmla="*/ 816769 h 4305300"/>
                  <a:gd name="connsiteX141" fmla="*/ 4763 w 8601075"/>
                  <a:gd name="connsiteY141" fmla="*/ 840581 h 4305300"/>
                  <a:gd name="connsiteX142" fmla="*/ 61912 w 8601075"/>
                  <a:gd name="connsiteY142" fmla="*/ 914400 h 4305300"/>
                  <a:gd name="connsiteX143" fmla="*/ 23813 w 8601075"/>
                  <a:gd name="connsiteY143" fmla="*/ 962025 h 4305300"/>
                  <a:gd name="connsiteX144" fmla="*/ 78581 w 8601075"/>
                  <a:gd name="connsiteY144" fmla="*/ 997744 h 4305300"/>
                  <a:gd name="connsiteX145" fmla="*/ 169069 w 8601075"/>
                  <a:gd name="connsiteY145" fmla="*/ 1085850 h 4305300"/>
                  <a:gd name="connsiteX146" fmla="*/ 171450 w 8601075"/>
                  <a:gd name="connsiteY146" fmla="*/ 1145381 h 4305300"/>
                  <a:gd name="connsiteX147" fmla="*/ 307181 w 8601075"/>
                  <a:gd name="connsiteY147" fmla="*/ 1278732 h 4305300"/>
                  <a:gd name="connsiteX148" fmla="*/ 361950 w 8601075"/>
                  <a:gd name="connsiteY148" fmla="*/ 1254919 h 4305300"/>
                  <a:gd name="connsiteX149" fmla="*/ 400050 w 8601075"/>
                  <a:gd name="connsiteY149" fmla="*/ 1281112 h 4305300"/>
                  <a:gd name="connsiteX150" fmla="*/ 414338 w 8601075"/>
                  <a:gd name="connsiteY150" fmla="*/ 1331118 h 4305300"/>
                  <a:gd name="connsiteX151" fmla="*/ 457200 w 8601075"/>
                  <a:gd name="connsiteY151" fmla="*/ 1366838 h 4305300"/>
                  <a:gd name="connsiteX152" fmla="*/ 497681 w 8601075"/>
                  <a:gd name="connsiteY152" fmla="*/ 1354931 h 4305300"/>
                  <a:gd name="connsiteX153" fmla="*/ 516731 w 8601075"/>
                  <a:gd name="connsiteY153" fmla="*/ 1412081 h 4305300"/>
                  <a:gd name="connsiteX154" fmla="*/ 564356 w 8601075"/>
                  <a:gd name="connsiteY154" fmla="*/ 1454944 h 4305300"/>
                  <a:gd name="connsiteX155" fmla="*/ 588169 w 8601075"/>
                  <a:gd name="connsiteY155" fmla="*/ 1557338 h 4305300"/>
                  <a:gd name="connsiteX156" fmla="*/ 585788 w 8601075"/>
                  <a:gd name="connsiteY156" fmla="*/ 1604963 h 4305300"/>
                  <a:gd name="connsiteX157" fmla="*/ 621506 w 8601075"/>
                  <a:gd name="connsiteY157" fmla="*/ 1704975 h 4305300"/>
                  <a:gd name="connsiteX158" fmla="*/ 666750 w 8601075"/>
                  <a:gd name="connsiteY158" fmla="*/ 1762125 h 4305300"/>
                  <a:gd name="connsiteX159" fmla="*/ 683418 w 8601075"/>
                  <a:gd name="connsiteY159" fmla="*/ 1919287 h 4305300"/>
                  <a:gd name="connsiteX160" fmla="*/ 650081 w 8601075"/>
                  <a:gd name="connsiteY160" fmla="*/ 1981200 h 4305300"/>
                  <a:gd name="connsiteX161" fmla="*/ 619125 w 8601075"/>
                  <a:gd name="connsiteY161" fmla="*/ 2057400 h 4305300"/>
                  <a:gd name="connsiteX162" fmla="*/ 633413 w 8601075"/>
                  <a:gd name="connsiteY162" fmla="*/ 2114550 h 4305300"/>
                  <a:gd name="connsiteX163" fmla="*/ 535781 w 8601075"/>
                  <a:gd name="connsiteY163" fmla="*/ 2221707 h 4305300"/>
                  <a:gd name="connsiteX164" fmla="*/ 492919 w 8601075"/>
                  <a:gd name="connsiteY164" fmla="*/ 2336006 h 4305300"/>
                  <a:gd name="connsiteX165" fmla="*/ 526256 w 8601075"/>
                  <a:gd name="connsiteY165" fmla="*/ 2376488 h 4305300"/>
                  <a:gd name="connsiteX166" fmla="*/ 509588 w 8601075"/>
                  <a:gd name="connsiteY166" fmla="*/ 2405063 h 4305300"/>
                  <a:gd name="connsiteX167" fmla="*/ 540544 w 8601075"/>
                  <a:gd name="connsiteY167" fmla="*/ 2462213 h 4305300"/>
                  <a:gd name="connsiteX168" fmla="*/ 569119 w 8601075"/>
                  <a:gd name="connsiteY168" fmla="*/ 2462213 h 4305300"/>
                  <a:gd name="connsiteX169" fmla="*/ 731044 w 8601075"/>
                  <a:gd name="connsiteY169" fmla="*/ 2564606 h 4305300"/>
                  <a:gd name="connsiteX170" fmla="*/ 835819 w 8601075"/>
                  <a:gd name="connsiteY170" fmla="*/ 2562225 h 4305300"/>
                  <a:gd name="connsiteX171" fmla="*/ 914400 w 8601075"/>
                  <a:gd name="connsiteY171" fmla="*/ 2616994 h 4305300"/>
                  <a:gd name="connsiteX172" fmla="*/ 1045368 w 8601075"/>
                  <a:gd name="connsiteY172" fmla="*/ 2619375 h 4305300"/>
                  <a:gd name="connsiteX173" fmla="*/ 1235868 w 8601075"/>
                  <a:gd name="connsiteY173" fmla="*/ 2688431 h 4305300"/>
                  <a:gd name="connsiteX174" fmla="*/ 1438275 w 8601075"/>
                  <a:gd name="connsiteY174" fmla="*/ 2838450 h 4305300"/>
                  <a:gd name="connsiteX175" fmla="*/ 1471612 w 8601075"/>
                  <a:gd name="connsiteY175" fmla="*/ 2905125 h 4305300"/>
                  <a:gd name="connsiteX176" fmla="*/ 1638300 w 8601075"/>
                  <a:gd name="connsiteY176" fmla="*/ 3031331 h 4305300"/>
                  <a:gd name="connsiteX177" fmla="*/ 1709738 w 8601075"/>
                  <a:gd name="connsiteY177" fmla="*/ 3026569 h 4305300"/>
                  <a:gd name="connsiteX178" fmla="*/ 1745457 w 8601075"/>
                  <a:gd name="connsiteY178" fmla="*/ 3050381 h 4305300"/>
                  <a:gd name="connsiteX179" fmla="*/ 1716881 w 8601075"/>
                  <a:gd name="connsiteY179" fmla="*/ 3090863 h 4305300"/>
                  <a:gd name="connsiteX180" fmla="*/ 1724025 w 8601075"/>
                  <a:gd name="connsiteY180" fmla="*/ 3143250 h 4305300"/>
                  <a:gd name="connsiteX181" fmla="*/ 1776413 w 8601075"/>
                  <a:gd name="connsiteY181" fmla="*/ 3169444 h 4305300"/>
                  <a:gd name="connsiteX182" fmla="*/ 1838325 w 8601075"/>
                  <a:gd name="connsiteY182" fmla="*/ 3393282 h 4305300"/>
                  <a:gd name="connsiteX183" fmla="*/ 1828800 w 8601075"/>
                  <a:gd name="connsiteY183" fmla="*/ 3457575 h 4305300"/>
                  <a:gd name="connsiteX184" fmla="*/ 1964531 w 8601075"/>
                  <a:gd name="connsiteY184" fmla="*/ 3624263 h 4305300"/>
                  <a:gd name="connsiteX185" fmla="*/ 1983581 w 8601075"/>
                  <a:gd name="connsiteY185" fmla="*/ 3674269 h 4305300"/>
                  <a:gd name="connsiteX186" fmla="*/ 1957388 w 8601075"/>
                  <a:gd name="connsiteY186" fmla="*/ 3693319 h 4305300"/>
                  <a:gd name="connsiteX187" fmla="*/ 2059781 w 8601075"/>
                  <a:gd name="connsiteY187" fmla="*/ 3702844 h 4305300"/>
                  <a:gd name="connsiteX188" fmla="*/ 2171700 w 8601075"/>
                  <a:gd name="connsiteY188" fmla="*/ 3690938 h 4305300"/>
                  <a:gd name="connsiteX189" fmla="*/ 2450306 w 8601075"/>
                  <a:gd name="connsiteY189" fmla="*/ 3774281 h 4305300"/>
                  <a:gd name="connsiteX190" fmla="*/ 2857500 w 8601075"/>
                  <a:gd name="connsiteY190" fmla="*/ 3855244 h 4305300"/>
                  <a:gd name="connsiteX191" fmla="*/ 3055144 w 8601075"/>
                  <a:gd name="connsiteY191" fmla="*/ 3824287 h 4305300"/>
                  <a:gd name="connsiteX192" fmla="*/ 3100388 w 8601075"/>
                  <a:gd name="connsiteY192" fmla="*/ 3836193 h 4305300"/>
                  <a:gd name="connsiteX193" fmla="*/ 3155156 w 8601075"/>
                  <a:gd name="connsiteY193" fmla="*/ 3812382 h 4305300"/>
                  <a:gd name="connsiteX194" fmla="*/ 3548062 w 8601075"/>
                  <a:gd name="connsiteY194" fmla="*/ 3902869 h 4305300"/>
                  <a:gd name="connsiteX195" fmla="*/ 3631407 w 8601075"/>
                  <a:gd name="connsiteY195" fmla="*/ 4000500 h 4305300"/>
                  <a:gd name="connsiteX196" fmla="*/ 3750469 w 8601075"/>
                  <a:gd name="connsiteY196" fmla="*/ 4071938 h 4305300"/>
                  <a:gd name="connsiteX197" fmla="*/ 3810000 w 8601075"/>
                  <a:gd name="connsiteY197" fmla="*/ 4055269 h 4305300"/>
                  <a:gd name="connsiteX198" fmla="*/ 4160043 w 8601075"/>
                  <a:gd name="connsiteY198" fmla="*/ 4229100 h 4305300"/>
                  <a:gd name="connsiteX199" fmla="*/ 4386263 w 8601075"/>
                  <a:gd name="connsiteY199" fmla="*/ 4200525 h 4305300"/>
                  <a:gd name="connsiteX200" fmla="*/ 4395788 w 8601075"/>
                  <a:gd name="connsiteY200" fmla="*/ 4279106 h 4305300"/>
                  <a:gd name="connsiteX201" fmla="*/ 4481513 w 8601075"/>
                  <a:gd name="connsiteY201" fmla="*/ 4274343 h 4305300"/>
                  <a:gd name="connsiteX202" fmla="*/ 4560094 w 8601075"/>
                  <a:gd name="connsiteY202" fmla="*/ 4305300 h 4305300"/>
                  <a:gd name="connsiteX203" fmla="*/ 4602956 w 8601075"/>
                  <a:gd name="connsiteY203" fmla="*/ 4245769 h 4305300"/>
                  <a:gd name="connsiteX204" fmla="*/ 5274469 w 8601075"/>
                  <a:gd name="connsiteY204" fmla="*/ 3926681 h 4305300"/>
                  <a:gd name="connsiteX205" fmla="*/ 5362575 w 8601075"/>
                  <a:gd name="connsiteY205" fmla="*/ 3955257 h 4305300"/>
                  <a:gd name="connsiteX206" fmla="*/ 5493544 w 8601075"/>
                  <a:gd name="connsiteY206" fmla="*/ 3926681 h 4305300"/>
                  <a:gd name="connsiteX207" fmla="*/ 5672137 w 8601075"/>
                  <a:gd name="connsiteY207" fmla="*/ 3943350 h 4305300"/>
                  <a:gd name="connsiteX208" fmla="*/ 5729288 w 8601075"/>
                  <a:gd name="connsiteY208" fmla="*/ 3917157 h 4305300"/>
                  <a:gd name="connsiteX209" fmla="*/ 5862637 w 8601075"/>
                  <a:gd name="connsiteY209" fmla="*/ 3914775 h 4305300"/>
                  <a:gd name="connsiteX210" fmla="*/ 5995987 w 8601075"/>
                  <a:gd name="connsiteY210" fmla="*/ 3817144 h 4305300"/>
                  <a:gd name="connsiteX211" fmla="*/ 6062662 w 8601075"/>
                  <a:gd name="connsiteY211" fmla="*/ 3810000 h 4305300"/>
                  <a:gd name="connsiteX212" fmla="*/ 6160294 w 8601075"/>
                  <a:gd name="connsiteY212" fmla="*/ 3736181 h 4305300"/>
                  <a:gd name="connsiteX213" fmla="*/ 6234113 w 8601075"/>
                  <a:gd name="connsiteY213" fmla="*/ 3667125 h 4305300"/>
                  <a:gd name="connsiteX214" fmla="*/ 6243638 w 8601075"/>
                  <a:gd name="connsiteY214" fmla="*/ 3605213 h 4305300"/>
                  <a:gd name="connsiteX215" fmla="*/ 6276975 w 8601075"/>
                  <a:gd name="connsiteY215" fmla="*/ 3536156 h 4305300"/>
                  <a:gd name="connsiteX216" fmla="*/ 6429375 w 8601075"/>
                  <a:gd name="connsiteY216" fmla="*/ 3429000 h 4305300"/>
                  <a:gd name="connsiteX217" fmla="*/ 6462713 w 8601075"/>
                  <a:gd name="connsiteY217" fmla="*/ 3433763 h 4305300"/>
                  <a:gd name="connsiteX218" fmla="*/ 6515100 w 8601075"/>
                  <a:gd name="connsiteY218" fmla="*/ 3355181 h 4305300"/>
                  <a:gd name="connsiteX219" fmla="*/ 6562725 w 8601075"/>
                  <a:gd name="connsiteY219" fmla="*/ 3317081 h 4305300"/>
                  <a:gd name="connsiteX220" fmla="*/ 6548438 w 8601075"/>
                  <a:gd name="connsiteY220" fmla="*/ 3248025 h 4305300"/>
                  <a:gd name="connsiteX221" fmla="*/ 6498431 w 8601075"/>
                  <a:gd name="connsiteY221" fmla="*/ 3217068 h 4305300"/>
                  <a:gd name="connsiteX222" fmla="*/ 6438900 w 8601075"/>
                  <a:gd name="connsiteY222" fmla="*/ 3162300 h 4305300"/>
                  <a:gd name="connsiteX223" fmla="*/ 6419850 w 8601075"/>
                  <a:gd name="connsiteY223" fmla="*/ 3105150 h 4305300"/>
                  <a:gd name="connsiteX224" fmla="*/ 6384131 w 8601075"/>
                  <a:gd name="connsiteY224" fmla="*/ 3071813 h 4305300"/>
                  <a:gd name="connsiteX225" fmla="*/ 6410325 w 8601075"/>
                  <a:gd name="connsiteY225" fmla="*/ 3019425 h 4305300"/>
                  <a:gd name="connsiteX226" fmla="*/ 6450806 w 8601075"/>
                  <a:gd name="connsiteY226" fmla="*/ 2840831 h 4305300"/>
                  <a:gd name="connsiteX227" fmla="*/ 6491288 w 8601075"/>
                  <a:gd name="connsiteY227" fmla="*/ 2774156 h 4305300"/>
                  <a:gd name="connsiteX228" fmla="*/ 6636544 w 8601075"/>
                  <a:gd name="connsiteY228" fmla="*/ 2757487 h 4305300"/>
                  <a:gd name="connsiteX229" fmla="*/ 6705600 w 8601075"/>
                  <a:gd name="connsiteY229" fmla="*/ 2814638 h 4305300"/>
                  <a:gd name="connsiteX230" fmla="*/ 6781800 w 8601075"/>
                  <a:gd name="connsiteY230" fmla="*/ 2838450 h 4305300"/>
                  <a:gd name="connsiteX231" fmla="*/ 6986587 w 8601075"/>
                  <a:gd name="connsiteY231" fmla="*/ 2843213 h 4305300"/>
                  <a:gd name="connsiteX232" fmla="*/ 7162800 w 8601075"/>
                  <a:gd name="connsiteY232" fmla="*/ 2705100 h 4305300"/>
                  <a:gd name="connsiteX233" fmla="*/ 7219950 w 8601075"/>
                  <a:gd name="connsiteY233" fmla="*/ 2614612 h 4305300"/>
                  <a:gd name="connsiteX234" fmla="*/ 7246144 w 8601075"/>
                  <a:gd name="connsiteY234" fmla="*/ 2531269 h 4305300"/>
                  <a:gd name="connsiteX235" fmla="*/ 7377112 w 8601075"/>
                  <a:gd name="connsiteY235" fmla="*/ 2531269 h 4305300"/>
                  <a:gd name="connsiteX236" fmla="*/ 7550944 w 8601075"/>
                  <a:gd name="connsiteY236" fmla="*/ 2474118 h 4305300"/>
                  <a:gd name="connsiteX237" fmla="*/ 7610475 w 8601075"/>
                  <a:gd name="connsiteY237" fmla="*/ 2362200 h 4305300"/>
                  <a:gd name="connsiteX238" fmla="*/ 7674769 w 8601075"/>
                  <a:gd name="connsiteY238" fmla="*/ 2326481 h 4305300"/>
                  <a:gd name="connsiteX239" fmla="*/ 7653338 w 8601075"/>
                  <a:gd name="connsiteY239" fmla="*/ 2281238 h 4305300"/>
                  <a:gd name="connsiteX240" fmla="*/ 7731919 w 8601075"/>
                  <a:gd name="connsiteY240" fmla="*/ 2112168 h 4305300"/>
                  <a:gd name="connsiteX241" fmla="*/ 7786688 w 8601075"/>
                  <a:gd name="connsiteY241" fmla="*/ 2052638 h 4305300"/>
                  <a:gd name="connsiteX242" fmla="*/ 7824788 w 8601075"/>
                  <a:gd name="connsiteY242" fmla="*/ 2047875 h 4305300"/>
                  <a:gd name="connsiteX243" fmla="*/ 7870031 w 8601075"/>
                  <a:gd name="connsiteY243" fmla="*/ 2052638 h 4305300"/>
                  <a:gd name="connsiteX244" fmla="*/ 7934325 w 8601075"/>
                  <a:gd name="connsiteY244" fmla="*/ 2019300 h 4305300"/>
                  <a:gd name="connsiteX245" fmla="*/ 7943850 w 8601075"/>
                  <a:gd name="connsiteY245" fmla="*/ 1955006 h 4305300"/>
                  <a:gd name="connsiteX246" fmla="*/ 7984330 w 8601075"/>
                  <a:gd name="connsiteY246" fmla="*/ 1919288 h 4305300"/>
                  <a:gd name="connsiteX247" fmla="*/ 8043863 w 8601075"/>
                  <a:gd name="connsiteY247" fmla="*/ 1959768 h 4305300"/>
                  <a:gd name="connsiteX248" fmla="*/ 8070057 w 8601075"/>
                  <a:gd name="connsiteY248" fmla="*/ 1909762 h 4305300"/>
                  <a:gd name="connsiteX249" fmla="*/ 8165306 w 8601075"/>
                  <a:gd name="connsiteY249" fmla="*/ 1840706 h 4305300"/>
                  <a:gd name="connsiteX250" fmla="*/ 8227219 w 8601075"/>
                  <a:gd name="connsiteY250" fmla="*/ 1847850 h 4305300"/>
                  <a:gd name="connsiteX251" fmla="*/ 8277225 w 8601075"/>
                  <a:gd name="connsiteY251" fmla="*/ 1828800 h 4305300"/>
                  <a:gd name="connsiteX252" fmla="*/ 8315325 w 8601075"/>
                  <a:gd name="connsiteY252" fmla="*/ 1800225 h 4305300"/>
                  <a:gd name="connsiteX253" fmla="*/ 8348663 w 8601075"/>
                  <a:gd name="connsiteY253" fmla="*/ 1797844 h 4305300"/>
                  <a:gd name="connsiteX254" fmla="*/ 8384381 w 8601075"/>
                  <a:gd name="connsiteY254" fmla="*/ 1828800 h 4305300"/>
                  <a:gd name="connsiteX255" fmla="*/ 8443913 w 8601075"/>
                  <a:gd name="connsiteY255" fmla="*/ 1828800 h 4305300"/>
                  <a:gd name="connsiteX256" fmla="*/ 8482012 w 8601075"/>
                  <a:gd name="connsiteY256" fmla="*/ 1809750 h 4305300"/>
                  <a:gd name="connsiteX257" fmla="*/ 8565356 w 8601075"/>
                  <a:gd name="connsiteY257" fmla="*/ 1812132 h 4305300"/>
                  <a:gd name="connsiteX258" fmla="*/ 8596313 w 8601075"/>
                  <a:gd name="connsiteY258" fmla="*/ 1766888 h 4305300"/>
                  <a:gd name="connsiteX259" fmla="*/ 8601075 w 8601075"/>
                  <a:gd name="connsiteY259" fmla="*/ 1704975 h 4305300"/>
                  <a:gd name="connsiteX260" fmla="*/ 8551068 w 8601075"/>
                  <a:gd name="connsiteY260" fmla="*/ 1664494 h 4305300"/>
                  <a:gd name="connsiteX261" fmla="*/ 8534400 w 8601075"/>
                  <a:gd name="connsiteY261" fmla="*/ 1609725 h 4305300"/>
                  <a:gd name="connsiteX262" fmla="*/ 8443913 w 8601075"/>
                  <a:gd name="connsiteY262" fmla="*/ 1547813 h 4305300"/>
                  <a:gd name="connsiteX263" fmla="*/ 8403431 w 8601075"/>
                  <a:gd name="connsiteY263" fmla="*/ 1526381 h 4305300"/>
                  <a:gd name="connsiteX264" fmla="*/ 8365331 w 8601075"/>
                  <a:gd name="connsiteY264" fmla="*/ 1481138 h 4305300"/>
                  <a:gd name="connsiteX265" fmla="*/ 8334375 w 8601075"/>
                  <a:gd name="connsiteY265" fmla="*/ 1478756 h 4305300"/>
                  <a:gd name="connsiteX266" fmla="*/ 8317706 w 8601075"/>
                  <a:gd name="connsiteY266" fmla="*/ 1426369 h 4305300"/>
                  <a:gd name="connsiteX267" fmla="*/ 8277225 w 8601075"/>
                  <a:gd name="connsiteY267" fmla="*/ 1409700 h 4305300"/>
                  <a:gd name="connsiteX268" fmla="*/ 8277225 w 8601075"/>
                  <a:gd name="connsiteY268" fmla="*/ 1409700 h 4305300"/>
                  <a:gd name="connsiteX269" fmla="*/ 8236744 w 8601075"/>
                  <a:gd name="connsiteY269" fmla="*/ 1414463 h 4305300"/>
                  <a:gd name="connsiteX270" fmla="*/ 8151018 w 8601075"/>
                  <a:gd name="connsiteY270" fmla="*/ 1340644 h 4305300"/>
                  <a:gd name="connsiteX271" fmla="*/ 7970044 w 8601075"/>
                  <a:gd name="connsiteY271" fmla="*/ 1340643 h 4305300"/>
                  <a:gd name="connsiteX272" fmla="*/ 7917656 w 8601075"/>
                  <a:gd name="connsiteY272" fmla="*/ 1378744 h 4305300"/>
                  <a:gd name="connsiteX273" fmla="*/ 7867650 w 8601075"/>
                  <a:gd name="connsiteY273" fmla="*/ 1457325 h 4305300"/>
                  <a:gd name="connsiteX274" fmla="*/ 7884319 w 8601075"/>
                  <a:gd name="connsiteY274" fmla="*/ 1478756 h 4305300"/>
                  <a:gd name="connsiteX275" fmla="*/ 7839075 w 8601075"/>
                  <a:gd name="connsiteY275" fmla="*/ 1528762 h 4305300"/>
                  <a:gd name="connsiteX276" fmla="*/ 7689056 w 8601075"/>
                  <a:gd name="connsiteY276" fmla="*/ 1452562 h 4305300"/>
                  <a:gd name="connsiteX277" fmla="*/ 7598569 w 8601075"/>
                  <a:gd name="connsiteY277" fmla="*/ 1488281 h 4305300"/>
                  <a:gd name="connsiteX278" fmla="*/ 7524750 w 8601075"/>
                  <a:gd name="connsiteY278" fmla="*/ 1485900 h 4305300"/>
                  <a:gd name="connsiteX279" fmla="*/ 7467600 w 8601075"/>
                  <a:gd name="connsiteY279" fmla="*/ 1581150 h 4305300"/>
                  <a:gd name="connsiteX280" fmla="*/ 7329488 w 8601075"/>
                  <a:gd name="connsiteY280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15050 w 8601075"/>
                  <a:gd name="connsiteY25" fmla="*/ 1114425 h 4305300"/>
                  <a:gd name="connsiteX26" fmla="*/ 5962650 w 8601075"/>
                  <a:gd name="connsiteY26" fmla="*/ 1190625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5962650 w 8601075"/>
                  <a:gd name="connsiteY26" fmla="*/ 1190625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895975 w 8601075"/>
                  <a:gd name="connsiteY27" fmla="*/ 1143000 h 4305300"/>
                  <a:gd name="connsiteX28" fmla="*/ 5884069 w 8601075"/>
                  <a:gd name="connsiteY28" fmla="*/ 1209675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884069 w 8601075"/>
                  <a:gd name="connsiteY28" fmla="*/ 1209675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76900 w 8601075"/>
                  <a:gd name="connsiteY30" fmla="*/ 1181100 h 4305300"/>
                  <a:gd name="connsiteX31" fmla="*/ 5600700 w 8601075"/>
                  <a:gd name="connsiteY31" fmla="*/ 1114425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00700 w 8601075"/>
                  <a:gd name="connsiteY31" fmla="*/ 1114425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81613 w 8601075"/>
                  <a:gd name="connsiteY34" fmla="*/ 1035844 h 4305300"/>
                  <a:gd name="connsiteX35" fmla="*/ 5248275 w 8601075"/>
                  <a:gd name="connsiteY35" fmla="*/ 981075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81613 w 8601075"/>
                  <a:gd name="connsiteY34" fmla="*/ 1035844 h 4305300"/>
                  <a:gd name="connsiteX35" fmla="*/ 5274468 w 8601075"/>
                  <a:gd name="connsiteY35" fmla="*/ 952500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1100 w 8601075"/>
                  <a:gd name="connsiteY39" fmla="*/ 838200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71525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71525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47712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905375 w 8601075"/>
                  <a:gd name="connsiteY41" fmla="*/ 747712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76287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64881 w 8601075"/>
                  <a:gd name="connsiteY43" fmla="*/ 731044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581525 w 8601075"/>
                  <a:gd name="connsiteY45" fmla="*/ 695325 h 4305300"/>
                  <a:gd name="connsiteX46" fmla="*/ 4495800 w 8601075"/>
                  <a:gd name="connsiteY46" fmla="*/ 742950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495800 w 8601075"/>
                  <a:gd name="connsiteY46" fmla="*/ 742950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81500 w 8601075"/>
                  <a:gd name="connsiteY47" fmla="*/ 769144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81500 w 8601075"/>
                  <a:gd name="connsiteY47" fmla="*/ 769144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9525 w 8601075"/>
                  <a:gd name="connsiteY143" fmla="*/ 71199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410450 w 8682037"/>
                  <a:gd name="connsiteY0" fmla="*/ 1483519 h 4305300"/>
                  <a:gd name="connsiteX1" fmla="*/ 7403306 w 8682037"/>
                  <a:gd name="connsiteY1" fmla="*/ 1428750 h 4305300"/>
                  <a:gd name="connsiteX2" fmla="*/ 7469981 w 8682037"/>
                  <a:gd name="connsiteY2" fmla="*/ 1354931 h 4305300"/>
                  <a:gd name="connsiteX3" fmla="*/ 7453312 w 8682037"/>
                  <a:gd name="connsiteY3" fmla="*/ 1283494 h 4305300"/>
                  <a:gd name="connsiteX4" fmla="*/ 7467600 w 8682037"/>
                  <a:gd name="connsiteY4" fmla="*/ 1188244 h 4305300"/>
                  <a:gd name="connsiteX5" fmla="*/ 7505700 w 8682037"/>
                  <a:gd name="connsiteY5" fmla="*/ 1131094 h 4305300"/>
                  <a:gd name="connsiteX6" fmla="*/ 7486649 w 8682037"/>
                  <a:gd name="connsiteY6" fmla="*/ 1097756 h 4305300"/>
                  <a:gd name="connsiteX7" fmla="*/ 7584280 w 8682037"/>
                  <a:gd name="connsiteY7" fmla="*/ 697706 h 4305300"/>
                  <a:gd name="connsiteX8" fmla="*/ 7577137 w 8682037"/>
                  <a:gd name="connsiteY8" fmla="*/ 669131 h 4305300"/>
                  <a:gd name="connsiteX9" fmla="*/ 7448550 w 8682037"/>
                  <a:gd name="connsiteY9" fmla="*/ 647700 h 4305300"/>
                  <a:gd name="connsiteX10" fmla="*/ 7265194 w 8682037"/>
                  <a:gd name="connsiteY10" fmla="*/ 726281 h 4305300"/>
                  <a:gd name="connsiteX11" fmla="*/ 7108030 w 8682037"/>
                  <a:gd name="connsiteY11" fmla="*/ 611981 h 4305300"/>
                  <a:gd name="connsiteX12" fmla="*/ 7031831 w 8682037"/>
                  <a:gd name="connsiteY12" fmla="*/ 619125 h 4305300"/>
                  <a:gd name="connsiteX13" fmla="*/ 6958012 w 8682037"/>
                  <a:gd name="connsiteY13" fmla="*/ 614363 h 4305300"/>
                  <a:gd name="connsiteX14" fmla="*/ 6819900 w 8682037"/>
                  <a:gd name="connsiteY14" fmla="*/ 719138 h 4305300"/>
                  <a:gd name="connsiteX15" fmla="*/ 6712743 w 8682037"/>
                  <a:gd name="connsiteY15" fmla="*/ 826294 h 4305300"/>
                  <a:gd name="connsiteX16" fmla="*/ 6669881 w 8682037"/>
                  <a:gd name="connsiteY16" fmla="*/ 895350 h 4305300"/>
                  <a:gd name="connsiteX17" fmla="*/ 6677025 w 8682037"/>
                  <a:gd name="connsiteY17" fmla="*/ 931069 h 4305300"/>
                  <a:gd name="connsiteX18" fmla="*/ 6615112 w 8682037"/>
                  <a:gd name="connsiteY18" fmla="*/ 942975 h 4305300"/>
                  <a:gd name="connsiteX19" fmla="*/ 6634162 w 8682037"/>
                  <a:gd name="connsiteY19" fmla="*/ 942975 h 4305300"/>
                  <a:gd name="connsiteX20" fmla="*/ 6600825 w 8682037"/>
                  <a:gd name="connsiteY20" fmla="*/ 973931 h 4305300"/>
                  <a:gd name="connsiteX21" fmla="*/ 6500812 w 8682037"/>
                  <a:gd name="connsiteY21" fmla="*/ 973932 h 4305300"/>
                  <a:gd name="connsiteX22" fmla="*/ 6405562 w 8682037"/>
                  <a:gd name="connsiteY22" fmla="*/ 1028700 h 4305300"/>
                  <a:gd name="connsiteX23" fmla="*/ 6324600 w 8682037"/>
                  <a:gd name="connsiteY23" fmla="*/ 1038225 h 4305300"/>
                  <a:gd name="connsiteX24" fmla="*/ 6284118 w 8682037"/>
                  <a:gd name="connsiteY24" fmla="*/ 1071563 h 4305300"/>
                  <a:gd name="connsiteX25" fmla="*/ 6234112 w 8682037"/>
                  <a:gd name="connsiteY25" fmla="*/ 1076325 h 4305300"/>
                  <a:gd name="connsiteX26" fmla="*/ 6112669 w 8682037"/>
                  <a:gd name="connsiteY26" fmla="*/ 1169194 h 4305300"/>
                  <a:gd name="connsiteX27" fmla="*/ 6053137 w 8682037"/>
                  <a:gd name="connsiteY27" fmla="*/ 1173956 h 4305300"/>
                  <a:gd name="connsiteX28" fmla="*/ 6000750 w 8682037"/>
                  <a:gd name="connsiteY28" fmla="*/ 1138238 h 4305300"/>
                  <a:gd name="connsiteX29" fmla="*/ 5974556 w 8682037"/>
                  <a:gd name="connsiteY29" fmla="*/ 1173956 h 4305300"/>
                  <a:gd name="connsiteX30" fmla="*/ 5776912 w 8682037"/>
                  <a:gd name="connsiteY30" fmla="*/ 1166813 h 4305300"/>
                  <a:gd name="connsiteX31" fmla="*/ 5715000 w 8682037"/>
                  <a:gd name="connsiteY31" fmla="*/ 1121569 h 4305300"/>
                  <a:gd name="connsiteX32" fmla="*/ 5517356 w 8682037"/>
                  <a:gd name="connsiteY32" fmla="*/ 1138238 h 4305300"/>
                  <a:gd name="connsiteX33" fmla="*/ 5429250 w 8682037"/>
                  <a:gd name="connsiteY33" fmla="*/ 1054893 h 4305300"/>
                  <a:gd name="connsiteX34" fmla="*/ 5353050 w 8682037"/>
                  <a:gd name="connsiteY34" fmla="*/ 1009650 h 4305300"/>
                  <a:gd name="connsiteX35" fmla="*/ 5355430 w 8682037"/>
                  <a:gd name="connsiteY35" fmla="*/ 952500 h 4305300"/>
                  <a:gd name="connsiteX36" fmla="*/ 5336381 w 8682037"/>
                  <a:gd name="connsiteY36" fmla="*/ 909637 h 4305300"/>
                  <a:gd name="connsiteX37" fmla="*/ 5241131 w 8682037"/>
                  <a:gd name="connsiteY37" fmla="*/ 912019 h 4305300"/>
                  <a:gd name="connsiteX38" fmla="*/ 5145881 w 8682037"/>
                  <a:gd name="connsiteY38" fmla="*/ 890588 h 4305300"/>
                  <a:gd name="connsiteX39" fmla="*/ 5076824 w 8682037"/>
                  <a:gd name="connsiteY39" fmla="*/ 823912 h 4305300"/>
                  <a:gd name="connsiteX40" fmla="*/ 5041106 w 8682037"/>
                  <a:gd name="connsiteY40" fmla="*/ 781050 h 4305300"/>
                  <a:gd name="connsiteX41" fmla="*/ 4960143 w 8682037"/>
                  <a:gd name="connsiteY41" fmla="*/ 757237 h 4305300"/>
                  <a:gd name="connsiteX42" fmla="*/ 4886325 w 8682037"/>
                  <a:gd name="connsiteY42" fmla="*/ 769143 h 4305300"/>
                  <a:gd name="connsiteX43" fmla="*/ 4829174 w 8682037"/>
                  <a:gd name="connsiteY43" fmla="*/ 716756 h 4305300"/>
                  <a:gd name="connsiteX44" fmla="*/ 4733925 w 8682037"/>
                  <a:gd name="connsiteY44" fmla="*/ 728663 h 4305300"/>
                  <a:gd name="connsiteX45" fmla="*/ 4681537 w 8682037"/>
                  <a:gd name="connsiteY45" fmla="*/ 702469 h 4305300"/>
                  <a:gd name="connsiteX46" fmla="*/ 4600575 w 8682037"/>
                  <a:gd name="connsiteY46" fmla="*/ 745331 h 4305300"/>
                  <a:gd name="connsiteX47" fmla="*/ 4462462 w 8682037"/>
                  <a:gd name="connsiteY47" fmla="*/ 769144 h 4305300"/>
                  <a:gd name="connsiteX48" fmla="*/ 4333875 w 8682037"/>
                  <a:gd name="connsiteY48" fmla="*/ 862013 h 4305300"/>
                  <a:gd name="connsiteX49" fmla="*/ 4286249 w 8682037"/>
                  <a:gd name="connsiteY49" fmla="*/ 823913 h 4305300"/>
                  <a:gd name="connsiteX50" fmla="*/ 4264818 w 8682037"/>
                  <a:gd name="connsiteY50" fmla="*/ 854868 h 4305300"/>
                  <a:gd name="connsiteX51" fmla="*/ 4191000 w 8682037"/>
                  <a:gd name="connsiteY51" fmla="*/ 804863 h 4305300"/>
                  <a:gd name="connsiteX52" fmla="*/ 4152900 w 8682037"/>
                  <a:gd name="connsiteY52" fmla="*/ 812006 h 4305300"/>
                  <a:gd name="connsiteX53" fmla="*/ 4131468 w 8682037"/>
                  <a:gd name="connsiteY53" fmla="*/ 773906 h 4305300"/>
                  <a:gd name="connsiteX54" fmla="*/ 4071937 w 8682037"/>
                  <a:gd name="connsiteY54" fmla="*/ 778669 h 4305300"/>
                  <a:gd name="connsiteX55" fmla="*/ 4026693 w 8682037"/>
                  <a:gd name="connsiteY55" fmla="*/ 750094 h 4305300"/>
                  <a:gd name="connsiteX56" fmla="*/ 3988593 w 8682037"/>
                  <a:gd name="connsiteY56" fmla="*/ 747713 h 4305300"/>
                  <a:gd name="connsiteX57" fmla="*/ 3969543 w 8682037"/>
                  <a:gd name="connsiteY57" fmla="*/ 700087 h 4305300"/>
                  <a:gd name="connsiteX58" fmla="*/ 3955256 w 8682037"/>
                  <a:gd name="connsiteY58" fmla="*/ 669131 h 4305300"/>
                  <a:gd name="connsiteX59" fmla="*/ 3910012 w 8682037"/>
                  <a:gd name="connsiteY59" fmla="*/ 678656 h 4305300"/>
                  <a:gd name="connsiteX60" fmla="*/ 3890962 w 8682037"/>
                  <a:gd name="connsiteY60" fmla="*/ 642938 h 4305300"/>
                  <a:gd name="connsiteX61" fmla="*/ 3912394 w 8682037"/>
                  <a:gd name="connsiteY61" fmla="*/ 588169 h 4305300"/>
                  <a:gd name="connsiteX62" fmla="*/ 3881437 w 8682037"/>
                  <a:gd name="connsiteY62" fmla="*/ 561975 h 4305300"/>
                  <a:gd name="connsiteX63" fmla="*/ 3898106 w 8682037"/>
                  <a:gd name="connsiteY63" fmla="*/ 519113 h 4305300"/>
                  <a:gd name="connsiteX64" fmla="*/ 3871912 w 8682037"/>
                  <a:gd name="connsiteY64" fmla="*/ 476250 h 4305300"/>
                  <a:gd name="connsiteX65" fmla="*/ 3867150 w 8682037"/>
                  <a:gd name="connsiteY65" fmla="*/ 414338 h 4305300"/>
                  <a:gd name="connsiteX66" fmla="*/ 3890962 w 8682037"/>
                  <a:gd name="connsiteY66" fmla="*/ 350043 h 4305300"/>
                  <a:gd name="connsiteX67" fmla="*/ 3852862 w 8682037"/>
                  <a:gd name="connsiteY67" fmla="*/ 352425 h 4305300"/>
                  <a:gd name="connsiteX68" fmla="*/ 3733800 w 8682037"/>
                  <a:gd name="connsiteY68" fmla="*/ 295275 h 4305300"/>
                  <a:gd name="connsiteX69" fmla="*/ 3695699 w 8682037"/>
                  <a:gd name="connsiteY69" fmla="*/ 300037 h 4305300"/>
                  <a:gd name="connsiteX70" fmla="*/ 3490912 w 8682037"/>
                  <a:gd name="connsiteY70" fmla="*/ 190500 h 4305300"/>
                  <a:gd name="connsiteX71" fmla="*/ 3386137 w 8682037"/>
                  <a:gd name="connsiteY71" fmla="*/ 159544 h 4305300"/>
                  <a:gd name="connsiteX72" fmla="*/ 3321843 w 8682037"/>
                  <a:gd name="connsiteY72" fmla="*/ 169068 h 4305300"/>
                  <a:gd name="connsiteX73" fmla="*/ 3290887 w 8682037"/>
                  <a:gd name="connsiteY73" fmla="*/ 104775 h 4305300"/>
                  <a:gd name="connsiteX74" fmla="*/ 3233737 w 8682037"/>
                  <a:gd name="connsiteY74" fmla="*/ 104775 h 4305300"/>
                  <a:gd name="connsiteX75" fmla="*/ 3095624 w 8682037"/>
                  <a:gd name="connsiteY75" fmla="*/ 0 h 4305300"/>
                  <a:gd name="connsiteX76" fmla="*/ 3062287 w 8682037"/>
                  <a:gd name="connsiteY76" fmla="*/ 59532 h 4305300"/>
                  <a:gd name="connsiteX77" fmla="*/ 3007518 w 8682037"/>
                  <a:gd name="connsiteY77" fmla="*/ 128588 h 4305300"/>
                  <a:gd name="connsiteX78" fmla="*/ 2964656 w 8682037"/>
                  <a:gd name="connsiteY78" fmla="*/ 145256 h 4305300"/>
                  <a:gd name="connsiteX79" fmla="*/ 2933700 w 8682037"/>
                  <a:gd name="connsiteY79" fmla="*/ 138113 h 4305300"/>
                  <a:gd name="connsiteX80" fmla="*/ 2909887 w 8682037"/>
                  <a:gd name="connsiteY80" fmla="*/ 166688 h 4305300"/>
                  <a:gd name="connsiteX81" fmla="*/ 2883693 w 8682037"/>
                  <a:gd name="connsiteY81" fmla="*/ 245269 h 4305300"/>
                  <a:gd name="connsiteX82" fmla="*/ 2840831 w 8682037"/>
                  <a:gd name="connsiteY82" fmla="*/ 242888 h 4305300"/>
                  <a:gd name="connsiteX83" fmla="*/ 2809874 w 8682037"/>
                  <a:gd name="connsiteY83" fmla="*/ 304800 h 4305300"/>
                  <a:gd name="connsiteX84" fmla="*/ 2805112 w 8682037"/>
                  <a:gd name="connsiteY84" fmla="*/ 369094 h 4305300"/>
                  <a:gd name="connsiteX85" fmla="*/ 2778919 w 8682037"/>
                  <a:gd name="connsiteY85" fmla="*/ 407194 h 4305300"/>
                  <a:gd name="connsiteX86" fmla="*/ 2805112 w 8682037"/>
                  <a:gd name="connsiteY86" fmla="*/ 466725 h 4305300"/>
                  <a:gd name="connsiteX87" fmla="*/ 2807493 w 8682037"/>
                  <a:gd name="connsiteY87" fmla="*/ 535781 h 4305300"/>
                  <a:gd name="connsiteX88" fmla="*/ 2836068 w 8682037"/>
                  <a:gd name="connsiteY88" fmla="*/ 588169 h 4305300"/>
                  <a:gd name="connsiteX89" fmla="*/ 2883694 w 8682037"/>
                  <a:gd name="connsiteY89" fmla="*/ 642938 h 4305300"/>
                  <a:gd name="connsiteX90" fmla="*/ 2833687 w 8682037"/>
                  <a:gd name="connsiteY90" fmla="*/ 781050 h 4305300"/>
                  <a:gd name="connsiteX91" fmla="*/ 2764631 w 8682037"/>
                  <a:gd name="connsiteY91" fmla="*/ 847725 h 4305300"/>
                  <a:gd name="connsiteX92" fmla="*/ 2693193 w 8682037"/>
                  <a:gd name="connsiteY92" fmla="*/ 842963 h 4305300"/>
                  <a:gd name="connsiteX93" fmla="*/ 2655093 w 8682037"/>
                  <a:gd name="connsiteY93" fmla="*/ 900113 h 4305300"/>
                  <a:gd name="connsiteX94" fmla="*/ 2595562 w 8682037"/>
                  <a:gd name="connsiteY94" fmla="*/ 914400 h 4305300"/>
                  <a:gd name="connsiteX95" fmla="*/ 2526506 w 8682037"/>
                  <a:gd name="connsiteY95" fmla="*/ 854869 h 4305300"/>
                  <a:gd name="connsiteX96" fmla="*/ 2471737 w 8682037"/>
                  <a:gd name="connsiteY96" fmla="*/ 826294 h 4305300"/>
                  <a:gd name="connsiteX97" fmla="*/ 2428875 w 8682037"/>
                  <a:gd name="connsiteY97" fmla="*/ 840581 h 4305300"/>
                  <a:gd name="connsiteX98" fmla="*/ 2376487 w 8682037"/>
                  <a:gd name="connsiteY98" fmla="*/ 823913 h 4305300"/>
                  <a:gd name="connsiteX99" fmla="*/ 2309812 w 8682037"/>
                  <a:gd name="connsiteY99" fmla="*/ 769144 h 4305300"/>
                  <a:gd name="connsiteX100" fmla="*/ 2264568 w 8682037"/>
                  <a:gd name="connsiteY100" fmla="*/ 781050 h 4305300"/>
                  <a:gd name="connsiteX101" fmla="*/ 2243137 w 8682037"/>
                  <a:gd name="connsiteY101" fmla="*/ 750094 h 4305300"/>
                  <a:gd name="connsiteX102" fmla="*/ 2185987 w 8682037"/>
                  <a:gd name="connsiteY102" fmla="*/ 790575 h 4305300"/>
                  <a:gd name="connsiteX103" fmla="*/ 2069306 w 8682037"/>
                  <a:gd name="connsiteY103" fmla="*/ 769144 h 4305300"/>
                  <a:gd name="connsiteX104" fmla="*/ 2019300 w 8682037"/>
                  <a:gd name="connsiteY104" fmla="*/ 716756 h 4305300"/>
                  <a:gd name="connsiteX105" fmla="*/ 1976437 w 8682037"/>
                  <a:gd name="connsiteY105" fmla="*/ 702469 h 4305300"/>
                  <a:gd name="connsiteX106" fmla="*/ 1933575 w 8682037"/>
                  <a:gd name="connsiteY106" fmla="*/ 728663 h 4305300"/>
                  <a:gd name="connsiteX107" fmla="*/ 1881187 w 8682037"/>
                  <a:gd name="connsiteY107" fmla="*/ 638175 h 4305300"/>
                  <a:gd name="connsiteX108" fmla="*/ 1871662 w 8682037"/>
                  <a:gd name="connsiteY108" fmla="*/ 490537 h 4305300"/>
                  <a:gd name="connsiteX109" fmla="*/ 1819274 w 8682037"/>
                  <a:gd name="connsiteY109" fmla="*/ 483393 h 4305300"/>
                  <a:gd name="connsiteX110" fmla="*/ 1728787 w 8682037"/>
                  <a:gd name="connsiteY110" fmla="*/ 473869 h 4305300"/>
                  <a:gd name="connsiteX111" fmla="*/ 1674018 w 8682037"/>
                  <a:gd name="connsiteY111" fmla="*/ 435769 h 4305300"/>
                  <a:gd name="connsiteX112" fmla="*/ 1604962 w 8682037"/>
                  <a:gd name="connsiteY112" fmla="*/ 445294 h 4305300"/>
                  <a:gd name="connsiteX113" fmla="*/ 1559718 w 8682037"/>
                  <a:gd name="connsiteY113" fmla="*/ 419100 h 4305300"/>
                  <a:gd name="connsiteX114" fmla="*/ 1550194 w 8682037"/>
                  <a:gd name="connsiteY114" fmla="*/ 347663 h 4305300"/>
                  <a:gd name="connsiteX115" fmla="*/ 1526381 w 8682037"/>
                  <a:gd name="connsiteY115" fmla="*/ 333375 h 4305300"/>
                  <a:gd name="connsiteX116" fmla="*/ 1488281 w 8682037"/>
                  <a:gd name="connsiteY116" fmla="*/ 380999 h 4305300"/>
                  <a:gd name="connsiteX117" fmla="*/ 1409699 w 8682037"/>
                  <a:gd name="connsiteY117" fmla="*/ 307181 h 4305300"/>
                  <a:gd name="connsiteX118" fmla="*/ 1369218 w 8682037"/>
                  <a:gd name="connsiteY118" fmla="*/ 347663 h 4305300"/>
                  <a:gd name="connsiteX119" fmla="*/ 1293018 w 8682037"/>
                  <a:gd name="connsiteY119" fmla="*/ 333375 h 4305300"/>
                  <a:gd name="connsiteX120" fmla="*/ 1214437 w 8682037"/>
                  <a:gd name="connsiteY120" fmla="*/ 359569 h 4305300"/>
                  <a:gd name="connsiteX121" fmla="*/ 1154906 w 8682037"/>
                  <a:gd name="connsiteY121" fmla="*/ 407193 h 4305300"/>
                  <a:gd name="connsiteX122" fmla="*/ 1081087 w 8682037"/>
                  <a:gd name="connsiteY122" fmla="*/ 419100 h 4305300"/>
                  <a:gd name="connsiteX123" fmla="*/ 1045368 w 8682037"/>
                  <a:gd name="connsiteY123" fmla="*/ 411956 h 4305300"/>
                  <a:gd name="connsiteX124" fmla="*/ 966788 w 8682037"/>
                  <a:gd name="connsiteY124" fmla="*/ 442913 h 4305300"/>
                  <a:gd name="connsiteX125" fmla="*/ 945356 w 8682037"/>
                  <a:gd name="connsiteY125" fmla="*/ 471488 h 4305300"/>
                  <a:gd name="connsiteX126" fmla="*/ 878681 w 8682037"/>
                  <a:gd name="connsiteY126" fmla="*/ 461963 h 4305300"/>
                  <a:gd name="connsiteX127" fmla="*/ 809625 w 8682037"/>
                  <a:gd name="connsiteY127" fmla="*/ 485775 h 4305300"/>
                  <a:gd name="connsiteX128" fmla="*/ 754856 w 8682037"/>
                  <a:gd name="connsiteY128" fmla="*/ 523875 h 4305300"/>
                  <a:gd name="connsiteX129" fmla="*/ 659606 w 8682037"/>
                  <a:gd name="connsiteY129" fmla="*/ 538162 h 4305300"/>
                  <a:gd name="connsiteX130" fmla="*/ 645318 w 8682037"/>
                  <a:gd name="connsiteY130" fmla="*/ 559594 h 4305300"/>
                  <a:gd name="connsiteX131" fmla="*/ 657224 w 8682037"/>
                  <a:gd name="connsiteY131" fmla="*/ 604838 h 4305300"/>
                  <a:gd name="connsiteX132" fmla="*/ 557213 w 8682037"/>
                  <a:gd name="connsiteY132" fmla="*/ 657225 h 4305300"/>
                  <a:gd name="connsiteX133" fmla="*/ 519112 w 8682037"/>
                  <a:gd name="connsiteY133" fmla="*/ 628649 h 4305300"/>
                  <a:gd name="connsiteX134" fmla="*/ 488156 w 8682037"/>
                  <a:gd name="connsiteY134" fmla="*/ 685800 h 4305300"/>
                  <a:gd name="connsiteX135" fmla="*/ 431006 w 8682037"/>
                  <a:gd name="connsiteY135" fmla="*/ 647700 h 4305300"/>
                  <a:gd name="connsiteX136" fmla="*/ 395287 w 8682037"/>
                  <a:gd name="connsiteY136" fmla="*/ 676275 h 4305300"/>
                  <a:gd name="connsiteX137" fmla="*/ 359568 w 8682037"/>
                  <a:gd name="connsiteY137" fmla="*/ 640556 h 4305300"/>
                  <a:gd name="connsiteX138" fmla="*/ 307181 w 8682037"/>
                  <a:gd name="connsiteY138" fmla="*/ 652463 h 4305300"/>
                  <a:gd name="connsiteX139" fmla="*/ 261937 w 8682037"/>
                  <a:gd name="connsiteY139" fmla="*/ 623888 h 4305300"/>
                  <a:gd name="connsiteX140" fmla="*/ 238125 w 8682037"/>
                  <a:gd name="connsiteY140" fmla="*/ 642938 h 4305300"/>
                  <a:gd name="connsiteX141" fmla="*/ 214312 w 8682037"/>
                  <a:gd name="connsiteY141" fmla="*/ 702469 h 4305300"/>
                  <a:gd name="connsiteX142" fmla="*/ 142875 w 8682037"/>
                  <a:gd name="connsiteY142" fmla="*/ 740568 h 4305300"/>
                  <a:gd name="connsiteX143" fmla="*/ 90487 w 8682037"/>
                  <a:gd name="connsiteY143" fmla="*/ 711994 h 4305300"/>
                  <a:gd name="connsiteX144" fmla="*/ 0 w 8682037"/>
                  <a:gd name="connsiteY144" fmla="*/ 721519 h 4305300"/>
                  <a:gd name="connsiteX145" fmla="*/ 80962 w 8682037"/>
                  <a:gd name="connsiteY145" fmla="*/ 816769 h 4305300"/>
                  <a:gd name="connsiteX146" fmla="*/ 85725 w 8682037"/>
                  <a:gd name="connsiteY146" fmla="*/ 840581 h 4305300"/>
                  <a:gd name="connsiteX147" fmla="*/ 142874 w 8682037"/>
                  <a:gd name="connsiteY147" fmla="*/ 914400 h 4305300"/>
                  <a:gd name="connsiteX148" fmla="*/ 104775 w 8682037"/>
                  <a:gd name="connsiteY148" fmla="*/ 962025 h 4305300"/>
                  <a:gd name="connsiteX149" fmla="*/ 159543 w 8682037"/>
                  <a:gd name="connsiteY149" fmla="*/ 997744 h 4305300"/>
                  <a:gd name="connsiteX150" fmla="*/ 250031 w 8682037"/>
                  <a:gd name="connsiteY150" fmla="*/ 1085850 h 4305300"/>
                  <a:gd name="connsiteX151" fmla="*/ 252412 w 8682037"/>
                  <a:gd name="connsiteY151" fmla="*/ 1145381 h 4305300"/>
                  <a:gd name="connsiteX152" fmla="*/ 388143 w 8682037"/>
                  <a:gd name="connsiteY152" fmla="*/ 1278732 h 4305300"/>
                  <a:gd name="connsiteX153" fmla="*/ 442912 w 8682037"/>
                  <a:gd name="connsiteY153" fmla="*/ 1254919 h 4305300"/>
                  <a:gd name="connsiteX154" fmla="*/ 481012 w 8682037"/>
                  <a:gd name="connsiteY154" fmla="*/ 1281112 h 4305300"/>
                  <a:gd name="connsiteX155" fmla="*/ 495300 w 8682037"/>
                  <a:gd name="connsiteY155" fmla="*/ 1331118 h 4305300"/>
                  <a:gd name="connsiteX156" fmla="*/ 538162 w 8682037"/>
                  <a:gd name="connsiteY156" fmla="*/ 1366838 h 4305300"/>
                  <a:gd name="connsiteX157" fmla="*/ 578643 w 8682037"/>
                  <a:gd name="connsiteY157" fmla="*/ 1354931 h 4305300"/>
                  <a:gd name="connsiteX158" fmla="*/ 597693 w 8682037"/>
                  <a:gd name="connsiteY158" fmla="*/ 1412081 h 4305300"/>
                  <a:gd name="connsiteX159" fmla="*/ 645318 w 8682037"/>
                  <a:gd name="connsiteY159" fmla="*/ 1454944 h 4305300"/>
                  <a:gd name="connsiteX160" fmla="*/ 669131 w 8682037"/>
                  <a:gd name="connsiteY160" fmla="*/ 1557338 h 4305300"/>
                  <a:gd name="connsiteX161" fmla="*/ 666750 w 8682037"/>
                  <a:gd name="connsiteY161" fmla="*/ 1604963 h 4305300"/>
                  <a:gd name="connsiteX162" fmla="*/ 702468 w 8682037"/>
                  <a:gd name="connsiteY162" fmla="*/ 1704975 h 4305300"/>
                  <a:gd name="connsiteX163" fmla="*/ 747712 w 8682037"/>
                  <a:gd name="connsiteY163" fmla="*/ 1762125 h 4305300"/>
                  <a:gd name="connsiteX164" fmla="*/ 764380 w 8682037"/>
                  <a:gd name="connsiteY164" fmla="*/ 1919287 h 4305300"/>
                  <a:gd name="connsiteX165" fmla="*/ 731043 w 8682037"/>
                  <a:gd name="connsiteY165" fmla="*/ 1981200 h 4305300"/>
                  <a:gd name="connsiteX166" fmla="*/ 700087 w 8682037"/>
                  <a:gd name="connsiteY166" fmla="*/ 2057400 h 4305300"/>
                  <a:gd name="connsiteX167" fmla="*/ 714375 w 8682037"/>
                  <a:gd name="connsiteY167" fmla="*/ 2114550 h 4305300"/>
                  <a:gd name="connsiteX168" fmla="*/ 616743 w 8682037"/>
                  <a:gd name="connsiteY168" fmla="*/ 2221707 h 4305300"/>
                  <a:gd name="connsiteX169" fmla="*/ 573881 w 8682037"/>
                  <a:gd name="connsiteY169" fmla="*/ 2336006 h 4305300"/>
                  <a:gd name="connsiteX170" fmla="*/ 607218 w 8682037"/>
                  <a:gd name="connsiteY170" fmla="*/ 2376488 h 4305300"/>
                  <a:gd name="connsiteX171" fmla="*/ 590550 w 8682037"/>
                  <a:gd name="connsiteY171" fmla="*/ 2405063 h 4305300"/>
                  <a:gd name="connsiteX172" fmla="*/ 621506 w 8682037"/>
                  <a:gd name="connsiteY172" fmla="*/ 2462213 h 4305300"/>
                  <a:gd name="connsiteX173" fmla="*/ 650081 w 8682037"/>
                  <a:gd name="connsiteY173" fmla="*/ 2462213 h 4305300"/>
                  <a:gd name="connsiteX174" fmla="*/ 812006 w 8682037"/>
                  <a:gd name="connsiteY174" fmla="*/ 2564606 h 4305300"/>
                  <a:gd name="connsiteX175" fmla="*/ 916781 w 8682037"/>
                  <a:gd name="connsiteY175" fmla="*/ 2562225 h 4305300"/>
                  <a:gd name="connsiteX176" fmla="*/ 995362 w 8682037"/>
                  <a:gd name="connsiteY176" fmla="*/ 2616994 h 4305300"/>
                  <a:gd name="connsiteX177" fmla="*/ 1126330 w 8682037"/>
                  <a:gd name="connsiteY177" fmla="*/ 2619375 h 4305300"/>
                  <a:gd name="connsiteX178" fmla="*/ 1316830 w 8682037"/>
                  <a:gd name="connsiteY178" fmla="*/ 2688431 h 4305300"/>
                  <a:gd name="connsiteX179" fmla="*/ 1519237 w 8682037"/>
                  <a:gd name="connsiteY179" fmla="*/ 2838450 h 4305300"/>
                  <a:gd name="connsiteX180" fmla="*/ 1552574 w 8682037"/>
                  <a:gd name="connsiteY180" fmla="*/ 2905125 h 4305300"/>
                  <a:gd name="connsiteX181" fmla="*/ 1719262 w 8682037"/>
                  <a:gd name="connsiteY181" fmla="*/ 3031331 h 4305300"/>
                  <a:gd name="connsiteX182" fmla="*/ 1790700 w 8682037"/>
                  <a:gd name="connsiteY182" fmla="*/ 3026569 h 4305300"/>
                  <a:gd name="connsiteX183" fmla="*/ 1826419 w 8682037"/>
                  <a:gd name="connsiteY183" fmla="*/ 3050381 h 4305300"/>
                  <a:gd name="connsiteX184" fmla="*/ 1797843 w 8682037"/>
                  <a:gd name="connsiteY184" fmla="*/ 3090863 h 4305300"/>
                  <a:gd name="connsiteX185" fmla="*/ 1804987 w 8682037"/>
                  <a:gd name="connsiteY185" fmla="*/ 3143250 h 4305300"/>
                  <a:gd name="connsiteX186" fmla="*/ 1857375 w 8682037"/>
                  <a:gd name="connsiteY186" fmla="*/ 3169444 h 4305300"/>
                  <a:gd name="connsiteX187" fmla="*/ 1919287 w 8682037"/>
                  <a:gd name="connsiteY187" fmla="*/ 3393282 h 4305300"/>
                  <a:gd name="connsiteX188" fmla="*/ 1909762 w 8682037"/>
                  <a:gd name="connsiteY188" fmla="*/ 3457575 h 4305300"/>
                  <a:gd name="connsiteX189" fmla="*/ 2045493 w 8682037"/>
                  <a:gd name="connsiteY189" fmla="*/ 3624263 h 4305300"/>
                  <a:gd name="connsiteX190" fmla="*/ 2064543 w 8682037"/>
                  <a:gd name="connsiteY190" fmla="*/ 3674269 h 4305300"/>
                  <a:gd name="connsiteX191" fmla="*/ 2038350 w 8682037"/>
                  <a:gd name="connsiteY191" fmla="*/ 3693319 h 4305300"/>
                  <a:gd name="connsiteX192" fmla="*/ 2140743 w 8682037"/>
                  <a:gd name="connsiteY192" fmla="*/ 3702844 h 4305300"/>
                  <a:gd name="connsiteX193" fmla="*/ 2252662 w 8682037"/>
                  <a:gd name="connsiteY193" fmla="*/ 3690938 h 4305300"/>
                  <a:gd name="connsiteX194" fmla="*/ 2531268 w 8682037"/>
                  <a:gd name="connsiteY194" fmla="*/ 3774281 h 4305300"/>
                  <a:gd name="connsiteX195" fmla="*/ 2938462 w 8682037"/>
                  <a:gd name="connsiteY195" fmla="*/ 3855244 h 4305300"/>
                  <a:gd name="connsiteX196" fmla="*/ 3136106 w 8682037"/>
                  <a:gd name="connsiteY196" fmla="*/ 3824287 h 4305300"/>
                  <a:gd name="connsiteX197" fmla="*/ 3181350 w 8682037"/>
                  <a:gd name="connsiteY197" fmla="*/ 3836193 h 4305300"/>
                  <a:gd name="connsiteX198" fmla="*/ 3236118 w 8682037"/>
                  <a:gd name="connsiteY198" fmla="*/ 3812382 h 4305300"/>
                  <a:gd name="connsiteX199" fmla="*/ 3629024 w 8682037"/>
                  <a:gd name="connsiteY199" fmla="*/ 3902869 h 4305300"/>
                  <a:gd name="connsiteX200" fmla="*/ 3712369 w 8682037"/>
                  <a:gd name="connsiteY200" fmla="*/ 4000500 h 4305300"/>
                  <a:gd name="connsiteX201" fmla="*/ 3831431 w 8682037"/>
                  <a:gd name="connsiteY201" fmla="*/ 4071938 h 4305300"/>
                  <a:gd name="connsiteX202" fmla="*/ 3890962 w 8682037"/>
                  <a:gd name="connsiteY202" fmla="*/ 4055269 h 4305300"/>
                  <a:gd name="connsiteX203" fmla="*/ 4241005 w 8682037"/>
                  <a:gd name="connsiteY203" fmla="*/ 4229100 h 4305300"/>
                  <a:gd name="connsiteX204" fmla="*/ 4467225 w 8682037"/>
                  <a:gd name="connsiteY204" fmla="*/ 4200525 h 4305300"/>
                  <a:gd name="connsiteX205" fmla="*/ 4476750 w 8682037"/>
                  <a:gd name="connsiteY205" fmla="*/ 4279106 h 4305300"/>
                  <a:gd name="connsiteX206" fmla="*/ 4562475 w 8682037"/>
                  <a:gd name="connsiteY206" fmla="*/ 4274343 h 4305300"/>
                  <a:gd name="connsiteX207" fmla="*/ 4641056 w 8682037"/>
                  <a:gd name="connsiteY207" fmla="*/ 4305300 h 4305300"/>
                  <a:gd name="connsiteX208" fmla="*/ 4683918 w 8682037"/>
                  <a:gd name="connsiteY208" fmla="*/ 4245769 h 4305300"/>
                  <a:gd name="connsiteX209" fmla="*/ 5355431 w 8682037"/>
                  <a:gd name="connsiteY209" fmla="*/ 3926681 h 4305300"/>
                  <a:gd name="connsiteX210" fmla="*/ 5443537 w 8682037"/>
                  <a:gd name="connsiteY210" fmla="*/ 3955257 h 4305300"/>
                  <a:gd name="connsiteX211" fmla="*/ 5574506 w 8682037"/>
                  <a:gd name="connsiteY211" fmla="*/ 3926681 h 4305300"/>
                  <a:gd name="connsiteX212" fmla="*/ 5753099 w 8682037"/>
                  <a:gd name="connsiteY212" fmla="*/ 3943350 h 4305300"/>
                  <a:gd name="connsiteX213" fmla="*/ 5810250 w 8682037"/>
                  <a:gd name="connsiteY213" fmla="*/ 3917157 h 4305300"/>
                  <a:gd name="connsiteX214" fmla="*/ 5943599 w 8682037"/>
                  <a:gd name="connsiteY214" fmla="*/ 3914775 h 4305300"/>
                  <a:gd name="connsiteX215" fmla="*/ 6076949 w 8682037"/>
                  <a:gd name="connsiteY215" fmla="*/ 3817144 h 4305300"/>
                  <a:gd name="connsiteX216" fmla="*/ 6143624 w 8682037"/>
                  <a:gd name="connsiteY216" fmla="*/ 3810000 h 4305300"/>
                  <a:gd name="connsiteX217" fmla="*/ 6241256 w 8682037"/>
                  <a:gd name="connsiteY217" fmla="*/ 3736181 h 4305300"/>
                  <a:gd name="connsiteX218" fmla="*/ 6315075 w 8682037"/>
                  <a:gd name="connsiteY218" fmla="*/ 3667125 h 4305300"/>
                  <a:gd name="connsiteX219" fmla="*/ 6324600 w 8682037"/>
                  <a:gd name="connsiteY219" fmla="*/ 3605213 h 4305300"/>
                  <a:gd name="connsiteX220" fmla="*/ 6357937 w 8682037"/>
                  <a:gd name="connsiteY220" fmla="*/ 3536156 h 4305300"/>
                  <a:gd name="connsiteX221" fmla="*/ 6510337 w 8682037"/>
                  <a:gd name="connsiteY221" fmla="*/ 3429000 h 4305300"/>
                  <a:gd name="connsiteX222" fmla="*/ 6543675 w 8682037"/>
                  <a:gd name="connsiteY222" fmla="*/ 3433763 h 4305300"/>
                  <a:gd name="connsiteX223" fmla="*/ 6596062 w 8682037"/>
                  <a:gd name="connsiteY223" fmla="*/ 3355181 h 4305300"/>
                  <a:gd name="connsiteX224" fmla="*/ 6643687 w 8682037"/>
                  <a:gd name="connsiteY224" fmla="*/ 3317081 h 4305300"/>
                  <a:gd name="connsiteX225" fmla="*/ 6629400 w 8682037"/>
                  <a:gd name="connsiteY225" fmla="*/ 3248025 h 4305300"/>
                  <a:gd name="connsiteX226" fmla="*/ 6579393 w 8682037"/>
                  <a:gd name="connsiteY226" fmla="*/ 3217068 h 4305300"/>
                  <a:gd name="connsiteX227" fmla="*/ 6519862 w 8682037"/>
                  <a:gd name="connsiteY227" fmla="*/ 3162300 h 4305300"/>
                  <a:gd name="connsiteX228" fmla="*/ 6500812 w 8682037"/>
                  <a:gd name="connsiteY228" fmla="*/ 3105150 h 4305300"/>
                  <a:gd name="connsiteX229" fmla="*/ 6465093 w 8682037"/>
                  <a:gd name="connsiteY229" fmla="*/ 3071813 h 4305300"/>
                  <a:gd name="connsiteX230" fmla="*/ 6491287 w 8682037"/>
                  <a:gd name="connsiteY230" fmla="*/ 3019425 h 4305300"/>
                  <a:gd name="connsiteX231" fmla="*/ 6531768 w 8682037"/>
                  <a:gd name="connsiteY231" fmla="*/ 2840831 h 4305300"/>
                  <a:gd name="connsiteX232" fmla="*/ 6572250 w 8682037"/>
                  <a:gd name="connsiteY232" fmla="*/ 2774156 h 4305300"/>
                  <a:gd name="connsiteX233" fmla="*/ 6717506 w 8682037"/>
                  <a:gd name="connsiteY233" fmla="*/ 2757487 h 4305300"/>
                  <a:gd name="connsiteX234" fmla="*/ 6786562 w 8682037"/>
                  <a:gd name="connsiteY234" fmla="*/ 2814638 h 4305300"/>
                  <a:gd name="connsiteX235" fmla="*/ 6862762 w 8682037"/>
                  <a:gd name="connsiteY235" fmla="*/ 2838450 h 4305300"/>
                  <a:gd name="connsiteX236" fmla="*/ 7067549 w 8682037"/>
                  <a:gd name="connsiteY236" fmla="*/ 2843213 h 4305300"/>
                  <a:gd name="connsiteX237" fmla="*/ 7243762 w 8682037"/>
                  <a:gd name="connsiteY237" fmla="*/ 2705100 h 4305300"/>
                  <a:gd name="connsiteX238" fmla="*/ 7300912 w 8682037"/>
                  <a:gd name="connsiteY238" fmla="*/ 2614612 h 4305300"/>
                  <a:gd name="connsiteX239" fmla="*/ 7327106 w 8682037"/>
                  <a:gd name="connsiteY239" fmla="*/ 2531269 h 4305300"/>
                  <a:gd name="connsiteX240" fmla="*/ 7458074 w 8682037"/>
                  <a:gd name="connsiteY240" fmla="*/ 2531269 h 4305300"/>
                  <a:gd name="connsiteX241" fmla="*/ 7631906 w 8682037"/>
                  <a:gd name="connsiteY241" fmla="*/ 2474118 h 4305300"/>
                  <a:gd name="connsiteX242" fmla="*/ 7691437 w 8682037"/>
                  <a:gd name="connsiteY242" fmla="*/ 2362200 h 4305300"/>
                  <a:gd name="connsiteX243" fmla="*/ 7755731 w 8682037"/>
                  <a:gd name="connsiteY243" fmla="*/ 2326481 h 4305300"/>
                  <a:gd name="connsiteX244" fmla="*/ 7734300 w 8682037"/>
                  <a:gd name="connsiteY244" fmla="*/ 2281238 h 4305300"/>
                  <a:gd name="connsiteX245" fmla="*/ 7812881 w 8682037"/>
                  <a:gd name="connsiteY245" fmla="*/ 2112168 h 4305300"/>
                  <a:gd name="connsiteX246" fmla="*/ 7867650 w 8682037"/>
                  <a:gd name="connsiteY246" fmla="*/ 2052638 h 4305300"/>
                  <a:gd name="connsiteX247" fmla="*/ 7905750 w 8682037"/>
                  <a:gd name="connsiteY247" fmla="*/ 2047875 h 4305300"/>
                  <a:gd name="connsiteX248" fmla="*/ 7950993 w 8682037"/>
                  <a:gd name="connsiteY248" fmla="*/ 2052638 h 4305300"/>
                  <a:gd name="connsiteX249" fmla="*/ 8015287 w 8682037"/>
                  <a:gd name="connsiteY249" fmla="*/ 2019300 h 4305300"/>
                  <a:gd name="connsiteX250" fmla="*/ 8024812 w 8682037"/>
                  <a:gd name="connsiteY250" fmla="*/ 1955006 h 4305300"/>
                  <a:gd name="connsiteX251" fmla="*/ 8065292 w 8682037"/>
                  <a:gd name="connsiteY251" fmla="*/ 1919288 h 4305300"/>
                  <a:gd name="connsiteX252" fmla="*/ 8124825 w 8682037"/>
                  <a:gd name="connsiteY252" fmla="*/ 1959768 h 4305300"/>
                  <a:gd name="connsiteX253" fmla="*/ 8151019 w 8682037"/>
                  <a:gd name="connsiteY253" fmla="*/ 1909762 h 4305300"/>
                  <a:gd name="connsiteX254" fmla="*/ 8246268 w 8682037"/>
                  <a:gd name="connsiteY254" fmla="*/ 1840706 h 4305300"/>
                  <a:gd name="connsiteX255" fmla="*/ 8308181 w 8682037"/>
                  <a:gd name="connsiteY255" fmla="*/ 1847850 h 4305300"/>
                  <a:gd name="connsiteX256" fmla="*/ 8358187 w 8682037"/>
                  <a:gd name="connsiteY256" fmla="*/ 1828800 h 4305300"/>
                  <a:gd name="connsiteX257" fmla="*/ 8396287 w 8682037"/>
                  <a:gd name="connsiteY257" fmla="*/ 1800225 h 4305300"/>
                  <a:gd name="connsiteX258" fmla="*/ 8429625 w 8682037"/>
                  <a:gd name="connsiteY258" fmla="*/ 1797844 h 4305300"/>
                  <a:gd name="connsiteX259" fmla="*/ 8465343 w 8682037"/>
                  <a:gd name="connsiteY259" fmla="*/ 1828800 h 4305300"/>
                  <a:gd name="connsiteX260" fmla="*/ 8524875 w 8682037"/>
                  <a:gd name="connsiteY260" fmla="*/ 1828800 h 4305300"/>
                  <a:gd name="connsiteX261" fmla="*/ 8562974 w 8682037"/>
                  <a:gd name="connsiteY261" fmla="*/ 1809750 h 4305300"/>
                  <a:gd name="connsiteX262" fmla="*/ 8646318 w 8682037"/>
                  <a:gd name="connsiteY262" fmla="*/ 1812132 h 4305300"/>
                  <a:gd name="connsiteX263" fmla="*/ 8677275 w 8682037"/>
                  <a:gd name="connsiteY263" fmla="*/ 1766888 h 4305300"/>
                  <a:gd name="connsiteX264" fmla="*/ 8682037 w 8682037"/>
                  <a:gd name="connsiteY264" fmla="*/ 1704975 h 4305300"/>
                  <a:gd name="connsiteX265" fmla="*/ 8632030 w 8682037"/>
                  <a:gd name="connsiteY265" fmla="*/ 1664494 h 4305300"/>
                  <a:gd name="connsiteX266" fmla="*/ 8615362 w 8682037"/>
                  <a:gd name="connsiteY266" fmla="*/ 1609725 h 4305300"/>
                  <a:gd name="connsiteX267" fmla="*/ 8524875 w 8682037"/>
                  <a:gd name="connsiteY267" fmla="*/ 1547813 h 4305300"/>
                  <a:gd name="connsiteX268" fmla="*/ 8484393 w 8682037"/>
                  <a:gd name="connsiteY268" fmla="*/ 1526381 h 4305300"/>
                  <a:gd name="connsiteX269" fmla="*/ 8446293 w 8682037"/>
                  <a:gd name="connsiteY269" fmla="*/ 1481138 h 4305300"/>
                  <a:gd name="connsiteX270" fmla="*/ 8415337 w 8682037"/>
                  <a:gd name="connsiteY270" fmla="*/ 1478756 h 4305300"/>
                  <a:gd name="connsiteX271" fmla="*/ 8398668 w 8682037"/>
                  <a:gd name="connsiteY271" fmla="*/ 1426369 h 4305300"/>
                  <a:gd name="connsiteX272" fmla="*/ 8358187 w 8682037"/>
                  <a:gd name="connsiteY272" fmla="*/ 1409700 h 4305300"/>
                  <a:gd name="connsiteX273" fmla="*/ 8358187 w 8682037"/>
                  <a:gd name="connsiteY273" fmla="*/ 1409700 h 4305300"/>
                  <a:gd name="connsiteX274" fmla="*/ 8317706 w 8682037"/>
                  <a:gd name="connsiteY274" fmla="*/ 1414463 h 4305300"/>
                  <a:gd name="connsiteX275" fmla="*/ 8231980 w 8682037"/>
                  <a:gd name="connsiteY275" fmla="*/ 1340644 h 4305300"/>
                  <a:gd name="connsiteX276" fmla="*/ 8051006 w 8682037"/>
                  <a:gd name="connsiteY276" fmla="*/ 1340643 h 4305300"/>
                  <a:gd name="connsiteX277" fmla="*/ 7998618 w 8682037"/>
                  <a:gd name="connsiteY277" fmla="*/ 1378744 h 4305300"/>
                  <a:gd name="connsiteX278" fmla="*/ 7948612 w 8682037"/>
                  <a:gd name="connsiteY278" fmla="*/ 1457325 h 4305300"/>
                  <a:gd name="connsiteX279" fmla="*/ 7965281 w 8682037"/>
                  <a:gd name="connsiteY279" fmla="*/ 1478756 h 4305300"/>
                  <a:gd name="connsiteX280" fmla="*/ 7920037 w 8682037"/>
                  <a:gd name="connsiteY280" fmla="*/ 1528762 h 4305300"/>
                  <a:gd name="connsiteX281" fmla="*/ 7770018 w 8682037"/>
                  <a:gd name="connsiteY281" fmla="*/ 1452562 h 4305300"/>
                  <a:gd name="connsiteX282" fmla="*/ 7679531 w 8682037"/>
                  <a:gd name="connsiteY282" fmla="*/ 1488281 h 4305300"/>
                  <a:gd name="connsiteX283" fmla="*/ 7605712 w 8682037"/>
                  <a:gd name="connsiteY283" fmla="*/ 1485900 h 4305300"/>
                  <a:gd name="connsiteX284" fmla="*/ 7548562 w 8682037"/>
                  <a:gd name="connsiteY284" fmla="*/ 1581150 h 4305300"/>
                  <a:gd name="connsiteX285" fmla="*/ 7410450 w 8682037"/>
                  <a:gd name="connsiteY285" fmla="*/ 1483519 h 4305300"/>
                  <a:gd name="connsiteX0" fmla="*/ 7458076 w 8729663"/>
                  <a:gd name="connsiteY0" fmla="*/ 1483519 h 4305300"/>
                  <a:gd name="connsiteX1" fmla="*/ 7450932 w 8729663"/>
                  <a:gd name="connsiteY1" fmla="*/ 1428750 h 4305300"/>
                  <a:gd name="connsiteX2" fmla="*/ 7517607 w 8729663"/>
                  <a:gd name="connsiteY2" fmla="*/ 1354931 h 4305300"/>
                  <a:gd name="connsiteX3" fmla="*/ 7500938 w 8729663"/>
                  <a:gd name="connsiteY3" fmla="*/ 1283494 h 4305300"/>
                  <a:gd name="connsiteX4" fmla="*/ 7515226 w 8729663"/>
                  <a:gd name="connsiteY4" fmla="*/ 1188244 h 4305300"/>
                  <a:gd name="connsiteX5" fmla="*/ 7553326 w 8729663"/>
                  <a:gd name="connsiteY5" fmla="*/ 1131094 h 4305300"/>
                  <a:gd name="connsiteX6" fmla="*/ 7534275 w 8729663"/>
                  <a:gd name="connsiteY6" fmla="*/ 1097756 h 4305300"/>
                  <a:gd name="connsiteX7" fmla="*/ 7631906 w 8729663"/>
                  <a:gd name="connsiteY7" fmla="*/ 697706 h 4305300"/>
                  <a:gd name="connsiteX8" fmla="*/ 7624763 w 8729663"/>
                  <a:gd name="connsiteY8" fmla="*/ 669131 h 4305300"/>
                  <a:gd name="connsiteX9" fmla="*/ 7496176 w 8729663"/>
                  <a:gd name="connsiteY9" fmla="*/ 647700 h 4305300"/>
                  <a:gd name="connsiteX10" fmla="*/ 7312820 w 8729663"/>
                  <a:gd name="connsiteY10" fmla="*/ 726281 h 4305300"/>
                  <a:gd name="connsiteX11" fmla="*/ 7155656 w 8729663"/>
                  <a:gd name="connsiteY11" fmla="*/ 611981 h 4305300"/>
                  <a:gd name="connsiteX12" fmla="*/ 7079457 w 8729663"/>
                  <a:gd name="connsiteY12" fmla="*/ 619125 h 4305300"/>
                  <a:gd name="connsiteX13" fmla="*/ 7005638 w 8729663"/>
                  <a:gd name="connsiteY13" fmla="*/ 614363 h 4305300"/>
                  <a:gd name="connsiteX14" fmla="*/ 6867526 w 8729663"/>
                  <a:gd name="connsiteY14" fmla="*/ 719138 h 4305300"/>
                  <a:gd name="connsiteX15" fmla="*/ 6760369 w 8729663"/>
                  <a:gd name="connsiteY15" fmla="*/ 826294 h 4305300"/>
                  <a:gd name="connsiteX16" fmla="*/ 6717507 w 8729663"/>
                  <a:gd name="connsiteY16" fmla="*/ 895350 h 4305300"/>
                  <a:gd name="connsiteX17" fmla="*/ 6724651 w 8729663"/>
                  <a:gd name="connsiteY17" fmla="*/ 931069 h 4305300"/>
                  <a:gd name="connsiteX18" fmla="*/ 6662738 w 8729663"/>
                  <a:gd name="connsiteY18" fmla="*/ 942975 h 4305300"/>
                  <a:gd name="connsiteX19" fmla="*/ 6681788 w 8729663"/>
                  <a:gd name="connsiteY19" fmla="*/ 942975 h 4305300"/>
                  <a:gd name="connsiteX20" fmla="*/ 6648451 w 8729663"/>
                  <a:gd name="connsiteY20" fmla="*/ 973931 h 4305300"/>
                  <a:gd name="connsiteX21" fmla="*/ 6548438 w 8729663"/>
                  <a:gd name="connsiteY21" fmla="*/ 973932 h 4305300"/>
                  <a:gd name="connsiteX22" fmla="*/ 6453188 w 8729663"/>
                  <a:gd name="connsiteY22" fmla="*/ 1028700 h 4305300"/>
                  <a:gd name="connsiteX23" fmla="*/ 6372226 w 8729663"/>
                  <a:gd name="connsiteY23" fmla="*/ 1038225 h 4305300"/>
                  <a:gd name="connsiteX24" fmla="*/ 6331744 w 8729663"/>
                  <a:gd name="connsiteY24" fmla="*/ 1071563 h 4305300"/>
                  <a:gd name="connsiteX25" fmla="*/ 6281738 w 8729663"/>
                  <a:gd name="connsiteY25" fmla="*/ 1076325 h 4305300"/>
                  <a:gd name="connsiteX26" fmla="*/ 6160295 w 8729663"/>
                  <a:gd name="connsiteY26" fmla="*/ 1169194 h 4305300"/>
                  <a:gd name="connsiteX27" fmla="*/ 6100763 w 8729663"/>
                  <a:gd name="connsiteY27" fmla="*/ 1173956 h 4305300"/>
                  <a:gd name="connsiteX28" fmla="*/ 6048376 w 8729663"/>
                  <a:gd name="connsiteY28" fmla="*/ 1138238 h 4305300"/>
                  <a:gd name="connsiteX29" fmla="*/ 6022182 w 8729663"/>
                  <a:gd name="connsiteY29" fmla="*/ 1173956 h 4305300"/>
                  <a:gd name="connsiteX30" fmla="*/ 5824538 w 8729663"/>
                  <a:gd name="connsiteY30" fmla="*/ 1166813 h 4305300"/>
                  <a:gd name="connsiteX31" fmla="*/ 5762626 w 8729663"/>
                  <a:gd name="connsiteY31" fmla="*/ 1121569 h 4305300"/>
                  <a:gd name="connsiteX32" fmla="*/ 5564982 w 8729663"/>
                  <a:gd name="connsiteY32" fmla="*/ 1138238 h 4305300"/>
                  <a:gd name="connsiteX33" fmla="*/ 5476876 w 8729663"/>
                  <a:gd name="connsiteY33" fmla="*/ 1054893 h 4305300"/>
                  <a:gd name="connsiteX34" fmla="*/ 5400676 w 8729663"/>
                  <a:gd name="connsiteY34" fmla="*/ 1009650 h 4305300"/>
                  <a:gd name="connsiteX35" fmla="*/ 5403056 w 8729663"/>
                  <a:gd name="connsiteY35" fmla="*/ 952500 h 4305300"/>
                  <a:gd name="connsiteX36" fmla="*/ 5384007 w 8729663"/>
                  <a:gd name="connsiteY36" fmla="*/ 909637 h 4305300"/>
                  <a:gd name="connsiteX37" fmla="*/ 5288757 w 8729663"/>
                  <a:gd name="connsiteY37" fmla="*/ 912019 h 4305300"/>
                  <a:gd name="connsiteX38" fmla="*/ 5193507 w 8729663"/>
                  <a:gd name="connsiteY38" fmla="*/ 890588 h 4305300"/>
                  <a:gd name="connsiteX39" fmla="*/ 5124450 w 8729663"/>
                  <a:gd name="connsiteY39" fmla="*/ 823912 h 4305300"/>
                  <a:gd name="connsiteX40" fmla="*/ 5088732 w 8729663"/>
                  <a:gd name="connsiteY40" fmla="*/ 781050 h 4305300"/>
                  <a:gd name="connsiteX41" fmla="*/ 5007769 w 8729663"/>
                  <a:gd name="connsiteY41" fmla="*/ 757237 h 4305300"/>
                  <a:gd name="connsiteX42" fmla="*/ 4933951 w 8729663"/>
                  <a:gd name="connsiteY42" fmla="*/ 769143 h 4305300"/>
                  <a:gd name="connsiteX43" fmla="*/ 4876800 w 8729663"/>
                  <a:gd name="connsiteY43" fmla="*/ 716756 h 4305300"/>
                  <a:gd name="connsiteX44" fmla="*/ 4781551 w 8729663"/>
                  <a:gd name="connsiteY44" fmla="*/ 728663 h 4305300"/>
                  <a:gd name="connsiteX45" fmla="*/ 4729163 w 8729663"/>
                  <a:gd name="connsiteY45" fmla="*/ 702469 h 4305300"/>
                  <a:gd name="connsiteX46" fmla="*/ 4648201 w 8729663"/>
                  <a:gd name="connsiteY46" fmla="*/ 745331 h 4305300"/>
                  <a:gd name="connsiteX47" fmla="*/ 4510088 w 8729663"/>
                  <a:gd name="connsiteY47" fmla="*/ 769144 h 4305300"/>
                  <a:gd name="connsiteX48" fmla="*/ 4381501 w 8729663"/>
                  <a:gd name="connsiteY48" fmla="*/ 862013 h 4305300"/>
                  <a:gd name="connsiteX49" fmla="*/ 4333875 w 8729663"/>
                  <a:gd name="connsiteY49" fmla="*/ 823913 h 4305300"/>
                  <a:gd name="connsiteX50" fmla="*/ 4312444 w 8729663"/>
                  <a:gd name="connsiteY50" fmla="*/ 854868 h 4305300"/>
                  <a:gd name="connsiteX51" fmla="*/ 4238626 w 8729663"/>
                  <a:gd name="connsiteY51" fmla="*/ 804863 h 4305300"/>
                  <a:gd name="connsiteX52" fmla="*/ 4200526 w 8729663"/>
                  <a:gd name="connsiteY52" fmla="*/ 812006 h 4305300"/>
                  <a:gd name="connsiteX53" fmla="*/ 4179094 w 8729663"/>
                  <a:gd name="connsiteY53" fmla="*/ 773906 h 4305300"/>
                  <a:gd name="connsiteX54" fmla="*/ 4119563 w 8729663"/>
                  <a:gd name="connsiteY54" fmla="*/ 778669 h 4305300"/>
                  <a:gd name="connsiteX55" fmla="*/ 4074319 w 8729663"/>
                  <a:gd name="connsiteY55" fmla="*/ 750094 h 4305300"/>
                  <a:gd name="connsiteX56" fmla="*/ 4036219 w 8729663"/>
                  <a:gd name="connsiteY56" fmla="*/ 747713 h 4305300"/>
                  <a:gd name="connsiteX57" fmla="*/ 4017169 w 8729663"/>
                  <a:gd name="connsiteY57" fmla="*/ 700087 h 4305300"/>
                  <a:gd name="connsiteX58" fmla="*/ 4002882 w 8729663"/>
                  <a:gd name="connsiteY58" fmla="*/ 669131 h 4305300"/>
                  <a:gd name="connsiteX59" fmla="*/ 3957638 w 8729663"/>
                  <a:gd name="connsiteY59" fmla="*/ 678656 h 4305300"/>
                  <a:gd name="connsiteX60" fmla="*/ 3938588 w 8729663"/>
                  <a:gd name="connsiteY60" fmla="*/ 642938 h 4305300"/>
                  <a:gd name="connsiteX61" fmla="*/ 3960020 w 8729663"/>
                  <a:gd name="connsiteY61" fmla="*/ 588169 h 4305300"/>
                  <a:gd name="connsiteX62" fmla="*/ 3929063 w 8729663"/>
                  <a:gd name="connsiteY62" fmla="*/ 561975 h 4305300"/>
                  <a:gd name="connsiteX63" fmla="*/ 3945732 w 8729663"/>
                  <a:gd name="connsiteY63" fmla="*/ 519113 h 4305300"/>
                  <a:gd name="connsiteX64" fmla="*/ 3919538 w 8729663"/>
                  <a:gd name="connsiteY64" fmla="*/ 476250 h 4305300"/>
                  <a:gd name="connsiteX65" fmla="*/ 3914776 w 8729663"/>
                  <a:gd name="connsiteY65" fmla="*/ 414338 h 4305300"/>
                  <a:gd name="connsiteX66" fmla="*/ 3938588 w 8729663"/>
                  <a:gd name="connsiteY66" fmla="*/ 350043 h 4305300"/>
                  <a:gd name="connsiteX67" fmla="*/ 3900488 w 8729663"/>
                  <a:gd name="connsiteY67" fmla="*/ 352425 h 4305300"/>
                  <a:gd name="connsiteX68" fmla="*/ 3781426 w 8729663"/>
                  <a:gd name="connsiteY68" fmla="*/ 295275 h 4305300"/>
                  <a:gd name="connsiteX69" fmla="*/ 3743325 w 8729663"/>
                  <a:gd name="connsiteY69" fmla="*/ 300037 h 4305300"/>
                  <a:gd name="connsiteX70" fmla="*/ 3538538 w 8729663"/>
                  <a:gd name="connsiteY70" fmla="*/ 190500 h 4305300"/>
                  <a:gd name="connsiteX71" fmla="*/ 3433763 w 8729663"/>
                  <a:gd name="connsiteY71" fmla="*/ 159544 h 4305300"/>
                  <a:gd name="connsiteX72" fmla="*/ 3369469 w 8729663"/>
                  <a:gd name="connsiteY72" fmla="*/ 169068 h 4305300"/>
                  <a:gd name="connsiteX73" fmla="*/ 3338513 w 8729663"/>
                  <a:gd name="connsiteY73" fmla="*/ 104775 h 4305300"/>
                  <a:gd name="connsiteX74" fmla="*/ 3281363 w 8729663"/>
                  <a:gd name="connsiteY74" fmla="*/ 104775 h 4305300"/>
                  <a:gd name="connsiteX75" fmla="*/ 3143250 w 8729663"/>
                  <a:gd name="connsiteY75" fmla="*/ 0 h 4305300"/>
                  <a:gd name="connsiteX76" fmla="*/ 3109913 w 8729663"/>
                  <a:gd name="connsiteY76" fmla="*/ 59532 h 4305300"/>
                  <a:gd name="connsiteX77" fmla="*/ 3055144 w 8729663"/>
                  <a:gd name="connsiteY77" fmla="*/ 128588 h 4305300"/>
                  <a:gd name="connsiteX78" fmla="*/ 3012282 w 8729663"/>
                  <a:gd name="connsiteY78" fmla="*/ 145256 h 4305300"/>
                  <a:gd name="connsiteX79" fmla="*/ 2981326 w 8729663"/>
                  <a:gd name="connsiteY79" fmla="*/ 138113 h 4305300"/>
                  <a:gd name="connsiteX80" fmla="*/ 2957513 w 8729663"/>
                  <a:gd name="connsiteY80" fmla="*/ 166688 h 4305300"/>
                  <a:gd name="connsiteX81" fmla="*/ 2931319 w 8729663"/>
                  <a:gd name="connsiteY81" fmla="*/ 245269 h 4305300"/>
                  <a:gd name="connsiteX82" fmla="*/ 2888457 w 8729663"/>
                  <a:gd name="connsiteY82" fmla="*/ 242888 h 4305300"/>
                  <a:gd name="connsiteX83" fmla="*/ 2857500 w 8729663"/>
                  <a:gd name="connsiteY83" fmla="*/ 304800 h 4305300"/>
                  <a:gd name="connsiteX84" fmla="*/ 2852738 w 8729663"/>
                  <a:gd name="connsiteY84" fmla="*/ 369094 h 4305300"/>
                  <a:gd name="connsiteX85" fmla="*/ 2826545 w 8729663"/>
                  <a:gd name="connsiteY85" fmla="*/ 407194 h 4305300"/>
                  <a:gd name="connsiteX86" fmla="*/ 2852738 w 8729663"/>
                  <a:gd name="connsiteY86" fmla="*/ 466725 h 4305300"/>
                  <a:gd name="connsiteX87" fmla="*/ 2855119 w 8729663"/>
                  <a:gd name="connsiteY87" fmla="*/ 535781 h 4305300"/>
                  <a:gd name="connsiteX88" fmla="*/ 2883694 w 8729663"/>
                  <a:gd name="connsiteY88" fmla="*/ 588169 h 4305300"/>
                  <a:gd name="connsiteX89" fmla="*/ 2931320 w 8729663"/>
                  <a:gd name="connsiteY89" fmla="*/ 642938 h 4305300"/>
                  <a:gd name="connsiteX90" fmla="*/ 2881313 w 8729663"/>
                  <a:gd name="connsiteY90" fmla="*/ 781050 h 4305300"/>
                  <a:gd name="connsiteX91" fmla="*/ 2812257 w 8729663"/>
                  <a:gd name="connsiteY91" fmla="*/ 847725 h 4305300"/>
                  <a:gd name="connsiteX92" fmla="*/ 2740819 w 8729663"/>
                  <a:gd name="connsiteY92" fmla="*/ 842963 h 4305300"/>
                  <a:gd name="connsiteX93" fmla="*/ 2702719 w 8729663"/>
                  <a:gd name="connsiteY93" fmla="*/ 900113 h 4305300"/>
                  <a:gd name="connsiteX94" fmla="*/ 2643188 w 8729663"/>
                  <a:gd name="connsiteY94" fmla="*/ 914400 h 4305300"/>
                  <a:gd name="connsiteX95" fmla="*/ 2574132 w 8729663"/>
                  <a:gd name="connsiteY95" fmla="*/ 854869 h 4305300"/>
                  <a:gd name="connsiteX96" fmla="*/ 2519363 w 8729663"/>
                  <a:gd name="connsiteY96" fmla="*/ 826294 h 4305300"/>
                  <a:gd name="connsiteX97" fmla="*/ 2476501 w 8729663"/>
                  <a:gd name="connsiteY97" fmla="*/ 840581 h 4305300"/>
                  <a:gd name="connsiteX98" fmla="*/ 2424113 w 8729663"/>
                  <a:gd name="connsiteY98" fmla="*/ 823913 h 4305300"/>
                  <a:gd name="connsiteX99" fmla="*/ 2357438 w 8729663"/>
                  <a:gd name="connsiteY99" fmla="*/ 769144 h 4305300"/>
                  <a:gd name="connsiteX100" fmla="*/ 2312194 w 8729663"/>
                  <a:gd name="connsiteY100" fmla="*/ 781050 h 4305300"/>
                  <a:gd name="connsiteX101" fmla="*/ 2290763 w 8729663"/>
                  <a:gd name="connsiteY101" fmla="*/ 750094 h 4305300"/>
                  <a:gd name="connsiteX102" fmla="*/ 2233613 w 8729663"/>
                  <a:gd name="connsiteY102" fmla="*/ 790575 h 4305300"/>
                  <a:gd name="connsiteX103" fmla="*/ 2116932 w 8729663"/>
                  <a:gd name="connsiteY103" fmla="*/ 769144 h 4305300"/>
                  <a:gd name="connsiteX104" fmla="*/ 2066926 w 8729663"/>
                  <a:gd name="connsiteY104" fmla="*/ 716756 h 4305300"/>
                  <a:gd name="connsiteX105" fmla="*/ 2024063 w 8729663"/>
                  <a:gd name="connsiteY105" fmla="*/ 702469 h 4305300"/>
                  <a:gd name="connsiteX106" fmla="*/ 1981201 w 8729663"/>
                  <a:gd name="connsiteY106" fmla="*/ 728663 h 4305300"/>
                  <a:gd name="connsiteX107" fmla="*/ 1928813 w 8729663"/>
                  <a:gd name="connsiteY107" fmla="*/ 638175 h 4305300"/>
                  <a:gd name="connsiteX108" fmla="*/ 1919288 w 8729663"/>
                  <a:gd name="connsiteY108" fmla="*/ 490537 h 4305300"/>
                  <a:gd name="connsiteX109" fmla="*/ 1866900 w 8729663"/>
                  <a:gd name="connsiteY109" fmla="*/ 483393 h 4305300"/>
                  <a:gd name="connsiteX110" fmla="*/ 1776413 w 8729663"/>
                  <a:gd name="connsiteY110" fmla="*/ 473869 h 4305300"/>
                  <a:gd name="connsiteX111" fmla="*/ 1721644 w 8729663"/>
                  <a:gd name="connsiteY111" fmla="*/ 435769 h 4305300"/>
                  <a:gd name="connsiteX112" fmla="*/ 1652588 w 8729663"/>
                  <a:gd name="connsiteY112" fmla="*/ 445294 h 4305300"/>
                  <a:gd name="connsiteX113" fmla="*/ 1607344 w 8729663"/>
                  <a:gd name="connsiteY113" fmla="*/ 419100 h 4305300"/>
                  <a:gd name="connsiteX114" fmla="*/ 1597820 w 8729663"/>
                  <a:gd name="connsiteY114" fmla="*/ 347663 h 4305300"/>
                  <a:gd name="connsiteX115" fmla="*/ 1574007 w 8729663"/>
                  <a:gd name="connsiteY115" fmla="*/ 333375 h 4305300"/>
                  <a:gd name="connsiteX116" fmla="*/ 1535907 w 8729663"/>
                  <a:gd name="connsiteY116" fmla="*/ 380999 h 4305300"/>
                  <a:gd name="connsiteX117" fmla="*/ 1457325 w 8729663"/>
                  <a:gd name="connsiteY117" fmla="*/ 307181 h 4305300"/>
                  <a:gd name="connsiteX118" fmla="*/ 1416844 w 8729663"/>
                  <a:gd name="connsiteY118" fmla="*/ 347663 h 4305300"/>
                  <a:gd name="connsiteX119" fmla="*/ 1340644 w 8729663"/>
                  <a:gd name="connsiteY119" fmla="*/ 333375 h 4305300"/>
                  <a:gd name="connsiteX120" fmla="*/ 1262063 w 8729663"/>
                  <a:gd name="connsiteY120" fmla="*/ 359569 h 4305300"/>
                  <a:gd name="connsiteX121" fmla="*/ 1202532 w 8729663"/>
                  <a:gd name="connsiteY121" fmla="*/ 407193 h 4305300"/>
                  <a:gd name="connsiteX122" fmla="*/ 1128713 w 8729663"/>
                  <a:gd name="connsiteY122" fmla="*/ 419100 h 4305300"/>
                  <a:gd name="connsiteX123" fmla="*/ 1092994 w 8729663"/>
                  <a:gd name="connsiteY123" fmla="*/ 411956 h 4305300"/>
                  <a:gd name="connsiteX124" fmla="*/ 1014414 w 8729663"/>
                  <a:gd name="connsiteY124" fmla="*/ 442913 h 4305300"/>
                  <a:gd name="connsiteX125" fmla="*/ 992982 w 8729663"/>
                  <a:gd name="connsiteY125" fmla="*/ 471488 h 4305300"/>
                  <a:gd name="connsiteX126" fmla="*/ 926307 w 8729663"/>
                  <a:gd name="connsiteY126" fmla="*/ 461963 h 4305300"/>
                  <a:gd name="connsiteX127" fmla="*/ 857251 w 8729663"/>
                  <a:gd name="connsiteY127" fmla="*/ 485775 h 4305300"/>
                  <a:gd name="connsiteX128" fmla="*/ 802482 w 8729663"/>
                  <a:gd name="connsiteY128" fmla="*/ 523875 h 4305300"/>
                  <a:gd name="connsiteX129" fmla="*/ 707232 w 8729663"/>
                  <a:gd name="connsiteY129" fmla="*/ 538162 h 4305300"/>
                  <a:gd name="connsiteX130" fmla="*/ 692944 w 8729663"/>
                  <a:gd name="connsiteY130" fmla="*/ 559594 h 4305300"/>
                  <a:gd name="connsiteX131" fmla="*/ 704850 w 8729663"/>
                  <a:gd name="connsiteY131" fmla="*/ 604838 h 4305300"/>
                  <a:gd name="connsiteX132" fmla="*/ 604839 w 8729663"/>
                  <a:gd name="connsiteY132" fmla="*/ 657225 h 4305300"/>
                  <a:gd name="connsiteX133" fmla="*/ 566738 w 8729663"/>
                  <a:gd name="connsiteY133" fmla="*/ 628649 h 4305300"/>
                  <a:gd name="connsiteX134" fmla="*/ 535782 w 8729663"/>
                  <a:gd name="connsiteY134" fmla="*/ 685800 h 4305300"/>
                  <a:gd name="connsiteX135" fmla="*/ 478632 w 8729663"/>
                  <a:gd name="connsiteY135" fmla="*/ 647700 h 4305300"/>
                  <a:gd name="connsiteX136" fmla="*/ 442913 w 8729663"/>
                  <a:gd name="connsiteY136" fmla="*/ 676275 h 4305300"/>
                  <a:gd name="connsiteX137" fmla="*/ 407194 w 8729663"/>
                  <a:gd name="connsiteY137" fmla="*/ 640556 h 4305300"/>
                  <a:gd name="connsiteX138" fmla="*/ 354807 w 8729663"/>
                  <a:gd name="connsiteY138" fmla="*/ 652463 h 4305300"/>
                  <a:gd name="connsiteX139" fmla="*/ 309563 w 8729663"/>
                  <a:gd name="connsiteY139" fmla="*/ 623888 h 4305300"/>
                  <a:gd name="connsiteX140" fmla="*/ 285751 w 8729663"/>
                  <a:gd name="connsiteY140" fmla="*/ 642938 h 4305300"/>
                  <a:gd name="connsiteX141" fmla="*/ 261938 w 8729663"/>
                  <a:gd name="connsiteY141" fmla="*/ 702469 h 4305300"/>
                  <a:gd name="connsiteX142" fmla="*/ 190501 w 8729663"/>
                  <a:gd name="connsiteY142" fmla="*/ 740568 h 4305300"/>
                  <a:gd name="connsiteX143" fmla="*/ 138113 w 8729663"/>
                  <a:gd name="connsiteY143" fmla="*/ 711994 h 4305300"/>
                  <a:gd name="connsiteX144" fmla="*/ 47626 w 8729663"/>
                  <a:gd name="connsiteY144" fmla="*/ 721519 h 4305300"/>
                  <a:gd name="connsiteX145" fmla="*/ 0 w 8729663"/>
                  <a:gd name="connsiteY145" fmla="*/ 688182 h 4305300"/>
                  <a:gd name="connsiteX146" fmla="*/ 133351 w 8729663"/>
                  <a:gd name="connsiteY146" fmla="*/ 840581 h 4305300"/>
                  <a:gd name="connsiteX147" fmla="*/ 190500 w 8729663"/>
                  <a:gd name="connsiteY147" fmla="*/ 914400 h 4305300"/>
                  <a:gd name="connsiteX148" fmla="*/ 152401 w 8729663"/>
                  <a:gd name="connsiteY148" fmla="*/ 962025 h 4305300"/>
                  <a:gd name="connsiteX149" fmla="*/ 207169 w 8729663"/>
                  <a:gd name="connsiteY149" fmla="*/ 997744 h 4305300"/>
                  <a:gd name="connsiteX150" fmla="*/ 297657 w 8729663"/>
                  <a:gd name="connsiteY150" fmla="*/ 1085850 h 4305300"/>
                  <a:gd name="connsiteX151" fmla="*/ 300038 w 8729663"/>
                  <a:gd name="connsiteY151" fmla="*/ 1145381 h 4305300"/>
                  <a:gd name="connsiteX152" fmla="*/ 435769 w 8729663"/>
                  <a:gd name="connsiteY152" fmla="*/ 1278732 h 4305300"/>
                  <a:gd name="connsiteX153" fmla="*/ 490538 w 8729663"/>
                  <a:gd name="connsiteY153" fmla="*/ 1254919 h 4305300"/>
                  <a:gd name="connsiteX154" fmla="*/ 528638 w 8729663"/>
                  <a:gd name="connsiteY154" fmla="*/ 1281112 h 4305300"/>
                  <a:gd name="connsiteX155" fmla="*/ 542926 w 8729663"/>
                  <a:gd name="connsiteY155" fmla="*/ 1331118 h 4305300"/>
                  <a:gd name="connsiteX156" fmla="*/ 585788 w 8729663"/>
                  <a:gd name="connsiteY156" fmla="*/ 1366838 h 4305300"/>
                  <a:gd name="connsiteX157" fmla="*/ 626269 w 8729663"/>
                  <a:gd name="connsiteY157" fmla="*/ 1354931 h 4305300"/>
                  <a:gd name="connsiteX158" fmla="*/ 645319 w 8729663"/>
                  <a:gd name="connsiteY158" fmla="*/ 1412081 h 4305300"/>
                  <a:gd name="connsiteX159" fmla="*/ 692944 w 8729663"/>
                  <a:gd name="connsiteY159" fmla="*/ 1454944 h 4305300"/>
                  <a:gd name="connsiteX160" fmla="*/ 716757 w 8729663"/>
                  <a:gd name="connsiteY160" fmla="*/ 1557338 h 4305300"/>
                  <a:gd name="connsiteX161" fmla="*/ 714376 w 8729663"/>
                  <a:gd name="connsiteY161" fmla="*/ 1604963 h 4305300"/>
                  <a:gd name="connsiteX162" fmla="*/ 750094 w 8729663"/>
                  <a:gd name="connsiteY162" fmla="*/ 1704975 h 4305300"/>
                  <a:gd name="connsiteX163" fmla="*/ 795338 w 8729663"/>
                  <a:gd name="connsiteY163" fmla="*/ 1762125 h 4305300"/>
                  <a:gd name="connsiteX164" fmla="*/ 812006 w 8729663"/>
                  <a:gd name="connsiteY164" fmla="*/ 1919287 h 4305300"/>
                  <a:gd name="connsiteX165" fmla="*/ 778669 w 8729663"/>
                  <a:gd name="connsiteY165" fmla="*/ 1981200 h 4305300"/>
                  <a:gd name="connsiteX166" fmla="*/ 747713 w 8729663"/>
                  <a:gd name="connsiteY166" fmla="*/ 2057400 h 4305300"/>
                  <a:gd name="connsiteX167" fmla="*/ 762001 w 8729663"/>
                  <a:gd name="connsiteY167" fmla="*/ 2114550 h 4305300"/>
                  <a:gd name="connsiteX168" fmla="*/ 664369 w 8729663"/>
                  <a:gd name="connsiteY168" fmla="*/ 2221707 h 4305300"/>
                  <a:gd name="connsiteX169" fmla="*/ 621507 w 8729663"/>
                  <a:gd name="connsiteY169" fmla="*/ 2336006 h 4305300"/>
                  <a:gd name="connsiteX170" fmla="*/ 654844 w 8729663"/>
                  <a:gd name="connsiteY170" fmla="*/ 2376488 h 4305300"/>
                  <a:gd name="connsiteX171" fmla="*/ 638176 w 8729663"/>
                  <a:gd name="connsiteY171" fmla="*/ 2405063 h 4305300"/>
                  <a:gd name="connsiteX172" fmla="*/ 669132 w 8729663"/>
                  <a:gd name="connsiteY172" fmla="*/ 2462213 h 4305300"/>
                  <a:gd name="connsiteX173" fmla="*/ 697707 w 8729663"/>
                  <a:gd name="connsiteY173" fmla="*/ 2462213 h 4305300"/>
                  <a:gd name="connsiteX174" fmla="*/ 859632 w 8729663"/>
                  <a:gd name="connsiteY174" fmla="*/ 2564606 h 4305300"/>
                  <a:gd name="connsiteX175" fmla="*/ 964407 w 8729663"/>
                  <a:gd name="connsiteY175" fmla="*/ 2562225 h 4305300"/>
                  <a:gd name="connsiteX176" fmla="*/ 1042988 w 8729663"/>
                  <a:gd name="connsiteY176" fmla="*/ 2616994 h 4305300"/>
                  <a:gd name="connsiteX177" fmla="*/ 1173956 w 8729663"/>
                  <a:gd name="connsiteY177" fmla="*/ 2619375 h 4305300"/>
                  <a:gd name="connsiteX178" fmla="*/ 1364456 w 8729663"/>
                  <a:gd name="connsiteY178" fmla="*/ 2688431 h 4305300"/>
                  <a:gd name="connsiteX179" fmla="*/ 1566863 w 8729663"/>
                  <a:gd name="connsiteY179" fmla="*/ 2838450 h 4305300"/>
                  <a:gd name="connsiteX180" fmla="*/ 1600200 w 8729663"/>
                  <a:gd name="connsiteY180" fmla="*/ 2905125 h 4305300"/>
                  <a:gd name="connsiteX181" fmla="*/ 1766888 w 8729663"/>
                  <a:gd name="connsiteY181" fmla="*/ 3031331 h 4305300"/>
                  <a:gd name="connsiteX182" fmla="*/ 1838326 w 8729663"/>
                  <a:gd name="connsiteY182" fmla="*/ 3026569 h 4305300"/>
                  <a:gd name="connsiteX183" fmla="*/ 1874045 w 8729663"/>
                  <a:gd name="connsiteY183" fmla="*/ 3050381 h 4305300"/>
                  <a:gd name="connsiteX184" fmla="*/ 1845469 w 8729663"/>
                  <a:gd name="connsiteY184" fmla="*/ 3090863 h 4305300"/>
                  <a:gd name="connsiteX185" fmla="*/ 1852613 w 8729663"/>
                  <a:gd name="connsiteY185" fmla="*/ 3143250 h 4305300"/>
                  <a:gd name="connsiteX186" fmla="*/ 1905001 w 8729663"/>
                  <a:gd name="connsiteY186" fmla="*/ 3169444 h 4305300"/>
                  <a:gd name="connsiteX187" fmla="*/ 1966913 w 8729663"/>
                  <a:gd name="connsiteY187" fmla="*/ 3393282 h 4305300"/>
                  <a:gd name="connsiteX188" fmla="*/ 1957388 w 8729663"/>
                  <a:gd name="connsiteY188" fmla="*/ 3457575 h 4305300"/>
                  <a:gd name="connsiteX189" fmla="*/ 2093119 w 8729663"/>
                  <a:gd name="connsiteY189" fmla="*/ 3624263 h 4305300"/>
                  <a:gd name="connsiteX190" fmla="*/ 2112169 w 8729663"/>
                  <a:gd name="connsiteY190" fmla="*/ 3674269 h 4305300"/>
                  <a:gd name="connsiteX191" fmla="*/ 2085976 w 8729663"/>
                  <a:gd name="connsiteY191" fmla="*/ 3693319 h 4305300"/>
                  <a:gd name="connsiteX192" fmla="*/ 2188369 w 8729663"/>
                  <a:gd name="connsiteY192" fmla="*/ 3702844 h 4305300"/>
                  <a:gd name="connsiteX193" fmla="*/ 2300288 w 8729663"/>
                  <a:gd name="connsiteY193" fmla="*/ 3690938 h 4305300"/>
                  <a:gd name="connsiteX194" fmla="*/ 2578894 w 8729663"/>
                  <a:gd name="connsiteY194" fmla="*/ 3774281 h 4305300"/>
                  <a:gd name="connsiteX195" fmla="*/ 2986088 w 8729663"/>
                  <a:gd name="connsiteY195" fmla="*/ 3855244 h 4305300"/>
                  <a:gd name="connsiteX196" fmla="*/ 3183732 w 8729663"/>
                  <a:gd name="connsiteY196" fmla="*/ 3824287 h 4305300"/>
                  <a:gd name="connsiteX197" fmla="*/ 3228976 w 8729663"/>
                  <a:gd name="connsiteY197" fmla="*/ 3836193 h 4305300"/>
                  <a:gd name="connsiteX198" fmla="*/ 3283744 w 8729663"/>
                  <a:gd name="connsiteY198" fmla="*/ 3812382 h 4305300"/>
                  <a:gd name="connsiteX199" fmla="*/ 3676650 w 8729663"/>
                  <a:gd name="connsiteY199" fmla="*/ 3902869 h 4305300"/>
                  <a:gd name="connsiteX200" fmla="*/ 3759995 w 8729663"/>
                  <a:gd name="connsiteY200" fmla="*/ 4000500 h 4305300"/>
                  <a:gd name="connsiteX201" fmla="*/ 3879057 w 8729663"/>
                  <a:gd name="connsiteY201" fmla="*/ 4071938 h 4305300"/>
                  <a:gd name="connsiteX202" fmla="*/ 3938588 w 8729663"/>
                  <a:gd name="connsiteY202" fmla="*/ 4055269 h 4305300"/>
                  <a:gd name="connsiteX203" fmla="*/ 4288631 w 8729663"/>
                  <a:gd name="connsiteY203" fmla="*/ 4229100 h 4305300"/>
                  <a:gd name="connsiteX204" fmla="*/ 4514851 w 8729663"/>
                  <a:gd name="connsiteY204" fmla="*/ 4200525 h 4305300"/>
                  <a:gd name="connsiteX205" fmla="*/ 4524376 w 8729663"/>
                  <a:gd name="connsiteY205" fmla="*/ 4279106 h 4305300"/>
                  <a:gd name="connsiteX206" fmla="*/ 4610101 w 8729663"/>
                  <a:gd name="connsiteY206" fmla="*/ 4274343 h 4305300"/>
                  <a:gd name="connsiteX207" fmla="*/ 4688682 w 8729663"/>
                  <a:gd name="connsiteY207" fmla="*/ 4305300 h 4305300"/>
                  <a:gd name="connsiteX208" fmla="*/ 4731544 w 8729663"/>
                  <a:gd name="connsiteY208" fmla="*/ 4245769 h 4305300"/>
                  <a:gd name="connsiteX209" fmla="*/ 5403057 w 8729663"/>
                  <a:gd name="connsiteY209" fmla="*/ 3926681 h 4305300"/>
                  <a:gd name="connsiteX210" fmla="*/ 5491163 w 8729663"/>
                  <a:gd name="connsiteY210" fmla="*/ 3955257 h 4305300"/>
                  <a:gd name="connsiteX211" fmla="*/ 5622132 w 8729663"/>
                  <a:gd name="connsiteY211" fmla="*/ 3926681 h 4305300"/>
                  <a:gd name="connsiteX212" fmla="*/ 5800725 w 8729663"/>
                  <a:gd name="connsiteY212" fmla="*/ 3943350 h 4305300"/>
                  <a:gd name="connsiteX213" fmla="*/ 5857876 w 8729663"/>
                  <a:gd name="connsiteY213" fmla="*/ 3917157 h 4305300"/>
                  <a:gd name="connsiteX214" fmla="*/ 5991225 w 8729663"/>
                  <a:gd name="connsiteY214" fmla="*/ 3914775 h 4305300"/>
                  <a:gd name="connsiteX215" fmla="*/ 6124575 w 8729663"/>
                  <a:gd name="connsiteY215" fmla="*/ 3817144 h 4305300"/>
                  <a:gd name="connsiteX216" fmla="*/ 6191250 w 8729663"/>
                  <a:gd name="connsiteY216" fmla="*/ 3810000 h 4305300"/>
                  <a:gd name="connsiteX217" fmla="*/ 6288882 w 8729663"/>
                  <a:gd name="connsiteY217" fmla="*/ 3736181 h 4305300"/>
                  <a:gd name="connsiteX218" fmla="*/ 6362701 w 8729663"/>
                  <a:gd name="connsiteY218" fmla="*/ 3667125 h 4305300"/>
                  <a:gd name="connsiteX219" fmla="*/ 6372226 w 8729663"/>
                  <a:gd name="connsiteY219" fmla="*/ 3605213 h 4305300"/>
                  <a:gd name="connsiteX220" fmla="*/ 6405563 w 8729663"/>
                  <a:gd name="connsiteY220" fmla="*/ 3536156 h 4305300"/>
                  <a:gd name="connsiteX221" fmla="*/ 6557963 w 8729663"/>
                  <a:gd name="connsiteY221" fmla="*/ 3429000 h 4305300"/>
                  <a:gd name="connsiteX222" fmla="*/ 6591301 w 8729663"/>
                  <a:gd name="connsiteY222" fmla="*/ 3433763 h 4305300"/>
                  <a:gd name="connsiteX223" fmla="*/ 6643688 w 8729663"/>
                  <a:gd name="connsiteY223" fmla="*/ 3355181 h 4305300"/>
                  <a:gd name="connsiteX224" fmla="*/ 6691313 w 8729663"/>
                  <a:gd name="connsiteY224" fmla="*/ 3317081 h 4305300"/>
                  <a:gd name="connsiteX225" fmla="*/ 6677026 w 8729663"/>
                  <a:gd name="connsiteY225" fmla="*/ 3248025 h 4305300"/>
                  <a:gd name="connsiteX226" fmla="*/ 6627019 w 8729663"/>
                  <a:gd name="connsiteY226" fmla="*/ 3217068 h 4305300"/>
                  <a:gd name="connsiteX227" fmla="*/ 6567488 w 8729663"/>
                  <a:gd name="connsiteY227" fmla="*/ 3162300 h 4305300"/>
                  <a:gd name="connsiteX228" fmla="*/ 6548438 w 8729663"/>
                  <a:gd name="connsiteY228" fmla="*/ 3105150 h 4305300"/>
                  <a:gd name="connsiteX229" fmla="*/ 6512719 w 8729663"/>
                  <a:gd name="connsiteY229" fmla="*/ 3071813 h 4305300"/>
                  <a:gd name="connsiteX230" fmla="*/ 6538913 w 8729663"/>
                  <a:gd name="connsiteY230" fmla="*/ 3019425 h 4305300"/>
                  <a:gd name="connsiteX231" fmla="*/ 6579394 w 8729663"/>
                  <a:gd name="connsiteY231" fmla="*/ 2840831 h 4305300"/>
                  <a:gd name="connsiteX232" fmla="*/ 6619876 w 8729663"/>
                  <a:gd name="connsiteY232" fmla="*/ 2774156 h 4305300"/>
                  <a:gd name="connsiteX233" fmla="*/ 6765132 w 8729663"/>
                  <a:gd name="connsiteY233" fmla="*/ 2757487 h 4305300"/>
                  <a:gd name="connsiteX234" fmla="*/ 6834188 w 8729663"/>
                  <a:gd name="connsiteY234" fmla="*/ 2814638 h 4305300"/>
                  <a:gd name="connsiteX235" fmla="*/ 6910388 w 8729663"/>
                  <a:gd name="connsiteY235" fmla="*/ 2838450 h 4305300"/>
                  <a:gd name="connsiteX236" fmla="*/ 7115175 w 8729663"/>
                  <a:gd name="connsiteY236" fmla="*/ 2843213 h 4305300"/>
                  <a:gd name="connsiteX237" fmla="*/ 7291388 w 8729663"/>
                  <a:gd name="connsiteY237" fmla="*/ 2705100 h 4305300"/>
                  <a:gd name="connsiteX238" fmla="*/ 7348538 w 8729663"/>
                  <a:gd name="connsiteY238" fmla="*/ 2614612 h 4305300"/>
                  <a:gd name="connsiteX239" fmla="*/ 7374732 w 8729663"/>
                  <a:gd name="connsiteY239" fmla="*/ 2531269 h 4305300"/>
                  <a:gd name="connsiteX240" fmla="*/ 7505700 w 8729663"/>
                  <a:gd name="connsiteY240" fmla="*/ 2531269 h 4305300"/>
                  <a:gd name="connsiteX241" fmla="*/ 7679532 w 8729663"/>
                  <a:gd name="connsiteY241" fmla="*/ 2474118 h 4305300"/>
                  <a:gd name="connsiteX242" fmla="*/ 7739063 w 8729663"/>
                  <a:gd name="connsiteY242" fmla="*/ 2362200 h 4305300"/>
                  <a:gd name="connsiteX243" fmla="*/ 7803357 w 8729663"/>
                  <a:gd name="connsiteY243" fmla="*/ 2326481 h 4305300"/>
                  <a:gd name="connsiteX244" fmla="*/ 7781926 w 8729663"/>
                  <a:gd name="connsiteY244" fmla="*/ 2281238 h 4305300"/>
                  <a:gd name="connsiteX245" fmla="*/ 7860507 w 8729663"/>
                  <a:gd name="connsiteY245" fmla="*/ 2112168 h 4305300"/>
                  <a:gd name="connsiteX246" fmla="*/ 7915276 w 8729663"/>
                  <a:gd name="connsiteY246" fmla="*/ 2052638 h 4305300"/>
                  <a:gd name="connsiteX247" fmla="*/ 7953376 w 8729663"/>
                  <a:gd name="connsiteY247" fmla="*/ 2047875 h 4305300"/>
                  <a:gd name="connsiteX248" fmla="*/ 7998619 w 8729663"/>
                  <a:gd name="connsiteY248" fmla="*/ 2052638 h 4305300"/>
                  <a:gd name="connsiteX249" fmla="*/ 8062913 w 8729663"/>
                  <a:gd name="connsiteY249" fmla="*/ 2019300 h 4305300"/>
                  <a:gd name="connsiteX250" fmla="*/ 8072438 w 8729663"/>
                  <a:gd name="connsiteY250" fmla="*/ 1955006 h 4305300"/>
                  <a:gd name="connsiteX251" fmla="*/ 8112918 w 8729663"/>
                  <a:gd name="connsiteY251" fmla="*/ 1919288 h 4305300"/>
                  <a:gd name="connsiteX252" fmla="*/ 8172451 w 8729663"/>
                  <a:gd name="connsiteY252" fmla="*/ 1959768 h 4305300"/>
                  <a:gd name="connsiteX253" fmla="*/ 8198645 w 8729663"/>
                  <a:gd name="connsiteY253" fmla="*/ 1909762 h 4305300"/>
                  <a:gd name="connsiteX254" fmla="*/ 8293894 w 8729663"/>
                  <a:gd name="connsiteY254" fmla="*/ 1840706 h 4305300"/>
                  <a:gd name="connsiteX255" fmla="*/ 8355807 w 8729663"/>
                  <a:gd name="connsiteY255" fmla="*/ 1847850 h 4305300"/>
                  <a:gd name="connsiteX256" fmla="*/ 8405813 w 8729663"/>
                  <a:gd name="connsiteY256" fmla="*/ 1828800 h 4305300"/>
                  <a:gd name="connsiteX257" fmla="*/ 8443913 w 8729663"/>
                  <a:gd name="connsiteY257" fmla="*/ 1800225 h 4305300"/>
                  <a:gd name="connsiteX258" fmla="*/ 8477251 w 8729663"/>
                  <a:gd name="connsiteY258" fmla="*/ 1797844 h 4305300"/>
                  <a:gd name="connsiteX259" fmla="*/ 8512969 w 8729663"/>
                  <a:gd name="connsiteY259" fmla="*/ 1828800 h 4305300"/>
                  <a:gd name="connsiteX260" fmla="*/ 8572501 w 8729663"/>
                  <a:gd name="connsiteY260" fmla="*/ 1828800 h 4305300"/>
                  <a:gd name="connsiteX261" fmla="*/ 8610600 w 8729663"/>
                  <a:gd name="connsiteY261" fmla="*/ 1809750 h 4305300"/>
                  <a:gd name="connsiteX262" fmla="*/ 8693944 w 8729663"/>
                  <a:gd name="connsiteY262" fmla="*/ 1812132 h 4305300"/>
                  <a:gd name="connsiteX263" fmla="*/ 8724901 w 8729663"/>
                  <a:gd name="connsiteY263" fmla="*/ 1766888 h 4305300"/>
                  <a:gd name="connsiteX264" fmla="*/ 8729663 w 8729663"/>
                  <a:gd name="connsiteY264" fmla="*/ 1704975 h 4305300"/>
                  <a:gd name="connsiteX265" fmla="*/ 8679656 w 8729663"/>
                  <a:gd name="connsiteY265" fmla="*/ 1664494 h 4305300"/>
                  <a:gd name="connsiteX266" fmla="*/ 8662988 w 8729663"/>
                  <a:gd name="connsiteY266" fmla="*/ 1609725 h 4305300"/>
                  <a:gd name="connsiteX267" fmla="*/ 8572501 w 8729663"/>
                  <a:gd name="connsiteY267" fmla="*/ 1547813 h 4305300"/>
                  <a:gd name="connsiteX268" fmla="*/ 8532019 w 8729663"/>
                  <a:gd name="connsiteY268" fmla="*/ 1526381 h 4305300"/>
                  <a:gd name="connsiteX269" fmla="*/ 8493919 w 8729663"/>
                  <a:gd name="connsiteY269" fmla="*/ 1481138 h 4305300"/>
                  <a:gd name="connsiteX270" fmla="*/ 8462963 w 8729663"/>
                  <a:gd name="connsiteY270" fmla="*/ 1478756 h 4305300"/>
                  <a:gd name="connsiteX271" fmla="*/ 8446294 w 8729663"/>
                  <a:gd name="connsiteY271" fmla="*/ 1426369 h 4305300"/>
                  <a:gd name="connsiteX272" fmla="*/ 8405813 w 8729663"/>
                  <a:gd name="connsiteY272" fmla="*/ 1409700 h 4305300"/>
                  <a:gd name="connsiteX273" fmla="*/ 8405813 w 8729663"/>
                  <a:gd name="connsiteY273" fmla="*/ 1409700 h 4305300"/>
                  <a:gd name="connsiteX274" fmla="*/ 8365332 w 8729663"/>
                  <a:gd name="connsiteY274" fmla="*/ 1414463 h 4305300"/>
                  <a:gd name="connsiteX275" fmla="*/ 8279606 w 8729663"/>
                  <a:gd name="connsiteY275" fmla="*/ 1340644 h 4305300"/>
                  <a:gd name="connsiteX276" fmla="*/ 8098632 w 8729663"/>
                  <a:gd name="connsiteY276" fmla="*/ 1340643 h 4305300"/>
                  <a:gd name="connsiteX277" fmla="*/ 8046244 w 8729663"/>
                  <a:gd name="connsiteY277" fmla="*/ 1378744 h 4305300"/>
                  <a:gd name="connsiteX278" fmla="*/ 7996238 w 8729663"/>
                  <a:gd name="connsiteY278" fmla="*/ 1457325 h 4305300"/>
                  <a:gd name="connsiteX279" fmla="*/ 8012907 w 8729663"/>
                  <a:gd name="connsiteY279" fmla="*/ 1478756 h 4305300"/>
                  <a:gd name="connsiteX280" fmla="*/ 7967663 w 8729663"/>
                  <a:gd name="connsiteY280" fmla="*/ 1528762 h 4305300"/>
                  <a:gd name="connsiteX281" fmla="*/ 7817644 w 8729663"/>
                  <a:gd name="connsiteY281" fmla="*/ 1452562 h 4305300"/>
                  <a:gd name="connsiteX282" fmla="*/ 7727157 w 8729663"/>
                  <a:gd name="connsiteY282" fmla="*/ 1488281 h 4305300"/>
                  <a:gd name="connsiteX283" fmla="*/ 7653338 w 8729663"/>
                  <a:gd name="connsiteY283" fmla="*/ 1485900 h 4305300"/>
                  <a:gd name="connsiteX284" fmla="*/ 7596188 w 8729663"/>
                  <a:gd name="connsiteY284" fmla="*/ 1581150 h 4305300"/>
                  <a:gd name="connsiteX285" fmla="*/ 7458076 w 8729663"/>
                  <a:gd name="connsiteY285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873919 w 8801100"/>
                  <a:gd name="connsiteY128" fmla="*/ 523875 h 4305300"/>
                  <a:gd name="connsiteX129" fmla="*/ 778669 w 8801100"/>
                  <a:gd name="connsiteY129" fmla="*/ 538162 h 4305300"/>
                  <a:gd name="connsiteX130" fmla="*/ 764381 w 8801100"/>
                  <a:gd name="connsiteY130" fmla="*/ 559594 h 4305300"/>
                  <a:gd name="connsiteX131" fmla="*/ 776287 w 8801100"/>
                  <a:gd name="connsiteY131" fmla="*/ 604838 h 4305300"/>
                  <a:gd name="connsiteX132" fmla="*/ 676276 w 8801100"/>
                  <a:gd name="connsiteY132" fmla="*/ 657225 h 4305300"/>
                  <a:gd name="connsiteX133" fmla="*/ 638175 w 8801100"/>
                  <a:gd name="connsiteY133" fmla="*/ 628649 h 4305300"/>
                  <a:gd name="connsiteX134" fmla="*/ 607219 w 8801100"/>
                  <a:gd name="connsiteY134" fmla="*/ 685800 h 4305300"/>
                  <a:gd name="connsiteX135" fmla="*/ 550069 w 8801100"/>
                  <a:gd name="connsiteY135" fmla="*/ 647700 h 4305300"/>
                  <a:gd name="connsiteX136" fmla="*/ 514350 w 8801100"/>
                  <a:gd name="connsiteY136" fmla="*/ 676275 h 4305300"/>
                  <a:gd name="connsiteX137" fmla="*/ 478631 w 8801100"/>
                  <a:gd name="connsiteY137" fmla="*/ 640556 h 4305300"/>
                  <a:gd name="connsiteX138" fmla="*/ 426244 w 8801100"/>
                  <a:gd name="connsiteY138" fmla="*/ 652463 h 4305300"/>
                  <a:gd name="connsiteX139" fmla="*/ 381000 w 8801100"/>
                  <a:gd name="connsiteY139" fmla="*/ 623888 h 4305300"/>
                  <a:gd name="connsiteX140" fmla="*/ 357188 w 8801100"/>
                  <a:gd name="connsiteY140" fmla="*/ 642938 h 4305300"/>
                  <a:gd name="connsiteX141" fmla="*/ 333375 w 8801100"/>
                  <a:gd name="connsiteY141" fmla="*/ 702469 h 4305300"/>
                  <a:gd name="connsiteX142" fmla="*/ 261938 w 8801100"/>
                  <a:gd name="connsiteY142" fmla="*/ 740568 h 4305300"/>
                  <a:gd name="connsiteX143" fmla="*/ 209550 w 8801100"/>
                  <a:gd name="connsiteY143" fmla="*/ 711994 h 4305300"/>
                  <a:gd name="connsiteX144" fmla="*/ 119063 w 8801100"/>
                  <a:gd name="connsiteY144" fmla="*/ 721519 h 4305300"/>
                  <a:gd name="connsiteX145" fmla="*/ 71437 w 8801100"/>
                  <a:gd name="connsiteY145" fmla="*/ 688182 h 4305300"/>
                  <a:gd name="connsiteX146" fmla="*/ 0 w 8801100"/>
                  <a:gd name="connsiteY146" fmla="*/ 707231 h 4305300"/>
                  <a:gd name="connsiteX147" fmla="*/ 261937 w 8801100"/>
                  <a:gd name="connsiteY147" fmla="*/ 914400 h 4305300"/>
                  <a:gd name="connsiteX148" fmla="*/ 223838 w 8801100"/>
                  <a:gd name="connsiteY148" fmla="*/ 962025 h 4305300"/>
                  <a:gd name="connsiteX149" fmla="*/ 278606 w 8801100"/>
                  <a:gd name="connsiteY149" fmla="*/ 997744 h 4305300"/>
                  <a:gd name="connsiteX150" fmla="*/ 369094 w 8801100"/>
                  <a:gd name="connsiteY150" fmla="*/ 1085850 h 4305300"/>
                  <a:gd name="connsiteX151" fmla="*/ 371475 w 8801100"/>
                  <a:gd name="connsiteY151" fmla="*/ 1145381 h 4305300"/>
                  <a:gd name="connsiteX152" fmla="*/ 507206 w 8801100"/>
                  <a:gd name="connsiteY152" fmla="*/ 1278732 h 4305300"/>
                  <a:gd name="connsiteX153" fmla="*/ 561975 w 8801100"/>
                  <a:gd name="connsiteY153" fmla="*/ 1254919 h 4305300"/>
                  <a:gd name="connsiteX154" fmla="*/ 600075 w 8801100"/>
                  <a:gd name="connsiteY154" fmla="*/ 1281112 h 4305300"/>
                  <a:gd name="connsiteX155" fmla="*/ 614363 w 8801100"/>
                  <a:gd name="connsiteY155" fmla="*/ 1331118 h 4305300"/>
                  <a:gd name="connsiteX156" fmla="*/ 657225 w 8801100"/>
                  <a:gd name="connsiteY156" fmla="*/ 1366838 h 4305300"/>
                  <a:gd name="connsiteX157" fmla="*/ 697706 w 8801100"/>
                  <a:gd name="connsiteY157" fmla="*/ 1354931 h 4305300"/>
                  <a:gd name="connsiteX158" fmla="*/ 716756 w 8801100"/>
                  <a:gd name="connsiteY158" fmla="*/ 1412081 h 4305300"/>
                  <a:gd name="connsiteX159" fmla="*/ 764381 w 8801100"/>
                  <a:gd name="connsiteY159" fmla="*/ 1454944 h 4305300"/>
                  <a:gd name="connsiteX160" fmla="*/ 788194 w 8801100"/>
                  <a:gd name="connsiteY160" fmla="*/ 1557338 h 4305300"/>
                  <a:gd name="connsiteX161" fmla="*/ 785813 w 8801100"/>
                  <a:gd name="connsiteY161" fmla="*/ 1604963 h 4305300"/>
                  <a:gd name="connsiteX162" fmla="*/ 821531 w 8801100"/>
                  <a:gd name="connsiteY162" fmla="*/ 1704975 h 4305300"/>
                  <a:gd name="connsiteX163" fmla="*/ 866775 w 8801100"/>
                  <a:gd name="connsiteY163" fmla="*/ 1762125 h 4305300"/>
                  <a:gd name="connsiteX164" fmla="*/ 883443 w 8801100"/>
                  <a:gd name="connsiteY164" fmla="*/ 1919287 h 4305300"/>
                  <a:gd name="connsiteX165" fmla="*/ 850106 w 8801100"/>
                  <a:gd name="connsiteY165" fmla="*/ 1981200 h 4305300"/>
                  <a:gd name="connsiteX166" fmla="*/ 819150 w 8801100"/>
                  <a:gd name="connsiteY166" fmla="*/ 2057400 h 4305300"/>
                  <a:gd name="connsiteX167" fmla="*/ 833438 w 8801100"/>
                  <a:gd name="connsiteY167" fmla="*/ 2114550 h 4305300"/>
                  <a:gd name="connsiteX168" fmla="*/ 735806 w 8801100"/>
                  <a:gd name="connsiteY168" fmla="*/ 2221707 h 4305300"/>
                  <a:gd name="connsiteX169" fmla="*/ 692944 w 8801100"/>
                  <a:gd name="connsiteY169" fmla="*/ 2336006 h 4305300"/>
                  <a:gd name="connsiteX170" fmla="*/ 726281 w 8801100"/>
                  <a:gd name="connsiteY170" fmla="*/ 2376488 h 4305300"/>
                  <a:gd name="connsiteX171" fmla="*/ 709613 w 8801100"/>
                  <a:gd name="connsiteY171" fmla="*/ 2405063 h 4305300"/>
                  <a:gd name="connsiteX172" fmla="*/ 740569 w 8801100"/>
                  <a:gd name="connsiteY172" fmla="*/ 2462213 h 4305300"/>
                  <a:gd name="connsiteX173" fmla="*/ 769144 w 8801100"/>
                  <a:gd name="connsiteY173" fmla="*/ 2462213 h 4305300"/>
                  <a:gd name="connsiteX174" fmla="*/ 931069 w 8801100"/>
                  <a:gd name="connsiteY174" fmla="*/ 2564606 h 4305300"/>
                  <a:gd name="connsiteX175" fmla="*/ 1035844 w 8801100"/>
                  <a:gd name="connsiteY175" fmla="*/ 2562225 h 4305300"/>
                  <a:gd name="connsiteX176" fmla="*/ 1114425 w 8801100"/>
                  <a:gd name="connsiteY176" fmla="*/ 2616994 h 4305300"/>
                  <a:gd name="connsiteX177" fmla="*/ 1245393 w 8801100"/>
                  <a:gd name="connsiteY177" fmla="*/ 2619375 h 4305300"/>
                  <a:gd name="connsiteX178" fmla="*/ 1435893 w 8801100"/>
                  <a:gd name="connsiteY178" fmla="*/ 2688431 h 4305300"/>
                  <a:gd name="connsiteX179" fmla="*/ 1638300 w 8801100"/>
                  <a:gd name="connsiteY179" fmla="*/ 2838450 h 4305300"/>
                  <a:gd name="connsiteX180" fmla="*/ 1671637 w 8801100"/>
                  <a:gd name="connsiteY180" fmla="*/ 2905125 h 4305300"/>
                  <a:gd name="connsiteX181" fmla="*/ 1838325 w 8801100"/>
                  <a:gd name="connsiteY181" fmla="*/ 3031331 h 4305300"/>
                  <a:gd name="connsiteX182" fmla="*/ 1909763 w 8801100"/>
                  <a:gd name="connsiteY182" fmla="*/ 3026569 h 4305300"/>
                  <a:gd name="connsiteX183" fmla="*/ 1945482 w 8801100"/>
                  <a:gd name="connsiteY183" fmla="*/ 3050381 h 4305300"/>
                  <a:gd name="connsiteX184" fmla="*/ 1916906 w 8801100"/>
                  <a:gd name="connsiteY184" fmla="*/ 3090863 h 4305300"/>
                  <a:gd name="connsiteX185" fmla="*/ 1924050 w 8801100"/>
                  <a:gd name="connsiteY185" fmla="*/ 3143250 h 4305300"/>
                  <a:gd name="connsiteX186" fmla="*/ 1976438 w 8801100"/>
                  <a:gd name="connsiteY186" fmla="*/ 3169444 h 4305300"/>
                  <a:gd name="connsiteX187" fmla="*/ 2038350 w 8801100"/>
                  <a:gd name="connsiteY187" fmla="*/ 3393282 h 4305300"/>
                  <a:gd name="connsiteX188" fmla="*/ 2028825 w 8801100"/>
                  <a:gd name="connsiteY188" fmla="*/ 3457575 h 4305300"/>
                  <a:gd name="connsiteX189" fmla="*/ 2164556 w 8801100"/>
                  <a:gd name="connsiteY189" fmla="*/ 3624263 h 4305300"/>
                  <a:gd name="connsiteX190" fmla="*/ 2183606 w 8801100"/>
                  <a:gd name="connsiteY190" fmla="*/ 3674269 h 4305300"/>
                  <a:gd name="connsiteX191" fmla="*/ 2157413 w 8801100"/>
                  <a:gd name="connsiteY191" fmla="*/ 3693319 h 4305300"/>
                  <a:gd name="connsiteX192" fmla="*/ 2259806 w 8801100"/>
                  <a:gd name="connsiteY192" fmla="*/ 3702844 h 4305300"/>
                  <a:gd name="connsiteX193" fmla="*/ 2371725 w 8801100"/>
                  <a:gd name="connsiteY193" fmla="*/ 3690938 h 4305300"/>
                  <a:gd name="connsiteX194" fmla="*/ 2650331 w 8801100"/>
                  <a:gd name="connsiteY194" fmla="*/ 3774281 h 4305300"/>
                  <a:gd name="connsiteX195" fmla="*/ 3057525 w 8801100"/>
                  <a:gd name="connsiteY195" fmla="*/ 3855244 h 4305300"/>
                  <a:gd name="connsiteX196" fmla="*/ 3255169 w 8801100"/>
                  <a:gd name="connsiteY196" fmla="*/ 3824287 h 4305300"/>
                  <a:gd name="connsiteX197" fmla="*/ 3300413 w 8801100"/>
                  <a:gd name="connsiteY197" fmla="*/ 3836193 h 4305300"/>
                  <a:gd name="connsiteX198" fmla="*/ 3355181 w 8801100"/>
                  <a:gd name="connsiteY198" fmla="*/ 3812382 h 4305300"/>
                  <a:gd name="connsiteX199" fmla="*/ 3748087 w 8801100"/>
                  <a:gd name="connsiteY199" fmla="*/ 3902869 h 4305300"/>
                  <a:gd name="connsiteX200" fmla="*/ 3831432 w 8801100"/>
                  <a:gd name="connsiteY200" fmla="*/ 4000500 h 4305300"/>
                  <a:gd name="connsiteX201" fmla="*/ 3950494 w 8801100"/>
                  <a:gd name="connsiteY201" fmla="*/ 4071938 h 4305300"/>
                  <a:gd name="connsiteX202" fmla="*/ 4010025 w 8801100"/>
                  <a:gd name="connsiteY202" fmla="*/ 4055269 h 4305300"/>
                  <a:gd name="connsiteX203" fmla="*/ 4360068 w 8801100"/>
                  <a:gd name="connsiteY203" fmla="*/ 4229100 h 4305300"/>
                  <a:gd name="connsiteX204" fmla="*/ 4586288 w 8801100"/>
                  <a:gd name="connsiteY204" fmla="*/ 4200525 h 4305300"/>
                  <a:gd name="connsiteX205" fmla="*/ 4595813 w 8801100"/>
                  <a:gd name="connsiteY205" fmla="*/ 4279106 h 4305300"/>
                  <a:gd name="connsiteX206" fmla="*/ 4681538 w 8801100"/>
                  <a:gd name="connsiteY206" fmla="*/ 4274343 h 4305300"/>
                  <a:gd name="connsiteX207" fmla="*/ 4760119 w 8801100"/>
                  <a:gd name="connsiteY207" fmla="*/ 4305300 h 4305300"/>
                  <a:gd name="connsiteX208" fmla="*/ 4802981 w 8801100"/>
                  <a:gd name="connsiteY208" fmla="*/ 4245769 h 4305300"/>
                  <a:gd name="connsiteX209" fmla="*/ 5474494 w 8801100"/>
                  <a:gd name="connsiteY209" fmla="*/ 3926681 h 4305300"/>
                  <a:gd name="connsiteX210" fmla="*/ 5562600 w 8801100"/>
                  <a:gd name="connsiteY210" fmla="*/ 3955257 h 4305300"/>
                  <a:gd name="connsiteX211" fmla="*/ 5693569 w 8801100"/>
                  <a:gd name="connsiteY211" fmla="*/ 3926681 h 4305300"/>
                  <a:gd name="connsiteX212" fmla="*/ 5872162 w 8801100"/>
                  <a:gd name="connsiteY212" fmla="*/ 3943350 h 4305300"/>
                  <a:gd name="connsiteX213" fmla="*/ 5929313 w 8801100"/>
                  <a:gd name="connsiteY213" fmla="*/ 3917157 h 4305300"/>
                  <a:gd name="connsiteX214" fmla="*/ 6062662 w 8801100"/>
                  <a:gd name="connsiteY214" fmla="*/ 3914775 h 4305300"/>
                  <a:gd name="connsiteX215" fmla="*/ 6196012 w 8801100"/>
                  <a:gd name="connsiteY215" fmla="*/ 3817144 h 4305300"/>
                  <a:gd name="connsiteX216" fmla="*/ 6262687 w 8801100"/>
                  <a:gd name="connsiteY216" fmla="*/ 3810000 h 4305300"/>
                  <a:gd name="connsiteX217" fmla="*/ 6360319 w 8801100"/>
                  <a:gd name="connsiteY217" fmla="*/ 3736181 h 4305300"/>
                  <a:gd name="connsiteX218" fmla="*/ 6434138 w 8801100"/>
                  <a:gd name="connsiteY218" fmla="*/ 3667125 h 4305300"/>
                  <a:gd name="connsiteX219" fmla="*/ 6443663 w 8801100"/>
                  <a:gd name="connsiteY219" fmla="*/ 3605213 h 4305300"/>
                  <a:gd name="connsiteX220" fmla="*/ 6477000 w 8801100"/>
                  <a:gd name="connsiteY220" fmla="*/ 3536156 h 4305300"/>
                  <a:gd name="connsiteX221" fmla="*/ 6629400 w 8801100"/>
                  <a:gd name="connsiteY221" fmla="*/ 3429000 h 4305300"/>
                  <a:gd name="connsiteX222" fmla="*/ 6662738 w 8801100"/>
                  <a:gd name="connsiteY222" fmla="*/ 3433763 h 4305300"/>
                  <a:gd name="connsiteX223" fmla="*/ 6715125 w 8801100"/>
                  <a:gd name="connsiteY223" fmla="*/ 3355181 h 4305300"/>
                  <a:gd name="connsiteX224" fmla="*/ 6762750 w 8801100"/>
                  <a:gd name="connsiteY224" fmla="*/ 3317081 h 4305300"/>
                  <a:gd name="connsiteX225" fmla="*/ 6748463 w 8801100"/>
                  <a:gd name="connsiteY225" fmla="*/ 3248025 h 4305300"/>
                  <a:gd name="connsiteX226" fmla="*/ 6698456 w 8801100"/>
                  <a:gd name="connsiteY226" fmla="*/ 3217068 h 4305300"/>
                  <a:gd name="connsiteX227" fmla="*/ 6638925 w 8801100"/>
                  <a:gd name="connsiteY227" fmla="*/ 3162300 h 4305300"/>
                  <a:gd name="connsiteX228" fmla="*/ 6619875 w 8801100"/>
                  <a:gd name="connsiteY228" fmla="*/ 3105150 h 4305300"/>
                  <a:gd name="connsiteX229" fmla="*/ 6584156 w 8801100"/>
                  <a:gd name="connsiteY229" fmla="*/ 3071813 h 4305300"/>
                  <a:gd name="connsiteX230" fmla="*/ 6610350 w 8801100"/>
                  <a:gd name="connsiteY230" fmla="*/ 3019425 h 4305300"/>
                  <a:gd name="connsiteX231" fmla="*/ 6650831 w 8801100"/>
                  <a:gd name="connsiteY231" fmla="*/ 2840831 h 4305300"/>
                  <a:gd name="connsiteX232" fmla="*/ 6691313 w 8801100"/>
                  <a:gd name="connsiteY232" fmla="*/ 2774156 h 4305300"/>
                  <a:gd name="connsiteX233" fmla="*/ 6836569 w 8801100"/>
                  <a:gd name="connsiteY233" fmla="*/ 2757487 h 4305300"/>
                  <a:gd name="connsiteX234" fmla="*/ 6905625 w 8801100"/>
                  <a:gd name="connsiteY234" fmla="*/ 2814638 h 4305300"/>
                  <a:gd name="connsiteX235" fmla="*/ 6981825 w 8801100"/>
                  <a:gd name="connsiteY235" fmla="*/ 2838450 h 4305300"/>
                  <a:gd name="connsiteX236" fmla="*/ 7186612 w 8801100"/>
                  <a:gd name="connsiteY236" fmla="*/ 2843213 h 4305300"/>
                  <a:gd name="connsiteX237" fmla="*/ 7362825 w 8801100"/>
                  <a:gd name="connsiteY237" fmla="*/ 2705100 h 4305300"/>
                  <a:gd name="connsiteX238" fmla="*/ 7419975 w 8801100"/>
                  <a:gd name="connsiteY238" fmla="*/ 2614612 h 4305300"/>
                  <a:gd name="connsiteX239" fmla="*/ 7446169 w 8801100"/>
                  <a:gd name="connsiteY239" fmla="*/ 2531269 h 4305300"/>
                  <a:gd name="connsiteX240" fmla="*/ 7577137 w 8801100"/>
                  <a:gd name="connsiteY240" fmla="*/ 2531269 h 4305300"/>
                  <a:gd name="connsiteX241" fmla="*/ 7750969 w 8801100"/>
                  <a:gd name="connsiteY241" fmla="*/ 2474118 h 4305300"/>
                  <a:gd name="connsiteX242" fmla="*/ 7810500 w 8801100"/>
                  <a:gd name="connsiteY242" fmla="*/ 2362200 h 4305300"/>
                  <a:gd name="connsiteX243" fmla="*/ 7874794 w 8801100"/>
                  <a:gd name="connsiteY243" fmla="*/ 2326481 h 4305300"/>
                  <a:gd name="connsiteX244" fmla="*/ 7853363 w 8801100"/>
                  <a:gd name="connsiteY244" fmla="*/ 2281238 h 4305300"/>
                  <a:gd name="connsiteX245" fmla="*/ 7931944 w 8801100"/>
                  <a:gd name="connsiteY245" fmla="*/ 2112168 h 4305300"/>
                  <a:gd name="connsiteX246" fmla="*/ 7986713 w 8801100"/>
                  <a:gd name="connsiteY246" fmla="*/ 2052638 h 4305300"/>
                  <a:gd name="connsiteX247" fmla="*/ 8024813 w 8801100"/>
                  <a:gd name="connsiteY247" fmla="*/ 2047875 h 4305300"/>
                  <a:gd name="connsiteX248" fmla="*/ 8070056 w 8801100"/>
                  <a:gd name="connsiteY248" fmla="*/ 2052638 h 4305300"/>
                  <a:gd name="connsiteX249" fmla="*/ 8134350 w 8801100"/>
                  <a:gd name="connsiteY249" fmla="*/ 2019300 h 4305300"/>
                  <a:gd name="connsiteX250" fmla="*/ 8143875 w 8801100"/>
                  <a:gd name="connsiteY250" fmla="*/ 1955006 h 4305300"/>
                  <a:gd name="connsiteX251" fmla="*/ 8184355 w 8801100"/>
                  <a:gd name="connsiteY251" fmla="*/ 1919288 h 4305300"/>
                  <a:gd name="connsiteX252" fmla="*/ 8243888 w 8801100"/>
                  <a:gd name="connsiteY252" fmla="*/ 1959768 h 4305300"/>
                  <a:gd name="connsiteX253" fmla="*/ 8270082 w 8801100"/>
                  <a:gd name="connsiteY253" fmla="*/ 1909762 h 4305300"/>
                  <a:gd name="connsiteX254" fmla="*/ 8365331 w 8801100"/>
                  <a:gd name="connsiteY254" fmla="*/ 1840706 h 4305300"/>
                  <a:gd name="connsiteX255" fmla="*/ 8427244 w 8801100"/>
                  <a:gd name="connsiteY255" fmla="*/ 1847850 h 4305300"/>
                  <a:gd name="connsiteX256" fmla="*/ 8477250 w 8801100"/>
                  <a:gd name="connsiteY256" fmla="*/ 1828800 h 4305300"/>
                  <a:gd name="connsiteX257" fmla="*/ 8515350 w 8801100"/>
                  <a:gd name="connsiteY257" fmla="*/ 1800225 h 4305300"/>
                  <a:gd name="connsiteX258" fmla="*/ 8548688 w 8801100"/>
                  <a:gd name="connsiteY258" fmla="*/ 1797844 h 4305300"/>
                  <a:gd name="connsiteX259" fmla="*/ 8584406 w 8801100"/>
                  <a:gd name="connsiteY259" fmla="*/ 1828800 h 4305300"/>
                  <a:gd name="connsiteX260" fmla="*/ 8643938 w 8801100"/>
                  <a:gd name="connsiteY260" fmla="*/ 1828800 h 4305300"/>
                  <a:gd name="connsiteX261" fmla="*/ 8682037 w 8801100"/>
                  <a:gd name="connsiteY261" fmla="*/ 1809750 h 4305300"/>
                  <a:gd name="connsiteX262" fmla="*/ 8765381 w 8801100"/>
                  <a:gd name="connsiteY262" fmla="*/ 1812132 h 4305300"/>
                  <a:gd name="connsiteX263" fmla="*/ 8796338 w 8801100"/>
                  <a:gd name="connsiteY263" fmla="*/ 1766888 h 4305300"/>
                  <a:gd name="connsiteX264" fmla="*/ 8801100 w 8801100"/>
                  <a:gd name="connsiteY264" fmla="*/ 1704975 h 4305300"/>
                  <a:gd name="connsiteX265" fmla="*/ 8751093 w 8801100"/>
                  <a:gd name="connsiteY265" fmla="*/ 1664494 h 4305300"/>
                  <a:gd name="connsiteX266" fmla="*/ 8734425 w 8801100"/>
                  <a:gd name="connsiteY266" fmla="*/ 1609725 h 4305300"/>
                  <a:gd name="connsiteX267" fmla="*/ 8643938 w 8801100"/>
                  <a:gd name="connsiteY267" fmla="*/ 1547813 h 4305300"/>
                  <a:gd name="connsiteX268" fmla="*/ 8603456 w 8801100"/>
                  <a:gd name="connsiteY268" fmla="*/ 1526381 h 4305300"/>
                  <a:gd name="connsiteX269" fmla="*/ 8565356 w 8801100"/>
                  <a:gd name="connsiteY269" fmla="*/ 1481138 h 4305300"/>
                  <a:gd name="connsiteX270" fmla="*/ 8534400 w 8801100"/>
                  <a:gd name="connsiteY270" fmla="*/ 1478756 h 4305300"/>
                  <a:gd name="connsiteX271" fmla="*/ 8517731 w 8801100"/>
                  <a:gd name="connsiteY271" fmla="*/ 1426369 h 4305300"/>
                  <a:gd name="connsiteX272" fmla="*/ 8477250 w 8801100"/>
                  <a:gd name="connsiteY272" fmla="*/ 1409700 h 4305300"/>
                  <a:gd name="connsiteX273" fmla="*/ 8477250 w 8801100"/>
                  <a:gd name="connsiteY273" fmla="*/ 1409700 h 4305300"/>
                  <a:gd name="connsiteX274" fmla="*/ 8436769 w 8801100"/>
                  <a:gd name="connsiteY274" fmla="*/ 1414463 h 4305300"/>
                  <a:gd name="connsiteX275" fmla="*/ 8351043 w 8801100"/>
                  <a:gd name="connsiteY275" fmla="*/ 1340644 h 4305300"/>
                  <a:gd name="connsiteX276" fmla="*/ 8170069 w 8801100"/>
                  <a:gd name="connsiteY276" fmla="*/ 1340643 h 4305300"/>
                  <a:gd name="connsiteX277" fmla="*/ 8117681 w 8801100"/>
                  <a:gd name="connsiteY277" fmla="*/ 1378744 h 4305300"/>
                  <a:gd name="connsiteX278" fmla="*/ 8067675 w 8801100"/>
                  <a:gd name="connsiteY278" fmla="*/ 1457325 h 4305300"/>
                  <a:gd name="connsiteX279" fmla="*/ 8084344 w 8801100"/>
                  <a:gd name="connsiteY279" fmla="*/ 1478756 h 4305300"/>
                  <a:gd name="connsiteX280" fmla="*/ 8039100 w 8801100"/>
                  <a:gd name="connsiteY280" fmla="*/ 1528762 h 4305300"/>
                  <a:gd name="connsiteX281" fmla="*/ 7889081 w 8801100"/>
                  <a:gd name="connsiteY281" fmla="*/ 1452562 h 4305300"/>
                  <a:gd name="connsiteX282" fmla="*/ 7798594 w 8801100"/>
                  <a:gd name="connsiteY282" fmla="*/ 1488281 h 4305300"/>
                  <a:gd name="connsiteX283" fmla="*/ 7724775 w 8801100"/>
                  <a:gd name="connsiteY283" fmla="*/ 1485900 h 4305300"/>
                  <a:gd name="connsiteX284" fmla="*/ 7667625 w 8801100"/>
                  <a:gd name="connsiteY284" fmla="*/ 1581150 h 4305300"/>
                  <a:gd name="connsiteX285" fmla="*/ 7529513 w 8801100"/>
                  <a:gd name="connsiteY285" fmla="*/ 1483519 h 4305300"/>
                  <a:gd name="connsiteX0" fmla="*/ 7539039 w 8810626"/>
                  <a:gd name="connsiteY0" fmla="*/ 1483519 h 4305300"/>
                  <a:gd name="connsiteX1" fmla="*/ 7531895 w 8810626"/>
                  <a:gd name="connsiteY1" fmla="*/ 1428750 h 4305300"/>
                  <a:gd name="connsiteX2" fmla="*/ 7598570 w 8810626"/>
                  <a:gd name="connsiteY2" fmla="*/ 1354931 h 4305300"/>
                  <a:gd name="connsiteX3" fmla="*/ 7581901 w 8810626"/>
                  <a:gd name="connsiteY3" fmla="*/ 1283494 h 4305300"/>
                  <a:gd name="connsiteX4" fmla="*/ 7596189 w 8810626"/>
                  <a:gd name="connsiteY4" fmla="*/ 1188244 h 4305300"/>
                  <a:gd name="connsiteX5" fmla="*/ 7634289 w 8810626"/>
                  <a:gd name="connsiteY5" fmla="*/ 1131094 h 4305300"/>
                  <a:gd name="connsiteX6" fmla="*/ 7615238 w 8810626"/>
                  <a:gd name="connsiteY6" fmla="*/ 1097756 h 4305300"/>
                  <a:gd name="connsiteX7" fmla="*/ 7712869 w 8810626"/>
                  <a:gd name="connsiteY7" fmla="*/ 697706 h 4305300"/>
                  <a:gd name="connsiteX8" fmla="*/ 7705726 w 8810626"/>
                  <a:gd name="connsiteY8" fmla="*/ 669131 h 4305300"/>
                  <a:gd name="connsiteX9" fmla="*/ 7577139 w 8810626"/>
                  <a:gd name="connsiteY9" fmla="*/ 647700 h 4305300"/>
                  <a:gd name="connsiteX10" fmla="*/ 7393783 w 8810626"/>
                  <a:gd name="connsiteY10" fmla="*/ 726281 h 4305300"/>
                  <a:gd name="connsiteX11" fmla="*/ 7236619 w 8810626"/>
                  <a:gd name="connsiteY11" fmla="*/ 611981 h 4305300"/>
                  <a:gd name="connsiteX12" fmla="*/ 7160420 w 8810626"/>
                  <a:gd name="connsiteY12" fmla="*/ 619125 h 4305300"/>
                  <a:gd name="connsiteX13" fmla="*/ 7086601 w 8810626"/>
                  <a:gd name="connsiteY13" fmla="*/ 614363 h 4305300"/>
                  <a:gd name="connsiteX14" fmla="*/ 6948489 w 8810626"/>
                  <a:gd name="connsiteY14" fmla="*/ 719138 h 4305300"/>
                  <a:gd name="connsiteX15" fmla="*/ 6841332 w 8810626"/>
                  <a:gd name="connsiteY15" fmla="*/ 826294 h 4305300"/>
                  <a:gd name="connsiteX16" fmla="*/ 6798470 w 8810626"/>
                  <a:gd name="connsiteY16" fmla="*/ 895350 h 4305300"/>
                  <a:gd name="connsiteX17" fmla="*/ 6805614 w 8810626"/>
                  <a:gd name="connsiteY17" fmla="*/ 931069 h 4305300"/>
                  <a:gd name="connsiteX18" fmla="*/ 6743701 w 8810626"/>
                  <a:gd name="connsiteY18" fmla="*/ 942975 h 4305300"/>
                  <a:gd name="connsiteX19" fmla="*/ 6762751 w 8810626"/>
                  <a:gd name="connsiteY19" fmla="*/ 942975 h 4305300"/>
                  <a:gd name="connsiteX20" fmla="*/ 6729414 w 8810626"/>
                  <a:gd name="connsiteY20" fmla="*/ 973931 h 4305300"/>
                  <a:gd name="connsiteX21" fmla="*/ 6629401 w 8810626"/>
                  <a:gd name="connsiteY21" fmla="*/ 973932 h 4305300"/>
                  <a:gd name="connsiteX22" fmla="*/ 6534151 w 8810626"/>
                  <a:gd name="connsiteY22" fmla="*/ 1028700 h 4305300"/>
                  <a:gd name="connsiteX23" fmla="*/ 6453189 w 8810626"/>
                  <a:gd name="connsiteY23" fmla="*/ 1038225 h 4305300"/>
                  <a:gd name="connsiteX24" fmla="*/ 6412707 w 8810626"/>
                  <a:gd name="connsiteY24" fmla="*/ 1071563 h 4305300"/>
                  <a:gd name="connsiteX25" fmla="*/ 6362701 w 8810626"/>
                  <a:gd name="connsiteY25" fmla="*/ 1076325 h 4305300"/>
                  <a:gd name="connsiteX26" fmla="*/ 6241258 w 8810626"/>
                  <a:gd name="connsiteY26" fmla="*/ 1169194 h 4305300"/>
                  <a:gd name="connsiteX27" fmla="*/ 6181726 w 8810626"/>
                  <a:gd name="connsiteY27" fmla="*/ 1173956 h 4305300"/>
                  <a:gd name="connsiteX28" fmla="*/ 6129339 w 8810626"/>
                  <a:gd name="connsiteY28" fmla="*/ 1138238 h 4305300"/>
                  <a:gd name="connsiteX29" fmla="*/ 6103145 w 8810626"/>
                  <a:gd name="connsiteY29" fmla="*/ 1173956 h 4305300"/>
                  <a:gd name="connsiteX30" fmla="*/ 5905501 w 8810626"/>
                  <a:gd name="connsiteY30" fmla="*/ 1166813 h 4305300"/>
                  <a:gd name="connsiteX31" fmla="*/ 5843589 w 8810626"/>
                  <a:gd name="connsiteY31" fmla="*/ 1121569 h 4305300"/>
                  <a:gd name="connsiteX32" fmla="*/ 5645945 w 8810626"/>
                  <a:gd name="connsiteY32" fmla="*/ 1138238 h 4305300"/>
                  <a:gd name="connsiteX33" fmla="*/ 5557839 w 8810626"/>
                  <a:gd name="connsiteY33" fmla="*/ 1054893 h 4305300"/>
                  <a:gd name="connsiteX34" fmla="*/ 5481639 w 8810626"/>
                  <a:gd name="connsiteY34" fmla="*/ 1009650 h 4305300"/>
                  <a:gd name="connsiteX35" fmla="*/ 5484019 w 8810626"/>
                  <a:gd name="connsiteY35" fmla="*/ 952500 h 4305300"/>
                  <a:gd name="connsiteX36" fmla="*/ 5464970 w 8810626"/>
                  <a:gd name="connsiteY36" fmla="*/ 909637 h 4305300"/>
                  <a:gd name="connsiteX37" fmla="*/ 5369720 w 8810626"/>
                  <a:gd name="connsiteY37" fmla="*/ 912019 h 4305300"/>
                  <a:gd name="connsiteX38" fmla="*/ 5274470 w 8810626"/>
                  <a:gd name="connsiteY38" fmla="*/ 890588 h 4305300"/>
                  <a:gd name="connsiteX39" fmla="*/ 5205413 w 8810626"/>
                  <a:gd name="connsiteY39" fmla="*/ 823912 h 4305300"/>
                  <a:gd name="connsiteX40" fmla="*/ 5169695 w 8810626"/>
                  <a:gd name="connsiteY40" fmla="*/ 781050 h 4305300"/>
                  <a:gd name="connsiteX41" fmla="*/ 5088732 w 8810626"/>
                  <a:gd name="connsiteY41" fmla="*/ 757237 h 4305300"/>
                  <a:gd name="connsiteX42" fmla="*/ 5014914 w 8810626"/>
                  <a:gd name="connsiteY42" fmla="*/ 769143 h 4305300"/>
                  <a:gd name="connsiteX43" fmla="*/ 4957763 w 8810626"/>
                  <a:gd name="connsiteY43" fmla="*/ 716756 h 4305300"/>
                  <a:gd name="connsiteX44" fmla="*/ 4862514 w 8810626"/>
                  <a:gd name="connsiteY44" fmla="*/ 728663 h 4305300"/>
                  <a:gd name="connsiteX45" fmla="*/ 4810126 w 8810626"/>
                  <a:gd name="connsiteY45" fmla="*/ 702469 h 4305300"/>
                  <a:gd name="connsiteX46" fmla="*/ 4729164 w 8810626"/>
                  <a:gd name="connsiteY46" fmla="*/ 745331 h 4305300"/>
                  <a:gd name="connsiteX47" fmla="*/ 4591051 w 8810626"/>
                  <a:gd name="connsiteY47" fmla="*/ 769144 h 4305300"/>
                  <a:gd name="connsiteX48" fmla="*/ 4462464 w 8810626"/>
                  <a:gd name="connsiteY48" fmla="*/ 862013 h 4305300"/>
                  <a:gd name="connsiteX49" fmla="*/ 4414838 w 8810626"/>
                  <a:gd name="connsiteY49" fmla="*/ 823913 h 4305300"/>
                  <a:gd name="connsiteX50" fmla="*/ 4393407 w 8810626"/>
                  <a:gd name="connsiteY50" fmla="*/ 854868 h 4305300"/>
                  <a:gd name="connsiteX51" fmla="*/ 4319589 w 8810626"/>
                  <a:gd name="connsiteY51" fmla="*/ 804863 h 4305300"/>
                  <a:gd name="connsiteX52" fmla="*/ 4281489 w 8810626"/>
                  <a:gd name="connsiteY52" fmla="*/ 812006 h 4305300"/>
                  <a:gd name="connsiteX53" fmla="*/ 4260057 w 8810626"/>
                  <a:gd name="connsiteY53" fmla="*/ 773906 h 4305300"/>
                  <a:gd name="connsiteX54" fmla="*/ 4200526 w 8810626"/>
                  <a:gd name="connsiteY54" fmla="*/ 778669 h 4305300"/>
                  <a:gd name="connsiteX55" fmla="*/ 4155282 w 8810626"/>
                  <a:gd name="connsiteY55" fmla="*/ 750094 h 4305300"/>
                  <a:gd name="connsiteX56" fmla="*/ 4117182 w 8810626"/>
                  <a:gd name="connsiteY56" fmla="*/ 747713 h 4305300"/>
                  <a:gd name="connsiteX57" fmla="*/ 4098132 w 8810626"/>
                  <a:gd name="connsiteY57" fmla="*/ 700087 h 4305300"/>
                  <a:gd name="connsiteX58" fmla="*/ 4083845 w 8810626"/>
                  <a:gd name="connsiteY58" fmla="*/ 669131 h 4305300"/>
                  <a:gd name="connsiteX59" fmla="*/ 4038601 w 8810626"/>
                  <a:gd name="connsiteY59" fmla="*/ 678656 h 4305300"/>
                  <a:gd name="connsiteX60" fmla="*/ 4019551 w 8810626"/>
                  <a:gd name="connsiteY60" fmla="*/ 642938 h 4305300"/>
                  <a:gd name="connsiteX61" fmla="*/ 4040983 w 8810626"/>
                  <a:gd name="connsiteY61" fmla="*/ 588169 h 4305300"/>
                  <a:gd name="connsiteX62" fmla="*/ 4010026 w 8810626"/>
                  <a:gd name="connsiteY62" fmla="*/ 561975 h 4305300"/>
                  <a:gd name="connsiteX63" fmla="*/ 4026695 w 8810626"/>
                  <a:gd name="connsiteY63" fmla="*/ 519113 h 4305300"/>
                  <a:gd name="connsiteX64" fmla="*/ 4000501 w 8810626"/>
                  <a:gd name="connsiteY64" fmla="*/ 476250 h 4305300"/>
                  <a:gd name="connsiteX65" fmla="*/ 3995739 w 8810626"/>
                  <a:gd name="connsiteY65" fmla="*/ 414338 h 4305300"/>
                  <a:gd name="connsiteX66" fmla="*/ 4019551 w 8810626"/>
                  <a:gd name="connsiteY66" fmla="*/ 350043 h 4305300"/>
                  <a:gd name="connsiteX67" fmla="*/ 3981451 w 8810626"/>
                  <a:gd name="connsiteY67" fmla="*/ 352425 h 4305300"/>
                  <a:gd name="connsiteX68" fmla="*/ 3862389 w 8810626"/>
                  <a:gd name="connsiteY68" fmla="*/ 295275 h 4305300"/>
                  <a:gd name="connsiteX69" fmla="*/ 3824288 w 8810626"/>
                  <a:gd name="connsiteY69" fmla="*/ 300037 h 4305300"/>
                  <a:gd name="connsiteX70" fmla="*/ 3619501 w 8810626"/>
                  <a:gd name="connsiteY70" fmla="*/ 190500 h 4305300"/>
                  <a:gd name="connsiteX71" fmla="*/ 3514726 w 8810626"/>
                  <a:gd name="connsiteY71" fmla="*/ 159544 h 4305300"/>
                  <a:gd name="connsiteX72" fmla="*/ 3450432 w 8810626"/>
                  <a:gd name="connsiteY72" fmla="*/ 169068 h 4305300"/>
                  <a:gd name="connsiteX73" fmla="*/ 3419476 w 8810626"/>
                  <a:gd name="connsiteY73" fmla="*/ 104775 h 4305300"/>
                  <a:gd name="connsiteX74" fmla="*/ 3362326 w 8810626"/>
                  <a:gd name="connsiteY74" fmla="*/ 104775 h 4305300"/>
                  <a:gd name="connsiteX75" fmla="*/ 3224213 w 8810626"/>
                  <a:gd name="connsiteY75" fmla="*/ 0 h 4305300"/>
                  <a:gd name="connsiteX76" fmla="*/ 3190876 w 8810626"/>
                  <a:gd name="connsiteY76" fmla="*/ 59532 h 4305300"/>
                  <a:gd name="connsiteX77" fmla="*/ 3136107 w 8810626"/>
                  <a:gd name="connsiteY77" fmla="*/ 128588 h 4305300"/>
                  <a:gd name="connsiteX78" fmla="*/ 3093245 w 8810626"/>
                  <a:gd name="connsiteY78" fmla="*/ 145256 h 4305300"/>
                  <a:gd name="connsiteX79" fmla="*/ 3062289 w 8810626"/>
                  <a:gd name="connsiteY79" fmla="*/ 138113 h 4305300"/>
                  <a:gd name="connsiteX80" fmla="*/ 3038476 w 8810626"/>
                  <a:gd name="connsiteY80" fmla="*/ 166688 h 4305300"/>
                  <a:gd name="connsiteX81" fmla="*/ 3012282 w 8810626"/>
                  <a:gd name="connsiteY81" fmla="*/ 245269 h 4305300"/>
                  <a:gd name="connsiteX82" fmla="*/ 2969420 w 8810626"/>
                  <a:gd name="connsiteY82" fmla="*/ 242888 h 4305300"/>
                  <a:gd name="connsiteX83" fmla="*/ 2938463 w 8810626"/>
                  <a:gd name="connsiteY83" fmla="*/ 304800 h 4305300"/>
                  <a:gd name="connsiteX84" fmla="*/ 2933701 w 8810626"/>
                  <a:gd name="connsiteY84" fmla="*/ 369094 h 4305300"/>
                  <a:gd name="connsiteX85" fmla="*/ 2907508 w 8810626"/>
                  <a:gd name="connsiteY85" fmla="*/ 407194 h 4305300"/>
                  <a:gd name="connsiteX86" fmla="*/ 2933701 w 8810626"/>
                  <a:gd name="connsiteY86" fmla="*/ 466725 h 4305300"/>
                  <a:gd name="connsiteX87" fmla="*/ 2936082 w 8810626"/>
                  <a:gd name="connsiteY87" fmla="*/ 535781 h 4305300"/>
                  <a:gd name="connsiteX88" fmla="*/ 2964657 w 8810626"/>
                  <a:gd name="connsiteY88" fmla="*/ 588169 h 4305300"/>
                  <a:gd name="connsiteX89" fmla="*/ 3012283 w 8810626"/>
                  <a:gd name="connsiteY89" fmla="*/ 642938 h 4305300"/>
                  <a:gd name="connsiteX90" fmla="*/ 2962276 w 8810626"/>
                  <a:gd name="connsiteY90" fmla="*/ 781050 h 4305300"/>
                  <a:gd name="connsiteX91" fmla="*/ 2893220 w 8810626"/>
                  <a:gd name="connsiteY91" fmla="*/ 847725 h 4305300"/>
                  <a:gd name="connsiteX92" fmla="*/ 2821782 w 8810626"/>
                  <a:gd name="connsiteY92" fmla="*/ 842963 h 4305300"/>
                  <a:gd name="connsiteX93" fmla="*/ 2783682 w 8810626"/>
                  <a:gd name="connsiteY93" fmla="*/ 900113 h 4305300"/>
                  <a:gd name="connsiteX94" fmla="*/ 2724151 w 8810626"/>
                  <a:gd name="connsiteY94" fmla="*/ 914400 h 4305300"/>
                  <a:gd name="connsiteX95" fmla="*/ 2655095 w 8810626"/>
                  <a:gd name="connsiteY95" fmla="*/ 854869 h 4305300"/>
                  <a:gd name="connsiteX96" fmla="*/ 2600326 w 8810626"/>
                  <a:gd name="connsiteY96" fmla="*/ 826294 h 4305300"/>
                  <a:gd name="connsiteX97" fmla="*/ 2557464 w 8810626"/>
                  <a:gd name="connsiteY97" fmla="*/ 840581 h 4305300"/>
                  <a:gd name="connsiteX98" fmla="*/ 2505076 w 8810626"/>
                  <a:gd name="connsiteY98" fmla="*/ 823913 h 4305300"/>
                  <a:gd name="connsiteX99" fmla="*/ 2438401 w 8810626"/>
                  <a:gd name="connsiteY99" fmla="*/ 769144 h 4305300"/>
                  <a:gd name="connsiteX100" fmla="*/ 2393157 w 8810626"/>
                  <a:gd name="connsiteY100" fmla="*/ 781050 h 4305300"/>
                  <a:gd name="connsiteX101" fmla="*/ 2371726 w 8810626"/>
                  <a:gd name="connsiteY101" fmla="*/ 750094 h 4305300"/>
                  <a:gd name="connsiteX102" fmla="*/ 2314576 w 8810626"/>
                  <a:gd name="connsiteY102" fmla="*/ 790575 h 4305300"/>
                  <a:gd name="connsiteX103" fmla="*/ 2197895 w 8810626"/>
                  <a:gd name="connsiteY103" fmla="*/ 769144 h 4305300"/>
                  <a:gd name="connsiteX104" fmla="*/ 2147889 w 8810626"/>
                  <a:gd name="connsiteY104" fmla="*/ 716756 h 4305300"/>
                  <a:gd name="connsiteX105" fmla="*/ 2105026 w 8810626"/>
                  <a:gd name="connsiteY105" fmla="*/ 702469 h 4305300"/>
                  <a:gd name="connsiteX106" fmla="*/ 2062164 w 8810626"/>
                  <a:gd name="connsiteY106" fmla="*/ 728663 h 4305300"/>
                  <a:gd name="connsiteX107" fmla="*/ 2009776 w 8810626"/>
                  <a:gd name="connsiteY107" fmla="*/ 638175 h 4305300"/>
                  <a:gd name="connsiteX108" fmla="*/ 2000251 w 8810626"/>
                  <a:gd name="connsiteY108" fmla="*/ 490537 h 4305300"/>
                  <a:gd name="connsiteX109" fmla="*/ 1947863 w 8810626"/>
                  <a:gd name="connsiteY109" fmla="*/ 483393 h 4305300"/>
                  <a:gd name="connsiteX110" fmla="*/ 1857376 w 8810626"/>
                  <a:gd name="connsiteY110" fmla="*/ 473869 h 4305300"/>
                  <a:gd name="connsiteX111" fmla="*/ 1802607 w 8810626"/>
                  <a:gd name="connsiteY111" fmla="*/ 435769 h 4305300"/>
                  <a:gd name="connsiteX112" fmla="*/ 1733551 w 8810626"/>
                  <a:gd name="connsiteY112" fmla="*/ 445294 h 4305300"/>
                  <a:gd name="connsiteX113" fmla="*/ 1688307 w 8810626"/>
                  <a:gd name="connsiteY113" fmla="*/ 419100 h 4305300"/>
                  <a:gd name="connsiteX114" fmla="*/ 1678783 w 8810626"/>
                  <a:gd name="connsiteY114" fmla="*/ 347663 h 4305300"/>
                  <a:gd name="connsiteX115" fmla="*/ 1654970 w 8810626"/>
                  <a:gd name="connsiteY115" fmla="*/ 333375 h 4305300"/>
                  <a:gd name="connsiteX116" fmla="*/ 1616870 w 8810626"/>
                  <a:gd name="connsiteY116" fmla="*/ 380999 h 4305300"/>
                  <a:gd name="connsiteX117" fmla="*/ 1538288 w 8810626"/>
                  <a:gd name="connsiteY117" fmla="*/ 307181 h 4305300"/>
                  <a:gd name="connsiteX118" fmla="*/ 1497807 w 8810626"/>
                  <a:gd name="connsiteY118" fmla="*/ 347663 h 4305300"/>
                  <a:gd name="connsiteX119" fmla="*/ 1421607 w 8810626"/>
                  <a:gd name="connsiteY119" fmla="*/ 333375 h 4305300"/>
                  <a:gd name="connsiteX120" fmla="*/ 1343026 w 8810626"/>
                  <a:gd name="connsiteY120" fmla="*/ 359569 h 4305300"/>
                  <a:gd name="connsiteX121" fmla="*/ 1283495 w 8810626"/>
                  <a:gd name="connsiteY121" fmla="*/ 407193 h 4305300"/>
                  <a:gd name="connsiteX122" fmla="*/ 1209676 w 8810626"/>
                  <a:gd name="connsiteY122" fmla="*/ 419100 h 4305300"/>
                  <a:gd name="connsiteX123" fmla="*/ 1173957 w 8810626"/>
                  <a:gd name="connsiteY123" fmla="*/ 411956 h 4305300"/>
                  <a:gd name="connsiteX124" fmla="*/ 1095377 w 8810626"/>
                  <a:gd name="connsiteY124" fmla="*/ 442913 h 4305300"/>
                  <a:gd name="connsiteX125" fmla="*/ 1073945 w 8810626"/>
                  <a:gd name="connsiteY125" fmla="*/ 471488 h 4305300"/>
                  <a:gd name="connsiteX126" fmla="*/ 1007270 w 8810626"/>
                  <a:gd name="connsiteY126" fmla="*/ 461963 h 4305300"/>
                  <a:gd name="connsiteX127" fmla="*/ 938214 w 8810626"/>
                  <a:gd name="connsiteY127" fmla="*/ 485775 h 4305300"/>
                  <a:gd name="connsiteX128" fmla="*/ 883445 w 8810626"/>
                  <a:gd name="connsiteY128" fmla="*/ 523875 h 4305300"/>
                  <a:gd name="connsiteX129" fmla="*/ 788195 w 8810626"/>
                  <a:gd name="connsiteY129" fmla="*/ 538162 h 4305300"/>
                  <a:gd name="connsiteX130" fmla="*/ 773907 w 8810626"/>
                  <a:gd name="connsiteY130" fmla="*/ 559594 h 4305300"/>
                  <a:gd name="connsiteX131" fmla="*/ 785813 w 8810626"/>
                  <a:gd name="connsiteY131" fmla="*/ 604838 h 4305300"/>
                  <a:gd name="connsiteX132" fmla="*/ 685802 w 8810626"/>
                  <a:gd name="connsiteY132" fmla="*/ 657225 h 4305300"/>
                  <a:gd name="connsiteX133" fmla="*/ 647701 w 8810626"/>
                  <a:gd name="connsiteY133" fmla="*/ 628649 h 4305300"/>
                  <a:gd name="connsiteX134" fmla="*/ 616745 w 8810626"/>
                  <a:gd name="connsiteY134" fmla="*/ 685800 h 4305300"/>
                  <a:gd name="connsiteX135" fmla="*/ 559595 w 8810626"/>
                  <a:gd name="connsiteY135" fmla="*/ 647700 h 4305300"/>
                  <a:gd name="connsiteX136" fmla="*/ 523876 w 8810626"/>
                  <a:gd name="connsiteY136" fmla="*/ 676275 h 4305300"/>
                  <a:gd name="connsiteX137" fmla="*/ 488157 w 8810626"/>
                  <a:gd name="connsiteY137" fmla="*/ 640556 h 4305300"/>
                  <a:gd name="connsiteX138" fmla="*/ 435770 w 8810626"/>
                  <a:gd name="connsiteY138" fmla="*/ 652463 h 4305300"/>
                  <a:gd name="connsiteX139" fmla="*/ 390526 w 8810626"/>
                  <a:gd name="connsiteY139" fmla="*/ 623888 h 4305300"/>
                  <a:gd name="connsiteX140" fmla="*/ 366714 w 8810626"/>
                  <a:gd name="connsiteY140" fmla="*/ 642938 h 4305300"/>
                  <a:gd name="connsiteX141" fmla="*/ 342901 w 8810626"/>
                  <a:gd name="connsiteY141" fmla="*/ 702469 h 4305300"/>
                  <a:gd name="connsiteX142" fmla="*/ 271464 w 8810626"/>
                  <a:gd name="connsiteY142" fmla="*/ 740568 h 4305300"/>
                  <a:gd name="connsiteX143" fmla="*/ 219076 w 8810626"/>
                  <a:gd name="connsiteY143" fmla="*/ 711994 h 4305300"/>
                  <a:gd name="connsiteX144" fmla="*/ 128589 w 8810626"/>
                  <a:gd name="connsiteY144" fmla="*/ 721519 h 4305300"/>
                  <a:gd name="connsiteX145" fmla="*/ 80963 w 8810626"/>
                  <a:gd name="connsiteY145" fmla="*/ 688182 h 4305300"/>
                  <a:gd name="connsiteX146" fmla="*/ 9526 w 8810626"/>
                  <a:gd name="connsiteY146" fmla="*/ 707231 h 4305300"/>
                  <a:gd name="connsiteX147" fmla="*/ 0 w 8810626"/>
                  <a:gd name="connsiteY147" fmla="*/ 142875 h 4305300"/>
                  <a:gd name="connsiteX148" fmla="*/ 233364 w 8810626"/>
                  <a:gd name="connsiteY148" fmla="*/ 962025 h 4305300"/>
                  <a:gd name="connsiteX149" fmla="*/ 288132 w 8810626"/>
                  <a:gd name="connsiteY149" fmla="*/ 997744 h 4305300"/>
                  <a:gd name="connsiteX150" fmla="*/ 378620 w 8810626"/>
                  <a:gd name="connsiteY150" fmla="*/ 1085850 h 4305300"/>
                  <a:gd name="connsiteX151" fmla="*/ 381001 w 8810626"/>
                  <a:gd name="connsiteY151" fmla="*/ 1145381 h 4305300"/>
                  <a:gd name="connsiteX152" fmla="*/ 516732 w 8810626"/>
                  <a:gd name="connsiteY152" fmla="*/ 1278732 h 4305300"/>
                  <a:gd name="connsiteX153" fmla="*/ 571501 w 8810626"/>
                  <a:gd name="connsiteY153" fmla="*/ 1254919 h 4305300"/>
                  <a:gd name="connsiteX154" fmla="*/ 609601 w 8810626"/>
                  <a:gd name="connsiteY154" fmla="*/ 1281112 h 4305300"/>
                  <a:gd name="connsiteX155" fmla="*/ 623889 w 8810626"/>
                  <a:gd name="connsiteY155" fmla="*/ 1331118 h 4305300"/>
                  <a:gd name="connsiteX156" fmla="*/ 666751 w 8810626"/>
                  <a:gd name="connsiteY156" fmla="*/ 1366838 h 4305300"/>
                  <a:gd name="connsiteX157" fmla="*/ 707232 w 8810626"/>
                  <a:gd name="connsiteY157" fmla="*/ 1354931 h 4305300"/>
                  <a:gd name="connsiteX158" fmla="*/ 726282 w 8810626"/>
                  <a:gd name="connsiteY158" fmla="*/ 1412081 h 4305300"/>
                  <a:gd name="connsiteX159" fmla="*/ 773907 w 8810626"/>
                  <a:gd name="connsiteY159" fmla="*/ 1454944 h 4305300"/>
                  <a:gd name="connsiteX160" fmla="*/ 797720 w 8810626"/>
                  <a:gd name="connsiteY160" fmla="*/ 1557338 h 4305300"/>
                  <a:gd name="connsiteX161" fmla="*/ 795339 w 8810626"/>
                  <a:gd name="connsiteY161" fmla="*/ 1604963 h 4305300"/>
                  <a:gd name="connsiteX162" fmla="*/ 831057 w 8810626"/>
                  <a:gd name="connsiteY162" fmla="*/ 1704975 h 4305300"/>
                  <a:gd name="connsiteX163" fmla="*/ 876301 w 8810626"/>
                  <a:gd name="connsiteY163" fmla="*/ 1762125 h 4305300"/>
                  <a:gd name="connsiteX164" fmla="*/ 892969 w 8810626"/>
                  <a:gd name="connsiteY164" fmla="*/ 1919287 h 4305300"/>
                  <a:gd name="connsiteX165" fmla="*/ 859632 w 8810626"/>
                  <a:gd name="connsiteY165" fmla="*/ 1981200 h 4305300"/>
                  <a:gd name="connsiteX166" fmla="*/ 828676 w 8810626"/>
                  <a:gd name="connsiteY166" fmla="*/ 2057400 h 4305300"/>
                  <a:gd name="connsiteX167" fmla="*/ 842964 w 8810626"/>
                  <a:gd name="connsiteY167" fmla="*/ 2114550 h 4305300"/>
                  <a:gd name="connsiteX168" fmla="*/ 745332 w 8810626"/>
                  <a:gd name="connsiteY168" fmla="*/ 2221707 h 4305300"/>
                  <a:gd name="connsiteX169" fmla="*/ 702470 w 8810626"/>
                  <a:gd name="connsiteY169" fmla="*/ 2336006 h 4305300"/>
                  <a:gd name="connsiteX170" fmla="*/ 735807 w 8810626"/>
                  <a:gd name="connsiteY170" fmla="*/ 2376488 h 4305300"/>
                  <a:gd name="connsiteX171" fmla="*/ 719139 w 8810626"/>
                  <a:gd name="connsiteY171" fmla="*/ 2405063 h 4305300"/>
                  <a:gd name="connsiteX172" fmla="*/ 750095 w 8810626"/>
                  <a:gd name="connsiteY172" fmla="*/ 2462213 h 4305300"/>
                  <a:gd name="connsiteX173" fmla="*/ 778670 w 8810626"/>
                  <a:gd name="connsiteY173" fmla="*/ 2462213 h 4305300"/>
                  <a:gd name="connsiteX174" fmla="*/ 940595 w 8810626"/>
                  <a:gd name="connsiteY174" fmla="*/ 2564606 h 4305300"/>
                  <a:gd name="connsiteX175" fmla="*/ 1045370 w 8810626"/>
                  <a:gd name="connsiteY175" fmla="*/ 2562225 h 4305300"/>
                  <a:gd name="connsiteX176" fmla="*/ 1123951 w 8810626"/>
                  <a:gd name="connsiteY176" fmla="*/ 2616994 h 4305300"/>
                  <a:gd name="connsiteX177" fmla="*/ 1254919 w 8810626"/>
                  <a:gd name="connsiteY177" fmla="*/ 2619375 h 4305300"/>
                  <a:gd name="connsiteX178" fmla="*/ 1445419 w 8810626"/>
                  <a:gd name="connsiteY178" fmla="*/ 2688431 h 4305300"/>
                  <a:gd name="connsiteX179" fmla="*/ 1647826 w 8810626"/>
                  <a:gd name="connsiteY179" fmla="*/ 2838450 h 4305300"/>
                  <a:gd name="connsiteX180" fmla="*/ 1681163 w 8810626"/>
                  <a:gd name="connsiteY180" fmla="*/ 2905125 h 4305300"/>
                  <a:gd name="connsiteX181" fmla="*/ 1847851 w 8810626"/>
                  <a:gd name="connsiteY181" fmla="*/ 3031331 h 4305300"/>
                  <a:gd name="connsiteX182" fmla="*/ 1919289 w 8810626"/>
                  <a:gd name="connsiteY182" fmla="*/ 3026569 h 4305300"/>
                  <a:gd name="connsiteX183" fmla="*/ 1955008 w 8810626"/>
                  <a:gd name="connsiteY183" fmla="*/ 3050381 h 4305300"/>
                  <a:gd name="connsiteX184" fmla="*/ 1926432 w 8810626"/>
                  <a:gd name="connsiteY184" fmla="*/ 3090863 h 4305300"/>
                  <a:gd name="connsiteX185" fmla="*/ 1933576 w 8810626"/>
                  <a:gd name="connsiteY185" fmla="*/ 3143250 h 4305300"/>
                  <a:gd name="connsiteX186" fmla="*/ 1985964 w 8810626"/>
                  <a:gd name="connsiteY186" fmla="*/ 3169444 h 4305300"/>
                  <a:gd name="connsiteX187" fmla="*/ 2047876 w 8810626"/>
                  <a:gd name="connsiteY187" fmla="*/ 3393282 h 4305300"/>
                  <a:gd name="connsiteX188" fmla="*/ 2038351 w 8810626"/>
                  <a:gd name="connsiteY188" fmla="*/ 3457575 h 4305300"/>
                  <a:gd name="connsiteX189" fmla="*/ 2174082 w 8810626"/>
                  <a:gd name="connsiteY189" fmla="*/ 3624263 h 4305300"/>
                  <a:gd name="connsiteX190" fmla="*/ 2193132 w 8810626"/>
                  <a:gd name="connsiteY190" fmla="*/ 3674269 h 4305300"/>
                  <a:gd name="connsiteX191" fmla="*/ 2166939 w 8810626"/>
                  <a:gd name="connsiteY191" fmla="*/ 3693319 h 4305300"/>
                  <a:gd name="connsiteX192" fmla="*/ 2269332 w 8810626"/>
                  <a:gd name="connsiteY192" fmla="*/ 3702844 h 4305300"/>
                  <a:gd name="connsiteX193" fmla="*/ 2381251 w 8810626"/>
                  <a:gd name="connsiteY193" fmla="*/ 3690938 h 4305300"/>
                  <a:gd name="connsiteX194" fmla="*/ 2659857 w 8810626"/>
                  <a:gd name="connsiteY194" fmla="*/ 3774281 h 4305300"/>
                  <a:gd name="connsiteX195" fmla="*/ 3067051 w 8810626"/>
                  <a:gd name="connsiteY195" fmla="*/ 3855244 h 4305300"/>
                  <a:gd name="connsiteX196" fmla="*/ 3264695 w 8810626"/>
                  <a:gd name="connsiteY196" fmla="*/ 3824287 h 4305300"/>
                  <a:gd name="connsiteX197" fmla="*/ 3309939 w 8810626"/>
                  <a:gd name="connsiteY197" fmla="*/ 3836193 h 4305300"/>
                  <a:gd name="connsiteX198" fmla="*/ 3364707 w 8810626"/>
                  <a:gd name="connsiteY198" fmla="*/ 3812382 h 4305300"/>
                  <a:gd name="connsiteX199" fmla="*/ 3757613 w 8810626"/>
                  <a:gd name="connsiteY199" fmla="*/ 3902869 h 4305300"/>
                  <a:gd name="connsiteX200" fmla="*/ 3840958 w 8810626"/>
                  <a:gd name="connsiteY200" fmla="*/ 4000500 h 4305300"/>
                  <a:gd name="connsiteX201" fmla="*/ 3960020 w 8810626"/>
                  <a:gd name="connsiteY201" fmla="*/ 4071938 h 4305300"/>
                  <a:gd name="connsiteX202" fmla="*/ 4019551 w 8810626"/>
                  <a:gd name="connsiteY202" fmla="*/ 4055269 h 4305300"/>
                  <a:gd name="connsiteX203" fmla="*/ 4369594 w 8810626"/>
                  <a:gd name="connsiteY203" fmla="*/ 4229100 h 4305300"/>
                  <a:gd name="connsiteX204" fmla="*/ 4595814 w 8810626"/>
                  <a:gd name="connsiteY204" fmla="*/ 4200525 h 4305300"/>
                  <a:gd name="connsiteX205" fmla="*/ 4605339 w 8810626"/>
                  <a:gd name="connsiteY205" fmla="*/ 4279106 h 4305300"/>
                  <a:gd name="connsiteX206" fmla="*/ 4691064 w 8810626"/>
                  <a:gd name="connsiteY206" fmla="*/ 4274343 h 4305300"/>
                  <a:gd name="connsiteX207" fmla="*/ 4769645 w 8810626"/>
                  <a:gd name="connsiteY207" fmla="*/ 4305300 h 4305300"/>
                  <a:gd name="connsiteX208" fmla="*/ 4812507 w 8810626"/>
                  <a:gd name="connsiteY208" fmla="*/ 4245769 h 4305300"/>
                  <a:gd name="connsiteX209" fmla="*/ 5484020 w 8810626"/>
                  <a:gd name="connsiteY209" fmla="*/ 3926681 h 4305300"/>
                  <a:gd name="connsiteX210" fmla="*/ 5572126 w 8810626"/>
                  <a:gd name="connsiteY210" fmla="*/ 3955257 h 4305300"/>
                  <a:gd name="connsiteX211" fmla="*/ 5703095 w 8810626"/>
                  <a:gd name="connsiteY211" fmla="*/ 3926681 h 4305300"/>
                  <a:gd name="connsiteX212" fmla="*/ 5881688 w 8810626"/>
                  <a:gd name="connsiteY212" fmla="*/ 3943350 h 4305300"/>
                  <a:gd name="connsiteX213" fmla="*/ 5938839 w 8810626"/>
                  <a:gd name="connsiteY213" fmla="*/ 3917157 h 4305300"/>
                  <a:gd name="connsiteX214" fmla="*/ 6072188 w 8810626"/>
                  <a:gd name="connsiteY214" fmla="*/ 3914775 h 4305300"/>
                  <a:gd name="connsiteX215" fmla="*/ 6205538 w 8810626"/>
                  <a:gd name="connsiteY215" fmla="*/ 3817144 h 4305300"/>
                  <a:gd name="connsiteX216" fmla="*/ 6272213 w 8810626"/>
                  <a:gd name="connsiteY216" fmla="*/ 3810000 h 4305300"/>
                  <a:gd name="connsiteX217" fmla="*/ 6369845 w 8810626"/>
                  <a:gd name="connsiteY217" fmla="*/ 3736181 h 4305300"/>
                  <a:gd name="connsiteX218" fmla="*/ 6443664 w 8810626"/>
                  <a:gd name="connsiteY218" fmla="*/ 3667125 h 4305300"/>
                  <a:gd name="connsiteX219" fmla="*/ 6453189 w 8810626"/>
                  <a:gd name="connsiteY219" fmla="*/ 3605213 h 4305300"/>
                  <a:gd name="connsiteX220" fmla="*/ 6486526 w 8810626"/>
                  <a:gd name="connsiteY220" fmla="*/ 3536156 h 4305300"/>
                  <a:gd name="connsiteX221" fmla="*/ 6638926 w 8810626"/>
                  <a:gd name="connsiteY221" fmla="*/ 3429000 h 4305300"/>
                  <a:gd name="connsiteX222" fmla="*/ 6672264 w 8810626"/>
                  <a:gd name="connsiteY222" fmla="*/ 3433763 h 4305300"/>
                  <a:gd name="connsiteX223" fmla="*/ 6724651 w 8810626"/>
                  <a:gd name="connsiteY223" fmla="*/ 3355181 h 4305300"/>
                  <a:gd name="connsiteX224" fmla="*/ 6772276 w 8810626"/>
                  <a:gd name="connsiteY224" fmla="*/ 3317081 h 4305300"/>
                  <a:gd name="connsiteX225" fmla="*/ 6757989 w 8810626"/>
                  <a:gd name="connsiteY225" fmla="*/ 3248025 h 4305300"/>
                  <a:gd name="connsiteX226" fmla="*/ 6707982 w 8810626"/>
                  <a:gd name="connsiteY226" fmla="*/ 3217068 h 4305300"/>
                  <a:gd name="connsiteX227" fmla="*/ 6648451 w 8810626"/>
                  <a:gd name="connsiteY227" fmla="*/ 3162300 h 4305300"/>
                  <a:gd name="connsiteX228" fmla="*/ 6629401 w 8810626"/>
                  <a:gd name="connsiteY228" fmla="*/ 3105150 h 4305300"/>
                  <a:gd name="connsiteX229" fmla="*/ 6593682 w 8810626"/>
                  <a:gd name="connsiteY229" fmla="*/ 3071813 h 4305300"/>
                  <a:gd name="connsiteX230" fmla="*/ 6619876 w 8810626"/>
                  <a:gd name="connsiteY230" fmla="*/ 3019425 h 4305300"/>
                  <a:gd name="connsiteX231" fmla="*/ 6660357 w 8810626"/>
                  <a:gd name="connsiteY231" fmla="*/ 2840831 h 4305300"/>
                  <a:gd name="connsiteX232" fmla="*/ 6700839 w 8810626"/>
                  <a:gd name="connsiteY232" fmla="*/ 2774156 h 4305300"/>
                  <a:gd name="connsiteX233" fmla="*/ 6846095 w 8810626"/>
                  <a:gd name="connsiteY233" fmla="*/ 2757487 h 4305300"/>
                  <a:gd name="connsiteX234" fmla="*/ 6915151 w 8810626"/>
                  <a:gd name="connsiteY234" fmla="*/ 2814638 h 4305300"/>
                  <a:gd name="connsiteX235" fmla="*/ 6991351 w 8810626"/>
                  <a:gd name="connsiteY235" fmla="*/ 2838450 h 4305300"/>
                  <a:gd name="connsiteX236" fmla="*/ 7196138 w 8810626"/>
                  <a:gd name="connsiteY236" fmla="*/ 2843213 h 4305300"/>
                  <a:gd name="connsiteX237" fmla="*/ 7372351 w 8810626"/>
                  <a:gd name="connsiteY237" fmla="*/ 2705100 h 4305300"/>
                  <a:gd name="connsiteX238" fmla="*/ 7429501 w 8810626"/>
                  <a:gd name="connsiteY238" fmla="*/ 2614612 h 4305300"/>
                  <a:gd name="connsiteX239" fmla="*/ 7455695 w 8810626"/>
                  <a:gd name="connsiteY239" fmla="*/ 2531269 h 4305300"/>
                  <a:gd name="connsiteX240" fmla="*/ 7586663 w 8810626"/>
                  <a:gd name="connsiteY240" fmla="*/ 2531269 h 4305300"/>
                  <a:gd name="connsiteX241" fmla="*/ 7760495 w 8810626"/>
                  <a:gd name="connsiteY241" fmla="*/ 2474118 h 4305300"/>
                  <a:gd name="connsiteX242" fmla="*/ 7820026 w 8810626"/>
                  <a:gd name="connsiteY242" fmla="*/ 2362200 h 4305300"/>
                  <a:gd name="connsiteX243" fmla="*/ 7884320 w 8810626"/>
                  <a:gd name="connsiteY243" fmla="*/ 2326481 h 4305300"/>
                  <a:gd name="connsiteX244" fmla="*/ 7862889 w 8810626"/>
                  <a:gd name="connsiteY244" fmla="*/ 2281238 h 4305300"/>
                  <a:gd name="connsiteX245" fmla="*/ 7941470 w 8810626"/>
                  <a:gd name="connsiteY245" fmla="*/ 2112168 h 4305300"/>
                  <a:gd name="connsiteX246" fmla="*/ 7996239 w 8810626"/>
                  <a:gd name="connsiteY246" fmla="*/ 2052638 h 4305300"/>
                  <a:gd name="connsiteX247" fmla="*/ 8034339 w 8810626"/>
                  <a:gd name="connsiteY247" fmla="*/ 2047875 h 4305300"/>
                  <a:gd name="connsiteX248" fmla="*/ 8079582 w 8810626"/>
                  <a:gd name="connsiteY248" fmla="*/ 2052638 h 4305300"/>
                  <a:gd name="connsiteX249" fmla="*/ 8143876 w 8810626"/>
                  <a:gd name="connsiteY249" fmla="*/ 2019300 h 4305300"/>
                  <a:gd name="connsiteX250" fmla="*/ 8153401 w 8810626"/>
                  <a:gd name="connsiteY250" fmla="*/ 1955006 h 4305300"/>
                  <a:gd name="connsiteX251" fmla="*/ 8193881 w 8810626"/>
                  <a:gd name="connsiteY251" fmla="*/ 1919288 h 4305300"/>
                  <a:gd name="connsiteX252" fmla="*/ 8253414 w 8810626"/>
                  <a:gd name="connsiteY252" fmla="*/ 1959768 h 4305300"/>
                  <a:gd name="connsiteX253" fmla="*/ 8279608 w 8810626"/>
                  <a:gd name="connsiteY253" fmla="*/ 1909762 h 4305300"/>
                  <a:gd name="connsiteX254" fmla="*/ 8374857 w 8810626"/>
                  <a:gd name="connsiteY254" fmla="*/ 1840706 h 4305300"/>
                  <a:gd name="connsiteX255" fmla="*/ 8436770 w 8810626"/>
                  <a:gd name="connsiteY255" fmla="*/ 1847850 h 4305300"/>
                  <a:gd name="connsiteX256" fmla="*/ 8486776 w 8810626"/>
                  <a:gd name="connsiteY256" fmla="*/ 1828800 h 4305300"/>
                  <a:gd name="connsiteX257" fmla="*/ 8524876 w 8810626"/>
                  <a:gd name="connsiteY257" fmla="*/ 1800225 h 4305300"/>
                  <a:gd name="connsiteX258" fmla="*/ 8558214 w 8810626"/>
                  <a:gd name="connsiteY258" fmla="*/ 1797844 h 4305300"/>
                  <a:gd name="connsiteX259" fmla="*/ 8593932 w 8810626"/>
                  <a:gd name="connsiteY259" fmla="*/ 1828800 h 4305300"/>
                  <a:gd name="connsiteX260" fmla="*/ 8653464 w 8810626"/>
                  <a:gd name="connsiteY260" fmla="*/ 1828800 h 4305300"/>
                  <a:gd name="connsiteX261" fmla="*/ 8691563 w 8810626"/>
                  <a:gd name="connsiteY261" fmla="*/ 1809750 h 4305300"/>
                  <a:gd name="connsiteX262" fmla="*/ 8774907 w 8810626"/>
                  <a:gd name="connsiteY262" fmla="*/ 1812132 h 4305300"/>
                  <a:gd name="connsiteX263" fmla="*/ 8805864 w 8810626"/>
                  <a:gd name="connsiteY263" fmla="*/ 1766888 h 4305300"/>
                  <a:gd name="connsiteX264" fmla="*/ 8810626 w 8810626"/>
                  <a:gd name="connsiteY264" fmla="*/ 1704975 h 4305300"/>
                  <a:gd name="connsiteX265" fmla="*/ 8760619 w 8810626"/>
                  <a:gd name="connsiteY265" fmla="*/ 1664494 h 4305300"/>
                  <a:gd name="connsiteX266" fmla="*/ 8743951 w 8810626"/>
                  <a:gd name="connsiteY266" fmla="*/ 1609725 h 4305300"/>
                  <a:gd name="connsiteX267" fmla="*/ 8653464 w 8810626"/>
                  <a:gd name="connsiteY267" fmla="*/ 1547813 h 4305300"/>
                  <a:gd name="connsiteX268" fmla="*/ 8612982 w 8810626"/>
                  <a:gd name="connsiteY268" fmla="*/ 1526381 h 4305300"/>
                  <a:gd name="connsiteX269" fmla="*/ 8574882 w 8810626"/>
                  <a:gd name="connsiteY269" fmla="*/ 1481138 h 4305300"/>
                  <a:gd name="connsiteX270" fmla="*/ 8543926 w 8810626"/>
                  <a:gd name="connsiteY270" fmla="*/ 1478756 h 4305300"/>
                  <a:gd name="connsiteX271" fmla="*/ 8527257 w 8810626"/>
                  <a:gd name="connsiteY271" fmla="*/ 1426369 h 4305300"/>
                  <a:gd name="connsiteX272" fmla="*/ 8486776 w 8810626"/>
                  <a:gd name="connsiteY272" fmla="*/ 1409700 h 4305300"/>
                  <a:gd name="connsiteX273" fmla="*/ 8486776 w 8810626"/>
                  <a:gd name="connsiteY273" fmla="*/ 1409700 h 4305300"/>
                  <a:gd name="connsiteX274" fmla="*/ 8446295 w 8810626"/>
                  <a:gd name="connsiteY274" fmla="*/ 1414463 h 4305300"/>
                  <a:gd name="connsiteX275" fmla="*/ 8360569 w 8810626"/>
                  <a:gd name="connsiteY275" fmla="*/ 1340644 h 4305300"/>
                  <a:gd name="connsiteX276" fmla="*/ 8179595 w 8810626"/>
                  <a:gd name="connsiteY276" fmla="*/ 1340643 h 4305300"/>
                  <a:gd name="connsiteX277" fmla="*/ 8127207 w 8810626"/>
                  <a:gd name="connsiteY277" fmla="*/ 1378744 h 4305300"/>
                  <a:gd name="connsiteX278" fmla="*/ 8077201 w 8810626"/>
                  <a:gd name="connsiteY278" fmla="*/ 1457325 h 4305300"/>
                  <a:gd name="connsiteX279" fmla="*/ 8093870 w 8810626"/>
                  <a:gd name="connsiteY279" fmla="*/ 1478756 h 4305300"/>
                  <a:gd name="connsiteX280" fmla="*/ 8048626 w 8810626"/>
                  <a:gd name="connsiteY280" fmla="*/ 1528762 h 4305300"/>
                  <a:gd name="connsiteX281" fmla="*/ 7898607 w 8810626"/>
                  <a:gd name="connsiteY281" fmla="*/ 1452562 h 4305300"/>
                  <a:gd name="connsiteX282" fmla="*/ 7808120 w 8810626"/>
                  <a:gd name="connsiteY282" fmla="*/ 1488281 h 4305300"/>
                  <a:gd name="connsiteX283" fmla="*/ 7734301 w 8810626"/>
                  <a:gd name="connsiteY283" fmla="*/ 1485900 h 4305300"/>
                  <a:gd name="connsiteX284" fmla="*/ 7677151 w 8810626"/>
                  <a:gd name="connsiteY284" fmla="*/ 1581150 h 4305300"/>
                  <a:gd name="connsiteX285" fmla="*/ 7539039 w 8810626"/>
                  <a:gd name="connsiteY285" fmla="*/ 1483519 h 4305300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23838 w 8801100"/>
                  <a:gd name="connsiteY148" fmla="*/ 1066800 h 4410075"/>
                  <a:gd name="connsiteX149" fmla="*/ 278606 w 8801100"/>
                  <a:gd name="connsiteY149" fmla="*/ 1102519 h 4410075"/>
                  <a:gd name="connsiteX150" fmla="*/ 369094 w 8801100"/>
                  <a:gd name="connsiteY150" fmla="*/ 1190625 h 4410075"/>
                  <a:gd name="connsiteX151" fmla="*/ 371475 w 8801100"/>
                  <a:gd name="connsiteY151" fmla="*/ 1250156 h 4410075"/>
                  <a:gd name="connsiteX152" fmla="*/ 507206 w 8801100"/>
                  <a:gd name="connsiteY152" fmla="*/ 1383507 h 4410075"/>
                  <a:gd name="connsiteX153" fmla="*/ 561975 w 8801100"/>
                  <a:gd name="connsiteY153" fmla="*/ 1359694 h 4410075"/>
                  <a:gd name="connsiteX154" fmla="*/ 600075 w 8801100"/>
                  <a:gd name="connsiteY154" fmla="*/ 1385887 h 4410075"/>
                  <a:gd name="connsiteX155" fmla="*/ 614363 w 8801100"/>
                  <a:gd name="connsiteY155" fmla="*/ 1435893 h 4410075"/>
                  <a:gd name="connsiteX156" fmla="*/ 657225 w 8801100"/>
                  <a:gd name="connsiteY156" fmla="*/ 1471613 h 4410075"/>
                  <a:gd name="connsiteX157" fmla="*/ 697706 w 8801100"/>
                  <a:gd name="connsiteY157" fmla="*/ 1459706 h 4410075"/>
                  <a:gd name="connsiteX158" fmla="*/ 716756 w 8801100"/>
                  <a:gd name="connsiteY158" fmla="*/ 1516856 h 4410075"/>
                  <a:gd name="connsiteX159" fmla="*/ 764381 w 8801100"/>
                  <a:gd name="connsiteY159" fmla="*/ 1559719 h 4410075"/>
                  <a:gd name="connsiteX160" fmla="*/ 788194 w 8801100"/>
                  <a:gd name="connsiteY160" fmla="*/ 1662113 h 4410075"/>
                  <a:gd name="connsiteX161" fmla="*/ 785813 w 8801100"/>
                  <a:gd name="connsiteY161" fmla="*/ 1709738 h 4410075"/>
                  <a:gd name="connsiteX162" fmla="*/ 821531 w 8801100"/>
                  <a:gd name="connsiteY162" fmla="*/ 1809750 h 4410075"/>
                  <a:gd name="connsiteX163" fmla="*/ 866775 w 8801100"/>
                  <a:gd name="connsiteY163" fmla="*/ 1866900 h 4410075"/>
                  <a:gd name="connsiteX164" fmla="*/ 883443 w 8801100"/>
                  <a:gd name="connsiteY164" fmla="*/ 2024062 h 4410075"/>
                  <a:gd name="connsiteX165" fmla="*/ 850106 w 8801100"/>
                  <a:gd name="connsiteY165" fmla="*/ 2085975 h 4410075"/>
                  <a:gd name="connsiteX166" fmla="*/ 819150 w 8801100"/>
                  <a:gd name="connsiteY166" fmla="*/ 2162175 h 4410075"/>
                  <a:gd name="connsiteX167" fmla="*/ 833438 w 8801100"/>
                  <a:gd name="connsiteY167" fmla="*/ 2219325 h 4410075"/>
                  <a:gd name="connsiteX168" fmla="*/ 735806 w 8801100"/>
                  <a:gd name="connsiteY168" fmla="*/ 2326482 h 4410075"/>
                  <a:gd name="connsiteX169" fmla="*/ 692944 w 8801100"/>
                  <a:gd name="connsiteY169" fmla="*/ 2440781 h 4410075"/>
                  <a:gd name="connsiteX170" fmla="*/ 726281 w 8801100"/>
                  <a:gd name="connsiteY170" fmla="*/ 2481263 h 4410075"/>
                  <a:gd name="connsiteX171" fmla="*/ 709613 w 8801100"/>
                  <a:gd name="connsiteY171" fmla="*/ 2509838 h 4410075"/>
                  <a:gd name="connsiteX172" fmla="*/ 740569 w 8801100"/>
                  <a:gd name="connsiteY172" fmla="*/ 2566988 h 4410075"/>
                  <a:gd name="connsiteX173" fmla="*/ 769144 w 8801100"/>
                  <a:gd name="connsiteY173" fmla="*/ 2566988 h 4410075"/>
                  <a:gd name="connsiteX174" fmla="*/ 931069 w 8801100"/>
                  <a:gd name="connsiteY174" fmla="*/ 2669381 h 4410075"/>
                  <a:gd name="connsiteX175" fmla="*/ 1035844 w 8801100"/>
                  <a:gd name="connsiteY175" fmla="*/ 2667000 h 4410075"/>
                  <a:gd name="connsiteX176" fmla="*/ 1114425 w 8801100"/>
                  <a:gd name="connsiteY176" fmla="*/ 2721769 h 4410075"/>
                  <a:gd name="connsiteX177" fmla="*/ 1245393 w 8801100"/>
                  <a:gd name="connsiteY177" fmla="*/ 2724150 h 4410075"/>
                  <a:gd name="connsiteX178" fmla="*/ 1435893 w 8801100"/>
                  <a:gd name="connsiteY178" fmla="*/ 2793206 h 4410075"/>
                  <a:gd name="connsiteX179" fmla="*/ 1638300 w 8801100"/>
                  <a:gd name="connsiteY179" fmla="*/ 2943225 h 4410075"/>
                  <a:gd name="connsiteX180" fmla="*/ 1671637 w 8801100"/>
                  <a:gd name="connsiteY180" fmla="*/ 3009900 h 4410075"/>
                  <a:gd name="connsiteX181" fmla="*/ 1838325 w 8801100"/>
                  <a:gd name="connsiteY181" fmla="*/ 3136106 h 4410075"/>
                  <a:gd name="connsiteX182" fmla="*/ 1909763 w 8801100"/>
                  <a:gd name="connsiteY182" fmla="*/ 3131344 h 4410075"/>
                  <a:gd name="connsiteX183" fmla="*/ 1945482 w 8801100"/>
                  <a:gd name="connsiteY183" fmla="*/ 3155156 h 4410075"/>
                  <a:gd name="connsiteX184" fmla="*/ 1916906 w 8801100"/>
                  <a:gd name="connsiteY184" fmla="*/ 3195638 h 4410075"/>
                  <a:gd name="connsiteX185" fmla="*/ 1924050 w 8801100"/>
                  <a:gd name="connsiteY185" fmla="*/ 3248025 h 4410075"/>
                  <a:gd name="connsiteX186" fmla="*/ 1976438 w 8801100"/>
                  <a:gd name="connsiteY186" fmla="*/ 3274219 h 4410075"/>
                  <a:gd name="connsiteX187" fmla="*/ 2038350 w 8801100"/>
                  <a:gd name="connsiteY187" fmla="*/ 3498057 h 4410075"/>
                  <a:gd name="connsiteX188" fmla="*/ 2028825 w 8801100"/>
                  <a:gd name="connsiteY188" fmla="*/ 3562350 h 4410075"/>
                  <a:gd name="connsiteX189" fmla="*/ 2164556 w 8801100"/>
                  <a:gd name="connsiteY189" fmla="*/ 3729038 h 4410075"/>
                  <a:gd name="connsiteX190" fmla="*/ 2183606 w 8801100"/>
                  <a:gd name="connsiteY190" fmla="*/ 3779044 h 4410075"/>
                  <a:gd name="connsiteX191" fmla="*/ 2157413 w 8801100"/>
                  <a:gd name="connsiteY191" fmla="*/ 3798094 h 4410075"/>
                  <a:gd name="connsiteX192" fmla="*/ 2259806 w 8801100"/>
                  <a:gd name="connsiteY192" fmla="*/ 3807619 h 4410075"/>
                  <a:gd name="connsiteX193" fmla="*/ 2371725 w 8801100"/>
                  <a:gd name="connsiteY193" fmla="*/ 3795713 h 4410075"/>
                  <a:gd name="connsiteX194" fmla="*/ 2650331 w 8801100"/>
                  <a:gd name="connsiteY194" fmla="*/ 3879056 h 4410075"/>
                  <a:gd name="connsiteX195" fmla="*/ 3057525 w 8801100"/>
                  <a:gd name="connsiteY195" fmla="*/ 3960019 h 4410075"/>
                  <a:gd name="connsiteX196" fmla="*/ 3255169 w 8801100"/>
                  <a:gd name="connsiteY196" fmla="*/ 3929062 h 4410075"/>
                  <a:gd name="connsiteX197" fmla="*/ 3300413 w 8801100"/>
                  <a:gd name="connsiteY197" fmla="*/ 3940968 h 4410075"/>
                  <a:gd name="connsiteX198" fmla="*/ 3355181 w 8801100"/>
                  <a:gd name="connsiteY198" fmla="*/ 3917157 h 4410075"/>
                  <a:gd name="connsiteX199" fmla="*/ 3748087 w 8801100"/>
                  <a:gd name="connsiteY199" fmla="*/ 4007644 h 4410075"/>
                  <a:gd name="connsiteX200" fmla="*/ 3831432 w 8801100"/>
                  <a:gd name="connsiteY200" fmla="*/ 4105275 h 4410075"/>
                  <a:gd name="connsiteX201" fmla="*/ 3950494 w 8801100"/>
                  <a:gd name="connsiteY201" fmla="*/ 4176713 h 4410075"/>
                  <a:gd name="connsiteX202" fmla="*/ 4010025 w 8801100"/>
                  <a:gd name="connsiteY202" fmla="*/ 4160044 h 4410075"/>
                  <a:gd name="connsiteX203" fmla="*/ 4360068 w 8801100"/>
                  <a:gd name="connsiteY203" fmla="*/ 4333875 h 4410075"/>
                  <a:gd name="connsiteX204" fmla="*/ 4586288 w 8801100"/>
                  <a:gd name="connsiteY204" fmla="*/ 4305300 h 4410075"/>
                  <a:gd name="connsiteX205" fmla="*/ 4595813 w 8801100"/>
                  <a:gd name="connsiteY205" fmla="*/ 4383881 h 4410075"/>
                  <a:gd name="connsiteX206" fmla="*/ 4681538 w 8801100"/>
                  <a:gd name="connsiteY206" fmla="*/ 4379118 h 4410075"/>
                  <a:gd name="connsiteX207" fmla="*/ 4760119 w 8801100"/>
                  <a:gd name="connsiteY207" fmla="*/ 4410075 h 4410075"/>
                  <a:gd name="connsiteX208" fmla="*/ 4802981 w 8801100"/>
                  <a:gd name="connsiteY208" fmla="*/ 4350544 h 4410075"/>
                  <a:gd name="connsiteX209" fmla="*/ 5474494 w 8801100"/>
                  <a:gd name="connsiteY209" fmla="*/ 4031456 h 4410075"/>
                  <a:gd name="connsiteX210" fmla="*/ 5562600 w 8801100"/>
                  <a:gd name="connsiteY210" fmla="*/ 4060032 h 4410075"/>
                  <a:gd name="connsiteX211" fmla="*/ 5693569 w 8801100"/>
                  <a:gd name="connsiteY211" fmla="*/ 4031456 h 4410075"/>
                  <a:gd name="connsiteX212" fmla="*/ 5872162 w 8801100"/>
                  <a:gd name="connsiteY212" fmla="*/ 4048125 h 4410075"/>
                  <a:gd name="connsiteX213" fmla="*/ 5929313 w 8801100"/>
                  <a:gd name="connsiteY213" fmla="*/ 4021932 h 4410075"/>
                  <a:gd name="connsiteX214" fmla="*/ 6062662 w 8801100"/>
                  <a:gd name="connsiteY214" fmla="*/ 4019550 h 4410075"/>
                  <a:gd name="connsiteX215" fmla="*/ 6196012 w 8801100"/>
                  <a:gd name="connsiteY215" fmla="*/ 3921919 h 4410075"/>
                  <a:gd name="connsiteX216" fmla="*/ 6262687 w 8801100"/>
                  <a:gd name="connsiteY216" fmla="*/ 3914775 h 4410075"/>
                  <a:gd name="connsiteX217" fmla="*/ 6360319 w 8801100"/>
                  <a:gd name="connsiteY217" fmla="*/ 3840956 h 4410075"/>
                  <a:gd name="connsiteX218" fmla="*/ 6434138 w 8801100"/>
                  <a:gd name="connsiteY218" fmla="*/ 3771900 h 4410075"/>
                  <a:gd name="connsiteX219" fmla="*/ 6443663 w 8801100"/>
                  <a:gd name="connsiteY219" fmla="*/ 3709988 h 4410075"/>
                  <a:gd name="connsiteX220" fmla="*/ 6477000 w 8801100"/>
                  <a:gd name="connsiteY220" fmla="*/ 3640931 h 4410075"/>
                  <a:gd name="connsiteX221" fmla="*/ 6629400 w 8801100"/>
                  <a:gd name="connsiteY221" fmla="*/ 3533775 h 4410075"/>
                  <a:gd name="connsiteX222" fmla="*/ 6662738 w 8801100"/>
                  <a:gd name="connsiteY222" fmla="*/ 3538538 h 4410075"/>
                  <a:gd name="connsiteX223" fmla="*/ 6715125 w 8801100"/>
                  <a:gd name="connsiteY223" fmla="*/ 3459956 h 4410075"/>
                  <a:gd name="connsiteX224" fmla="*/ 6762750 w 8801100"/>
                  <a:gd name="connsiteY224" fmla="*/ 3421856 h 4410075"/>
                  <a:gd name="connsiteX225" fmla="*/ 6748463 w 8801100"/>
                  <a:gd name="connsiteY225" fmla="*/ 3352800 h 4410075"/>
                  <a:gd name="connsiteX226" fmla="*/ 6698456 w 8801100"/>
                  <a:gd name="connsiteY226" fmla="*/ 3321843 h 4410075"/>
                  <a:gd name="connsiteX227" fmla="*/ 6638925 w 8801100"/>
                  <a:gd name="connsiteY227" fmla="*/ 3267075 h 4410075"/>
                  <a:gd name="connsiteX228" fmla="*/ 6619875 w 8801100"/>
                  <a:gd name="connsiteY228" fmla="*/ 3209925 h 4410075"/>
                  <a:gd name="connsiteX229" fmla="*/ 6584156 w 8801100"/>
                  <a:gd name="connsiteY229" fmla="*/ 3176588 h 4410075"/>
                  <a:gd name="connsiteX230" fmla="*/ 6610350 w 8801100"/>
                  <a:gd name="connsiteY230" fmla="*/ 3124200 h 4410075"/>
                  <a:gd name="connsiteX231" fmla="*/ 6650831 w 8801100"/>
                  <a:gd name="connsiteY231" fmla="*/ 2945606 h 4410075"/>
                  <a:gd name="connsiteX232" fmla="*/ 6691313 w 8801100"/>
                  <a:gd name="connsiteY232" fmla="*/ 2878931 h 4410075"/>
                  <a:gd name="connsiteX233" fmla="*/ 6836569 w 8801100"/>
                  <a:gd name="connsiteY233" fmla="*/ 2862262 h 4410075"/>
                  <a:gd name="connsiteX234" fmla="*/ 6905625 w 8801100"/>
                  <a:gd name="connsiteY234" fmla="*/ 2919413 h 4410075"/>
                  <a:gd name="connsiteX235" fmla="*/ 6981825 w 8801100"/>
                  <a:gd name="connsiteY235" fmla="*/ 2943225 h 4410075"/>
                  <a:gd name="connsiteX236" fmla="*/ 7186612 w 8801100"/>
                  <a:gd name="connsiteY236" fmla="*/ 2947988 h 4410075"/>
                  <a:gd name="connsiteX237" fmla="*/ 7362825 w 8801100"/>
                  <a:gd name="connsiteY237" fmla="*/ 2809875 h 4410075"/>
                  <a:gd name="connsiteX238" fmla="*/ 7419975 w 8801100"/>
                  <a:gd name="connsiteY238" fmla="*/ 2719387 h 4410075"/>
                  <a:gd name="connsiteX239" fmla="*/ 7446169 w 8801100"/>
                  <a:gd name="connsiteY239" fmla="*/ 2636044 h 4410075"/>
                  <a:gd name="connsiteX240" fmla="*/ 7577137 w 8801100"/>
                  <a:gd name="connsiteY240" fmla="*/ 2636044 h 4410075"/>
                  <a:gd name="connsiteX241" fmla="*/ 7750969 w 8801100"/>
                  <a:gd name="connsiteY241" fmla="*/ 2578893 h 4410075"/>
                  <a:gd name="connsiteX242" fmla="*/ 7810500 w 8801100"/>
                  <a:gd name="connsiteY242" fmla="*/ 2466975 h 4410075"/>
                  <a:gd name="connsiteX243" fmla="*/ 7874794 w 8801100"/>
                  <a:gd name="connsiteY243" fmla="*/ 2431256 h 4410075"/>
                  <a:gd name="connsiteX244" fmla="*/ 7853363 w 8801100"/>
                  <a:gd name="connsiteY244" fmla="*/ 2386013 h 4410075"/>
                  <a:gd name="connsiteX245" fmla="*/ 7931944 w 8801100"/>
                  <a:gd name="connsiteY245" fmla="*/ 2216943 h 4410075"/>
                  <a:gd name="connsiteX246" fmla="*/ 7986713 w 8801100"/>
                  <a:gd name="connsiteY246" fmla="*/ 2157413 h 4410075"/>
                  <a:gd name="connsiteX247" fmla="*/ 8024813 w 8801100"/>
                  <a:gd name="connsiteY247" fmla="*/ 2152650 h 4410075"/>
                  <a:gd name="connsiteX248" fmla="*/ 8070056 w 8801100"/>
                  <a:gd name="connsiteY248" fmla="*/ 2157413 h 4410075"/>
                  <a:gd name="connsiteX249" fmla="*/ 8134350 w 8801100"/>
                  <a:gd name="connsiteY249" fmla="*/ 2124075 h 4410075"/>
                  <a:gd name="connsiteX250" fmla="*/ 8143875 w 8801100"/>
                  <a:gd name="connsiteY250" fmla="*/ 2059781 h 4410075"/>
                  <a:gd name="connsiteX251" fmla="*/ 8184355 w 8801100"/>
                  <a:gd name="connsiteY251" fmla="*/ 2024063 h 4410075"/>
                  <a:gd name="connsiteX252" fmla="*/ 8243888 w 8801100"/>
                  <a:gd name="connsiteY252" fmla="*/ 2064543 h 4410075"/>
                  <a:gd name="connsiteX253" fmla="*/ 8270082 w 8801100"/>
                  <a:gd name="connsiteY253" fmla="*/ 2014537 h 4410075"/>
                  <a:gd name="connsiteX254" fmla="*/ 8365331 w 8801100"/>
                  <a:gd name="connsiteY254" fmla="*/ 1945481 h 4410075"/>
                  <a:gd name="connsiteX255" fmla="*/ 8427244 w 8801100"/>
                  <a:gd name="connsiteY255" fmla="*/ 1952625 h 4410075"/>
                  <a:gd name="connsiteX256" fmla="*/ 8477250 w 8801100"/>
                  <a:gd name="connsiteY256" fmla="*/ 1933575 h 4410075"/>
                  <a:gd name="connsiteX257" fmla="*/ 8515350 w 8801100"/>
                  <a:gd name="connsiteY257" fmla="*/ 1905000 h 4410075"/>
                  <a:gd name="connsiteX258" fmla="*/ 8548688 w 8801100"/>
                  <a:gd name="connsiteY258" fmla="*/ 1902619 h 4410075"/>
                  <a:gd name="connsiteX259" fmla="*/ 8584406 w 8801100"/>
                  <a:gd name="connsiteY259" fmla="*/ 1933575 h 4410075"/>
                  <a:gd name="connsiteX260" fmla="*/ 8643938 w 8801100"/>
                  <a:gd name="connsiteY260" fmla="*/ 1933575 h 4410075"/>
                  <a:gd name="connsiteX261" fmla="*/ 8682037 w 8801100"/>
                  <a:gd name="connsiteY261" fmla="*/ 1914525 h 4410075"/>
                  <a:gd name="connsiteX262" fmla="*/ 8765381 w 8801100"/>
                  <a:gd name="connsiteY262" fmla="*/ 1916907 h 4410075"/>
                  <a:gd name="connsiteX263" fmla="*/ 8796338 w 8801100"/>
                  <a:gd name="connsiteY263" fmla="*/ 1871663 h 4410075"/>
                  <a:gd name="connsiteX264" fmla="*/ 8801100 w 8801100"/>
                  <a:gd name="connsiteY264" fmla="*/ 1809750 h 4410075"/>
                  <a:gd name="connsiteX265" fmla="*/ 8751093 w 8801100"/>
                  <a:gd name="connsiteY265" fmla="*/ 1769269 h 4410075"/>
                  <a:gd name="connsiteX266" fmla="*/ 8734425 w 8801100"/>
                  <a:gd name="connsiteY266" fmla="*/ 1714500 h 4410075"/>
                  <a:gd name="connsiteX267" fmla="*/ 8643938 w 8801100"/>
                  <a:gd name="connsiteY267" fmla="*/ 1652588 h 4410075"/>
                  <a:gd name="connsiteX268" fmla="*/ 8603456 w 8801100"/>
                  <a:gd name="connsiteY268" fmla="*/ 1631156 h 4410075"/>
                  <a:gd name="connsiteX269" fmla="*/ 8565356 w 8801100"/>
                  <a:gd name="connsiteY269" fmla="*/ 1585913 h 4410075"/>
                  <a:gd name="connsiteX270" fmla="*/ 8534400 w 8801100"/>
                  <a:gd name="connsiteY270" fmla="*/ 1583531 h 4410075"/>
                  <a:gd name="connsiteX271" fmla="*/ 8517731 w 8801100"/>
                  <a:gd name="connsiteY271" fmla="*/ 1531144 h 4410075"/>
                  <a:gd name="connsiteX272" fmla="*/ 8477250 w 8801100"/>
                  <a:gd name="connsiteY272" fmla="*/ 1514475 h 4410075"/>
                  <a:gd name="connsiteX273" fmla="*/ 8477250 w 8801100"/>
                  <a:gd name="connsiteY273" fmla="*/ 1514475 h 4410075"/>
                  <a:gd name="connsiteX274" fmla="*/ 8436769 w 8801100"/>
                  <a:gd name="connsiteY274" fmla="*/ 1519238 h 4410075"/>
                  <a:gd name="connsiteX275" fmla="*/ 8351043 w 8801100"/>
                  <a:gd name="connsiteY275" fmla="*/ 1445419 h 4410075"/>
                  <a:gd name="connsiteX276" fmla="*/ 8170069 w 8801100"/>
                  <a:gd name="connsiteY276" fmla="*/ 1445418 h 4410075"/>
                  <a:gd name="connsiteX277" fmla="*/ 8117681 w 8801100"/>
                  <a:gd name="connsiteY277" fmla="*/ 1483519 h 4410075"/>
                  <a:gd name="connsiteX278" fmla="*/ 8067675 w 8801100"/>
                  <a:gd name="connsiteY278" fmla="*/ 1562100 h 4410075"/>
                  <a:gd name="connsiteX279" fmla="*/ 8084344 w 8801100"/>
                  <a:gd name="connsiteY279" fmla="*/ 1583531 h 4410075"/>
                  <a:gd name="connsiteX280" fmla="*/ 8039100 w 8801100"/>
                  <a:gd name="connsiteY280" fmla="*/ 1633537 h 4410075"/>
                  <a:gd name="connsiteX281" fmla="*/ 7889081 w 8801100"/>
                  <a:gd name="connsiteY281" fmla="*/ 1557337 h 4410075"/>
                  <a:gd name="connsiteX282" fmla="*/ 7798594 w 8801100"/>
                  <a:gd name="connsiteY282" fmla="*/ 1593056 h 4410075"/>
                  <a:gd name="connsiteX283" fmla="*/ 7724775 w 8801100"/>
                  <a:gd name="connsiteY283" fmla="*/ 1590675 h 4410075"/>
                  <a:gd name="connsiteX284" fmla="*/ 7667625 w 8801100"/>
                  <a:gd name="connsiteY284" fmla="*/ 1685925 h 4410075"/>
                  <a:gd name="connsiteX285" fmla="*/ 7529513 w 8801100"/>
                  <a:gd name="connsiteY285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78606 w 8801100"/>
                  <a:gd name="connsiteY148" fmla="*/ 1102519 h 4410075"/>
                  <a:gd name="connsiteX149" fmla="*/ 369094 w 8801100"/>
                  <a:gd name="connsiteY149" fmla="*/ 1190625 h 4410075"/>
                  <a:gd name="connsiteX150" fmla="*/ 371475 w 8801100"/>
                  <a:gd name="connsiteY150" fmla="*/ 1250156 h 4410075"/>
                  <a:gd name="connsiteX151" fmla="*/ 507206 w 8801100"/>
                  <a:gd name="connsiteY151" fmla="*/ 1383507 h 4410075"/>
                  <a:gd name="connsiteX152" fmla="*/ 561975 w 8801100"/>
                  <a:gd name="connsiteY152" fmla="*/ 1359694 h 4410075"/>
                  <a:gd name="connsiteX153" fmla="*/ 600075 w 8801100"/>
                  <a:gd name="connsiteY153" fmla="*/ 1385887 h 4410075"/>
                  <a:gd name="connsiteX154" fmla="*/ 614363 w 8801100"/>
                  <a:gd name="connsiteY154" fmla="*/ 1435893 h 4410075"/>
                  <a:gd name="connsiteX155" fmla="*/ 657225 w 8801100"/>
                  <a:gd name="connsiteY155" fmla="*/ 1471613 h 4410075"/>
                  <a:gd name="connsiteX156" fmla="*/ 697706 w 8801100"/>
                  <a:gd name="connsiteY156" fmla="*/ 1459706 h 4410075"/>
                  <a:gd name="connsiteX157" fmla="*/ 716756 w 8801100"/>
                  <a:gd name="connsiteY157" fmla="*/ 1516856 h 4410075"/>
                  <a:gd name="connsiteX158" fmla="*/ 764381 w 8801100"/>
                  <a:gd name="connsiteY158" fmla="*/ 1559719 h 4410075"/>
                  <a:gd name="connsiteX159" fmla="*/ 788194 w 8801100"/>
                  <a:gd name="connsiteY159" fmla="*/ 1662113 h 4410075"/>
                  <a:gd name="connsiteX160" fmla="*/ 785813 w 8801100"/>
                  <a:gd name="connsiteY160" fmla="*/ 1709738 h 4410075"/>
                  <a:gd name="connsiteX161" fmla="*/ 821531 w 8801100"/>
                  <a:gd name="connsiteY161" fmla="*/ 1809750 h 4410075"/>
                  <a:gd name="connsiteX162" fmla="*/ 866775 w 8801100"/>
                  <a:gd name="connsiteY162" fmla="*/ 1866900 h 4410075"/>
                  <a:gd name="connsiteX163" fmla="*/ 883443 w 8801100"/>
                  <a:gd name="connsiteY163" fmla="*/ 2024062 h 4410075"/>
                  <a:gd name="connsiteX164" fmla="*/ 850106 w 8801100"/>
                  <a:gd name="connsiteY164" fmla="*/ 2085975 h 4410075"/>
                  <a:gd name="connsiteX165" fmla="*/ 819150 w 8801100"/>
                  <a:gd name="connsiteY165" fmla="*/ 2162175 h 4410075"/>
                  <a:gd name="connsiteX166" fmla="*/ 833438 w 8801100"/>
                  <a:gd name="connsiteY166" fmla="*/ 2219325 h 4410075"/>
                  <a:gd name="connsiteX167" fmla="*/ 735806 w 8801100"/>
                  <a:gd name="connsiteY167" fmla="*/ 2326482 h 4410075"/>
                  <a:gd name="connsiteX168" fmla="*/ 692944 w 8801100"/>
                  <a:gd name="connsiteY168" fmla="*/ 2440781 h 4410075"/>
                  <a:gd name="connsiteX169" fmla="*/ 726281 w 8801100"/>
                  <a:gd name="connsiteY169" fmla="*/ 2481263 h 4410075"/>
                  <a:gd name="connsiteX170" fmla="*/ 709613 w 8801100"/>
                  <a:gd name="connsiteY170" fmla="*/ 2509838 h 4410075"/>
                  <a:gd name="connsiteX171" fmla="*/ 740569 w 8801100"/>
                  <a:gd name="connsiteY171" fmla="*/ 2566988 h 4410075"/>
                  <a:gd name="connsiteX172" fmla="*/ 769144 w 8801100"/>
                  <a:gd name="connsiteY172" fmla="*/ 2566988 h 4410075"/>
                  <a:gd name="connsiteX173" fmla="*/ 931069 w 8801100"/>
                  <a:gd name="connsiteY173" fmla="*/ 2669381 h 4410075"/>
                  <a:gd name="connsiteX174" fmla="*/ 1035844 w 8801100"/>
                  <a:gd name="connsiteY174" fmla="*/ 2667000 h 4410075"/>
                  <a:gd name="connsiteX175" fmla="*/ 1114425 w 8801100"/>
                  <a:gd name="connsiteY175" fmla="*/ 2721769 h 4410075"/>
                  <a:gd name="connsiteX176" fmla="*/ 1245393 w 8801100"/>
                  <a:gd name="connsiteY176" fmla="*/ 2724150 h 4410075"/>
                  <a:gd name="connsiteX177" fmla="*/ 1435893 w 8801100"/>
                  <a:gd name="connsiteY177" fmla="*/ 2793206 h 4410075"/>
                  <a:gd name="connsiteX178" fmla="*/ 1638300 w 8801100"/>
                  <a:gd name="connsiteY178" fmla="*/ 2943225 h 4410075"/>
                  <a:gd name="connsiteX179" fmla="*/ 1671637 w 8801100"/>
                  <a:gd name="connsiteY179" fmla="*/ 3009900 h 4410075"/>
                  <a:gd name="connsiteX180" fmla="*/ 1838325 w 8801100"/>
                  <a:gd name="connsiteY180" fmla="*/ 3136106 h 4410075"/>
                  <a:gd name="connsiteX181" fmla="*/ 1909763 w 8801100"/>
                  <a:gd name="connsiteY181" fmla="*/ 3131344 h 4410075"/>
                  <a:gd name="connsiteX182" fmla="*/ 1945482 w 8801100"/>
                  <a:gd name="connsiteY182" fmla="*/ 3155156 h 4410075"/>
                  <a:gd name="connsiteX183" fmla="*/ 1916906 w 8801100"/>
                  <a:gd name="connsiteY183" fmla="*/ 3195638 h 4410075"/>
                  <a:gd name="connsiteX184" fmla="*/ 1924050 w 8801100"/>
                  <a:gd name="connsiteY184" fmla="*/ 3248025 h 4410075"/>
                  <a:gd name="connsiteX185" fmla="*/ 1976438 w 8801100"/>
                  <a:gd name="connsiteY185" fmla="*/ 3274219 h 4410075"/>
                  <a:gd name="connsiteX186" fmla="*/ 2038350 w 8801100"/>
                  <a:gd name="connsiteY186" fmla="*/ 3498057 h 4410075"/>
                  <a:gd name="connsiteX187" fmla="*/ 2028825 w 8801100"/>
                  <a:gd name="connsiteY187" fmla="*/ 3562350 h 4410075"/>
                  <a:gd name="connsiteX188" fmla="*/ 2164556 w 8801100"/>
                  <a:gd name="connsiteY188" fmla="*/ 3729038 h 4410075"/>
                  <a:gd name="connsiteX189" fmla="*/ 2183606 w 8801100"/>
                  <a:gd name="connsiteY189" fmla="*/ 3779044 h 4410075"/>
                  <a:gd name="connsiteX190" fmla="*/ 2157413 w 8801100"/>
                  <a:gd name="connsiteY190" fmla="*/ 3798094 h 4410075"/>
                  <a:gd name="connsiteX191" fmla="*/ 2259806 w 8801100"/>
                  <a:gd name="connsiteY191" fmla="*/ 3807619 h 4410075"/>
                  <a:gd name="connsiteX192" fmla="*/ 2371725 w 8801100"/>
                  <a:gd name="connsiteY192" fmla="*/ 3795713 h 4410075"/>
                  <a:gd name="connsiteX193" fmla="*/ 2650331 w 8801100"/>
                  <a:gd name="connsiteY193" fmla="*/ 3879056 h 4410075"/>
                  <a:gd name="connsiteX194" fmla="*/ 3057525 w 8801100"/>
                  <a:gd name="connsiteY194" fmla="*/ 3960019 h 4410075"/>
                  <a:gd name="connsiteX195" fmla="*/ 3255169 w 8801100"/>
                  <a:gd name="connsiteY195" fmla="*/ 3929062 h 4410075"/>
                  <a:gd name="connsiteX196" fmla="*/ 3300413 w 8801100"/>
                  <a:gd name="connsiteY196" fmla="*/ 3940968 h 4410075"/>
                  <a:gd name="connsiteX197" fmla="*/ 3355181 w 8801100"/>
                  <a:gd name="connsiteY197" fmla="*/ 3917157 h 4410075"/>
                  <a:gd name="connsiteX198" fmla="*/ 3748087 w 8801100"/>
                  <a:gd name="connsiteY198" fmla="*/ 4007644 h 4410075"/>
                  <a:gd name="connsiteX199" fmla="*/ 3831432 w 8801100"/>
                  <a:gd name="connsiteY199" fmla="*/ 4105275 h 4410075"/>
                  <a:gd name="connsiteX200" fmla="*/ 3950494 w 8801100"/>
                  <a:gd name="connsiteY200" fmla="*/ 4176713 h 4410075"/>
                  <a:gd name="connsiteX201" fmla="*/ 4010025 w 8801100"/>
                  <a:gd name="connsiteY201" fmla="*/ 4160044 h 4410075"/>
                  <a:gd name="connsiteX202" fmla="*/ 4360068 w 8801100"/>
                  <a:gd name="connsiteY202" fmla="*/ 4333875 h 4410075"/>
                  <a:gd name="connsiteX203" fmla="*/ 4586288 w 8801100"/>
                  <a:gd name="connsiteY203" fmla="*/ 4305300 h 4410075"/>
                  <a:gd name="connsiteX204" fmla="*/ 4595813 w 8801100"/>
                  <a:gd name="connsiteY204" fmla="*/ 4383881 h 4410075"/>
                  <a:gd name="connsiteX205" fmla="*/ 4681538 w 8801100"/>
                  <a:gd name="connsiteY205" fmla="*/ 4379118 h 4410075"/>
                  <a:gd name="connsiteX206" fmla="*/ 4760119 w 8801100"/>
                  <a:gd name="connsiteY206" fmla="*/ 4410075 h 4410075"/>
                  <a:gd name="connsiteX207" fmla="*/ 4802981 w 8801100"/>
                  <a:gd name="connsiteY207" fmla="*/ 4350544 h 4410075"/>
                  <a:gd name="connsiteX208" fmla="*/ 5474494 w 8801100"/>
                  <a:gd name="connsiteY208" fmla="*/ 4031456 h 4410075"/>
                  <a:gd name="connsiteX209" fmla="*/ 5562600 w 8801100"/>
                  <a:gd name="connsiteY209" fmla="*/ 4060032 h 4410075"/>
                  <a:gd name="connsiteX210" fmla="*/ 5693569 w 8801100"/>
                  <a:gd name="connsiteY210" fmla="*/ 4031456 h 4410075"/>
                  <a:gd name="connsiteX211" fmla="*/ 5872162 w 8801100"/>
                  <a:gd name="connsiteY211" fmla="*/ 4048125 h 4410075"/>
                  <a:gd name="connsiteX212" fmla="*/ 5929313 w 8801100"/>
                  <a:gd name="connsiteY212" fmla="*/ 4021932 h 4410075"/>
                  <a:gd name="connsiteX213" fmla="*/ 6062662 w 8801100"/>
                  <a:gd name="connsiteY213" fmla="*/ 4019550 h 4410075"/>
                  <a:gd name="connsiteX214" fmla="*/ 6196012 w 8801100"/>
                  <a:gd name="connsiteY214" fmla="*/ 3921919 h 4410075"/>
                  <a:gd name="connsiteX215" fmla="*/ 6262687 w 8801100"/>
                  <a:gd name="connsiteY215" fmla="*/ 3914775 h 4410075"/>
                  <a:gd name="connsiteX216" fmla="*/ 6360319 w 8801100"/>
                  <a:gd name="connsiteY216" fmla="*/ 3840956 h 4410075"/>
                  <a:gd name="connsiteX217" fmla="*/ 6434138 w 8801100"/>
                  <a:gd name="connsiteY217" fmla="*/ 3771900 h 4410075"/>
                  <a:gd name="connsiteX218" fmla="*/ 6443663 w 8801100"/>
                  <a:gd name="connsiteY218" fmla="*/ 3709988 h 4410075"/>
                  <a:gd name="connsiteX219" fmla="*/ 6477000 w 8801100"/>
                  <a:gd name="connsiteY219" fmla="*/ 3640931 h 4410075"/>
                  <a:gd name="connsiteX220" fmla="*/ 6629400 w 8801100"/>
                  <a:gd name="connsiteY220" fmla="*/ 3533775 h 4410075"/>
                  <a:gd name="connsiteX221" fmla="*/ 6662738 w 8801100"/>
                  <a:gd name="connsiteY221" fmla="*/ 3538538 h 4410075"/>
                  <a:gd name="connsiteX222" fmla="*/ 6715125 w 8801100"/>
                  <a:gd name="connsiteY222" fmla="*/ 3459956 h 4410075"/>
                  <a:gd name="connsiteX223" fmla="*/ 6762750 w 8801100"/>
                  <a:gd name="connsiteY223" fmla="*/ 3421856 h 4410075"/>
                  <a:gd name="connsiteX224" fmla="*/ 6748463 w 8801100"/>
                  <a:gd name="connsiteY224" fmla="*/ 3352800 h 4410075"/>
                  <a:gd name="connsiteX225" fmla="*/ 6698456 w 8801100"/>
                  <a:gd name="connsiteY225" fmla="*/ 3321843 h 4410075"/>
                  <a:gd name="connsiteX226" fmla="*/ 6638925 w 8801100"/>
                  <a:gd name="connsiteY226" fmla="*/ 3267075 h 4410075"/>
                  <a:gd name="connsiteX227" fmla="*/ 6619875 w 8801100"/>
                  <a:gd name="connsiteY227" fmla="*/ 3209925 h 4410075"/>
                  <a:gd name="connsiteX228" fmla="*/ 6584156 w 8801100"/>
                  <a:gd name="connsiteY228" fmla="*/ 3176588 h 4410075"/>
                  <a:gd name="connsiteX229" fmla="*/ 6610350 w 8801100"/>
                  <a:gd name="connsiteY229" fmla="*/ 3124200 h 4410075"/>
                  <a:gd name="connsiteX230" fmla="*/ 6650831 w 8801100"/>
                  <a:gd name="connsiteY230" fmla="*/ 2945606 h 4410075"/>
                  <a:gd name="connsiteX231" fmla="*/ 6691313 w 8801100"/>
                  <a:gd name="connsiteY231" fmla="*/ 2878931 h 4410075"/>
                  <a:gd name="connsiteX232" fmla="*/ 6836569 w 8801100"/>
                  <a:gd name="connsiteY232" fmla="*/ 2862262 h 4410075"/>
                  <a:gd name="connsiteX233" fmla="*/ 6905625 w 8801100"/>
                  <a:gd name="connsiteY233" fmla="*/ 2919413 h 4410075"/>
                  <a:gd name="connsiteX234" fmla="*/ 6981825 w 8801100"/>
                  <a:gd name="connsiteY234" fmla="*/ 2943225 h 4410075"/>
                  <a:gd name="connsiteX235" fmla="*/ 7186612 w 8801100"/>
                  <a:gd name="connsiteY235" fmla="*/ 2947988 h 4410075"/>
                  <a:gd name="connsiteX236" fmla="*/ 7362825 w 8801100"/>
                  <a:gd name="connsiteY236" fmla="*/ 2809875 h 4410075"/>
                  <a:gd name="connsiteX237" fmla="*/ 7419975 w 8801100"/>
                  <a:gd name="connsiteY237" fmla="*/ 2719387 h 4410075"/>
                  <a:gd name="connsiteX238" fmla="*/ 7446169 w 8801100"/>
                  <a:gd name="connsiteY238" fmla="*/ 2636044 h 4410075"/>
                  <a:gd name="connsiteX239" fmla="*/ 7577137 w 8801100"/>
                  <a:gd name="connsiteY239" fmla="*/ 2636044 h 4410075"/>
                  <a:gd name="connsiteX240" fmla="*/ 7750969 w 8801100"/>
                  <a:gd name="connsiteY240" fmla="*/ 2578893 h 4410075"/>
                  <a:gd name="connsiteX241" fmla="*/ 7810500 w 8801100"/>
                  <a:gd name="connsiteY241" fmla="*/ 2466975 h 4410075"/>
                  <a:gd name="connsiteX242" fmla="*/ 7874794 w 8801100"/>
                  <a:gd name="connsiteY242" fmla="*/ 2431256 h 4410075"/>
                  <a:gd name="connsiteX243" fmla="*/ 7853363 w 8801100"/>
                  <a:gd name="connsiteY243" fmla="*/ 2386013 h 4410075"/>
                  <a:gd name="connsiteX244" fmla="*/ 7931944 w 8801100"/>
                  <a:gd name="connsiteY244" fmla="*/ 2216943 h 4410075"/>
                  <a:gd name="connsiteX245" fmla="*/ 7986713 w 8801100"/>
                  <a:gd name="connsiteY245" fmla="*/ 2157413 h 4410075"/>
                  <a:gd name="connsiteX246" fmla="*/ 8024813 w 8801100"/>
                  <a:gd name="connsiteY246" fmla="*/ 2152650 h 4410075"/>
                  <a:gd name="connsiteX247" fmla="*/ 8070056 w 8801100"/>
                  <a:gd name="connsiteY247" fmla="*/ 2157413 h 4410075"/>
                  <a:gd name="connsiteX248" fmla="*/ 8134350 w 8801100"/>
                  <a:gd name="connsiteY248" fmla="*/ 2124075 h 4410075"/>
                  <a:gd name="connsiteX249" fmla="*/ 8143875 w 8801100"/>
                  <a:gd name="connsiteY249" fmla="*/ 2059781 h 4410075"/>
                  <a:gd name="connsiteX250" fmla="*/ 8184355 w 8801100"/>
                  <a:gd name="connsiteY250" fmla="*/ 2024063 h 4410075"/>
                  <a:gd name="connsiteX251" fmla="*/ 8243888 w 8801100"/>
                  <a:gd name="connsiteY251" fmla="*/ 2064543 h 4410075"/>
                  <a:gd name="connsiteX252" fmla="*/ 8270082 w 8801100"/>
                  <a:gd name="connsiteY252" fmla="*/ 2014537 h 4410075"/>
                  <a:gd name="connsiteX253" fmla="*/ 8365331 w 8801100"/>
                  <a:gd name="connsiteY253" fmla="*/ 1945481 h 4410075"/>
                  <a:gd name="connsiteX254" fmla="*/ 8427244 w 8801100"/>
                  <a:gd name="connsiteY254" fmla="*/ 1952625 h 4410075"/>
                  <a:gd name="connsiteX255" fmla="*/ 8477250 w 8801100"/>
                  <a:gd name="connsiteY255" fmla="*/ 1933575 h 4410075"/>
                  <a:gd name="connsiteX256" fmla="*/ 8515350 w 8801100"/>
                  <a:gd name="connsiteY256" fmla="*/ 1905000 h 4410075"/>
                  <a:gd name="connsiteX257" fmla="*/ 8548688 w 8801100"/>
                  <a:gd name="connsiteY257" fmla="*/ 1902619 h 4410075"/>
                  <a:gd name="connsiteX258" fmla="*/ 8584406 w 8801100"/>
                  <a:gd name="connsiteY258" fmla="*/ 1933575 h 4410075"/>
                  <a:gd name="connsiteX259" fmla="*/ 8643938 w 8801100"/>
                  <a:gd name="connsiteY259" fmla="*/ 1933575 h 4410075"/>
                  <a:gd name="connsiteX260" fmla="*/ 8682037 w 8801100"/>
                  <a:gd name="connsiteY260" fmla="*/ 1914525 h 4410075"/>
                  <a:gd name="connsiteX261" fmla="*/ 8765381 w 8801100"/>
                  <a:gd name="connsiteY261" fmla="*/ 1916907 h 4410075"/>
                  <a:gd name="connsiteX262" fmla="*/ 8796338 w 8801100"/>
                  <a:gd name="connsiteY262" fmla="*/ 1871663 h 4410075"/>
                  <a:gd name="connsiteX263" fmla="*/ 8801100 w 8801100"/>
                  <a:gd name="connsiteY263" fmla="*/ 1809750 h 4410075"/>
                  <a:gd name="connsiteX264" fmla="*/ 8751093 w 8801100"/>
                  <a:gd name="connsiteY264" fmla="*/ 1769269 h 4410075"/>
                  <a:gd name="connsiteX265" fmla="*/ 8734425 w 8801100"/>
                  <a:gd name="connsiteY265" fmla="*/ 1714500 h 4410075"/>
                  <a:gd name="connsiteX266" fmla="*/ 8643938 w 8801100"/>
                  <a:gd name="connsiteY266" fmla="*/ 1652588 h 4410075"/>
                  <a:gd name="connsiteX267" fmla="*/ 8603456 w 8801100"/>
                  <a:gd name="connsiteY267" fmla="*/ 1631156 h 4410075"/>
                  <a:gd name="connsiteX268" fmla="*/ 8565356 w 8801100"/>
                  <a:gd name="connsiteY268" fmla="*/ 1585913 h 4410075"/>
                  <a:gd name="connsiteX269" fmla="*/ 8534400 w 8801100"/>
                  <a:gd name="connsiteY269" fmla="*/ 1583531 h 4410075"/>
                  <a:gd name="connsiteX270" fmla="*/ 8517731 w 8801100"/>
                  <a:gd name="connsiteY270" fmla="*/ 1531144 h 4410075"/>
                  <a:gd name="connsiteX271" fmla="*/ 8477250 w 8801100"/>
                  <a:gd name="connsiteY271" fmla="*/ 1514475 h 4410075"/>
                  <a:gd name="connsiteX272" fmla="*/ 8477250 w 8801100"/>
                  <a:gd name="connsiteY272" fmla="*/ 1514475 h 4410075"/>
                  <a:gd name="connsiteX273" fmla="*/ 8436769 w 8801100"/>
                  <a:gd name="connsiteY273" fmla="*/ 1519238 h 4410075"/>
                  <a:gd name="connsiteX274" fmla="*/ 8351043 w 8801100"/>
                  <a:gd name="connsiteY274" fmla="*/ 1445419 h 4410075"/>
                  <a:gd name="connsiteX275" fmla="*/ 8170069 w 8801100"/>
                  <a:gd name="connsiteY275" fmla="*/ 1445418 h 4410075"/>
                  <a:gd name="connsiteX276" fmla="*/ 8117681 w 8801100"/>
                  <a:gd name="connsiteY276" fmla="*/ 1483519 h 4410075"/>
                  <a:gd name="connsiteX277" fmla="*/ 8067675 w 8801100"/>
                  <a:gd name="connsiteY277" fmla="*/ 1562100 h 4410075"/>
                  <a:gd name="connsiteX278" fmla="*/ 8084344 w 8801100"/>
                  <a:gd name="connsiteY278" fmla="*/ 1583531 h 4410075"/>
                  <a:gd name="connsiteX279" fmla="*/ 8039100 w 8801100"/>
                  <a:gd name="connsiteY279" fmla="*/ 1633537 h 4410075"/>
                  <a:gd name="connsiteX280" fmla="*/ 7889081 w 8801100"/>
                  <a:gd name="connsiteY280" fmla="*/ 1557337 h 4410075"/>
                  <a:gd name="connsiteX281" fmla="*/ 7798594 w 8801100"/>
                  <a:gd name="connsiteY281" fmla="*/ 1593056 h 4410075"/>
                  <a:gd name="connsiteX282" fmla="*/ 7724775 w 8801100"/>
                  <a:gd name="connsiteY282" fmla="*/ 1590675 h 4410075"/>
                  <a:gd name="connsiteX283" fmla="*/ 7667625 w 8801100"/>
                  <a:gd name="connsiteY283" fmla="*/ 1685925 h 4410075"/>
                  <a:gd name="connsiteX284" fmla="*/ 7529513 w 8801100"/>
                  <a:gd name="connsiteY284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69094 w 8801100"/>
                  <a:gd name="connsiteY148" fmla="*/ 1190625 h 4410075"/>
                  <a:gd name="connsiteX149" fmla="*/ 371475 w 8801100"/>
                  <a:gd name="connsiteY149" fmla="*/ 1250156 h 4410075"/>
                  <a:gd name="connsiteX150" fmla="*/ 507206 w 8801100"/>
                  <a:gd name="connsiteY150" fmla="*/ 1383507 h 4410075"/>
                  <a:gd name="connsiteX151" fmla="*/ 561975 w 8801100"/>
                  <a:gd name="connsiteY151" fmla="*/ 1359694 h 4410075"/>
                  <a:gd name="connsiteX152" fmla="*/ 600075 w 8801100"/>
                  <a:gd name="connsiteY152" fmla="*/ 1385887 h 4410075"/>
                  <a:gd name="connsiteX153" fmla="*/ 614363 w 8801100"/>
                  <a:gd name="connsiteY153" fmla="*/ 1435893 h 4410075"/>
                  <a:gd name="connsiteX154" fmla="*/ 657225 w 8801100"/>
                  <a:gd name="connsiteY154" fmla="*/ 1471613 h 4410075"/>
                  <a:gd name="connsiteX155" fmla="*/ 697706 w 8801100"/>
                  <a:gd name="connsiteY155" fmla="*/ 1459706 h 4410075"/>
                  <a:gd name="connsiteX156" fmla="*/ 716756 w 8801100"/>
                  <a:gd name="connsiteY156" fmla="*/ 1516856 h 4410075"/>
                  <a:gd name="connsiteX157" fmla="*/ 764381 w 8801100"/>
                  <a:gd name="connsiteY157" fmla="*/ 1559719 h 4410075"/>
                  <a:gd name="connsiteX158" fmla="*/ 788194 w 8801100"/>
                  <a:gd name="connsiteY158" fmla="*/ 1662113 h 4410075"/>
                  <a:gd name="connsiteX159" fmla="*/ 785813 w 8801100"/>
                  <a:gd name="connsiteY159" fmla="*/ 1709738 h 4410075"/>
                  <a:gd name="connsiteX160" fmla="*/ 821531 w 8801100"/>
                  <a:gd name="connsiteY160" fmla="*/ 1809750 h 4410075"/>
                  <a:gd name="connsiteX161" fmla="*/ 866775 w 8801100"/>
                  <a:gd name="connsiteY161" fmla="*/ 1866900 h 4410075"/>
                  <a:gd name="connsiteX162" fmla="*/ 883443 w 8801100"/>
                  <a:gd name="connsiteY162" fmla="*/ 2024062 h 4410075"/>
                  <a:gd name="connsiteX163" fmla="*/ 850106 w 8801100"/>
                  <a:gd name="connsiteY163" fmla="*/ 2085975 h 4410075"/>
                  <a:gd name="connsiteX164" fmla="*/ 819150 w 8801100"/>
                  <a:gd name="connsiteY164" fmla="*/ 2162175 h 4410075"/>
                  <a:gd name="connsiteX165" fmla="*/ 833438 w 8801100"/>
                  <a:gd name="connsiteY165" fmla="*/ 2219325 h 4410075"/>
                  <a:gd name="connsiteX166" fmla="*/ 735806 w 8801100"/>
                  <a:gd name="connsiteY166" fmla="*/ 2326482 h 4410075"/>
                  <a:gd name="connsiteX167" fmla="*/ 692944 w 8801100"/>
                  <a:gd name="connsiteY167" fmla="*/ 2440781 h 4410075"/>
                  <a:gd name="connsiteX168" fmla="*/ 726281 w 8801100"/>
                  <a:gd name="connsiteY168" fmla="*/ 2481263 h 4410075"/>
                  <a:gd name="connsiteX169" fmla="*/ 709613 w 8801100"/>
                  <a:gd name="connsiteY169" fmla="*/ 2509838 h 4410075"/>
                  <a:gd name="connsiteX170" fmla="*/ 740569 w 8801100"/>
                  <a:gd name="connsiteY170" fmla="*/ 2566988 h 4410075"/>
                  <a:gd name="connsiteX171" fmla="*/ 769144 w 8801100"/>
                  <a:gd name="connsiteY171" fmla="*/ 2566988 h 4410075"/>
                  <a:gd name="connsiteX172" fmla="*/ 931069 w 8801100"/>
                  <a:gd name="connsiteY172" fmla="*/ 2669381 h 4410075"/>
                  <a:gd name="connsiteX173" fmla="*/ 1035844 w 8801100"/>
                  <a:gd name="connsiteY173" fmla="*/ 2667000 h 4410075"/>
                  <a:gd name="connsiteX174" fmla="*/ 1114425 w 8801100"/>
                  <a:gd name="connsiteY174" fmla="*/ 2721769 h 4410075"/>
                  <a:gd name="connsiteX175" fmla="*/ 1245393 w 8801100"/>
                  <a:gd name="connsiteY175" fmla="*/ 2724150 h 4410075"/>
                  <a:gd name="connsiteX176" fmla="*/ 1435893 w 8801100"/>
                  <a:gd name="connsiteY176" fmla="*/ 2793206 h 4410075"/>
                  <a:gd name="connsiteX177" fmla="*/ 1638300 w 8801100"/>
                  <a:gd name="connsiteY177" fmla="*/ 2943225 h 4410075"/>
                  <a:gd name="connsiteX178" fmla="*/ 1671637 w 8801100"/>
                  <a:gd name="connsiteY178" fmla="*/ 3009900 h 4410075"/>
                  <a:gd name="connsiteX179" fmla="*/ 1838325 w 8801100"/>
                  <a:gd name="connsiteY179" fmla="*/ 3136106 h 4410075"/>
                  <a:gd name="connsiteX180" fmla="*/ 1909763 w 8801100"/>
                  <a:gd name="connsiteY180" fmla="*/ 3131344 h 4410075"/>
                  <a:gd name="connsiteX181" fmla="*/ 1945482 w 8801100"/>
                  <a:gd name="connsiteY181" fmla="*/ 3155156 h 4410075"/>
                  <a:gd name="connsiteX182" fmla="*/ 1916906 w 8801100"/>
                  <a:gd name="connsiteY182" fmla="*/ 3195638 h 4410075"/>
                  <a:gd name="connsiteX183" fmla="*/ 1924050 w 8801100"/>
                  <a:gd name="connsiteY183" fmla="*/ 3248025 h 4410075"/>
                  <a:gd name="connsiteX184" fmla="*/ 1976438 w 8801100"/>
                  <a:gd name="connsiteY184" fmla="*/ 3274219 h 4410075"/>
                  <a:gd name="connsiteX185" fmla="*/ 2038350 w 8801100"/>
                  <a:gd name="connsiteY185" fmla="*/ 3498057 h 4410075"/>
                  <a:gd name="connsiteX186" fmla="*/ 2028825 w 8801100"/>
                  <a:gd name="connsiteY186" fmla="*/ 3562350 h 4410075"/>
                  <a:gd name="connsiteX187" fmla="*/ 2164556 w 8801100"/>
                  <a:gd name="connsiteY187" fmla="*/ 3729038 h 4410075"/>
                  <a:gd name="connsiteX188" fmla="*/ 2183606 w 8801100"/>
                  <a:gd name="connsiteY188" fmla="*/ 3779044 h 4410075"/>
                  <a:gd name="connsiteX189" fmla="*/ 2157413 w 8801100"/>
                  <a:gd name="connsiteY189" fmla="*/ 3798094 h 4410075"/>
                  <a:gd name="connsiteX190" fmla="*/ 2259806 w 8801100"/>
                  <a:gd name="connsiteY190" fmla="*/ 3807619 h 4410075"/>
                  <a:gd name="connsiteX191" fmla="*/ 2371725 w 8801100"/>
                  <a:gd name="connsiteY191" fmla="*/ 3795713 h 4410075"/>
                  <a:gd name="connsiteX192" fmla="*/ 2650331 w 8801100"/>
                  <a:gd name="connsiteY192" fmla="*/ 3879056 h 4410075"/>
                  <a:gd name="connsiteX193" fmla="*/ 3057525 w 8801100"/>
                  <a:gd name="connsiteY193" fmla="*/ 3960019 h 4410075"/>
                  <a:gd name="connsiteX194" fmla="*/ 3255169 w 8801100"/>
                  <a:gd name="connsiteY194" fmla="*/ 3929062 h 4410075"/>
                  <a:gd name="connsiteX195" fmla="*/ 3300413 w 8801100"/>
                  <a:gd name="connsiteY195" fmla="*/ 3940968 h 4410075"/>
                  <a:gd name="connsiteX196" fmla="*/ 3355181 w 8801100"/>
                  <a:gd name="connsiteY196" fmla="*/ 3917157 h 4410075"/>
                  <a:gd name="connsiteX197" fmla="*/ 3748087 w 8801100"/>
                  <a:gd name="connsiteY197" fmla="*/ 4007644 h 4410075"/>
                  <a:gd name="connsiteX198" fmla="*/ 3831432 w 8801100"/>
                  <a:gd name="connsiteY198" fmla="*/ 4105275 h 4410075"/>
                  <a:gd name="connsiteX199" fmla="*/ 3950494 w 8801100"/>
                  <a:gd name="connsiteY199" fmla="*/ 4176713 h 4410075"/>
                  <a:gd name="connsiteX200" fmla="*/ 4010025 w 8801100"/>
                  <a:gd name="connsiteY200" fmla="*/ 4160044 h 4410075"/>
                  <a:gd name="connsiteX201" fmla="*/ 4360068 w 8801100"/>
                  <a:gd name="connsiteY201" fmla="*/ 4333875 h 4410075"/>
                  <a:gd name="connsiteX202" fmla="*/ 4586288 w 8801100"/>
                  <a:gd name="connsiteY202" fmla="*/ 4305300 h 4410075"/>
                  <a:gd name="connsiteX203" fmla="*/ 4595813 w 8801100"/>
                  <a:gd name="connsiteY203" fmla="*/ 4383881 h 4410075"/>
                  <a:gd name="connsiteX204" fmla="*/ 4681538 w 8801100"/>
                  <a:gd name="connsiteY204" fmla="*/ 4379118 h 4410075"/>
                  <a:gd name="connsiteX205" fmla="*/ 4760119 w 8801100"/>
                  <a:gd name="connsiteY205" fmla="*/ 4410075 h 4410075"/>
                  <a:gd name="connsiteX206" fmla="*/ 4802981 w 8801100"/>
                  <a:gd name="connsiteY206" fmla="*/ 4350544 h 4410075"/>
                  <a:gd name="connsiteX207" fmla="*/ 5474494 w 8801100"/>
                  <a:gd name="connsiteY207" fmla="*/ 4031456 h 4410075"/>
                  <a:gd name="connsiteX208" fmla="*/ 5562600 w 8801100"/>
                  <a:gd name="connsiteY208" fmla="*/ 4060032 h 4410075"/>
                  <a:gd name="connsiteX209" fmla="*/ 5693569 w 8801100"/>
                  <a:gd name="connsiteY209" fmla="*/ 4031456 h 4410075"/>
                  <a:gd name="connsiteX210" fmla="*/ 5872162 w 8801100"/>
                  <a:gd name="connsiteY210" fmla="*/ 4048125 h 4410075"/>
                  <a:gd name="connsiteX211" fmla="*/ 5929313 w 8801100"/>
                  <a:gd name="connsiteY211" fmla="*/ 4021932 h 4410075"/>
                  <a:gd name="connsiteX212" fmla="*/ 6062662 w 8801100"/>
                  <a:gd name="connsiteY212" fmla="*/ 4019550 h 4410075"/>
                  <a:gd name="connsiteX213" fmla="*/ 6196012 w 8801100"/>
                  <a:gd name="connsiteY213" fmla="*/ 3921919 h 4410075"/>
                  <a:gd name="connsiteX214" fmla="*/ 6262687 w 8801100"/>
                  <a:gd name="connsiteY214" fmla="*/ 3914775 h 4410075"/>
                  <a:gd name="connsiteX215" fmla="*/ 6360319 w 8801100"/>
                  <a:gd name="connsiteY215" fmla="*/ 3840956 h 4410075"/>
                  <a:gd name="connsiteX216" fmla="*/ 6434138 w 8801100"/>
                  <a:gd name="connsiteY216" fmla="*/ 3771900 h 4410075"/>
                  <a:gd name="connsiteX217" fmla="*/ 6443663 w 8801100"/>
                  <a:gd name="connsiteY217" fmla="*/ 3709988 h 4410075"/>
                  <a:gd name="connsiteX218" fmla="*/ 6477000 w 8801100"/>
                  <a:gd name="connsiteY218" fmla="*/ 3640931 h 4410075"/>
                  <a:gd name="connsiteX219" fmla="*/ 6629400 w 8801100"/>
                  <a:gd name="connsiteY219" fmla="*/ 3533775 h 4410075"/>
                  <a:gd name="connsiteX220" fmla="*/ 6662738 w 8801100"/>
                  <a:gd name="connsiteY220" fmla="*/ 3538538 h 4410075"/>
                  <a:gd name="connsiteX221" fmla="*/ 6715125 w 8801100"/>
                  <a:gd name="connsiteY221" fmla="*/ 3459956 h 4410075"/>
                  <a:gd name="connsiteX222" fmla="*/ 6762750 w 8801100"/>
                  <a:gd name="connsiteY222" fmla="*/ 3421856 h 4410075"/>
                  <a:gd name="connsiteX223" fmla="*/ 6748463 w 8801100"/>
                  <a:gd name="connsiteY223" fmla="*/ 3352800 h 4410075"/>
                  <a:gd name="connsiteX224" fmla="*/ 6698456 w 8801100"/>
                  <a:gd name="connsiteY224" fmla="*/ 3321843 h 4410075"/>
                  <a:gd name="connsiteX225" fmla="*/ 6638925 w 8801100"/>
                  <a:gd name="connsiteY225" fmla="*/ 3267075 h 4410075"/>
                  <a:gd name="connsiteX226" fmla="*/ 6619875 w 8801100"/>
                  <a:gd name="connsiteY226" fmla="*/ 3209925 h 4410075"/>
                  <a:gd name="connsiteX227" fmla="*/ 6584156 w 8801100"/>
                  <a:gd name="connsiteY227" fmla="*/ 3176588 h 4410075"/>
                  <a:gd name="connsiteX228" fmla="*/ 6610350 w 8801100"/>
                  <a:gd name="connsiteY228" fmla="*/ 3124200 h 4410075"/>
                  <a:gd name="connsiteX229" fmla="*/ 6650831 w 8801100"/>
                  <a:gd name="connsiteY229" fmla="*/ 2945606 h 4410075"/>
                  <a:gd name="connsiteX230" fmla="*/ 6691313 w 8801100"/>
                  <a:gd name="connsiteY230" fmla="*/ 2878931 h 4410075"/>
                  <a:gd name="connsiteX231" fmla="*/ 6836569 w 8801100"/>
                  <a:gd name="connsiteY231" fmla="*/ 2862262 h 4410075"/>
                  <a:gd name="connsiteX232" fmla="*/ 6905625 w 8801100"/>
                  <a:gd name="connsiteY232" fmla="*/ 2919413 h 4410075"/>
                  <a:gd name="connsiteX233" fmla="*/ 6981825 w 8801100"/>
                  <a:gd name="connsiteY233" fmla="*/ 2943225 h 4410075"/>
                  <a:gd name="connsiteX234" fmla="*/ 7186612 w 8801100"/>
                  <a:gd name="connsiteY234" fmla="*/ 2947988 h 4410075"/>
                  <a:gd name="connsiteX235" fmla="*/ 7362825 w 8801100"/>
                  <a:gd name="connsiteY235" fmla="*/ 2809875 h 4410075"/>
                  <a:gd name="connsiteX236" fmla="*/ 7419975 w 8801100"/>
                  <a:gd name="connsiteY236" fmla="*/ 2719387 h 4410075"/>
                  <a:gd name="connsiteX237" fmla="*/ 7446169 w 8801100"/>
                  <a:gd name="connsiteY237" fmla="*/ 2636044 h 4410075"/>
                  <a:gd name="connsiteX238" fmla="*/ 7577137 w 8801100"/>
                  <a:gd name="connsiteY238" fmla="*/ 2636044 h 4410075"/>
                  <a:gd name="connsiteX239" fmla="*/ 7750969 w 8801100"/>
                  <a:gd name="connsiteY239" fmla="*/ 2578893 h 4410075"/>
                  <a:gd name="connsiteX240" fmla="*/ 7810500 w 8801100"/>
                  <a:gd name="connsiteY240" fmla="*/ 2466975 h 4410075"/>
                  <a:gd name="connsiteX241" fmla="*/ 7874794 w 8801100"/>
                  <a:gd name="connsiteY241" fmla="*/ 2431256 h 4410075"/>
                  <a:gd name="connsiteX242" fmla="*/ 7853363 w 8801100"/>
                  <a:gd name="connsiteY242" fmla="*/ 2386013 h 4410075"/>
                  <a:gd name="connsiteX243" fmla="*/ 7931944 w 8801100"/>
                  <a:gd name="connsiteY243" fmla="*/ 2216943 h 4410075"/>
                  <a:gd name="connsiteX244" fmla="*/ 7986713 w 8801100"/>
                  <a:gd name="connsiteY244" fmla="*/ 2157413 h 4410075"/>
                  <a:gd name="connsiteX245" fmla="*/ 8024813 w 8801100"/>
                  <a:gd name="connsiteY245" fmla="*/ 2152650 h 4410075"/>
                  <a:gd name="connsiteX246" fmla="*/ 8070056 w 8801100"/>
                  <a:gd name="connsiteY246" fmla="*/ 2157413 h 4410075"/>
                  <a:gd name="connsiteX247" fmla="*/ 8134350 w 8801100"/>
                  <a:gd name="connsiteY247" fmla="*/ 2124075 h 4410075"/>
                  <a:gd name="connsiteX248" fmla="*/ 8143875 w 8801100"/>
                  <a:gd name="connsiteY248" fmla="*/ 2059781 h 4410075"/>
                  <a:gd name="connsiteX249" fmla="*/ 8184355 w 8801100"/>
                  <a:gd name="connsiteY249" fmla="*/ 2024063 h 4410075"/>
                  <a:gd name="connsiteX250" fmla="*/ 8243888 w 8801100"/>
                  <a:gd name="connsiteY250" fmla="*/ 2064543 h 4410075"/>
                  <a:gd name="connsiteX251" fmla="*/ 8270082 w 8801100"/>
                  <a:gd name="connsiteY251" fmla="*/ 2014537 h 4410075"/>
                  <a:gd name="connsiteX252" fmla="*/ 8365331 w 8801100"/>
                  <a:gd name="connsiteY252" fmla="*/ 1945481 h 4410075"/>
                  <a:gd name="connsiteX253" fmla="*/ 8427244 w 8801100"/>
                  <a:gd name="connsiteY253" fmla="*/ 1952625 h 4410075"/>
                  <a:gd name="connsiteX254" fmla="*/ 8477250 w 8801100"/>
                  <a:gd name="connsiteY254" fmla="*/ 1933575 h 4410075"/>
                  <a:gd name="connsiteX255" fmla="*/ 8515350 w 8801100"/>
                  <a:gd name="connsiteY255" fmla="*/ 1905000 h 4410075"/>
                  <a:gd name="connsiteX256" fmla="*/ 8548688 w 8801100"/>
                  <a:gd name="connsiteY256" fmla="*/ 1902619 h 4410075"/>
                  <a:gd name="connsiteX257" fmla="*/ 8584406 w 8801100"/>
                  <a:gd name="connsiteY257" fmla="*/ 1933575 h 4410075"/>
                  <a:gd name="connsiteX258" fmla="*/ 8643938 w 8801100"/>
                  <a:gd name="connsiteY258" fmla="*/ 1933575 h 4410075"/>
                  <a:gd name="connsiteX259" fmla="*/ 8682037 w 8801100"/>
                  <a:gd name="connsiteY259" fmla="*/ 1914525 h 4410075"/>
                  <a:gd name="connsiteX260" fmla="*/ 8765381 w 8801100"/>
                  <a:gd name="connsiteY260" fmla="*/ 1916907 h 4410075"/>
                  <a:gd name="connsiteX261" fmla="*/ 8796338 w 8801100"/>
                  <a:gd name="connsiteY261" fmla="*/ 1871663 h 4410075"/>
                  <a:gd name="connsiteX262" fmla="*/ 8801100 w 8801100"/>
                  <a:gd name="connsiteY262" fmla="*/ 1809750 h 4410075"/>
                  <a:gd name="connsiteX263" fmla="*/ 8751093 w 8801100"/>
                  <a:gd name="connsiteY263" fmla="*/ 1769269 h 4410075"/>
                  <a:gd name="connsiteX264" fmla="*/ 8734425 w 8801100"/>
                  <a:gd name="connsiteY264" fmla="*/ 1714500 h 4410075"/>
                  <a:gd name="connsiteX265" fmla="*/ 8643938 w 8801100"/>
                  <a:gd name="connsiteY265" fmla="*/ 1652588 h 4410075"/>
                  <a:gd name="connsiteX266" fmla="*/ 8603456 w 8801100"/>
                  <a:gd name="connsiteY266" fmla="*/ 1631156 h 4410075"/>
                  <a:gd name="connsiteX267" fmla="*/ 8565356 w 8801100"/>
                  <a:gd name="connsiteY267" fmla="*/ 1585913 h 4410075"/>
                  <a:gd name="connsiteX268" fmla="*/ 8534400 w 8801100"/>
                  <a:gd name="connsiteY268" fmla="*/ 1583531 h 4410075"/>
                  <a:gd name="connsiteX269" fmla="*/ 8517731 w 8801100"/>
                  <a:gd name="connsiteY269" fmla="*/ 1531144 h 4410075"/>
                  <a:gd name="connsiteX270" fmla="*/ 8477250 w 8801100"/>
                  <a:gd name="connsiteY270" fmla="*/ 1514475 h 4410075"/>
                  <a:gd name="connsiteX271" fmla="*/ 8477250 w 8801100"/>
                  <a:gd name="connsiteY271" fmla="*/ 1514475 h 4410075"/>
                  <a:gd name="connsiteX272" fmla="*/ 8436769 w 8801100"/>
                  <a:gd name="connsiteY272" fmla="*/ 1519238 h 4410075"/>
                  <a:gd name="connsiteX273" fmla="*/ 8351043 w 8801100"/>
                  <a:gd name="connsiteY273" fmla="*/ 1445419 h 4410075"/>
                  <a:gd name="connsiteX274" fmla="*/ 8170069 w 8801100"/>
                  <a:gd name="connsiteY274" fmla="*/ 1445418 h 4410075"/>
                  <a:gd name="connsiteX275" fmla="*/ 8117681 w 8801100"/>
                  <a:gd name="connsiteY275" fmla="*/ 1483519 h 4410075"/>
                  <a:gd name="connsiteX276" fmla="*/ 8067675 w 8801100"/>
                  <a:gd name="connsiteY276" fmla="*/ 1562100 h 4410075"/>
                  <a:gd name="connsiteX277" fmla="*/ 8084344 w 8801100"/>
                  <a:gd name="connsiteY277" fmla="*/ 1583531 h 4410075"/>
                  <a:gd name="connsiteX278" fmla="*/ 8039100 w 8801100"/>
                  <a:gd name="connsiteY278" fmla="*/ 1633537 h 4410075"/>
                  <a:gd name="connsiteX279" fmla="*/ 7889081 w 8801100"/>
                  <a:gd name="connsiteY279" fmla="*/ 1557337 h 4410075"/>
                  <a:gd name="connsiteX280" fmla="*/ 7798594 w 8801100"/>
                  <a:gd name="connsiteY280" fmla="*/ 1593056 h 4410075"/>
                  <a:gd name="connsiteX281" fmla="*/ 7724775 w 8801100"/>
                  <a:gd name="connsiteY281" fmla="*/ 1590675 h 4410075"/>
                  <a:gd name="connsiteX282" fmla="*/ 7667625 w 8801100"/>
                  <a:gd name="connsiteY282" fmla="*/ 1685925 h 4410075"/>
                  <a:gd name="connsiteX283" fmla="*/ 7529513 w 8801100"/>
                  <a:gd name="connsiteY283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69094 w 8801100"/>
                  <a:gd name="connsiteY148" fmla="*/ 1190625 h 4410075"/>
                  <a:gd name="connsiteX149" fmla="*/ 507206 w 8801100"/>
                  <a:gd name="connsiteY149" fmla="*/ 1383507 h 4410075"/>
                  <a:gd name="connsiteX150" fmla="*/ 561975 w 8801100"/>
                  <a:gd name="connsiteY150" fmla="*/ 1359694 h 4410075"/>
                  <a:gd name="connsiteX151" fmla="*/ 600075 w 8801100"/>
                  <a:gd name="connsiteY151" fmla="*/ 1385887 h 4410075"/>
                  <a:gd name="connsiteX152" fmla="*/ 614363 w 8801100"/>
                  <a:gd name="connsiteY152" fmla="*/ 1435893 h 4410075"/>
                  <a:gd name="connsiteX153" fmla="*/ 657225 w 8801100"/>
                  <a:gd name="connsiteY153" fmla="*/ 1471613 h 4410075"/>
                  <a:gd name="connsiteX154" fmla="*/ 697706 w 8801100"/>
                  <a:gd name="connsiteY154" fmla="*/ 1459706 h 4410075"/>
                  <a:gd name="connsiteX155" fmla="*/ 716756 w 8801100"/>
                  <a:gd name="connsiteY155" fmla="*/ 1516856 h 4410075"/>
                  <a:gd name="connsiteX156" fmla="*/ 764381 w 8801100"/>
                  <a:gd name="connsiteY156" fmla="*/ 1559719 h 4410075"/>
                  <a:gd name="connsiteX157" fmla="*/ 788194 w 8801100"/>
                  <a:gd name="connsiteY157" fmla="*/ 1662113 h 4410075"/>
                  <a:gd name="connsiteX158" fmla="*/ 785813 w 8801100"/>
                  <a:gd name="connsiteY158" fmla="*/ 1709738 h 4410075"/>
                  <a:gd name="connsiteX159" fmla="*/ 821531 w 8801100"/>
                  <a:gd name="connsiteY159" fmla="*/ 1809750 h 4410075"/>
                  <a:gd name="connsiteX160" fmla="*/ 866775 w 8801100"/>
                  <a:gd name="connsiteY160" fmla="*/ 1866900 h 4410075"/>
                  <a:gd name="connsiteX161" fmla="*/ 883443 w 8801100"/>
                  <a:gd name="connsiteY161" fmla="*/ 2024062 h 4410075"/>
                  <a:gd name="connsiteX162" fmla="*/ 850106 w 8801100"/>
                  <a:gd name="connsiteY162" fmla="*/ 2085975 h 4410075"/>
                  <a:gd name="connsiteX163" fmla="*/ 819150 w 8801100"/>
                  <a:gd name="connsiteY163" fmla="*/ 2162175 h 4410075"/>
                  <a:gd name="connsiteX164" fmla="*/ 833438 w 8801100"/>
                  <a:gd name="connsiteY164" fmla="*/ 2219325 h 4410075"/>
                  <a:gd name="connsiteX165" fmla="*/ 735806 w 8801100"/>
                  <a:gd name="connsiteY165" fmla="*/ 2326482 h 4410075"/>
                  <a:gd name="connsiteX166" fmla="*/ 692944 w 8801100"/>
                  <a:gd name="connsiteY166" fmla="*/ 2440781 h 4410075"/>
                  <a:gd name="connsiteX167" fmla="*/ 726281 w 8801100"/>
                  <a:gd name="connsiteY167" fmla="*/ 2481263 h 4410075"/>
                  <a:gd name="connsiteX168" fmla="*/ 709613 w 8801100"/>
                  <a:gd name="connsiteY168" fmla="*/ 2509838 h 4410075"/>
                  <a:gd name="connsiteX169" fmla="*/ 740569 w 8801100"/>
                  <a:gd name="connsiteY169" fmla="*/ 2566988 h 4410075"/>
                  <a:gd name="connsiteX170" fmla="*/ 769144 w 8801100"/>
                  <a:gd name="connsiteY170" fmla="*/ 2566988 h 4410075"/>
                  <a:gd name="connsiteX171" fmla="*/ 931069 w 8801100"/>
                  <a:gd name="connsiteY171" fmla="*/ 2669381 h 4410075"/>
                  <a:gd name="connsiteX172" fmla="*/ 1035844 w 8801100"/>
                  <a:gd name="connsiteY172" fmla="*/ 2667000 h 4410075"/>
                  <a:gd name="connsiteX173" fmla="*/ 1114425 w 8801100"/>
                  <a:gd name="connsiteY173" fmla="*/ 2721769 h 4410075"/>
                  <a:gd name="connsiteX174" fmla="*/ 1245393 w 8801100"/>
                  <a:gd name="connsiteY174" fmla="*/ 2724150 h 4410075"/>
                  <a:gd name="connsiteX175" fmla="*/ 1435893 w 8801100"/>
                  <a:gd name="connsiteY175" fmla="*/ 2793206 h 4410075"/>
                  <a:gd name="connsiteX176" fmla="*/ 1638300 w 8801100"/>
                  <a:gd name="connsiteY176" fmla="*/ 2943225 h 4410075"/>
                  <a:gd name="connsiteX177" fmla="*/ 1671637 w 8801100"/>
                  <a:gd name="connsiteY177" fmla="*/ 3009900 h 4410075"/>
                  <a:gd name="connsiteX178" fmla="*/ 1838325 w 8801100"/>
                  <a:gd name="connsiteY178" fmla="*/ 3136106 h 4410075"/>
                  <a:gd name="connsiteX179" fmla="*/ 1909763 w 8801100"/>
                  <a:gd name="connsiteY179" fmla="*/ 3131344 h 4410075"/>
                  <a:gd name="connsiteX180" fmla="*/ 1945482 w 8801100"/>
                  <a:gd name="connsiteY180" fmla="*/ 3155156 h 4410075"/>
                  <a:gd name="connsiteX181" fmla="*/ 1916906 w 8801100"/>
                  <a:gd name="connsiteY181" fmla="*/ 3195638 h 4410075"/>
                  <a:gd name="connsiteX182" fmla="*/ 1924050 w 8801100"/>
                  <a:gd name="connsiteY182" fmla="*/ 3248025 h 4410075"/>
                  <a:gd name="connsiteX183" fmla="*/ 1976438 w 8801100"/>
                  <a:gd name="connsiteY183" fmla="*/ 3274219 h 4410075"/>
                  <a:gd name="connsiteX184" fmla="*/ 2038350 w 8801100"/>
                  <a:gd name="connsiteY184" fmla="*/ 3498057 h 4410075"/>
                  <a:gd name="connsiteX185" fmla="*/ 2028825 w 8801100"/>
                  <a:gd name="connsiteY185" fmla="*/ 3562350 h 4410075"/>
                  <a:gd name="connsiteX186" fmla="*/ 2164556 w 8801100"/>
                  <a:gd name="connsiteY186" fmla="*/ 3729038 h 4410075"/>
                  <a:gd name="connsiteX187" fmla="*/ 2183606 w 8801100"/>
                  <a:gd name="connsiteY187" fmla="*/ 3779044 h 4410075"/>
                  <a:gd name="connsiteX188" fmla="*/ 2157413 w 8801100"/>
                  <a:gd name="connsiteY188" fmla="*/ 3798094 h 4410075"/>
                  <a:gd name="connsiteX189" fmla="*/ 2259806 w 8801100"/>
                  <a:gd name="connsiteY189" fmla="*/ 3807619 h 4410075"/>
                  <a:gd name="connsiteX190" fmla="*/ 2371725 w 8801100"/>
                  <a:gd name="connsiteY190" fmla="*/ 3795713 h 4410075"/>
                  <a:gd name="connsiteX191" fmla="*/ 2650331 w 8801100"/>
                  <a:gd name="connsiteY191" fmla="*/ 3879056 h 4410075"/>
                  <a:gd name="connsiteX192" fmla="*/ 3057525 w 8801100"/>
                  <a:gd name="connsiteY192" fmla="*/ 3960019 h 4410075"/>
                  <a:gd name="connsiteX193" fmla="*/ 3255169 w 8801100"/>
                  <a:gd name="connsiteY193" fmla="*/ 3929062 h 4410075"/>
                  <a:gd name="connsiteX194" fmla="*/ 3300413 w 8801100"/>
                  <a:gd name="connsiteY194" fmla="*/ 3940968 h 4410075"/>
                  <a:gd name="connsiteX195" fmla="*/ 3355181 w 8801100"/>
                  <a:gd name="connsiteY195" fmla="*/ 3917157 h 4410075"/>
                  <a:gd name="connsiteX196" fmla="*/ 3748087 w 8801100"/>
                  <a:gd name="connsiteY196" fmla="*/ 4007644 h 4410075"/>
                  <a:gd name="connsiteX197" fmla="*/ 3831432 w 8801100"/>
                  <a:gd name="connsiteY197" fmla="*/ 4105275 h 4410075"/>
                  <a:gd name="connsiteX198" fmla="*/ 3950494 w 8801100"/>
                  <a:gd name="connsiteY198" fmla="*/ 4176713 h 4410075"/>
                  <a:gd name="connsiteX199" fmla="*/ 4010025 w 8801100"/>
                  <a:gd name="connsiteY199" fmla="*/ 4160044 h 4410075"/>
                  <a:gd name="connsiteX200" fmla="*/ 4360068 w 8801100"/>
                  <a:gd name="connsiteY200" fmla="*/ 4333875 h 4410075"/>
                  <a:gd name="connsiteX201" fmla="*/ 4586288 w 8801100"/>
                  <a:gd name="connsiteY201" fmla="*/ 4305300 h 4410075"/>
                  <a:gd name="connsiteX202" fmla="*/ 4595813 w 8801100"/>
                  <a:gd name="connsiteY202" fmla="*/ 4383881 h 4410075"/>
                  <a:gd name="connsiteX203" fmla="*/ 4681538 w 8801100"/>
                  <a:gd name="connsiteY203" fmla="*/ 4379118 h 4410075"/>
                  <a:gd name="connsiteX204" fmla="*/ 4760119 w 8801100"/>
                  <a:gd name="connsiteY204" fmla="*/ 4410075 h 4410075"/>
                  <a:gd name="connsiteX205" fmla="*/ 4802981 w 8801100"/>
                  <a:gd name="connsiteY205" fmla="*/ 4350544 h 4410075"/>
                  <a:gd name="connsiteX206" fmla="*/ 5474494 w 8801100"/>
                  <a:gd name="connsiteY206" fmla="*/ 4031456 h 4410075"/>
                  <a:gd name="connsiteX207" fmla="*/ 5562600 w 8801100"/>
                  <a:gd name="connsiteY207" fmla="*/ 4060032 h 4410075"/>
                  <a:gd name="connsiteX208" fmla="*/ 5693569 w 8801100"/>
                  <a:gd name="connsiteY208" fmla="*/ 4031456 h 4410075"/>
                  <a:gd name="connsiteX209" fmla="*/ 5872162 w 8801100"/>
                  <a:gd name="connsiteY209" fmla="*/ 4048125 h 4410075"/>
                  <a:gd name="connsiteX210" fmla="*/ 5929313 w 8801100"/>
                  <a:gd name="connsiteY210" fmla="*/ 4021932 h 4410075"/>
                  <a:gd name="connsiteX211" fmla="*/ 6062662 w 8801100"/>
                  <a:gd name="connsiteY211" fmla="*/ 4019550 h 4410075"/>
                  <a:gd name="connsiteX212" fmla="*/ 6196012 w 8801100"/>
                  <a:gd name="connsiteY212" fmla="*/ 3921919 h 4410075"/>
                  <a:gd name="connsiteX213" fmla="*/ 6262687 w 8801100"/>
                  <a:gd name="connsiteY213" fmla="*/ 3914775 h 4410075"/>
                  <a:gd name="connsiteX214" fmla="*/ 6360319 w 8801100"/>
                  <a:gd name="connsiteY214" fmla="*/ 3840956 h 4410075"/>
                  <a:gd name="connsiteX215" fmla="*/ 6434138 w 8801100"/>
                  <a:gd name="connsiteY215" fmla="*/ 3771900 h 4410075"/>
                  <a:gd name="connsiteX216" fmla="*/ 6443663 w 8801100"/>
                  <a:gd name="connsiteY216" fmla="*/ 3709988 h 4410075"/>
                  <a:gd name="connsiteX217" fmla="*/ 6477000 w 8801100"/>
                  <a:gd name="connsiteY217" fmla="*/ 3640931 h 4410075"/>
                  <a:gd name="connsiteX218" fmla="*/ 6629400 w 8801100"/>
                  <a:gd name="connsiteY218" fmla="*/ 3533775 h 4410075"/>
                  <a:gd name="connsiteX219" fmla="*/ 6662738 w 8801100"/>
                  <a:gd name="connsiteY219" fmla="*/ 3538538 h 4410075"/>
                  <a:gd name="connsiteX220" fmla="*/ 6715125 w 8801100"/>
                  <a:gd name="connsiteY220" fmla="*/ 3459956 h 4410075"/>
                  <a:gd name="connsiteX221" fmla="*/ 6762750 w 8801100"/>
                  <a:gd name="connsiteY221" fmla="*/ 3421856 h 4410075"/>
                  <a:gd name="connsiteX222" fmla="*/ 6748463 w 8801100"/>
                  <a:gd name="connsiteY222" fmla="*/ 3352800 h 4410075"/>
                  <a:gd name="connsiteX223" fmla="*/ 6698456 w 8801100"/>
                  <a:gd name="connsiteY223" fmla="*/ 3321843 h 4410075"/>
                  <a:gd name="connsiteX224" fmla="*/ 6638925 w 8801100"/>
                  <a:gd name="connsiteY224" fmla="*/ 3267075 h 4410075"/>
                  <a:gd name="connsiteX225" fmla="*/ 6619875 w 8801100"/>
                  <a:gd name="connsiteY225" fmla="*/ 3209925 h 4410075"/>
                  <a:gd name="connsiteX226" fmla="*/ 6584156 w 8801100"/>
                  <a:gd name="connsiteY226" fmla="*/ 3176588 h 4410075"/>
                  <a:gd name="connsiteX227" fmla="*/ 6610350 w 8801100"/>
                  <a:gd name="connsiteY227" fmla="*/ 3124200 h 4410075"/>
                  <a:gd name="connsiteX228" fmla="*/ 6650831 w 8801100"/>
                  <a:gd name="connsiteY228" fmla="*/ 2945606 h 4410075"/>
                  <a:gd name="connsiteX229" fmla="*/ 6691313 w 8801100"/>
                  <a:gd name="connsiteY229" fmla="*/ 2878931 h 4410075"/>
                  <a:gd name="connsiteX230" fmla="*/ 6836569 w 8801100"/>
                  <a:gd name="connsiteY230" fmla="*/ 2862262 h 4410075"/>
                  <a:gd name="connsiteX231" fmla="*/ 6905625 w 8801100"/>
                  <a:gd name="connsiteY231" fmla="*/ 2919413 h 4410075"/>
                  <a:gd name="connsiteX232" fmla="*/ 6981825 w 8801100"/>
                  <a:gd name="connsiteY232" fmla="*/ 2943225 h 4410075"/>
                  <a:gd name="connsiteX233" fmla="*/ 7186612 w 8801100"/>
                  <a:gd name="connsiteY233" fmla="*/ 2947988 h 4410075"/>
                  <a:gd name="connsiteX234" fmla="*/ 7362825 w 8801100"/>
                  <a:gd name="connsiteY234" fmla="*/ 2809875 h 4410075"/>
                  <a:gd name="connsiteX235" fmla="*/ 7419975 w 8801100"/>
                  <a:gd name="connsiteY235" fmla="*/ 2719387 h 4410075"/>
                  <a:gd name="connsiteX236" fmla="*/ 7446169 w 8801100"/>
                  <a:gd name="connsiteY236" fmla="*/ 2636044 h 4410075"/>
                  <a:gd name="connsiteX237" fmla="*/ 7577137 w 8801100"/>
                  <a:gd name="connsiteY237" fmla="*/ 2636044 h 4410075"/>
                  <a:gd name="connsiteX238" fmla="*/ 7750969 w 8801100"/>
                  <a:gd name="connsiteY238" fmla="*/ 2578893 h 4410075"/>
                  <a:gd name="connsiteX239" fmla="*/ 7810500 w 8801100"/>
                  <a:gd name="connsiteY239" fmla="*/ 2466975 h 4410075"/>
                  <a:gd name="connsiteX240" fmla="*/ 7874794 w 8801100"/>
                  <a:gd name="connsiteY240" fmla="*/ 2431256 h 4410075"/>
                  <a:gd name="connsiteX241" fmla="*/ 7853363 w 8801100"/>
                  <a:gd name="connsiteY241" fmla="*/ 2386013 h 4410075"/>
                  <a:gd name="connsiteX242" fmla="*/ 7931944 w 8801100"/>
                  <a:gd name="connsiteY242" fmla="*/ 2216943 h 4410075"/>
                  <a:gd name="connsiteX243" fmla="*/ 7986713 w 8801100"/>
                  <a:gd name="connsiteY243" fmla="*/ 2157413 h 4410075"/>
                  <a:gd name="connsiteX244" fmla="*/ 8024813 w 8801100"/>
                  <a:gd name="connsiteY244" fmla="*/ 2152650 h 4410075"/>
                  <a:gd name="connsiteX245" fmla="*/ 8070056 w 8801100"/>
                  <a:gd name="connsiteY245" fmla="*/ 2157413 h 4410075"/>
                  <a:gd name="connsiteX246" fmla="*/ 8134350 w 8801100"/>
                  <a:gd name="connsiteY246" fmla="*/ 2124075 h 4410075"/>
                  <a:gd name="connsiteX247" fmla="*/ 8143875 w 8801100"/>
                  <a:gd name="connsiteY247" fmla="*/ 2059781 h 4410075"/>
                  <a:gd name="connsiteX248" fmla="*/ 8184355 w 8801100"/>
                  <a:gd name="connsiteY248" fmla="*/ 2024063 h 4410075"/>
                  <a:gd name="connsiteX249" fmla="*/ 8243888 w 8801100"/>
                  <a:gd name="connsiteY249" fmla="*/ 2064543 h 4410075"/>
                  <a:gd name="connsiteX250" fmla="*/ 8270082 w 8801100"/>
                  <a:gd name="connsiteY250" fmla="*/ 2014537 h 4410075"/>
                  <a:gd name="connsiteX251" fmla="*/ 8365331 w 8801100"/>
                  <a:gd name="connsiteY251" fmla="*/ 1945481 h 4410075"/>
                  <a:gd name="connsiteX252" fmla="*/ 8427244 w 8801100"/>
                  <a:gd name="connsiteY252" fmla="*/ 1952625 h 4410075"/>
                  <a:gd name="connsiteX253" fmla="*/ 8477250 w 8801100"/>
                  <a:gd name="connsiteY253" fmla="*/ 1933575 h 4410075"/>
                  <a:gd name="connsiteX254" fmla="*/ 8515350 w 8801100"/>
                  <a:gd name="connsiteY254" fmla="*/ 1905000 h 4410075"/>
                  <a:gd name="connsiteX255" fmla="*/ 8548688 w 8801100"/>
                  <a:gd name="connsiteY255" fmla="*/ 1902619 h 4410075"/>
                  <a:gd name="connsiteX256" fmla="*/ 8584406 w 8801100"/>
                  <a:gd name="connsiteY256" fmla="*/ 1933575 h 4410075"/>
                  <a:gd name="connsiteX257" fmla="*/ 8643938 w 8801100"/>
                  <a:gd name="connsiteY257" fmla="*/ 1933575 h 4410075"/>
                  <a:gd name="connsiteX258" fmla="*/ 8682037 w 8801100"/>
                  <a:gd name="connsiteY258" fmla="*/ 1914525 h 4410075"/>
                  <a:gd name="connsiteX259" fmla="*/ 8765381 w 8801100"/>
                  <a:gd name="connsiteY259" fmla="*/ 1916907 h 4410075"/>
                  <a:gd name="connsiteX260" fmla="*/ 8796338 w 8801100"/>
                  <a:gd name="connsiteY260" fmla="*/ 1871663 h 4410075"/>
                  <a:gd name="connsiteX261" fmla="*/ 8801100 w 8801100"/>
                  <a:gd name="connsiteY261" fmla="*/ 1809750 h 4410075"/>
                  <a:gd name="connsiteX262" fmla="*/ 8751093 w 8801100"/>
                  <a:gd name="connsiteY262" fmla="*/ 1769269 h 4410075"/>
                  <a:gd name="connsiteX263" fmla="*/ 8734425 w 8801100"/>
                  <a:gd name="connsiteY263" fmla="*/ 1714500 h 4410075"/>
                  <a:gd name="connsiteX264" fmla="*/ 8643938 w 8801100"/>
                  <a:gd name="connsiteY264" fmla="*/ 1652588 h 4410075"/>
                  <a:gd name="connsiteX265" fmla="*/ 8603456 w 8801100"/>
                  <a:gd name="connsiteY265" fmla="*/ 1631156 h 4410075"/>
                  <a:gd name="connsiteX266" fmla="*/ 8565356 w 8801100"/>
                  <a:gd name="connsiteY266" fmla="*/ 1585913 h 4410075"/>
                  <a:gd name="connsiteX267" fmla="*/ 8534400 w 8801100"/>
                  <a:gd name="connsiteY267" fmla="*/ 1583531 h 4410075"/>
                  <a:gd name="connsiteX268" fmla="*/ 8517731 w 8801100"/>
                  <a:gd name="connsiteY268" fmla="*/ 1531144 h 4410075"/>
                  <a:gd name="connsiteX269" fmla="*/ 8477250 w 8801100"/>
                  <a:gd name="connsiteY269" fmla="*/ 1514475 h 4410075"/>
                  <a:gd name="connsiteX270" fmla="*/ 8477250 w 8801100"/>
                  <a:gd name="connsiteY270" fmla="*/ 1514475 h 4410075"/>
                  <a:gd name="connsiteX271" fmla="*/ 8436769 w 8801100"/>
                  <a:gd name="connsiteY271" fmla="*/ 1519238 h 4410075"/>
                  <a:gd name="connsiteX272" fmla="*/ 8351043 w 8801100"/>
                  <a:gd name="connsiteY272" fmla="*/ 1445419 h 4410075"/>
                  <a:gd name="connsiteX273" fmla="*/ 8170069 w 8801100"/>
                  <a:gd name="connsiteY273" fmla="*/ 1445418 h 4410075"/>
                  <a:gd name="connsiteX274" fmla="*/ 8117681 w 8801100"/>
                  <a:gd name="connsiteY274" fmla="*/ 1483519 h 4410075"/>
                  <a:gd name="connsiteX275" fmla="*/ 8067675 w 8801100"/>
                  <a:gd name="connsiteY275" fmla="*/ 1562100 h 4410075"/>
                  <a:gd name="connsiteX276" fmla="*/ 8084344 w 8801100"/>
                  <a:gd name="connsiteY276" fmla="*/ 1583531 h 4410075"/>
                  <a:gd name="connsiteX277" fmla="*/ 8039100 w 8801100"/>
                  <a:gd name="connsiteY277" fmla="*/ 1633537 h 4410075"/>
                  <a:gd name="connsiteX278" fmla="*/ 7889081 w 8801100"/>
                  <a:gd name="connsiteY278" fmla="*/ 1557337 h 4410075"/>
                  <a:gd name="connsiteX279" fmla="*/ 7798594 w 8801100"/>
                  <a:gd name="connsiteY279" fmla="*/ 1593056 h 4410075"/>
                  <a:gd name="connsiteX280" fmla="*/ 7724775 w 8801100"/>
                  <a:gd name="connsiteY280" fmla="*/ 1590675 h 4410075"/>
                  <a:gd name="connsiteX281" fmla="*/ 7667625 w 8801100"/>
                  <a:gd name="connsiteY281" fmla="*/ 1685925 h 4410075"/>
                  <a:gd name="connsiteX282" fmla="*/ 7529513 w 8801100"/>
                  <a:gd name="connsiteY282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69094 w 8801100"/>
                  <a:gd name="connsiteY148" fmla="*/ 1190625 h 4410075"/>
                  <a:gd name="connsiteX149" fmla="*/ 507206 w 8801100"/>
                  <a:gd name="connsiteY149" fmla="*/ 1383507 h 4410075"/>
                  <a:gd name="connsiteX150" fmla="*/ 600075 w 8801100"/>
                  <a:gd name="connsiteY150" fmla="*/ 1385887 h 4410075"/>
                  <a:gd name="connsiteX151" fmla="*/ 614363 w 8801100"/>
                  <a:gd name="connsiteY151" fmla="*/ 1435893 h 4410075"/>
                  <a:gd name="connsiteX152" fmla="*/ 657225 w 8801100"/>
                  <a:gd name="connsiteY152" fmla="*/ 1471613 h 4410075"/>
                  <a:gd name="connsiteX153" fmla="*/ 697706 w 8801100"/>
                  <a:gd name="connsiteY153" fmla="*/ 1459706 h 4410075"/>
                  <a:gd name="connsiteX154" fmla="*/ 716756 w 8801100"/>
                  <a:gd name="connsiteY154" fmla="*/ 1516856 h 4410075"/>
                  <a:gd name="connsiteX155" fmla="*/ 764381 w 8801100"/>
                  <a:gd name="connsiteY155" fmla="*/ 1559719 h 4410075"/>
                  <a:gd name="connsiteX156" fmla="*/ 788194 w 8801100"/>
                  <a:gd name="connsiteY156" fmla="*/ 1662113 h 4410075"/>
                  <a:gd name="connsiteX157" fmla="*/ 785813 w 8801100"/>
                  <a:gd name="connsiteY157" fmla="*/ 1709738 h 4410075"/>
                  <a:gd name="connsiteX158" fmla="*/ 821531 w 8801100"/>
                  <a:gd name="connsiteY158" fmla="*/ 1809750 h 4410075"/>
                  <a:gd name="connsiteX159" fmla="*/ 866775 w 8801100"/>
                  <a:gd name="connsiteY159" fmla="*/ 1866900 h 4410075"/>
                  <a:gd name="connsiteX160" fmla="*/ 883443 w 8801100"/>
                  <a:gd name="connsiteY160" fmla="*/ 2024062 h 4410075"/>
                  <a:gd name="connsiteX161" fmla="*/ 850106 w 8801100"/>
                  <a:gd name="connsiteY161" fmla="*/ 2085975 h 4410075"/>
                  <a:gd name="connsiteX162" fmla="*/ 819150 w 8801100"/>
                  <a:gd name="connsiteY162" fmla="*/ 2162175 h 4410075"/>
                  <a:gd name="connsiteX163" fmla="*/ 833438 w 8801100"/>
                  <a:gd name="connsiteY163" fmla="*/ 2219325 h 4410075"/>
                  <a:gd name="connsiteX164" fmla="*/ 735806 w 8801100"/>
                  <a:gd name="connsiteY164" fmla="*/ 2326482 h 4410075"/>
                  <a:gd name="connsiteX165" fmla="*/ 692944 w 8801100"/>
                  <a:gd name="connsiteY165" fmla="*/ 2440781 h 4410075"/>
                  <a:gd name="connsiteX166" fmla="*/ 726281 w 8801100"/>
                  <a:gd name="connsiteY166" fmla="*/ 2481263 h 4410075"/>
                  <a:gd name="connsiteX167" fmla="*/ 709613 w 8801100"/>
                  <a:gd name="connsiteY167" fmla="*/ 2509838 h 4410075"/>
                  <a:gd name="connsiteX168" fmla="*/ 740569 w 8801100"/>
                  <a:gd name="connsiteY168" fmla="*/ 2566988 h 4410075"/>
                  <a:gd name="connsiteX169" fmla="*/ 769144 w 8801100"/>
                  <a:gd name="connsiteY169" fmla="*/ 2566988 h 4410075"/>
                  <a:gd name="connsiteX170" fmla="*/ 931069 w 8801100"/>
                  <a:gd name="connsiteY170" fmla="*/ 2669381 h 4410075"/>
                  <a:gd name="connsiteX171" fmla="*/ 1035844 w 8801100"/>
                  <a:gd name="connsiteY171" fmla="*/ 2667000 h 4410075"/>
                  <a:gd name="connsiteX172" fmla="*/ 1114425 w 8801100"/>
                  <a:gd name="connsiteY172" fmla="*/ 2721769 h 4410075"/>
                  <a:gd name="connsiteX173" fmla="*/ 1245393 w 8801100"/>
                  <a:gd name="connsiteY173" fmla="*/ 2724150 h 4410075"/>
                  <a:gd name="connsiteX174" fmla="*/ 1435893 w 8801100"/>
                  <a:gd name="connsiteY174" fmla="*/ 2793206 h 4410075"/>
                  <a:gd name="connsiteX175" fmla="*/ 1638300 w 8801100"/>
                  <a:gd name="connsiteY175" fmla="*/ 2943225 h 4410075"/>
                  <a:gd name="connsiteX176" fmla="*/ 1671637 w 8801100"/>
                  <a:gd name="connsiteY176" fmla="*/ 3009900 h 4410075"/>
                  <a:gd name="connsiteX177" fmla="*/ 1838325 w 8801100"/>
                  <a:gd name="connsiteY177" fmla="*/ 3136106 h 4410075"/>
                  <a:gd name="connsiteX178" fmla="*/ 1909763 w 8801100"/>
                  <a:gd name="connsiteY178" fmla="*/ 3131344 h 4410075"/>
                  <a:gd name="connsiteX179" fmla="*/ 1945482 w 8801100"/>
                  <a:gd name="connsiteY179" fmla="*/ 3155156 h 4410075"/>
                  <a:gd name="connsiteX180" fmla="*/ 1916906 w 8801100"/>
                  <a:gd name="connsiteY180" fmla="*/ 3195638 h 4410075"/>
                  <a:gd name="connsiteX181" fmla="*/ 1924050 w 8801100"/>
                  <a:gd name="connsiteY181" fmla="*/ 3248025 h 4410075"/>
                  <a:gd name="connsiteX182" fmla="*/ 1976438 w 8801100"/>
                  <a:gd name="connsiteY182" fmla="*/ 3274219 h 4410075"/>
                  <a:gd name="connsiteX183" fmla="*/ 2038350 w 8801100"/>
                  <a:gd name="connsiteY183" fmla="*/ 3498057 h 4410075"/>
                  <a:gd name="connsiteX184" fmla="*/ 2028825 w 8801100"/>
                  <a:gd name="connsiteY184" fmla="*/ 3562350 h 4410075"/>
                  <a:gd name="connsiteX185" fmla="*/ 2164556 w 8801100"/>
                  <a:gd name="connsiteY185" fmla="*/ 3729038 h 4410075"/>
                  <a:gd name="connsiteX186" fmla="*/ 2183606 w 8801100"/>
                  <a:gd name="connsiteY186" fmla="*/ 3779044 h 4410075"/>
                  <a:gd name="connsiteX187" fmla="*/ 2157413 w 8801100"/>
                  <a:gd name="connsiteY187" fmla="*/ 3798094 h 4410075"/>
                  <a:gd name="connsiteX188" fmla="*/ 2259806 w 8801100"/>
                  <a:gd name="connsiteY188" fmla="*/ 3807619 h 4410075"/>
                  <a:gd name="connsiteX189" fmla="*/ 2371725 w 8801100"/>
                  <a:gd name="connsiteY189" fmla="*/ 3795713 h 4410075"/>
                  <a:gd name="connsiteX190" fmla="*/ 2650331 w 8801100"/>
                  <a:gd name="connsiteY190" fmla="*/ 3879056 h 4410075"/>
                  <a:gd name="connsiteX191" fmla="*/ 3057525 w 8801100"/>
                  <a:gd name="connsiteY191" fmla="*/ 3960019 h 4410075"/>
                  <a:gd name="connsiteX192" fmla="*/ 3255169 w 8801100"/>
                  <a:gd name="connsiteY192" fmla="*/ 3929062 h 4410075"/>
                  <a:gd name="connsiteX193" fmla="*/ 3300413 w 8801100"/>
                  <a:gd name="connsiteY193" fmla="*/ 3940968 h 4410075"/>
                  <a:gd name="connsiteX194" fmla="*/ 3355181 w 8801100"/>
                  <a:gd name="connsiteY194" fmla="*/ 3917157 h 4410075"/>
                  <a:gd name="connsiteX195" fmla="*/ 3748087 w 8801100"/>
                  <a:gd name="connsiteY195" fmla="*/ 4007644 h 4410075"/>
                  <a:gd name="connsiteX196" fmla="*/ 3831432 w 8801100"/>
                  <a:gd name="connsiteY196" fmla="*/ 4105275 h 4410075"/>
                  <a:gd name="connsiteX197" fmla="*/ 3950494 w 8801100"/>
                  <a:gd name="connsiteY197" fmla="*/ 4176713 h 4410075"/>
                  <a:gd name="connsiteX198" fmla="*/ 4010025 w 8801100"/>
                  <a:gd name="connsiteY198" fmla="*/ 4160044 h 4410075"/>
                  <a:gd name="connsiteX199" fmla="*/ 4360068 w 8801100"/>
                  <a:gd name="connsiteY199" fmla="*/ 4333875 h 4410075"/>
                  <a:gd name="connsiteX200" fmla="*/ 4586288 w 8801100"/>
                  <a:gd name="connsiteY200" fmla="*/ 4305300 h 4410075"/>
                  <a:gd name="connsiteX201" fmla="*/ 4595813 w 8801100"/>
                  <a:gd name="connsiteY201" fmla="*/ 4383881 h 4410075"/>
                  <a:gd name="connsiteX202" fmla="*/ 4681538 w 8801100"/>
                  <a:gd name="connsiteY202" fmla="*/ 4379118 h 4410075"/>
                  <a:gd name="connsiteX203" fmla="*/ 4760119 w 8801100"/>
                  <a:gd name="connsiteY203" fmla="*/ 4410075 h 4410075"/>
                  <a:gd name="connsiteX204" fmla="*/ 4802981 w 8801100"/>
                  <a:gd name="connsiteY204" fmla="*/ 4350544 h 4410075"/>
                  <a:gd name="connsiteX205" fmla="*/ 5474494 w 8801100"/>
                  <a:gd name="connsiteY205" fmla="*/ 4031456 h 4410075"/>
                  <a:gd name="connsiteX206" fmla="*/ 5562600 w 8801100"/>
                  <a:gd name="connsiteY206" fmla="*/ 4060032 h 4410075"/>
                  <a:gd name="connsiteX207" fmla="*/ 5693569 w 8801100"/>
                  <a:gd name="connsiteY207" fmla="*/ 4031456 h 4410075"/>
                  <a:gd name="connsiteX208" fmla="*/ 5872162 w 8801100"/>
                  <a:gd name="connsiteY208" fmla="*/ 4048125 h 4410075"/>
                  <a:gd name="connsiteX209" fmla="*/ 5929313 w 8801100"/>
                  <a:gd name="connsiteY209" fmla="*/ 4021932 h 4410075"/>
                  <a:gd name="connsiteX210" fmla="*/ 6062662 w 8801100"/>
                  <a:gd name="connsiteY210" fmla="*/ 4019550 h 4410075"/>
                  <a:gd name="connsiteX211" fmla="*/ 6196012 w 8801100"/>
                  <a:gd name="connsiteY211" fmla="*/ 3921919 h 4410075"/>
                  <a:gd name="connsiteX212" fmla="*/ 6262687 w 8801100"/>
                  <a:gd name="connsiteY212" fmla="*/ 3914775 h 4410075"/>
                  <a:gd name="connsiteX213" fmla="*/ 6360319 w 8801100"/>
                  <a:gd name="connsiteY213" fmla="*/ 3840956 h 4410075"/>
                  <a:gd name="connsiteX214" fmla="*/ 6434138 w 8801100"/>
                  <a:gd name="connsiteY214" fmla="*/ 3771900 h 4410075"/>
                  <a:gd name="connsiteX215" fmla="*/ 6443663 w 8801100"/>
                  <a:gd name="connsiteY215" fmla="*/ 3709988 h 4410075"/>
                  <a:gd name="connsiteX216" fmla="*/ 6477000 w 8801100"/>
                  <a:gd name="connsiteY216" fmla="*/ 3640931 h 4410075"/>
                  <a:gd name="connsiteX217" fmla="*/ 6629400 w 8801100"/>
                  <a:gd name="connsiteY217" fmla="*/ 3533775 h 4410075"/>
                  <a:gd name="connsiteX218" fmla="*/ 6662738 w 8801100"/>
                  <a:gd name="connsiteY218" fmla="*/ 3538538 h 4410075"/>
                  <a:gd name="connsiteX219" fmla="*/ 6715125 w 8801100"/>
                  <a:gd name="connsiteY219" fmla="*/ 3459956 h 4410075"/>
                  <a:gd name="connsiteX220" fmla="*/ 6762750 w 8801100"/>
                  <a:gd name="connsiteY220" fmla="*/ 3421856 h 4410075"/>
                  <a:gd name="connsiteX221" fmla="*/ 6748463 w 8801100"/>
                  <a:gd name="connsiteY221" fmla="*/ 3352800 h 4410075"/>
                  <a:gd name="connsiteX222" fmla="*/ 6698456 w 8801100"/>
                  <a:gd name="connsiteY222" fmla="*/ 3321843 h 4410075"/>
                  <a:gd name="connsiteX223" fmla="*/ 6638925 w 8801100"/>
                  <a:gd name="connsiteY223" fmla="*/ 3267075 h 4410075"/>
                  <a:gd name="connsiteX224" fmla="*/ 6619875 w 8801100"/>
                  <a:gd name="connsiteY224" fmla="*/ 3209925 h 4410075"/>
                  <a:gd name="connsiteX225" fmla="*/ 6584156 w 8801100"/>
                  <a:gd name="connsiteY225" fmla="*/ 3176588 h 4410075"/>
                  <a:gd name="connsiteX226" fmla="*/ 6610350 w 8801100"/>
                  <a:gd name="connsiteY226" fmla="*/ 3124200 h 4410075"/>
                  <a:gd name="connsiteX227" fmla="*/ 6650831 w 8801100"/>
                  <a:gd name="connsiteY227" fmla="*/ 2945606 h 4410075"/>
                  <a:gd name="connsiteX228" fmla="*/ 6691313 w 8801100"/>
                  <a:gd name="connsiteY228" fmla="*/ 2878931 h 4410075"/>
                  <a:gd name="connsiteX229" fmla="*/ 6836569 w 8801100"/>
                  <a:gd name="connsiteY229" fmla="*/ 2862262 h 4410075"/>
                  <a:gd name="connsiteX230" fmla="*/ 6905625 w 8801100"/>
                  <a:gd name="connsiteY230" fmla="*/ 2919413 h 4410075"/>
                  <a:gd name="connsiteX231" fmla="*/ 6981825 w 8801100"/>
                  <a:gd name="connsiteY231" fmla="*/ 2943225 h 4410075"/>
                  <a:gd name="connsiteX232" fmla="*/ 7186612 w 8801100"/>
                  <a:gd name="connsiteY232" fmla="*/ 2947988 h 4410075"/>
                  <a:gd name="connsiteX233" fmla="*/ 7362825 w 8801100"/>
                  <a:gd name="connsiteY233" fmla="*/ 2809875 h 4410075"/>
                  <a:gd name="connsiteX234" fmla="*/ 7419975 w 8801100"/>
                  <a:gd name="connsiteY234" fmla="*/ 2719387 h 4410075"/>
                  <a:gd name="connsiteX235" fmla="*/ 7446169 w 8801100"/>
                  <a:gd name="connsiteY235" fmla="*/ 2636044 h 4410075"/>
                  <a:gd name="connsiteX236" fmla="*/ 7577137 w 8801100"/>
                  <a:gd name="connsiteY236" fmla="*/ 2636044 h 4410075"/>
                  <a:gd name="connsiteX237" fmla="*/ 7750969 w 8801100"/>
                  <a:gd name="connsiteY237" fmla="*/ 2578893 h 4410075"/>
                  <a:gd name="connsiteX238" fmla="*/ 7810500 w 8801100"/>
                  <a:gd name="connsiteY238" fmla="*/ 2466975 h 4410075"/>
                  <a:gd name="connsiteX239" fmla="*/ 7874794 w 8801100"/>
                  <a:gd name="connsiteY239" fmla="*/ 2431256 h 4410075"/>
                  <a:gd name="connsiteX240" fmla="*/ 7853363 w 8801100"/>
                  <a:gd name="connsiteY240" fmla="*/ 2386013 h 4410075"/>
                  <a:gd name="connsiteX241" fmla="*/ 7931944 w 8801100"/>
                  <a:gd name="connsiteY241" fmla="*/ 2216943 h 4410075"/>
                  <a:gd name="connsiteX242" fmla="*/ 7986713 w 8801100"/>
                  <a:gd name="connsiteY242" fmla="*/ 2157413 h 4410075"/>
                  <a:gd name="connsiteX243" fmla="*/ 8024813 w 8801100"/>
                  <a:gd name="connsiteY243" fmla="*/ 2152650 h 4410075"/>
                  <a:gd name="connsiteX244" fmla="*/ 8070056 w 8801100"/>
                  <a:gd name="connsiteY244" fmla="*/ 2157413 h 4410075"/>
                  <a:gd name="connsiteX245" fmla="*/ 8134350 w 8801100"/>
                  <a:gd name="connsiteY245" fmla="*/ 2124075 h 4410075"/>
                  <a:gd name="connsiteX246" fmla="*/ 8143875 w 8801100"/>
                  <a:gd name="connsiteY246" fmla="*/ 2059781 h 4410075"/>
                  <a:gd name="connsiteX247" fmla="*/ 8184355 w 8801100"/>
                  <a:gd name="connsiteY247" fmla="*/ 2024063 h 4410075"/>
                  <a:gd name="connsiteX248" fmla="*/ 8243888 w 8801100"/>
                  <a:gd name="connsiteY248" fmla="*/ 2064543 h 4410075"/>
                  <a:gd name="connsiteX249" fmla="*/ 8270082 w 8801100"/>
                  <a:gd name="connsiteY249" fmla="*/ 2014537 h 4410075"/>
                  <a:gd name="connsiteX250" fmla="*/ 8365331 w 8801100"/>
                  <a:gd name="connsiteY250" fmla="*/ 1945481 h 4410075"/>
                  <a:gd name="connsiteX251" fmla="*/ 8427244 w 8801100"/>
                  <a:gd name="connsiteY251" fmla="*/ 1952625 h 4410075"/>
                  <a:gd name="connsiteX252" fmla="*/ 8477250 w 8801100"/>
                  <a:gd name="connsiteY252" fmla="*/ 1933575 h 4410075"/>
                  <a:gd name="connsiteX253" fmla="*/ 8515350 w 8801100"/>
                  <a:gd name="connsiteY253" fmla="*/ 1905000 h 4410075"/>
                  <a:gd name="connsiteX254" fmla="*/ 8548688 w 8801100"/>
                  <a:gd name="connsiteY254" fmla="*/ 1902619 h 4410075"/>
                  <a:gd name="connsiteX255" fmla="*/ 8584406 w 8801100"/>
                  <a:gd name="connsiteY255" fmla="*/ 1933575 h 4410075"/>
                  <a:gd name="connsiteX256" fmla="*/ 8643938 w 8801100"/>
                  <a:gd name="connsiteY256" fmla="*/ 1933575 h 4410075"/>
                  <a:gd name="connsiteX257" fmla="*/ 8682037 w 8801100"/>
                  <a:gd name="connsiteY257" fmla="*/ 1914525 h 4410075"/>
                  <a:gd name="connsiteX258" fmla="*/ 8765381 w 8801100"/>
                  <a:gd name="connsiteY258" fmla="*/ 1916907 h 4410075"/>
                  <a:gd name="connsiteX259" fmla="*/ 8796338 w 8801100"/>
                  <a:gd name="connsiteY259" fmla="*/ 1871663 h 4410075"/>
                  <a:gd name="connsiteX260" fmla="*/ 8801100 w 8801100"/>
                  <a:gd name="connsiteY260" fmla="*/ 1809750 h 4410075"/>
                  <a:gd name="connsiteX261" fmla="*/ 8751093 w 8801100"/>
                  <a:gd name="connsiteY261" fmla="*/ 1769269 h 4410075"/>
                  <a:gd name="connsiteX262" fmla="*/ 8734425 w 8801100"/>
                  <a:gd name="connsiteY262" fmla="*/ 1714500 h 4410075"/>
                  <a:gd name="connsiteX263" fmla="*/ 8643938 w 8801100"/>
                  <a:gd name="connsiteY263" fmla="*/ 1652588 h 4410075"/>
                  <a:gd name="connsiteX264" fmla="*/ 8603456 w 8801100"/>
                  <a:gd name="connsiteY264" fmla="*/ 1631156 h 4410075"/>
                  <a:gd name="connsiteX265" fmla="*/ 8565356 w 8801100"/>
                  <a:gd name="connsiteY265" fmla="*/ 1585913 h 4410075"/>
                  <a:gd name="connsiteX266" fmla="*/ 8534400 w 8801100"/>
                  <a:gd name="connsiteY266" fmla="*/ 1583531 h 4410075"/>
                  <a:gd name="connsiteX267" fmla="*/ 8517731 w 8801100"/>
                  <a:gd name="connsiteY267" fmla="*/ 1531144 h 4410075"/>
                  <a:gd name="connsiteX268" fmla="*/ 8477250 w 8801100"/>
                  <a:gd name="connsiteY268" fmla="*/ 1514475 h 4410075"/>
                  <a:gd name="connsiteX269" fmla="*/ 8477250 w 8801100"/>
                  <a:gd name="connsiteY269" fmla="*/ 1514475 h 4410075"/>
                  <a:gd name="connsiteX270" fmla="*/ 8436769 w 8801100"/>
                  <a:gd name="connsiteY270" fmla="*/ 1519238 h 4410075"/>
                  <a:gd name="connsiteX271" fmla="*/ 8351043 w 8801100"/>
                  <a:gd name="connsiteY271" fmla="*/ 1445419 h 4410075"/>
                  <a:gd name="connsiteX272" fmla="*/ 8170069 w 8801100"/>
                  <a:gd name="connsiteY272" fmla="*/ 1445418 h 4410075"/>
                  <a:gd name="connsiteX273" fmla="*/ 8117681 w 8801100"/>
                  <a:gd name="connsiteY273" fmla="*/ 1483519 h 4410075"/>
                  <a:gd name="connsiteX274" fmla="*/ 8067675 w 8801100"/>
                  <a:gd name="connsiteY274" fmla="*/ 1562100 h 4410075"/>
                  <a:gd name="connsiteX275" fmla="*/ 8084344 w 8801100"/>
                  <a:gd name="connsiteY275" fmla="*/ 1583531 h 4410075"/>
                  <a:gd name="connsiteX276" fmla="*/ 8039100 w 8801100"/>
                  <a:gd name="connsiteY276" fmla="*/ 1633537 h 4410075"/>
                  <a:gd name="connsiteX277" fmla="*/ 7889081 w 8801100"/>
                  <a:gd name="connsiteY277" fmla="*/ 1557337 h 4410075"/>
                  <a:gd name="connsiteX278" fmla="*/ 7798594 w 8801100"/>
                  <a:gd name="connsiteY278" fmla="*/ 1593056 h 4410075"/>
                  <a:gd name="connsiteX279" fmla="*/ 7724775 w 8801100"/>
                  <a:gd name="connsiteY279" fmla="*/ 1590675 h 4410075"/>
                  <a:gd name="connsiteX280" fmla="*/ 7667625 w 8801100"/>
                  <a:gd name="connsiteY280" fmla="*/ 1685925 h 4410075"/>
                  <a:gd name="connsiteX281" fmla="*/ 7529513 w 8801100"/>
                  <a:gd name="connsiteY281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69094 w 8801100"/>
                  <a:gd name="connsiteY148" fmla="*/ 1190625 h 4410075"/>
                  <a:gd name="connsiteX149" fmla="*/ 600075 w 8801100"/>
                  <a:gd name="connsiteY149" fmla="*/ 1385887 h 4410075"/>
                  <a:gd name="connsiteX150" fmla="*/ 614363 w 8801100"/>
                  <a:gd name="connsiteY150" fmla="*/ 1435893 h 4410075"/>
                  <a:gd name="connsiteX151" fmla="*/ 657225 w 8801100"/>
                  <a:gd name="connsiteY151" fmla="*/ 1471613 h 4410075"/>
                  <a:gd name="connsiteX152" fmla="*/ 697706 w 8801100"/>
                  <a:gd name="connsiteY152" fmla="*/ 1459706 h 4410075"/>
                  <a:gd name="connsiteX153" fmla="*/ 716756 w 8801100"/>
                  <a:gd name="connsiteY153" fmla="*/ 1516856 h 4410075"/>
                  <a:gd name="connsiteX154" fmla="*/ 764381 w 8801100"/>
                  <a:gd name="connsiteY154" fmla="*/ 1559719 h 4410075"/>
                  <a:gd name="connsiteX155" fmla="*/ 788194 w 8801100"/>
                  <a:gd name="connsiteY155" fmla="*/ 1662113 h 4410075"/>
                  <a:gd name="connsiteX156" fmla="*/ 785813 w 8801100"/>
                  <a:gd name="connsiteY156" fmla="*/ 1709738 h 4410075"/>
                  <a:gd name="connsiteX157" fmla="*/ 821531 w 8801100"/>
                  <a:gd name="connsiteY157" fmla="*/ 1809750 h 4410075"/>
                  <a:gd name="connsiteX158" fmla="*/ 866775 w 8801100"/>
                  <a:gd name="connsiteY158" fmla="*/ 1866900 h 4410075"/>
                  <a:gd name="connsiteX159" fmla="*/ 883443 w 8801100"/>
                  <a:gd name="connsiteY159" fmla="*/ 2024062 h 4410075"/>
                  <a:gd name="connsiteX160" fmla="*/ 850106 w 8801100"/>
                  <a:gd name="connsiteY160" fmla="*/ 2085975 h 4410075"/>
                  <a:gd name="connsiteX161" fmla="*/ 819150 w 8801100"/>
                  <a:gd name="connsiteY161" fmla="*/ 2162175 h 4410075"/>
                  <a:gd name="connsiteX162" fmla="*/ 833438 w 8801100"/>
                  <a:gd name="connsiteY162" fmla="*/ 2219325 h 4410075"/>
                  <a:gd name="connsiteX163" fmla="*/ 735806 w 8801100"/>
                  <a:gd name="connsiteY163" fmla="*/ 2326482 h 4410075"/>
                  <a:gd name="connsiteX164" fmla="*/ 692944 w 8801100"/>
                  <a:gd name="connsiteY164" fmla="*/ 2440781 h 4410075"/>
                  <a:gd name="connsiteX165" fmla="*/ 726281 w 8801100"/>
                  <a:gd name="connsiteY165" fmla="*/ 2481263 h 4410075"/>
                  <a:gd name="connsiteX166" fmla="*/ 709613 w 8801100"/>
                  <a:gd name="connsiteY166" fmla="*/ 2509838 h 4410075"/>
                  <a:gd name="connsiteX167" fmla="*/ 740569 w 8801100"/>
                  <a:gd name="connsiteY167" fmla="*/ 2566988 h 4410075"/>
                  <a:gd name="connsiteX168" fmla="*/ 769144 w 8801100"/>
                  <a:gd name="connsiteY168" fmla="*/ 2566988 h 4410075"/>
                  <a:gd name="connsiteX169" fmla="*/ 931069 w 8801100"/>
                  <a:gd name="connsiteY169" fmla="*/ 2669381 h 4410075"/>
                  <a:gd name="connsiteX170" fmla="*/ 1035844 w 8801100"/>
                  <a:gd name="connsiteY170" fmla="*/ 2667000 h 4410075"/>
                  <a:gd name="connsiteX171" fmla="*/ 1114425 w 8801100"/>
                  <a:gd name="connsiteY171" fmla="*/ 2721769 h 4410075"/>
                  <a:gd name="connsiteX172" fmla="*/ 1245393 w 8801100"/>
                  <a:gd name="connsiteY172" fmla="*/ 2724150 h 4410075"/>
                  <a:gd name="connsiteX173" fmla="*/ 1435893 w 8801100"/>
                  <a:gd name="connsiteY173" fmla="*/ 2793206 h 4410075"/>
                  <a:gd name="connsiteX174" fmla="*/ 1638300 w 8801100"/>
                  <a:gd name="connsiteY174" fmla="*/ 2943225 h 4410075"/>
                  <a:gd name="connsiteX175" fmla="*/ 1671637 w 8801100"/>
                  <a:gd name="connsiteY175" fmla="*/ 3009900 h 4410075"/>
                  <a:gd name="connsiteX176" fmla="*/ 1838325 w 8801100"/>
                  <a:gd name="connsiteY176" fmla="*/ 3136106 h 4410075"/>
                  <a:gd name="connsiteX177" fmla="*/ 1909763 w 8801100"/>
                  <a:gd name="connsiteY177" fmla="*/ 3131344 h 4410075"/>
                  <a:gd name="connsiteX178" fmla="*/ 1945482 w 8801100"/>
                  <a:gd name="connsiteY178" fmla="*/ 3155156 h 4410075"/>
                  <a:gd name="connsiteX179" fmla="*/ 1916906 w 8801100"/>
                  <a:gd name="connsiteY179" fmla="*/ 3195638 h 4410075"/>
                  <a:gd name="connsiteX180" fmla="*/ 1924050 w 8801100"/>
                  <a:gd name="connsiteY180" fmla="*/ 3248025 h 4410075"/>
                  <a:gd name="connsiteX181" fmla="*/ 1976438 w 8801100"/>
                  <a:gd name="connsiteY181" fmla="*/ 3274219 h 4410075"/>
                  <a:gd name="connsiteX182" fmla="*/ 2038350 w 8801100"/>
                  <a:gd name="connsiteY182" fmla="*/ 3498057 h 4410075"/>
                  <a:gd name="connsiteX183" fmla="*/ 2028825 w 8801100"/>
                  <a:gd name="connsiteY183" fmla="*/ 3562350 h 4410075"/>
                  <a:gd name="connsiteX184" fmla="*/ 2164556 w 8801100"/>
                  <a:gd name="connsiteY184" fmla="*/ 3729038 h 4410075"/>
                  <a:gd name="connsiteX185" fmla="*/ 2183606 w 8801100"/>
                  <a:gd name="connsiteY185" fmla="*/ 3779044 h 4410075"/>
                  <a:gd name="connsiteX186" fmla="*/ 2157413 w 8801100"/>
                  <a:gd name="connsiteY186" fmla="*/ 3798094 h 4410075"/>
                  <a:gd name="connsiteX187" fmla="*/ 2259806 w 8801100"/>
                  <a:gd name="connsiteY187" fmla="*/ 3807619 h 4410075"/>
                  <a:gd name="connsiteX188" fmla="*/ 2371725 w 8801100"/>
                  <a:gd name="connsiteY188" fmla="*/ 3795713 h 4410075"/>
                  <a:gd name="connsiteX189" fmla="*/ 2650331 w 8801100"/>
                  <a:gd name="connsiteY189" fmla="*/ 3879056 h 4410075"/>
                  <a:gd name="connsiteX190" fmla="*/ 3057525 w 8801100"/>
                  <a:gd name="connsiteY190" fmla="*/ 3960019 h 4410075"/>
                  <a:gd name="connsiteX191" fmla="*/ 3255169 w 8801100"/>
                  <a:gd name="connsiteY191" fmla="*/ 3929062 h 4410075"/>
                  <a:gd name="connsiteX192" fmla="*/ 3300413 w 8801100"/>
                  <a:gd name="connsiteY192" fmla="*/ 3940968 h 4410075"/>
                  <a:gd name="connsiteX193" fmla="*/ 3355181 w 8801100"/>
                  <a:gd name="connsiteY193" fmla="*/ 3917157 h 4410075"/>
                  <a:gd name="connsiteX194" fmla="*/ 3748087 w 8801100"/>
                  <a:gd name="connsiteY194" fmla="*/ 4007644 h 4410075"/>
                  <a:gd name="connsiteX195" fmla="*/ 3831432 w 8801100"/>
                  <a:gd name="connsiteY195" fmla="*/ 4105275 h 4410075"/>
                  <a:gd name="connsiteX196" fmla="*/ 3950494 w 8801100"/>
                  <a:gd name="connsiteY196" fmla="*/ 4176713 h 4410075"/>
                  <a:gd name="connsiteX197" fmla="*/ 4010025 w 8801100"/>
                  <a:gd name="connsiteY197" fmla="*/ 4160044 h 4410075"/>
                  <a:gd name="connsiteX198" fmla="*/ 4360068 w 8801100"/>
                  <a:gd name="connsiteY198" fmla="*/ 4333875 h 4410075"/>
                  <a:gd name="connsiteX199" fmla="*/ 4586288 w 8801100"/>
                  <a:gd name="connsiteY199" fmla="*/ 4305300 h 4410075"/>
                  <a:gd name="connsiteX200" fmla="*/ 4595813 w 8801100"/>
                  <a:gd name="connsiteY200" fmla="*/ 4383881 h 4410075"/>
                  <a:gd name="connsiteX201" fmla="*/ 4681538 w 8801100"/>
                  <a:gd name="connsiteY201" fmla="*/ 4379118 h 4410075"/>
                  <a:gd name="connsiteX202" fmla="*/ 4760119 w 8801100"/>
                  <a:gd name="connsiteY202" fmla="*/ 4410075 h 4410075"/>
                  <a:gd name="connsiteX203" fmla="*/ 4802981 w 8801100"/>
                  <a:gd name="connsiteY203" fmla="*/ 4350544 h 4410075"/>
                  <a:gd name="connsiteX204" fmla="*/ 5474494 w 8801100"/>
                  <a:gd name="connsiteY204" fmla="*/ 4031456 h 4410075"/>
                  <a:gd name="connsiteX205" fmla="*/ 5562600 w 8801100"/>
                  <a:gd name="connsiteY205" fmla="*/ 4060032 h 4410075"/>
                  <a:gd name="connsiteX206" fmla="*/ 5693569 w 8801100"/>
                  <a:gd name="connsiteY206" fmla="*/ 4031456 h 4410075"/>
                  <a:gd name="connsiteX207" fmla="*/ 5872162 w 8801100"/>
                  <a:gd name="connsiteY207" fmla="*/ 4048125 h 4410075"/>
                  <a:gd name="connsiteX208" fmla="*/ 5929313 w 8801100"/>
                  <a:gd name="connsiteY208" fmla="*/ 4021932 h 4410075"/>
                  <a:gd name="connsiteX209" fmla="*/ 6062662 w 8801100"/>
                  <a:gd name="connsiteY209" fmla="*/ 4019550 h 4410075"/>
                  <a:gd name="connsiteX210" fmla="*/ 6196012 w 8801100"/>
                  <a:gd name="connsiteY210" fmla="*/ 3921919 h 4410075"/>
                  <a:gd name="connsiteX211" fmla="*/ 6262687 w 8801100"/>
                  <a:gd name="connsiteY211" fmla="*/ 3914775 h 4410075"/>
                  <a:gd name="connsiteX212" fmla="*/ 6360319 w 8801100"/>
                  <a:gd name="connsiteY212" fmla="*/ 3840956 h 4410075"/>
                  <a:gd name="connsiteX213" fmla="*/ 6434138 w 8801100"/>
                  <a:gd name="connsiteY213" fmla="*/ 3771900 h 4410075"/>
                  <a:gd name="connsiteX214" fmla="*/ 6443663 w 8801100"/>
                  <a:gd name="connsiteY214" fmla="*/ 3709988 h 4410075"/>
                  <a:gd name="connsiteX215" fmla="*/ 6477000 w 8801100"/>
                  <a:gd name="connsiteY215" fmla="*/ 3640931 h 4410075"/>
                  <a:gd name="connsiteX216" fmla="*/ 6629400 w 8801100"/>
                  <a:gd name="connsiteY216" fmla="*/ 3533775 h 4410075"/>
                  <a:gd name="connsiteX217" fmla="*/ 6662738 w 8801100"/>
                  <a:gd name="connsiteY217" fmla="*/ 3538538 h 4410075"/>
                  <a:gd name="connsiteX218" fmla="*/ 6715125 w 8801100"/>
                  <a:gd name="connsiteY218" fmla="*/ 3459956 h 4410075"/>
                  <a:gd name="connsiteX219" fmla="*/ 6762750 w 8801100"/>
                  <a:gd name="connsiteY219" fmla="*/ 3421856 h 4410075"/>
                  <a:gd name="connsiteX220" fmla="*/ 6748463 w 8801100"/>
                  <a:gd name="connsiteY220" fmla="*/ 3352800 h 4410075"/>
                  <a:gd name="connsiteX221" fmla="*/ 6698456 w 8801100"/>
                  <a:gd name="connsiteY221" fmla="*/ 3321843 h 4410075"/>
                  <a:gd name="connsiteX222" fmla="*/ 6638925 w 8801100"/>
                  <a:gd name="connsiteY222" fmla="*/ 3267075 h 4410075"/>
                  <a:gd name="connsiteX223" fmla="*/ 6619875 w 8801100"/>
                  <a:gd name="connsiteY223" fmla="*/ 3209925 h 4410075"/>
                  <a:gd name="connsiteX224" fmla="*/ 6584156 w 8801100"/>
                  <a:gd name="connsiteY224" fmla="*/ 3176588 h 4410075"/>
                  <a:gd name="connsiteX225" fmla="*/ 6610350 w 8801100"/>
                  <a:gd name="connsiteY225" fmla="*/ 3124200 h 4410075"/>
                  <a:gd name="connsiteX226" fmla="*/ 6650831 w 8801100"/>
                  <a:gd name="connsiteY226" fmla="*/ 2945606 h 4410075"/>
                  <a:gd name="connsiteX227" fmla="*/ 6691313 w 8801100"/>
                  <a:gd name="connsiteY227" fmla="*/ 2878931 h 4410075"/>
                  <a:gd name="connsiteX228" fmla="*/ 6836569 w 8801100"/>
                  <a:gd name="connsiteY228" fmla="*/ 2862262 h 4410075"/>
                  <a:gd name="connsiteX229" fmla="*/ 6905625 w 8801100"/>
                  <a:gd name="connsiteY229" fmla="*/ 2919413 h 4410075"/>
                  <a:gd name="connsiteX230" fmla="*/ 6981825 w 8801100"/>
                  <a:gd name="connsiteY230" fmla="*/ 2943225 h 4410075"/>
                  <a:gd name="connsiteX231" fmla="*/ 7186612 w 8801100"/>
                  <a:gd name="connsiteY231" fmla="*/ 2947988 h 4410075"/>
                  <a:gd name="connsiteX232" fmla="*/ 7362825 w 8801100"/>
                  <a:gd name="connsiteY232" fmla="*/ 2809875 h 4410075"/>
                  <a:gd name="connsiteX233" fmla="*/ 7419975 w 8801100"/>
                  <a:gd name="connsiteY233" fmla="*/ 2719387 h 4410075"/>
                  <a:gd name="connsiteX234" fmla="*/ 7446169 w 8801100"/>
                  <a:gd name="connsiteY234" fmla="*/ 2636044 h 4410075"/>
                  <a:gd name="connsiteX235" fmla="*/ 7577137 w 8801100"/>
                  <a:gd name="connsiteY235" fmla="*/ 2636044 h 4410075"/>
                  <a:gd name="connsiteX236" fmla="*/ 7750969 w 8801100"/>
                  <a:gd name="connsiteY236" fmla="*/ 2578893 h 4410075"/>
                  <a:gd name="connsiteX237" fmla="*/ 7810500 w 8801100"/>
                  <a:gd name="connsiteY237" fmla="*/ 2466975 h 4410075"/>
                  <a:gd name="connsiteX238" fmla="*/ 7874794 w 8801100"/>
                  <a:gd name="connsiteY238" fmla="*/ 2431256 h 4410075"/>
                  <a:gd name="connsiteX239" fmla="*/ 7853363 w 8801100"/>
                  <a:gd name="connsiteY239" fmla="*/ 2386013 h 4410075"/>
                  <a:gd name="connsiteX240" fmla="*/ 7931944 w 8801100"/>
                  <a:gd name="connsiteY240" fmla="*/ 2216943 h 4410075"/>
                  <a:gd name="connsiteX241" fmla="*/ 7986713 w 8801100"/>
                  <a:gd name="connsiteY241" fmla="*/ 2157413 h 4410075"/>
                  <a:gd name="connsiteX242" fmla="*/ 8024813 w 8801100"/>
                  <a:gd name="connsiteY242" fmla="*/ 2152650 h 4410075"/>
                  <a:gd name="connsiteX243" fmla="*/ 8070056 w 8801100"/>
                  <a:gd name="connsiteY243" fmla="*/ 2157413 h 4410075"/>
                  <a:gd name="connsiteX244" fmla="*/ 8134350 w 8801100"/>
                  <a:gd name="connsiteY244" fmla="*/ 2124075 h 4410075"/>
                  <a:gd name="connsiteX245" fmla="*/ 8143875 w 8801100"/>
                  <a:gd name="connsiteY245" fmla="*/ 2059781 h 4410075"/>
                  <a:gd name="connsiteX246" fmla="*/ 8184355 w 8801100"/>
                  <a:gd name="connsiteY246" fmla="*/ 2024063 h 4410075"/>
                  <a:gd name="connsiteX247" fmla="*/ 8243888 w 8801100"/>
                  <a:gd name="connsiteY247" fmla="*/ 2064543 h 4410075"/>
                  <a:gd name="connsiteX248" fmla="*/ 8270082 w 8801100"/>
                  <a:gd name="connsiteY248" fmla="*/ 2014537 h 4410075"/>
                  <a:gd name="connsiteX249" fmla="*/ 8365331 w 8801100"/>
                  <a:gd name="connsiteY249" fmla="*/ 1945481 h 4410075"/>
                  <a:gd name="connsiteX250" fmla="*/ 8427244 w 8801100"/>
                  <a:gd name="connsiteY250" fmla="*/ 1952625 h 4410075"/>
                  <a:gd name="connsiteX251" fmla="*/ 8477250 w 8801100"/>
                  <a:gd name="connsiteY251" fmla="*/ 1933575 h 4410075"/>
                  <a:gd name="connsiteX252" fmla="*/ 8515350 w 8801100"/>
                  <a:gd name="connsiteY252" fmla="*/ 1905000 h 4410075"/>
                  <a:gd name="connsiteX253" fmla="*/ 8548688 w 8801100"/>
                  <a:gd name="connsiteY253" fmla="*/ 1902619 h 4410075"/>
                  <a:gd name="connsiteX254" fmla="*/ 8584406 w 8801100"/>
                  <a:gd name="connsiteY254" fmla="*/ 1933575 h 4410075"/>
                  <a:gd name="connsiteX255" fmla="*/ 8643938 w 8801100"/>
                  <a:gd name="connsiteY255" fmla="*/ 1933575 h 4410075"/>
                  <a:gd name="connsiteX256" fmla="*/ 8682037 w 8801100"/>
                  <a:gd name="connsiteY256" fmla="*/ 1914525 h 4410075"/>
                  <a:gd name="connsiteX257" fmla="*/ 8765381 w 8801100"/>
                  <a:gd name="connsiteY257" fmla="*/ 1916907 h 4410075"/>
                  <a:gd name="connsiteX258" fmla="*/ 8796338 w 8801100"/>
                  <a:gd name="connsiteY258" fmla="*/ 1871663 h 4410075"/>
                  <a:gd name="connsiteX259" fmla="*/ 8801100 w 8801100"/>
                  <a:gd name="connsiteY259" fmla="*/ 1809750 h 4410075"/>
                  <a:gd name="connsiteX260" fmla="*/ 8751093 w 8801100"/>
                  <a:gd name="connsiteY260" fmla="*/ 1769269 h 4410075"/>
                  <a:gd name="connsiteX261" fmla="*/ 8734425 w 8801100"/>
                  <a:gd name="connsiteY261" fmla="*/ 1714500 h 4410075"/>
                  <a:gd name="connsiteX262" fmla="*/ 8643938 w 8801100"/>
                  <a:gd name="connsiteY262" fmla="*/ 1652588 h 4410075"/>
                  <a:gd name="connsiteX263" fmla="*/ 8603456 w 8801100"/>
                  <a:gd name="connsiteY263" fmla="*/ 1631156 h 4410075"/>
                  <a:gd name="connsiteX264" fmla="*/ 8565356 w 8801100"/>
                  <a:gd name="connsiteY264" fmla="*/ 1585913 h 4410075"/>
                  <a:gd name="connsiteX265" fmla="*/ 8534400 w 8801100"/>
                  <a:gd name="connsiteY265" fmla="*/ 1583531 h 4410075"/>
                  <a:gd name="connsiteX266" fmla="*/ 8517731 w 8801100"/>
                  <a:gd name="connsiteY266" fmla="*/ 1531144 h 4410075"/>
                  <a:gd name="connsiteX267" fmla="*/ 8477250 w 8801100"/>
                  <a:gd name="connsiteY267" fmla="*/ 1514475 h 4410075"/>
                  <a:gd name="connsiteX268" fmla="*/ 8477250 w 8801100"/>
                  <a:gd name="connsiteY268" fmla="*/ 1514475 h 4410075"/>
                  <a:gd name="connsiteX269" fmla="*/ 8436769 w 8801100"/>
                  <a:gd name="connsiteY269" fmla="*/ 1519238 h 4410075"/>
                  <a:gd name="connsiteX270" fmla="*/ 8351043 w 8801100"/>
                  <a:gd name="connsiteY270" fmla="*/ 1445419 h 4410075"/>
                  <a:gd name="connsiteX271" fmla="*/ 8170069 w 8801100"/>
                  <a:gd name="connsiteY271" fmla="*/ 1445418 h 4410075"/>
                  <a:gd name="connsiteX272" fmla="*/ 8117681 w 8801100"/>
                  <a:gd name="connsiteY272" fmla="*/ 1483519 h 4410075"/>
                  <a:gd name="connsiteX273" fmla="*/ 8067675 w 8801100"/>
                  <a:gd name="connsiteY273" fmla="*/ 1562100 h 4410075"/>
                  <a:gd name="connsiteX274" fmla="*/ 8084344 w 8801100"/>
                  <a:gd name="connsiteY274" fmla="*/ 1583531 h 4410075"/>
                  <a:gd name="connsiteX275" fmla="*/ 8039100 w 8801100"/>
                  <a:gd name="connsiteY275" fmla="*/ 1633537 h 4410075"/>
                  <a:gd name="connsiteX276" fmla="*/ 7889081 w 8801100"/>
                  <a:gd name="connsiteY276" fmla="*/ 1557337 h 4410075"/>
                  <a:gd name="connsiteX277" fmla="*/ 7798594 w 8801100"/>
                  <a:gd name="connsiteY277" fmla="*/ 1593056 h 4410075"/>
                  <a:gd name="connsiteX278" fmla="*/ 7724775 w 8801100"/>
                  <a:gd name="connsiteY278" fmla="*/ 1590675 h 4410075"/>
                  <a:gd name="connsiteX279" fmla="*/ 7667625 w 8801100"/>
                  <a:gd name="connsiteY279" fmla="*/ 1685925 h 4410075"/>
                  <a:gd name="connsiteX280" fmla="*/ 7529513 w 8801100"/>
                  <a:gd name="connsiteY280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69094 w 8801100"/>
                  <a:gd name="connsiteY148" fmla="*/ 1190625 h 4410075"/>
                  <a:gd name="connsiteX149" fmla="*/ 614363 w 8801100"/>
                  <a:gd name="connsiteY149" fmla="*/ 1435893 h 4410075"/>
                  <a:gd name="connsiteX150" fmla="*/ 657225 w 8801100"/>
                  <a:gd name="connsiteY150" fmla="*/ 1471613 h 4410075"/>
                  <a:gd name="connsiteX151" fmla="*/ 697706 w 8801100"/>
                  <a:gd name="connsiteY151" fmla="*/ 1459706 h 4410075"/>
                  <a:gd name="connsiteX152" fmla="*/ 716756 w 8801100"/>
                  <a:gd name="connsiteY152" fmla="*/ 1516856 h 4410075"/>
                  <a:gd name="connsiteX153" fmla="*/ 764381 w 8801100"/>
                  <a:gd name="connsiteY153" fmla="*/ 1559719 h 4410075"/>
                  <a:gd name="connsiteX154" fmla="*/ 788194 w 8801100"/>
                  <a:gd name="connsiteY154" fmla="*/ 1662113 h 4410075"/>
                  <a:gd name="connsiteX155" fmla="*/ 785813 w 8801100"/>
                  <a:gd name="connsiteY155" fmla="*/ 1709738 h 4410075"/>
                  <a:gd name="connsiteX156" fmla="*/ 821531 w 8801100"/>
                  <a:gd name="connsiteY156" fmla="*/ 1809750 h 4410075"/>
                  <a:gd name="connsiteX157" fmla="*/ 866775 w 8801100"/>
                  <a:gd name="connsiteY157" fmla="*/ 1866900 h 4410075"/>
                  <a:gd name="connsiteX158" fmla="*/ 883443 w 8801100"/>
                  <a:gd name="connsiteY158" fmla="*/ 2024062 h 4410075"/>
                  <a:gd name="connsiteX159" fmla="*/ 850106 w 8801100"/>
                  <a:gd name="connsiteY159" fmla="*/ 2085975 h 4410075"/>
                  <a:gd name="connsiteX160" fmla="*/ 819150 w 8801100"/>
                  <a:gd name="connsiteY160" fmla="*/ 2162175 h 4410075"/>
                  <a:gd name="connsiteX161" fmla="*/ 833438 w 8801100"/>
                  <a:gd name="connsiteY161" fmla="*/ 2219325 h 4410075"/>
                  <a:gd name="connsiteX162" fmla="*/ 735806 w 8801100"/>
                  <a:gd name="connsiteY162" fmla="*/ 2326482 h 4410075"/>
                  <a:gd name="connsiteX163" fmla="*/ 692944 w 8801100"/>
                  <a:gd name="connsiteY163" fmla="*/ 2440781 h 4410075"/>
                  <a:gd name="connsiteX164" fmla="*/ 726281 w 8801100"/>
                  <a:gd name="connsiteY164" fmla="*/ 2481263 h 4410075"/>
                  <a:gd name="connsiteX165" fmla="*/ 709613 w 8801100"/>
                  <a:gd name="connsiteY165" fmla="*/ 2509838 h 4410075"/>
                  <a:gd name="connsiteX166" fmla="*/ 740569 w 8801100"/>
                  <a:gd name="connsiteY166" fmla="*/ 2566988 h 4410075"/>
                  <a:gd name="connsiteX167" fmla="*/ 769144 w 8801100"/>
                  <a:gd name="connsiteY167" fmla="*/ 2566988 h 4410075"/>
                  <a:gd name="connsiteX168" fmla="*/ 931069 w 8801100"/>
                  <a:gd name="connsiteY168" fmla="*/ 2669381 h 4410075"/>
                  <a:gd name="connsiteX169" fmla="*/ 1035844 w 8801100"/>
                  <a:gd name="connsiteY169" fmla="*/ 2667000 h 4410075"/>
                  <a:gd name="connsiteX170" fmla="*/ 1114425 w 8801100"/>
                  <a:gd name="connsiteY170" fmla="*/ 2721769 h 4410075"/>
                  <a:gd name="connsiteX171" fmla="*/ 1245393 w 8801100"/>
                  <a:gd name="connsiteY171" fmla="*/ 2724150 h 4410075"/>
                  <a:gd name="connsiteX172" fmla="*/ 1435893 w 8801100"/>
                  <a:gd name="connsiteY172" fmla="*/ 2793206 h 4410075"/>
                  <a:gd name="connsiteX173" fmla="*/ 1638300 w 8801100"/>
                  <a:gd name="connsiteY173" fmla="*/ 2943225 h 4410075"/>
                  <a:gd name="connsiteX174" fmla="*/ 1671637 w 8801100"/>
                  <a:gd name="connsiteY174" fmla="*/ 3009900 h 4410075"/>
                  <a:gd name="connsiteX175" fmla="*/ 1838325 w 8801100"/>
                  <a:gd name="connsiteY175" fmla="*/ 3136106 h 4410075"/>
                  <a:gd name="connsiteX176" fmla="*/ 1909763 w 8801100"/>
                  <a:gd name="connsiteY176" fmla="*/ 3131344 h 4410075"/>
                  <a:gd name="connsiteX177" fmla="*/ 1945482 w 8801100"/>
                  <a:gd name="connsiteY177" fmla="*/ 3155156 h 4410075"/>
                  <a:gd name="connsiteX178" fmla="*/ 1916906 w 8801100"/>
                  <a:gd name="connsiteY178" fmla="*/ 3195638 h 4410075"/>
                  <a:gd name="connsiteX179" fmla="*/ 1924050 w 8801100"/>
                  <a:gd name="connsiteY179" fmla="*/ 3248025 h 4410075"/>
                  <a:gd name="connsiteX180" fmla="*/ 1976438 w 8801100"/>
                  <a:gd name="connsiteY180" fmla="*/ 3274219 h 4410075"/>
                  <a:gd name="connsiteX181" fmla="*/ 2038350 w 8801100"/>
                  <a:gd name="connsiteY181" fmla="*/ 3498057 h 4410075"/>
                  <a:gd name="connsiteX182" fmla="*/ 2028825 w 8801100"/>
                  <a:gd name="connsiteY182" fmla="*/ 3562350 h 4410075"/>
                  <a:gd name="connsiteX183" fmla="*/ 2164556 w 8801100"/>
                  <a:gd name="connsiteY183" fmla="*/ 3729038 h 4410075"/>
                  <a:gd name="connsiteX184" fmla="*/ 2183606 w 8801100"/>
                  <a:gd name="connsiteY184" fmla="*/ 3779044 h 4410075"/>
                  <a:gd name="connsiteX185" fmla="*/ 2157413 w 8801100"/>
                  <a:gd name="connsiteY185" fmla="*/ 3798094 h 4410075"/>
                  <a:gd name="connsiteX186" fmla="*/ 2259806 w 8801100"/>
                  <a:gd name="connsiteY186" fmla="*/ 3807619 h 4410075"/>
                  <a:gd name="connsiteX187" fmla="*/ 2371725 w 8801100"/>
                  <a:gd name="connsiteY187" fmla="*/ 3795713 h 4410075"/>
                  <a:gd name="connsiteX188" fmla="*/ 2650331 w 8801100"/>
                  <a:gd name="connsiteY188" fmla="*/ 3879056 h 4410075"/>
                  <a:gd name="connsiteX189" fmla="*/ 3057525 w 8801100"/>
                  <a:gd name="connsiteY189" fmla="*/ 3960019 h 4410075"/>
                  <a:gd name="connsiteX190" fmla="*/ 3255169 w 8801100"/>
                  <a:gd name="connsiteY190" fmla="*/ 3929062 h 4410075"/>
                  <a:gd name="connsiteX191" fmla="*/ 3300413 w 8801100"/>
                  <a:gd name="connsiteY191" fmla="*/ 3940968 h 4410075"/>
                  <a:gd name="connsiteX192" fmla="*/ 3355181 w 8801100"/>
                  <a:gd name="connsiteY192" fmla="*/ 3917157 h 4410075"/>
                  <a:gd name="connsiteX193" fmla="*/ 3748087 w 8801100"/>
                  <a:gd name="connsiteY193" fmla="*/ 4007644 h 4410075"/>
                  <a:gd name="connsiteX194" fmla="*/ 3831432 w 8801100"/>
                  <a:gd name="connsiteY194" fmla="*/ 4105275 h 4410075"/>
                  <a:gd name="connsiteX195" fmla="*/ 3950494 w 8801100"/>
                  <a:gd name="connsiteY195" fmla="*/ 4176713 h 4410075"/>
                  <a:gd name="connsiteX196" fmla="*/ 4010025 w 8801100"/>
                  <a:gd name="connsiteY196" fmla="*/ 4160044 h 4410075"/>
                  <a:gd name="connsiteX197" fmla="*/ 4360068 w 8801100"/>
                  <a:gd name="connsiteY197" fmla="*/ 4333875 h 4410075"/>
                  <a:gd name="connsiteX198" fmla="*/ 4586288 w 8801100"/>
                  <a:gd name="connsiteY198" fmla="*/ 4305300 h 4410075"/>
                  <a:gd name="connsiteX199" fmla="*/ 4595813 w 8801100"/>
                  <a:gd name="connsiteY199" fmla="*/ 4383881 h 4410075"/>
                  <a:gd name="connsiteX200" fmla="*/ 4681538 w 8801100"/>
                  <a:gd name="connsiteY200" fmla="*/ 4379118 h 4410075"/>
                  <a:gd name="connsiteX201" fmla="*/ 4760119 w 8801100"/>
                  <a:gd name="connsiteY201" fmla="*/ 4410075 h 4410075"/>
                  <a:gd name="connsiteX202" fmla="*/ 4802981 w 8801100"/>
                  <a:gd name="connsiteY202" fmla="*/ 4350544 h 4410075"/>
                  <a:gd name="connsiteX203" fmla="*/ 5474494 w 8801100"/>
                  <a:gd name="connsiteY203" fmla="*/ 4031456 h 4410075"/>
                  <a:gd name="connsiteX204" fmla="*/ 5562600 w 8801100"/>
                  <a:gd name="connsiteY204" fmla="*/ 4060032 h 4410075"/>
                  <a:gd name="connsiteX205" fmla="*/ 5693569 w 8801100"/>
                  <a:gd name="connsiteY205" fmla="*/ 4031456 h 4410075"/>
                  <a:gd name="connsiteX206" fmla="*/ 5872162 w 8801100"/>
                  <a:gd name="connsiteY206" fmla="*/ 4048125 h 4410075"/>
                  <a:gd name="connsiteX207" fmla="*/ 5929313 w 8801100"/>
                  <a:gd name="connsiteY207" fmla="*/ 4021932 h 4410075"/>
                  <a:gd name="connsiteX208" fmla="*/ 6062662 w 8801100"/>
                  <a:gd name="connsiteY208" fmla="*/ 4019550 h 4410075"/>
                  <a:gd name="connsiteX209" fmla="*/ 6196012 w 8801100"/>
                  <a:gd name="connsiteY209" fmla="*/ 3921919 h 4410075"/>
                  <a:gd name="connsiteX210" fmla="*/ 6262687 w 8801100"/>
                  <a:gd name="connsiteY210" fmla="*/ 3914775 h 4410075"/>
                  <a:gd name="connsiteX211" fmla="*/ 6360319 w 8801100"/>
                  <a:gd name="connsiteY211" fmla="*/ 3840956 h 4410075"/>
                  <a:gd name="connsiteX212" fmla="*/ 6434138 w 8801100"/>
                  <a:gd name="connsiteY212" fmla="*/ 3771900 h 4410075"/>
                  <a:gd name="connsiteX213" fmla="*/ 6443663 w 8801100"/>
                  <a:gd name="connsiteY213" fmla="*/ 3709988 h 4410075"/>
                  <a:gd name="connsiteX214" fmla="*/ 6477000 w 8801100"/>
                  <a:gd name="connsiteY214" fmla="*/ 3640931 h 4410075"/>
                  <a:gd name="connsiteX215" fmla="*/ 6629400 w 8801100"/>
                  <a:gd name="connsiteY215" fmla="*/ 3533775 h 4410075"/>
                  <a:gd name="connsiteX216" fmla="*/ 6662738 w 8801100"/>
                  <a:gd name="connsiteY216" fmla="*/ 3538538 h 4410075"/>
                  <a:gd name="connsiteX217" fmla="*/ 6715125 w 8801100"/>
                  <a:gd name="connsiteY217" fmla="*/ 3459956 h 4410075"/>
                  <a:gd name="connsiteX218" fmla="*/ 6762750 w 8801100"/>
                  <a:gd name="connsiteY218" fmla="*/ 3421856 h 4410075"/>
                  <a:gd name="connsiteX219" fmla="*/ 6748463 w 8801100"/>
                  <a:gd name="connsiteY219" fmla="*/ 3352800 h 4410075"/>
                  <a:gd name="connsiteX220" fmla="*/ 6698456 w 8801100"/>
                  <a:gd name="connsiteY220" fmla="*/ 3321843 h 4410075"/>
                  <a:gd name="connsiteX221" fmla="*/ 6638925 w 8801100"/>
                  <a:gd name="connsiteY221" fmla="*/ 3267075 h 4410075"/>
                  <a:gd name="connsiteX222" fmla="*/ 6619875 w 8801100"/>
                  <a:gd name="connsiteY222" fmla="*/ 3209925 h 4410075"/>
                  <a:gd name="connsiteX223" fmla="*/ 6584156 w 8801100"/>
                  <a:gd name="connsiteY223" fmla="*/ 3176588 h 4410075"/>
                  <a:gd name="connsiteX224" fmla="*/ 6610350 w 8801100"/>
                  <a:gd name="connsiteY224" fmla="*/ 3124200 h 4410075"/>
                  <a:gd name="connsiteX225" fmla="*/ 6650831 w 8801100"/>
                  <a:gd name="connsiteY225" fmla="*/ 2945606 h 4410075"/>
                  <a:gd name="connsiteX226" fmla="*/ 6691313 w 8801100"/>
                  <a:gd name="connsiteY226" fmla="*/ 2878931 h 4410075"/>
                  <a:gd name="connsiteX227" fmla="*/ 6836569 w 8801100"/>
                  <a:gd name="connsiteY227" fmla="*/ 2862262 h 4410075"/>
                  <a:gd name="connsiteX228" fmla="*/ 6905625 w 8801100"/>
                  <a:gd name="connsiteY228" fmla="*/ 2919413 h 4410075"/>
                  <a:gd name="connsiteX229" fmla="*/ 6981825 w 8801100"/>
                  <a:gd name="connsiteY229" fmla="*/ 2943225 h 4410075"/>
                  <a:gd name="connsiteX230" fmla="*/ 7186612 w 8801100"/>
                  <a:gd name="connsiteY230" fmla="*/ 2947988 h 4410075"/>
                  <a:gd name="connsiteX231" fmla="*/ 7362825 w 8801100"/>
                  <a:gd name="connsiteY231" fmla="*/ 2809875 h 4410075"/>
                  <a:gd name="connsiteX232" fmla="*/ 7419975 w 8801100"/>
                  <a:gd name="connsiteY232" fmla="*/ 2719387 h 4410075"/>
                  <a:gd name="connsiteX233" fmla="*/ 7446169 w 8801100"/>
                  <a:gd name="connsiteY233" fmla="*/ 2636044 h 4410075"/>
                  <a:gd name="connsiteX234" fmla="*/ 7577137 w 8801100"/>
                  <a:gd name="connsiteY234" fmla="*/ 2636044 h 4410075"/>
                  <a:gd name="connsiteX235" fmla="*/ 7750969 w 8801100"/>
                  <a:gd name="connsiteY235" fmla="*/ 2578893 h 4410075"/>
                  <a:gd name="connsiteX236" fmla="*/ 7810500 w 8801100"/>
                  <a:gd name="connsiteY236" fmla="*/ 2466975 h 4410075"/>
                  <a:gd name="connsiteX237" fmla="*/ 7874794 w 8801100"/>
                  <a:gd name="connsiteY237" fmla="*/ 2431256 h 4410075"/>
                  <a:gd name="connsiteX238" fmla="*/ 7853363 w 8801100"/>
                  <a:gd name="connsiteY238" fmla="*/ 2386013 h 4410075"/>
                  <a:gd name="connsiteX239" fmla="*/ 7931944 w 8801100"/>
                  <a:gd name="connsiteY239" fmla="*/ 2216943 h 4410075"/>
                  <a:gd name="connsiteX240" fmla="*/ 7986713 w 8801100"/>
                  <a:gd name="connsiteY240" fmla="*/ 2157413 h 4410075"/>
                  <a:gd name="connsiteX241" fmla="*/ 8024813 w 8801100"/>
                  <a:gd name="connsiteY241" fmla="*/ 2152650 h 4410075"/>
                  <a:gd name="connsiteX242" fmla="*/ 8070056 w 8801100"/>
                  <a:gd name="connsiteY242" fmla="*/ 2157413 h 4410075"/>
                  <a:gd name="connsiteX243" fmla="*/ 8134350 w 8801100"/>
                  <a:gd name="connsiteY243" fmla="*/ 2124075 h 4410075"/>
                  <a:gd name="connsiteX244" fmla="*/ 8143875 w 8801100"/>
                  <a:gd name="connsiteY244" fmla="*/ 2059781 h 4410075"/>
                  <a:gd name="connsiteX245" fmla="*/ 8184355 w 8801100"/>
                  <a:gd name="connsiteY245" fmla="*/ 2024063 h 4410075"/>
                  <a:gd name="connsiteX246" fmla="*/ 8243888 w 8801100"/>
                  <a:gd name="connsiteY246" fmla="*/ 2064543 h 4410075"/>
                  <a:gd name="connsiteX247" fmla="*/ 8270082 w 8801100"/>
                  <a:gd name="connsiteY247" fmla="*/ 2014537 h 4410075"/>
                  <a:gd name="connsiteX248" fmla="*/ 8365331 w 8801100"/>
                  <a:gd name="connsiteY248" fmla="*/ 1945481 h 4410075"/>
                  <a:gd name="connsiteX249" fmla="*/ 8427244 w 8801100"/>
                  <a:gd name="connsiteY249" fmla="*/ 1952625 h 4410075"/>
                  <a:gd name="connsiteX250" fmla="*/ 8477250 w 8801100"/>
                  <a:gd name="connsiteY250" fmla="*/ 1933575 h 4410075"/>
                  <a:gd name="connsiteX251" fmla="*/ 8515350 w 8801100"/>
                  <a:gd name="connsiteY251" fmla="*/ 1905000 h 4410075"/>
                  <a:gd name="connsiteX252" fmla="*/ 8548688 w 8801100"/>
                  <a:gd name="connsiteY252" fmla="*/ 1902619 h 4410075"/>
                  <a:gd name="connsiteX253" fmla="*/ 8584406 w 8801100"/>
                  <a:gd name="connsiteY253" fmla="*/ 1933575 h 4410075"/>
                  <a:gd name="connsiteX254" fmla="*/ 8643938 w 8801100"/>
                  <a:gd name="connsiteY254" fmla="*/ 1933575 h 4410075"/>
                  <a:gd name="connsiteX255" fmla="*/ 8682037 w 8801100"/>
                  <a:gd name="connsiteY255" fmla="*/ 1914525 h 4410075"/>
                  <a:gd name="connsiteX256" fmla="*/ 8765381 w 8801100"/>
                  <a:gd name="connsiteY256" fmla="*/ 1916907 h 4410075"/>
                  <a:gd name="connsiteX257" fmla="*/ 8796338 w 8801100"/>
                  <a:gd name="connsiteY257" fmla="*/ 1871663 h 4410075"/>
                  <a:gd name="connsiteX258" fmla="*/ 8801100 w 8801100"/>
                  <a:gd name="connsiteY258" fmla="*/ 1809750 h 4410075"/>
                  <a:gd name="connsiteX259" fmla="*/ 8751093 w 8801100"/>
                  <a:gd name="connsiteY259" fmla="*/ 1769269 h 4410075"/>
                  <a:gd name="connsiteX260" fmla="*/ 8734425 w 8801100"/>
                  <a:gd name="connsiteY260" fmla="*/ 1714500 h 4410075"/>
                  <a:gd name="connsiteX261" fmla="*/ 8643938 w 8801100"/>
                  <a:gd name="connsiteY261" fmla="*/ 1652588 h 4410075"/>
                  <a:gd name="connsiteX262" fmla="*/ 8603456 w 8801100"/>
                  <a:gd name="connsiteY262" fmla="*/ 1631156 h 4410075"/>
                  <a:gd name="connsiteX263" fmla="*/ 8565356 w 8801100"/>
                  <a:gd name="connsiteY263" fmla="*/ 1585913 h 4410075"/>
                  <a:gd name="connsiteX264" fmla="*/ 8534400 w 8801100"/>
                  <a:gd name="connsiteY264" fmla="*/ 1583531 h 4410075"/>
                  <a:gd name="connsiteX265" fmla="*/ 8517731 w 8801100"/>
                  <a:gd name="connsiteY265" fmla="*/ 1531144 h 4410075"/>
                  <a:gd name="connsiteX266" fmla="*/ 8477250 w 8801100"/>
                  <a:gd name="connsiteY266" fmla="*/ 1514475 h 4410075"/>
                  <a:gd name="connsiteX267" fmla="*/ 8477250 w 8801100"/>
                  <a:gd name="connsiteY267" fmla="*/ 1514475 h 4410075"/>
                  <a:gd name="connsiteX268" fmla="*/ 8436769 w 8801100"/>
                  <a:gd name="connsiteY268" fmla="*/ 1519238 h 4410075"/>
                  <a:gd name="connsiteX269" fmla="*/ 8351043 w 8801100"/>
                  <a:gd name="connsiteY269" fmla="*/ 1445419 h 4410075"/>
                  <a:gd name="connsiteX270" fmla="*/ 8170069 w 8801100"/>
                  <a:gd name="connsiteY270" fmla="*/ 1445418 h 4410075"/>
                  <a:gd name="connsiteX271" fmla="*/ 8117681 w 8801100"/>
                  <a:gd name="connsiteY271" fmla="*/ 1483519 h 4410075"/>
                  <a:gd name="connsiteX272" fmla="*/ 8067675 w 8801100"/>
                  <a:gd name="connsiteY272" fmla="*/ 1562100 h 4410075"/>
                  <a:gd name="connsiteX273" fmla="*/ 8084344 w 8801100"/>
                  <a:gd name="connsiteY273" fmla="*/ 1583531 h 4410075"/>
                  <a:gd name="connsiteX274" fmla="*/ 8039100 w 8801100"/>
                  <a:gd name="connsiteY274" fmla="*/ 1633537 h 4410075"/>
                  <a:gd name="connsiteX275" fmla="*/ 7889081 w 8801100"/>
                  <a:gd name="connsiteY275" fmla="*/ 1557337 h 4410075"/>
                  <a:gd name="connsiteX276" fmla="*/ 7798594 w 8801100"/>
                  <a:gd name="connsiteY276" fmla="*/ 1593056 h 4410075"/>
                  <a:gd name="connsiteX277" fmla="*/ 7724775 w 8801100"/>
                  <a:gd name="connsiteY277" fmla="*/ 1590675 h 4410075"/>
                  <a:gd name="connsiteX278" fmla="*/ 7667625 w 8801100"/>
                  <a:gd name="connsiteY278" fmla="*/ 1685925 h 4410075"/>
                  <a:gd name="connsiteX279" fmla="*/ 7529513 w 8801100"/>
                  <a:gd name="connsiteY279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14363 w 8801100"/>
                  <a:gd name="connsiteY148" fmla="*/ 1435893 h 4410075"/>
                  <a:gd name="connsiteX149" fmla="*/ 657225 w 8801100"/>
                  <a:gd name="connsiteY149" fmla="*/ 1471613 h 4410075"/>
                  <a:gd name="connsiteX150" fmla="*/ 697706 w 8801100"/>
                  <a:gd name="connsiteY150" fmla="*/ 1459706 h 4410075"/>
                  <a:gd name="connsiteX151" fmla="*/ 716756 w 8801100"/>
                  <a:gd name="connsiteY151" fmla="*/ 1516856 h 4410075"/>
                  <a:gd name="connsiteX152" fmla="*/ 764381 w 8801100"/>
                  <a:gd name="connsiteY152" fmla="*/ 1559719 h 4410075"/>
                  <a:gd name="connsiteX153" fmla="*/ 788194 w 8801100"/>
                  <a:gd name="connsiteY153" fmla="*/ 1662113 h 4410075"/>
                  <a:gd name="connsiteX154" fmla="*/ 785813 w 8801100"/>
                  <a:gd name="connsiteY154" fmla="*/ 1709738 h 4410075"/>
                  <a:gd name="connsiteX155" fmla="*/ 821531 w 8801100"/>
                  <a:gd name="connsiteY155" fmla="*/ 1809750 h 4410075"/>
                  <a:gd name="connsiteX156" fmla="*/ 866775 w 8801100"/>
                  <a:gd name="connsiteY156" fmla="*/ 1866900 h 4410075"/>
                  <a:gd name="connsiteX157" fmla="*/ 883443 w 8801100"/>
                  <a:gd name="connsiteY157" fmla="*/ 2024062 h 4410075"/>
                  <a:gd name="connsiteX158" fmla="*/ 850106 w 8801100"/>
                  <a:gd name="connsiteY158" fmla="*/ 2085975 h 4410075"/>
                  <a:gd name="connsiteX159" fmla="*/ 819150 w 8801100"/>
                  <a:gd name="connsiteY159" fmla="*/ 2162175 h 4410075"/>
                  <a:gd name="connsiteX160" fmla="*/ 833438 w 8801100"/>
                  <a:gd name="connsiteY160" fmla="*/ 2219325 h 4410075"/>
                  <a:gd name="connsiteX161" fmla="*/ 735806 w 8801100"/>
                  <a:gd name="connsiteY161" fmla="*/ 2326482 h 4410075"/>
                  <a:gd name="connsiteX162" fmla="*/ 692944 w 8801100"/>
                  <a:gd name="connsiteY162" fmla="*/ 2440781 h 4410075"/>
                  <a:gd name="connsiteX163" fmla="*/ 726281 w 8801100"/>
                  <a:gd name="connsiteY163" fmla="*/ 2481263 h 4410075"/>
                  <a:gd name="connsiteX164" fmla="*/ 709613 w 8801100"/>
                  <a:gd name="connsiteY164" fmla="*/ 2509838 h 4410075"/>
                  <a:gd name="connsiteX165" fmla="*/ 740569 w 8801100"/>
                  <a:gd name="connsiteY165" fmla="*/ 2566988 h 4410075"/>
                  <a:gd name="connsiteX166" fmla="*/ 769144 w 8801100"/>
                  <a:gd name="connsiteY166" fmla="*/ 2566988 h 4410075"/>
                  <a:gd name="connsiteX167" fmla="*/ 931069 w 8801100"/>
                  <a:gd name="connsiteY167" fmla="*/ 2669381 h 4410075"/>
                  <a:gd name="connsiteX168" fmla="*/ 1035844 w 8801100"/>
                  <a:gd name="connsiteY168" fmla="*/ 2667000 h 4410075"/>
                  <a:gd name="connsiteX169" fmla="*/ 1114425 w 8801100"/>
                  <a:gd name="connsiteY169" fmla="*/ 2721769 h 4410075"/>
                  <a:gd name="connsiteX170" fmla="*/ 1245393 w 8801100"/>
                  <a:gd name="connsiteY170" fmla="*/ 2724150 h 4410075"/>
                  <a:gd name="connsiteX171" fmla="*/ 1435893 w 8801100"/>
                  <a:gd name="connsiteY171" fmla="*/ 2793206 h 4410075"/>
                  <a:gd name="connsiteX172" fmla="*/ 1638300 w 8801100"/>
                  <a:gd name="connsiteY172" fmla="*/ 2943225 h 4410075"/>
                  <a:gd name="connsiteX173" fmla="*/ 1671637 w 8801100"/>
                  <a:gd name="connsiteY173" fmla="*/ 3009900 h 4410075"/>
                  <a:gd name="connsiteX174" fmla="*/ 1838325 w 8801100"/>
                  <a:gd name="connsiteY174" fmla="*/ 3136106 h 4410075"/>
                  <a:gd name="connsiteX175" fmla="*/ 1909763 w 8801100"/>
                  <a:gd name="connsiteY175" fmla="*/ 3131344 h 4410075"/>
                  <a:gd name="connsiteX176" fmla="*/ 1945482 w 8801100"/>
                  <a:gd name="connsiteY176" fmla="*/ 3155156 h 4410075"/>
                  <a:gd name="connsiteX177" fmla="*/ 1916906 w 8801100"/>
                  <a:gd name="connsiteY177" fmla="*/ 3195638 h 4410075"/>
                  <a:gd name="connsiteX178" fmla="*/ 1924050 w 8801100"/>
                  <a:gd name="connsiteY178" fmla="*/ 3248025 h 4410075"/>
                  <a:gd name="connsiteX179" fmla="*/ 1976438 w 8801100"/>
                  <a:gd name="connsiteY179" fmla="*/ 3274219 h 4410075"/>
                  <a:gd name="connsiteX180" fmla="*/ 2038350 w 8801100"/>
                  <a:gd name="connsiteY180" fmla="*/ 3498057 h 4410075"/>
                  <a:gd name="connsiteX181" fmla="*/ 2028825 w 8801100"/>
                  <a:gd name="connsiteY181" fmla="*/ 3562350 h 4410075"/>
                  <a:gd name="connsiteX182" fmla="*/ 2164556 w 8801100"/>
                  <a:gd name="connsiteY182" fmla="*/ 3729038 h 4410075"/>
                  <a:gd name="connsiteX183" fmla="*/ 2183606 w 8801100"/>
                  <a:gd name="connsiteY183" fmla="*/ 3779044 h 4410075"/>
                  <a:gd name="connsiteX184" fmla="*/ 2157413 w 8801100"/>
                  <a:gd name="connsiteY184" fmla="*/ 3798094 h 4410075"/>
                  <a:gd name="connsiteX185" fmla="*/ 2259806 w 8801100"/>
                  <a:gd name="connsiteY185" fmla="*/ 3807619 h 4410075"/>
                  <a:gd name="connsiteX186" fmla="*/ 2371725 w 8801100"/>
                  <a:gd name="connsiteY186" fmla="*/ 3795713 h 4410075"/>
                  <a:gd name="connsiteX187" fmla="*/ 2650331 w 8801100"/>
                  <a:gd name="connsiteY187" fmla="*/ 3879056 h 4410075"/>
                  <a:gd name="connsiteX188" fmla="*/ 3057525 w 8801100"/>
                  <a:gd name="connsiteY188" fmla="*/ 3960019 h 4410075"/>
                  <a:gd name="connsiteX189" fmla="*/ 3255169 w 8801100"/>
                  <a:gd name="connsiteY189" fmla="*/ 3929062 h 4410075"/>
                  <a:gd name="connsiteX190" fmla="*/ 3300413 w 8801100"/>
                  <a:gd name="connsiteY190" fmla="*/ 3940968 h 4410075"/>
                  <a:gd name="connsiteX191" fmla="*/ 3355181 w 8801100"/>
                  <a:gd name="connsiteY191" fmla="*/ 3917157 h 4410075"/>
                  <a:gd name="connsiteX192" fmla="*/ 3748087 w 8801100"/>
                  <a:gd name="connsiteY192" fmla="*/ 4007644 h 4410075"/>
                  <a:gd name="connsiteX193" fmla="*/ 3831432 w 8801100"/>
                  <a:gd name="connsiteY193" fmla="*/ 4105275 h 4410075"/>
                  <a:gd name="connsiteX194" fmla="*/ 3950494 w 8801100"/>
                  <a:gd name="connsiteY194" fmla="*/ 4176713 h 4410075"/>
                  <a:gd name="connsiteX195" fmla="*/ 4010025 w 8801100"/>
                  <a:gd name="connsiteY195" fmla="*/ 4160044 h 4410075"/>
                  <a:gd name="connsiteX196" fmla="*/ 4360068 w 8801100"/>
                  <a:gd name="connsiteY196" fmla="*/ 4333875 h 4410075"/>
                  <a:gd name="connsiteX197" fmla="*/ 4586288 w 8801100"/>
                  <a:gd name="connsiteY197" fmla="*/ 4305300 h 4410075"/>
                  <a:gd name="connsiteX198" fmla="*/ 4595813 w 8801100"/>
                  <a:gd name="connsiteY198" fmla="*/ 4383881 h 4410075"/>
                  <a:gd name="connsiteX199" fmla="*/ 4681538 w 8801100"/>
                  <a:gd name="connsiteY199" fmla="*/ 4379118 h 4410075"/>
                  <a:gd name="connsiteX200" fmla="*/ 4760119 w 8801100"/>
                  <a:gd name="connsiteY200" fmla="*/ 4410075 h 4410075"/>
                  <a:gd name="connsiteX201" fmla="*/ 4802981 w 8801100"/>
                  <a:gd name="connsiteY201" fmla="*/ 4350544 h 4410075"/>
                  <a:gd name="connsiteX202" fmla="*/ 5474494 w 8801100"/>
                  <a:gd name="connsiteY202" fmla="*/ 4031456 h 4410075"/>
                  <a:gd name="connsiteX203" fmla="*/ 5562600 w 8801100"/>
                  <a:gd name="connsiteY203" fmla="*/ 4060032 h 4410075"/>
                  <a:gd name="connsiteX204" fmla="*/ 5693569 w 8801100"/>
                  <a:gd name="connsiteY204" fmla="*/ 4031456 h 4410075"/>
                  <a:gd name="connsiteX205" fmla="*/ 5872162 w 8801100"/>
                  <a:gd name="connsiteY205" fmla="*/ 4048125 h 4410075"/>
                  <a:gd name="connsiteX206" fmla="*/ 5929313 w 8801100"/>
                  <a:gd name="connsiteY206" fmla="*/ 4021932 h 4410075"/>
                  <a:gd name="connsiteX207" fmla="*/ 6062662 w 8801100"/>
                  <a:gd name="connsiteY207" fmla="*/ 4019550 h 4410075"/>
                  <a:gd name="connsiteX208" fmla="*/ 6196012 w 8801100"/>
                  <a:gd name="connsiteY208" fmla="*/ 3921919 h 4410075"/>
                  <a:gd name="connsiteX209" fmla="*/ 6262687 w 8801100"/>
                  <a:gd name="connsiteY209" fmla="*/ 3914775 h 4410075"/>
                  <a:gd name="connsiteX210" fmla="*/ 6360319 w 8801100"/>
                  <a:gd name="connsiteY210" fmla="*/ 3840956 h 4410075"/>
                  <a:gd name="connsiteX211" fmla="*/ 6434138 w 8801100"/>
                  <a:gd name="connsiteY211" fmla="*/ 3771900 h 4410075"/>
                  <a:gd name="connsiteX212" fmla="*/ 6443663 w 8801100"/>
                  <a:gd name="connsiteY212" fmla="*/ 3709988 h 4410075"/>
                  <a:gd name="connsiteX213" fmla="*/ 6477000 w 8801100"/>
                  <a:gd name="connsiteY213" fmla="*/ 3640931 h 4410075"/>
                  <a:gd name="connsiteX214" fmla="*/ 6629400 w 8801100"/>
                  <a:gd name="connsiteY214" fmla="*/ 3533775 h 4410075"/>
                  <a:gd name="connsiteX215" fmla="*/ 6662738 w 8801100"/>
                  <a:gd name="connsiteY215" fmla="*/ 3538538 h 4410075"/>
                  <a:gd name="connsiteX216" fmla="*/ 6715125 w 8801100"/>
                  <a:gd name="connsiteY216" fmla="*/ 3459956 h 4410075"/>
                  <a:gd name="connsiteX217" fmla="*/ 6762750 w 8801100"/>
                  <a:gd name="connsiteY217" fmla="*/ 3421856 h 4410075"/>
                  <a:gd name="connsiteX218" fmla="*/ 6748463 w 8801100"/>
                  <a:gd name="connsiteY218" fmla="*/ 3352800 h 4410075"/>
                  <a:gd name="connsiteX219" fmla="*/ 6698456 w 8801100"/>
                  <a:gd name="connsiteY219" fmla="*/ 3321843 h 4410075"/>
                  <a:gd name="connsiteX220" fmla="*/ 6638925 w 8801100"/>
                  <a:gd name="connsiteY220" fmla="*/ 3267075 h 4410075"/>
                  <a:gd name="connsiteX221" fmla="*/ 6619875 w 8801100"/>
                  <a:gd name="connsiteY221" fmla="*/ 3209925 h 4410075"/>
                  <a:gd name="connsiteX222" fmla="*/ 6584156 w 8801100"/>
                  <a:gd name="connsiteY222" fmla="*/ 3176588 h 4410075"/>
                  <a:gd name="connsiteX223" fmla="*/ 6610350 w 8801100"/>
                  <a:gd name="connsiteY223" fmla="*/ 3124200 h 4410075"/>
                  <a:gd name="connsiteX224" fmla="*/ 6650831 w 8801100"/>
                  <a:gd name="connsiteY224" fmla="*/ 2945606 h 4410075"/>
                  <a:gd name="connsiteX225" fmla="*/ 6691313 w 8801100"/>
                  <a:gd name="connsiteY225" fmla="*/ 2878931 h 4410075"/>
                  <a:gd name="connsiteX226" fmla="*/ 6836569 w 8801100"/>
                  <a:gd name="connsiteY226" fmla="*/ 2862262 h 4410075"/>
                  <a:gd name="connsiteX227" fmla="*/ 6905625 w 8801100"/>
                  <a:gd name="connsiteY227" fmla="*/ 2919413 h 4410075"/>
                  <a:gd name="connsiteX228" fmla="*/ 6981825 w 8801100"/>
                  <a:gd name="connsiteY228" fmla="*/ 2943225 h 4410075"/>
                  <a:gd name="connsiteX229" fmla="*/ 7186612 w 8801100"/>
                  <a:gd name="connsiteY229" fmla="*/ 2947988 h 4410075"/>
                  <a:gd name="connsiteX230" fmla="*/ 7362825 w 8801100"/>
                  <a:gd name="connsiteY230" fmla="*/ 2809875 h 4410075"/>
                  <a:gd name="connsiteX231" fmla="*/ 7419975 w 8801100"/>
                  <a:gd name="connsiteY231" fmla="*/ 2719387 h 4410075"/>
                  <a:gd name="connsiteX232" fmla="*/ 7446169 w 8801100"/>
                  <a:gd name="connsiteY232" fmla="*/ 2636044 h 4410075"/>
                  <a:gd name="connsiteX233" fmla="*/ 7577137 w 8801100"/>
                  <a:gd name="connsiteY233" fmla="*/ 2636044 h 4410075"/>
                  <a:gd name="connsiteX234" fmla="*/ 7750969 w 8801100"/>
                  <a:gd name="connsiteY234" fmla="*/ 2578893 h 4410075"/>
                  <a:gd name="connsiteX235" fmla="*/ 7810500 w 8801100"/>
                  <a:gd name="connsiteY235" fmla="*/ 2466975 h 4410075"/>
                  <a:gd name="connsiteX236" fmla="*/ 7874794 w 8801100"/>
                  <a:gd name="connsiteY236" fmla="*/ 2431256 h 4410075"/>
                  <a:gd name="connsiteX237" fmla="*/ 7853363 w 8801100"/>
                  <a:gd name="connsiteY237" fmla="*/ 2386013 h 4410075"/>
                  <a:gd name="connsiteX238" fmla="*/ 7931944 w 8801100"/>
                  <a:gd name="connsiteY238" fmla="*/ 2216943 h 4410075"/>
                  <a:gd name="connsiteX239" fmla="*/ 7986713 w 8801100"/>
                  <a:gd name="connsiteY239" fmla="*/ 2157413 h 4410075"/>
                  <a:gd name="connsiteX240" fmla="*/ 8024813 w 8801100"/>
                  <a:gd name="connsiteY240" fmla="*/ 2152650 h 4410075"/>
                  <a:gd name="connsiteX241" fmla="*/ 8070056 w 8801100"/>
                  <a:gd name="connsiteY241" fmla="*/ 2157413 h 4410075"/>
                  <a:gd name="connsiteX242" fmla="*/ 8134350 w 8801100"/>
                  <a:gd name="connsiteY242" fmla="*/ 2124075 h 4410075"/>
                  <a:gd name="connsiteX243" fmla="*/ 8143875 w 8801100"/>
                  <a:gd name="connsiteY243" fmla="*/ 2059781 h 4410075"/>
                  <a:gd name="connsiteX244" fmla="*/ 8184355 w 8801100"/>
                  <a:gd name="connsiteY244" fmla="*/ 2024063 h 4410075"/>
                  <a:gd name="connsiteX245" fmla="*/ 8243888 w 8801100"/>
                  <a:gd name="connsiteY245" fmla="*/ 2064543 h 4410075"/>
                  <a:gd name="connsiteX246" fmla="*/ 8270082 w 8801100"/>
                  <a:gd name="connsiteY246" fmla="*/ 2014537 h 4410075"/>
                  <a:gd name="connsiteX247" fmla="*/ 8365331 w 8801100"/>
                  <a:gd name="connsiteY247" fmla="*/ 1945481 h 4410075"/>
                  <a:gd name="connsiteX248" fmla="*/ 8427244 w 8801100"/>
                  <a:gd name="connsiteY248" fmla="*/ 1952625 h 4410075"/>
                  <a:gd name="connsiteX249" fmla="*/ 8477250 w 8801100"/>
                  <a:gd name="connsiteY249" fmla="*/ 1933575 h 4410075"/>
                  <a:gd name="connsiteX250" fmla="*/ 8515350 w 8801100"/>
                  <a:gd name="connsiteY250" fmla="*/ 1905000 h 4410075"/>
                  <a:gd name="connsiteX251" fmla="*/ 8548688 w 8801100"/>
                  <a:gd name="connsiteY251" fmla="*/ 1902619 h 4410075"/>
                  <a:gd name="connsiteX252" fmla="*/ 8584406 w 8801100"/>
                  <a:gd name="connsiteY252" fmla="*/ 1933575 h 4410075"/>
                  <a:gd name="connsiteX253" fmla="*/ 8643938 w 8801100"/>
                  <a:gd name="connsiteY253" fmla="*/ 1933575 h 4410075"/>
                  <a:gd name="connsiteX254" fmla="*/ 8682037 w 8801100"/>
                  <a:gd name="connsiteY254" fmla="*/ 1914525 h 4410075"/>
                  <a:gd name="connsiteX255" fmla="*/ 8765381 w 8801100"/>
                  <a:gd name="connsiteY255" fmla="*/ 1916907 h 4410075"/>
                  <a:gd name="connsiteX256" fmla="*/ 8796338 w 8801100"/>
                  <a:gd name="connsiteY256" fmla="*/ 1871663 h 4410075"/>
                  <a:gd name="connsiteX257" fmla="*/ 8801100 w 8801100"/>
                  <a:gd name="connsiteY257" fmla="*/ 1809750 h 4410075"/>
                  <a:gd name="connsiteX258" fmla="*/ 8751093 w 8801100"/>
                  <a:gd name="connsiteY258" fmla="*/ 1769269 h 4410075"/>
                  <a:gd name="connsiteX259" fmla="*/ 8734425 w 8801100"/>
                  <a:gd name="connsiteY259" fmla="*/ 1714500 h 4410075"/>
                  <a:gd name="connsiteX260" fmla="*/ 8643938 w 8801100"/>
                  <a:gd name="connsiteY260" fmla="*/ 1652588 h 4410075"/>
                  <a:gd name="connsiteX261" fmla="*/ 8603456 w 8801100"/>
                  <a:gd name="connsiteY261" fmla="*/ 1631156 h 4410075"/>
                  <a:gd name="connsiteX262" fmla="*/ 8565356 w 8801100"/>
                  <a:gd name="connsiteY262" fmla="*/ 1585913 h 4410075"/>
                  <a:gd name="connsiteX263" fmla="*/ 8534400 w 8801100"/>
                  <a:gd name="connsiteY263" fmla="*/ 1583531 h 4410075"/>
                  <a:gd name="connsiteX264" fmla="*/ 8517731 w 8801100"/>
                  <a:gd name="connsiteY264" fmla="*/ 1531144 h 4410075"/>
                  <a:gd name="connsiteX265" fmla="*/ 8477250 w 8801100"/>
                  <a:gd name="connsiteY265" fmla="*/ 1514475 h 4410075"/>
                  <a:gd name="connsiteX266" fmla="*/ 8477250 w 8801100"/>
                  <a:gd name="connsiteY266" fmla="*/ 1514475 h 4410075"/>
                  <a:gd name="connsiteX267" fmla="*/ 8436769 w 8801100"/>
                  <a:gd name="connsiteY267" fmla="*/ 1519238 h 4410075"/>
                  <a:gd name="connsiteX268" fmla="*/ 8351043 w 8801100"/>
                  <a:gd name="connsiteY268" fmla="*/ 1445419 h 4410075"/>
                  <a:gd name="connsiteX269" fmla="*/ 8170069 w 8801100"/>
                  <a:gd name="connsiteY269" fmla="*/ 1445418 h 4410075"/>
                  <a:gd name="connsiteX270" fmla="*/ 8117681 w 8801100"/>
                  <a:gd name="connsiteY270" fmla="*/ 1483519 h 4410075"/>
                  <a:gd name="connsiteX271" fmla="*/ 8067675 w 8801100"/>
                  <a:gd name="connsiteY271" fmla="*/ 1562100 h 4410075"/>
                  <a:gd name="connsiteX272" fmla="*/ 8084344 w 8801100"/>
                  <a:gd name="connsiteY272" fmla="*/ 1583531 h 4410075"/>
                  <a:gd name="connsiteX273" fmla="*/ 8039100 w 8801100"/>
                  <a:gd name="connsiteY273" fmla="*/ 1633537 h 4410075"/>
                  <a:gd name="connsiteX274" fmla="*/ 7889081 w 8801100"/>
                  <a:gd name="connsiteY274" fmla="*/ 1557337 h 4410075"/>
                  <a:gd name="connsiteX275" fmla="*/ 7798594 w 8801100"/>
                  <a:gd name="connsiteY275" fmla="*/ 1593056 h 4410075"/>
                  <a:gd name="connsiteX276" fmla="*/ 7724775 w 8801100"/>
                  <a:gd name="connsiteY276" fmla="*/ 1590675 h 4410075"/>
                  <a:gd name="connsiteX277" fmla="*/ 7667625 w 8801100"/>
                  <a:gd name="connsiteY277" fmla="*/ 1685925 h 4410075"/>
                  <a:gd name="connsiteX278" fmla="*/ 7529513 w 8801100"/>
                  <a:gd name="connsiteY278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57225 w 8801100"/>
                  <a:gd name="connsiteY148" fmla="*/ 1471613 h 4410075"/>
                  <a:gd name="connsiteX149" fmla="*/ 697706 w 8801100"/>
                  <a:gd name="connsiteY149" fmla="*/ 1459706 h 4410075"/>
                  <a:gd name="connsiteX150" fmla="*/ 716756 w 8801100"/>
                  <a:gd name="connsiteY150" fmla="*/ 1516856 h 4410075"/>
                  <a:gd name="connsiteX151" fmla="*/ 764381 w 8801100"/>
                  <a:gd name="connsiteY151" fmla="*/ 1559719 h 4410075"/>
                  <a:gd name="connsiteX152" fmla="*/ 788194 w 8801100"/>
                  <a:gd name="connsiteY152" fmla="*/ 1662113 h 4410075"/>
                  <a:gd name="connsiteX153" fmla="*/ 785813 w 8801100"/>
                  <a:gd name="connsiteY153" fmla="*/ 1709738 h 4410075"/>
                  <a:gd name="connsiteX154" fmla="*/ 821531 w 8801100"/>
                  <a:gd name="connsiteY154" fmla="*/ 1809750 h 4410075"/>
                  <a:gd name="connsiteX155" fmla="*/ 866775 w 8801100"/>
                  <a:gd name="connsiteY155" fmla="*/ 1866900 h 4410075"/>
                  <a:gd name="connsiteX156" fmla="*/ 883443 w 8801100"/>
                  <a:gd name="connsiteY156" fmla="*/ 2024062 h 4410075"/>
                  <a:gd name="connsiteX157" fmla="*/ 850106 w 8801100"/>
                  <a:gd name="connsiteY157" fmla="*/ 2085975 h 4410075"/>
                  <a:gd name="connsiteX158" fmla="*/ 819150 w 8801100"/>
                  <a:gd name="connsiteY158" fmla="*/ 2162175 h 4410075"/>
                  <a:gd name="connsiteX159" fmla="*/ 833438 w 8801100"/>
                  <a:gd name="connsiteY159" fmla="*/ 2219325 h 4410075"/>
                  <a:gd name="connsiteX160" fmla="*/ 735806 w 8801100"/>
                  <a:gd name="connsiteY160" fmla="*/ 2326482 h 4410075"/>
                  <a:gd name="connsiteX161" fmla="*/ 692944 w 8801100"/>
                  <a:gd name="connsiteY161" fmla="*/ 2440781 h 4410075"/>
                  <a:gd name="connsiteX162" fmla="*/ 726281 w 8801100"/>
                  <a:gd name="connsiteY162" fmla="*/ 2481263 h 4410075"/>
                  <a:gd name="connsiteX163" fmla="*/ 709613 w 8801100"/>
                  <a:gd name="connsiteY163" fmla="*/ 2509838 h 4410075"/>
                  <a:gd name="connsiteX164" fmla="*/ 740569 w 8801100"/>
                  <a:gd name="connsiteY164" fmla="*/ 2566988 h 4410075"/>
                  <a:gd name="connsiteX165" fmla="*/ 769144 w 8801100"/>
                  <a:gd name="connsiteY165" fmla="*/ 2566988 h 4410075"/>
                  <a:gd name="connsiteX166" fmla="*/ 931069 w 8801100"/>
                  <a:gd name="connsiteY166" fmla="*/ 2669381 h 4410075"/>
                  <a:gd name="connsiteX167" fmla="*/ 1035844 w 8801100"/>
                  <a:gd name="connsiteY167" fmla="*/ 2667000 h 4410075"/>
                  <a:gd name="connsiteX168" fmla="*/ 1114425 w 8801100"/>
                  <a:gd name="connsiteY168" fmla="*/ 2721769 h 4410075"/>
                  <a:gd name="connsiteX169" fmla="*/ 1245393 w 8801100"/>
                  <a:gd name="connsiteY169" fmla="*/ 2724150 h 4410075"/>
                  <a:gd name="connsiteX170" fmla="*/ 1435893 w 8801100"/>
                  <a:gd name="connsiteY170" fmla="*/ 2793206 h 4410075"/>
                  <a:gd name="connsiteX171" fmla="*/ 1638300 w 8801100"/>
                  <a:gd name="connsiteY171" fmla="*/ 2943225 h 4410075"/>
                  <a:gd name="connsiteX172" fmla="*/ 1671637 w 8801100"/>
                  <a:gd name="connsiteY172" fmla="*/ 3009900 h 4410075"/>
                  <a:gd name="connsiteX173" fmla="*/ 1838325 w 8801100"/>
                  <a:gd name="connsiteY173" fmla="*/ 3136106 h 4410075"/>
                  <a:gd name="connsiteX174" fmla="*/ 1909763 w 8801100"/>
                  <a:gd name="connsiteY174" fmla="*/ 3131344 h 4410075"/>
                  <a:gd name="connsiteX175" fmla="*/ 1945482 w 8801100"/>
                  <a:gd name="connsiteY175" fmla="*/ 3155156 h 4410075"/>
                  <a:gd name="connsiteX176" fmla="*/ 1916906 w 8801100"/>
                  <a:gd name="connsiteY176" fmla="*/ 3195638 h 4410075"/>
                  <a:gd name="connsiteX177" fmla="*/ 1924050 w 8801100"/>
                  <a:gd name="connsiteY177" fmla="*/ 3248025 h 4410075"/>
                  <a:gd name="connsiteX178" fmla="*/ 1976438 w 8801100"/>
                  <a:gd name="connsiteY178" fmla="*/ 3274219 h 4410075"/>
                  <a:gd name="connsiteX179" fmla="*/ 2038350 w 8801100"/>
                  <a:gd name="connsiteY179" fmla="*/ 3498057 h 4410075"/>
                  <a:gd name="connsiteX180" fmla="*/ 2028825 w 8801100"/>
                  <a:gd name="connsiteY180" fmla="*/ 3562350 h 4410075"/>
                  <a:gd name="connsiteX181" fmla="*/ 2164556 w 8801100"/>
                  <a:gd name="connsiteY181" fmla="*/ 3729038 h 4410075"/>
                  <a:gd name="connsiteX182" fmla="*/ 2183606 w 8801100"/>
                  <a:gd name="connsiteY182" fmla="*/ 3779044 h 4410075"/>
                  <a:gd name="connsiteX183" fmla="*/ 2157413 w 8801100"/>
                  <a:gd name="connsiteY183" fmla="*/ 3798094 h 4410075"/>
                  <a:gd name="connsiteX184" fmla="*/ 2259806 w 8801100"/>
                  <a:gd name="connsiteY184" fmla="*/ 3807619 h 4410075"/>
                  <a:gd name="connsiteX185" fmla="*/ 2371725 w 8801100"/>
                  <a:gd name="connsiteY185" fmla="*/ 3795713 h 4410075"/>
                  <a:gd name="connsiteX186" fmla="*/ 2650331 w 8801100"/>
                  <a:gd name="connsiteY186" fmla="*/ 3879056 h 4410075"/>
                  <a:gd name="connsiteX187" fmla="*/ 3057525 w 8801100"/>
                  <a:gd name="connsiteY187" fmla="*/ 3960019 h 4410075"/>
                  <a:gd name="connsiteX188" fmla="*/ 3255169 w 8801100"/>
                  <a:gd name="connsiteY188" fmla="*/ 3929062 h 4410075"/>
                  <a:gd name="connsiteX189" fmla="*/ 3300413 w 8801100"/>
                  <a:gd name="connsiteY189" fmla="*/ 3940968 h 4410075"/>
                  <a:gd name="connsiteX190" fmla="*/ 3355181 w 8801100"/>
                  <a:gd name="connsiteY190" fmla="*/ 3917157 h 4410075"/>
                  <a:gd name="connsiteX191" fmla="*/ 3748087 w 8801100"/>
                  <a:gd name="connsiteY191" fmla="*/ 4007644 h 4410075"/>
                  <a:gd name="connsiteX192" fmla="*/ 3831432 w 8801100"/>
                  <a:gd name="connsiteY192" fmla="*/ 4105275 h 4410075"/>
                  <a:gd name="connsiteX193" fmla="*/ 3950494 w 8801100"/>
                  <a:gd name="connsiteY193" fmla="*/ 4176713 h 4410075"/>
                  <a:gd name="connsiteX194" fmla="*/ 4010025 w 8801100"/>
                  <a:gd name="connsiteY194" fmla="*/ 4160044 h 4410075"/>
                  <a:gd name="connsiteX195" fmla="*/ 4360068 w 8801100"/>
                  <a:gd name="connsiteY195" fmla="*/ 4333875 h 4410075"/>
                  <a:gd name="connsiteX196" fmla="*/ 4586288 w 8801100"/>
                  <a:gd name="connsiteY196" fmla="*/ 4305300 h 4410075"/>
                  <a:gd name="connsiteX197" fmla="*/ 4595813 w 8801100"/>
                  <a:gd name="connsiteY197" fmla="*/ 4383881 h 4410075"/>
                  <a:gd name="connsiteX198" fmla="*/ 4681538 w 8801100"/>
                  <a:gd name="connsiteY198" fmla="*/ 4379118 h 4410075"/>
                  <a:gd name="connsiteX199" fmla="*/ 4760119 w 8801100"/>
                  <a:gd name="connsiteY199" fmla="*/ 4410075 h 4410075"/>
                  <a:gd name="connsiteX200" fmla="*/ 4802981 w 8801100"/>
                  <a:gd name="connsiteY200" fmla="*/ 4350544 h 4410075"/>
                  <a:gd name="connsiteX201" fmla="*/ 5474494 w 8801100"/>
                  <a:gd name="connsiteY201" fmla="*/ 4031456 h 4410075"/>
                  <a:gd name="connsiteX202" fmla="*/ 5562600 w 8801100"/>
                  <a:gd name="connsiteY202" fmla="*/ 4060032 h 4410075"/>
                  <a:gd name="connsiteX203" fmla="*/ 5693569 w 8801100"/>
                  <a:gd name="connsiteY203" fmla="*/ 4031456 h 4410075"/>
                  <a:gd name="connsiteX204" fmla="*/ 5872162 w 8801100"/>
                  <a:gd name="connsiteY204" fmla="*/ 4048125 h 4410075"/>
                  <a:gd name="connsiteX205" fmla="*/ 5929313 w 8801100"/>
                  <a:gd name="connsiteY205" fmla="*/ 4021932 h 4410075"/>
                  <a:gd name="connsiteX206" fmla="*/ 6062662 w 8801100"/>
                  <a:gd name="connsiteY206" fmla="*/ 4019550 h 4410075"/>
                  <a:gd name="connsiteX207" fmla="*/ 6196012 w 8801100"/>
                  <a:gd name="connsiteY207" fmla="*/ 3921919 h 4410075"/>
                  <a:gd name="connsiteX208" fmla="*/ 6262687 w 8801100"/>
                  <a:gd name="connsiteY208" fmla="*/ 3914775 h 4410075"/>
                  <a:gd name="connsiteX209" fmla="*/ 6360319 w 8801100"/>
                  <a:gd name="connsiteY209" fmla="*/ 3840956 h 4410075"/>
                  <a:gd name="connsiteX210" fmla="*/ 6434138 w 8801100"/>
                  <a:gd name="connsiteY210" fmla="*/ 3771900 h 4410075"/>
                  <a:gd name="connsiteX211" fmla="*/ 6443663 w 8801100"/>
                  <a:gd name="connsiteY211" fmla="*/ 3709988 h 4410075"/>
                  <a:gd name="connsiteX212" fmla="*/ 6477000 w 8801100"/>
                  <a:gd name="connsiteY212" fmla="*/ 3640931 h 4410075"/>
                  <a:gd name="connsiteX213" fmla="*/ 6629400 w 8801100"/>
                  <a:gd name="connsiteY213" fmla="*/ 3533775 h 4410075"/>
                  <a:gd name="connsiteX214" fmla="*/ 6662738 w 8801100"/>
                  <a:gd name="connsiteY214" fmla="*/ 3538538 h 4410075"/>
                  <a:gd name="connsiteX215" fmla="*/ 6715125 w 8801100"/>
                  <a:gd name="connsiteY215" fmla="*/ 3459956 h 4410075"/>
                  <a:gd name="connsiteX216" fmla="*/ 6762750 w 8801100"/>
                  <a:gd name="connsiteY216" fmla="*/ 3421856 h 4410075"/>
                  <a:gd name="connsiteX217" fmla="*/ 6748463 w 8801100"/>
                  <a:gd name="connsiteY217" fmla="*/ 3352800 h 4410075"/>
                  <a:gd name="connsiteX218" fmla="*/ 6698456 w 8801100"/>
                  <a:gd name="connsiteY218" fmla="*/ 3321843 h 4410075"/>
                  <a:gd name="connsiteX219" fmla="*/ 6638925 w 8801100"/>
                  <a:gd name="connsiteY219" fmla="*/ 3267075 h 4410075"/>
                  <a:gd name="connsiteX220" fmla="*/ 6619875 w 8801100"/>
                  <a:gd name="connsiteY220" fmla="*/ 3209925 h 4410075"/>
                  <a:gd name="connsiteX221" fmla="*/ 6584156 w 8801100"/>
                  <a:gd name="connsiteY221" fmla="*/ 3176588 h 4410075"/>
                  <a:gd name="connsiteX222" fmla="*/ 6610350 w 8801100"/>
                  <a:gd name="connsiteY222" fmla="*/ 3124200 h 4410075"/>
                  <a:gd name="connsiteX223" fmla="*/ 6650831 w 8801100"/>
                  <a:gd name="connsiteY223" fmla="*/ 2945606 h 4410075"/>
                  <a:gd name="connsiteX224" fmla="*/ 6691313 w 8801100"/>
                  <a:gd name="connsiteY224" fmla="*/ 2878931 h 4410075"/>
                  <a:gd name="connsiteX225" fmla="*/ 6836569 w 8801100"/>
                  <a:gd name="connsiteY225" fmla="*/ 2862262 h 4410075"/>
                  <a:gd name="connsiteX226" fmla="*/ 6905625 w 8801100"/>
                  <a:gd name="connsiteY226" fmla="*/ 2919413 h 4410075"/>
                  <a:gd name="connsiteX227" fmla="*/ 6981825 w 8801100"/>
                  <a:gd name="connsiteY227" fmla="*/ 2943225 h 4410075"/>
                  <a:gd name="connsiteX228" fmla="*/ 7186612 w 8801100"/>
                  <a:gd name="connsiteY228" fmla="*/ 2947988 h 4410075"/>
                  <a:gd name="connsiteX229" fmla="*/ 7362825 w 8801100"/>
                  <a:gd name="connsiteY229" fmla="*/ 2809875 h 4410075"/>
                  <a:gd name="connsiteX230" fmla="*/ 7419975 w 8801100"/>
                  <a:gd name="connsiteY230" fmla="*/ 2719387 h 4410075"/>
                  <a:gd name="connsiteX231" fmla="*/ 7446169 w 8801100"/>
                  <a:gd name="connsiteY231" fmla="*/ 2636044 h 4410075"/>
                  <a:gd name="connsiteX232" fmla="*/ 7577137 w 8801100"/>
                  <a:gd name="connsiteY232" fmla="*/ 2636044 h 4410075"/>
                  <a:gd name="connsiteX233" fmla="*/ 7750969 w 8801100"/>
                  <a:gd name="connsiteY233" fmla="*/ 2578893 h 4410075"/>
                  <a:gd name="connsiteX234" fmla="*/ 7810500 w 8801100"/>
                  <a:gd name="connsiteY234" fmla="*/ 2466975 h 4410075"/>
                  <a:gd name="connsiteX235" fmla="*/ 7874794 w 8801100"/>
                  <a:gd name="connsiteY235" fmla="*/ 2431256 h 4410075"/>
                  <a:gd name="connsiteX236" fmla="*/ 7853363 w 8801100"/>
                  <a:gd name="connsiteY236" fmla="*/ 2386013 h 4410075"/>
                  <a:gd name="connsiteX237" fmla="*/ 7931944 w 8801100"/>
                  <a:gd name="connsiteY237" fmla="*/ 2216943 h 4410075"/>
                  <a:gd name="connsiteX238" fmla="*/ 7986713 w 8801100"/>
                  <a:gd name="connsiteY238" fmla="*/ 2157413 h 4410075"/>
                  <a:gd name="connsiteX239" fmla="*/ 8024813 w 8801100"/>
                  <a:gd name="connsiteY239" fmla="*/ 2152650 h 4410075"/>
                  <a:gd name="connsiteX240" fmla="*/ 8070056 w 8801100"/>
                  <a:gd name="connsiteY240" fmla="*/ 2157413 h 4410075"/>
                  <a:gd name="connsiteX241" fmla="*/ 8134350 w 8801100"/>
                  <a:gd name="connsiteY241" fmla="*/ 2124075 h 4410075"/>
                  <a:gd name="connsiteX242" fmla="*/ 8143875 w 8801100"/>
                  <a:gd name="connsiteY242" fmla="*/ 2059781 h 4410075"/>
                  <a:gd name="connsiteX243" fmla="*/ 8184355 w 8801100"/>
                  <a:gd name="connsiteY243" fmla="*/ 2024063 h 4410075"/>
                  <a:gd name="connsiteX244" fmla="*/ 8243888 w 8801100"/>
                  <a:gd name="connsiteY244" fmla="*/ 2064543 h 4410075"/>
                  <a:gd name="connsiteX245" fmla="*/ 8270082 w 8801100"/>
                  <a:gd name="connsiteY245" fmla="*/ 2014537 h 4410075"/>
                  <a:gd name="connsiteX246" fmla="*/ 8365331 w 8801100"/>
                  <a:gd name="connsiteY246" fmla="*/ 1945481 h 4410075"/>
                  <a:gd name="connsiteX247" fmla="*/ 8427244 w 8801100"/>
                  <a:gd name="connsiteY247" fmla="*/ 1952625 h 4410075"/>
                  <a:gd name="connsiteX248" fmla="*/ 8477250 w 8801100"/>
                  <a:gd name="connsiteY248" fmla="*/ 1933575 h 4410075"/>
                  <a:gd name="connsiteX249" fmla="*/ 8515350 w 8801100"/>
                  <a:gd name="connsiteY249" fmla="*/ 1905000 h 4410075"/>
                  <a:gd name="connsiteX250" fmla="*/ 8548688 w 8801100"/>
                  <a:gd name="connsiteY250" fmla="*/ 1902619 h 4410075"/>
                  <a:gd name="connsiteX251" fmla="*/ 8584406 w 8801100"/>
                  <a:gd name="connsiteY251" fmla="*/ 1933575 h 4410075"/>
                  <a:gd name="connsiteX252" fmla="*/ 8643938 w 8801100"/>
                  <a:gd name="connsiteY252" fmla="*/ 1933575 h 4410075"/>
                  <a:gd name="connsiteX253" fmla="*/ 8682037 w 8801100"/>
                  <a:gd name="connsiteY253" fmla="*/ 1914525 h 4410075"/>
                  <a:gd name="connsiteX254" fmla="*/ 8765381 w 8801100"/>
                  <a:gd name="connsiteY254" fmla="*/ 1916907 h 4410075"/>
                  <a:gd name="connsiteX255" fmla="*/ 8796338 w 8801100"/>
                  <a:gd name="connsiteY255" fmla="*/ 1871663 h 4410075"/>
                  <a:gd name="connsiteX256" fmla="*/ 8801100 w 8801100"/>
                  <a:gd name="connsiteY256" fmla="*/ 1809750 h 4410075"/>
                  <a:gd name="connsiteX257" fmla="*/ 8751093 w 8801100"/>
                  <a:gd name="connsiteY257" fmla="*/ 1769269 h 4410075"/>
                  <a:gd name="connsiteX258" fmla="*/ 8734425 w 8801100"/>
                  <a:gd name="connsiteY258" fmla="*/ 1714500 h 4410075"/>
                  <a:gd name="connsiteX259" fmla="*/ 8643938 w 8801100"/>
                  <a:gd name="connsiteY259" fmla="*/ 1652588 h 4410075"/>
                  <a:gd name="connsiteX260" fmla="*/ 8603456 w 8801100"/>
                  <a:gd name="connsiteY260" fmla="*/ 1631156 h 4410075"/>
                  <a:gd name="connsiteX261" fmla="*/ 8565356 w 8801100"/>
                  <a:gd name="connsiteY261" fmla="*/ 1585913 h 4410075"/>
                  <a:gd name="connsiteX262" fmla="*/ 8534400 w 8801100"/>
                  <a:gd name="connsiteY262" fmla="*/ 1583531 h 4410075"/>
                  <a:gd name="connsiteX263" fmla="*/ 8517731 w 8801100"/>
                  <a:gd name="connsiteY263" fmla="*/ 1531144 h 4410075"/>
                  <a:gd name="connsiteX264" fmla="*/ 8477250 w 8801100"/>
                  <a:gd name="connsiteY264" fmla="*/ 1514475 h 4410075"/>
                  <a:gd name="connsiteX265" fmla="*/ 8477250 w 8801100"/>
                  <a:gd name="connsiteY265" fmla="*/ 1514475 h 4410075"/>
                  <a:gd name="connsiteX266" fmla="*/ 8436769 w 8801100"/>
                  <a:gd name="connsiteY266" fmla="*/ 1519238 h 4410075"/>
                  <a:gd name="connsiteX267" fmla="*/ 8351043 w 8801100"/>
                  <a:gd name="connsiteY267" fmla="*/ 1445419 h 4410075"/>
                  <a:gd name="connsiteX268" fmla="*/ 8170069 w 8801100"/>
                  <a:gd name="connsiteY268" fmla="*/ 1445418 h 4410075"/>
                  <a:gd name="connsiteX269" fmla="*/ 8117681 w 8801100"/>
                  <a:gd name="connsiteY269" fmla="*/ 1483519 h 4410075"/>
                  <a:gd name="connsiteX270" fmla="*/ 8067675 w 8801100"/>
                  <a:gd name="connsiteY270" fmla="*/ 1562100 h 4410075"/>
                  <a:gd name="connsiteX271" fmla="*/ 8084344 w 8801100"/>
                  <a:gd name="connsiteY271" fmla="*/ 1583531 h 4410075"/>
                  <a:gd name="connsiteX272" fmla="*/ 8039100 w 8801100"/>
                  <a:gd name="connsiteY272" fmla="*/ 1633537 h 4410075"/>
                  <a:gd name="connsiteX273" fmla="*/ 7889081 w 8801100"/>
                  <a:gd name="connsiteY273" fmla="*/ 1557337 h 4410075"/>
                  <a:gd name="connsiteX274" fmla="*/ 7798594 w 8801100"/>
                  <a:gd name="connsiteY274" fmla="*/ 1593056 h 4410075"/>
                  <a:gd name="connsiteX275" fmla="*/ 7724775 w 8801100"/>
                  <a:gd name="connsiteY275" fmla="*/ 1590675 h 4410075"/>
                  <a:gd name="connsiteX276" fmla="*/ 7667625 w 8801100"/>
                  <a:gd name="connsiteY276" fmla="*/ 1685925 h 4410075"/>
                  <a:gd name="connsiteX277" fmla="*/ 7529513 w 8801100"/>
                  <a:gd name="connsiteY277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97706 w 8801100"/>
                  <a:gd name="connsiteY148" fmla="*/ 1459706 h 4410075"/>
                  <a:gd name="connsiteX149" fmla="*/ 716756 w 8801100"/>
                  <a:gd name="connsiteY149" fmla="*/ 1516856 h 4410075"/>
                  <a:gd name="connsiteX150" fmla="*/ 764381 w 8801100"/>
                  <a:gd name="connsiteY150" fmla="*/ 1559719 h 4410075"/>
                  <a:gd name="connsiteX151" fmla="*/ 788194 w 8801100"/>
                  <a:gd name="connsiteY151" fmla="*/ 1662113 h 4410075"/>
                  <a:gd name="connsiteX152" fmla="*/ 785813 w 8801100"/>
                  <a:gd name="connsiteY152" fmla="*/ 1709738 h 4410075"/>
                  <a:gd name="connsiteX153" fmla="*/ 821531 w 8801100"/>
                  <a:gd name="connsiteY153" fmla="*/ 1809750 h 4410075"/>
                  <a:gd name="connsiteX154" fmla="*/ 866775 w 8801100"/>
                  <a:gd name="connsiteY154" fmla="*/ 1866900 h 4410075"/>
                  <a:gd name="connsiteX155" fmla="*/ 883443 w 8801100"/>
                  <a:gd name="connsiteY155" fmla="*/ 2024062 h 4410075"/>
                  <a:gd name="connsiteX156" fmla="*/ 850106 w 8801100"/>
                  <a:gd name="connsiteY156" fmla="*/ 2085975 h 4410075"/>
                  <a:gd name="connsiteX157" fmla="*/ 819150 w 8801100"/>
                  <a:gd name="connsiteY157" fmla="*/ 2162175 h 4410075"/>
                  <a:gd name="connsiteX158" fmla="*/ 833438 w 8801100"/>
                  <a:gd name="connsiteY158" fmla="*/ 2219325 h 4410075"/>
                  <a:gd name="connsiteX159" fmla="*/ 735806 w 8801100"/>
                  <a:gd name="connsiteY159" fmla="*/ 2326482 h 4410075"/>
                  <a:gd name="connsiteX160" fmla="*/ 692944 w 8801100"/>
                  <a:gd name="connsiteY160" fmla="*/ 2440781 h 4410075"/>
                  <a:gd name="connsiteX161" fmla="*/ 726281 w 8801100"/>
                  <a:gd name="connsiteY161" fmla="*/ 2481263 h 4410075"/>
                  <a:gd name="connsiteX162" fmla="*/ 709613 w 8801100"/>
                  <a:gd name="connsiteY162" fmla="*/ 2509838 h 4410075"/>
                  <a:gd name="connsiteX163" fmla="*/ 740569 w 8801100"/>
                  <a:gd name="connsiteY163" fmla="*/ 2566988 h 4410075"/>
                  <a:gd name="connsiteX164" fmla="*/ 769144 w 8801100"/>
                  <a:gd name="connsiteY164" fmla="*/ 2566988 h 4410075"/>
                  <a:gd name="connsiteX165" fmla="*/ 931069 w 8801100"/>
                  <a:gd name="connsiteY165" fmla="*/ 2669381 h 4410075"/>
                  <a:gd name="connsiteX166" fmla="*/ 1035844 w 8801100"/>
                  <a:gd name="connsiteY166" fmla="*/ 2667000 h 4410075"/>
                  <a:gd name="connsiteX167" fmla="*/ 1114425 w 8801100"/>
                  <a:gd name="connsiteY167" fmla="*/ 2721769 h 4410075"/>
                  <a:gd name="connsiteX168" fmla="*/ 1245393 w 8801100"/>
                  <a:gd name="connsiteY168" fmla="*/ 2724150 h 4410075"/>
                  <a:gd name="connsiteX169" fmla="*/ 1435893 w 8801100"/>
                  <a:gd name="connsiteY169" fmla="*/ 2793206 h 4410075"/>
                  <a:gd name="connsiteX170" fmla="*/ 1638300 w 8801100"/>
                  <a:gd name="connsiteY170" fmla="*/ 2943225 h 4410075"/>
                  <a:gd name="connsiteX171" fmla="*/ 1671637 w 8801100"/>
                  <a:gd name="connsiteY171" fmla="*/ 3009900 h 4410075"/>
                  <a:gd name="connsiteX172" fmla="*/ 1838325 w 8801100"/>
                  <a:gd name="connsiteY172" fmla="*/ 3136106 h 4410075"/>
                  <a:gd name="connsiteX173" fmla="*/ 1909763 w 8801100"/>
                  <a:gd name="connsiteY173" fmla="*/ 3131344 h 4410075"/>
                  <a:gd name="connsiteX174" fmla="*/ 1945482 w 8801100"/>
                  <a:gd name="connsiteY174" fmla="*/ 3155156 h 4410075"/>
                  <a:gd name="connsiteX175" fmla="*/ 1916906 w 8801100"/>
                  <a:gd name="connsiteY175" fmla="*/ 3195638 h 4410075"/>
                  <a:gd name="connsiteX176" fmla="*/ 1924050 w 8801100"/>
                  <a:gd name="connsiteY176" fmla="*/ 3248025 h 4410075"/>
                  <a:gd name="connsiteX177" fmla="*/ 1976438 w 8801100"/>
                  <a:gd name="connsiteY177" fmla="*/ 3274219 h 4410075"/>
                  <a:gd name="connsiteX178" fmla="*/ 2038350 w 8801100"/>
                  <a:gd name="connsiteY178" fmla="*/ 3498057 h 4410075"/>
                  <a:gd name="connsiteX179" fmla="*/ 2028825 w 8801100"/>
                  <a:gd name="connsiteY179" fmla="*/ 3562350 h 4410075"/>
                  <a:gd name="connsiteX180" fmla="*/ 2164556 w 8801100"/>
                  <a:gd name="connsiteY180" fmla="*/ 3729038 h 4410075"/>
                  <a:gd name="connsiteX181" fmla="*/ 2183606 w 8801100"/>
                  <a:gd name="connsiteY181" fmla="*/ 3779044 h 4410075"/>
                  <a:gd name="connsiteX182" fmla="*/ 2157413 w 8801100"/>
                  <a:gd name="connsiteY182" fmla="*/ 3798094 h 4410075"/>
                  <a:gd name="connsiteX183" fmla="*/ 2259806 w 8801100"/>
                  <a:gd name="connsiteY183" fmla="*/ 3807619 h 4410075"/>
                  <a:gd name="connsiteX184" fmla="*/ 2371725 w 8801100"/>
                  <a:gd name="connsiteY184" fmla="*/ 3795713 h 4410075"/>
                  <a:gd name="connsiteX185" fmla="*/ 2650331 w 8801100"/>
                  <a:gd name="connsiteY185" fmla="*/ 3879056 h 4410075"/>
                  <a:gd name="connsiteX186" fmla="*/ 3057525 w 8801100"/>
                  <a:gd name="connsiteY186" fmla="*/ 3960019 h 4410075"/>
                  <a:gd name="connsiteX187" fmla="*/ 3255169 w 8801100"/>
                  <a:gd name="connsiteY187" fmla="*/ 3929062 h 4410075"/>
                  <a:gd name="connsiteX188" fmla="*/ 3300413 w 8801100"/>
                  <a:gd name="connsiteY188" fmla="*/ 3940968 h 4410075"/>
                  <a:gd name="connsiteX189" fmla="*/ 3355181 w 8801100"/>
                  <a:gd name="connsiteY189" fmla="*/ 3917157 h 4410075"/>
                  <a:gd name="connsiteX190" fmla="*/ 3748087 w 8801100"/>
                  <a:gd name="connsiteY190" fmla="*/ 4007644 h 4410075"/>
                  <a:gd name="connsiteX191" fmla="*/ 3831432 w 8801100"/>
                  <a:gd name="connsiteY191" fmla="*/ 4105275 h 4410075"/>
                  <a:gd name="connsiteX192" fmla="*/ 3950494 w 8801100"/>
                  <a:gd name="connsiteY192" fmla="*/ 4176713 h 4410075"/>
                  <a:gd name="connsiteX193" fmla="*/ 4010025 w 8801100"/>
                  <a:gd name="connsiteY193" fmla="*/ 4160044 h 4410075"/>
                  <a:gd name="connsiteX194" fmla="*/ 4360068 w 8801100"/>
                  <a:gd name="connsiteY194" fmla="*/ 4333875 h 4410075"/>
                  <a:gd name="connsiteX195" fmla="*/ 4586288 w 8801100"/>
                  <a:gd name="connsiteY195" fmla="*/ 4305300 h 4410075"/>
                  <a:gd name="connsiteX196" fmla="*/ 4595813 w 8801100"/>
                  <a:gd name="connsiteY196" fmla="*/ 4383881 h 4410075"/>
                  <a:gd name="connsiteX197" fmla="*/ 4681538 w 8801100"/>
                  <a:gd name="connsiteY197" fmla="*/ 4379118 h 4410075"/>
                  <a:gd name="connsiteX198" fmla="*/ 4760119 w 8801100"/>
                  <a:gd name="connsiteY198" fmla="*/ 4410075 h 4410075"/>
                  <a:gd name="connsiteX199" fmla="*/ 4802981 w 8801100"/>
                  <a:gd name="connsiteY199" fmla="*/ 4350544 h 4410075"/>
                  <a:gd name="connsiteX200" fmla="*/ 5474494 w 8801100"/>
                  <a:gd name="connsiteY200" fmla="*/ 4031456 h 4410075"/>
                  <a:gd name="connsiteX201" fmla="*/ 5562600 w 8801100"/>
                  <a:gd name="connsiteY201" fmla="*/ 4060032 h 4410075"/>
                  <a:gd name="connsiteX202" fmla="*/ 5693569 w 8801100"/>
                  <a:gd name="connsiteY202" fmla="*/ 4031456 h 4410075"/>
                  <a:gd name="connsiteX203" fmla="*/ 5872162 w 8801100"/>
                  <a:gd name="connsiteY203" fmla="*/ 4048125 h 4410075"/>
                  <a:gd name="connsiteX204" fmla="*/ 5929313 w 8801100"/>
                  <a:gd name="connsiteY204" fmla="*/ 4021932 h 4410075"/>
                  <a:gd name="connsiteX205" fmla="*/ 6062662 w 8801100"/>
                  <a:gd name="connsiteY205" fmla="*/ 4019550 h 4410075"/>
                  <a:gd name="connsiteX206" fmla="*/ 6196012 w 8801100"/>
                  <a:gd name="connsiteY206" fmla="*/ 3921919 h 4410075"/>
                  <a:gd name="connsiteX207" fmla="*/ 6262687 w 8801100"/>
                  <a:gd name="connsiteY207" fmla="*/ 3914775 h 4410075"/>
                  <a:gd name="connsiteX208" fmla="*/ 6360319 w 8801100"/>
                  <a:gd name="connsiteY208" fmla="*/ 3840956 h 4410075"/>
                  <a:gd name="connsiteX209" fmla="*/ 6434138 w 8801100"/>
                  <a:gd name="connsiteY209" fmla="*/ 3771900 h 4410075"/>
                  <a:gd name="connsiteX210" fmla="*/ 6443663 w 8801100"/>
                  <a:gd name="connsiteY210" fmla="*/ 3709988 h 4410075"/>
                  <a:gd name="connsiteX211" fmla="*/ 6477000 w 8801100"/>
                  <a:gd name="connsiteY211" fmla="*/ 3640931 h 4410075"/>
                  <a:gd name="connsiteX212" fmla="*/ 6629400 w 8801100"/>
                  <a:gd name="connsiteY212" fmla="*/ 3533775 h 4410075"/>
                  <a:gd name="connsiteX213" fmla="*/ 6662738 w 8801100"/>
                  <a:gd name="connsiteY213" fmla="*/ 3538538 h 4410075"/>
                  <a:gd name="connsiteX214" fmla="*/ 6715125 w 8801100"/>
                  <a:gd name="connsiteY214" fmla="*/ 3459956 h 4410075"/>
                  <a:gd name="connsiteX215" fmla="*/ 6762750 w 8801100"/>
                  <a:gd name="connsiteY215" fmla="*/ 3421856 h 4410075"/>
                  <a:gd name="connsiteX216" fmla="*/ 6748463 w 8801100"/>
                  <a:gd name="connsiteY216" fmla="*/ 3352800 h 4410075"/>
                  <a:gd name="connsiteX217" fmla="*/ 6698456 w 8801100"/>
                  <a:gd name="connsiteY217" fmla="*/ 3321843 h 4410075"/>
                  <a:gd name="connsiteX218" fmla="*/ 6638925 w 8801100"/>
                  <a:gd name="connsiteY218" fmla="*/ 3267075 h 4410075"/>
                  <a:gd name="connsiteX219" fmla="*/ 6619875 w 8801100"/>
                  <a:gd name="connsiteY219" fmla="*/ 3209925 h 4410075"/>
                  <a:gd name="connsiteX220" fmla="*/ 6584156 w 8801100"/>
                  <a:gd name="connsiteY220" fmla="*/ 3176588 h 4410075"/>
                  <a:gd name="connsiteX221" fmla="*/ 6610350 w 8801100"/>
                  <a:gd name="connsiteY221" fmla="*/ 3124200 h 4410075"/>
                  <a:gd name="connsiteX222" fmla="*/ 6650831 w 8801100"/>
                  <a:gd name="connsiteY222" fmla="*/ 2945606 h 4410075"/>
                  <a:gd name="connsiteX223" fmla="*/ 6691313 w 8801100"/>
                  <a:gd name="connsiteY223" fmla="*/ 2878931 h 4410075"/>
                  <a:gd name="connsiteX224" fmla="*/ 6836569 w 8801100"/>
                  <a:gd name="connsiteY224" fmla="*/ 2862262 h 4410075"/>
                  <a:gd name="connsiteX225" fmla="*/ 6905625 w 8801100"/>
                  <a:gd name="connsiteY225" fmla="*/ 2919413 h 4410075"/>
                  <a:gd name="connsiteX226" fmla="*/ 6981825 w 8801100"/>
                  <a:gd name="connsiteY226" fmla="*/ 2943225 h 4410075"/>
                  <a:gd name="connsiteX227" fmla="*/ 7186612 w 8801100"/>
                  <a:gd name="connsiteY227" fmla="*/ 2947988 h 4410075"/>
                  <a:gd name="connsiteX228" fmla="*/ 7362825 w 8801100"/>
                  <a:gd name="connsiteY228" fmla="*/ 2809875 h 4410075"/>
                  <a:gd name="connsiteX229" fmla="*/ 7419975 w 8801100"/>
                  <a:gd name="connsiteY229" fmla="*/ 2719387 h 4410075"/>
                  <a:gd name="connsiteX230" fmla="*/ 7446169 w 8801100"/>
                  <a:gd name="connsiteY230" fmla="*/ 2636044 h 4410075"/>
                  <a:gd name="connsiteX231" fmla="*/ 7577137 w 8801100"/>
                  <a:gd name="connsiteY231" fmla="*/ 2636044 h 4410075"/>
                  <a:gd name="connsiteX232" fmla="*/ 7750969 w 8801100"/>
                  <a:gd name="connsiteY232" fmla="*/ 2578893 h 4410075"/>
                  <a:gd name="connsiteX233" fmla="*/ 7810500 w 8801100"/>
                  <a:gd name="connsiteY233" fmla="*/ 2466975 h 4410075"/>
                  <a:gd name="connsiteX234" fmla="*/ 7874794 w 8801100"/>
                  <a:gd name="connsiteY234" fmla="*/ 2431256 h 4410075"/>
                  <a:gd name="connsiteX235" fmla="*/ 7853363 w 8801100"/>
                  <a:gd name="connsiteY235" fmla="*/ 2386013 h 4410075"/>
                  <a:gd name="connsiteX236" fmla="*/ 7931944 w 8801100"/>
                  <a:gd name="connsiteY236" fmla="*/ 2216943 h 4410075"/>
                  <a:gd name="connsiteX237" fmla="*/ 7986713 w 8801100"/>
                  <a:gd name="connsiteY237" fmla="*/ 2157413 h 4410075"/>
                  <a:gd name="connsiteX238" fmla="*/ 8024813 w 8801100"/>
                  <a:gd name="connsiteY238" fmla="*/ 2152650 h 4410075"/>
                  <a:gd name="connsiteX239" fmla="*/ 8070056 w 8801100"/>
                  <a:gd name="connsiteY239" fmla="*/ 2157413 h 4410075"/>
                  <a:gd name="connsiteX240" fmla="*/ 8134350 w 8801100"/>
                  <a:gd name="connsiteY240" fmla="*/ 2124075 h 4410075"/>
                  <a:gd name="connsiteX241" fmla="*/ 8143875 w 8801100"/>
                  <a:gd name="connsiteY241" fmla="*/ 2059781 h 4410075"/>
                  <a:gd name="connsiteX242" fmla="*/ 8184355 w 8801100"/>
                  <a:gd name="connsiteY242" fmla="*/ 2024063 h 4410075"/>
                  <a:gd name="connsiteX243" fmla="*/ 8243888 w 8801100"/>
                  <a:gd name="connsiteY243" fmla="*/ 2064543 h 4410075"/>
                  <a:gd name="connsiteX244" fmla="*/ 8270082 w 8801100"/>
                  <a:gd name="connsiteY244" fmla="*/ 2014537 h 4410075"/>
                  <a:gd name="connsiteX245" fmla="*/ 8365331 w 8801100"/>
                  <a:gd name="connsiteY245" fmla="*/ 1945481 h 4410075"/>
                  <a:gd name="connsiteX246" fmla="*/ 8427244 w 8801100"/>
                  <a:gd name="connsiteY246" fmla="*/ 1952625 h 4410075"/>
                  <a:gd name="connsiteX247" fmla="*/ 8477250 w 8801100"/>
                  <a:gd name="connsiteY247" fmla="*/ 1933575 h 4410075"/>
                  <a:gd name="connsiteX248" fmla="*/ 8515350 w 8801100"/>
                  <a:gd name="connsiteY248" fmla="*/ 1905000 h 4410075"/>
                  <a:gd name="connsiteX249" fmla="*/ 8548688 w 8801100"/>
                  <a:gd name="connsiteY249" fmla="*/ 1902619 h 4410075"/>
                  <a:gd name="connsiteX250" fmla="*/ 8584406 w 8801100"/>
                  <a:gd name="connsiteY250" fmla="*/ 1933575 h 4410075"/>
                  <a:gd name="connsiteX251" fmla="*/ 8643938 w 8801100"/>
                  <a:gd name="connsiteY251" fmla="*/ 1933575 h 4410075"/>
                  <a:gd name="connsiteX252" fmla="*/ 8682037 w 8801100"/>
                  <a:gd name="connsiteY252" fmla="*/ 1914525 h 4410075"/>
                  <a:gd name="connsiteX253" fmla="*/ 8765381 w 8801100"/>
                  <a:gd name="connsiteY253" fmla="*/ 1916907 h 4410075"/>
                  <a:gd name="connsiteX254" fmla="*/ 8796338 w 8801100"/>
                  <a:gd name="connsiteY254" fmla="*/ 1871663 h 4410075"/>
                  <a:gd name="connsiteX255" fmla="*/ 8801100 w 8801100"/>
                  <a:gd name="connsiteY255" fmla="*/ 1809750 h 4410075"/>
                  <a:gd name="connsiteX256" fmla="*/ 8751093 w 8801100"/>
                  <a:gd name="connsiteY256" fmla="*/ 1769269 h 4410075"/>
                  <a:gd name="connsiteX257" fmla="*/ 8734425 w 8801100"/>
                  <a:gd name="connsiteY257" fmla="*/ 1714500 h 4410075"/>
                  <a:gd name="connsiteX258" fmla="*/ 8643938 w 8801100"/>
                  <a:gd name="connsiteY258" fmla="*/ 1652588 h 4410075"/>
                  <a:gd name="connsiteX259" fmla="*/ 8603456 w 8801100"/>
                  <a:gd name="connsiteY259" fmla="*/ 1631156 h 4410075"/>
                  <a:gd name="connsiteX260" fmla="*/ 8565356 w 8801100"/>
                  <a:gd name="connsiteY260" fmla="*/ 1585913 h 4410075"/>
                  <a:gd name="connsiteX261" fmla="*/ 8534400 w 8801100"/>
                  <a:gd name="connsiteY261" fmla="*/ 1583531 h 4410075"/>
                  <a:gd name="connsiteX262" fmla="*/ 8517731 w 8801100"/>
                  <a:gd name="connsiteY262" fmla="*/ 1531144 h 4410075"/>
                  <a:gd name="connsiteX263" fmla="*/ 8477250 w 8801100"/>
                  <a:gd name="connsiteY263" fmla="*/ 1514475 h 4410075"/>
                  <a:gd name="connsiteX264" fmla="*/ 8477250 w 8801100"/>
                  <a:gd name="connsiteY264" fmla="*/ 1514475 h 4410075"/>
                  <a:gd name="connsiteX265" fmla="*/ 8436769 w 8801100"/>
                  <a:gd name="connsiteY265" fmla="*/ 1519238 h 4410075"/>
                  <a:gd name="connsiteX266" fmla="*/ 8351043 w 8801100"/>
                  <a:gd name="connsiteY266" fmla="*/ 1445419 h 4410075"/>
                  <a:gd name="connsiteX267" fmla="*/ 8170069 w 8801100"/>
                  <a:gd name="connsiteY267" fmla="*/ 1445418 h 4410075"/>
                  <a:gd name="connsiteX268" fmla="*/ 8117681 w 8801100"/>
                  <a:gd name="connsiteY268" fmla="*/ 1483519 h 4410075"/>
                  <a:gd name="connsiteX269" fmla="*/ 8067675 w 8801100"/>
                  <a:gd name="connsiteY269" fmla="*/ 1562100 h 4410075"/>
                  <a:gd name="connsiteX270" fmla="*/ 8084344 w 8801100"/>
                  <a:gd name="connsiteY270" fmla="*/ 1583531 h 4410075"/>
                  <a:gd name="connsiteX271" fmla="*/ 8039100 w 8801100"/>
                  <a:gd name="connsiteY271" fmla="*/ 1633537 h 4410075"/>
                  <a:gd name="connsiteX272" fmla="*/ 7889081 w 8801100"/>
                  <a:gd name="connsiteY272" fmla="*/ 1557337 h 4410075"/>
                  <a:gd name="connsiteX273" fmla="*/ 7798594 w 8801100"/>
                  <a:gd name="connsiteY273" fmla="*/ 1593056 h 4410075"/>
                  <a:gd name="connsiteX274" fmla="*/ 7724775 w 8801100"/>
                  <a:gd name="connsiteY274" fmla="*/ 1590675 h 4410075"/>
                  <a:gd name="connsiteX275" fmla="*/ 7667625 w 8801100"/>
                  <a:gd name="connsiteY275" fmla="*/ 1685925 h 4410075"/>
                  <a:gd name="connsiteX276" fmla="*/ 7529513 w 8801100"/>
                  <a:gd name="connsiteY276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97706 w 8801100"/>
                  <a:gd name="connsiteY148" fmla="*/ 1459706 h 4410075"/>
                  <a:gd name="connsiteX149" fmla="*/ 764381 w 8801100"/>
                  <a:gd name="connsiteY149" fmla="*/ 1559719 h 4410075"/>
                  <a:gd name="connsiteX150" fmla="*/ 788194 w 8801100"/>
                  <a:gd name="connsiteY150" fmla="*/ 1662113 h 4410075"/>
                  <a:gd name="connsiteX151" fmla="*/ 785813 w 8801100"/>
                  <a:gd name="connsiteY151" fmla="*/ 1709738 h 4410075"/>
                  <a:gd name="connsiteX152" fmla="*/ 821531 w 8801100"/>
                  <a:gd name="connsiteY152" fmla="*/ 1809750 h 4410075"/>
                  <a:gd name="connsiteX153" fmla="*/ 866775 w 8801100"/>
                  <a:gd name="connsiteY153" fmla="*/ 1866900 h 4410075"/>
                  <a:gd name="connsiteX154" fmla="*/ 883443 w 8801100"/>
                  <a:gd name="connsiteY154" fmla="*/ 2024062 h 4410075"/>
                  <a:gd name="connsiteX155" fmla="*/ 850106 w 8801100"/>
                  <a:gd name="connsiteY155" fmla="*/ 2085975 h 4410075"/>
                  <a:gd name="connsiteX156" fmla="*/ 819150 w 8801100"/>
                  <a:gd name="connsiteY156" fmla="*/ 2162175 h 4410075"/>
                  <a:gd name="connsiteX157" fmla="*/ 833438 w 8801100"/>
                  <a:gd name="connsiteY157" fmla="*/ 2219325 h 4410075"/>
                  <a:gd name="connsiteX158" fmla="*/ 735806 w 8801100"/>
                  <a:gd name="connsiteY158" fmla="*/ 2326482 h 4410075"/>
                  <a:gd name="connsiteX159" fmla="*/ 692944 w 8801100"/>
                  <a:gd name="connsiteY159" fmla="*/ 2440781 h 4410075"/>
                  <a:gd name="connsiteX160" fmla="*/ 726281 w 8801100"/>
                  <a:gd name="connsiteY160" fmla="*/ 2481263 h 4410075"/>
                  <a:gd name="connsiteX161" fmla="*/ 709613 w 8801100"/>
                  <a:gd name="connsiteY161" fmla="*/ 2509838 h 4410075"/>
                  <a:gd name="connsiteX162" fmla="*/ 740569 w 8801100"/>
                  <a:gd name="connsiteY162" fmla="*/ 2566988 h 4410075"/>
                  <a:gd name="connsiteX163" fmla="*/ 769144 w 8801100"/>
                  <a:gd name="connsiteY163" fmla="*/ 2566988 h 4410075"/>
                  <a:gd name="connsiteX164" fmla="*/ 931069 w 8801100"/>
                  <a:gd name="connsiteY164" fmla="*/ 2669381 h 4410075"/>
                  <a:gd name="connsiteX165" fmla="*/ 1035844 w 8801100"/>
                  <a:gd name="connsiteY165" fmla="*/ 2667000 h 4410075"/>
                  <a:gd name="connsiteX166" fmla="*/ 1114425 w 8801100"/>
                  <a:gd name="connsiteY166" fmla="*/ 2721769 h 4410075"/>
                  <a:gd name="connsiteX167" fmla="*/ 1245393 w 8801100"/>
                  <a:gd name="connsiteY167" fmla="*/ 2724150 h 4410075"/>
                  <a:gd name="connsiteX168" fmla="*/ 1435893 w 8801100"/>
                  <a:gd name="connsiteY168" fmla="*/ 2793206 h 4410075"/>
                  <a:gd name="connsiteX169" fmla="*/ 1638300 w 8801100"/>
                  <a:gd name="connsiteY169" fmla="*/ 2943225 h 4410075"/>
                  <a:gd name="connsiteX170" fmla="*/ 1671637 w 8801100"/>
                  <a:gd name="connsiteY170" fmla="*/ 3009900 h 4410075"/>
                  <a:gd name="connsiteX171" fmla="*/ 1838325 w 8801100"/>
                  <a:gd name="connsiteY171" fmla="*/ 3136106 h 4410075"/>
                  <a:gd name="connsiteX172" fmla="*/ 1909763 w 8801100"/>
                  <a:gd name="connsiteY172" fmla="*/ 3131344 h 4410075"/>
                  <a:gd name="connsiteX173" fmla="*/ 1945482 w 8801100"/>
                  <a:gd name="connsiteY173" fmla="*/ 3155156 h 4410075"/>
                  <a:gd name="connsiteX174" fmla="*/ 1916906 w 8801100"/>
                  <a:gd name="connsiteY174" fmla="*/ 3195638 h 4410075"/>
                  <a:gd name="connsiteX175" fmla="*/ 1924050 w 8801100"/>
                  <a:gd name="connsiteY175" fmla="*/ 3248025 h 4410075"/>
                  <a:gd name="connsiteX176" fmla="*/ 1976438 w 8801100"/>
                  <a:gd name="connsiteY176" fmla="*/ 3274219 h 4410075"/>
                  <a:gd name="connsiteX177" fmla="*/ 2038350 w 8801100"/>
                  <a:gd name="connsiteY177" fmla="*/ 3498057 h 4410075"/>
                  <a:gd name="connsiteX178" fmla="*/ 2028825 w 8801100"/>
                  <a:gd name="connsiteY178" fmla="*/ 3562350 h 4410075"/>
                  <a:gd name="connsiteX179" fmla="*/ 2164556 w 8801100"/>
                  <a:gd name="connsiteY179" fmla="*/ 3729038 h 4410075"/>
                  <a:gd name="connsiteX180" fmla="*/ 2183606 w 8801100"/>
                  <a:gd name="connsiteY180" fmla="*/ 3779044 h 4410075"/>
                  <a:gd name="connsiteX181" fmla="*/ 2157413 w 8801100"/>
                  <a:gd name="connsiteY181" fmla="*/ 3798094 h 4410075"/>
                  <a:gd name="connsiteX182" fmla="*/ 2259806 w 8801100"/>
                  <a:gd name="connsiteY182" fmla="*/ 3807619 h 4410075"/>
                  <a:gd name="connsiteX183" fmla="*/ 2371725 w 8801100"/>
                  <a:gd name="connsiteY183" fmla="*/ 3795713 h 4410075"/>
                  <a:gd name="connsiteX184" fmla="*/ 2650331 w 8801100"/>
                  <a:gd name="connsiteY184" fmla="*/ 3879056 h 4410075"/>
                  <a:gd name="connsiteX185" fmla="*/ 3057525 w 8801100"/>
                  <a:gd name="connsiteY185" fmla="*/ 3960019 h 4410075"/>
                  <a:gd name="connsiteX186" fmla="*/ 3255169 w 8801100"/>
                  <a:gd name="connsiteY186" fmla="*/ 3929062 h 4410075"/>
                  <a:gd name="connsiteX187" fmla="*/ 3300413 w 8801100"/>
                  <a:gd name="connsiteY187" fmla="*/ 3940968 h 4410075"/>
                  <a:gd name="connsiteX188" fmla="*/ 3355181 w 8801100"/>
                  <a:gd name="connsiteY188" fmla="*/ 3917157 h 4410075"/>
                  <a:gd name="connsiteX189" fmla="*/ 3748087 w 8801100"/>
                  <a:gd name="connsiteY189" fmla="*/ 4007644 h 4410075"/>
                  <a:gd name="connsiteX190" fmla="*/ 3831432 w 8801100"/>
                  <a:gd name="connsiteY190" fmla="*/ 4105275 h 4410075"/>
                  <a:gd name="connsiteX191" fmla="*/ 3950494 w 8801100"/>
                  <a:gd name="connsiteY191" fmla="*/ 4176713 h 4410075"/>
                  <a:gd name="connsiteX192" fmla="*/ 4010025 w 8801100"/>
                  <a:gd name="connsiteY192" fmla="*/ 4160044 h 4410075"/>
                  <a:gd name="connsiteX193" fmla="*/ 4360068 w 8801100"/>
                  <a:gd name="connsiteY193" fmla="*/ 4333875 h 4410075"/>
                  <a:gd name="connsiteX194" fmla="*/ 4586288 w 8801100"/>
                  <a:gd name="connsiteY194" fmla="*/ 4305300 h 4410075"/>
                  <a:gd name="connsiteX195" fmla="*/ 4595813 w 8801100"/>
                  <a:gd name="connsiteY195" fmla="*/ 4383881 h 4410075"/>
                  <a:gd name="connsiteX196" fmla="*/ 4681538 w 8801100"/>
                  <a:gd name="connsiteY196" fmla="*/ 4379118 h 4410075"/>
                  <a:gd name="connsiteX197" fmla="*/ 4760119 w 8801100"/>
                  <a:gd name="connsiteY197" fmla="*/ 4410075 h 4410075"/>
                  <a:gd name="connsiteX198" fmla="*/ 4802981 w 8801100"/>
                  <a:gd name="connsiteY198" fmla="*/ 4350544 h 4410075"/>
                  <a:gd name="connsiteX199" fmla="*/ 5474494 w 8801100"/>
                  <a:gd name="connsiteY199" fmla="*/ 4031456 h 4410075"/>
                  <a:gd name="connsiteX200" fmla="*/ 5562600 w 8801100"/>
                  <a:gd name="connsiteY200" fmla="*/ 4060032 h 4410075"/>
                  <a:gd name="connsiteX201" fmla="*/ 5693569 w 8801100"/>
                  <a:gd name="connsiteY201" fmla="*/ 4031456 h 4410075"/>
                  <a:gd name="connsiteX202" fmla="*/ 5872162 w 8801100"/>
                  <a:gd name="connsiteY202" fmla="*/ 4048125 h 4410075"/>
                  <a:gd name="connsiteX203" fmla="*/ 5929313 w 8801100"/>
                  <a:gd name="connsiteY203" fmla="*/ 4021932 h 4410075"/>
                  <a:gd name="connsiteX204" fmla="*/ 6062662 w 8801100"/>
                  <a:gd name="connsiteY204" fmla="*/ 4019550 h 4410075"/>
                  <a:gd name="connsiteX205" fmla="*/ 6196012 w 8801100"/>
                  <a:gd name="connsiteY205" fmla="*/ 3921919 h 4410075"/>
                  <a:gd name="connsiteX206" fmla="*/ 6262687 w 8801100"/>
                  <a:gd name="connsiteY206" fmla="*/ 3914775 h 4410075"/>
                  <a:gd name="connsiteX207" fmla="*/ 6360319 w 8801100"/>
                  <a:gd name="connsiteY207" fmla="*/ 3840956 h 4410075"/>
                  <a:gd name="connsiteX208" fmla="*/ 6434138 w 8801100"/>
                  <a:gd name="connsiteY208" fmla="*/ 3771900 h 4410075"/>
                  <a:gd name="connsiteX209" fmla="*/ 6443663 w 8801100"/>
                  <a:gd name="connsiteY209" fmla="*/ 3709988 h 4410075"/>
                  <a:gd name="connsiteX210" fmla="*/ 6477000 w 8801100"/>
                  <a:gd name="connsiteY210" fmla="*/ 3640931 h 4410075"/>
                  <a:gd name="connsiteX211" fmla="*/ 6629400 w 8801100"/>
                  <a:gd name="connsiteY211" fmla="*/ 3533775 h 4410075"/>
                  <a:gd name="connsiteX212" fmla="*/ 6662738 w 8801100"/>
                  <a:gd name="connsiteY212" fmla="*/ 3538538 h 4410075"/>
                  <a:gd name="connsiteX213" fmla="*/ 6715125 w 8801100"/>
                  <a:gd name="connsiteY213" fmla="*/ 3459956 h 4410075"/>
                  <a:gd name="connsiteX214" fmla="*/ 6762750 w 8801100"/>
                  <a:gd name="connsiteY214" fmla="*/ 3421856 h 4410075"/>
                  <a:gd name="connsiteX215" fmla="*/ 6748463 w 8801100"/>
                  <a:gd name="connsiteY215" fmla="*/ 3352800 h 4410075"/>
                  <a:gd name="connsiteX216" fmla="*/ 6698456 w 8801100"/>
                  <a:gd name="connsiteY216" fmla="*/ 3321843 h 4410075"/>
                  <a:gd name="connsiteX217" fmla="*/ 6638925 w 8801100"/>
                  <a:gd name="connsiteY217" fmla="*/ 3267075 h 4410075"/>
                  <a:gd name="connsiteX218" fmla="*/ 6619875 w 8801100"/>
                  <a:gd name="connsiteY218" fmla="*/ 3209925 h 4410075"/>
                  <a:gd name="connsiteX219" fmla="*/ 6584156 w 8801100"/>
                  <a:gd name="connsiteY219" fmla="*/ 3176588 h 4410075"/>
                  <a:gd name="connsiteX220" fmla="*/ 6610350 w 8801100"/>
                  <a:gd name="connsiteY220" fmla="*/ 3124200 h 4410075"/>
                  <a:gd name="connsiteX221" fmla="*/ 6650831 w 8801100"/>
                  <a:gd name="connsiteY221" fmla="*/ 2945606 h 4410075"/>
                  <a:gd name="connsiteX222" fmla="*/ 6691313 w 8801100"/>
                  <a:gd name="connsiteY222" fmla="*/ 2878931 h 4410075"/>
                  <a:gd name="connsiteX223" fmla="*/ 6836569 w 8801100"/>
                  <a:gd name="connsiteY223" fmla="*/ 2862262 h 4410075"/>
                  <a:gd name="connsiteX224" fmla="*/ 6905625 w 8801100"/>
                  <a:gd name="connsiteY224" fmla="*/ 2919413 h 4410075"/>
                  <a:gd name="connsiteX225" fmla="*/ 6981825 w 8801100"/>
                  <a:gd name="connsiteY225" fmla="*/ 2943225 h 4410075"/>
                  <a:gd name="connsiteX226" fmla="*/ 7186612 w 8801100"/>
                  <a:gd name="connsiteY226" fmla="*/ 2947988 h 4410075"/>
                  <a:gd name="connsiteX227" fmla="*/ 7362825 w 8801100"/>
                  <a:gd name="connsiteY227" fmla="*/ 2809875 h 4410075"/>
                  <a:gd name="connsiteX228" fmla="*/ 7419975 w 8801100"/>
                  <a:gd name="connsiteY228" fmla="*/ 2719387 h 4410075"/>
                  <a:gd name="connsiteX229" fmla="*/ 7446169 w 8801100"/>
                  <a:gd name="connsiteY229" fmla="*/ 2636044 h 4410075"/>
                  <a:gd name="connsiteX230" fmla="*/ 7577137 w 8801100"/>
                  <a:gd name="connsiteY230" fmla="*/ 2636044 h 4410075"/>
                  <a:gd name="connsiteX231" fmla="*/ 7750969 w 8801100"/>
                  <a:gd name="connsiteY231" fmla="*/ 2578893 h 4410075"/>
                  <a:gd name="connsiteX232" fmla="*/ 7810500 w 8801100"/>
                  <a:gd name="connsiteY232" fmla="*/ 2466975 h 4410075"/>
                  <a:gd name="connsiteX233" fmla="*/ 7874794 w 8801100"/>
                  <a:gd name="connsiteY233" fmla="*/ 2431256 h 4410075"/>
                  <a:gd name="connsiteX234" fmla="*/ 7853363 w 8801100"/>
                  <a:gd name="connsiteY234" fmla="*/ 2386013 h 4410075"/>
                  <a:gd name="connsiteX235" fmla="*/ 7931944 w 8801100"/>
                  <a:gd name="connsiteY235" fmla="*/ 2216943 h 4410075"/>
                  <a:gd name="connsiteX236" fmla="*/ 7986713 w 8801100"/>
                  <a:gd name="connsiteY236" fmla="*/ 2157413 h 4410075"/>
                  <a:gd name="connsiteX237" fmla="*/ 8024813 w 8801100"/>
                  <a:gd name="connsiteY237" fmla="*/ 2152650 h 4410075"/>
                  <a:gd name="connsiteX238" fmla="*/ 8070056 w 8801100"/>
                  <a:gd name="connsiteY238" fmla="*/ 2157413 h 4410075"/>
                  <a:gd name="connsiteX239" fmla="*/ 8134350 w 8801100"/>
                  <a:gd name="connsiteY239" fmla="*/ 2124075 h 4410075"/>
                  <a:gd name="connsiteX240" fmla="*/ 8143875 w 8801100"/>
                  <a:gd name="connsiteY240" fmla="*/ 2059781 h 4410075"/>
                  <a:gd name="connsiteX241" fmla="*/ 8184355 w 8801100"/>
                  <a:gd name="connsiteY241" fmla="*/ 2024063 h 4410075"/>
                  <a:gd name="connsiteX242" fmla="*/ 8243888 w 8801100"/>
                  <a:gd name="connsiteY242" fmla="*/ 2064543 h 4410075"/>
                  <a:gd name="connsiteX243" fmla="*/ 8270082 w 8801100"/>
                  <a:gd name="connsiteY243" fmla="*/ 2014537 h 4410075"/>
                  <a:gd name="connsiteX244" fmla="*/ 8365331 w 8801100"/>
                  <a:gd name="connsiteY244" fmla="*/ 1945481 h 4410075"/>
                  <a:gd name="connsiteX245" fmla="*/ 8427244 w 8801100"/>
                  <a:gd name="connsiteY245" fmla="*/ 1952625 h 4410075"/>
                  <a:gd name="connsiteX246" fmla="*/ 8477250 w 8801100"/>
                  <a:gd name="connsiteY246" fmla="*/ 1933575 h 4410075"/>
                  <a:gd name="connsiteX247" fmla="*/ 8515350 w 8801100"/>
                  <a:gd name="connsiteY247" fmla="*/ 1905000 h 4410075"/>
                  <a:gd name="connsiteX248" fmla="*/ 8548688 w 8801100"/>
                  <a:gd name="connsiteY248" fmla="*/ 1902619 h 4410075"/>
                  <a:gd name="connsiteX249" fmla="*/ 8584406 w 8801100"/>
                  <a:gd name="connsiteY249" fmla="*/ 1933575 h 4410075"/>
                  <a:gd name="connsiteX250" fmla="*/ 8643938 w 8801100"/>
                  <a:gd name="connsiteY250" fmla="*/ 1933575 h 4410075"/>
                  <a:gd name="connsiteX251" fmla="*/ 8682037 w 8801100"/>
                  <a:gd name="connsiteY251" fmla="*/ 1914525 h 4410075"/>
                  <a:gd name="connsiteX252" fmla="*/ 8765381 w 8801100"/>
                  <a:gd name="connsiteY252" fmla="*/ 1916907 h 4410075"/>
                  <a:gd name="connsiteX253" fmla="*/ 8796338 w 8801100"/>
                  <a:gd name="connsiteY253" fmla="*/ 1871663 h 4410075"/>
                  <a:gd name="connsiteX254" fmla="*/ 8801100 w 8801100"/>
                  <a:gd name="connsiteY254" fmla="*/ 1809750 h 4410075"/>
                  <a:gd name="connsiteX255" fmla="*/ 8751093 w 8801100"/>
                  <a:gd name="connsiteY255" fmla="*/ 1769269 h 4410075"/>
                  <a:gd name="connsiteX256" fmla="*/ 8734425 w 8801100"/>
                  <a:gd name="connsiteY256" fmla="*/ 1714500 h 4410075"/>
                  <a:gd name="connsiteX257" fmla="*/ 8643938 w 8801100"/>
                  <a:gd name="connsiteY257" fmla="*/ 1652588 h 4410075"/>
                  <a:gd name="connsiteX258" fmla="*/ 8603456 w 8801100"/>
                  <a:gd name="connsiteY258" fmla="*/ 1631156 h 4410075"/>
                  <a:gd name="connsiteX259" fmla="*/ 8565356 w 8801100"/>
                  <a:gd name="connsiteY259" fmla="*/ 1585913 h 4410075"/>
                  <a:gd name="connsiteX260" fmla="*/ 8534400 w 8801100"/>
                  <a:gd name="connsiteY260" fmla="*/ 1583531 h 4410075"/>
                  <a:gd name="connsiteX261" fmla="*/ 8517731 w 8801100"/>
                  <a:gd name="connsiteY261" fmla="*/ 1531144 h 4410075"/>
                  <a:gd name="connsiteX262" fmla="*/ 8477250 w 8801100"/>
                  <a:gd name="connsiteY262" fmla="*/ 1514475 h 4410075"/>
                  <a:gd name="connsiteX263" fmla="*/ 8477250 w 8801100"/>
                  <a:gd name="connsiteY263" fmla="*/ 1514475 h 4410075"/>
                  <a:gd name="connsiteX264" fmla="*/ 8436769 w 8801100"/>
                  <a:gd name="connsiteY264" fmla="*/ 1519238 h 4410075"/>
                  <a:gd name="connsiteX265" fmla="*/ 8351043 w 8801100"/>
                  <a:gd name="connsiteY265" fmla="*/ 1445419 h 4410075"/>
                  <a:gd name="connsiteX266" fmla="*/ 8170069 w 8801100"/>
                  <a:gd name="connsiteY266" fmla="*/ 1445418 h 4410075"/>
                  <a:gd name="connsiteX267" fmla="*/ 8117681 w 8801100"/>
                  <a:gd name="connsiteY267" fmla="*/ 1483519 h 4410075"/>
                  <a:gd name="connsiteX268" fmla="*/ 8067675 w 8801100"/>
                  <a:gd name="connsiteY268" fmla="*/ 1562100 h 4410075"/>
                  <a:gd name="connsiteX269" fmla="*/ 8084344 w 8801100"/>
                  <a:gd name="connsiteY269" fmla="*/ 1583531 h 4410075"/>
                  <a:gd name="connsiteX270" fmla="*/ 8039100 w 8801100"/>
                  <a:gd name="connsiteY270" fmla="*/ 1633537 h 4410075"/>
                  <a:gd name="connsiteX271" fmla="*/ 7889081 w 8801100"/>
                  <a:gd name="connsiteY271" fmla="*/ 1557337 h 4410075"/>
                  <a:gd name="connsiteX272" fmla="*/ 7798594 w 8801100"/>
                  <a:gd name="connsiteY272" fmla="*/ 1593056 h 4410075"/>
                  <a:gd name="connsiteX273" fmla="*/ 7724775 w 8801100"/>
                  <a:gd name="connsiteY273" fmla="*/ 1590675 h 4410075"/>
                  <a:gd name="connsiteX274" fmla="*/ 7667625 w 8801100"/>
                  <a:gd name="connsiteY274" fmla="*/ 1685925 h 4410075"/>
                  <a:gd name="connsiteX275" fmla="*/ 7529513 w 8801100"/>
                  <a:gd name="connsiteY275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97706 w 8801100"/>
                  <a:gd name="connsiteY148" fmla="*/ 1459706 h 4410075"/>
                  <a:gd name="connsiteX149" fmla="*/ 764381 w 8801100"/>
                  <a:gd name="connsiteY149" fmla="*/ 1559719 h 4410075"/>
                  <a:gd name="connsiteX150" fmla="*/ 785813 w 8801100"/>
                  <a:gd name="connsiteY150" fmla="*/ 1709738 h 4410075"/>
                  <a:gd name="connsiteX151" fmla="*/ 821531 w 8801100"/>
                  <a:gd name="connsiteY151" fmla="*/ 1809750 h 4410075"/>
                  <a:gd name="connsiteX152" fmla="*/ 866775 w 8801100"/>
                  <a:gd name="connsiteY152" fmla="*/ 1866900 h 4410075"/>
                  <a:gd name="connsiteX153" fmla="*/ 883443 w 8801100"/>
                  <a:gd name="connsiteY153" fmla="*/ 2024062 h 4410075"/>
                  <a:gd name="connsiteX154" fmla="*/ 850106 w 8801100"/>
                  <a:gd name="connsiteY154" fmla="*/ 2085975 h 4410075"/>
                  <a:gd name="connsiteX155" fmla="*/ 819150 w 8801100"/>
                  <a:gd name="connsiteY155" fmla="*/ 2162175 h 4410075"/>
                  <a:gd name="connsiteX156" fmla="*/ 833438 w 8801100"/>
                  <a:gd name="connsiteY156" fmla="*/ 2219325 h 4410075"/>
                  <a:gd name="connsiteX157" fmla="*/ 735806 w 8801100"/>
                  <a:gd name="connsiteY157" fmla="*/ 2326482 h 4410075"/>
                  <a:gd name="connsiteX158" fmla="*/ 692944 w 8801100"/>
                  <a:gd name="connsiteY158" fmla="*/ 2440781 h 4410075"/>
                  <a:gd name="connsiteX159" fmla="*/ 726281 w 8801100"/>
                  <a:gd name="connsiteY159" fmla="*/ 2481263 h 4410075"/>
                  <a:gd name="connsiteX160" fmla="*/ 709613 w 8801100"/>
                  <a:gd name="connsiteY160" fmla="*/ 2509838 h 4410075"/>
                  <a:gd name="connsiteX161" fmla="*/ 740569 w 8801100"/>
                  <a:gd name="connsiteY161" fmla="*/ 2566988 h 4410075"/>
                  <a:gd name="connsiteX162" fmla="*/ 769144 w 8801100"/>
                  <a:gd name="connsiteY162" fmla="*/ 2566988 h 4410075"/>
                  <a:gd name="connsiteX163" fmla="*/ 931069 w 8801100"/>
                  <a:gd name="connsiteY163" fmla="*/ 2669381 h 4410075"/>
                  <a:gd name="connsiteX164" fmla="*/ 1035844 w 8801100"/>
                  <a:gd name="connsiteY164" fmla="*/ 2667000 h 4410075"/>
                  <a:gd name="connsiteX165" fmla="*/ 1114425 w 8801100"/>
                  <a:gd name="connsiteY165" fmla="*/ 2721769 h 4410075"/>
                  <a:gd name="connsiteX166" fmla="*/ 1245393 w 8801100"/>
                  <a:gd name="connsiteY166" fmla="*/ 2724150 h 4410075"/>
                  <a:gd name="connsiteX167" fmla="*/ 1435893 w 8801100"/>
                  <a:gd name="connsiteY167" fmla="*/ 2793206 h 4410075"/>
                  <a:gd name="connsiteX168" fmla="*/ 1638300 w 8801100"/>
                  <a:gd name="connsiteY168" fmla="*/ 2943225 h 4410075"/>
                  <a:gd name="connsiteX169" fmla="*/ 1671637 w 8801100"/>
                  <a:gd name="connsiteY169" fmla="*/ 3009900 h 4410075"/>
                  <a:gd name="connsiteX170" fmla="*/ 1838325 w 8801100"/>
                  <a:gd name="connsiteY170" fmla="*/ 3136106 h 4410075"/>
                  <a:gd name="connsiteX171" fmla="*/ 1909763 w 8801100"/>
                  <a:gd name="connsiteY171" fmla="*/ 3131344 h 4410075"/>
                  <a:gd name="connsiteX172" fmla="*/ 1945482 w 8801100"/>
                  <a:gd name="connsiteY172" fmla="*/ 3155156 h 4410075"/>
                  <a:gd name="connsiteX173" fmla="*/ 1916906 w 8801100"/>
                  <a:gd name="connsiteY173" fmla="*/ 3195638 h 4410075"/>
                  <a:gd name="connsiteX174" fmla="*/ 1924050 w 8801100"/>
                  <a:gd name="connsiteY174" fmla="*/ 3248025 h 4410075"/>
                  <a:gd name="connsiteX175" fmla="*/ 1976438 w 8801100"/>
                  <a:gd name="connsiteY175" fmla="*/ 3274219 h 4410075"/>
                  <a:gd name="connsiteX176" fmla="*/ 2038350 w 8801100"/>
                  <a:gd name="connsiteY176" fmla="*/ 3498057 h 4410075"/>
                  <a:gd name="connsiteX177" fmla="*/ 2028825 w 8801100"/>
                  <a:gd name="connsiteY177" fmla="*/ 3562350 h 4410075"/>
                  <a:gd name="connsiteX178" fmla="*/ 2164556 w 8801100"/>
                  <a:gd name="connsiteY178" fmla="*/ 3729038 h 4410075"/>
                  <a:gd name="connsiteX179" fmla="*/ 2183606 w 8801100"/>
                  <a:gd name="connsiteY179" fmla="*/ 3779044 h 4410075"/>
                  <a:gd name="connsiteX180" fmla="*/ 2157413 w 8801100"/>
                  <a:gd name="connsiteY180" fmla="*/ 3798094 h 4410075"/>
                  <a:gd name="connsiteX181" fmla="*/ 2259806 w 8801100"/>
                  <a:gd name="connsiteY181" fmla="*/ 3807619 h 4410075"/>
                  <a:gd name="connsiteX182" fmla="*/ 2371725 w 8801100"/>
                  <a:gd name="connsiteY182" fmla="*/ 3795713 h 4410075"/>
                  <a:gd name="connsiteX183" fmla="*/ 2650331 w 8801100"/>
                  <a:gd name="connsiteY183" fmla="*/ 3879056 h 4410075"/>
                  <a:gd name="connsiteX184" fmla="*/ 3057525 w 8801100"/>
                  <a:gd name="connsiteY184" fmla="*/ 3960019 h 4410075"/>
                  <a:gd name="connsiteX185" fmla="*/ 3255169 w 8801100"/>
                  <a:gd name="connsiteY185" fmla="*/ 3929062 h 4410075"/>
                  <a:gd name="connsiteX186" fmla="*/ 3300413 w 8801100"/>
                  <a:gd name="connsiteY186" fmla="*/ 3940968 h 4410075"/>
                  <a:gd name="connsiteX187" fmla="*/ 3355181 w 8801100"/>
                  <a:gd name="connsiteY187" fmla="*/ 3917157 h 4410075"/>
                  <a:gd name="connsiteX188" fmla="*/ 3748087 w 8801100"/>
                  <a:gd name="connsiteY188" fmla="*/ 4007644 h 4410075"/>
                  <a:gd name="connsiteX189" fmla="*/ 3831432 w 8801100"/>
                  <a:gd name="connsiteY189" fmla="*/ 4105275 h 4410075"/>
                  <a:gd name="connsiteX190" fmla="*/ 3950494 w 8801100"/>
                  <a:gd name="connsiteY190" fmla="*/ 4176713 h 4410075"/>
                  <a:gd name="connsiteX191" fmla="*/ 4010025 w 8801100"/>
                  <a:gd name="connsiteY191" fmla="*/ 4160044 h 4410075"/>
                  <a:gd name="connsiteX192" fmla="*/ 4360068 w 8801100"/>
                  <a:gd name="connsiteY192" fmla="*/ 4333875 h 4410075"/>
                  <a:gd name="connsiteX193" fmla="*/ 4586288 w 8801100"/>
                  <a:gd name="connsiteY193" fmla="*/ 4305300 h 4410075"/>
                  <a:gd name="connsiteX194" fmla="*/ 4595813 w 8801100"/>
                  <a:gd name="connsiteY194" fmla="*/ 4383881 h 4410075"/>
                  <a:gd name="connsiteX195" fmla="*/ 4681538 w 8801100"/>
                  <a:gd name="connsiteY195" fmla="*/ 4379118 h 4410075"/>
                  <a:gd name="connsiteX196" fmla="*/ 4760119 w 8801100"/>
                  <a:gd name="connsiteY196" fmla="*/ 4410075 h 4410075"/>
                  <a:gd name="connsiteX197" fmla="*/ 4802981 w 8801100"/>
                  <a:gd name="connsiteY197" fmla="*/ 4350544 h 4410075"/>
                  <a:gd name="connsiteX198" fmla="*/ 5474494 w 8801100"/>
                  <a:gd name="connsiteY198" fmla="*/ 4031456 h 4410075"/>
                  <a:gd name="connsiteX199" fmla="*/ 5562600 w 8801100"/>
                  <a:gd name="connsiteY199" fmla="*/ 4060032 h 4410075"/>
                  <a:gd name="connsiteX200" fmla="*/ 5693569 w 8801100"/>
                  <a:gd name="connsiteY200" fmla="*/ 4031456 h 4410075"/>
                  <a:gd name="connsiteX201" fmla="*/ 5872162 w 8801100"/>
                  <a:gd name="connsiteY201" fmla="*/ 4048125 h 4410075"/>
                  <a:gd name="connsiteX202" fmla="*/ 5929313 w 8801100"/>
                  <a:gd name="connsiteY202" fmla="*/ 4021932 h 4410075"/>
                  <a:gd name="connsiteX203" fmla="*/ 6062662 w 8801100"/>
                  <a:gd name="connsiteY203" fmla="*/ 4019550 h 4410075"/>
                  <a:gd name="connsiteX204" fmla="*/ 6196012 w 8801100"/>
                  <a:gd name="connsiteY204" fmla="*/ 3921919 h 4410075"/>
                  <a:gd name="connsiteX205" fmla="*/ 6262687 w 8801100"/>
                  <a:gd name="connsiteY205" fmla="*/ 3914775 h 4410075"/>
                  <a:gd name="connsiteX206" fmla="*/ 6360319 w 8801100"/>
                  <a:gd name="connsiteY206" fmla="*/ 3840956 h 4410075"/>
                  <a:gd name="connsiteX207" fmla="*/ 6434138 w 8801100"/>
                  <a:gd name="connsiteY207" fmla="*/ 3771900 h 4410075"/>
                  <a:gd name="connsiteX208" fmla="*/ 6443663 w 8801100"/>
                  <a:gd name="connsiteY208" fmla="*/ 3709988 h 4410075"/>
                  <a:gd name="connsiteX209" fmla="*/ 6477000 w 8801100"/>
                  <a:gd name="connsiteY209" fmla="*/ 3640931 h 4410075"/>
                  <a:gd name="connsiteX210" fmla="*/ 6629400 w 8801100"/>
                  <a:gd name="connsiteY210" fmla="*/ 3533775 h 4410075"/>
                  <a:gd name="connsiteX211" fmla="*/ 6662738 w 8801100"/>
                  <a:gd name="connsiteY211" fmla="*/ 3538538 h 4410075"/>
                  <a:gd name="connsiteX212" fmla="*/ 6715125 w 8801100"/>
                  <a:gd name="connsiteY212" fmla="*/ 3459956 h 4410075"/>
                  <a:gd name="connsiteX213" fmla="*/ 6762750 w 8801100"/>
                  <a:gd name="connsiteY213" fmla="*/ 3421856 h 4410075"/>
                  <a:gd name="connsiteX214" fmla="*/ 6748463 w 8801100"/>
                  <a:gd name="connsiteY214" fmla="*/ 3352800 h 4410075"/>
                  <a:gd name="connsiteX215" fmla="*/ 6698456 w 8801100"/>
                  <a:gd name="connsiteY215" fmla="*/ 3321843 h 4410075"/>
                  <a:gd name="connsiteX216" fmla="*/ 6638925 w 8801100"/>
                  <a:gd name="connsiteY216" fmla="*/ 3267075 h 4410075"/>
                  <a:gd name="connsiteX217" fmla="*/ 6619875 w 8801100"/>
                  <a:gd name="connsiteY217" fmla="*/ 3209925 h 4410075"/>
                  <a:gd name="connsiteX218" fmla="*/ 6584156 w 8801100"/>
                  <a:gd name="connsiteY218" fmla="*/ 3176588 h 4410075"/>
                  <a:gd name="connsiteX219" fmla="*/ 6610350 w 8801100"/>
                  <a:gd name="connsiteY219" fmla="*/ 3124200 h 4410075"/>
                  <a:gd name="connsiteX220" fmla="*/ 6650831 w 8801100"/>
                  <a:gd name="connsiteY220" fmla="*/ 2945606 h 4410075"/>
                  <a:gd name="connsiteX221" fmla="*/ 6691313 w 8801100"/>
                  <a:gd name="connsiteY221" fmla="*/ 2878931 h 4410075"/>
                  <a:gd name="connsiteX222" fmla="*/ 6836569 w 8801100"/>
                  <a:gd name="connsiteY222" fmla="*/ 2862262 h 4410075"/>
                  <a:gd name="connsiteX223" fmla="*/ 6905625 w 8801100"/>
                  <a:gd name="connsiteY223" fmla="*/ 2919413 h 4410075"/>
                  <a:gd name="connsiteX224" fmla="*/ 6981825 w 8801100"/>
                  <a:gd name="connsiteY224" fmla="*/ 2943225 h 4410075"/>
                  <a:gd name="connsiteX225" fmla="*/ 7186612 w 8801100"/>
                  <a:gd name="connsiteY225" fmla="*/ 2947988 h 4410075"/>
                  <a:gd name="connsiteX226" fmla="*/ 7362825 w 8801100"/>
                  <a:gd name="connsiteY226" fmla="*/ 2809875 h 4410075"/>
                  <a:gd name="connsiteX227" fmla="*/ 7419975 w 8801100"/>
                  <a:gd name="connsiteY227" fmla="*/ 2719387 h 4410075"/>
                  <a:gd name="connsiteX228" fmla="*/ 7446169 w 8801100"/>
                  <a:gd name="connsiteY228" fmla="*/ 2636044 h 4410075"/>
                  <a:gd name="connsiteX229" fmla="*/ 7577137 w 8801100"/>
                  <a:gd name="connsiteY229" fmla="*/ 2636044 h 4410075"/>
                  <a:gd name="connsiteX230" fmla="*/ 7750969 w 8801100"/>
                  <a:gd name="connsiteY230" fmla="*/ 2578893 h 4410075"/>
                  <a:gd name="connsiteX231" fmla="*/ 7810500 w 8801100"/>
                  <a:gd name="connsiteY231" fmla="*/ 2466975 h 4410075"/>
                  <a:gd name="connsiteX232" fmla="*/ 7874794 w 8801100"/>
                  <a:gd name="connsiteY232" fmla="*/ 2431256 h 4410075"/>
                  <a:gd name="connsiteX233" fmla="*/ 7853363 w 8801100"/>
                  <a:gd name="connsiteY233" fmla="*/ 2386013 h 4410075"/>
                  <a:gd name="connsiteX234" fmla="*/ 7931944 w 8801100"/>
                  <a:gd name="connsiteY234" fmla="*/ 2216943 h 4410075"/>
                  <a:gd name="connsiteX235" fmla="*/ 7986713 w 8801100"/>
                  <a:gd name="connsiteY235" fmla="*/ 2157413 h 4410075"/>
                  <a:gd name="connsiteX236" fmla="*/ 8024813 w 8801100"/>
                  <a:gd name="connsiteY236" fmla="*/ 2152650 h 4410075"/>
                  <a:gd name="connsiteX237" fmla="*/ 8070056 w 8801100"/>
                  <a:gd name="connsiteY237" fmla="*/ 2157413 h 4410075"/>
                  <a:gd name="connsiteX238" fmla="*/ 8134350 w 8801100"/>
                  <a:gd name="connsiteY238" fmla="*/ 2124075 h 4410075"/>
                  <a:gd name="connsiteX239" fmla="*/ 8143875 w 8801100"/>
                  <a:gd name="connsiteY239" fmla="*/ 2059781 h 4410075"/>
                  <a:gd name="connsiteX240" fmla="*/ 8184355 w 8801100"/>
                  <a:gd name="connsiteY240" fmla="*/ 2024063 h 4410075"/>
                  <a:gd name="connsiteX241" fmla="*/ 8243888 w 8801100"/>
                  <a:gd name="connsiteY241" fmla="*/ 2064543 h 4410075"/>
                  <a:gd name="connsiteX242" fmla="*/ 8270082 w 8801100"/>
                  <a:gd name="connsiteY242" fmla="*/ 2014537 h 4410075"/>
                  <a:gd name="connsiteX243" fmla="*/ 8365331 w 8801100"/>
                  <a:gd name="connsiteY243" fmla="*/ 1945481 h 4410075"/>
                  <a:gd name="connsiteX244" fmla="*/ 8427244 w 8801100"/>
                  <a:gd name="connsiteY244" fmla="*/ 1952625 h 4410075"/>
                  <a:gd name="connsiteX245" fmla="*/ 8477250 w 8801100"/>
                  <a:gd name="connsiteY245" fmla="*/ 1933575 h 4410075"/>
                  <a:gd name="connsiteX246" fmla="*/ 8515350 w 8801100"/>
                  <a:gd name="connsiteY246" fmla="*/ 1905000 h 4410075"/>
                  <a:gd name="connsiteX247" fmla="*/ 8548688 w 8801100"/>
                  <a:gd name="connsiteY247" fmla="*/ 1902619 h 4410075"/>
                  <a:gd name="connsiteX248" fmla="*/ 8584406 w 8801100"/>
                  <a:gd name="connsiteY248" fmla="*/ 1933575 h 4410075"/>
                  <a:gd name="connsiteX249" fmla="*/ 8643938 w 8801100"/>
                  <a:gd name="connsiteY249" fmla="*/ 1933575 h 4410075"/>
                  <a:gd name="connsiteX250" fmla="*/ 8682037 w 8801100"/>
                  <a:gd name="connsiteY250" fmla="*/ 1914525 h 4410075"/>
                  <a:gd name="connsiteX251" fmla="*/ 8765381 w 8801100"/>
                  <a:gd name="connsiteY251" fmla="*/ 1916907 h 4410075"/>
                  <a:gd name="connsiteX252" fmla="*/ 8796338 w 8801100"/>
                  <a:gd name="connsiteY252" fmla="*/ 1871663 h 4410075"/>
                  <a:gd name="connsiteX253" fmla="*/ 8801100 w 8801100"/>
                  <a:gd name="connsiteY253" fmla="*/ 1809750 h 4410075"/>
                  <a:gd name="connsiteX254" fmla="*/ 8751093 w 8801100"/>
                  <a:gd name="connsiteY254" fmla="*/ 1769269 h 4410075"/>
                  <a:gd name="connsiteX255" fmla="*/ 8734425 w 8801100"/>
                  <a:gd name="connsiteY255" fmla="*/ 1714500 h 4410075"/>
                  <a:gd name="connsiteX256" fmla="*/ 8643938 w 8801100"/>
                  <a:gd name="connsiteY256" fmla="*/ 1652588 h 4410075"/>
                  <a:gd name="connsiteX257" fmla="*/ 8603456 w 8801100"/>
                  <a:gd name="connsiteY257" fmla="*/ 1631156 h 4410075"/>
                  <a:gd name="connsiteX258" fmla="*/ 8565356 w 8801100"/>
                  <a:gd name="connsiteY258" fmla="*/ 1585913 h 4410075"/>
                  <a:gd name="connsiteX259" fmla="*/ 8534400 w 8801100"/>
                  <a:gd name="connsiteY259" fmla="*/ 1583531 h 4410075"/>
                  <a:gd name="connsiteX260" fmla="*/ 8517731 w 8801100"/>
                  <a:gd name="connsiteY260" fmla="*/ 1531144 h 4410075"/>
                  <a:gd name="connsiteX261" fmla="*/ 8477250 w 8801100"/>
                  <a:gd name="connsiteY261" fmla="*/ 1514475 h 4410075"/>
                  <a:gd name="connsiteX262" fmla="*/ 8477250 w 8801100"/>
                  <a:gd name="connsiteY262" fmla="*/ 1514475 h 4410075"/>
                  <a:gd name="connsiteX263" fmla="*/ 8436769 w 8801100"/>
                  <a:gd name="connsiteY263" fmla="*/ 1519238 h 4410075"/>
                  <a:gd name="connsiteX264" fmla="*/ 8351043 w 8801100"/>
                  <a:gd name="connsiteY264" fmla="*/ 1445419 h 4410075"/>
                  <a:gd name="connsiteX265" fmla="*/ 8170069 w 8801100"/>
                  <a:gd name="connsiteY265" fmla="*/ 1445418 h 4410075"/>
                  <a:gd name="connsiteX266" fmla="*/ 8117681 w 8801100"/>
                  <a:gd name="connsiteY266" fmla="*/ 1483519 h 4410075"/>
                  <a:gd name="connsiteX267" fmla="*/ 8067675 w 8801100"/>
                  <a:gd name="connsiteY267" fmla="*/ 1562100 h 4410075"/>
                  <a:gd name="connsiteX268" fmla="*/ 8084344 w 8801100"/>
                  <a:gd name="connsiteY268" fmla="*/ 1583531 h 4410075"/>
                  <a:gd name="connsiteX269" fmla="*/ 8039100 w 8801100"/>
                  <a:gd name="connsiteY269" fmla="*/ 1633537 h 4410075"/>
                  <a:gd name="connsiteX270" fmla="*/ 7889081 w 8801100"/>
                  <a:gd name="connsiteY270" fmla="*/ 1557337 h 4410075"/>
                  <a:gd name="connsiteX271" fmla="*/ 7798594 w 8801100"/>
                  <a:gd name="connsiteY271" fmla="*/ 1593056 h 4410075"/>
                  <a:gd name="connsiteX272" fmla="*/ 7724775 w 8801100"/>
                  <a:gd name="connsiteY272" fmla="*/ 1590675 h 4410075"/>
                  <a:gd name="connsiteX273" fmla="*/ 7667625 w 8801100"/>
                  <a:gd name="connsiteY273" fmla="*/ 1685925 h 4410075"/>
                  <a:gd name="connsiteX274" fmla="*/ 7529513 w 8801100"/>
                  <a:gd name="connsiteY274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97706 w 8801100"/>
                  <a:gd name="connsiteY148" fmla="*/ 1459706 h 4410075"/>
                  <a:gd name="connsiteX149" fmla="*/ 785813 w 8801100"/>
                  <a:gd name="connsiteY149" fmla="*/ 1709738 h 4410075"/>
                  <a:gd name="connsiteX150" fmla="*/ 821531 w 8801100"/>
                  <a:gd name="connsiteY150" fmla="*/ 1809750 h 4410075"/>
                  <a:gd name="connsiteX151" fmla="*/ 866775 w 8801100"/>
                  <a:gd name="connsiteY151" fmla="*/ 1866900 h 4410075"/>
                  <a:gd name="connsiteX152" fmla="*/ 883443 w 8801100"/>
                  <a:gd name="connsiteY152" fmla="*/ 2024062 h 4410075"/>
                  <a:gd name="connsiteX153" fmla="*/ 850106 w 8801100"/>
                  <a:gd name="connsiteY153" fmla="*/ 2085975 h 4410075"/>
                  <a:gd name="connsiteX154" fmla="*/ 819150 w 8801100"/>
                  <a:gd name="connsiteY154" fmla="*/ 2162175 h 4410075"/>
                  <a:gd name="connsiteX155" fmla="*/ 833438 w 8801100"/>
                  <a:gd name="connsiteY155" fmla="*/ 2219325 h 4410075"/>
                  <a:gd name="connsiteX156" fmla="*/ 735806 w 8801100"/>
                  <a:gd name="connsiteY156" fmla="*/ 2326482 h 4410075"/>
                  <a:gd name="connsiteX157" fmla="*/ 692944 w 8801100"/>
                  <a:gd name="connsiteY157" fmla="*/ 2440781 h 4410075"/>
                  <a:gd name="connsiteX158" fmla="*/ 726281 w 8801100"/>
                  <a:gd name="connsiteY158" fmla="*/ 2481263 h 4410075"/>
                  <a:gd name="connsiteX159" fmla="*/ 709613 w 8801100"/>
                  <a:gd name="connsiteY159" fmla="*/ 2509838 h 4410075"/>
                  <a:gd name="connsiteX160" fmla="*/ 740569 w 8801100"/>
                  <a:gd name="connsiteY160" fmla="*/ 2566988 h 4410075"/>
                  <a:gd name="connsiteX161" fmla="*/ 769144 w 8801100"/>
                  <a:gd name="connsiteY161" fmla="*/ 2566988 h 4410075"/>
                  <a:gd name="connsiteX162" fmla="*/ 931069 w 8801100"/>
                  <a:gd name="connsiteY162" fmla="*/ 2669381 h 4410075"/>
                  <a:gd name="connsiteX163" fmla="*/ 1035844 w 8801100"/>
                  <a:gd name="connsiteY163" fmla="*/ 2667000 h 4410075"/>
                  <a:gd name="connsiteX164" fmla="*/ 1114425 w 8801100"/>
                  <a:gd name="connsiteY164" fmla="*/ 2721769 h 4410075"/>
                  <a:gd name="connsiteX165" fmla="*/ 1245393 w 8801100"/>
                  <a:gd name="connsiteY165" fmla="*/ 2724150 h 4410075"/>
                  <a:gd name="connsiteX166" fmla="*/ 1435893 w 8801100"/>
                  <a:gd name="connsiteY166" fmla="*/ 2793206 h 4410075"/>
                  <a:gd name="connsiteX167" fmla="*/ 1638300 w 8801100"/>
                  <a:gd name="connsiteY167" fmla="*/ 2943225 h 4410075"/>
                  <a:gd name="connsiteX168" fmla="*/ 1671637 w 8801100"/>
                  <a:gd name="connsiteY168" fmla="*/ 3009900 h 4410075"/>
                  <a:gd name="connsiteX169" fmla="*/ 1838325 w 8801100"/>
                  <a:gd name="connsiteY169" fmla="*/ 3136106 h 4410075"/>
                  <a:gd name="connsiteX170" fmla="*/ 1909763 w 8801100"/>
                  <a:gd name="connsiteY170" fmla="*/ 3131344 h 4410075"/>
                  <a:gd name="connsiteX171" fmla="*/ 1945482 w 8801100"/>
                  <a:gd name="connsiteY171" fmla="*/ 3155156 h 4410075"/>
                  <a:gd name="connsiteX172" fmla="*/ 1916906 w 8801100"/>
                  <a:gd name="connsiteY172" fmla="*/ 3195638 h 4410075"/>
                  <a:gd name="connsiteX173" fmla="*/ 1924050 w 8801100"/>
                  <a:gd name="connsiteY173" fmla="*/ 3248025 h 4410075"/>
                  <a:gd name="connsiteX174" fmla="*/ 1976438 w 8801100"/>
                  <a:gd name="connsiteY174" fmla="*/ 3274219 h 4410075"/>
                  <a:gd name="connsiteX175" fmla="*/ 2038350 w 8801100"/>
                  <a:gd name="connsiteY175" fmla="*/ 3498057 h 4410075"/>
                  <a:gd name="connsiteX176" fmla="*/ 2028825 w 8801100"/>
                  <a:gd name="connsiteY176" fmla="*/ 3562350 h 4410075"/>
                  <a:gd name="connsiteX177" fmla="*/ 2164556 w 8801100"/>
                  <a:gd name="connsiteY177" fmla="*/ 3729038 h 4410075"/>
                  <a:gd name="connsiteX178" fmla="*/ 2183606 w 8801100"/>
                  <a:gd name="connsiteY178" fmla="*/ 3779044 h 4410075"/>
                  <a:gd name="connsiteX179" fmla="*/ 2157413 w 8801100"/>
                  <a:gd name="connsiteY179" fmla="*/ 3798094 h 4410075"/>
                  <a:gd name="connsiteX180" fmla="*/ 2259806 w 8801100"/>
                  <a:gd name="connsiteY180" fmla="*/ 3807619 h 4410075"/>
                  <a:gd name="connsiteX181" fmla="*/ 2371725 w 8801100"/>
                  <a:gd name="connsiteY181" fmla="*/ 3795713 h 4410075"/>
                  <a:gd name="connsiteX182" fmla="*/ 2650331 w 8801100"/>
                  <a:gd name="connsiteY182" fmla="*/ 3879056 h 4410075"/>
                  <a:gd name="connsiteX183" fmla="*/ 3057525 w 8801100"/>
                  <a:gd name="connsiteY183" fmla="*/ 3960019 h 4410075"/>
                  <a:gd name="connsiteX184" fmla="*/ 3255169 w 8801100"/>
                  <a:gd name="connsiteY184" fmla="*/ 3929062 h 4410075"/>
                  <a:gd name="connsiteX185" fmla="*/ 3300413 w 8801100"/>
                  <a:gd name="connsiteY185" fmla="*/ 3940968 h 4410075"/>
                  <a:gd name="connsiteX186" fmla="*/ 3355181 w 8801100"/>
                  <a:gd name="connsiteY186" fmla="*/ 3917157 h 4410075"/>
                  <a:gd name="connsiteX187" fmla="*/ 3748087 w 8801100"/>
                  <a:gd name="connsiteY187" fmla="*/ 4007644 h 4410075"/>
                  <a:gd name="connsiteX188" fmla="*/ 3831432 w 8801100"/>
                  <a:gd name="connsiteY188" fmla="*/ 4105275 h 4410075"/>
                  <a:gd name="connsiteX189" fmla="*/ 3950494 w 8801100"/>
                  <a:gd name="connsiteY189" fmla="*/ 4176713 h 4410075"/>
                  <a:gd name="connsiteX190" fmla="*/ 4010025 w 8801100"/>
                  <a:gd name="connsiteY190" fmla="*/ 4160044 h 4410075"/>
                  <a:gd name="connsiteX191" fmla="*/ 4360068 w 8801100"/>
                  <a:gd name="connsiteY191" fmla="*/ 4333875 h 4410075"/>
                  <a:gd name="connsiteX192" fmla="*/ 4586288 w 8801100"/>
                  <a:gd name="connsiteY192" fmla="*/ 4305300 h 4410075"/>
                  <a:gd name="connsiteX193" fmla="*/ 4595813 w 8801100"/>
                  <a:gd name="connsiteY193" fmla="*/ 4383881 h 4410075"/>
                  <a:gd name="connsiteX194" fmla="*/ 4681538 w 8801100"/>
                  <a:gd name="connsiteY194" fmla="*/ 4379118 h 4410075"/>
                  <a:gd name="connsiteX195" fmla="*/ 4760119 w 8801100"/>
                  <a:gd name="connsiteY195" fmla="*/ 4410075 h 4410075"/>
                  <a:gd name="connsiteX196" fmla="*/ 4802981 w 8801100"/>
                  <a:gd name="connsiteY196" fmla="*/ 4350544 h 4410075"/>
                  <a:gd name="connsiteX197" fmla="*/ 5474494 w 8801100"/>
                  <a:gd name="connsiteY197" fmla="*/ 4031456 h 4410075"/>
                  <a:gd name="connsiteX198" fmla="*/ 5562600 w 8801100"/>
                  <a:gd name="connsiteY198" fmla="*/ 4060032 h 4410075"/>
                  <a:gd name="connsiteX199" fmla="*/ 5693569 w 8801100"/>
                  <a:gd name="connsiteY199" fmla="*/ 4031456 h 4410075"/>
                  <a:gd name="connsiteX200" fmla="*/ 5872162 w 8801100"/>
                  <a:gd name="connsiteY200" fmla="*/ 4048125 h 4410075"/>
                  <a:gd name="connsiteX201" fmla="*/ 5929313 w 8801100"/>
                  <a:gd name="connsiteY201" fmla="*/ 4021932 h 4410075"/>
                  <a:gd name="connsiteX202" fmla="*/ 6062662 w 8801100"/>
                  <a:gd name="connsiteY202" fmla="*/ 4019550 h 4410075"/>
                  <a:gd name="connsiteX203" fmla="*/ 6196012 w 8801100"/>
                  <a:gd name="connsiteY203" fmla="*/ 3921919 h 4410075"/>
                  <a:gd name="connsiteX204" fmla="*/ 6262687 w 8801100"/>
                  <a:gd name="connsiteY204" fmla="*/ 3914775 h 4410075"/>
                  <a:gd name="connsiteX205" fmla="*/ 6360319 w 8801100"/>
                  <a:gd name="connsiteY205" fmla="*/ 3840956 h 4410075"/>
                  <a:gd name="connsiteX206" fmla="*/ 6434138 w 8801100"/>
                  <a:gd name="connsiteY206" fmla="*/ 3771900 h 4410075"/>
                  <a:gd name="connsiteX207" fmla="*/ 6443663 w 8801100"/>
                  <a:gd name="connsiteY207" fmla="*/ 3709988 h 4410075"/>
                  <a:gd name="connsiteX208" fmla="*/ 6477000 w 8801100"/>
                  <a:gd name="connsiteY208" fmla="*/ 3640931 h 4410075"/>
                  <a:gd name="connsiteX209" fmla="*/ 6629400 w 8801100"/>
                  <a:gd name="connsiteY209" fmla="*/ 3533775 h 4410075"/>
                  <a:gd name="connsiteX210" fmla="*/ 6662738 w 8801100"/>
                  <a:gd name="connsiteY210" fmla="*/ 3538538 h 4410075"/>
                  <a:gd name="connsiteX211" fmla="*/ 6715125 w 8801100"/>
                  <a:gd name="connsiteY211" fmla="*/ 3459956 h 4410075"/>
                  <a:gd name="connsiteX212" fmla="*/ 6762750 w 8801100"/>
                  <a:gd name="connsiteY212" fmla="*/ 3421856 h 4410075"/>
                  <a:gd name="connsiteX213" fmla="*/ 6748463 w 8801100"/>
                  <a:gd name="connsiteY213" fmla="*/ 3352800 h 4410075"/>
                  <a:gd name="connsiteX214" fmla="*/ 6698456 w 8801100"/>
                  <a:gd name="connsiteY214" fmla="*/ 3321843 h 4410075"/>
                  <a:gd name="connsiteX215" fmla="*/ 6638925 w 8801100"/>
                  <a:gd name="connsiteY215" fmla="*/ 3267075 h 4410075"/>
                  <a:gd name="connsiteX216" fmla="*/ 6619875 w 8801100"/>
                  <a:gd name="connsiteY216" fmla="*/ 3209925 h 4410075"/>
                  <a:gd name="connsiteX217" fmla="*/ 6584156 w 8801100"/>
                  <a:gd name="connsiteY217" fmla="*/ 3176588 h 4410075"/>
                  <a:gd name="connsiteX218" fmla="*/ 6610350 w 8801100"/>
                  <a:gd name="connsiteY218" fmla="*/ 3124200 h 4410075"/>
                  <a:gd name="connsiteX219" fmla="*/ 6650831 w 8801100"/>
                  <a:gd name="connsiteY219" fmla="*/ 2945606 h 4410075"/>
                  <a:gd name="connsiteX220" fmla="*/ 6691313 w 8801100"/>
                  <a:gd name="connsiteY220" fmla="*/ 2878931 h 4410075"/>
                  <a:gd name="connsiteX221" fmla="*/ 6836569 w 8801100"/>
                  <a:gd name="connsiteY221" fmla="*/ 2862262 h 4410075"/>
                  <a:gd name="connsiteX222" fmla="*/ 6905625 w 8801100"/>
                  <a:gd name="connsiteY222" fmla="*/ 2919413 h 4410075"/>
                  <a:gd name="connsiteX223" fmla="*/ 6981825 w 8801100"/>
                  <a:gd name="connsiteY223" fmla="*/ 2943225 h 4410075"/>
                  <a:gd name="connsiteX224" fmla="*/ 7186612 w 8801100"/>
                  <a:gd name="connsiteY224" fmla="*/ 2947988 h 4410075"/>
                  <a:gd name="connsiteX225" fmla="*/ 7362825 w 8801100"/>
                  <a:gd name="connsiteY225" fmla="*/ 2809875 h 4410075"/>
                  <a:gd name="connsiteX226" fmla="*/ 7419975 w 8801100"/>
                  <a:gd name="connsiteY226" fmla="*/ 2719387 h 4410075"/>
                  <a:gd name="connsiteX227" fmla="*/ 7446169 w 8801100"/>
                  <a:gd name="connsiteY227" fmla="*/ 2636044 h 4410075"/>
                  <a:gd name="connsiteX228" fmla="*/ 7577137 w 8801100"/>
                  <a:gd name="connsiteY228" fmla="*/ 2636044 h 4410075"/>
                  <a:gd name="connsiteX229" fmla="*/ 7750969 w 8801100"/>
                  <a:gd name="connsiteY229" fmla="*/ 2578893 h 4410075"/>
                  <a:gd name="connsiteX230" fmla="*/ 7810500 w 8801100"/>
                  <a:gd name="connsiteY230" fmla="*/ 2466975 h 4410075"/>
                  <a:gd name="connsiteX231" fmla="*/ 7874794 w 8801100"/>
                  <a:gd name="connsiteY231" fmla="*/ 2431256 h 4410075"/>
                  <a:gd name="connsiteX232" fmla="*/ 7853363 w 8801100"/>
                  <a:gd name="connsiteY232" fmla="*/ 2386013 h 4410075"/>
                  <a:gd name="connsiteX233" fmla="*/ 7931944 w 8801100"/>
                  <a:gd name="connsiteY233" fmla="*/ 2216943 h 4410075"/>
                  <a:gd name="connsiteX234" fmla="*/ 7986713 w 8801100"/>
                  <a:gd name="connsiteY234" fmla="*/ 2157413 h 4410075"/>
                  <a:gd name="connsiteX235" fmla="*/ 8024813 w 8801100"/>
                  <a:gd name="connsiteY235" fmla="*/ 2152650 h 4410075"/>
                  <a:gd name="connsiteX236" fmla="*/ 8070056 w 8801100"/>
                  <a:gd name="connsiteY236" fmla="*/ 2157413 h 4410075"/>
                  <a:gd name="connsiteX237" fmla="*/ 8134350 w 8801100"/>
                  <a:gd name="connsiteY237" fmla="*/ 2124075 h 4410075"/>
                  <a:gd name="connsiteX238" fmla="*/ 8143875 w 8801100"/>
                  <a:gd name="connsiteY238" fmla="*/ 2059781 h 4410075"/>
                  <a:gd name="connsiteX239" fmla="*/ 8184355 w 8801100"/>
                  <a:gd name="connsiteY239" fmla="*/ 2024063 h 4410075"/>
                  <a:gd name="connsiteX240" fmla="*/ 8243888 w 8801100"/>
                  <a:gd name="connsiteY240" fmla="*/ 2064543 h 4410075"/>
                  <a:gd name="connsiteX241" fmla="*/ 8270082 w 8801100"/>
                  <a:gd name="connsiteY241" fmla="*/ 2014537 h 4410075"/>
                  <a:gd name="connsiteX242" fmla="*/ 8365331 w 8801100"/>
                  <a:gd name="connsiteY242" fmla="*/ 1945481 h 4410075"/>
                  <a:gd name="connsiteX243" fmla="*/ 8427244 w 8801100"/>
                  <a:gd name="connsiteY243" fmla="*/ 1952625 h 4410075"/>
                  <a:gd name="connsiteX244" fmla="*/ 8477250 w 8801100"/>
                  <a:gd name="connsiteY244" fmla="*/ 1933575 h 4410075"/>
                  <a:gd name="connsiteX245" fmla="*/ 8515350 w 8801100"/>
                  <a:gd name="connsiteY245" fmla="*/ 1905000 h 4410075"/>
                  <a:gd name="connsiteX246" fmla="*/ 8548688 w 8801100"/>
                  <a:gd name="connsiteY246" fmla="*/ 1902619 h 4410075"/>
                  <a:gd name="connsiteX247" fmla="*/ 8584406 w 8801100"/>
                  <a:gd name="connsiteY247" fmla="*/ 1933575 h 4410075"/>
                  <a:gd name="connsiteX248" fmla="*/ 8643938 w 8801100"/>
                  <a:gd name="connsiteY248" fmla="*/ 1933575 h 4410075"/>
                  <a:gd name="connsiteX249" fmla="*/ 8682037 w 8801100"/>
                  <a:gd name="connsiteY249" fmla="*/ 1914525 h 4410075"/>
                  <a:gd name="connsiteX250" fmla="*/ 8765381 w 8801100"/>
                  <a:gd name="connsiteY250" fmla="*/ 1916907 h 4410075"/>
                  <a:gd name="connsiteX251" fmla="*/ 8796338 w 8801100"/>
                  <a:gd name="connsiteY251" fmla="*/ 1871663 h 4410075"/>
                  <a:gd name="connsiteX252" fmla="*/ 8801100 w 8801100"/>
                  <a:gd name="connsiteY252" fmla="*/ 1809750 h 4410075"/>
                  <a:gd name="connsiteX253" fmla="*/ 8751093 w 8801100"/>
                  <a:gd name="connsiteY253" fmla="*/ 1769269 h 4410075"/>
                  <a:gd name="connsiteX254" fmla="*/ 8734425 w 8801100"/>
                  <a:gd name="connsiteY254" fmla="*/ 1714500 h 4410075"/>
                  <a:gd name="connsiteX255" fmla="*/ 8643938 w 8801100"/>
                  <a:gd name="connsiteY255" fmla="*/ 1652588 h 4410075"/>
                  <a:gd name="connsiteX256" fmla="*/ 8603456 w 8801100"/>
                  <a:gd name="connsiteY256" fmla="*/ 1631156 h 4410075"/>
                  <a:gd name="connsiteX257" fmla="*/ 8565356 w 8801100"/>
                  <a:gd name="connsiteY257" fmla="*/ 1585913 h 4410075"/>
                  <a:gd name="connsiteX258" fmla="*/ 8534400 w 8801100"/>
                  <a:gd name="connsiteY258" fmla="*/ 1583531 h 4410075"/>
                  <a:gd name="connsiteX259" fmla="*/ 8517731 w 8801100"/>
                  <a:gd name="connsiteY259" fmla="*/ 1531144 h 4410075"/>
                  <a:gd name="connsiteX260" fmla="*/ 8477250 w 8801100"/>
                  <a:gd name="connsiteY260" fmla="*/ 1514475 h 4410075"/>
                  <a:gd name="connsiteX261" fmla="*/ 8477250 w 8801100"/>
                  <a:gd name="connsiteY261" fmla="*/ 1514475 h 4410075"/>
                  <a:gd name="connsiteX262" fmla="*/ 8436769 w 8801100"/>
                  <a:gd name="connsiteY262" fmla="*/ 1519238 h 4410075"/>
                  <a:gd name="connsiteX263" fmla="*/ 8351043 w 8801100"/>
                  <a:gd name="connsiteY263" fmla="*/ 1445419 h 4410075"/>
                  <a:gd name="connsiteX264" fmla="*/ 8170069 w 8801100"/>
                  <a:gd name="connsiteY264" fmla="*/ 1445418 h 4410075"/>
                  <a:gd name="connsiteX265" fmla="*/ 8117681 w 8801100"/>
                  <a:gd name="connsiteY265" fmla="*/ 1483519 h 4410075"/>
                  <a:gd name="connsiteX266" fmla="*/ 8067675 w 8801100"/>
                  <a:gd name="connsiteY266" fmla="*/ 1562100 h 4410075"/>
                  <a:gd name="connsiteX267" fmla="*/ 8084344 w 8801100"/>
                  <a:gd name="connsiteY267" fmla="*/ 1583531 h 4410075"/>
                  <a:gd name="connsiteX268" fmla="*/ 8039100 w 8801100"/>
                  <a:gd name="connsiteY268" fmla="*/ 1633537 h 4410075"/>
                  <a:gd name="connsiteX269" fmla="*/ 7889081 w 8801100"/>
                  <a:gd name="connsiteY269" fmla="*/ 1557337 h 4410075"/>
                  <a:gd name="connsiteX270" fmla="*/ 7798594 w 8801100"/>
                  <a:gd name="connsiteY270" fmla="*/ 1593056 h 4410075"/>
                  <a:gd name="connsiteX271" fmla="*/ 7724775 w 8801100"/>
                  <a:gd name="connsiteY271" fmla="*/ 1590675 h 4410075"/>
                  <a:gd name="connsiteX272" fmla="*/ 7667625 w 8801100"/>
                  <a:gd name="connsiteY272" fmla="*/ 1685925 h 4410075"/>
                  <a:gd name="connsiteX273" fmla="*/ 7529513 w 8801100"/>
                  <a:gd name="connsiteY273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97706 w 8801100"/>
                  <a:gd name="connsiteY148" fmla="*/ 1459706 h 4410075"/>
                  <a:gd name="connsiteX149" fmla="*/ 821531 w 8801100"/>
                  <a:gd name="connsiteY149" fmla="*/ 1809750 h 4410075"/>
                  <a:gd name="connsiteX150" fmla="*/ 866775 w 8801100"/>
                  <a:gd name="connsiteY150" fmla="*/ 1866900 h 4410075"/>
                  <a:gd name="connsiteX151" fmla="*/ 883443 w 8801100"/>
                  <a:gd name="connsiteY151" fmla="*/ 2024062 h 4410075"/>
                  <a:gd name="connsiteX152" fmla="*/ 850106 w 8801100"/>
                  <a:gd name="connsiteY152" fmla="*/ 2085975 h 4410075"/>
                  <a:gd name="connsiteX153" fmla="*/ 819150 w 8801100"/>
                  <a:gd name="connsiteY153" fmla="*/ 2162175 h 4410075"/>
                  <a:gd name="connsiteX154" fmla="*/ 833438 w 8801100"/>
                  <a:gd name="connsiteY154" fmla="*/ 2219325 h 4410075"/>
                  <a:gd name="connsiteX155" fmla="*/ 735806 w 8801100"/>
                  <a:gd name="connsiteY155" fmla="*/ 2326482 h 4410075"/>
                  <a:gd name="connsiteX156" fmla="*/ 692944 w 8801100"/>
                  <a:gd name="connsiteY156" fmla="*/ 2440781 h 4410075"/>
                  <a:gd name="connsiteX157" fmla="*/ 726281 w 8801100"/>
                  <a:gd name="connsiteY157" fmla="*/ 2481263 h 4410075"/>
                  <a:gd name="connsiteX158" fmla="*/ 709613 w 8801100"/>
                  <a:gd name="connsiteY158" fmla="*/ 2509838 h 4410075"/>
                  <a:gd name="connsiteX159" fmla="*/ 740569 w 8801100"/>
                  <a:gd name="connsiteY159" fmla="*/ 2566988 h 4410075"/>
                  <a:gd name="connsiteX160" fmla="*/ 769144 w 8801100"/>
                  <a:gd name="connsiteY160" fmla="*/ 2566988 h 4410075"/>
                  <a:gd name="connsiteX161" fmla="*/ 931069 w 8801100"/>
                  <a:gd name="connsiteY161" fmla="*/ 2669381 h 4410075"/>
                  <a:gd name="connsiteX162" fmla="*/ 1035844 w 8801100"/>
                  <a:gd name="connsiteY162" fmla="*/ 2667000 h 4410075"/>
                  <a:gd name="connsiteX163" fmla="*/ 1114425 w 8801100"/>
                  <a:gd name="connsiteY163" fmla="*/ 2721769 h 4410075"/>
                  <a:gd name="connsiteX164" fmla="*/ 1245393 w 8801100"/>
                  <a:gd name="connsiteY164" fmla="*/ 2724150 h 4410075"/>
                  <a:gd name="connsiteX165" fmla="*/ 1435893 w 8801100"/>
                  <a:gd name="connsiteY165" fmla="*/ 2793206 h 4410075"/>
                  <a:gd name="connsiteX166" fmla="*/ 1638300 w 8801100"/>
                  <a:gd name="connsiteY166" fmla="*/ 2943225 h 4410075"/>
                  <a:gd name="connsiteX167" fmla="*/ 1671637 w 8801100"/>
                  <a:gd name="connsiteY167" fmla="*/ 3009900 h 4410075"/>
                  <a:gd name="connsiteX168" fmla="*/ 1838325 w 8801100"/>
                  <a:gd name="connsiteY168" fmla="*/ 3136106 h 4410075"/>
                  <a:gd name="connsiteX169" fmla="*/ 1909763 w 8801100"/>
                  <a:gd name="connsiteY169" fmla="*/ 3131344 h 4410075"/>
                  <a:gd name="connsiteX170" fmla="*/ 1945482 w 8801100"/>
                  <a:gd name="connsiteY170" fmla="*/ 3155156 h 4410075"/>
                  <a:gd name="connsiteX171" fmla="*/ 1916906 w 8801100"/>
                  <a:gd name="connsiteY171" fmla="*/ 3195638 h 4410075"/>
                  <a:gd name="connsiteX172" fmla="*/ 1924050 w 8801100"/>
                  <a:gd name="connsiteY172" fmla="*/ 3248025 h 4410075"/>
                  <a:gd name="connsiteX173" fmla="*/ 1976438 w 8801100"/>
                  <a:gd name="connsiteY173" fmla="*/ 3274219 h 4410075"/>
                  <a:gd name="connsiteX174" fmla="*/ 2038350 w 8801100"/>
                  <a:gd name="connsiteY174" fmla="*/ 3498057 h 4410075"/>
                  <a:gd name="connsiteX175" fmla="*/ 2028825 w 8801100"/>
                  <a:gd name="connsiteY175" fmla="*/ 3562350 h 4410075"/>
                  <a:gd name="connsiteX176" fmla="*/ 2164556 w 8801100"/>
                  <a:gd name="connsiteY176" fmla="*/ 3729038 h 4410075"/>
                  <a:gd name="connsiteX177" fmla="*/ 2183606 w 8801100"/>
                  <a:gd name="connsiteY177" fmla="*/ 3779044 h 4410075"/>
                  <a:gd name="connsiteX178" fmla="*/ 2157413 w 8801100"/>
                  <a:gd name="connsiteY178" fmla="*/ 3798094 h 4410075"/>
                  <a:gd name="connsiteX179" fmla="*/ 2259806 w 8801100"/>
                  <a:gd name="connsiteY179" fmla="*/ 3807619 h 4410075"/>
                  <a:gd name="connsiteX180" fmla="*/ 2371725 w 8801100"/>
                  <a:gd name="connsiteY180" fmla="*/ 3795713 h 4410075"/>
                  <a:gd name="connsiteX181" fmla="*/ 2650331 w 8801100"/>
                  <a:gd name="connsiteY181" fmla="*/ 3879056 h 4410075"/>
                  <a:gd name="connsiteX182" fmla="*/ 3057525 w 8801100"/>
                  <a:gd name="connsiteY182" fmla="*/ 3960019 h 4410075"/>
                  <a:gd name="connsiteX183" fmla="*/ 3255169 w 8801100"/>
                  <a:gd name="connsiteY183" fmla="*/ 3929062 h 4410075"/>
                  <a:gd name="connsiteX184" fmla="*/ 3300413 w 8801100"/>
                  <a:gd name="connsiteY184" fmla="*/ 3940968 h 4410075"/>
                  <a:gd name="connsiteX185" fmla="*/ 3355181 w 8801100"/>
                  <a:gd name="connsiteY185" fmla="*/ 3917157 h 4410075"/>
                  <a:gd name="connsiteX186" fmla="*/ 3748087 w 8801100"/>
                  <a:gd name="connsiteY186" fmla="*/ 4007644 h 4410075"/>
                  <a:gd name="connsiteX187" fmla="*/ 3831432 w 8801100"/>
                  <a:gd name="connsiteY187" fmla="*/ 4105275 h 4410075"/>
                  <a:gd name="connsiteX188" fmla="*/ 3950494 w 8801100"/>
                  <a:gd name="connsiteY188" fmla="*/ 4176713 h 4410075"/>
                  <a:gd name="connsiteX189" fmla="*/ 4010025 w 8801100"/>
                  <a:gd name="connsiteY189" fmla="*/ 4160044 h 4410075"/>
                  <a:gd name="connsiteX190" fmla="*/ 4360068 w 8801100"/>
                  <a:gd name="connsiteY190" fmla="*/ 4333875 h 4410075"/>
                  <a:gd name="connsiteX191" fmla="*/ 4586288 w 8801100"/>
                  <a:gd name="connsiteY191" fmla="*/ 4305300 h 4410075"/>
                  <a:gd name="connsiteX192" fmla="*/ 4595813 w 8801100"/>
                  <a:gd name="connsiteY192" fmla="*/ 4383881 h 4410075"/>
                  <a:gd name="connsiteX193" fmla="*/ 4681538 w 8801100"/>
                  <a:gd name="connsiteY193" fmla="*/ 4379118 h 4410075"/>
                  <a:gd name="connsiteX194" fmla="*/ 4760119 w 8801100"/>
                  <a:gd name="connsiteY194" fmla="*/ 4410075 h 4410075"/>
                  <a:gd name="connsiteX195" fmla="*/ 4802981 w 8801100"/>
                  <a:gd name="connsiteY195" fmla="*/ 4350544 h 4410075"/>
                  <a:gd name="connsiteX196" fmla="*/ 5474494 w 8801100"/>
                  <a:gd name="connsiteY196" fmla="*/ 4031456 h 4410075"/>
                  <a:gd name="connsiteX197" fmla="*/ 5562600 w 8801100"/>
                  <a:gd name="connsiteY197" fmla="*/ 4060032 h 4410075"/>
                  <a:gd name="connsiteX198" fmla="*/ 5693569 w 8801100"/>
                  <a:gd name="connsiteY198" fmla="*/ 4031456 h 4410075"/>
                  <a:gd name="connsiteX199" fmla="*/ 5872162 w 8801100"/>
                  <a:gd name="connsiteY199" fmla="*/ 4048125 h 4410075"/>
                  <a:gd name="connsiteX200" fmla="*/ 5929313 w 8801100"/>
                  <a:gd name="connsiteY200" fmla="*/ 4021932 h 4410075"/>
                  <a:gd name="connsiteX201" fmla="*/ 6062662 w 8801100"/>
                  <a:gd name="connsiteY201" fmla="*/ 4019550 h 4410075"/>
                  <a:gd name="connsiteX202" fmla="*/ 6196012 w 8801100"/>
                  <a:gd name="connsiteY202" fmla="*/ 3921919 h 4410075"/>
                  <a:gd name="connsiteX203" fmla="*/ 6262687 w 8801100"/>
                  <a:gd name="connsiteY203" fmla="*/ 3914775 h 4410075"/>
                  <a:gd name="connsiteX204" fmla="*/ 6360319 w 8801100"/>
                  <a:gd name="connsiteY204" fmla="*/ 3840956 h 4410075"/>
                  <a:gd name="connsiteX205" fmla="*/ 6434138 w 8801100"/>
                  <a:gd name="connsiteY205" fmla="*/ 3771900 h 4410075"/>
                  <a:gd name="connsiteX206" fmla="*/ 6443663 w 8801100"/>
                  <a:gd name="connsiteY206" fmla="*/ 3709988 h 4410075"/>
                  <a:gd name="connsiteX207" fmla="*/ 6477000 w 8801100"/>
                  <a:gd name="connsiteY207" fmla="*/ 3640931 h 4410075"/>
                  <a:gd name="connsiteX208" fmla="*/ 6629400 w 8801100"/>
                  <a:gd name="connsiteY208" fmla="*/ 3533775 h 4410075"/>
                  <a:gd name="connsiteX209" fmla="*/ 6662738 w 8801100"/>
                  <a:gd name="connsiteY209" fmla="*/ 3538538 h 4410075"/>
                  <a:gd name="connsiteX210" fmla="*/ 6715125 w 8801100"/>
                  <a:gd name="connsiteY210" fmla="*/ 3459956 h 4410075"/>
                  <a:gd name="connsiteX211" fmla="*/ 6762750 w 8801100"/>
                  <a:gd name="connsiteY211" fmla="*/ 3421856 h 4410075"/>
                  <a:gd name="connsiteX212" fmla="*/ 6748463 w 8801100"/>
                  <a:gd name="connsiteY212" fmla="*/ 3352800 h 4410075"/>
                  <a:gd name="connsiteX213" fmla="*/ 6698456 w 8801100"/>
                  <a:gd name="connsiteY213" fmla="*/ 3321843 h 4410075"/>
                  <a:gd name="connsiteX214" fmla="*/ 6638925 w 8801100"/>
                  <a:gd name="connsiteY214" fmla="*/ 3267075 h 4410075"/>
                  <a:gd name="connsiteX215" fmla="*/ 6619875 w 8801100"/>
                  <a:gd name="connsiteY215" fmla="*/ 3209925 h 4410075"/>
                  <a:gd name="connsiteX216" fmla="*/ 6584156 w 8801100"/>
                  <a:gd name="connsiteY216" fmla="*/ 3176588 h 4410075"/>
                  <a:gd name="connsiteX217" fmla="*/ 6610350 w 8801100"/>
                  <a:gd name="connsiteY217" fmla="*/ 3124200 h 4410075"/>
                  <a:gd name="connsiteX218" fmla="*/ 6650831 w 8801100"/>
                  <a:gd name="connsiteY218" fmla="*/ 2945606 h 4410075"/>
                  <a:gd name="connsiteX219" fmla="*/ 6691313 w 8801100"/>
                  <a:gd name="connsiteY219" fmla="*/ 2878931 h 4410075"/>
                  <a:gd name="connsiteX220" fmla="*/ 6836569 w 8801100"/>
                  <a:gd name="connsiteY220" fmla="*/ 2862262 h 4410075"/>
                  <a:gd name="connsiteX221" fmla="*/ 6905625 w 8801100"/>
                  <a:gd name="connsiteY221" fmla="*/ 2919413 h 4410075"/>
                  <a:gd name="connsiteX222" fmla="*/ 6981825 w 8801100"/>
                  <a:gd name="connsiteY222" fmla="*/ 2943225 h 4410075"/>
                  <a:gd name="connsiteX223" fmla="*/ 7186612 w 8801100"/>
                  <a:gd name="connsiteY223" fmla="*/ 2947988 h 4410075"/>
                  <a:gd name="connsiteX224" fmla="*/ 7362825 w 8801100"/>
                  <a:gd name="connsiteY224" fmla="*/ 2809875 h 4410075"/>
                  <a:gd name="connsiteX225" fmla="*/ 7419975 w 8801100"/>
                  <a:gd name="connsiteY225" fmla="*/ 2719387 h 4410075"/>
                  <a:gd name="connsiteX226" fmla="*/ 7446169 w 8801100"/>
                  <a:gd name="connsiteY226" fmla="*/ 2636044 h 4410075"/>
                  <a:gd name="connsiteX227" fmla="*/ 7577137 w 8801100"/>
                  <a:gd name="connsiteY227" fmla="*/ 2636044 h 4410075"/>
                  <a:gd name="connsiteX228" fmla="*/ 7750969 w 8801100"/>
                  <a:gd name="connsiteY228" fmla="*/ 2578893 h 4410075"/>
                  <a:gd name="connsiteX229" fmla="*/ 7810500 w 8801100"/>
                  <a:gd name="connsiteY229" fmla="*/ 2466975 h 4410075"/>
                  <a:gd name="connsiteX230" fmla="*/ 7874794 w 8801100"/>
                  <a:gd name="connsiteY230" fmla="*/ 2431256 h 4410075"/>
                  <a:gd name="connsiteX231" fmla="*/ 7853363 w 8801100"/>
                  <a:gd name="connsiteY231" fmla="*/ 2386013 h 4410075"/>
                  <a:gd name="connsiteX232" fmla="*/ 7931944 w 8801100"/>
                  <a:gd name="connsiteY232" fmla="*/ 2216943 h 4410075"/>
                  <a:gd name="connsiteX233" fmla="*/ 7986713 w 8801100"/>
                  <a:gd name="connsiteY233" fmla="*/ 2157413 h 4410075"/>
                  <a:gd name="connsiteX234" fmla="*/ 8024813 w 8801100"/>
                  <a:gd name="connsiteY234" fmla="*/ 2152650 h 4410075"/>
                  <a:gd name="connsiteX235" fmla="*/ 8070056 w 8801100"/>
                  <a:gd name="connsiteY235" fmla="*/ 2157413 h 4410075"/>
                  <a:gd name="connsiteX236" fmla="*/ 8134350 w 8801100"/>
                  <a:gd name="connsiteY236" fmla="*/ 2124075 h 4410075"/>
                  <a:gd name="connsiteX237" fmla="*/ 8143875 w 8801100"/>
                  <a:gd name="connsiteY237" fmla="*/ 2059781 h 4410075"/>
                  <a:gd name="connsiteX238" fmla="*/ 8184355 w 8801100"/>
                  <a:gd name="connsiteY238" fmla="*/ 2024063 h 4410075"/>
                  <a:gd name="connsiteX239" fmla="*/ 8243888 w 8801100"/>
                  <a:gd name="connsiteY239" fmla="*/ 2064543 h 4410075"/>
                  <a:gd name="connsiteX240" fmla="*/ 8270082 w 8801100"/>
                  <a:gd name="connsiteY240" fmla="*/ 2014537 h 4410075"/>
                  <a:gd name="connsiteX241" fmla="*/ 8365331 w 8801100"/>
                  <a:gd name="connsiteY241" fmla="*/ 1945481 h 4410075"/>
                  <a:gd name="connsiteX242" fmla="*/ 8427244 w 8801100"/>
                  <a:gd name="connsiteY242" fmla="*/ 1952625 h 4410075"/>
                  <a:gd name="connsiteX243" fmla="*/ 8477250 w 8801100"/>
                  <a:gd name="connsiteY243" fmla="*/ 1933575 h 4410075"/>
                  <a:gd name="connsiteX244" fmla="*/ 8515350 w 8801100"/>
                  <a:gd name="connsiteY244" fmla="*/ 1905000 h 4410075"/>
                  <a:gd name="connsiteX245" fmla="*/ 8548688 w 8801100"/>
                  <a:gd name="connsiteY245" fmla="*/ 1902619 h 4410075"/>
                  <a:gd name="connsiteX246" fmla="*/ 8584406 w 8801100"/>
                  <a:gd name="connsiteY246" fmla="*/ 1933575 h 4410075"/>
                  <a:gd name="connsiteX247" fmla="*/ 8643938 w 8801100"/>
                  <a:gd name="connsiteY247" fmla="*/ 1933575 h 4410075"/>
                  <a:gd name="connsiteX248" fmla="*/ 8682037 w 8801100"/>
                  <a:gd name="connsiteY248" fmla="*/ 1914525 h 4410075"/>
                  <a:gd name="connsiteX249" fmla="*/ 8765381 w 8801100"/>
                  <a:gd name="connsiteY249" fmla="*/ 1916907 h 4410075"/>
                  <a:gd name="connsiteX250" fmla="*/ 8796338 w 8801100"/>
                  <a:gd name="connsiteY250" fmla="*/ 1871663 h 4410075"/>
                  <a:gd name="connsiteX251" fmla="*/ 8801100 w 8801100"/>
                  <a:gd name="connsiteY251" fmla="*/ 1809750 h 4410075"/>
                  <a:gd name="connsiteX252" fmla="*/ 8751093 w 8801100"/>
                  <a:gd name="connsiteY252" fmla="*/ 1769269 h 4410075"/>
                  <a:gd name="connsiteX253" fmla="*/ 8734425 w 8801100"/>
                  <a:gd name="connsiteY253" fmla="*/ 1714500 h 4410075"/>
                  <a:gd name="connsiteX254" fmla="*/ 8643938 w 8801100"/>
                  <a:gd name="connsiteY254" fmla="*/ 1652588 h 4410075"/>
                  <a:gd name="connsiteX255" fmla="*/ 8603456 w 8801100"/>
                  <a:gd name="connsiteY255" fmla="*/ 1631156 h 4410075"/>
                  <a:gd name="connsiteX256" fmla="*/ 8565356 w 8801100"/>
                  <a:gd name="connsiteY256" fmla="*/ 1585913 h 4410075"/>
                  <a:gd name="connsiteX257" fmla="*/ 8534400 w 8801100"/>
                  <a:gd name="connsiteY257" fmla="*/ 1583531 h 4410075"/>
                  <a:gd name="connsiteX258" fmla="*/ 8517731 w 8801100"/>
                  <a:gd name="connsiteY258" fmla="*/ 1531144 h 4410075"/>
                  <a:gd name="connsiteX259" fmla="*/ 8477250 w 8801100"/>
                  <a:gd name="connsiteY259" fmla="*/ 1514475 h 4410075"/>
                  <a:gd name="connsiteX260" fmla="*/ 8477250 w 8801100"/>
                  <a:gd name="connsiteY260" fmla="*/ 1514475 h 4410075"/>
                  <a:gd name="connsiteX261" fmla="*/ 8436769 w 8801100"/>
                  <a:gd name="connsiteY261" fmla="*/ 1519238 h 4410075"/>
                  <a:gd name="connsiteX262" fmla="*/ 8351043 w 8801100"/>
                  <a:gd name="connsiteY262" fmla="*/ 1445419 h 4410075"/>
                  <a:gd name="connsiteX263" fmla="*/ 8170069 w 8801100"/>
                  <a:gd name="connsiteY263" fmla="*/ 1445418 h 4410075"/>
                  <a:gd name="connsiteX264" fmla="*/ 8117681 w 8801100"/>
                  <a:gd name="connsiteY264" fmla="*/ 1483519 h 4410075"/>
                  <a:gd name="connsiteX265" fmla="*/ 8067675 w 8801100"/>
                  <a:gd name="connsiteY265" fmla="*/ 1562100 h 4410075"/>
                  <a:gd name="connsiteX266" fmla="*/ 8084344 w 8801100"/>
                  <a:gd name="connsiteY266" fmla="*/ 1583531 h 4410075"/>
                  <a:gd name="connsiteX267" fmla="*/ 8039100 w 8801100"/>
                  <a:gd name="connsiteY267" fmla="*/ 1633537 h 4410075"/>
                  <a:gd name="connsiteX268" fmla="*/ 7889081 w 8801100"/>
                  <a:gd name="connsiteY268" fmla="*/ 1557337 h 4410075"/>
                  <a:gd name="connsiteX269" fmla="*/ 7798594 w 8801100"/>
                  <a:gd name="connsiteY269" fmla="*/ 1593056 h 4410075"/>
                  <a:gd name="connsiteX270" fmla="*/ 7724775 w 8801100"/>
                  <a:gd name="connsiteY270" fmla="*/ 1590675 h 4410075"/>
                  <a:gd name="connsiteX271" fmla="*/ 7667625 w 8801100"/>
                  <a:gd name="connsiteY271" fmla="*/ 1685925 h 4410075"/>
                  <a:gd name="connsiteX272" fmla="*/ 7529513 w 8801100"/>
                  <a:gd name="connsiteY272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821531 w 8801100"/>
                  <a:gd name="connsiteY148" fmla="*/ 1809750 h 4410075"/>
                  <a:gd name="connsiteX149" fmla="*/ 866775 w 8801100"/>
                  <a:gd name="connsiteY149" fmla="*/ 1866900 h 4410075"/>
                  <a:gd name="connsiteX150" fmla="*/ 883443 w 8801100"/>
                  <a:gd name="connsiteY150" fmla="*/ 2024062 h 4410075"/>
                  <a:gd name="connsiteX151" fmla="*/ 850106 w 8801100"/>
                  <a:gd name="connsiteY151" fmla="*/ 2085975 h 4410075"/>
                  <a:gd name="connsiteX152" fmla="*/ 819150 w 8801100"/>
                  <a:gd name="connsiteY152" fmla="*/ 2162175 h 4410075"/>
                  <a:gd name="connsiteX153" fmla="*/ 833438 w 8801100"/>
                  <a:gd name="connsiteY153" fmla="*/ 2219325 h 4410075"/>
                  <a:gd name="connsiteX154" fmla="*/ 735806 w 8801100"/>
                  <a:gd name="connsiteY154" fmla="*/ 2326482 h 4410075"/>
                  <a:gd name="connsiteX155" fmla="*/ 692944 w 8801100"/>
                  <a:gd name="connsiteY155" fmla="*/ 2440781 h 4410075"/>
                  <a:gd name="connsiteX156" fmla="*/ 726281 w 8801100"/>
                  <a:gd name="connsiteY156" fmla="*/ 2481263 h 4410075"/>
                  <a:gd name="connsiteX157" fmla="*/ 709613 w 8801100"/>
                  <a:gd name="connsiteY157" fmla="*/ 2509838 h 4410075"/>
                  <a:gd name="connsiteX158" fmla="*/ 740569 w 8801100"/>
                  <a:gd name="connsiteY158" fmla="*/ 2566988 h 4410075"/>
                  <a:gd name="connsiteX159" fmla="*/ 769144 w 8801100"/>
                  <a:gd name="connsiteY159" fmla="*/ 2566988 h 4410075"/>
                  <a:gd name="connsiteX160" fmla="*/ 931069 w 8801100"/>
                  <a:gd name="connsiteY160" fmla="*/ 2669381 h 4410075"/>
                  <a:gd name="connsiteX161" fmla="*/ 1035844 w 8801100"/>
                  <a:gd name="connsiteY161" fmla="*/ 2667000 h 4410075"/>
                  <a:gd name="connsiteX162" fmla="*/ 1114425 w 8801100"/>
                  <a:gd name="connsiteY162" fmla="*/ 2721769 h 4410075"/>
                  <a:gd name="connsiteX163" fmla="*/ 1245393 w 8801100"/>
                  <a:gd name="connsiteY163" fmla="*/ 2724150 h 4410075"/>
                  <a:gd name="connsiteX164" fmla="*/ 1435893 w 8801100"/>
                  <a:gd name="connsiteY164" fmla="*/ 2793206 h 4410075"/>
                  <a:gd name="connsiteX165" fmla="*/ 1638300 w 8801100"/>
                  <a:gd name="connsiteY165" fmla="*/ 2943225 h 4410075"/>
                  <a:gd name="connsiteX166" fmla="*/ 1671637 w 8801100"/>
                  <a:gd name="connsiteY166" fmla="*/ 3009900 h 4410075"/>
                  <a:gd name="connsiteX167" fmla="*/ 1838325 w 8801100"/>
                  <a:gd name="connsiteY167" fmla="*/ 3136106 h 4410075"/>
                  <a:gd name="connsiteX168" fmla="*/ 1909763 w 8801100"/>
                  <a:gd name="connsiteY168" fmla="*/ 3131344 h 4410075"/>
                  <a:gd name="connsiteX169" fmla="*/ 1945482 w 8801100"/>
                  <a:gd name="connsiteY169" fmla="*/ 3155156 h 4410075"/>
                  <a:gd name="connsiteX170" fmla="*/ 1916906 w 8801100"/>
                  <a:gd name="connsiteY170" fmla="*/ 3195638 h 4410075"/>
                  <a:gd name="connsiteX171" fmla="*/ 1924050 w 8801100"/>
                  <a:gd name="connsiteY171" fmla="*/ 3248025 h 4410075"/>
                  <a:gd name="connsiteX172" fmla="*/ 1976438 w 8801100"/>
                  <a:gd name="connsiteY172" fmla="*/ 3274219 h 4410075"/>
                  <a:gd name="connsiteX173" fmla="*/ 2038350 w 8801100"/>
                  <a:gd name="connsiteY173" fmla="*/ 3498057 h 4410075"/>
                  <a:gd name="connsiteX174" fmla="*/ 2028825 w 8801100"/>
                  <a:gd name="connsiteY174" fmla="*/ 3562350 h 4410075"/>
                  <a:gd name="connsiteX175" fmla="*/ 2164556 w 8801100"/>
                  <a:gd name="connsiteY175" fmla="*/ 3729038 h 4410075"/>
                  <a:gd name="connsiteX176" fmla="*/ 2183606 w 8801100"/>
                  <a:gd name="connsiteY176" fmla="*/ 3779044 h 4410075"/>
                  <a:gd name="connsiteX177" fmla="*/ 2157413 w 8801100"/>
                  <a:gd name="connsiteY177" fmla="*/ 3798094 h 4410075"/>
                  <a:gd name="connsiteX178" fmla="*/ 2259806 w 8801100"/>
                  <a:gd name="connsiteY178" fmla="*/ 3807619 h 4410075"/>
                  <a:gd name="connsiteX179" fmla="*/ 2371725 w 8801100"/>
                  <a:gd name="connsiteY179" fmla="*/ 3795713 h 4410075"/>
                  <a:gd name="connsiteX180" fmla="*/ 2650331 w 8801100"/>
                  <a:gd name="connsiteY180" fmla="*/ 3879056 h 4410075"/>
                  <a:gd name="connsiteX181" fmla="*/ 3057525 w 8801100"/>
                  <a:gd name="connsiteY181" fmla="*/ 3960019 h 4410075"/>
                  <a:gd name="connsiteX182" fmla="*/ 3255169 w 8801100"/>
                  <a:gd name="connsiteY182" fmla="*/ 3929062 h 4410075"/>
                  <a:gd name="connsiteX183" fmla="*/ 3300413 w 8801100"/>
                  <a:gd name="connsiteY183" fmla="*/ 3940968 h 4410075"/>
                  <a:gd name="connsiteX184" fmla="*/ 3355181 w 8801100"/>
                  <a:gd name="connsiteY184" fmla="*/ 3917157 h 4410075"/>
                  <a:gd name="connsiteX185" fmla="*/ 3748087 w 8801100"/>
                  <a:gd name="connsiteY185" fmla="*/ 4007644 h 4410075"/>
                  <a:gd name="connsiteX186" fmla="*/ 3831432 w 8801100"/>
                  <a:gd name="connsiteY186" fmla="*/ 4105275 h 4410075"/>
                  <a:gd name="connsiteX187" fmla="*/ 3950494 w 8801100"/>
                  <a:gd name="connsiteY187" fmla="*/ 4176713 h 4410075"/>
                  <a:gd name="connsiteX188" fmla="*/ 4010025 w 8801100"/>
                  <a:gd name="connsiteY188" fmla="*/ 4160044 h 4410075"/>
                  <a:gd name="connsiteX189" fmla="*/ 4360068 w 8801100"/>
                  <a:gd name="connsiteY189" fmla="*/ 4333875 h 4410075"/>
                  <a:gd name="connsiteX190" fmla="*/ 4586288 w 8801100"/>
                  <a:gd name="connsiteY190" fmla="*/ 4305300 h 4410075"/>
                  <a:gd name="connsiteX191" fmla="*/ 4595813 w 8801100"/>
                  <a:gd name="connsiteY191" fmla="*/ 4383881 h 4410075"/>
                  <a:gd name="connsiteX192" fmla="*/ 4681538 w 8801100"/>
                  <a:gd name="connsiteY192" fmla="*/ 4379118 h 4410075"/>
                  <a:gd name="connsiteX193" fmla="*/ 4760119 w 8801100"/>
                  <a:gd name="connsiteY193" fmla="*/ 4410075 h 4410075"/>
                  <a:gd name="connsiteX194" fmla="*/ 4802981 w 8801100"/>
                  <a:gd name="connsiteY194" fmla="*/ 4350544 h 4410075"/>
                  <a:gd name="connsiteX195" fmla="*/ 5474494 w 8801100"/>
                  <a:gd name="connsiteY195" fmla="*/ 4031456 h 4410075"/>
                  <a:gd name="connsiteX196" fmla="*/ 5562600 w 8801100"/>
                  <a:gd name="connsiteY196" fmla="*/ 4060032 h 4410075"/>
                  <a:gd name="connsiteX197" fmla="*/ 5693569 w 8801100"/>
                  <a:gd name="connsiteY197" fmla="*/ 4031456 h 4410075"/>
                  <a:gd name="connsiteX198" fmla="*/ 5872162 w 8801100"/>
                  <a:gd name="connsiteY198" fmla="*/ 4048125 h 4410075"/>
                  <a:gd name="connsiteX199" fmla="*/ 5929313 w 8801100"/>
                  <a:gd name="connsiteY199" fmla="*/ 4021932 h 4410075"/>
                  <a:gd name="connsiteX200" fmla="*/ 6062662 w 8801100"/>
                  <a:gd name="connsiteY200" fmla="*/ 4019550 h 4410075"/>
                  <a:gd name="connsiteX201" fmla="*/ 6196012 w 8801100"/>
                  <a:gd name="connsiteY201" fmla="*/ 3921919 h 4410075"/>
                  <a:gd name="connsiteX202" fmla="*/ 6262687 w 8801100"/>
                  <a:gd name="connsiteY202" fmla="*/ 3914775 h 4410075"/>
                  <a:gd name="connsiteX203" fmla="*/ 6360319 w 8801100"/>
                  <a:gd name="connsiteY203" fmla="*/ 3840956 h 4410075"/>
                  <a:gd name="connsiteX204" fmla="*/ 6434138 w 8801100"/>
                  <a:gd name="connsiteY204" fmla="*/ 3771900 h 4410075"/>
                  <a:gd name="connsiteX205" fmla="*/ 6443663 w 8801100"/>
                  <a:gd name="connsiteY205" fmla="*/ 3709988 h 4410075"/>
                  <a:gd name="connsiteX206" fmla="*/ 6477000 w 8801100"/>
                  <a:gd name="connsiteY206" fmla="*/ 3640931 h 4410075"/>
                  <a:gd name="connsiteX207" fmla="*/ 6629400 w 8801100"/>
                  <a:gd name="connsiteY207" fmla="*/ 3533775 h 4410075"/>
                  <a:gd name="connsiteX208" fmla="*/ 6662738 w 8801100"/>
                  <a:gd name="connsiteY208" fmla="*/ 3538538 h 4410075"/>
                  <a:gd name="connsiteX209" fmla="*/ 6715125 w 8801100"/>
                  <a:gd name="connsiteY209" fmla="*/ 3459956 h 4410075"/>
                  <a:gd name="connsiteX210" fmla="*/ 6762750 w 8801100"/>
                  <a:gd name="connsiteY210" fmla="*/ 3421856 h 4410075"/>
                  <a:gd name="connsiteX211" fmla="*/ 6748463 w 8801100"/>
                  <a:gd name="connsiteY211" fmla="*/ 3352800 h 4410075"/>
                  <a:gd name="connsiteX212" fmla="*/ 6698456 w 8801100"/>
                  <a:gd name="connsiteY212" fmla="*/ 3321843 h 4410075"/>
                  <a:gd name="connsiteX213" fmla="*/ 6638925 w 8801100"/>
                  <a:gd name="connsiteY213" fmla="*/ 3267075 h 4410075"/>
                  <a:gd name="connsiteX214" fmla="*/ 6619875 w 8801100"/>
                  <a:gd name="connsiteY214" fmla="*/ 3209925 h 4410075"/>
                  <a:gd name="connsiteX215" fmla="*/ 6584156 w 8801100"/>
                  <a:gd name="connsiteY215" fmla="*/ 3176588 h 4410075"/>
                  <a:gd name="connsiteX216" fmla="*/ 6610350 w 8801100"/>
                  <a:gd name="connsiteY216" fmla="*/ 3124200 h 4410075"/>
                  <a:gd name="connsiteX217" fmla="*/ 6650831 w 8801100"/>
                  <a:gd name="connsiteY217" fmla="*/ 2945606 h 4410075"/>
                  <a:gd name="connsiteX218" fmla="*/ 6691313 w 8801100"/>
                  <a:gd name="connsiteY218" fmla="*/ 2878931 h 4410075"/>
                  <a:gd name="connsiteX219" fmla="*/ 6836569 w 8801100"/>
                  <a:gd name="connsiteY219" fmla="*/ 2862262 h 4410075"/>
                  <a:gd name="connsiteX220" fmla="*/ 6905625 w 8801100"/>
                  <a:gd name="connsiteY220" fmla="*/ 2919413 h 4410075"/>
                  <a:gd name="connsiteX221" fmla="*/ 6981825 w 8801100"/>
                  <a:gd name="connsiteY221" fmla="*/ 2943225 h 4410075"/>
                  <a:gd name="connsiteX222" fmla="*/ 7186612 w 8801100"/>
                  <a:gd name="connsiteY222" fmla="*/ 2947988 h 4410075"/>
                  <a:gd name="connsiteX223" fmla="*/ 7362825 w 8801100"/>
                  <a:gd name="connsiteY223" fmla="*/ 2809875 h 4410075"/>
                  <a:gd name="connsiteX224" fmla="*/ 7419975 w 8801100"/>
                  <a:gd name="connsiteY224" fmla="*/ 2719387 h 4410075"/>
                  <a:gd name="connsiteX225" fmla="*/ 7446169 w 8801100"/>
                  <a:gd name="connsiteY225" fmla="*/ 2636044 h 4410075"/>
                  <a:gd name="connsiteX226" fmla="*/ 7577137 w 8801100"/>
                  <a:gd name="connsiteY226" fmla="*/ 2636044 h 4410075"/>
                  <a:gd name="connsiteX227" fmla="*/ 7750969 w 8801100"/>
                  <a:gd name="connsiteY227" fmla="*/ 2578893 h 4410075"/>
                  <a:gd name="connsiteX228" fmla="*/ 7810500 w 8801100"/>
                  <a:gd name="connsiteY228" fmla="*/ 2466975 h 4410075"/>
                  <a:gd name="connsiteX229" fmla="*/ 7874794 w 8801100"/>
                  <a:gd name="connsiteY229" fmla="*/ 2431256 h 4410075"/>
                  <a:gd name="connsiteX230" fmla="*/ 7853363 w 8801100"/>
                  <a:gd name="connsiteY230" fmla="*/ 2386013 h 4410075"/>
                  <a:gd name="connsiteX231" fmla="*/ 7931944 w 8801100"/>
                  <a:gd name="connsiteY231" fmla="*/ 2216943 h 4410075"/>
                  <a:gd name="connsiteX232" fmla="*/ 7986713 w 8801100"/>
                  <a:gd name="connsiteY232" fmla="*/ 2157413 h 4410075"/>
                  <a:gd name="connsiteX233" fmla="*/ 8024813 w 8801100"/>
                  <a:gd name="connsiteY233" fmla="*/ 2152650 h 4410075"/>
                  <a:gd name="connsiteX234" fmla="*/ 8070056 w 8801100"/>
                  <a:gd name="connsiteY234" fmla="*/ 2157413 h 4410075"/>
                  <a:gd name="connsiteX235" fmla="*/ 8134350 w 8801100"/>
                  <a:gd name="connsiteY235" fmla="*/ 2124075 h 4410075"/>
                  <a:gd name="connsiteX236" fmla="*/ 8143875 w 8801100"/>
                  <a:gd name="connsiteY236" fmla="*/ 2059781 h 4410075"/>
                  <a:gd name="connsiteX237" fmla="*/ 8184355 w 8801100"/>
                  <a:gd name="connsiteY237" fmla="*/ 2024063 h 4410075"/>
                  <a:gd name="connsiteX238" fmla="*/ 8243888 w 8801100"/>
                  <a:gd name="connsiteY238" fmla="*/ 2064543 h 4410075"/>
                  <a:gd name="connsiteX239" fmla="*/ 8270082 w 8801100"/>
                  <a:gd name="connsiteY239" fmla="*/ 2014537 h 4410075"/>
                  <a:gd name="connsiteX240" fmla="*/ 8365331 w 8801100"/>
                  <a:gd name="connsiteY240" fmla="*/ 1945481 h 4410075"/>
                  <a:gd name="connsiteX241" fmla="*/ 8427244 w 8801100"/>
                  <a:gd name="connsiteY241" fmla="*/ 1952625 h 4410075"/>
                  <a:gd name="connsiteX242" fmla="*/ 8477250 w 8801100"/>
                  <a:gd name="connsiteY242" fmla="*/ 1933575 h 4410075"/>
                  <a:gd name="connsiteX243" fmla="*/ 8515350 w 8801100"/>
                  <a:gd name="connsiteY243" fmla="*/ 1905000 h 4410075"/>
                  <a:gd name="connsiteX244" fmla="*/ 8548688 w 8801100"/>
                  <a:gd name="connsiteY244" fmla="*/ 1902619 h 4410075"/>
                  <a:gd name="connsiteX245" fmla="*/ 8584406 w 8801100"/>
                  <a:gd name="connsiteY245" fmla="*/ 1933575 h 4410075"/>
                  <a:gd name="connsiteX246" fmla="*/ 8643938 w 8801100"/>
                  <a:gd name="connsiteY246" fmla="*/ 1933575 h 4410075"/>
                  <a:gd name="connsiteX247" fmla="*/ 8682037 w 8801100"/>
                  <a:gd name="connsiteY247" fmla="*/ 1914525 h 4410075"/>
                  <a:gd name="connsiteX248" fmla="*/ 8765381 w 8801100"/>
                  <a:gd name="connsiteY248" fmla="*/ 1916907 h 4410075"/>
                  <a:gd name="connsiteX249" fmla="*/ 8796338 w 8801100"/>
                  <a:gd name="connsiteY249" fmla="*/ 1871663 h 4410075"/>
                  <a:gd name="connsiteX250" fmla="*/ 8801100 w 8801100"/>
                  <a:gd name="connsiteY250" fmla="*/ 1809750 h 4410075"/>
                  <a:gd name="connsiteX251" fmla="*/ 8751093 w 8801100"/>
                  <a:gd name="connsiteY251" fmla="*/ 1769269 h 4410075"/>
                  <a:gd name="connsiteX252" fmla="*/ 8734425 w 8801100"/>
                  <a:gd name="connsiteY252" fmla="*/ 1714500 h 4410075"/>
                  <a:gd name="connsiteX253" fmla="*/ 8643938 w 8801100"/>
                  <a:gd name="connsiteY253" fmla="*/ 1652588 h 4410075"/>
                  <a:gd name="connsiteX254" fmla="*/ 8603456 w 8801100"/>
                  <a:gd name="connsiteY254" fmla="*/ 1631156 h 4410075"/>
                  <a:gd name="connsiteX255" fmla="*/ 8565356 w 8801100"/>
                  <a:gd name="connsiteY255" fmla="*/ 1585913 h 4410075"/>
                  <a:gd name="connsiteX256" fmla="*/ 8534400 w 8801100"/>
                  <a:gd name="connsiteY256" fmla="*/ 1583531 h 4410075"/>
                  <a:gd name="connsiteX257" fmla="*/ 8517731 w 8801100"/>
                  <a:gd name="connsiteY257" fmla="*/ 1531144 h 4410075"/>
                  <a:gd name="connsiteX258" fmla="*/ 8477250 w 8801100"/>
                  <a:gd name="connsiteY258" fmla="*/ 1514475 h 4410075"/>
                  <a:gd name="connsiteX259" fmla="*/ 8477250 w 8801100"/>
                  <a:gd name="connsiteY259" fmla="*/ 1514475 h 4410075"/>
                  <a:gd name="connsiteX260" fmla="*/ 8436769 w 8801100"/>
                  <a:gd name="connsiteY260" fmla="*/ 1519238 h 4410075"/>
                  <a:gd name="connsiteX261" fmla="*/ 8351043 w 8801100"/>
                  <a:gd name="connsiteY261" fmla="*/ 1445419 h 4410075"/>
                  <a:gd name="connsiteX262" fmla="*/ 8170069 w 8801100"/>
                  <a:gd name="connsiteY262" fmla="*/ 1445418 h 4410075"/>
                  <a:gd name="connsiteX263" fmla="*/ 8117681 w 8801100"/>
                  <a:gd name="connsiteY263" fmla="*/ 1483519 h 4410075"/>
                  <a:gd name="connsiteX264" fmla="*/ 8067675 w 8801100"/>
                  <a:gd name="connsiteY264" fmla="*/ 1562100 h 4410075"/>
                  <a:gd name="connsiteX265" fmla="*/ 8084344 w 8801100"/>
                  <a:gd name="connsiteY265" fmla="*/ 1583531 h 4410075"/>
                  <a:gd name="connsiteX266" fmla="*/ 8039100 w 8801100"/>
                  <a:gd name="connsiteY266" fmla="*/ 1633537 h 4410075"/>
                  <a:gd name="connsiteX267" fmla="*/ 7889081 w 8801100"/>
                  <a:gd name="connsiteY267" fmla="*/ 1557337 h 4410075"/>
                  <a:gd name="connsiteX268" fmla="*/ 7798594 w 8801100"/>
                  <a:gd name="connsiteY268" fmla="*/ 1593056 h 4410075"/>
                  <a:gd name="connsiteX269" fmla="*/ 7724775 w 8801100"/>
                  <a:gd name="connsiteY269" fmla="*/ 1590675 h 4410075"/>
                  <a:gd name="connsiteX270" fmla="*/ 7667625 w 8801100"/>
                  <a:gd name="connsiteY270" fmla="*/ 1685925 h 4410075"/>
                  <a:gd name="connsiteX271" fmla="*/ 7529513 w 8801100"/>
                  <a:gd name="connsiteY271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866775 w 8801100"/>
                  <a:gd name="connsiteY148" fmla="*/ 1866900 h 4410075"/>
                  <a:gd name="connsiteX149" fmla="*/ 883443 w 8801100"/>
                  <a:gd name="connsiteY149" fmla="*/ 2024062 h 4410075"/>
                  <a:gd name="connsiteX150" fmla="*/ 850106 w 8801100"/>
                  <a:gd name="connsiteY150" fmla="*/ 2085975 h 4410075"/>
                  <a:gd name="connsiteX151" fmla="*/ 819150 w 8801100"/>
                  <a:gd name="connsiteY151" fmla="*/ 2162175 h 4410075"/>
                  <a:gd name="connsiteX152" fmla="*/ 833438 w 8801100"/>
                  <a:gd name="connsiteY152" fmla="*/ 2219325 h 4410075"/>
                  <a:gd name="connsiteX153" fmla="*/ 735806 w 8801100"/>
                  <a:gd name="connsiteY153" fmla="*/ 2326482 h 4410075"/>
                  <a:gd name="connsiteX154" fmla="*/ 692944 w 8801100"/>
                  <a:gd name="connsiteY154" fmla="*/ 2440781 h 4410075"/>
                  <a:gd name="connsiteX155" fmla="*/ 726281 w 8801100"/>
                  <a:gd name="connsiteY155" fmla="*/ 2481263 h 4410075"/>
                  <a:gd name="connsiteX156" fmla="*/ 709613 w 8801100"/>
                  <a:gd name="connsiteY156" fmla="*/ 2509838 h 4410075"/>
                  <a:gd name="connsiteX157" fmla="*/ 740569 w 8801100"/>
                  <a:gd name="connsiteY157" fmla="*/ 2566988 h 4410075"/>
                  <a:gd name="connsiteX158" fmla="*/ 769144 w 8801100"/>
                  <a:gd name="connsiteY158" fmla="*/ 2566988 h 4410075"/>
                  <a:gd name="connsiteX159" fmla="*/ 931069 w 8801100"/>
                  <a:gd name="connsiteY159" fmla="*/ 2669381 h 4410075"/>
                  <a:gd name="connsiteX160" fmla="*/ 1035844 w 8801100"/>
                  <a:gd name="connsiteY160" fmla="*/ 2667000 h 4410075"/>
                  <a:gd name="connsiteX161" fmla="*/ 1114425 w 8801100"/>
                  <a:gd name="connsiteY161" fmla="*/ 2721769 h 4410075"/>
                  <a:gd name="connsiteX162" fmla="*/ 1245393 w 8801100"/>
                  <a:gd name="connsiteY162" fmla="*/ 2724150 h 4410075"/>
                  <a:gd name="connsiteX163" fmla="*/ 1435893 w 8801100"/>
                  <a:gd name="connsiteY163" fmla="*/ 2793206 h 4410075"/>
                  <a:gd name="connsiteX164" fmla="*/ 1638300 w 8801100"/>
                  <a:gd name="connsiteY164" fmla="*/ 2943225 h 4410075"/>
                  <a:gd name="connsiteX165" fmla="*/ 1671637 w 8801100"/>
                  <a:gd name="connsiteY165" fmla="*/ 3009900 h 4410075"/>
                  <a:gd name="connsiteX166" fmla="*/ 1838325 w 8801100"/>
                  <a:gd name="connsiteY166" fmla="*/ 3136106 h 4410075"/>
                  <a:gd name="connsiteX167" fmla="*/ 1909763 w 8801100"/>
                  <a:gd name="connsiteY167" fmla="*/ 3131344 h 4410075"/>
                  <a:gd name="connsiteX168" fmla="*/ 1945482 w 8801100"/>
                  <a:gd name="connsiteY168" fmla="*/ 3155156 h 4410075"/>
                  <a:gd name="connsiteX169" fmla="*/ 1916906 w 8801100"/>
                  <a:gd name="connsiteY169" fmla="*/ 3195638 h 4410075"/>
                  <a:gd name="connsiteX170" fmla="*/ 1924050 w 8801100"/>
                  <a:gd name="connsiteY170" fmla="*/ 3248025 h 4410075"/>
                  <a:gd name="connsiteX171" fmla="*/ 1976438 w 8801100"/>
                  <a:gd name="connsiteY171" fmla="*/ 3274219 h 4410075"/>
                  <a:gd name="connsiteX172" fmla="*/ 2038350 w 8801100"/>
                  <a:gd name="connsiteY172" fmla="*/ 3498057 h 4410075"/>
                  <a:gd name="connsiteX173" fmla="*/ 2028825 w 8801100"/>
                  <a:gd name="connsiteY173" fmla="*/ 3562350 h 4410075"/>
                  <a:gd name="connsiteX174" fmla="*/ 2164556 w 8801100"/>
                  <a:gd name="connsiteY174" fmla="*/ 3729038 h 4410075"/>
                  <a:gd name="connsiteX175" fmla="*/ 2183606 w 8801100"/>
                  <a:gd name="connsiteY175" fmla="*/ 3779044 h 4410075"/>
                  <a:gd name="connsiteX176" fmla="*/ 2157413 w 8801100"/>
                  <a:gd name="connsiteY176" fmla="*/ 3798094 h 4410075"/>
                  <a:gd name="connsiteX177" fmla="*/ 2259806 w 8801100"/>
                  <a:gd name="connsiteY177" fmla="*/ 3807619 h 4410075"/>
                  <a:gd name="connsiteX178" fmla="*/ 2371725 w 8801100"/>
                  <a:gd name="connsiteY178" fmla="*/ 3795713 h 4410075"/>
                  <a:gd name="connsiteX179" fmla="*/ 2650331 w 8801100"/>
                  <a:gd name="connsiteY179" fmla="*/ 3879056 h 4410075"/>
                  <a:gd name="connsiteX180" fmla="*/ 3057525 w 8801100"/>
                  <a:gd name="connsiteY180" fmla="*/ 3960019 h 4410075"/>
                  <a:gd name="connsiteX181" fmla="*/ 3255169 w 8801100"/>
                  <a:gd name="connsiteY181" fmla="*/ 3929062 h 4410075"/>
                  <a:gd name="connsiteX182" fmla="*/ 3300413 w 8801100"/>
                  <a:gd name="connsiteY182" fmla="*/ 3940968 h 4410075"/>
                  <a:gd name="connsiteX183" fmla="*/ 3355181 w 8801100"/>
                  <a:gd name="connsiteY183" fmla="*/ 3917157 h 4410075"/>
                  <a:gd name="connsiteX184" fmla="*/ 3748087 w 8801100"/>
                  <a:gd name="connsiteY184" fmla="*/ 4007644 h 4410075"/>
                  <a:gd name="connsiteX185" fmla="*/ 3831432 w 8801100"/>
                  <a:gd name="connsiteY185" fmla="*/ 4105275 h 4410075"/>
                  <a:gd name="connsiteX186" fmla="*/ 3950494 w 8801100"/>
                  <a:gd name="connsiteY186" fmla="*/ 4176713 h 4410075"/>
                  <a:gd name="connsiteX187" fmla="*/ 4010025 w 8801100"/>
                  <a:gd name="connsiteY187" fmla="*/ 4160044 h 4410075"/>
                  <a:gd name="connsiteX188" fmla="*/ 4360068 w 8801100"/>
                  <a:gd name="connsiteY188" fmla="*/ 4333875 h 4410075"/>
                  <a:gd name="connsiteX189" fmla="*/ 4586288 w 8801100"/>
                  <a:gd name="connsiteY189" fmla="*/ 4305300 h 4410075"/>
                  <a:gd name="connsiteX190" fmla="*/ 4595813 w 8801100"/>
                  <a:gd name="connsiteY190" fmla="*/ 4383881 h 4410075"/>
                  <a:gd name="connsiteX191" fmla="*/ 4681538 w 8801100"/>
                  <a:gd name="connsiteY191" fmla="*/ 4379118 h 4410075"/>
                  <a:gd name="connsiteX192" fmla="*/ 4760119 w 8801100"/>
                  <a:gd name="connsiteY192" fmla="*/ 4410075 h 4410075"/>
                  <a:gd name="connsiteX193" fmla="*/ 4802981 w 8801100"/>
                  <a:gd name="connsiteY193" fmla="*/ 4350544 h 4410075"/>
                  <a:gd name="connsiteX194" fmla="*/ 5474494 w 8801100"/>
                  <a:gd name="connsiteY194" fmla="*/ 4031456 h 4410075"/>
                  <a:gd name="connsiteX195" fmla="*/ 5562600 w 8801100"/>
                  <a:gd name="connsiteY195" fmla="*/ 4060032 h 4410075"/>
                  <a:gd name="connsiteX196" fmla="*/ 5693569 w 8801100"/>
                  <a:gd name="connsiteY196" fmla="*/ 4031456 h 4410075"/>
                  <a:gd name="connsiteX197" fmla="*/ 5872162 w 8801100"/>
                  <a:gd name="connsiteY197" fmla="*/ 4048125 h 4410075"/>
                  <a:gd name="connsiteX198" fmla="*/ 5929313 w 8801100"/>
                  <a:gd name="connsiteY198" fmla="*/ 4021932 h 4410075"/>
                  <a:gd name="connsiteX199" fmla="*/ 6062662 w 8801100"/>
                  <a:gd name="connsiteY199" fmla="*/ 4019550 h 4410075"/>
                  <a:gd name="connsiteX200" fmla="*/ 6196012 w 8801100"/>
                  <a:gd name="connsiteY200" fmla="*/ 3921919 h 4410075"/>
                  <a:gd name="connsiteX201" fmla="*/ 6262687 w 8801100"/>
                  <a:gd name="connsiteY201" fmla="*/ 3914775 h 4410075"/>
                  <a:gd name="connsiteX202" fmla="*/ 6360319 w 8801100"/>
                  <a:gd name="connsiteY202" fmla="*/ 3840956 h 4410075"/>
                  <a:gd name="connsiteX203" fmla="*/ 6434138 w 8801100"/>
                  <a:gd name="connsiteY203" fmla="*/ 3771900 h 4410075"/>
                  <a:gd name="connsiteX204" fmla="*/ 6443663 w 8801100"/>
                  <a:gd name="connsiteY204" fmla="*/ 3709988 h 4410075"/>
                  <a:gd name="connsiteX205" fmla="*/ 6477000 w 8801100"/>
                  <a:gd name="connsiteY205" fmla="*/ 3640931 h 4410075"/>
                  <a:gd name="connsiteX206" fmla="*/ 6629400 w 8801100"/>
                  <a:gd name="connsiteY206" fmla="*/ 3533775 h 4410075"/>
                  <a:gd name="connsiteX207" fmla="*/ 6662738 w 8801100"/>
                  <a:gd name="connsiteY207" fmla="*/ 3538538 h 4410075"/>
                  <a:gd name="connsiteX208" fmla="*/ 6715125 w 8801100"/>
                  <a:gd name="connsiteY208" fmla="*/ 3459956 h 4410075"/>
                  <a:gd name="connsiteX209" fmla="*/ 6762750 w 8801100"/>
                  <a:gd name="connsiteY209" fmla="*/ 3421856 h 4410075"/>
                  <a:gd name="connsiteX210" fmla="*/ 6748463 w 8801100"/>
                  <a:gd name="connsiteY210" fmla="*/ 3352800 h 4410075"/>
                  <a:gd name="connsiteX211" fmla="*/ 6698456 w 8801100"/>
                  <a:gd name="connsiteY211" fmla="*/ 3321843 h 4410075"/>
                  <a:gd name="connsiteX212" fmla="*/ 6638925 w 8801100"/>
                  <a:gd name="connsiteY212" fmla="*/ 3267075 h 4410075"/>
                  <a:gd name="connsiteX213" fmla="*/ 6619875 w 8801100"/>
                  <a:gd name="connsiteY213" fmla="*/ 3209925 h 4410075"/>
                  <a:gd name="connsiteX214" fmla="*/ 6584156 w 8801100"/>
                  <a:gd name="connsiteY214" fmla="*/ 3176588 h 4410075"/>
                  <a:gd name="connsiteX215" fmla="*/ 6610350 w 8801100"/>
                  <a:gd name="connsiteY215" fmla="*/ 3124200 h 4410075"/>
                  <a:gd name="connsiteX216" fmla="*/ 6650831 w 8801100"/>
                  <a:gd name="connsiteY216" fmla="*/ 2945606 h 4410075"/>
                  <a:gd name="connsiteX217" fmla="*/ 6691313 w 8801100"/>
                  <a:gd name="connsiteY217" fmla="*/ 2878931 h 4410075"/>
                  <a:gd name="connsiteX218" fmla="*/ 6836569 w 8801100"/>
                  <a:gd name="connsiteY218" fmla="*/ 2862262 h 4410075"/>
                  <a:gd name="connsiteX219" fmla="*/ 6905625 w 8801100"/>
                  <a:gd name="connsiteY219" fmla="*/ 2919413 h 4410075"/>
                  <a:gd name="connsiteX220" fmla="*/ 6981825 w 8801100"/>
                  <a:gd name="connsiteY220" fmla="*/ 2943225 h 4410075"/>
                  <a:gd name="connsiteX221" fmla="*/ 7186612 w 8801100"/>
                  <a:gd name="connsiteY221" fmla="*/ 2947988 h 4410075"/>
                  <a:gd name="connsiteX222" fmla="*/ 7362825 w 8801100"/>
                  <a:gd name="connsiteY222" fmla="*/ 2809875 h 4410075"/>
                  <a:gd name="connsiteX223" fmla="*/ 7419975 w 8801100"/>
                  <a:gd name="connsiteY223" fmla="*/ 2719387 h 4410075"/>
                  <a:gd name="connsiteX224" fmla="*/ 7446169 w 8801100"/>
                  <a:gd name="connsiteY224" fmla="*/ 2636044 h 4410075"/>
                  <a:gd name="connsiteX225" fmla="*/ 7577137 w 8801100"/>
                  <a:gd name="connsiteY225" fmla="*/ 2636044 h 4410075"/>
                  <a:gd name="connsiteX226" fmla="*/ 7750969 w 8801100"/>
                  <a:gd name="connsiteY226" fmla="*/ 2578893 h 4410075"/>
                  <a:gd name="connsiteX227" fmla="*/ 7810500 w 8801100"/>
                  <a:gd name="connsiteY227" fmla="*/ 2466975 h 4410075"/>
                  <a:gd name="connsiteX228" fmla="*/ 7874794 w 8801100"/>
                  <a:gd name="connsiteY228" fmla="*/ 2431256 h 4410075"/>
                  <a:gd name="connsiteX229" fmla="*/ 7853363 w 8801100"/>
                  <a:gd name="connsiteY229" fmla="*/ 2386013 h 4410075"/>
                  <a:gd name="connsiteX230" fmla="*/ 7931944 w 8801100"/>
                  <a:gd name="connsiteY230" fmla="*/ 2216943 h 4410075"/>
                  <a:gd name="connsiteX231" fmla="*/ 7986713 w 8801100"/>
                  <a:gd name="connsiteY231" fmla="*/ 2157413 h 4410075"/>
                  <a:gd name="connsiteX232" fmla="*/ 8024813 w 8801100"/>
                  <a:gd name="connsiteY232" fmla="*/ 2152650 h 4410075"/>
                  <a:gd name="connsiteX233" fmla="*/ 8070056 w 8801100"/>
                  <a:gd name="connsiteY233" fmla="*/ 2157413 h 4410075"/>
                  <a:gd name="connsiteX234" fmla="*/ 8134350 w 8801100"/>
                  <a:gd name="connsiteY234" fmla="*/ 2124075 h 4410075"/>
                  <a:gd name="connsiteX235" fmla="*/ 8143875 w 8801100"/>
                  <a:gd name="connsiteY235" fmla="*/ 2059781 h 4410075"/>
                  <a:gd name="connsiteX236" fmla="*/ 8184355 w 8801100"/>
                  <a:gd name="connsiteY236" fmla="*/ 2024063 h 4410075"/>
                  <a:gd name="connsiteX237" fmla="*/ 8243888 w 8801100"/>
                  <a:gd name="connsiteY237" fmla="*/ 2064543 h 4410075"/>
                  <a:gd name="connsiteX238" fmla="*/ 8270082 w 8801100"/>
                  <a:gd name="connsiteY238" fmla="*/ 2014537 h 4410075"/>
                  <a:gd name="connsiteX239" fmla="*/ 8365331 w 8801100"/>
                  <a:gd name="connsiteY239" fmla="*/ 1945481 h 4410075"/>
                  <a:gd name="connsiteX240" fmla="*/ 8427244 w 8801100"/>
                  <a:gd name="connsiteY240" fmla="*/ 1952625 h 4410075"/>
                  <a:gd name="connsiteX241" fmla="*/ 8477250 w 8801100"/>
                  <a:gd name="connsiteY241" fmla="*/ 1933575 h 4410075"/>
                  <a:gd name="connsiteX242" fmla="*/ 8515350 w 8801100"/>
                  <a:gd name="connsiteY242" fmla="*/ 1905000 h 4410075"/>
                  <a:gd name="connsiteX243" fmla="*/ 8548688 w 8801100"/>
                  <a:gd name="connsiteY243" fmla="*/ 1902619 h 4410075"/>
                  <a:gd name="connsiteX244" fmla="*/ 8584406 w 8801100"/>
                  <a:gd name="connsiteY244" fmla="*/ 1933575 h 4410075"/>
                  <a:gd name="connsiteX245" fmla="*/ 8643938 w 8801100"/>
                  <a:gd name="connsiteY245" fmla="*/ 1933575 h 4410075"/>
                  <a:gd name="connsiteX246" fmla="*/ 8682037 w 8801100"/>
                  <a:gd name="connsiteY246" fmla="*/ 1914525 h 4410075"/>
                  <a:gd name="connsiteX247" fmla="*/ 8765381 w 8801100"/>
                  <a:gd name="connsiteY247" fmla="*/ 1916907 h 4410075"/>
                  <a:gd name="connsiteX248" fmla="*/ 8796338 w 8801100"/>
                  <a:gd name="connsiteY248" fmla="*/ 1871663 h 4410075"/>
                  <a:gd name="connsiteX249" fmla="*/ 8801100 w 8801100"/>
                  <a:gd name="connsiteY249" fmla="*/ 1809750 h 4410075"/>
                  <a:gd name="connsiteX250" fmla="*/ 8751093 w 8801100"/>
                  <a:gd name="connsiteY250" fmla="*/ 1769269 h 4410075"/>
                  <a:gd name="connsiteX251" fmla="*/ 8734425 w 8801100"/>
                  <a:gd name="connsiteY251" fmla="*/ 1714500 h 4410075"/>
                  <a:gd name="connsiteX252" fmla="*/ 8643938 w 8801100"/>
                  <a:gd name="connsiteY252" fmla="*/ 1652588 h 4410075"/>
                  <a:gd name="connsiteX253" fmla="*/ 8603456 w 8801100"/>
                  <a:gd name="connsiteY253" fmla="*/ 1631156 h 4410075"/>
                  <a:gd name="connsiteX254" fmla="*/ 8565356 w 8801100"/>
                  <a:gd name="connsiteY254" fmla="*/ 1585913 h 4410075"/>
                  <a:gd name="connsiteX255" fmla="*/ 8534400 w 8801100"/>
                  <a:gd name="connsiteY255" fmla="*/ 1583531 h 4410075"/>
                  <a:gd name="connsiteX256" fmla="*/ 8517731 w 8801100"/>
                  <a:gd name="connsiteY256" fmla="*/ 1531144 h 4410075"/>
                  <a:gd name="connsiteX257" fmla="*/ 8477250 w 8801100"/>
                  <a:gd name="connsiteY257" fmla="*/ 1514475 h 4410075"/>
                  <a:gd name="connsiteX258" fmla="*/ 8477250 w 8801100"/>
                  <a:gd name="connsiteY258" fmla="*/ 1514475 h 4410075"/>
                  <a:gd name="connsiteX259" fmla="*/ 8436769 w 8801100"/>
                  <a:gd name="connsiteY259" fmla="*/ 1519238 h 4410075"/>
                  <a:gd name="connsiteX260" fmla="*/ 8351043 w 8801100"/>
                  <a:gd name="connsiteY260" fmla="*/ 1445419 h 4410075"/>
                  <a:gd name="connsiteX261" fmla="*/ 8170069 w 8801100"/>
                  <a:gd name="connsiteY261" fmla="*/ 1445418 h 4410075"/>
                  <a:gd name="connsiteX262" fmla="*/ 8117681 w 8801100"/>
                  <a:gd name="connsiteY262" fmla="*/ 1483519 h 4410075"/>
                  <a:gd name="connsiteX263" fmla="*/ 8067675 w 8801100"/>
                  <a:gd name="connsiteY263" fmla="*/ 1562100 h 4410075"/>
                  <a:gd name="connsiteX264" fmla="*/ 8084344 w 8801100"/>
                  <a:gd name="connsiteY264" fmla="*/ 1583531 h 4410075"/>
                  <a:gd name="connsiteX265" fmla="*/ 8039100 w 8801100"/>
                  <a:gd name="connsiteY265" fmla="*/ 1633537 h 4410075"/>
                  <a:gd name="connsiteX266" fmla="*/ 7889081 w 8801100"/>
                  <a:gd name="connsiteY266" fmla="*/ 1557337 h 4410075"/>
                  <a:gd name="connsiteX267" fmla="*/ 7798594 w 8801100"/>
                  <a:gd name="connsiteY267" fmla="*/ 1593056 h 4410075"/>
                  <a:gd name="connsiteX268" fmla="*/ 7724775 w 8801100"/>
                  <a:gd name="connsiteY268" fmla="*/ 1590675 h 4410075"/>
                  <a:gd name="connsiteX269" fmla="*/ 7667625 w 8801100"/>
                  <a:gd name="connsiteY269" fmla="*/ 1685925 h 4410075"/>
                  <a:gd name="connsiteX270" fmla="*/ 7529513 w 8801100"/>
                  <a:gd name="connsiteY270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883443 w 8801100"/>
                  <a:gd name="connsiteY148" fmla="*/ 2024062 h 4410075"/>
                  <a:gd name="connsiteX149" fmla="*/ 850106 w 8801100"/>
                  <a:gd name="connsiteY149" fmla="*/ 2085975 h 4410075"/>
                  <a:gd name="connsiteX150" fmla="*/ 819150 w 8801100"/>
                  <a:gd name="connsiteY150" fmla="*/ 2162175 h 4410075"/>
                  <a:gd name="connsiteX151" fmla="*/ 833438 w 8801100"/>
                  <a:gd name="connsiteY151" fmla="*/ 2219325 h 4410075"/>
                  <a:gd name="connsiteX152" fmla="*/ 735806 w 8801100"/>
                  <a:gd name="connsiteY152" fmla="*/ 2326482 h 4410075"/>
                  <a:gd name="connsiteX153" fmla="*/ 692944 w 8801100"/>
                  <a:gd name="connsiteY153" fmla="*/ 2440781 h 4410075"/>
                  <a:gd name="connsiteX154" fmla="*/ 726281 w 8801100"/>
                  <a:gd name="connsiteY154" fmla="*/ 2481263 h 4410075"/>
                  <a:gd name="connsiteX155" fmla="*/ 709613 w 8801100"/>
                  <a:gd name="connsiteY155" fmla="*/ 2509838 h 4410075"/>
                  <a:gd name="connsiteX156" fmla="*/ 740569 w 8801100"/>
                  <a:gd name="connsiteY156" fmla="*/ 2566988 h 4410075"/>
                  <a:gd name="connsiteX157" fmla="*/ 769144 w 8801100"/>
                  <a:gd name="connsiteY157" fmla="*/ 2566988 h 4410075"/>
                  <a:gd name="connsiteX158" fmla="*/ 931069 w 8801100"/>
                  <a:gd name="connsiteY158" fmla="*/ 2669381 h 4410075"/>
                  <a:gd name="connsiteX159" fmla="*/ 1035844 w 8801100"/>
                  <a:gd name="connsiteY159" fmla="*/ 2667000 h 4410075"/>
                  <a:gd name="connsiteX160" fmla="*/ 1114425 w 8801100"/>
                  <a:gd name="connsiteY160" fmla="*/ 2721769 h 4410075"/>
                  <a:gd name="connsiteX161" fmla="*/ 1245393 w 8801100"/>
                  <a:gd name="connsiteY161" fmla="*/ 2724150 h 4410075"/>
                  <a:gd name="connsiteX162" fmla="*/ 1435893 w 8801100"/>
                  <a:gd name="connsiteY162" fmla="*/ 2793206 h 4410075"/>
                  <a:gd name="connsiteX163" fmla="*/ 1638300 w 8801100"/>
                  <a:gd name="connsiteY163" fmla="*/ 2943225 h 4410075"/>
                  <a:gd name="connsiteX164" fmla="*/ 1671637 w 8801100"/>
                  <a:gd name="connsiteY164" fmla="*/ 3009900 h 4410075"/>
                  <a:gd name="connsiteX165" fmla="*/ 1838325 w 8801100"/>
                  <a:gd name="connsiteY165" fmla="*/ 3136106 h 4410075"/>
                  <a:gd name="connsiteX166" fmla="*/ 1909763 w 8801100"/>
                  <a:gd name="connsiteY166" fmla="*/ 3131344 h 4410075"/>
                  <a:gd name="connsiteX167" fmla="*/ 1945482 w 8801100"/>
                  <a:gd name="connsiteY167" fmla="*/ 3155156 h 4410075"/>
                  <a:gd name="connsiteX168" fmla="*/ 1916906 w 8801100"/>
                  <a:gd name="connsiteY168" fmla="*/ 3195638 h 4410075"/>
                  <a:gd name="connsiteX169" fmla="*/ 1924050 w 8801100"/>
                  <a:gd name="connsiteY169" fmla="*/ 3248025 h 4410075"/>
                  <a:gd name="connsiteX170" fmla="*/ 1976438 w 8801100"/>
                  <a:gd name="connsiteY170" fmla="*/ 3274219 h 4410075"/>
                  <a:gd name="connsiteX171" fmla="*/ 2038350 w 8801100"/>
                  <a:gd name="connsiteY171" fmla="*/ 3498057 h 4410075"/>
                  <a:gd name="connsiteX172" fmla="*/ 2028825 w 8801100"/>
                  <a:gd name="connsiteY172" fmla="*/ 3562350 h 4410075"/>
                  <a:gd name="connsiteX173" fmla="*/ 2164556 w 8801100"/>
                  <a:gd name="connsiteY173" fmla="*/ 3729038 h 4410075"/>
                  <a:gd name="connsiteX174" fmla="*/ 2183606 w 8801100"/>
                  <a:gd name="connsiteY174" fmla="*/ 3779044 h 4410075"/>
                  <a:gd name="connsiteX175" fmla="*/ 2157413 w 8801100"/>
                  <a:gd name="connsiteY175" fmla="*/ 3798094 h 4410075"/>
                  <a:gd name="connsiteX176" fmla="*/ 2259806 w 8801100"/>
                  <a:gd name="connsiteY176" fmla="*/ 3807619 h 4410075"/>
                  <a:gd name="connsiteX177" fmla="*/ 2371725 w 8801100"/>
                  <a:gd name="connsiteY177" fmla="*/ 3795713 h 4410075"/>
                  <a:gd name="connsiteX178" fmla="*/ 2650331 w 8801100"/>
                  <a:gd name="connsiteY178" fmla="*/ 3879056 h 4410075"/>
                  <a:gd name="connsiteX179" fmla="*/ 3057525 w 8801100"/>
                  <a:gd name="connsiteY179" fmla="*/ 3960019 h 4410075"/>
                  <a:gd name="connsiteX180" fmla="*/ 3255169 w 8801100"/>
                  <a:gd name="connsiteY180" fmla="*/ 3929062 h 4410075"/>
                  <a:gd name="connsiteX181" fmla="*/ 3300413 w 8801100"/>
                  <a:gd name="connsiteY181" fmla="*/ 3940968 h 4410075"/>
                  <a:gd name="connsiteX182" fmla="*/ 3355181 w 8801100"/>
                  <a:gd name="connsiteY182" fmla="*/ 3917157 h 4410075"/>
                  <a:gd name="connsiteX183" fmla="*/ 3748087 w 8801100"/>
                  <a:gd name="connsiteY183" fmla="*/ 4007644 h 4410075"/>
                  <a:gd name="connsiteX184" fmla="*/ 3831432 w 8801100"/>
                  <a:gd name="connsiteY184" fmla="*/ 4105275 h 4410075"/>
                  <a:gd name="connsiteX185" fmla="*/ 3950494 w 8801100"/>
                  <a:gd name="connsiteY185" fmla="*/ 4176713 h 4410075"/>
                  <a:gd name="connsiteX186" fmla="*/ 4010025 w 8801100"/>
                  <a:gd name="connsiteY186" fmla="*/ 4160044 h 4410075"/>
                  <a:gd name="connsiteX187" fmla="*/ 4360068 w 8801100"/>
                  <a:gd name="connsiteY187" fmla="*/ 4333875 h 4410075"/>
                  <a:gd name="connsiteX188" fmla="*/ 4586288 w 8801100"/>
                  <a:gd name="connsiteY188" fmla="*/ 4305300 h 4410075"/>
                  <a:gd name="connsiteX189" fmla="*/ 4595813 w 8801100"/>
                  <a:gd name="connsiteY189" fmla="*/ 4383881 h 4410075"/>
                  <a:gd name="connsiteX190" fmla="*/ 4681538 w 8801100"/>
                  <a:gd name="connsiteY190" fmla="*/ 4379118 h 4410075"/>
                  <a:gd name="connsiteX191" fmla="*/ 4760119 w 8801100"/>
                  <a:gd name="connsiteY191" fmla="*/ 4410075 h 4410075"/>
                  <a:gd name="connsiteX192" fmla="*/ 4802981 w 8801100"/>
                  <a:gd name="connsiteY192" fmla="*/ 4350544 h 4410075"/>
                  <a:gd name="connsiteX193" fmla="*/ 5474494 w 8801100"/>
                  <a:gd name="connsiteY193" fmla="*/ 4031456 h 4410075"/>
                  <a:gd name="connsiteX194" fmla="*/ 5562600 w 8801100"/>
                  <a:gd name="connsiteY194" fmla="*/ 4060032 h 4410075"/>
                  <a:gd name="connsiteX195" fmla="*/ 5693569 w 8801100"/>
                  <a:gd name="connsiteY195" fmla="*/ 4031456 h 4410075"/>
                  <a:gd name="connsiteX196" fmla="*/ 5872162 w 8801100"/>
                  <a:gd name="connsiteY196" fmla="*/ 4048125 h 4410075"/>
                  <a:gd name="connsiteX197" fmla="*/ 5929313 w 8801100"/>
                  <a:gd name="connsiteY197" fmla="*/ 4021932 h 4410075"/>
                  <a:gd name="connsiteX198" fmla="*/ 6062662 w 8801100"/>
                  <a:gd name="connsiteY198" fmla="*/ 4019550 h 4410075"/>
                  <a:gd name="connsiteX199" fmla="*/ 6196012 w 8801100"/>
                  <a:gd name="connsiteY199" fmla="*/ 3921919 h 4410075"/>
                  <a:gd name="connsiteX200" fmla="*/ 6262687 w 8801100"/>
                  <a:gd name="connsiteY200" fmla="*/ 3914775 h 4410075"/>
                  <a:gd name="connsiteX201" fmla="*/ 6360319 w 8801100"/>
                  <a:gd name="connsiteY201" fmla="*/ 3840956 h 4410075"/>
                  <a:gd name="connsiteX202" fmla="*/ 6434138 w 8801100"/>
                  <a:gd name="connsiteY202" fmla="*/ 3771900 h 4410075"/>
                  <a:gd name="connsiteX203" fmla="*/ 6443663 w 8801100"/>
                  <a:gd name="connsiteY203" fmla="*/ 3709988 h 4410075"/>
                  <a:gd name="connsiteX204" fmla="*/ 6477000 w 8801100"/>
                  <a:gd name="connsiteY204" fmla="*/ 3640931 h 4410075"/>
                  <a:gd name="connsiteX205" fmla="*/ 6629400 w 8801100"/>
                  <a:gd name="connsiteY205" fmla="*/ 3533775 h 4410075"/>
                  <a:gd name="connsiteX206" fmla="*/ 6662738 w 8801100"/>
                  <a:gd name="connsiteY206" fmla="*/ 3538538 h 4410075"/>
                  <a:gd name="connsiteX207" fmla="*/ 6715125 w 8801100"/>
                  <a:gd name="connsiteY207" fmla="*/ 3459956 h 4410075"/>
                  <a:gd name="connsiteX208" fmla="*/ 6762750 w 8801100"/>
                  <a:gd name="connsiteY208" fmla="*/ 3421856 h 4410075"/>
                  <a:gd name="connsiteX209" fmla="*/ 6748463 w 8801100"/>
                  <a:gd name="connsiteY209" fmla="*/ 3352800 h 4410075"/>
                  <a:gd name="connsiteX210" fmla="*/ 6698456 w 8801100"/>
                  <a:gd name="connsiteY210" fmla="*/ 3321843 h 4410075"/>
                  <a:gd name="connsiteX211" fmla="*/ 6638925 w 8801100"/>
                  <a:gd name="connsiteY211" fmla="*/ 3267075 h 4410075"/>
                  <a:gd name="connsiteX212" fmla="*/ 6619875 w 8801100"/>
                  <a:gd name="connsiteY212" fmla="*/ 3209925 h 4410075"/>
                  <a:gd name="connsiteX213" fmla="*/ 6584156 w 8801100"/>
                  <a:gd name="connsiteY213" fmla="*/ 3176588 h 4410075"/>
                  <a:gd name="connsiteX214" fmla="*/ 6610350 w 8801100"/>
                  <a:gd name="connsiteY214" fmla="*/ 3124200 h 4410075"/>
                  <a:gd name="connsiteX215" fmla="*/ 6650831 w 8801100"/>
                  <a:gd name="connsiteY215" fmla="*/ 2945606 h 4410075"/>
                  <a:gd name="connsiteX216" fmla="*/ 6691313 w 8801100"/>
                  <a:gd name="connsiteY216" fmla="*/ 2878931 h 4410075"/>
                  <a:gd name="connsiteX217" fmla="*/ 6836569 w 8801100"/>
                  <a:gd name="connsiteY217" fmla="*/ 2862262 h 4410075"/>
                  <a:gd name="connsiteX218" fmla="*/ 6905625 w 8801100"/>
                  <a:gd name="connsiteY218" fmla="*/ 2919413 h 4410075"/>
                  <a:gd name="connsiteX219" fmla="*/ 6981825 w 8801100"/>
                  <a:gd name="connsiteY219" fmla="*/ 2943225 h 4410075"/>
                  <a:gd name="connsiteX220" fmla="*/ 7186612 w 8801100"/>
                  <a:gd name="connsiteY220" fmla="*/ 2947988 h 4410075"/>
                  <a:gd name="connsiteX221" fmla="*/ 7362825 w 8801100"/>
                  <a:gd name="connsiteY221" fmla="*/ 2809875 h 4410075"/>
                  <a:gd name="connsiteX222" fmla="*/ 7419975 w 8801100"/>
                  <a:gd name="connsiteY222" fmla="*/ 2719387 h 4410075"/>
                  <a:gd name="connsiteX223" fmla="*/ 7446169 w 8801100"/>
                  <a:gd name="connsiteY223" fmla="*/ 2636044 h 4410075"/>
                  <a:gd name="connsiteX224" fmla="*/ 7577137 w 8801100"/>
                  <a:gd name="connsiteY224" fmla="*/ 2636044 h 4410075"/>
                  <a:gd name="connsiteX225" fmla="*/ 7750969 w 8801100"/>
                  <a:gd name="connsiteY225" fmla="*/ 2578893 h 4410075"/>
                  <a:gd name="connsiteX226" fmla="*/ 7810500 w 8801100"/>
                  <a:gd name="connsiteY226" fmla="*/ 2466975 h 4410075"/>
                  <a:gd name="connsiteX227" fmla="*/ 7874794 w 8801100"/>
                  <a:gd name="connsiteY227" fmla="*/ 2431256 h 4410075"/>
                  <a:gd name="connsiteX228" fmla="*/ 7853363 w 8801100"/>
                  <a:gd name="connsiteY228" fmla="*/ 2386013 h 4410075"/>
                  <a:gd name="connsiteX229" fmla="*/ 7931944 w 8801100"/>
                  <a:gd name="connsiteY229" fmla="*/ 2216943 h 4410075"/>
                  <a:gd name="connsiteX230" fmla="*/ 7986713 w 8801100"/>
                  <a:gd name="connsiteY230" fmla="*/ 2157413 h 4410075"/>
                  <a:gd name="connsiteX231" fmla="*/ 8024813 w 8801100"/>
                  <a:gd name="connsiteY231" fmla="*/ 2152650 h 4410075"/>
                  <a:gd name="connsiteX232" fmla="*/ 8070056 w 8801100"/>
                  <a:gd name="connsiteY232" fmla="*/ 2157413 h 4410075"/>
                  <a:gd name="connsiteX233" fmla="*/ 8134350 w 8801100"/>
                  <a:gd name="connsiteY233" fmla="*/ 2124075 h 4410075"/>
                  <a:gd name="connsiteX234" fmla="*/ 8143875 w 8801100"/>
                  <a:gd name="connsiteY234" fmla="*/ 2059781 h 4410075"/>
                  <a:gd name="connsiteX235" fmla="*/ 8184355 w 8801100"/>
                  <a:gd name="connsiteY235" fmla="*/ 2024063 h 4410075"/>
                  <a:gd name="connsiteX236" fmla="*/ 8243888 w 8801100"/>
                  <a:gd name="connsiteY236" fmla="*/ 2064543 h 4410075"/>
                  <a:gd name="connsiteX237" fmla="*/ 8270082 w 8801100"/>
                  <a:gd name="connsiteY237" fmla="*/ 2014537 h 4410075"/>
                  <a:gd name="connsiteX238" fmla="*/ 8365331 w 8801100"/>
                  <a:gd name="connsiteY238" fmla="*/ 1945481 h 4410075"/>
                  <a:gd name="connsiteX239" fmla="*/ 8427244 w 8801100"/>
                  <a:gd name="connsiteY239" fmla="*/ 1952625 h 4410075"/>
                  <a:gd name="connsiteX240" fmla="*/ 8477250 w 8801100"/>
                  <a:gd name="connsiteY240" fmla="*/ 1933575 h 4410075"/>
                  <a:gd name="connsiteX241" fmla="*/ 8515350 w 8801100"/>
                  <a:gd name="connsiteY241" fmla="*/ 1905000 h 4410075"/>
                  <a:gd name="connsiteX242" fmla="*/ 8548688 w 8801100"/>
                  <a:gd name="connsiteY242" fmla="*/ 1902619 h 4410075"/>
                  <a:gd name="connsiteX243" fmla="*/ 8584406 w 8801100"/>
                  <a:gd name="connsiteY243" fmla="*/ 1933575 h 4410075"/>
                  <a:gd name="connsiteX244" fmla="*/ 8643938 w 8801100"/>
                  <a:gd name="connsiteY244" fmla="*/ 1933575 h 4410075"/>
                  <a:gd name="connsiteX245" fmla="*/ 8682037 w 8801100"/>
                  <a:gd name="connsiteY245" fmla="*/ 1914525 h 4410075"/>
                  <a:gd name="connsiteX246" fmla="*/ 8765381 w 8801100"/>
                  <a:gd name="connsiteY246" fmla="*/ 1916907 h 4410075"/>
                  <a:gd name="connsiteX247" fmla="*/ 8796338 w 8801100"/>
                  <a:gd name="connsiteY247" fmla="*/ 1871663 h 4410075"/>
                  <a:gd name="connsiteX248" fmla="*/ 8801100 w 8801100"/>
                  <a:gd name="connsiteY248" fmla="*/ 1809750 h 4410075"/>
                  <a:gd name="connsiteX249" fmla="*/ 8751093 w 8801100"/>
                  <a:gd name="connsiteY249" fmla="*/ 1769269 h 4410075"/>
                  <a:gd name="connsiteX250" fmla="*/ 8734425 w 8801100"/>
                  <a:gd name="connsiteY250" fmla="*/ 1714500 h 4410075"/>
                  <a:gd name="connsiteX251" fmla="*/ 8643938 w 8801100"/>
                  <a:gd name="connsiteY251" fmla="*/ 1652588 h 4410075"/>
                  <a:gd name="connsiteX252" fmla="*/ 8603456 w 8801100"/>
                  <a:gd name="connsiteY252" fmla="*/ 1631156 h 4410075"/>
                  <a:gd name="connsiteX253" fmla="*/ 8565356 w 8801100"/>
                  <a:gd name="connsiteY253" fmla="*/ 1585913 h 4410075"/>
                  <a:gd name="connsiteX254" fmla="*/ 8534400 w 8801100"/>
                  <a:gd name="connsiteY254" fmla="*/ 1583531 h 4410075"/>
                  <a:gd name="connsiteX255" fmla="*/ 8517731 w 8801100"/>
                  <a:gd name="connsiteY255" fmla="*/ 1531144 h 4410075"/>
                  <a:gd name="connsiteX256" fmla="*/ 8477250 w 8801100"/>
                  <a:gd name="connsiteY256" fmla="*/ 1514475 h 4410075"/>
                  <a:gd name="connsiteX257" fmla="*/ 8477250 w 8801100"/>
                  <a:gd name="connsiteY257" fmla="*/ 1514475 h 4410075"/>
                  <a:gd name="connsiteX258" fmla="*/ 8436769 w 8801100"/>
                  <a:gd name="connsiteY258" fmla="*/ 1519238 h 4410075"/>
                  <a:gd name="connsiteX259" fmla="*/ 8351043 w 8801100"/>
                  <a:gd name="connsiteY259" fmla="*/ 1445419 h 4410075"/>
                  <a:gd name="connsiteX260" fmla="*/ 8170069 w 8801100"/>
                  <a:gd name="connsiteY260" fmla="*/ 1445418 h 4410075"/>
                  <a:gd name="connsiteX261" fmla="*/ 8117681 w 8801100"/>
                  <a:gd name="connsiteY261" fmla="*/ 1483519 h 4410075"/>
                  <a:gd name="connsiteX262" fmla="*/ 8067675 w 8801100"/>
                  <a:gd name="connsiteY262" fmla="*/ 1562100 h 4410075"/>
                  <a:gd name="connsiteX263" fmla="*/ 8084344 w 8801100"/>
                  <a:gd name="connsiteY263" fmla="*/ 1583531 h 4410075"/>
                  <a:gd name="connsiteX264" fmla="*/ 8039100 w 8801100"/>
                  <a:gd name="connsiteY264" fmla="*/ 1633537 h 4410075"/>
                  <a:gd name="connsiteX265" fmla="*/ 7889081 w 8801100"/>
                  <a:gd name="connsiteY265" fmla="*/ 1557337 h 4410075"/>
                  <a:gd name="connsiteX266" fmla="*/ 7798594 w 8801100"/>
                  <a:gd name="connsiteY266" fmla="*/ 1593056 h 4410075"/>
                  <a:gd name="connsiteX267" fmla="*/ 7724775 w 8801100"/>
                  <a:gd name="connsiteY267" fmla="*/ 1590675 h 4410075"/>
                  <a:gd name="connsiteX268" fmla="*/ 7667625 w 8801100"/>
                  <a:gd name="connsiteY268" fmla="*/ 1685925 h 4410075"/>
                  <a:gd name="connsiteX269" fmla="*/ 7529513 w 8801100"/>
                  <a:gd name="connsiteY269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883443 w 8801100"/>
                  <a:gd name="connsiteY148" fmla="*/ 2024062 h 4410075"/>
                  <a:gd name="connsiteX149" fmla="*/ 819150 w 8801100"/>
                  <a:gd name="connsiteY149" fmla="*/ 2162175 h 4410075"/>
                  <a:gd name="connsiteX150" fmla="*/ 833438 w 8801100"/>
                  <a:gd name="connsiteY150" fmla="*/ 2219325 h 4410075"/>
                  <a:gd name="connsiteX151" fmla="*/ 735806 w 8801100"/>
                  <a:gd name="connsiteY151" fmla="*/ 2326482 h 4410075"/>
                  <a:gd name="connsiteX152" fmla="*/ 692944 w 8801100"/>
                  <a:gd name="connsiteY152" fmla="*/ 2440781 h 4410075"/>
                  <a:gd name="connsiteX153" fmla="*/ 726281 w 8801100"/>
                  <a:gd name="connsiteY153" fmla="*/ 2481263 h 4410075"/>
                  <a:gd name="connsiteX154" fmla="*/ 709613 w 8801100"/>
                  <a:gd name="connsiteY154" fmla="*/ 2509838 h 4410075"/>
                  <a:gd name="connsiteX155" fmla="*/ 740569 w 8801100"/>
                  <a:gd name="connsiteY155" fmla="*/ 2566988 h 4410075"/>
                  <a:gd name="connsiteX156" fmla="*/ 769144 w 8801100"/>
                  <a:gd name="connsiteY156" fmla="*/ 2566988 h 4410075"/>
                  <a:gd name="connsiteX157" fmla="*/ 931069 w 8801100"/>
                  <a:gd name="connsiteY157" fmla="*/ 2669381 h 4410075"/>
                  <a:gd name="connsiteX158" fmla="*/ 1035844 w 8801100"/>
                  <a:gd name="connsiteY158" fmla="*/ 2667000 h 4410075"/>
                  <a:gd name="connsiteX159" fmla="*/ 1114425 w 8801100"/>
                  <a:gd name="connsiteY159" fmla="*/ 2721769 h 4410075"/>
                  <a:gd name="connsiteX160" fmla="*/ 1245393 w 8801100"/>
                  <a:gd name="connsiteY160" fmla="*/ 2724150 h 4410075"/>
                  <a:gd name="connsiteX161" fmla="*/ 1435893 w 8801100"/>
                  <a:gd name="connsiteY161" fmla="*/ 2793206 h 4410075"/>
                  <a:gd name="connsiteX162" fmla="*/ 1638300 w 8801100"/>
                  <a:gd name="connsiteY162" fmla="*/ 2943225 h 4410075"/>
                  <a:gd name="connsiteX163" fmla="*/ 1671637 w 8801100"/>
                  <a:gd name="connsiteY163" fmla="*/ 3009900 h 4410075"/>
                  <a:gd name="connsiteX164" fmla="*/ 1838325 w 8801100"/>
                  <a:gd name="connsiteY164" fmla="*/ 3136106 h 4410075"/>
                  <a:gd name="connsiteX165" fmla="*/ 1909763 w 8801100"/>
                  <a:gd name="connsiteY165" fmla="*/ 3131344 h 4410075"/>
                  <a:gd name="connsiteX166" fmla="*/ 1945482 w 8801100"/>
                  <a:gd name="connsiteY166" fmla="*/ 3155156 h 4410075"/>
                  <a:gd name="connsiteX167" fmla="*/ 1916906 w 8801100"/>
                  <a:gd name="connsiteY167" fmla="*/ 3195638 h 4410075"/>
                  <a:gd name="connsiteX168" fmla="*/ 1924050 w 8801100"/>
                  <a:gd name="connsiteY168" fmla="*/ 3248025 h 4410075"/>
                  <a:gd name="connsiteX169" fmla="*/ 1976438 w 8801100"/>
                  <a:gd name="connsiteY169" fmla="*/ 3274219 h 4410075"/>
                  <a:gd name="connsiteX170" fmla="*/ 2038350 w 8801100"/>
                  <a:gd name="connsiteY170" fmla="*/ 3498057 h 4410075"/>
                  <a:gd name="connsiteX171" fmla="*/ 2028825 w 8801100"/>
                  <a:gd name="connsiteY171" fmla="*/ 3562350 h 4410075"/>
                  <a:gd name="connsiteX172" fmla="*/ 2164556 w 8801100"/>
                  <a:gd name="connsiteY172" fmla="*/ 3729038 h 4410075"/>
                  <a:gd name="connsiteX173" fmla="*/ 2183606 w 8801100"/>
                  <a:gd name="connsiteY173" fmla="*/ 3779044 h 4410075"/>
                  <a:gd name="connsiteX174" fmla="*/ 2157413 w 8801100"/>
                  <a:gd name="connsiteY174" fmla="*/ 3798094 h 4410075"/>
                  <a:gd name="connsiteX175" fmla="*/ 2259806 w 8801100"/>
                  <a:gd name="connsiteY175" fmla="*/ 3807619 h 4410075"/>
                  <a:gd name="connsiteX176" fmla="*/ 2371725 w 8801100"/>
                  <a:gd name="connsiteY176" fmla="*/ 3795713 h 4410075"/>
                  <a:gd name="connsiteX177" fmla="*/ 2650331 w 8801100"/>
                  <a:gd name="connsiteY177" fmla="*/ 3879056 h 4410075"/>
                  <a:gd name="connsiteX178" fmla="*/ 3057525 w 8801100"/>
                  <a:gd name="connsiteY178" fmla="*/ 3960019 h 4410075"/>
                  <a:gd name="connsiteX179" fmla="*/ 3255169 w 8801100"/>
                  <a:gd name="connsiteY179" fmla="*/ 3929062 h 4410075"/>
                  <a:gd name="connsiteX180" fmla="*/ 3300413 w 8801100"/>
                  <a:gd name="connsiteY180" fmla="*/ 3940968 h 4410075"/>
                  <a:gd name="connsiteX181" fmla="*/ 3355181 w 8801100"/>
                  <a:gd name="connsiteY181" fmla="*/ 3917157 h 4410075"/>
                  <a:gd name="connsiteX182" fmla="*/ 3748087 w 8801100"/>
                  <a:gd name="connsiteY182" fmla="*/ 4007644 h 4410075"/>
                  <a:gd name="connsiteX183" fmla="*/ 3831432 w 8801100"/>
                  <a:gd name="connsiteY183" fmla="*/ 4105275 h 4410075"/>
                  <a:gd name="connsiteX184" fmla="*/ 3950494 w 8801100"/>
                  <a:gd name="connsiteY184" fmla="*/ 4176713 h 4410075"/>
                  <a:gd name="connsiteX185" fmla="*/ 4010025 w 8801100"/>
                  <a:gd name="connsiteY185" fmla="*/ 4160044 h 4410075"/>
                  <a:gd name="connsiteX186" fmla="*/ 4360068 w 8801100"/>
                  <a:gd name="connsiteY186" fmla="*/ 4333875 h 4410075"/>
                  <a:gd name="connsiteX187" fmla="*/ 4586288 w 8801100"/>
                  <a:gd name="connsiteY187" fmla="*/ 4305300 h 4410075"/>
                  <a:gd name="connsiteX188" fmla="*/ 4595813 w 8801100"/>
                  <a:gd name="connsiteY188" fmla="*/ 4383881 h 4410075"/>
                  <a:gd name="connsiteX189" fmla="*/ 4681538 w 8801100"/>
                  <a:gd name="connsiteY189" fmla="*/ 4379118 h 4410075"/>
                  <a:gd name="connsiteX190" fmla="*/ 4760119 w 8801100"/>
                  <a:gd name="connsiteY190" fmla="*/ 4410075 h 4410075"/>
                  <a:gd name="connsiteX191" fmla="*/ 4802981 w 8801100"/>
                  <a:gd name="connsiteY191" fmla="*/ 4350544 h 4410075"/>
                  <a:gd name="connsiteX192" fmla="*/ 5474494 w 8801100"/>
                  <a:gd name="connsiteY192" fmla="*/ 4031456 h 4410075"/>
                  <a:gd name="connsiteX193" fmla="*/ 5562600 w 8801100"/>
                  <a:gd name="connsiteY193" fmla="*/ 4060032 h 4410075"/>
                  <a:gd name="connsiteX194" fmla="*/ 5693569 w 8801100"/>
                  <a:gd name="connsiteY194" fmla="*/ 4031456 h 4410075"/>
                  <a:gd name="connsiteX195" fmla="*/ 5872162 w 8801100"/>
                  <a:gd name="connsiteY195" fmla="*/ 4048125 h 4410075"/>
                  <a:gd name="connsiteX196" fmla="*/ 5929313 w 8801100"/>
                  <a:gd name="connsiteY196" fmla="*/ 4021932 h 4410075"/>
                  <a:gd name="connsiteX197" fmla="*/ 6062662 w 8801100"/>
                  <a:gd name="connsiteY197" fmla="*/ 4019550 h 4410075"/>
                  <a:gd name="connsiteX198" fmla="*/ 6196012 w 8801100"/>
                  <a:gd name="connsiteY198" fmla="*/ 3921919 h 4410075"/>
                  <a:gd name="connsiteX199" fmla="*/ 6262687 w 8801100"/>
                  <a:gd name="connsiteY199" fmla="*/ 3914775 h 4410075"/>
                  <a:gd name="connsiteX200" fmla="*/ 6360319 w 8801100"/>
                  <a:gd name="connsiteY200" fmla="*/ 3840956 h 4410075"/>
                  <a:gd name="connsiteX201" fmla="*/ 6434138 w 8801100"/>
                  <a:gd name="connsiteY201" fmla="*/ 3771900 h 4410075"/>
                  <a:gd name="connsiteX202" fmla="*/ 6443663 w 8801100"/>
                  <a:gd name="connsiteY202" fmla="*/ 3709988 h 4410075"/>
                  <a:gd name="connsiteX203" fmla="*/ 6477000 w 8801100"/>
                  <a:gd name="connsiteY203" fmla="*/ 3640931 h 4410075"/>
                  <a:gd name="connsiteX204" fmla="*/ 6629400 w 8801100"/>
                  <a:gd name="connsiteY204" fmla="*/ 3533775 h 4410075"/>
                  <a:gd name="connsiteX205" fmla="*/ 6662738 w 8801100"/>
                  <a:gd name="connsiteY205" fmla="*/ 3538538 h 4410075"/>
                  <a:gd name="connsiteX206" fmla="*/ 6715125 w 8801100"/>
                  <a:gd name="connsiteY206" fmla="*/ 3459956 h 4410075"/>
                  <a:gd name="connsiteX207" fmla="*/ 6762750 w 8801100"/>
                  <a:gd name="connsiteY207" fmla="*/ 3421856 h 4410075"/>
                  <a:gd name="connsiteX208" fmla="*/ 6748463 w 8801100"/>
                  <a:gd name="connsiteY208" fmla="*/ 3352800 h 4410075"/>
                  <a:gd name="connsiteX209" fmla="*/ 6698456 w 8801100"/>
                  <a:gd name="connsiteY209" fmla="*/ 3321843 h 4410075"/>
                  <a:gd name="connsiteX210" fmla="*/ 6638925 w 8801100"/>
                  <a:gd name="connsiteY210" fmla="*/ 3267075 h 4410075"/>
                  <a:gd name="connsiteX211" fmla="*/ 6619875 w 8801100"/>
                  <a:gd name="connsiteY211" fmla="*/ 3209925 h 4410075"/>
                  <a:gd name="connsiteX212" fmla="*/ 6584156 w 8801100"/>
                  <a:gd name="connsiteY212" fmla="*/ 3176588 h 4410075"/>
                  <a:gd name="connsiteX213" fmla="*/ 6610350 w 8801100"/>
                  <a:gd name="connsiteY213" fmla="*/ 3124200 h 4410075"/>
                  <a:gd name="connsiteX214" fmla="*/ 6650831 w 8801100"/>
                  <a:gd name="connsiteY214" fmla="*/ 2945606 h 4410075"/>
                  <a:gd name="connsiteX215" fmla="*/ 6691313 w 8801100"/>
                  <a:gd name="connsiteY215" fmla="*/ 2878931 h 4410075"/>
                  <a:gd name="connsiteX216" fmla="*/ 6836569 w 8801100"/>
                  <a:gd name="connsiteY216" fmla="*/ 2862262 h 4410075"/>
                  <a:gd name="connsiteX217" fmla="*/ 6905625 w 8801100"/>
                  <a:gd name="connsiteY217" fmla="*/ 2919413 h 4410075"/>
                  <a:gd name="connsiteX218" fmla="*/ 6981825 w 8801100"/>
                  <a:gd name="connsiteY218" fmla="*/ 2943225 h 4410075"/>
                  <a:gd name="connsiteX219" fmla="*/ 7186612 w 8801100"/>
                  <a:gd name="connsiteY219" fmla="*/ 2947988 h 4410075"/>
                  <a:gd name="connsiteX220" fmla="*/ 7362825 w 8801100"/>
                  <a:gd name="connsiteY220" fmla="*/ 2809875 h 4410075"/>
                  <a:gd name="connsiteX221" fmla="*/ 7419975 w 8801100"/>
                  <a:gd name="connsiteY221" fmla="*/ 2719387 h 4410075"/>
                  <a:gd name="connsiteX222" fmla="*/ 7446169 w 8801100"/>
                  <a:gd name="connsiteY222" fmla="*/ 2636044 h 4410075"/>
                  <a:gd name="connsiteX223" fmla="*/ 7577137 w 8801100"/>
                  <a:gd name="connsiteY223" fmla="*/ 2636044 h 4410075"/>
                  <a:gd name="connsiteX224" fmla="*/ 7750969 w 8801100"/>
                  <a:gd name="connsiteY224" fmla="*/ 2578893 h 4410075"/>
                  <a:gd name="connsiteX225" fmla="*/ 7810500 w 8801100"/>
                  <a:gd name="connsiteY225" fmla="*/ 2466975 h 4410075"/>
                  <a:gd name="connsiteX226" fmla="*/ 7874794 w 8801100"/>
                  <a:gd name="connsiteY226" fmla="*/ 2431256 h 4410075"/>
                  <a:gd name="connsiteX227" fmla="*/ 7853363 w 8801100"/>
                  <a:gd name="connsiteY227" fmla="*/ 2386013 h 4410075"/>
                  <a:gd name="connsiteX228" fmla="*/ 7931944 w 8801100"/>
                  <a:gd name="connsiteY228" fmla="*/ 2216943 h 4410075"/>
                  <a:gd name="connsiteX229" fmla="*/ 7986713 w 8801100"/>
                  <a:gd name="connsiteY229" fmla="*/ 2157413 h 4410075"/>
                  <a:gd name="connsiteX230" fmla="*/ 8024813 w 8801100"/>
                  <a:gd name="connsiteY230" fmla="*/ 2152650 h 4410075"/>
                  <a:gd name="connsiteX231" fmla="*/ 8070056 w 8801100"/>
                  <a:gd name="connsiteY231" fmla="*/ 2157413 h 4410075"/>
                  <a:gd name="connsiteX232" fmla="*/ 8134350 w 8801100"/>
                  <a:gd name="connsiteY232" fmla="*/ 2124075 h 4410075"/>
                  <a:gd name="connsiteX233" fmla="*/ 8143875 w 8801100"/>
                  <a:gd name="connsiteY233" fmla="*/ 2059781 h 4410075"/>
                  <a:gd name="connsiteX234" fmla="*/ 8184355 w 8801100"/>
                  <a:gd name="connsiteY234" fmla="*/ 2024063 h 4410075"/>
                  <a:gd name="connsiteX235" fmla="*/ 8243888 w 8801100"/>
                  <a:gd name="connsiteY235" fmla="*/ 2064543 h 4410075"/>
                  <a:gd name="connsiteX236" fmla="*/ 8270082 w 8801100"/>
                  <a:gd name="connsiteY236" fmla="*/ 2014537 h 4410075"/>
                  <a:gd name="connsiteX237" fmla="*/ 8365331 w 8801100"/>
                  <a:gd name="connsiteY237" fmla="*/ 1945481 h 4410075"/>
                  <a:gd name="connsiteX238" fmla="*/ 8427244 w 8801100"/>
                  <a:gd name="connsiteY238" fmla="*/ 1952625 h 4410075"/>
                  <a:gd name="connsiteX239" fmla="*/ 8477250 w 8801100"/>
                  <a:gd name="connsiteY239" fmla="*/ 1933575 h 4410075"/>
                  <a:gd name="connsiteX240" fmla="*/ 8515350 w 8801100"/>
                  <a:gd name="connsiteY240" fmla="*/ 1905000 h 4410075"/>
                  <a:gd name="connsiteX241" fmla="*/ 8548688 w 8801100"/>
                  <a:gd name="connsiteY241" fmla="*/ 1902619 h 4410075"/>
                  <a:gd name="connsiteX242" fmla="*/ 8584406 w 8801100"/>
                  <a:gd name="connsiteY242" fmla="*/ 1933575 h 4410075"/>
                  <a:gd name="connsiteX243" fmla="*/ 8643938 w 8801100"/>
                  <a:gd name="connsiteY243" fmla="*/ 1933575 h 4410075"/>
                  <a:gd name="connsiteX244" fmla="*/ 8682037 w 8801100"/>
                  <a:gd name="connsiteY244" fmla="*/ 1914525 h 4410075"/>
                  <a:gd name="connsiteX245" fmla="*/ 8765381 w 8801100"/>
                  <a:gd name="connsiteY245" fmla="*/ 1916907 h 4410075"/>
                  <a:gd name="connsiteX246" fmla="*/ 8796338 w 8801100"/>
                  <a:gd name="connsiteY246" fmla="*/ 1871663 h 4410075"/>
                  <a:gd name="connsiteX247" fmla="*/ 8801100 w 8801100"/>
                  <a:gd name="connsiteY247" fmla="*/ 1809750 h 4410075"/>
                  <a:gd name="connsiteX248" fmla="*/ 8751093 w 8801100"/>
                  <a:gd name="connsiteY248" fmla="*/ 1769269 h 4410075"/>
                  <a:gd name="connsiteX249" fmla="*/ 8734425 w 8801100"/>
                  <a:gd name="connsiteY249" fmla="*/ 1714500 h 4410075"/>
                  <a:gd name="connsiteX250" fmla="*/ 8643938 w 8801100"/>
                  <a:gd name="connsiteY250" fmla="*/ 1652588 h 4410075"/>
                  <a:gd name="connsiteX251" fmla="*/ 8603456 w 8801100"/>
                  <a:gd name="connsiteY251" fmla="*/ 1631156 h 4410075"/>
                  <a:gd name="connsiteX252" fmla="*/ 8565356 w 8801100"/>
                  <a:gd name="connsiteY252" fmla="*/ 1585913 h 4410075"/>
                  <a:gd name="connsiteX253" fmla="*/ 8534400 w 8801100"/>
                  <a:gd name="connsiteY253" fmla="*/ 1583531 h 4410075"/>
                  <a:gd name="connsiteX254" fmla="*/ 8517731 w 8801100"/>
                  <a:gd name="connsiteY254" fmla="*/ 1531144 h 4410075"/>
                  <a:gd name="connsiteX255" fmla="*/ 8477250 w 8801100"/>
                  <a:gd name="connsiteY255" fmla="*/ 1514475 h 4410075"/>
                  <a:gd name="connsiteX256" fmla="*/ 8477250 w 8801100"/>
                  <a:gd name="connsiteY256" fmla="*/ 1514475 h 4410075"/>
                  <a:gd name="connsiteX257" fmla="*/ 8436769 w 8801100"/>
                  <a:gd name="connsiteY257" fmla="*/ 1519238 h 4410075"/>
                  <a:gd name="connsiteX258" fmla="*/ 8351043 w 8801100"/>
                  <a:gd name="connsiteY258" fmla="*/ 1445419 h 4410075"/>
                  <a:gd name="connsiteX259" fmla="*/ 8170069 w 8801100"/>
                  <a:gd name="connsiteY259" fmla="*/ 1445418 h 4410075"/>
                  <a:gd name="connsiteX260" fmla="*/ 8117681 w 8801100"/>
                  <a:gd name="connsiteY260" fmla="*/ 1483519 h 4410075"/>
                  <a:gd name="connsiteX261" fmla="*/ 8067675 w 8801100"/>
                  <a:gd name="connsiteY261" fmla="*/ 1562100 h 4410075"/>
                  <a:gd name="connsiteX262" fmla="*/ 8084344 w 8801100"/>
                  <a:gd name="connsiteY262" fmla="*/ 1583531 h 4410075"/>
                  <a:gd name="connsiteX263" fmla="*/ 8039100 w 8801100"/>
                  <a:gd name="connsiteY263" fmla="*/ 1633537 h 4410075"/>
                  <a:gd name="connsiteX264" fmla="*/ 7889081 w 8801100"/>
                  <a:gd name="connsiteY264" fmla="*/ 1557337 h 4410075"/>
                  <a:gd name="connsiteX265" fmla="*/ 7798594 w 8801100"/>
                  <a:gd name="connsiteY265" fmla="*/ 1593056 h 4410075"/>
                  <a:gd name="connsiteX266" fmla="*/ 7724775 w 8801100"/>
                  <a:gd name="connsiteY266" fmla="*/ 1590675 h 4410075"/>
                  <a:gd name="connsiteX267" fmla="*/ 7667625 w 8801100"/>
                  <a:gd name="connsiteY267" fmla="*/ 1685925 h 4410075"/>
                  <a:gd name="connsiteX268" fmla="*/ 7529513 w 8801100"/>
                  <a:gd name="connsiteY268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883443 w 8801100"/>
                  <a:gd name="connsiteY148" fmla="*/ 2024062 h 4410075"/>
                  <a:gd name="connsiteX149" fmla="*/ 819150 w 8801100"/>
                  <a:gd name="connsiteY149" fmla="*/ 2162175 h 4410075"/>
                  <a:gd name="connsiteX150" fmla="*/ 735806 w 8801100"/>
                  <a:gd name="connsiteY150" fmla="*/ 2326482 h 4410075"/>
                  <a:gd name="connsiteX151" fmla="*/ 692944 w 8801100"/>
                  <a:gd name="connsiteY151" fmla="*/ 2440781 h 4410075"/>
                  <a:gd name="connsiteX152" fmla="*/ 726281 w 8801100"/>
                  <a:gd name="connsiteY152" fmla="*/ 2481263 h 4410075"/>
                  <a:gd name="connsiteX153" fmla="*/ 709613 w 8801100"/>
                  <a:gd name="connsiteY153" fmla="*/ 2509838 h 4410075"/>
                  <a:gd name="connsiteX154" fmla="*/ 740569 w 8801100"/>
                  <a:gd name="connsiteY154" fmla="*/ 2566988 h 4410075"/>
                  <a:gd name="connsiteX155" fmla="*/ 769144 w 8801100"/>
                  <a:gd name="connsiteY155" fmla="*/ 2566988 h 4410075"/>
                  <a:gd name="connsiteX156" fmla="*/ 931069 w 8801100"/>
                  <a:gd name="connsiteY156" fmla="*/ 2669381 h 4410075"/>
                  <a:gd name="connsiteX157" fmla="*/ 1035844 w 8801100"/>
                  <a:gd name="connsiteY157" fmla="*/ 2667000 h 4410075"/>
                  <a:gd name="connsiteX158" fmla="*/ 1114425 w 8801100"/>
                  <a:gd name="connsiteY158" fmla="*/ 2721769 h 4410075"/>
                  <a:gd name="connsiteX159" fmla="*/ 1245393 w 8801100"/>
                  <a:gd name="connsiteY159" fmla="*/ 2724150 h 4410075"/>
                  <a:gd name="connsiteX160" fmla="*/ 1435893 w 8801100"/>
                  <a:gd name="connsiteY160" fmla="*/ 2793206 h 4410075"/>
                  <a:gd name="connsiteX161" fmla="*/ 1638300 w 8801100"/>
                  <a:gd name="connsiteY161" fmla="*/ 2943225 h 4410075"/>
                  <a:gd name="connsiteX162" fmla="*/ 1671637 w 8801100"/>
                  <a:gd name="connsiteY162" fmla="*/ 3009900 h 4410075"/>
                  <a:gd name="connsiteX163" fmla="*/ 1838325 w 8801100"/>
                  <a:gd name="connsiteY163" fmla="*/ 3136106 h 4410075"/>
                  <a:gd name="connsiteX164" fmla="*/ 1909763 w 8801100"/>
                  <a:gd name="connsiteY164" fmla="*/ 3131344 h 4410075"/>
                  <a:gd name="connsiteX165" fmla="*/ 1945482 w 8801100"/>
                  <a:gd name="connsiteY165" fmla="*/ 3155156 h 4410075"/>
                  <a:gd name="connsiteX166" fmla="*/ 1916906 w 8801100"/>
                  <a:gd name="connsiteY166" fmla="*/ 3195638 h 4410075"/>
                  <a:gd name="connsiteX167" fmla="*/ 1924050 w 8801100"/>
                  <a:gd name="connsiteY167" fmla="*/ 3248025 h 4410075"/>
                  <a:gd name="connsiteX168" fmla="*/ 1976438 w 8801100"/>
                  <a:gd name="connsiteY168" fmla="*/ 3274219 h 4410075"/>
                  <a:gd name="connsiteX169" fmla="*/ 2038350 w 8801100"/>
                  <a:gd name="connsiteY169" fmla="*/ 3498057 h 4410075"/>
                  <a:gd name="connsiteX170" fmla="*/ 2028825 w 8801100"/>
                  <a:gd name="connsiteY170" fmla="*/ 3562350 h 4410075"/>
                  <a:gd name="connsiteX171" fmla="*/ 2164556 w 8801100"/>
                  <a:gd name="connsiteY171" fmla="*/ 3729038 h 4410075"/>
                  <a:gd name="connsiteX172" fmla="*/ 2183606 w 8801100"/>
                  <a:gd name="connsiteY172" fmla="*/ 3779044 h 4410075"/>
                  <a:gd name="connsiteX173" fmla="*/ 2157413 w 8801100"/>
                  <a:gd name="connsiteY173" fmla="*/ 3798094 h 4410075"/>
                  <a:gd name="connsiteX174" fmla="*/ 2259806 w 8801100"/>
                  <a:gd name="connsiteY174" fmla="*/ 3807619 h 4410075"/>
                  <a:gd name="connsiteX175" fmla="*/ 2371725 w 8801100"/>
                  <a:gd name="connsiteY175" fmla="*/ 3795713 h 4410075"/>
                  <a:gd name="connsiteX176" fmla="*/ 2650331 w 8801100"/>
                  <a:gd name="connsiteY176" fmla="*/ 3879056 h 4410075"/>
                  <a:gd name="connsiteX177" fmla="*/ 3057525 w 8801100"/>
                  <a:gd name="connsiteY177" fmla="*/ 3960019 h 4410075"/>
                  <a:gd name="connsiteX178" fmla="*/ 3255169 w 8801100"/>
                  <a:gd name="connsiteY178" fmla="*/ 3929062 h 4410075"/>
                  <a:gd name="connsiteX179" fmla="*/ 3300413 w 8801100"/>
                  <a:gd name="connsiteY179" fmla="*/ 3940968 h 4410075"/>
                  <a:gd name="connsiteX180" fmla="*/ 3355181 w 8801100"/>
                  <a:gd name="connsiteY180" fmla="*/ 3917157 h 4410075"/>
                  <a:gd name="connsiteX181" fmla="*/ 3748087 w 8801100"/>
                  <a:gd name="connsiteY181" fmla="*/ 4007644 h 4410075"/>
                  <a:gd name="connsiteX182" fmla="*/ 3831432 w 8801100"/>
                  <a:gd name="connsiteY182" fmla="*/ 4105275 h 4410075"/>
                  <a:gd name="connsiteX183" fmla="*/ 3950494 w 8801100"/>
                  <a:gd name="connsiteY183" fmla="*/ 4176713 h 4410075"/>
                  <a:gd name="connsiteX184" fmla="*/ 4010025 w 8801100"/>
                  <a:gd name="connsiteY184" fmla="*/ 4160044 h 4410075"/>
                  <a:gd name="connsiteX185" fmla="*/ 4360068 w 8801100"/>
                  <a:gd name="connsiteY185" fmla="*/ 4333875 h 4410075"/>
                  <a:gd name="connsiteX186" fmla="*/ 4586288 w 8801100"/>
                  <a:gd name="connsiteY186" fmla="*/ 4305300 h 4410075"/>
                  <a:gd name="connsiteX187" fmla="*/ 4595813 w 8801100"/>
                  <a:gd name="connsiteY187" fmla="*/ 4383881 h 4410075"/>
                  <a:gd name="connsiteX188" fmla="*/ 4681538 w 8801100"/>
                  <a:gd name="connsiteY188" fmla="*/ 4379118 h 4410075"/>
                  <a:gd name="connsiteX189" fmla="*/ 4760119 w 8801100"/>
                  <a:gd name="connsiteY189" fmla="*/ 4410075 h 4410075"/>
                  <a:gd name="connsiteX190" fmla="*/ 4802981 w 8801100"/>
                  <a:gd name="connsiteY190" fmla="*/ 4350544 h 4410075"/>
                  <a:gd name="connsiteX191" fmla="*/ 5474494 w 8801100"/>
                  <a:gd name="connsiteY191" fmla="*/ 4031456 h 4410075"/>
                  <a:gd name="connsiteX192" fmla="*/ 5562600 w 8801100"/>
                  <a:gd name="connsiteY192" fmla="*/ 4060032 h 4410075"/>
                  <a:gd name="connsiteX193" fmla="*/ 5693569 w 8801100"/>
                  <a:gd name="connsiteY193" fmla="*/ 4031456 h 4410075"/>
                  <a:gd name="connsiteX194" fmla="*/ 5872162 w 8801100"/>
                  <a:gd name="connsiteY194" fmla="*/ 4048125 h 4410075"/>
                  <a:gd name="connsiteX195" fmla="*/ 5929313 w 8801100"/>
                  <a:gd name="connsiteY195" fmla="*/ 4021932 h 4410075"/>
                  <a:gd name="connsiteX196" fmla="*/ 6062662 w 8801100"/>
                  <a:gd name="connsiteY196" fmla="*/ 4019550 h 4410075"/>
                  <a:gd name="connsiteX197" fmla="*/ 6196012 w 8801100"/>
                  <a:gd name="connsiteY197" fmla="*/ 3921919 h 4410075"/>
                  <a:gd name="connsiteX198" fmla="*/ 6262687 w 8801100"/>
                  <a:gd name="connsiteY198" fmla="*/ 3914775 h 4410075"/>
                  <a:gd name="connsiteX199" fmla="*/ 6360319 w 8801100"/>
                  <a:gd name="connsiteY199" fmla="*/ 3840956 h 4410075"/>
                  <a:gd name="connsiteX200" fmla="*/ 6434138 w 8801100"/>
                  <a:gd name="connsiteY200" fmla="*/ 3771900 h 4410075"/>
                  <a:gd name="connsiteX201" fmla="*/ 6443663 w 8801100"/>
                  <a:gd name="connsiteY201" fmla="*/ 3709988 h 4410075"/>
                  <a:gd name="connsiteX202" fmla="*/ 6477000 w 8801100"/>
                  <a:gd name="connsiteY202" fmla="*/ 3640931 h 4410075"/>
                  <a:gd name="connsiteX203" fmla="*/ 6629400 w 8801100"/>
                  <a:gd name="connsiteY203" fmla="*/ 3533775 h 4410075"/>
                  <a:gd name="connsiteX204" fmla="*/ 6662738 w 8801100"/>
                  <a:gd name="connsiteY204" fmla="*/ 3538538 h 4410075"/>
                  <a:gd name="connsiteX205" fmla="*/ 6715125 w 8801100"/>
                  <a:gd name="connsiteY205" fmla="*/ 3459956 h 4410075"/>
                  <a:gd name="connsiteX206" fmla="*/ 6762750 w 8801100"/>
                  <a:gd name="connsiteY206" fmla="*/ 3421856 h 4410075"/>
                  <a:gd name="connsiteX207" fmla="*/ 6748463 w 8801100"/>
                  <a:gd name="connsiteY207" fmla="*/ 3352800 h 4410075"/>
                  <a:gd name="connsiteX208" fmla="*/ 6698456 w 8801100"/>
                  <a:gd name="connsiteY208" fmla="*/ 3321843 h 4410075"/>
                  <a:gd name="connsiteX209" fmla="*/ 6638925 w 8801100"/>
                  <a:gd name="connsiteY209" fmla="*/ 3267075 h 4410075"/>
                  <a:gd name="connsiteX210" fmla="*/ 6619875 w 8801100"/>
                  <a:gd name="connsiteY210" fmla="*/ 3209925 h 4410075"/>
                  <a:gd name="connsiteX211" fmla="*/ 6584156 w 8801100"/>
                  <a:gd name="connsiteY211" fmla="*/ 3176588 h 4410075"/>
                  <a:gd name="connsiteX212" fmla="*/ 6610350 w 8801100"/>
                  <a:gd name="connsiteY212" fmla="*/ 3124200 h 4410075"/>
                  <a:gd name="connsiteX213" fmla="*/ 6650831 w 8801100"/>
                  <a:gd name="connsiteY213" fmla="*/ 2945606 h 4410075"/>
                  <a:gd name="connsiteX214" fmla="*/ 6691313 w 8801100"/>
                  <a:gd name="connsiteY214" fmla="*/ 2878931 h 4410075"/>
                  <a:gd name="connsiteX215" fmla="*/ 6836569 w 8801100"/>
                  <a:gd name="connsiteY215" fmla="*/ 2862262 h 4410075"/>
                  <a:gd name="connsiteX216" fmla="*/ 6905625 w 8801100"/>
                  <a:gd name="connsiteY216" fmla="*/ 2919413 h 4410075"/>
                  <a:gd name="connsiteX217" fmla="*/ 6981825 w 8801100"/>
                  <a:gd name="connsiteY217" fmla="*/ 2943225 h 4410075"/>
                  <a:gd name="connsiteX218" fmla="*/ 7186612 w 8801100"/>
                  <a:gd name="connsiteY218" fmla="*/ 2947988 h 4410075"/>
                  <a:gd name="connsiteX219" fmla="*/ 7362825 w 8801100"/>
                  <a:gd name="connsiteY219" fmla="*/ 2809875 h 4410075"/>
                  <a:gd name="connsiteX220" fmla="*/ 7419975 w 8801100"/>
                  <a:gd name="connsiteY220" fmla="*/ 2719387 h 4410075"/>
                  <a:gd name="connsiteX221" fmla="*/ 7446169 w 8801100"/>
                  <a:gd name="connsiteY221" fmla="*/ 2636044 h 4410075"/>
                  <a:gd name="connsiteX222" fmla="*/ 7577137 w 8801100"/>
                  <a:gd name="connsiteY222" fmla="*/ 2636044 h 4410075"/>
                  <a:gd name="connsiteX223" fmla="*/ 7750969 w 8801100"/>
                  <a:gd name="connsiteY223" fmla="*/ 2578893 h 4410075"/>
                  <a:gd name="connsiteX224" fmla="*/ 7810500 w 8801100"/>
                  <a:gd name="connsiteY224" fmla="*/ 2466975 h 4410075"/>
                  <a:gd name="connsiteX225" fmla="*/ 7874794 w 8801100"/>
                  <a:gd name="connsiteY225" fmla="*/ 2431256 h 4410075"/>
                  <a:gd name="connsiteX226" fmla="*/ 7853363 w 8801100"/>
                  <a:gd name="connsiteY226" fmla="*/ 2386013 h 4410075"/>
                  <a:gd name="connsiteX227" fmla="*/ 7931944 w 8801100"/>
                  <a:gd name="connsiteY227" fmla="*/ 2216943 h 4410075"/>
                  <a:gd name="connsiteX228" fmla="*/ 7986713 w 8801100"/>
                  <a:gd name="connsiteY228" fmla="*/ 2157413 h 4410075"/>
                  <a:gd name="connsiteX229" fmla="*/ 8024813 w 8801100"/>
                  <a:gd name="connsiteY229" fmla="*/ 2152650 h 4410075"/>
                  <a:gd name="connsiteX230" fmla="*/ 8070056 w 8801100"/>
                  <a:gd name="connsiteY230" fmla="*/ 2157413 h 4410075"/>
                  <a:gd name="connsiteX231" fmla="*/ 8134350 w 8801100"/>
                  <a:gd name="connsiteY231" fmla="*/ 2124075 h 4410075"/>
                  <a:gd name="connsiteX232" fmla="*/ 8143875 w 8801100"/>
                  <a:gd name="connsiteY232" fmla="*/ 2059781 h 4410075"/>
                  <a:gd name="connsiteX233" fmla="*/ 8184355 w 8801100"/>
                  <a:gd name="connsiteY233" fmla="*/ 2024063 h 4410075"/>
                  <a:gd name="connsiteX234" fmla="*/ 8243888 w 8801100"/>
                  <a:gd name="connsiteY234" fmla="*/ 2064543 h 4410075"/>
                  <a:gd name="connsiteX235" fmla="*/ 8270082 w 8801100"/>
                  <a:gd name="connsiteY235" fmla="*/ 2014537 h 4410075"/>
                  <a:gd name="connsiteX236" fmla="*/ 8365331 w 8801100"/>
                  <a:gd name="connsiteY236" fmla="*/ 1945481 h 4410075"/>
                  <a:gd name="connsiteX237" fmla="*/ 8427244 w 8801100"/>
                  <a:gd name="connsiteY237" fmla="*/ 1952625 h 4410075"/>
                  <a:gd name="connsiteX238" fmla="*/ 8477250 w 8801100"/>
                  <a:gd name="connsiteY238" fmla="*/ 1933575 h 4410075"/>
                  <a:gd name="connsiteX239" fmla="*/ 8515350 w 8801100"/>
                  <a:gd name="connsiteY239" fmla="*/ 1905000 h 4410075"/>
                  <a:gd name="connsiteX240" fmla="*/ 8548688 w 8801100"/>
                  <a:gd name="connsiteY240" fmla="*/ 1902619 h 4410075"/>
                  <a:gd name="connsiteX241" fmla="*/ 8584406 w 8801100"/>
                  <a:gd name="connsiteY241" fmla="*/ 1933575 h 4410075"/>
                  <a:gd name="connsiteX242" fmla="*/ 8643938 w 8801100"/>
                  <a:gd name="connsiteY242" fmla="*/ 1933575 h 4410075"/>
                  <a:gd name="connsiteX243" fmla="*/ 8682037 w 8801100"/>
                  <a:gd name="connsiteY243" fmla="*/ 1914525 h 4410075"/>
                  <a:gd name="connsiteX244" fmla="*/ 8765381 w 8801100"/>
                  <a:gd name="connsiteY244" fmla="*/ 1916907 h 4410075"/>
                  <a:gd name="connsiteX245" fmla="*/ 8796338 w 8801100"/>
                  <a:gd name="connsiteY245" fmla="*/ 1871663 h 4410075"/>
                  <a:gd name="connsiteX246" fmla="*/ 8801100 w 8801100"/>
                  <a:gd name="connsiteY246" fmla="*/ 1809750 h 4410075"/>
                  <a:gd name="connsiteX247" fmla="*/ 8751093 w 8801100"/>
                  <a:gd name="connsiteY247" fmla="*/ 1769269 h 4410075"/>
                  <a:gd name="connsiteX248" fmla="*/ 8734425 w 8801100"/>
                  <a:gd name="connsiteY248" fmla="*/ 1714500 h 4410075"/>
                  <a:gd name="connsiteX249" fmla="*/ 8643938 w 8801100"/>
                  <a:gd name="connsiteY249" fmla="*/ 1652588 h 4410075"/>
                  <a:gd name="connsiteX250" fmla="*/ 8603456 w 8801100"/>
                  <a:gd name="connsiteY250" fmla="*/ 1631156 h 4410075"/>
                  <a:gd name="connsiteX251" fmla="*/ 8565356 w 8801100"/>
                  <a:gd name="connsiteY251" fmla="*/ 1585913 h 4410075"/>
                  <a:gd name="connsiteX252" fmla="*/ 8534400 w 8801100"/>
                  <a:gd name="connsiteY252" fmla="*/ 1583531 h 4410075"/>
                  <a:gd name="connsiteX253" fmla="*/ 8517731 w 8801100"/>
                  <a:gd name="connsiteY253" fmla="*/ 1531144 h 4410075"/>
                  <a:gd name="connsiteX254" fmla="*/ 8477250 w 8801100"/>
                  <a:gd name="connsiteY254" fmla="*/ 1514475 h 4410075"/>
                  <a:gd name="connsiteX255" fmla="*/ 8477250 w 8801100"/>
                  <a:gd name="connsiteY255" fmla="*/ 1514475 h 4410075"/>
                  <a:gd name="connsiteX256" fmla="*/ 8436769 w 8801100"/>
                  <a:gd name="connsiteY256" fmla="*/ 1519238 h 4410075"/>
                  <a:gd name="connsiteX257" fmla="*/ 8351043 w 8801100"/>
                  <a:gd name="connsiteY257" fmla="*/ 1445419 h 4410075"/>
                  <a:gd name="connsiteX258" fmla="*/ 8170069 w 8801100"/>
                  <a:gd name="connsiteY258" fmla="*/ 1445418 h 4410075"/>
                  <a:gd name="connsiteX259" fmla="*/ 8117681 w 8801100"/>
                  <a:gd name="connsiteY259" fmla="*/ 1483519 h 4410075"/>
                  <a:gd name="connsiteX260" fmla="*/ 8067675 w 8801100"/>
                  <a:gd name="connsiteY260" fmla="*/ 1562100 h 4410075"/>
                  <a:gd name="connsiteX261" fmla="*/ 8084344 w 8801100"/>
                  <a:gd name="connsiteY261" fmla="*/ 1583531 h 4410075"/>
                  <a:gd name="connsiteX262" fmla="*/ 8039100 w 8801100"/>
                  <a:gd name="connsiteY262" fmla="*/ 1633537 h 4410075"/>
                  <a:gd name="connsiteX263" fmla="*/ 7889081 w 8801100"/>
                  <a:gd name="connsiteY263" fmla="*/ 1557337 h 4410075"/>
                  <a:gd name="connsiteX264" fmla="*/ 7798594 w 8801100"/>
                  <a:gd name="connsiteY264" fmla="*/ 1593056 h 4410075"/>
                  <a:gd name="connsiteX265" fmla="*/ 7724775 w 8801100"/>
                  <a:gd name="connsiteY265" fmla="*/ 1590675 h 4410075"/>
                  <a:gd name="connsiteX266" fmla="*/ 7667625 w 8801100"/>
                  <a:gd name="connsiteY266" fmla="*/ 1685925 h 4410075"/>
                  <a:gd name="connsiteX267" fmla="*/ 7529513 w 8801100"/>
                  <a:gd name="connsiteY267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883443 w 8801100"/>
                  <a:gd name="connsiteY148" fmla="*/ 2024062 h 4410075"/>
                  <a:gd name="connsiteX149" fmla="*/ 735806 w 8801100"/>
                  <a:gd name="connsiteY149" fmla="*/ 2326482 h 4410075"/>
                  <a:gd name="connsiteX150" fmla="*/ 692944 w 8801100"/>
                  <a:gd name="connsiteY150" fmla="*/ 2440781 h 4410075"/>
                  <a:gd name="connsiteX151" fmla="*/ 726281 w 8801100"/>
                  <a:gd name="connsiteY151" fmla="*/ 2481263 h 4410075"/>
                  <a:gd name="connsiteX152" fmla="*/ 709613 w 8801100"/>
                  <a:gd name="connsiteY152" fmla="*/ 2509838 h 4410075"/>
                  <a:gd name="connsiteX153" fmla="*/ 740569 w 8801100"/>
                  <a:gd name="connsiteY153" fmla="*/ 2566988 h 4410075"/>
                  <a:gd name="connsiteX154" fmla="*/ 769144 w 8801100"/>
                  <a:gd name="connsiteY154" fmla="*/ 2566988 h 4410075"/>
                  <a:gd name="connsiteX155" fmla="*/ 931069 w 8801100"/>
                  <a:gd name="connsiteY155" fmla="*/ 2669381 h 4410075"/>
                  <a:gd name="connsiteX156" fmla="*/ 1035844 w 8801100"/>
                  <a:gd name="connsiteY156" fmla="*/ 2667000 h 4410075"/>
                  <a:gd name="connsiteX157" fmla="*/ 1114425 w 8801100"/>
                  <a:gd name="connsiteY157" fmla="*/ 2721769 h 4410075"/>
                  <a:gd name="connsiteX158" fmla="*/ 1245393 w 8801100"/>
                  <a:gd name="connsiteY158" fmla="*/ 2724150 h 4410075"/>
                  <a:gd name="connsiteX159" fmla="*/ 1435893 w 8801100"/>
                  <a:gd name="connsiteY159" fmla="*/ 2793206 h 4410075"/>
                  <a:gd name="connsiteX160" fmla="*/ 1638300 w 8801100"/>
                  <a:gd name="connsiteY160" fmla="*/ 2943225 h 4410075"/>
                  <a:gd name="connsiteX161" fmla="*/ 1671637 w 8801100"/>
                  <a:gd name="connsiteY161" fmla="*/ 3009900 h 4410075"/>
                  <a:gd name="connsiteX162" fmla="*/ 1838325 w 8801100"/>
                  <a:gd name="connsiteY162" fmla="*/ 3136106 h 4410075"/>
                  <a:gd name="connsiteX163" fmla="*/ 1909763 w 8801100"/>
                  <a:gd name="connsiteY163" fmla="*/ 3131344 h 4410075"/>
                  <a:gd name="connsiteX164" fmla="*/ 1945482 w 8801100"/>
                  <a:gd name="connsiteY164" fmla="*/ 3155156 h 4410075"/>
                  <a:gd name="connsiteX165" fmla="*/ 1916906 w 8801100"/>
                  <a:gd name="connsiteY165" fmla="*/ 3195638 h 4410075"/>
                  <a:gd name="connsiteX166" fmla="*/ 1924050 w 8801100"/>
                  <a:gd name="connsiteY166" fmla="*/ 3248025 h 4410075"/>
                  <a:gd name="connsiteX167" fmla="*/ 1976438 w 8801100"/>
                  <a:gd name="connsiteY167" fmla="*/ 3274219 h 4410075"/>
                  <a:gd name="connsiteX168" fmla="*/ 2038350 w 8801100"/>
                  <a:gd name="connsiteY168" fmla="*/ 3498057 h 4410075"/>
                  <a:gd name="connsiteX169" fmla="*/ 2028825 w 8801100"/>
                  <a:gd name="connsiteY169" fmla="*/ 3562350 h 4410075"/>
                  <a:gd name="connsiteX170" fmla="*/ 2164556 w 8801100"/>
                  <a:gd name="connsiteY170" fmla="*/ 3729038 h 4410075"/>
                  <a:gd name="connsiteX171" fmla="*/ 2183606 w 8801100"/>
                  <a:gd name="connsiteY171" fmla="*/ 3779044 h 4410075"/>
                  <a:gd name="connsiteX172" fmla="*/ 2157413 w 8801100"/>
                  <a:gd name="connsiteY172" fmla="*/ 3798094 h 4410075"/>
                  <a:gd name="connsiteX173" fmla="*/ 2259806 w 8801100"/>
                  <a:gd name="connsiteY173" fmla="*/ 3807619 h 4410075"/>
                  <a:gd name="connsiteX174" fmla="*/ 2371725 w 8801100"/>
                  <a:gd name="connsiteY174" fmla="*/ 3795713 h 4410075"/>
                  <a:gd name="connsiteX175" fmla="*/ 2650331 w 8801100"/>
                  <a:gd name="connsiteY175" fmla="*/ 3879056 h 4410075"/>
                  <a:gd name="connsiteX176" fmla="*/ 3057525 w 8801100"/>
                  <a:gd name="connsiteY176" fmla="*/ 3960019 h 4410075"/>
                  <a:gd name="connsiteX177" fmla="*/ 3255169 w 8801100"/>
                  <a:gd name="connsiteY177" fmla="*/ 3929062 h 4410075"/>
                  <a:gd name="connsiteX178" fmla="*/ 3300413 w 8801100"/>
                  <a:gd name="connsiteY178" fmla="*/ 3940968 h 4410075"/>
                  <a:gd name="connsiteX179" fmla="*/ 3355181 w 8801100"/>
                  <a:gd name="connsiteY179" fmla="*/ 3917157 h 4410075"/>
                  <a:gd name="connsiteX180" fmla="*/ 3748087 w 8801100"/>
                  <a:gd name="connsiteY180" fmla="*/ 4007644 h 4410075"/>
                  <a:gd name="connsiteX181" fmla="*/ 3831432 w 8801100"/>
                  <a:gd name="connsiteY181" fmla="*/ 4105275 h 4410075"/>
                  <a:gd name="connsiteX182" fmla="*/ 3950494 w 8801100"/>
                  <a:gd name="connsiteY182" fmla="*/ 4176713 h 4410075"/>
                  <a:gd name="connsiteX183" fmla="*/ 4010025 w 8801100"/>
                  <a:gd name="connsiteY183" fmla="*/ 4160044 h 4410075"/>
                  <a:gd name="connsiteX184" fmla="*/ 4360068 w 8801100"/>
                  <a:gd name="connsiteY184" fmla="*/ 4333875 h 4410075"/>
                  <a:gd name="connsiteX185" fmla="*/ 4586288 w 8801100"/>
                  <a:gd name="connsiteY185" fmla="*/ 4305300 h 4410075"/>
                  <a:gd name="connsiteX186" fmla="*/ 4595813 w 8801100"/>
                  <a:gd name="connsiteY186" fmla="*/ 4383881 h 4410075"/>
                  <a:gd name="connsiteX187" fmla="*/ 4681538 w 8801100"/>
                  <a:gd name="connsiteY187" fmla="*/ 4379118 h 4410075"/>
                  <a:gd name="connsiteX188" fmla="*/ 4760119 w 8801100"/>
                  <a:gd name="connsiteY188" fmla="*/ 4410075 h 4410075"/>
                  <a:gd name="connsiteX189" fmla="*/ 4802981 w 8801100"/>
                  <a:gd name="connsiteY189" fmla="*/ 4350544 h 4410075"/>
                  <a:gd name="connsiteX190" fmla="*/ 5474494 w 8801100"/>
                  <a:gd name="connsiteY190" fmla="*/ 4031456 h 4410075"/>
                  <a:gd name="connsiteX191" fmla="*/ 5562600 w 8801100"/>
                  <a:gd name="connsiteY191" fmla="*/ 4060032 h 4410075"/>
                  <a:gd name="connsiteX192" fmla="*/ 5693569 w 8801100"/>
                  <a:gd name="connsiteY192" fmla="*/ 4031456 h 4410075"/>
                  <a:gd name="connsiteX193" fmla="*/ 5872162 w 8801100"/>
                  <a:gd name="connsiteY193" fmla="*/ 4048125 h 4410075"/>
                  <a:gd name="connsiteX194" fmla="*/ 5929313 w 8801100"/>
                  <a:gd name="connsiteY194" fmla="*/ 4021932 h 4410075"/>
                  <a:gd name="connsiteX195" fmla="*/ 6062662 w 8801100"/>
                  <a:gd name="connsiteY195" fmla="*/ 4019550 h 4410075"/>
                  <a:gd name="connsiteX196" fmla="*/ 6196012 w 8801100"/>
                  <a:gd name="connsiteY196" fmla="*/ 3921919 h 4410075"/>
                  <a:gd name="connsiteX197" fmla="*/ 6262687 w 8801100"/>
                  <a:gd name="connsiteY197" fmla="*/ 3914775 h 4410075"/>
                  <a:gd name="connsiteX198" fmla="*/ 6360319 w 8801100"/>
                  <a:gd name="connsiteY198" fmla="*/ 3840956 h 4410075"/>
                  <a:gd name="connsiteX199" fmla="*/ 6434138 w 8801100"/>
                  <a:gd name="connsiteY199" fmla="*/ 3771900 h 4410075"/>
                  <a:gd name="connsiteX200" fmla="*/ 6443663 w 8801100"/>
                  <a:gd name="connsiteY200" fmla="*/ 3709988 h 4410075"/>
                  <a:gd name="connsiteX201" fmla="*/ 6477000 w 8801100"/>
                  <a:gd name="connsiteY201" fmla="*/ 3640931 h 4410075"/>
                  <a:gd name="connsiteX202" fmla="*/ 6629400 w 8801100"/>
                  <a:gd name="connsiteY202" fmla="*/ 3533775 h 4410075"/>
                  <a:gd name="connsiteX203" fmla="*/ 6662738 w 8801100"/>
                  <a:gd name="connsiteY203" fmla="*/ 3538538 h 4410075"/>
                  <a:gd name="connsiteX204" fmla="*/ 6715125 w 8801100"/>
                  <a:gd name="connsiteY204" fmla="*/ 3459956 h 4410075"/>
                  <a:gd name="connsiteX205" fmla="*/ 6762750 w 8801100"/>
                  <a:gd name="connsiteY205" fmla="*/ 3421856 h 4410075"/>
                  <a:gd name="connsiteX206" fmla="*/ 6748463 w 8801100"/>
                  <a:gd name="connsiteY206" fmla="*/ 3352800 h 4410075"/>
                  <a:gd name="connsiteX207" fmla="*/ 6698456 w 8801100"/>
                  <a:gd name="connsiteY207" fmla="*/ 3321843 h 4410075"/>
                  <a:gd name="connsiteX208" fmla="*/ 6638925 w 8801100"/>
                  <a:gd name="connsiteY208" fmla="*/ 3267075 h 4410075"/>
                  <a:gd name="connsiteX209" fmla="*/ 6619875 w 8801100"/>
                  <a:gd name="connsiteY209" fmla="*/ 3209925 h 4410075"/>
                  <a:gd name="connsiteX210" fmla="*/ 6584156 w 8801100"/>
                  <a:gd name="connsiteY210" fmla="*/ 3176588 h 4410075"/>
                  <a:gd name="connsiteX211" fmla="*/ 6610350 w 8801100"/>
                  <a:gd name="connsiteY211" fmla="*/ 3124200 h 4410075"/>
                  <a:gd name="connsiteX212" fmla="*/ 6650831 w 8801100"/>
                  <a:gd name="connsiteY212" fmla="*/ 2945606 h 4410075"/>
                  <a:gd name="connsiteX213" fmla="*/ 6691313 w 8801100"/>
                  <a:gd name="connsiteY213" fmla="*/ 2878931 h 4410075"/>
                  <a:gd name="connsiteX214" fmla="*/ 6836569 w 8801100"/>
                  <a:gd name="connsiteY214" fmla="*/ 2862262 h 4410075"/>
                  <a:gd name="connsiteX215" fmla="*/ 6905625 w 8801100"/>
                  <a:gd name="connsiteY215" fmla="*/ 2919413 h 4410075"/>
                  <a:gd name="connsiteX216" fmla="*/ 6981825 w 8801100"/>
                  <a:gd name="connsiteY216" fmla="*/ 2943225 h 4410075"/>
                  <a:gd name="connsiteX217" fmla="*/ 7186612 w 8801100"/>
                  <a:gd name="connsiteY217" fmla="*/ 2947988 h 4410075"/>
                  <a:gd name="connsiteX218" fmla="*/ 7362825 w 8801100"/>
                  <a:gd name="connsiteY218" fmla="*/ 2809875 h 4410075"/>
                  <a:gd name="connsiteX219" fmla="*/ 7419975 w 8801100"/>
                  <a:gd name="connsiteY219" fmla="*/ 2719387 h 4410075"/>
                  <a:gd name="connsiteX220" fmla="*/ 7446169 w 8801100"/>
                  <a:gd name="connsiteY220" fmla="*/ 2636044 h 4410075"/>
                  <a:gd name="connsiteX221" fmla="*/ 7577137 w 8801100"/>
                  <a:gd name="connsiteY221" fmla="*/ 2636044 h 4410075"/>
                  <a:gd name="connsiteX222" fmla="*/ 7750969 w 8801100"/>
                  <a:gd name="connsiteY222" fmla="*/ 2578893 h 4410075"/>
                  <a:gd name="connsiteX223" fmla="*/ 7810500 w 8801100"/>
                  <a:gd name="connsiteY223" fmla="*/ 2466975 h 4410075"/>
                  <a:gd name="connsiteX224" fmla="*/ 7874794 w 8801100"/>
                  <a:gd name="connsiteY224" fmla="*/ 2431256 h 4410075"/>
                  <a:gd name="connsiteX225" fmla="*/ 7853363 w 8801100"/>
                  <a:gd name="connsiteY225" fmla="*/ 2386013 h 4410075"/>
                  <a:gd name="connsiteX226" fmla="*/ 7931944 w 8801100"/>
                  <a:gd name="connsiteY226" fmla="*/ 2216943 h 4410075"/>
                  <a:gd name="connsiteX227" fmla="*/ 7986713 w 8801100"/>
                  <a:gd name="connsiteY227" fmla="*/ 2157413 h 4410075"/>
                  <a:gd name="connsiteX228" fmla="*/ 8024813 w 8801100"/>
                  <a:gd name="connsiteY228" fmla="*/ 2152650 h 4410075"/>
                  <a:gd name="connsiteX229" fmla="*/ 8070056 w 8801100"/>
                  <a:gd name="connsiteY229" fmla="*/ 2157413 h 4410075"/>
                  <a:gd name="connsiteX230" fmla="*/ 8134350 w 8801100"/>
                  <a:gd name="connsiteY230" fmla="*/ 2124075 h 4410075"/>
                  <a:gd name="connsiteX231" fmla="*/ 8143875 w 8801100"/>
                  <a:gd name="connsiteY231" fmla="*/ 2059781 h 4410075"/>
                  <a:gd name="connsiteX232" fmla="*/ 8184355 w 8801100"/>
                  <a:gd name="connsiteY232" fmla="*/ 2024063 h 4410075"/>
                  <a:gd name="connsiteX233" fmla="*/ 8243888 w 8801100"/>
                  <a:gd name="connsiteY233" fmla="*/ 2064543 h 4410075"/>
                  <a:gd name="connsiteX234" fmla="*/ 8270082 w 8801100"/>
                  <a:gd name="connsiteY234" fmla="*/ 2014537 h 4410075"/>
                  <a:gd name="connsiteX235" fmla="*/ 8365331 w 8801100"/>
                  <a:gd name="connsiteY235" fmla="*/ 1945481 h 4410075"/>
                  <a:gd name="connsiteX236" fmla="*/ 8427244 w 8801100"/>
                  <a:gd name="connsiteY236" fmla="*/ 1952625 h 4410075"/>
                  <a:gd name="connsiteX237" fmla="*/ 8477250 w 8801100"/>
                  <a:gd name="connsiteY237" fmla="*/ 1933575 h 4410075"/>
                  <a:gd name="connsiteX238" fmla="*/ 8515350 w 8801100"/>
                  <a:gd name="connsiteY238" fmla="*/ 1905000 h 4410075"/>
                  <a:gd name="connsiteX239" fmla="*/ 8548688 w 8801100"/>
                  <a:gd name="connsiteY239" fmla="*/ 1902619 h 4410075"/>
                  <a:gd name="connsiteX240" fmla="*/ 8584406 w 8801100"/>
                  <a:gd name="connsiteY240" fmla="*/ 1933575 h 4410075"/>
                  <a:gd name="connsiteX241" fmla="*/ 8643938 w 8801100"/>
                  <a:gd name="connsiteY241" fmla="*/ 1933575 h 4410075"/>
                  <a:gd name="connsiteX242" fmla="*/ 8682037 w 8801100"/>
                  <a:gd name="connsiteY242" fmla="*/ 1914525 h 4410075"/>
                  <a:gd name="connsiteX243" fmla="*/ 8765381 w 8801100"/>
                  <a:gd name="connsiteY243" fmla="*/ 1916907 h 4410075"/>
                  <a:gd name="connsiteX244" fmla="*/ 8796338 w 8801100"/>
                  <a:gd name="connsiteY244" fmla="*/ 1871663 h 4410075"/>
                  <a:gd name="connsiteX245" fmla="*/ 8801100 w 8801100"/>
                  <a:gd name="connsiteY245" fmla="*/ 1809750 h 4410075"/>
                  <a:gd name="connsiteX246" fmla="*/ 8751093 w 8801100"/>
                  <a:gd name="connsiteY246" fmla="*/ 1769269 h 4410075"/>
                  <a:gd name="connsiteX247" fmla="*/ 8734425 w 8801100"/>
                  <a:gd name="connsiteY247" fmla="*/ 1714500 h 4410075"/>
                  <a:gd name="connsiteX248" fmla="*/ 8643938 w 8801100"/>
                  <a:gd name="connsiteY248" fmla="*/ 1652588 h 4410075"/>
                  <a:gd name="connsiteX249" fmla="*/ 8603456 w 8801100"/>
                  <a:gd name="connsiteY249" fmla="*/ 1631156 h 4410075"/>
                  <a:gd name="connsiteX250" fmla="*/ 8565356 w 8801100"/>
                  <a:gd name="connsiteY250" fmla="*/ 1585913 h 4410075"/>
                  <a:gd name="connsiteX251" fmla="*/ 8534400 w 8801100"/>
                  <a:gd name="connsiteY251" fmla="*/ 1583531 h 4410075"/>
                  <a:gd name="connsiteX252" fmla="*/ 8517731 w 8801100"/>
                  <a:gd name="connsiteY252" fmla="*/ 1531144 h 4410075"/>
                  <a:gd name="connsiteX253" fmla="*/ 8477250 w 8801100"/>
                  <a:gd name="connsiteY253" fmla="*/ 1514475 h 4410075"/>
                  <a:gd name="connsiteX254" fmla="*/ 8477250 w 8801100"/>
                  <a:gd name="connsiteY254" fmla="*/ 1514475 h 4410075"/>
                  <a:gd name="connsiteX255" fmla="*/ 8436769 w 8801100"/>
                  <a:gd name="connsiteY255" fmla="*/ 1519238 h 4410075"/>
                  <a:gd name="connsiteX256" fmla="*/ 8351043 w 8801100"/>
                  <a:gd name="connsiteY256" fmla="*/ 1445419 h 4410075"/>
                  <a:gd name="connsiteX257" fmla="*/ 8170069 w 8801100"/>
                  <a:gd name="connsiteY257" fmla="*/ 1445418 h 4410075"/>
                  <a:gd name="connsiteX258" fmla="*/ 8117681 w 8801100"/>
                  <a:gd name="connsiteY258" fmla="*/ 1483519 h 4410075"/>
                  <a:gd name="connsiteX259" fmla="*/ 8067675 w 8801100"/>
                  <a:gd name="connsiteY259" fmla="*/ 1562100 h 4410075"/>
                  <a:gd name="connsiteX260" fmla="*/ 8084344 w 8801100"/>
                  <a:gd name="connsiteY260" fmla="*/ 1583531 h 4410075"/>
                  <a:gd name="connsiteX261" fmla="*/ 8039100 w 8801100"/>
                  <a:gd name="connsiteY261" fmla="*/ 1633537 h 4410075"/>
                  <a:gd name="connsiteX262" fmla="*/ 7889081 w 8801100"/>
                  <a:gd name="connsiteY262" fmla="*/ 1557337 h 4410075"/>
                  <a:gd name="connsiteX263" fmla="*/ 7798594 w 8801100"/>
                  <a:gd name="connsiteY263" fmla="*/ 1593056 h 4410075"/>
                  <a:gd name="connsiteX264" fmla="*/ 7724775 w 8801100"/>
                  <a:gd name="connsiteY264" fmla="*/ 1590675 h 4410075"/>
                  <a:gd name="connsiteX265" fmla="*/ 7667625 w 8801100"/>
                  <a:gd name="connsiteY265" fmla="*/ 1685925 h 4410075"/>
                  <a:gd name="connsiteX266" fmla="*/ 7529513 w 8801100"/>
                  <a:gd name="connsiteY266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735806 w 8801100"/>
                  <a:gd name="connsiteY148" fmla="*/ 2326482 h 4410075"/>
                  <a:gd name="connsiteX149" fmla="*/ 692944 w 8801100"/>
                  <a:gd name="connsiteY149" fmla="*/ 2440781 h 4410075"/>
                  <a:gd name="connsiteX150" fmla="*/ 726281 w 8801100"/>
                  <a:gd name="connsiteY150" fmla="*/ 2481263 h 4410075"/>
                  <a:gd name="connsiteX151" fmla="*/ 709613 w 8801100"/>
                  <a:gd name="connsiteY151" fmla="*/ 2509838 h 4410075"/>
                  <a:gd name="connsiteX152" fmla="*/ 740569 w 8801100"/>
                  <a:gd name="connsiteY152" fmla="*/ 2566988 h 4410075"/>
                  <a:gd name="connsiteX153" fmla="*/ 769144 w 8801100"/>
                  <a:gd name="connsiteY153" fmla="*/ 2566988 h 4410075"/>
                  <a:gd name="connsiteX154" fmla="*/ 931069 w 8801100"/>
                  <a:gd name="connsiteY154" fmla="*/ 2669381 h 4410075"/>
                  <a:gd name="connsiteX155" fmla="*/ 1035844 w 8801100"/>
                  <a:gd name="connsiteY155" fmla="*/ 2667000 h 4410075"/>
                  <a:gd name="connsiteX156" fmla="*/ 1114425 w 8801100"/>
                  <a:gd name="connsiteY156" fmla="*/ 2721769 h 4410075"/>
                  <a:gd name="connsiteX157" fmla="*/ 1245393 w 8801100"/>
                  <a:gd name="connsiteY157" fmla="*/ 2724150 h 4410075"/>
                  <a:gd name="connsiteX158" fmla="*/ 1435893 w 8801100"/>
                  <a:gd name="connsiteY158" fmla="*/ 2793206 h 4410075"/>
                  <a:gd name="connsiteX159" fmla="*/ 1638300 w 8801100"/>
                  <a:gd name="connsiteY159" fmla="*/ 2943225 h 4410075"/>
                  <a:gd name="connsiteX160" fmla="*/ 1671637 w 8801100"/>
                  <a:gd name="connsiteY160" fmla="*/ 3009900 h 4410075"/>
                  <a:gd name="connsiteX161" fmla="*/ 1838325 w 8801100"/>
                  <a:gd name="connsiteY161" fmla="*/ 3136106 h 4410075"/>
                  <a:gd name="connsiteX162" fmla="*/ 1909763 w 8801100"/>
                  <a:gd name="connsiteY162" fmla="*/ 3131344 h 4410075"/>
                  <a:gd name="connsiteX163" fmla="*/ 1945482 w 8801100"/>
                  <a:gd name="connsiteY163" fmla="*/ 3155156 h 4410075"/>
                  <a:gd name="connsiteX164" fmla="*/ 1916906 w 8801100"/>
                  <a:gd name="connsiteY164" fmla="*/ 3195638 h 4410075"/>
                  <a:gd name="connsiteX165" fmla="*/ 1924050 w 8801100"/>
                  <a:gd name="connsiteY165" fmla="*/ 3248025 h 4410075"/>
                  <a:gd name="connsiteX166" fmla="*/ 1976438 w 8801100"/>
                  <a:gd name="connsiteY166" fmla="*/ 3274219 h 4410075"/>
                  <a:gd name="connsiteX167" fmla="*/ 2038350 w 8801100"/>
                  <a:gd name="connsiteY167" fmla="*/ 3498057 h 4410075"/>
                  <a:gd name="connsiteX168" fmla="*/ 2028825 w 8801100"/>
                  <a:gd name="connsiteY168" fmla="*/ 3562350 h 4410075"/>
                  <a:gd name="connsiteX169" fmla="*/ 2164556 w 8801100"/>
                  <a:gd name="connsiteY169" fmla="*/ 3729038 h 4410075"/>
                  <a:gd name="connsiteX170" fmla="*/ 2183606 w 8801100"/>
                  <a:gd name="connsiteY170" fmla="*/ 3779044 h 4410075"/>
                  <a:gd name="connsiteX171" fmla="*/ 2157413 w 8801100"/>
                  <a:gd name="connsiteY171" fmla="*/ 3798094 h 4410075"/>
                  <a:gd name="connsiteX172" fmla="*/ 2259806 w 8801100"/>
                  <a:gd name="connsiteY172" fmla="*/ 3807619 h 4410075"/>
                  <a:gd name="connsiteX173" fmla="*/ 2371725 w 8801100"/>
                  <a:gd name="connsiteY173" fmla="*/ 3795713 h 4410075"/>
                  <a:gd name="connsiteX174" fmla="*/ 2650331 w 8801100"/>
                  <a:gd name="connsiteY174" fmla="*/ 3879056 h 4410075"/>
                  <a:gd name="connsiteX175" fmla="*/ 3057525 w 8801100"/>
                  <a:gd name="connsiteY175" fmla="*/ 3960019 h 4410075"/>
                  <a:gd name="connsiteX176" fmla="*/ 3255169 w 8801100"/>
                  <a:gd name="connsiteY176" fmla="*/ 3929062 h 4410075"/>
                  <a:gd name="connsiteX177" fmla="*/ 3300413 w 8801100"/>
                  <a:gd name="connsiteY177" fmla="*/ 3940968 h 4410075"/>
                  <a:gd name="connsiteX178" fmla="*/ 3355181 w 8801100"/>
                  <a:gd name="connsiteY178" fmla="*/ 3917157 h 4410075"/>
                  <a:gd name="connsiteX179" fmla="*/ 3748087 w 8801100"/>
                  <a:gd name="connsiteY179" fmla="*/ 4007644 h 4410075"/>
                  <a:gd name="connsiteX180" fmla="*/ 3831432 w 8801100"/>
                  <a:gd name="connsiteY180" fmla="*/ 4105275 h 4410075"/>
                  <a:gd name="connsiteX181" fmla="*/ 3950494 w 8801100"/>
                  <a:gd name="connsiteY181" fmla="*/ 4176713 h 4410075"/>
                  <a:gd name="connsiteX182" fmla="*/ 4010025 w 8801100"/>
                  <a:gd name="connsiteY182" fmla="*/ 4160044 h 4410075"/>
                  <a:gd name="connsiteX183" fmla="*/ 4360068 w 8801100"/>
                  <a:gd name="connsiteY183" fmla="*/ 4333875 h 4410075"/>
                  <a:gd name="connsiteX184" fmla="*/ 4586288 w 8801100"/>
                  <a:gd name="connsiteY184" fmla="*/ 4305300 h 4410075"/>
                  <a:gd name="connsiteX185" fmla="*/ 4595813 w 8801100"/>
                  <a:gd name="connsiteY185" fmla="*/ 4383881 h 4410075"/>
                  <a:gd name="connsiteX186" fmla="*/ 4681538 w 8801100"/>
                  <a:gd name="connsiteY186" fmla="*/ 4379118 h 4410075"/>
                  <a:gd name="connsiteX187" fmla="*/ 4760119 w 8801100"/>
                  <a:gd name="connsiteY187" fmla="*/ 4410075 h 4410075"/>
                  <a:gd name="connsiteX188" fmla="*/ 4802981 w 8801100"/>
                  <a:gd name="connsiteY188" fmla="*/ 4350544 h 4410075"/>
                  <a:gd name="connsiteX189" fmla="*/ 5474494 w 8801100"/>
                  <a:gd name="connsiteY189" fmla="*/ 4031456 h 4410075"/>
                  <a:gd name="connsiteX190" fmla="*/ 5562600 w 8801100"/>
                  <a:gd name="connsiteY190" fmla="*/ 4060032 h 4410075"/>
                  <a:gd name="connsiteX191" fmla="*/ 5693569 w 8801100"/>
                  <a:gd name="connsiteY191" fmla="*/ 4031456 h 4410075"/>
                  <a:gd name="connsiteX192" fmla="*/ 5872162 w 8801100"/>
                  <a:gd name="connsiteY192" fmla="*/ 4048125 h 4410075"/>
                  <a:gd name="connsiteX193" fmla="*/ 5929313 w 8801100"/>
                  <a:gd name="connsiteY193" fmla="*/ 4021932 h 4410075"/>
                  <a:gd name="connsiteX194" fmla="*/ 6062662 w 8801100"/>
                  <a:gd name="connsiteY194" fmla="*/ 4019550 h 4410075"/>
                  <a:gd name="connsiteX195" fmla="*/ 6196012 w 8801100"/>
                  <a:gd name="connsiteY195" fmla="*/ 3921919 h 4410075"/>
                  <a:gd name="connsiteX196" fmla="*/ 6262687 w 8801100"/>
                  <a:gd name="connsiteY196" fmla="*/ 3914775 h 4410075"/>
                  <a:gd name="connsiteX197" fmla="*/ 6360319 w 8801100"/>
                  <a:gd name="connsiteY197" fmla="*/ 3840956 h 4410075"/>
                  <a:gd name="connsiteX198" fmla="*/ 6434138 w 8801100"/>
                  <a:gd name="connsiteY198" fmla="*/ 3771900 h 4410075"/>
                  <a:gd name="connsiteX199" fmla="*/ 6443663 w 8801100"/>
                  <a:gd name="connsiteY199" fmla="*/ 3709988 h 4410075"/>
                  <a:gd name="connsiteX200" fmla="*/ 6477000 w 8801100"/>
                  <a:gd name="connsiteY200" fmla="*/ 3640931 h 4410075"/>
                  <a:gd name="connsiteX201" fmla="*/ 6629400 w 8801100"/>
                  <a:gd name="connsiteY201" fmla="*/ 3533775 h 4410075"/>
                  <a:gd name="connsiteX202" fmla="*/ 6662738 w 8801100"/>
                  <a:gd name="connsiteY202" fmla="*/ 3538538 h 4410075"/>
                  <a:gd name="connsiteX203" fmla="*/ 6715125 w 8801100"/>
                  <a:gd name="connsiteY203" fmla="*/ 3459956 h 4410075"/>
                  <a:gd name="connsiteX204" fmla="*/ 6762750 w 8801100"/>
                  <a:gd name="connsiteY204" fmla="*/ 3421856 h 4410075"/>
                  <a:gd name="connsiteX205" fmla="*/ 6748463 w 8801100"/>
                  <a:gd name="connsiteY205" fmla="*/ 3352800 h 4410075"/>
                  <a:gd name="connsiteX206" fmla="*/ 6698456 w 8801100"/>
                  <a:gd name="connsiteY206" fmla="*/ 3321843 h 4410075"/>
                  <a:gd name="connsiteX207" fmla="*/ 6638925 w 8801100"/>
                  <a:gd name="connsiteY207" fmla="*/ 3267075 h 4410075"/>
                  <a:gd name="connsiteX208" fmla="*/ 6619875 w 8801100"/>
                  <a:gd name="connsiteY208" fmla="*/ 3209925 h 4410075"/>
                  <a:gd name="connsiteX209" fmla="*/ 6584156 w 8801100"/>
                  <a:gd name="connsiteY209" fmla="*/ 3176588 h 4410075"/>
                  <a:gd name="connsiteX210" fmla="*/ 6610350 w 8801100"/>
                  <a:gd name="connsiteY210" fmla="*/ 3124200 h 4410075"/>
                  <a:gd name="connsiteX211" fmla="*/ 6650831 w 8801100"/>
                  <a:gd name="connsiteY211" fmla="*/ 2945606 h 4410075"/>
                  <a:gd name="connsiteX212" fmla="*/ 6691313 w 8801100"/>
                  <a:gd name="connsiteY212" fmla="*/ 2878931 h 4410075"/>
                  <a:gd name="connsiteX213" fmla="*/ 6836569 w 8801100"/>
                  <a:gd name="connsiteY213" fmla="*/ 2862262 h 4410075"/>
                  <a:gd name="connsiteX214" fmla="*/ 6905625 w 8801100"/>
                  <a:gd name="connsiteY214" fmla="*/ 2919413 h 4410075"/>
                  <a:gd name="connsiteX215" fmla="*/ 6981825 w 8801100"/>
                  <a:gd name="connsiteY215" fmla="*/ 2943225 h 4410075"/>
                  <a:gd name="connsiteX216" fmla="*/ 7186612 w 8801100"/>
                  <a:gd name="connsiteY216" fmla="*/ 2947988 h 4410075"/>
                  <a:gd name="connsiteX217" fmla="*/ 7362825 w 8801100"/>
                  <a:gd name="connsiteY217" fmla="*/ 2809875 h 4410075"/>
                  <a:gd name="connsiteX218" fmla="*/ 7419975 w 8801100"/>
                  <a:gd name="connsiteY218" fmla="*/ 2719387 h 4410075"/>
                  <a:gd name="connsiteX219" fmla="*/ 7446169 w 8801100"/>
                  <a:gd name="connsiteY219" fmla="*/ 2636044 h 4410075"/>
                  <a:gd name="connsiteX220" fmla="*/ 7577137 w 8801100"/>
                  <a:gd name="connsiteY220" fmla="*/ 2636044 h 4410075"/>
                  <a:gd name="connsiteX221" fmla="*/ 7750969 w 8801100"/>
                  <a:gd name="connsiteY221" fmla="*/ 2578893 h 4410075"/>
                  <a:gd name="connsiteX222" fmla="*/ 7810500 w 8801100"/>
                  <a:gd name="connsiteY222" fmla="*/ 2466975 h 4410075"/>
                  <a:gd name="connsiteX223" fmla="*/ 7874794 w 8801100"/>
                  <a:gd name="connsiteY223" fmla="*/ 2431256 h 4410075"/>
                  <a:gd name="connsiteX224" fmla="*/ 7853363 w 8801100"/>
                  <a:gd name="connsiteY224" fmla="*/ 2386013 h 4410075"/>
                  <a:gd name="connsiteX225" fmla="*/ 7931944 w 8801100"/>
                  <a:gd name="connsiteY225" fmla="*/ 2216943 h 4410075"/>
                  <a:gd name="connsiteX226" fmla="*/ 7986713 w 8801100"/>
                  <a:gd name="connsiteY226" fmla="*/ 2157413 h 4410075"/>
                  <a:gd name="connsiteX227" fmla="*/ 8024813 w 8801100"/>
                  <a:gd name="connsiteY227" fmla="*/ 2152650 h 4410075"/>
                  <a:gd name="connsiteX228" fmla="*/ 8070056 w 8801100"/>
                  <a:gd name="connsiteY228" fmla="*/ 2157413 h 4410075"/>
                  <a:gd name="connsiteX229" fmla="*/ 8134350 w 8801100"/>
                  <a:gd name="connsiteY229" fmla="*/ 2124075 h 4410075"/>
                  <a:gd name="connsiteX230" fmla="*/ 8143875 w 8801100"/>
                  <a:gd name="connsiteY230" fmla="*/ 2059781 h 4410075"/>
                  <a:gd name="connsiteX231" fmla="*/ 8184355 w 8801100"/>
                  <a:gd name="connsiteY231" fmla="*/ 2024063 h 4410075"/>
                  <a:gd name="connsiteX232" fmla="*/ 8243888 w 8801100"/>
                  <a:gd name="connsiteY232" fmla="*/ 2064543 h 4410075"/>
                  <a:gd name="connsiteX233" fmla="*/ 8270082 w 8801100"/>
                  <a:gd name="connsiteY233" fmla="*/ 2014537 h 4410075"/>
                  <a:gd name="connsiteX234" fmla="*/ 8365331 w 8801100"/>
                  <a:gd name="connsiteY234" fmla="*/ 1945481 h 4410075"/>
                  <a:gd name="connsiteX235" fmla="*/ 8427244 w 8801100"/>
                  <a:gd name="connsiteY235" fmla="*/ 1952625 h 4410075"/>
                  <a:gd name="connsiteX236" fmla="*/ 8477250 w 8801100"/>
                  <a:gd name="connsiteY236" fmla="*/ 1933575 h 4410075"/>
                  <a:gd name="connsiteX237" fmla="*/ 8515350 w 8801100"/>
                  <a:gd name="connsiteY237" fmla="*/ 1905000 h 4410075"/>
                  <a:gd name="connsiteX238" fmla="*/ 8548688 w 8801100"/>
                  <a:gd name="connsiteY238" fmla="*/ 1902619 h 4410075"/>
                  <a:gd name="connsiteX239" fmla="*/ 8584406 w 8801100"/>
                  <a:gd name="connsiteY239" fmla="*/ 1933575 h 4410075"/>
                  <a:gd name="connsiteX240" fmla="*/ 8643938 w 8801100"/>
                  <a:gd name="connsiteY240" fmla="*/ 1933575 h 4410075"/>
                  <a:gd name="connsiteX241" fmla="*/ 8682037 w 8801100"/>
                  <a:gd name="connsiteY241" fmla="*/ 1914525 h 4410075"/>
                  <a:gd name="connsiteX242" fmla="*/ 8765381 w 8801100"/>
                  <a:gd name="connsiteY242" fmla="*/ 1916907 h 4410075"/>
                  <a:gd name="connsiteX243" fmla="*/ 8796338 w 8801100"/>
                  <a:gd name="connsiteY243" fmla="*/ 1871663 h 4410075"/>
                  <a:gd name="connsiteX244" fmla="*/ 8801100 w 8801100"/>
                  <a:gd name="connsiteY244" fmla="*/ 1809750 h 4410075"/>
                  <a:gd name="connsiteX245" fmla="*/ 8751093 w 8801100"/>
                  <a:gd name="connsiteY245" fmla="*/ 1769269 h 4410075"/>
                  <a:gd name="connsiteX246" fmla="*/ 8734425 w 8801100"/>
                  <a:gd name="connsiteY246" fmla="*/ 1714500 h 4410075"/>
                  <a:gd name="connsiteX247" fmla="*/ 8643938 w 8801100"/>
                  <a:gd name="connsiteY247" fmla="*/ 1652588 h 4410075"/>
                  <a:gd name="connsiteX248" fmla="*/ 8603456 w 8801100"/>
                  <a:gd name="connsiteY248" fmla="*/ 1631156 h 4410075"/>
                  <a:gd name="connsiteX249" fmla="*/ 8565356 w 8801100"/>
                  <a:gd name="connsiteY249" fmla="*/ 1585913 h 4410075"/>
                  <a:gd name="connsiteX250" fmla="*/ 8534400 w 8801100"/>
                  <a:gd name="connsiteY250" fmla="*/ 1583531 h 4410075"/>
                  <a:gd name="connsiteX251" fmla="*/ 8517731 w 8801100"/>
                  <a:gd name="connsiteY251" fmla="*/ 1531144 h 4410075"/>
                  <a:gd name="connsiteX252" fmla="*/ 8477250 w 8801100"/>
                  <a:gd name="connsiteY252" fmla="*/ 1514475 h 4410075"/>
                  <a:gd name="connsiteX253" fmla="*/ 8477250 w 8801100"/>
                  <a:gd name="connsiteY253" fmla="*/ 1514475 h 4410075"/>
                  <a:gd name="connsiteX254" fmla="*/ 8436769 w 8801100"/>
                  <a:gd name="connsiteY254" fmla="*/ 1519238 h 4410075"/>
                  <a:gd name="connsiteX255" fmla="*/ 8351043 w 8801100"/>
                  <a:gd name="connsiteY255" fmla="*/ 1445419 h 4410075"/>
                  <a:gd name="connsiteX256" fmla="*/ 8170069 w 8801100"/>
                  <a:gd name="connsiteY256" fmla="*/ 1445418 h 4410075"/>
                  <a:gd name="connsiteX257" fmla="*/ 8117681 w 8801100"/>
                  <a:gd name="connsiteY257" fmla="*/ 1483519 h 4410075"/>
                  <a:gd name="connsiteX258" fmla="*/ 8067675 w 8801100"/>
                  <a:gd name="connsiteY258" fmla="*/ 1562100 h 4410075"/>
                  <a:gd name="connsiteX259" fmla="*/ 8084344 w 8801100"/>
                  <a:gd name="connsiteY259" fmla="*/ 1583531 h 4410075"/>
                  <a:gd name="connsiteX260" fmla="*/ 8039100 w 8801100"/>
                  <a:gd name="connsiteY260" fmla="*/ 1633537 h 4410075"/>
                  <a:gd name="connsiteX261" fmla="*/ 7889081 w 8801100"/>
                  <a:gd name="connsiteY261" fmla="*/ 1557337 h 4410075"/>
                  <a:gd name="connsiteX262" fmla="*/ 7798594 w 8801100"/>
                  <a:gd name="connsiteY262" fmla="*/ 1593056 h 4410075"/>
                  <a:gd name="connsiteX263" fmla="*/ 7724775 w 8801100"/>
                  <a:gd name="connsiteY263" fmla="*/ 1590675 h 4410075"/>
                  <a:gd name="connsiteX264" fmla="*/ 7667625 w 8801100"/>
                  <a:gd name="connsiteY264" fmla="*/ 1685925 h 4410075"/>
                  <a:gd name="connsiteX265" fmla="*/ 7529513 w 8801100"/>
                  <a:gd name="connsiteY265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692944 w 8801100"/>
                  <a:gd name="connsiteY148" fmla="*/ 2440781 h 4410075"/>
                  <a:gd name="connsiteX149" fmla="*/ 726281 w 8801100"/>
                  <a:gd name="connsiteY149" fmla="*/ 2481263 h 4410075"/>
                  <a:gd name="connsiteX150" fmla="*/ 709613 w 8801100"/>
                  <a:gd name="connsiteY150" fmla="*/ 2509838 h 4410075"/>
                  <a:gd name="connsiteX151" fmla="*/ 740569 w 8801100"/>
                  <a:gd name="connsiteY151" fmla="*/ 2566988 h 4410075"/>
                  <a:gd name="connsiteX152" fmla="*/ 769144 w 8801100"/>
                  <a:gd name="connsiteY152" fmla="*/ 2566988 h 4410075"/>
                  <a:gd name="connsiteX153" fmla="*/ 931069 w 8801100"/>
                  <a:gd name="connsiteY153" fmla="*/ 2669381 h 4410075"/>
                  <a:gd name="connsiteX154" fmla="*/ 1035844 w 8801100"/>
                  <a:gd name="connsiteY154" fmla="*/ 2667000 h 4410075"/>
                  <a:gd name="connsiteX155" fmla="*/ 1114425 w 8801100"/>
                  <a:gd name="connsiteY155" fmla="*/ 2721769 h 4410075"/>
                  <a:gd name="connsiteX156" fmla="*/ 1245393 w 8801100"/>
                  <a:gd name="connsiteY156" fmla="*/ 2724150 h 4410075"/>
                  <a:gd name="connsiteX157" fmla="*/ 1435893 w 8801100"/>
                  <a:gd name="connsiteY157" fmla="*/ 2793206 h 4410075"/>
                  <a:gd name="connsiteX158" fmla="*/ 1638300 w 8801100"/>
                  <a:gd name="connsiteY158" fmla="*/ 2943225 h 4410075"/>
                  <a:gd name="connsiteX159" fmla="*/ 1671637 w 8801100"/>
                  <a:gd name="connsiteY159" fmla="*/ 3009900 h 4410075"/>
                  <a:gd name="connsiteX160" fmla="*/ 1838325 w 8801100"/>
                  <a:gd name="connsiteY160" fmla="*/ 3136106 h 4410075"/>
                  <a:gd name="connsiteX161" fmla="*/ 1909763 w 8801100"/>
                  <a:gd name="connsiteY161" fmla="*/ 3131344 h 4410075"/>
                  <a:gd name="connsiteX162" fmla="*/ 1945482 w 8801100"/>
                  <a:gd name="connsiteY162" fmla="*/ 3155156 h 4410075"/>
                  <a:gd name="connsiteX163" fmla="*/ 1916906 w 8801100"/>
                  <a:gd name="connsiteY163" fmla="*/ 3195638 h 4410075"/>
                  <a:gd name="connsiteX164" fmla="*/ 1924050 w 8801100"/>
                  <a:gd name="connsiteY164" fmla="*/ 3248025 h 4410075"/>
                  <a:gd name="connsiteX165" fmla="*/ 1976438 w 8801100"/>
                  <a:gd name="connsiteY165" fmla="*/ 3274219 h 4410075"/>
                  <a:gd name="connsiteX166" fmla="*/ 2038350 w 8801100"/>
                  <a:gd name="connsiteY166" fmla="*/ 3498057 h 4410075"/>
                  <a:gd name="connsiteX167" fmla="*/ 2028825 w 8801100"/>
                  <a:gd name="connsiteY167" fmla="*/ 3562350 h 4410075"/>
                  <a:gd name="connsiteX168" fmla="*/ 2164556 w 8801100"/>
                  <a:gd name="connsiteY168" fmla="*/ 3729038 h 4410075"/>
                  <a:gd name="connsiteX169" fmla="*/ 2183606 w 8801100"/>
                  <a:gd name="connsiteY169" fmla="*/ 3779044 h 4410075"/>
                  <a:gd name="connsiteX170" fmla="*/ 2157413 w 8801100"/>
                  <a:gd name="connsiteY170" fmla="*/ 3798094 h 4410075"/>
                  <a:gd name="connsiteX171" fmla="*/ 2259806 w 8801100"/>
                  <a:gd name="connsiteY171" fmla="*/ 3807619 h 4410075"/>
                  <a:gd name="connsiteX172" fmla="*/ 2371725 w 8801100"/>
                  <a:gd name="connsiteY172" fmla="*/ 3795713 h 4410075"/>
                  <a:gd name="connsiteX173" fmla="*/ 2650331 w 8801100"/>
                  <a:gd name="connsiteY173" fmla="*/ 3879056 h 4410075"/>
                  <a:gd name="connsiteX174" fmla="*/ 3057525 w 8801100"/>
                  <a:gd name="connsiteY174" fmla="*/ 3960019 h 4410075"/>
                  <a:gd name="connsiteX175" fmla="*/ 3255169 w 8801100"/>
                  <a:gd name="connsiteY175" fmla="*/ 3929062 h 4410075"/>
                  <a:gd name="connsiteX176" fmla="*/ 3300413 w 8801100"/>
                  <a:gd name="connsiteY176" fmla="*/ 3940968 h 4410075"/>
                  <a:gd name="connsiteX177" fmla="*/ 3355181 w 8801100"/>
                  <a:gd name="connsiteY177" fmla="*/ 3917157 h 4410075"/>
                  <a:gd name="connsiteX178" fmla="*/ 3748087 w 8801100"/>
                  <a:gd name="connsiteY178" fmla="*/ 4007644 h 4410075"/>
                  <a:gd name="connsiteX179" fmla="*/ 3831432 w 8801100"/>
                  <a:gd name="connsiteY179" fmla="*/ 4105275 h 4410075"/>
                  <a:gd name="connsiteX180" fmla="*/ 3950494 w 8801100"/>
                  <a:gd name="connsiteY180" fmla="*/ 4176713 h 4410075"/>
                  <a:gd name="connsiteX181" fmla="*/ 4010025 w 8801100"/>
                  <a:gd name="connsiteY181" fmla="*/ 4160044 h 4410075"/>
                  <a:gd name="connsiteX182" fmla="*/ 4360068 w 8801100"/>
                  <a:gd name="connsiteY182" fmla="*/ 4333875 h 4410075"/>
                  <a:gd name="connsiteX183" fmla="*/ 4586288 w 8801100"/>
                  <a:gd name="connsiteY183" fmla="*/ 4305300 h 4410075"/>
                  <a:gd name="connsiteX184" fmla="*/ 4595813 w 8801100"/>
                  <a:gd name="connsiteY184" fmla="*/ 4383881 h 4410075"/>
                  <a:gd name="connsiteX185" fmla="*/ 4681538 w 8801100"/>
                  <a:gd name="connsiteY185" fmla="*/ 4379118 h 4410075"/>
                  <a:gd name="connsiteX186" fmla="*/ 4760119 w 8801100"/>
                  <a:gd name="connsiteY186" fmla="*/ 4410075 h 4410075"/>
                  <a:gd name="connsiteX187" fmla="*/ 4802981 w 8801100"/>
                  <a:gd name="connsiteY187" fmla="*/ 4350544 h 4410075"/>
                  <a:gd name="connsiteX188" fmla="*/ 5474494 w 8801100"/>
                  <a:gd name="connsiteY188" fmla="*/ 4031456 h 4410075"/>
                  <a:gd name="connsiteX189" fmla="*/ 5562600 w 8801100"/>
                  <a:gd name="connsiteY189" fmla="*/ 4060032 h 4410075"/>
                  <a:gd name="connsiteX190" fmla="*/ 5693569 w 8801100"/>
                  <a:gd name="connsiteY190" fmla="*/ 4031456 h 4410075"/>
                  <a:gd name="connsiteX191" fmla="*/ 5872162 w 8801100"/>
                  <a:gd name="connsiteY191" fmla="*/ 4048125 h 4410075"/>
                  <a:gd name="connsiteX192" fmla="*/ 5929313 w 8801100"/>
                  <a:gd name="connsiteY192" fmla="*/ 4021932 h 4410075"/>
                  <a:gd name="connsiteX193" fmla="*/ 6062662 w 8801100"/>
                  <a:gd name="connsiteY193" fmla="*/ 4019550 h 4410075"/>
                  <a:gd name="connsiteX194" fmla="*/ 6196012 w 8801100"/>
                  <a:gd name="connsiteY194" fmla="*/ 3921919 h 4410075"/>
                  <a:gd name="connsiteX195" fmla="*/ 6262687 w 8801100"/>
                  <a:gd name="connsiteY195" fmla="*/ 3914775 h 4410075"/>
                  <a:gd name="connsiteX196" fmla="*/ 6360319 w 8801100"/>
                  <a:gd name="connsiteY196" fmla="*/ 3840956 h 4410075"/>
                  <a:gd name="connsiteX197" fmla="*/ 6434138 w 8801100"/>
                  <a:gd name="connsiteY197" fmla="*/ 3771900 h 4410075"/>
                  <a:gd name="connsiteX198" fmla="*/ 6443663 w 8801100"/>
                  <a:gd name="connsiteY198" fmla="*/ 3709988 h 4410075"/>
                  <a:gd name="connsiteX199" fmla="*/ 6477000 w 8801100"/>
                  <a:gd name="connsiteY199" fmla="*/ 3640931 h 4410075"/>
                  <a:gd name="connsiteX200" fmla="*/ 6629400 w 8801100"/>
                  <a:gd name="connsiteY200" fmla="*/ 3533775 h 4410075"/>
                  <a:gd name="connsiteX201" fmla="*/ 6662738 w 8801100"/>
                  <a:gd name="connsiteY201" fmla="*/ 3538538 h 4410075"/>
                  <a:gd name="connsiteX202" fmla="*/ 6715125 w 8801100"/>
                  <a:gd name="connsiteY202" fmla="*/ 3459956 h 4410075"/>
                  <a:gd name="connsiteX203" fmla="*/ 6762750 w 8801100"/>
                  <a:gd name="connsiteY203" fmla="*/ 3421856 h 4410075"/>
                  <a:gd name="connsiteX204" fmla="*/ 6748463 w 8801100"/>
                  <a:gd name="connsiteY204" fmla="*/ 3352800 h 4410075"/>
                  <a:gd name="connsiteX205" fmla="*/ 6698456 w 8801100"/>
                  <a:gd name="connsiteY205" fmla="*/ 3321843 h 4410075"/>
                  <a:gd name="connsiteX206" fmla="*/ 6638925 w 8801100"/>
                  <a:gd name="connsiteY206" fmla="*/ 3267075 h 4410075"/>
                  <a:gd name="connsiteX207" fmla="*/ 6619875 w 8801100"/>
                  <a:gd name="connsiteY207" fmla="*/ 3209925 h 4410075"/>
                  <a:gd name="connsiteX208" fmla="*/ 6584156 w 8801100"/>
                  <a:gd name="connsiteY208" fmla="*/ 3176588 h 4410075"/>
                  <a:gd name="connsiteX209" fmla="*/ 6610350 w 8801100"/>
                  <a:gd name="connsiteY209" fmla="*/ 3124200 h 4410075"/>
                  <a:gd name="connsiteX210" fmla="*/ 6650831 w 8801100"/>
                  <a:gd name="connsiteY210" fmla="*/ 2945606 h 4410075"/>
                  <a:gd name="connsiteX211" fmla="*/ 6691313 w 8801100"/>
                  <a:gd name="connsiteY211" fmla="*/ 2878931 h 4410075"/>
                  <a:gd name="connsiteX212" fmla="*/ 6836569 w 8801100"/>
                  <a:gd name="connsiteY212" fmla="*/ 2862262 h 4410075"/>
                  <a:gd name="connsiteX213" fmla="*/ 6905625 w 8801100"/>
                  <a:gd name="connsiteY213" fmla="*/ 2919413 h 4410075"/>
                  <a:gd name="connsiteX214" fmla="*/ 6981825 w 8801100"/>
                  <a:gd name="connsiteY214" fmla="*/ 2943225 h 4410075"/>
                  <a:gd name="connsiteX215" fmla="*/ 7186612 w 8801100"/>
                  <a:gd name="connsiteY215" fmla="*/ 2947988 h 4410075"/>
                  <a:gd name="connsiteX216" fmla="*/ 7362825 w 8801100"/>
                  <a:gd name="connsiteY216" fmla="*/ 2809875 h 4410075"/>
                  <a:gd name="connsiteX217" fmla="*/ 7419975 w 8801100"/>
                  <a:gd name="connsiteY217" fmla="*/ 2719387 h 4410075"/>
                  <a:gd name="connsiteX218" fmla="*/ 7446169 w 8801100"/>
                  <a:gd name="connsiteY218" fmla="*/ 2636044 h 4410075"/>
                  <a:gd name="connsiteX219" fmla="*/ 7577137 w 8801100"/>
                  <a:gd name="connsiteY219" fmla="*/ 2636044 h 4410075"/>
                  <a:gd name="connsiteX220" fmla="*/ 7750969 w 8801100"/>
                  <a:gd name="connsiteY220" fmla="*/ 2578893 h 4410075"/>
                  <a:gd name="connsiteX221" fmla="*/ 7810500 w 8801100"/>
                  <a:gd name="connsiteY221" fmla="*/ 2466975 h 4410075"/>
                  <a:gd name="connsiteX222" fmla="*/ 7874794 w 8801100"/>
                  <a:gd name="connsiteY222" fmla="*/ 2431256 h 4410075"/>
                  <a:gd name="connsiteX223" fmla="*/ 7853363 w 8801100"/>
                  <a:gd name="connsiteY223" fmla="*/ 2386013 h 4410075"/>
                  <a:gd name="connsiteX224" fmla="*/ 7931944 w 8801100"/>
                  <a:gd name="connsiteY224" fmla="*/ 2216943 h 4410075"/>
                  <a:gd name="connsiteX225" fmla="*/ 7986713 w 8801100"/>
                  <a:gd name="connsiteY225" fmla="*/ 2157413 h 4410075"/>
                  <a:gd name="connsiteX226" fmla="*/ 8024813 w 8801100"/>
                  <a:gd name="connsiteY226" fmla="*/ 2152650 h 4410075"/>
                  <a:gd name="connsiteX227" fmla="*/ 8070056 w 8801100"/>
                  <a:gd name="connsiteY227" fmla="*/ 2157413 h 4410075"/>
                  <a:gd name="connsiteX228" fmla="*/ 8134350 w 8801100"/>
                  <a:gd name="connsiteY228" fmla="*/ 2124075 h 4410075"/>
                  <a:gd name="connsiteX229" fmla="*/ 8143875 w 8801100"/>
                  <a:gd name="connsiteY229" fmla="*/ 2059781 h 4410075"/>
                  <a:gd name="connsiteX230" fmla="*/ 8184355 w 8801100"/>
                  <a:gd name="connsiteY230" fmla="*/ 2024063 h 4410075"/>
                  <a:gd name="connsiteX231" fmla="*/ 8243888 w 8801100"/>
                  <a:gd name="connsiteY231" fmla="*/ 2064543 h 4410075"/>
                  <a:gd name="connsiteX232" fmla="*/ 8270082 w 8801100"/>
                  <a:gd name="connsiteY232" fmla="*/ 2014537 h 4410075"/>
                  <a:gd name="connsiteX233" fmla="*/ 8365331 w 8801100"/>
                  <a:gd name="connsiteY233" fmla="*/ 1945481 h 4410075"/>
                  <a:gd name="connsiteX234" fmla="*/ 8427244 w 8801100"/>
                  <a:gd name="connsiteY234" fmla="*/ 1952625 h 4410075"/>
                  <a:gd name="connsiteX235" fmla="*/ 8477250 w 8801100"/>
                  <a:gd name="connsiteY235" fmla="*/ 1933575 h 4410075"/>
                  <a:gd name="connsiteX236" fmla="*/ 8515350 w 8801100"/>
                  <a:gd name="connsiteY236" fmla="*/ 1905000 h 4410075"/>
                  <a:gd name="connsiteX237" fmla="*/ 8548688 w 8801100"/>
                  <a:gd name="connsiteY237" fmla="*/ 1902619 h 4410075"/>
                  <a:gd name="connsiteX238" fmla="*/ 8584406 w 8801100"/>
                  <a:gd name="connsiteY238" fmla="*/ 1933575 h 4410075"/>
                  <a:gd name="connsiteX239" fmla="*/ 8643938 w 8801100"/>
                  <a:gd name="connsiteY239" fmla="*/ 1933575 h 4410075"/>
                  <a:gd name="connsiteX240" fmla="*/ 8682037 w 8801100"/>
                  <a:gd name="connsiteY240" fmla="*/ 1914525 h 4410075"/>
                  <a:gd name="connsiteX241" fmla="*/ 8765381 w 8801100"/>
                  <a:gd name="connsiteY241" fmla="*/ 1916907 h 4410075"/>
                  <a:gd name="connsiteX242" fmla="*/ 8796338 w 8801100"/>
                  <a:gd name="connsiteY242" fmla="*/ 1871663 h 4410075"/>
                  <a:gd name="connsiteX243" fmla="*/ 8801100 w 8801100"/>
                  <a:gd name="connsiteY243" fmla="*/ 1809750 h 4410075"/>
                  <a:gd name="connsiteX244" fmla="*/ 8751093 w 8801100"/>
                  <a:gd name="connsiteY244" fmla="*/ 1769269 h 4410075"/>
                  <a:gd name="connsiteX245" fmla="*/ 8734425 w 8801100"/>
                  <a:gd name="connsiteY245" fmla="*/ 1714500 h 4410075"/>
                  <a:gd name="connsiteX246" fmla="*/ 8643938 w 8801100"/>
                  <a:gd name="connsiteY246" fmla="*/ 1652588 h 4410075"/>
                  <a:gd name="connsiteX247" fmla="*/ 8603456 w 8801100"/>
                  <a:gd name="connsiteY247" fmla="*/ 1631156 h 4410075"/>
                  <a:gd name="connsiteX248" fmla="*/ 8565356 w 8801100"/>
                  <a:gd name="connsiteY248" fmla="*/ 1585913 h 4410075"/>
                  <a:gd name="connsiteX249" fmla="*/ 8534400 w 8801100"/>
                  <a:gd name="connsiteY249" fmla="*/ 1583531 h 4410075"/>
                  <a:gd name="connsiteX250" fmla="*/ 8517731 w 8801100"/>
                  <a:gd name="connsiteY250" fmla="*/ 1531144 h 4410075"/>
                  <a:gd name="connsiteX251" fmla="*/ 8477250 w 8801100"/>
                  <a:gd name="connsiteY251" fmla="*/ 1514475 h 4410075"/>
                  <a:gd name="connsiteX252" fmla="*/ 8477250 w 8801100"/>
                  <a:gd name="connsiteY252" fmla="*/ 1514475 h 4410075"/>
                  <a:gd name="connsiteX253" fmla="*/ 8436769 w 8801100"/>
                  <a:gd name="connsiteY253" fmla="*/ 1519238 h 4410075"/>
                  <a:gd name="connsiteX254" fmla="*/ 8351043 w 8801100"/>
                  <a:gd name="connsiteY254" fmla="*/ 1445419 h 4410075"/>
                  <a:gd name="connsiteX255" fmla="*/ 8170069 w 8801100"/>
                  <a:gd name="connsiteY255" fmla="*/ 1445418 h 4410075"/>
                  <a:gd name="connsiteX256" fmla="*/ 8117681 w 8801100"/>
                  <a:gd name="connsiteY256" fmla="*/ 1483519 h 4410075"/>
                  <a:gd name="connsiteX257" fmla="*/ 8067675 w 8801100"/>
                  <a:gd name="connsiteY257" fmla="*/ 1562100 h 4410075"/>
                  <a:gd name="connsiteX258" fmla="*/ 8084344 w 8801100"/>
                  <a:gd name="connsiteY258" fmla="*/ 1583531 h 4410075"/>
                  <a:gd name="connsiteX259" fmla="*/ 8039100 w 8801100"/>
                  <a:gd name="connsiteY259" fmla="*/ 1633537 h 4410075"/>
                  <a:gd name="connsiteX260" fmla="*/ 7889081 w 8801100"/>
                  <a:gd name="connsiteY260" fmla="*/ 1557337 h 4410075"/>
                  <a:gd name="connsiteX261" fmla="*/ 7798594 w 8801100"/>
                  <a:gd name="connsiteY261" fmla="*/ 1593056 h 4410075"/>
                  <a:gd name="connsiteX262" fmla="*/ 7724775 w 8801100"/>
                  <a:gd name="connsiteY262" fmla="*/ 1590675 h 4410075"/>
                  <a:gd name="connsiteX263" fmla="*/ 7667625 w 8801100"/>
                  <a:gd name="connsiteY263" fmla="*/ 1685925 h 4410075"/>
                  <a:gd name="connsiteX264" fmla="*/ 7529513 w 8801100"/>
                  <a:gd name="connsiteY264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726281 w 8801100"/>
                  <a:gd name="connsiteY148" fmla="*/ 2481263 h 4410075"/>
                  <a:gd name="connsiteX149" fmla="*/ 709613 w 8801100"/>
                  <a:gd name="connsiteY149" fmla="*/ 2509838 h 4410075"/>
                  <a:gd name="connsiteX150" fmla="*/ 740569 w 8801100"/>
                  <a:gd name="connsiteY150" fmla="*/ 2566988 h 4410075"/>
                  <a:gd name="connsiteX151" fmla="*/ 769144 w 8801100"/>
                  <a:gd name="connsiteY151" fmla="*/ 2566988 h 4410075"/>
                  <a:gd name="connsiteX152" fmla="*/ 931069 w 8801100"/>
                  <a:gd name="connsiteY152" fmla="*/ 2669381 h 4410075"/>
                  <a:gd name="connsiteX153" fmla="*/ 1035844 w 8801100"/>
                  <a:gd name="connsiteY153" fmla="*/ 2667000 h 4410075"/>
                  <a:gd name="connsiteX154" fmla="*/ 1114425 w 8801100"/>
                  <a:gd name="connsiteY154" fmla="*/ 2721769 h 4410075"/>
                  <a:gd name="connsiteX155" fmla="*/ 1245393 w 8801100"/>
                  <a:gd name="connsiteY155" fmla="*/ 2724150 h 4410075"/>
                  <a:gd name="connsiteX156" fmla="*/ 1435893 w 8801100"/>
                  <a:gd name="connsiteY156" fmla="*/ 2793206 h 4410075"/>
                  <a:gd name="connsiteX157" fmla="*/ 1638300 w 8801100"/>
                  <a:gd name="connsiteY157" fmla="*/ 2943225 h 4410075"/>
                  <a:gd name="connsiteX158" fmla="*/ 1671637 w 8801100"/>
                  <a:gd name="connsiteY158" fmla="*/ 3009900 h 4410075"/>
                  <a:gd name="connsiteX159" fmla="*/ 1838325 w 8801100"/>
                  <a:gd name="connsiteY159" fmla="*/ 3136106 h 4410075"/>
                  <a:gd name="connsiteX160" fmla="*/ 1909763 w 8801100"/>
                  <a:gd name="connsiteY160" fmla="*/ 3131344 h 4410075"/>
                  <a:gd name="connsiteX161" fmla="*/ 1945482 w 8801100"/>
                  <a:gd name="connsiteY161" fmla="*/ 3155156 h 4410075"/>
                  <a:gd name="connsiteX162" fmla="*/ 1916906 w 8801100"/>
                  <a:gd name="connsiteY162" fmla="*/ 3195638 h 4410075"/>
                  <a:gd name="connsiteX163" fmla="*/ 1924050 w 8801100"/>
                  <a:gd name="connsiteY163" fmla="*/ 3248025 h 4410075"/>
                  <a:gd name="connsiteX164" fmla="*/ 1976438 w 8801100"/>
                  <a:gd name="connsiteY164" fmla="*/ 3274219 h 4410075"/>
                  <a:gd name="connsiteX165" fmla="*/ 2038350 w 8801100"/>
                  <a:gd name="connsiteY165" fmla="*/ 3498057 h 4410075"/>
                  <a:gd name="connsiteX166" fmla="*/ 2028825 w 8801100"/>
                  <a:gd name="connsiteY166" fmla="*/ 3562350 h 4410075"/>
                  <a:gd name="connsiteX167" fmla="*/ 2164556 w 8801100"/>
                  <a:gd name="connsiteY167" fmla="*/ 3729038 h 4410075"/>
                  <a:gd name="connsiteX168" fmla="*/ 2183606 w 8801100"/>
                  <a:gd name="connsiteY168" fmla="*/ 3779044 h 4410075"/>
                  <a:gd name="connsiteX169" fmla="*/ 2157413 w 8801100"/>
                  <a:gd name="connsiteY169" fmla="*/ 3798094 h 4410075"/>
                  <a:gd name="connsiteX170" fmla="*/ 2259806 w 8801100"/>
                  <a:gd name="connsiteY170" fmla="*/ 3807619 h 4410075"/>
                  <a:gd name="connsiteX171" fmla="*/ 2371725 w 8801100"/>
                  <a:gd name="connsiteY171" fmla="*/ 3795713 h 4410075"/>
                  <a:gd name="connsiteX172" fmla="*/ 2650331 w 8801100"/>
                  <a:gd name="connsiteY172" fmla="*/ 3879056 h 4410075"/>
                  <a:gd name="connsiteX173" fmla="*/ 3057525 w 8801100"/>
                  <a:gd name="connsiteY173" fmla="*/ 3960019 h 4410075"/>
                  <a:gd name="connsiteX174" fmla="*/ 3255169 w 8801100"/>
                  <a:gd name="connsiteY174" fmla="*/ 3929062 h 4410075"/>
                  <a:gd name="connsiteX175" fmla="*/ 3300413 w 8801100"/>
                  <a:gd name="connsiteY175" fmla="*/ 3940968 h 4410075"/>
                  <a:gd name="connsiteX176" fmla="*/ 3355181 w 8801100"/>
                  <a:gd name="connsiteY176" fmla="*/ 3917157 h 4410075"/>
                  <a:gd name="connsiteX177" fmla="*/ 3748087 w 8801100"/>
                  <a:gd name="connsiteY177" fmla="*/ 4007644 h 4410075"/>
                  <a:gd name="connsiteX178" fmla="*/ 3831432 w 8801100"/>
                  <a:gd name="connsiteY178" fmla="*/ 4105275 h 4410075"/>
                  <a:gd name="connsiteX179" fmla="*/ 3950494 w 8801100"/>
                  <a:gd name="connsiteY179" fmla="*/ 4176713 h 4410075"/>
                  <a:gd name="connsiteX180" fmla="*/ 4010025 w 8801100"/>
                  <a:gd name="connsiteY180" fmla="*/ 4160044 h 4410075"/>
                  <a:gd name="connsiteX181" fmla="*/ 4360068 w 8801100"/>
                  <a:gd name="connsiteY181" fmla="*/ 4333875 h 4410075"/>
                  <a:gd name="connsiteX182" fmla="*/ 4586288 w 8801100"/>
                  <a:gd name="connsiteY182" fmla="*/ 4305300 h 4410075"/>
                  <a:gd name="connsiteX183" fmla="*/ 4595813 w 8801100"/>
                  <a:gd name="connsiteY183" fmla="*/ 4383881 h 4410075"/>
                  <a:gd name="connsiteX184" fmla="*/ 4681538 w 8801100"/>
                  <a:gd name="connsiteY184" fmla="*/ 4379118 h 4410075"/>
                  <a:gd name="connsiteX185" fmla="*/ 4760119 w 8801100"/>
                  <a:gd name="connsiteY185" fmla="*/ 4410075 h 4410075"/>
                  <a:gd name="connsiteX186" fmla="*/ 4802981 w 8801100"/>
                  <a:gd name="connsiteY186" fmla="*/ 4350544 h 4410075"/>
                  <a:gd name="connsiteX187" fmla="*/ 5474494 w 8801100"/>
                  <a:gd name="connsiteY187" fmla="*/ 4031456 h 4410075"/>
                  <a:gd name="connsiteX188" fmla="*/ 5562600 w 8801100"/>
                  <a:gd name="connsiteY188" fmla="*/ 4060032 h 4410075"/>
                  <a:gd name="connsiteX189" fmla="*/ 5693569 w 8801100"/>
                  <a:gd name="connsiteY189" fmla="*/ 4031456 h 4410075"/>
                  <a:gd name="connsiteX190" fmla="*/ 5872162 w 8801100"/>
                  <a:gd name="connsiteY190" fmla="*/ 4048125 h 4410075"/>
                  <a:gd name="connsiteX191" fmla="*/ 5929313 w 8801100"/>
                  <a:gd name="connsiteY191" fmla="*/ 4021932 h 4410075"/>
                  <a:gd name="connsiteX192" fmla="*/ 6062662 w 8801100"/>
                  <a:gd name="connsiteY192" fmla="*/ 4019550 h 4410075"/>
                  <a:gd name="connsiteX193" fmla="*/ 6196012 w 8801100"/>
                  <a:gd name="connsiteY193" fmla="*/ 3921919 h 4410075"/>
                  <a:gd name="connsiteX194" fmla="*/ 6262687 w 8801100"/>
                  <a:gd name="connsiteY194" fmla="*/ 3914775 h 4410075"/>
                  <a:gd name="connsiteX195" fmla="*/ 6360319 w 8801100"/>
                  <a:gd name="connsiteY195" fmla="*/ 3840956 h 4410075"/>
                  <a:gd name="connsiteX196" fmla="*/ 6434138 w 8801100"/>
                  <a:gd name="connsiteY196" fmla="*/ 3771900 h 4410075"/>
                  <a:gd name="connsiteX197" fmla="*/ 6443663 w 8801100"/>
                  <a:gd name="connsiteY197" fmla="*/ 3709988 h 4410075"/>
                  <a:gd name="connsiteX198" fmla="*/ 6477000 w 8801100"/>
                  <a:gd name="connsiteY198" fmla="*/ 3640931 h 4410075"/>
                  <a:gd name="connsiteX199" fmla="*/ 6629400 w 8801100"/>
                  <a:gd name="connsiteY199" fmla="*/ 3533775 h 4410075"/>
                  <a:gd name="connsiteX200" fmla="*/ 6662738 w 8801100"/>
                  <a:gd name="connsiteY200" fmla="*/ 3538538 h 4410075"/>
                  <a:gd name="connsiteX201" fmla="*/ 6715125 w 8801100"/>
                  <a:gd name="connsiteY201" fmla="*/ 3459956 h 4410075"/>
                  <a:gd name="connsiteX202" fmla="*/ 6762750 w 8801100"/>
                  <a:gd name="connsiteY202" fmla="*/ 3421856 h 4410075"/>
                  <a:gd name="connsiteX203" fmla="*/ 6748463 w 8801100"/>
                  <a:gd name="connsiteY203" fmla="*/ 3352800 h 4410075"/>
                  <a:gd name="connsiteX204" fmla="*/ 6698456 w 8801100"/>
                  <a:gd name="connsiteY204" fmla="*/ 3321843 h 4410075"/>
                  <a:gd name="connsiteX205" fmla="*/ 6638925 w 8801100"/>
                  <a:gd name="connsiteY205" fmla="*/ 3267075 h 4410075"/>
                  <a:gd name="connsiteX206" fmla="*/ 6619875 w 8801100"/>
                  <a:gd name="connsiteY206" fmla="*/ 3209925 h 4410075"/>
                  <a:gd name="connsiteX207" fmla="*/ 6584156 w 8801100"/>
                  <a:gd name="connsiteY207" fmla="*/ 3176588 h 4410075"/>
                  <a:gd name="connsiteX208" fmla="*/ 6610350 w 8801100"/>
                  <a:gd name="connsiteY208" fmla="*/ 3124200 h 4410075"/>
                  <a:gd name="connsiteX209" fmla="*/ 6650831 w 8801100"/>
                  <a:gd name="connsiteY209" fmla="*/ 2945606 h 4410075"/>
                  <a:gd name="connsiteX210" fmla="*/ 6691313 w 8801100"/>
                  <a:gd name="connsiteY210" fmla="*/ 2878931 h 4410075"/>
                  <a:gd name="connsiteX211" fmla="*/ 6836569 w 8801100"/>
                  <a:gd name="connsiteY211" fmla="*/ 2862262 h 4410075"/>
                  <a:gd name="connsiteX212" fmla="*/ 6905625 w 8801100"/>
                  <a:gd name="connsiteY212" fmla="*/ 2919413 h 4410075"/>
                  <a:gd name="connsiteX213" fmla="*/ 6981825 w 8801100"/>
                  <a:gd name="connsiteY213" fmla="*/ 2943225 h 4410075"/>
                  <a:gd name="connsiteX214" fmla="*/ 7186612 w 8801100"/>
                  <a:gd name="connsiteY214" fmla="*/ 2947988 h 4410075"/>
                  <a:gd name="connsiteX215" fmla="*/ 7362825 w 8801100"/>
                  <a:gd name="connsiteY215" fmla="*/ 2809875 h 4410075"/>
                  <a:gd name="connsiteX216" fmla="*/ 7419975 w 8801100"/>
                  <a:gd name="connsiteY216" fmla="*/ 2719387 h 4410075"/>
                  <a:gd name="connsiteX217" fmla="*/ 7446169 w 8801100"/>
                  <a:gd name="connsiteY217" fmla="*/ 2636044 h 4410075"/>
                  <a:gd name="connsiteX218" fmla="*/ 7577137 w 8801100"/>
                  <a:gd name="connsiteY218" fmla="*/ 2636044 h 4410075"/>
                  <a:gd name="connsiteX219" fmla="*/ 7750969 w 8801100"/>
                  <a:gd name="connsiteY219" fmla="*/ 2578893 h 4410075"/>
                  <a:gd name="connsiteX220" fmla="*/ 7810500 w 8801100"/>
                  <a:gd name="connsiteY220" fmla="*/ 2466975 h 4410075"/>
                  <a:gd name="connsiteX221" fmla="*/ 7874794 w 8801100"/>
                  <a:gd name="connsiteY221" fmla="*/ 2431256 h 4410075"/>
                  <a:gd name="connsiteX222" fmla="*/ 7853363 w 8801100"/>
                  <a:gd name="connsiteY222" fmla="*/ 2386013 h 4410075"/>
                  <a:gd name="connsiteX223" fmla="*/ 7931944 w 8801100"/>
                  <a:gd name="connsiteY223" fmla="*/ 2216943 h 4410075"/>
                  <a:gd name="connsiteX224" fmla="*/ 7986713 w 8801100"/>
                  <a:gd name="connsiteY224" fmla="*/ 2157413 h 4410075"/>
                  <a:gd name="connsiteX225" fmla="*/ 8024813 w 8801100"/>
                  <a:gd name="connsiteY225" fmla="*/ 2152650 h 4410075"/>
                  <a:gd name="connsiteX226" fmla="*/ 8070056 w 8801100"/>
                  <a:gd name="connsiteY226" fmla="*/ 2157413 h 4410075"/>
                  <a:gd name="connsiteX227" fmla="*/ 8134350 w 8801100"/>
                  <a:gd name="connsiteY227" fmla="*/ 2124075 h 4410075"/>
                  <a:gd name="connsiteX228" fmla="*/ 8143875 w 8801100"/>
                  <a:gd name="connsiteY228" fmla="*/ 2059781 h 4410075"/>
                  <a:gd name="connsiteX229" fmla="*/ 8184355 w 8801100"/>
                  <a:gd name="connsiteY229" fmla="*/ 2024063 h 4410075"/>
                  <a:gd name="connsiteX230" fmla="*/ 8243888 w 8801100"/>
                  <a:gd name="connsiteY230" fmla="*/ 2064543 h 4410075"/>
                  <a:gd name="connsiteX231" fmla="*/ 8270082 w 8801100"/>
                  <a:gd name="connsiteY231" fmla="*/ 2014537 h 4410075"/>
                  <a:gd name="connsiteX232" fmla="*/ 8365331 w 8801100"/>
                  <a:gd name="connsiteY232" fmla="*/ 1945481 h 4410075"/>
                  <a:gd name="connsiteX233" fmla="*/ 8427244 w 8801100"/>
                  <a:gd name="connsiteY233" fmla="*/ 1952625 h 4410075"/>
                  <a:gd name="connsiteX234" fmla="*/ 8477250 w 8801100"/>
                  <a:gd name="connsiteY234" fmla="*/ 1933575 h 4410075"/>
                  <a:gd name="connsiteX235" fmla="*/ 8515350 w 8801100"/>
                  <a:gd name="connsiteY235" fmla="*/ 1905000 h 4410075"/>
                  <a:gd name="connsiteX236" fmla="*/ 8548688 w 8801100"/>
                  <a:gd name="connsiteY236" fmla="*/ 1902619 h 4410075"/>
                  <a:gd name="connsiteX237" fmla="*/ 8584406 w 8801100"/>
                  <a:gd name="connsiteY237" fmla="*/ 1933575 h 4410075"/>
                  <a:gd name="connsiteX238" fmla="*/ 8643938 w 8801100"/>
                  <a:gd name="connsiteY238" fmla="*/ 1933575 h 4410075"/>
                  <a:gd name="connsiteX239" fmla="*/ 8682037 w 8801100"/>
                  <a:gd name="connsiteY239" fmla="*/ 1914525 h 4410075"/>
                  <a:gd name="connsiteX240" fmla="*/ 8765381 w 8801100"/>
                  <a:gd name="connsiteY240" fmla="*/ 1916907 h 4410075"/>
                  <a:gd name="connsiteX241" fmla="*/ 8796338 w 8801100"/>
                  <a:gd name="connsiteY241" fmla="*/ 1871663 h 4410075"/>
                  <a:gd name="connsiteX242" fmla="*/ 8801100 w 8801100"/>
                  <a:gd name="connsiteY242" fmla="*/ 1809750 h 4410075"/>
                  <a:gd name="connsiteX243" fmla="*/ 8751093 w 8801100"/>
                  <a:gd name="connsiteY243" fmla="*/ 1769269 h 4410075"/>
                  <a:gd name="connsiteX244" fmla="*/ 8734425 w 8801100"/>
                  <a:gd name="connsiteY244" fmla="*/ 1714500 h 4410075"/>
                  <a:gd name="connsiteX245" fmla="*/ 8643938 w 8801100"/>
                  <a:gd name="connsiteY245" fmla="*/ 1652588 h 4410075"/>
                  <a:gd name="connsiteX246" fmla="*/ 8603456 w 8801100"/>
                  <a:gd name="connsiteY246" fmla="*/ 1631156 h 4410075"/>
                  <a:gd name="connsiteX247" fmla="*/ 8565356 w 8801100"/>
                  <a:gd name="connsiteY247" fmla="*/ 1585913 h 4410075"/>
                  <a:gd name="connsiteX248" fmla="*/ 8534400 w 8801100"/>
                  <a:gd name="connsiteY248" fmla="*/ 1583531 h 4410075"/>
                  <a:gd name="connsiteX249" fmla="*/ 8517731 w 8801100"/>
                  <a:gd name="connsiteY249" fmla="*/ 1531144 h 4410075"/>
                  <a:gd name="connsiteX250" fmla="*/ 8477250 w 8801100"/>
                  <a:gd name="connsiteY250" fmla="*/ 1514475 h 4410075"/>
                  <a:gd name="connsiteX251" fmla="*/ 8477250 w 8801100"/>
                  <a:gd name="connsiteY251" fmla="*/ 1514475 h 4410075"/>
                  <a:gd name="connsiteX252" fmla="*/ 8436769 w 8801100"/>
                  <a:gd name="connsiteY252" fmla="*/ 1519238 h 4410075"/>
                  <a:gd name="connsiteX253" fmla="*/ 8351043 w 8801100"/>
                  <a:gd name="connsiteY253" fmla="*/ 1445419 h 4410075"/>
                  <a:gd name="connsiteX254" fmla="*/ 8170069 w 8801100"/>
                  <a:gd name="connsiteY254" fmla="*/ 1445418 h 4410075"/>
                  <a:gd name="connsiteX255" fmla="*/ 8117681 w 8801100"/>
                  <a:gd name="connsiteY255" fmla="*/ 1483519 h 4410075"/>
                  <a:gd name="connsiteX256" fmla="*/ 8067675 w 8801100"/>
                  <a:gd name="connsiteY256" fmla="*/ 1562100 h 4410075"/>
                  <a:gd name="connsiteX257" fmla="*/ 8084344 w 8801100"/>
                  <a:gd name="connsiteY257" fmla="*/ 1583531 h 4410075"/>
                  <a:gd name="connsiteX258" fmla="*/ 8039100 w 8801100"/>
                  <a:gd name="connsiteY258" fmla="*/ 1633537 h 4410075"/>
                  <a:gd name="connsiteX259" fmla="*/ 7889081 w 8801100"/>
                  <a:gd name="connsiteY259" fmla="*/ 1557337 h 4410075"/>
                  <a:gd name="connsiteX260" fmla="*/ 7798594 w 8801100"/>
                  <a:gd name="connsiteY260" fmla="*/ 1593056 h 4410075"/>
                  <a:gd name="connsiteX261" fmla="*/ 7724775 w 8801100"/>
                  <a:gd name="connsiteY261" fmla="*/ 1590675 h 4410075"/>
                  <a:gd name="connsiteX262" fmla="*/ 7667625 w 8801100"/>
                  <a:gd name="connsiteY262" fmla="*/ 1685925 h 4410075"/>
                  <a:gd name="connsiteX263" fmla="*/ 7529513 w 8801100"/>
                  <a:gd name="connsiteY263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709613 w 8801100"/>
                  <a:gd name="connsiteY148" fmla="*/ 2509838 h 4410075"/>
                  <a:gd name="connsiteX149" fmla="*/ 740569 w 8801100"/>
                  <a:gd name="connsiteY149" fmla="*/ 2566988 h 4410075"/>
                  <a:gd name="connsiteX150" fmla="*/ 769144 w 8801100"/>
                  <a:gd name="connsiteY150" fmla="*/ 2566988 h 4410075"/>
                  <a:gd name="connsiteX151" fmla="*/ 931069 w 8801100"/>
                  <a:gd name="connsiteY151" fmla="*/ 2669381 h 4410075"/>
                  <a:gd name="connsiteX152" fmla="*/ 1035844 w 8801100"/>
                  <a:gd name="connsiteY152" fmla="*/ 2667000 h 4410075"/>
                  <a:gd name="connsiteX153" fmla="*/ 1114425 w 8801100"/>
                  <a:gd name="connsiteY153" fmla="*/ 2721769 h 4410075"/>
                  <a:gd name="connsiteX154" fmla="*/ 1245393 w 8801100"/>
                  <a:gd name="connsiteY154" fmla="*/ 2724150 h 4410075"/>
                  <a:gd name="connsiteX155" fmla="*/ 1435893 w 8801100"/>
                  <a:gd name="connsiteY155" fmla="*/ 2793206 h 4410075"/>
                  <a:gd name="connsiteX156" fmla="*/ 1638300 w 8801100"/>
                  <a:gd name="connsiteY156" fmla="*/ 2943225 h 4410075"/>
                  <a:gd name="connsiteX157" fmla="*/ 1671637 w 8801100"/>
                  <a:gd name="connsiteY157" fmla="*/ 3009900 h 4410075"/>
                  <a:gd name="connsiteX158" fmla="*/ 1838325 w 8801100"/>
                  <a:gd name="connsiteY158" fmla="*/ 3136106 h 4410075"/>
                  <a:gd name="connsiteX159" fmla="*/ 1909763 w 8801100"/>
                  <a:gd name="connsiteY159" fmla="*/ 3131344 h 4410075"/>
                  <a:gd name="connsiteX160" fmla="*/ 1945482 w 8801100"/>
                  <a:gd name="connsiteY160" fmla="*/ 3155156 h 4410075"/>
                  <a:gd name="connsiteX161" fmla="*/ 1916906 w 8801100"/>
                  <a:gd name="connsiteY161" fmla="*/ 3195638 h 4410075"/>
                  <a:gd name="connsiteX162" fmla="*/ 1924050 w 8801100"/>
                  <a:gd name="connsiteY162" fmla="*/ 3248025 h 4410075"/>
                  <a:gd name="connsiteX163" fmla="*/ 1976438 w 8801100"/>
                  <a:gd name="connsiteY163" fmla="*/ 3274219 h 4410075"/>
                  <a:gd name="connsiteX164" fmla="*/ 2038350 w 8801100"/>
                  <a:gd name="connsiteY164" fmla="*/ 3498057 h 4410075"/>
                  <a:gd name="connsiteX165" fmla="*/ 2028825 w 8801100"/>
                  <a:gd name="connsiteY165" fmla="*/ 3562350 h 4410075"/>
                  <a:gd name="connsiteX166" fmla="*/ 2164556 w 8801100"/>
                  <a:gd name="connsiteY166" fmla="*/ 3729038 h 4410075"/>
                  <a:gd name="connsiteX167" fmla="*/ 2183606 w 8801100"/>
                  <a:gd name="connsiteY167" fmla="*/ 3779044 h 4410075"/>
                  <a:gd name="connsiteX168" fmla="*/ 2157413 w 8801100"/>
                  <a:gd name="connsiteY168" fmla="*/ 3798094 h 4410075"/>
                  <a:gd name="connsiteX169" fmla="*/ 2259806 w 8801100"/>
                  <a:gd name="connsiteY169" fmla="*/ 3807619 h 4410075"/>
                  <a:gd name="connsiteX170" fmla="*/ 2371725 w 8801100"/>
                  <a:gd name="connsiteY170" fmla="*/ 3795713 h 4410075"/>
                  <a:gd name="connsiteX171" fmla="*/ 2650331 w 8801100"/>
                  <a:gd name="connsiteY171" fmla="*/ 3879056 h 4410075"/>
                  <a:gd name="connsiteX172" fmla="*/ 3057525 w 8801100"/>
                  <a:gd name="connsiteY172" fmla="*/ 3960019 h 4410075"/>
                  <a:gd name="connsiteX173" fmla="*/ 3255169 w 8801100"/>
                  <a:gd name="connsiteY173" fmla="*/ 3929062 h 4410075"/>
                  <a:gd name="connsiteX174" fmla="*/ 3300413 w 8801100"/>
                  <a:gd name="connsiteY174" fmla="*/ 3940968 h 4410075"/>
                  <a:gd name="connsiteX175" fmla="*/ 3355181 w 8801100"/>
                  <a:gd name="connsiteY175" fmla="*/ 3917157 h 4410075"/>
                  <a:gd name="connsiteX176" fmla="*/ 3748087 w 8801100"/>
                  <a:gd name="connsiteY176" fmla="*/ 4007644 h 4410075"/>
                  <a:gd name="connsiteX177" fmla="*/ 3831432 w 8801100"/>
                  <a:gd name="connsiteY177" fmla="*/ 4105275 h 4410075"/>
                  <a:gd name="connsiteX178" fmla="*/ 3950494 w 8801100"/>
                  <a:gd name="connsiteY178" fmla="*/ 4176713 h 4410075"/>
                  <a:gd name="connsiteX179" fmla="*/ 4010025 w 8801100"/>
                  <a:gd name="connsiteY179" fmla="*/ 4160044 h 4410075"/>
                  <a:gd name="connsiteX180" fmla="*/ 4360068 w 8801100"/>
                  <a:gd name="connsiteY180" fmla="*/ 4333875 h 4410075"/>
                  <a:gd name="connsiteX181" fmla="*/ 4586288 w 8801100"/>
                  <a:gd name="connsiteY181" fmla="*/ 4305300 h 4410075"/>
                  <a:gd name="connsiteX182" fmla="*/ 4595813 w 8801100"/>
                  <a:gd name="connsiteY182" fmla="*/ 4383881 h 4410075"/>
                  <a:gd name="connsiteX183" fmla="*/ 4681538 w 8801100"/>
                  <a:gd name="connsiteY183" fmla="*/ 4379118 h 4410075"/>
                  <a:gd name="connsiteX184" fmla="*/ 4760119 w 8801100"/>
                  <a:gd name="connsiteY184" fmla="*/ 4410075 h 4410075"/>
                  <a:gd name="connsiteX185" fmla="*/ 4802981 w 8801100"/>
                  <a:gd name="connsiteY185" fmla="*/ 4350544 h 4410075"/>
                  <a:gd name="connsiteX186" fmla="*/ 5474494 w 8801100"/>
                  <a:gd name="connsiteY186" fmla="*/ 4031456 h 4410075"/>
                  <a:gd name="connsiteX187" fmla="*/ 5562600 w 8801100"/>
                  <a:gd name="connsiteY187" fmla="*/ 4060032 h 4410075"/>
                  <a:gd name="connsiteX188" fmla="*/ 5693569 w 8801100"/>
                  <a:gd name="connsiteY188" fmla="*/ 4031456 h 4410075"/>
                  <a:gd name="connsiteX189" fmla="*/ 5872162 w 8801100"/>
                  <a:gd name="connsiteY189" fmla="*/ 4048125 h 4410075"/>
                  <a:gd name="connsiteX190" fmla="*/ 5929313 w 8801100"/>
                  <a:gd name="connsiteY190" fmla="*/ 4021932 h 4410075"/>
                  <a:gd name="connsiteX191" fmla="*/ 6062662 w 8801100"/>
                  <a:gd name="connsiteY191" fmla="*/ 4019550 h 4410075"/>
                  <a:gd name="connsiteX192" fmla="*/ 6196012 w 8801100"/>
                  <a:gd name="connsiteY192" fmla="*/ 3921919 h 4410075"/>
                  <a:gd name="connsiteX193" fmla="*/ 6262687 w 8801100"/>
                  <a:gd name="connsiteY193" fmla="*/ 3914775 h 4410075"/>
                  <a:gd name="connsiteX194" fmla="*/ 6360319 w 8801100"/>
                  <a:gd name="connsiteY194" fmla="*/ 3840956 h 4410075"/>
                  <a:gd name="connsiteX195" fmla="*/ 6434138 w 8801100"/>
                  <a:gd name="connsiteY195" fmla="*/ 3771900 h 4410075"/>
                  <a:gd name="connsiteX196" fmla="*/ 6443663 w 8801100"/>
                  <a:gd name="connsiteY196" fmla="*/ 3709988 h 4410075"/>
                  <a:gd name="connsiteX197" fmla="*/ 6477000 w 8801100"/>
                  <a:gd name="connsiteY197" fmla="*/ 3640931 h 4410075"/>
                  <a:gd name="connsiteX198" fmla="*/ 6629400 w 8801100"/>
                  <a:gd name="connsiteY198" fmla="*/ 3533775 h 4410075"/>
                  <a:gd name="connsiteX199" fmla="*/ 6662738 w 8801100"/>
                  <a:gd name="connsiteY199" fmla="*/ 3538538 h 4410075"/>
                  <a:gd name="connsiteX200" fmla="*/ 6715125 w 8801100"/>
                  <a:gd name="connsiteY200" fmla="*/ 3459956 h 4410075"/>
                  <a:gd name="connsiteX201" fmla="*/ 6762750 w 8801100"/>
                  <a:gd name="connsiteY201" fmla="*/ 3421856 h 4410075"/>
                  <a:gd name="connsiteX202" fmla="*/ 6748463 w 8801100"/>
                  <a:gd name="connsiteY202" fmla="*/ 3352800 h 4410075"/>
                  <a:gd name="connsiteX203" fmla="*/ 6698456 w 8801100"/>
                  <a:gd name="connsiteY203" fmla="*/ 3321843 h 4410075"/>
                  <a:gd name="connsiteX204" fmla="*/ 6638925 w 8801100"/>
                  <a:gd name="connsiteY204" fmla="*/ 3267075 h 4410075"/>
                  <a:gd name="connsiteX205" fmla="*/ 6619875 w 8801100"/>
                  <a:gd name="connsiteY205" fmla="*/ 3209925 h 4410075"/>
                  <a:gd name="connsiteX206" fmla="*/ 6584156 w 8801100"/>
                  <a:gd name="connsiteY206" fmla="*/ 3176588 h 4410075"/>
                  <a:gd name="connsiteX207" fmla="*/ 6610350 w 8801100"/>
                  <a:gd name="connsiteY207" fmla="*/ 3124200 h 4410075"/>
                  <a:gd name="connsiteX208" fmla="*/ 6650831 w 8801100"/>
                  <a:gd name="connsiteY208" fmla="*/ 2945606 h 4410075"/>
                  <a:gd name="connsiteX209" fmla="*/ 6691313 w 8801100"/>
                  <a:gd name="connsiteY209" fmla="*/ 2878931 h 4410075"/>
                  <a:gd name="connsiteX210" fmla="*/ 6836569 w 8801100"/>
                  <a:gd name="connsiteY210" fmla="*/ 2862262 h 4410075"/>
                  <a:gd name="connsiteX211" fmla="*/ 6905625 w 8801100"/>
                  <a:gd name="connsiteY211" fmla="*/ 2919413 h 4410075"/>
                  <a:gd name="connsiteX212" fmla="*/ 6981825 w 8801100"/>
                  <a:gd name="connsiteY212" fmla="*/ 2943225 h 4410075"/>
                  <a:gd name="connsiteX213" fmla="*/ 7186612 w 8801100"/>
                  <a:gd name="connsiteY213" fmla="*/ 2947988 h 4410075"/>
                  <a:gd name="connsiteX214" fmla="*/ 7362825 w 8801100"/>
                  <a:gd name="connsiteY214" fmla="*/ 2809875 h 4410075"/>
                  <a:gd name="connsiteX215" fmla="*/ 7419975 w 8801100"/>
                  <a:gd name="connsiteY215" fmla="*/ 2719387 h 4410075"/>
                  <a:gd name="connsiteX216" fmla="*/ 7446169 w 8801100"/>
                  <a:gd name="connsiteY216" fmla="*/ 2636044 h 4410075"/>
                  <a:gd name="connsiteX217" fmla="*/ 7577137 w 8801100"/>
                  <a:gd name="connsiteY217" fmla="*/ 2636044 h 4410075"/>
                  <a:gd name="connsiteX218" fmla="*/ 7750969 w 8801100"/>
                  <a:gd name="connsiteY218" fmla="*/ 2578893 h 4410075"/>
                  <a:gd name="connsiteX219" fmla="*/ 7810500 w 8801100"/>
                  <a:gd name="connsiteY219" fmla="*/ 2466975 h 4410075"/>
                  <a:gd name="connsiteX220" fmla="*/ 7874794 w 8801100"/>
                  <a:gd name="connsiteY220" fmla="*/ 2431256 h 4410075"/>
                  <a:gd name="connsiteX221" fmla="*/ 7853363 w 8801100"/>
                  <a:gd name="connsiteY221" fmla="*/ 2386013 h 4410075"/>
                  <a:gd name="connsiteX222" fmla="*/ 7931944 w 8801100"/>
                  <a:gd name="connsiteY222" fmla="*/ 2216943 h 4410075"/>
                  <a:gd name="connsiteX223" fmla="*/ 7986713 w 8801100"/>
                  <a:gd name="connsiteY223" fmla="*/ 2157413 h 4410075"/>
                  <a:gd name="connsiteX224" fmla="*/ 8024813 w 8801100"/>
                  <a:gd name="connsiteY224" fmla="*/ 2152650 h 4410075"/>
                  <a:gd name="connsiteX225" fmla="*/ 8070056 w 8801100"/>
                  <a:gd name="connsiteY225" fmla="*/ 2157413 h 4410075"/>
                  <a:gd name="connsiteX226" fmla="*/ 8134350 w 8801100"/>
                  <a:gd name="connsiteY226" fmla="*/ 2124075 h 4410075"/>
                  <a:gd name="connsiteX227" fmla="*/ 8143875 w 8801100"/>
                  <a:gd name="connsiteY227" fmla="*/ 2059781 h 4410075"/>
                  <a:gd name="connsiteX228" fmla="*/ 8184355 w 8801100"/>
                  <a:gd name="connsiteY228" fmla="*/ 2024063 h 4410075"/>
                  <a:gd name="connsiteX229" fmla="*/ 8243888 w 8801100"/>
                  <a:gd name="connsiteY229" fmla="*/ 2064543 h 4410075"/>
                  <a:gd name="connsiteX230" fmla="*/ 8270082 w 8801100"/>
                  <a:gd name="connsiteY230" fmla="*/ 2014537 h 4410075"/>
                  <a:gd name="connsiteX231" fmla="*/ 8365331 w 8801100"/>
                  <a:gd name="connsiteY231" fmla="*/ 1945481 h 4410075"/>
                  <a:gd name="connsiteX232" fmla="*/ 8427244 w 8801100"/>
                  <a:gd name="connsiteY232" fmla="*/ 1952625 h 4410075"/>
                  <a:gd name="connsiteX233" fmla="*/ 8477250 w 8801100"/>
                  <a:gd name="connsiteY233" fmla="*/ 1933575 h 4410075"/>
                  <a:gd name="connsiteX234" fmla="*/ 8515350 w 8801100"/>
                  <a:gd name="connsiteY234" fmla="*/ 1905000 h 4410075"/>
                  <a:gd name="connsiteX235" fmla="*/ 8548688 w 8801100"/>
                  <a:gd name="connsiteY235" fmla="*/ 1902619 h 4410075"/>
                  <a:gd name="connsiteX236" fmla="*/ 8584406 w 8801100"/>
                  <a:gd name="connsiteY236" fmla="*/ 1933575 h 4410075"/>
                  <a:gd name="connsiteX237" fmla="*/ 8643938 w 8801100"/>
                  <a:gd name="connsiteY237" fmla="*/ 1933575 h 4410075"/>
                  <a:gd name="connsiteX238" fmla="*/ 8682037 w 8801100"/>
                  <a:gd name="connsiteY238" fmla="*/ 1914525 h 4410075"/>
                  <a:gd name="connsiteX239" fmla="*/ 8765381 w 8801100"/>
                  <a:gd name="connsiteY239" fmla="*/ 1916907 h 4410075"/>
                  <a:gd name="connsiteX240" fmla="*/ 8796338 w 8801100"/>
                  <a:gd name="connsiteY240" fmla="*/ 1871663 h 4410075"/>
                  <a:gd name="connsiteX241" fmla="*/ 8801100 w 8801100"/>
                  <a:gd name="connsiteY241" fmla="*/ 1809750 h 4410075"/>
                  <a:gd name="connsiteX242" fmla="*/ 8751093 w 8801100"/>
                  <a:gd name="connsiteY242" fmla="*/ 1769269 h 4410075"/>
                  <a:gd name="connsiteX243" fmla="*/ 8734425 w 8801100"/>
                  <a:gd name="connsiteY243" fmla="*/ 1714500 h 4410075"/>
                  <a:gd name="connsiteX244" fmla="*/ 8643938 w 8801100"/>
                  <a:gd name="connsiteY244" fmla="*/ 1652588 h 4410075"/>
                  <a:gd name="connsiteX245" fmla="*/ 8603456 w 8801100"/>
                  <a:gd name="connsiteY245" fmla="*/ 1631156 h 4410075"/>
                  <a:gd name="connsiteX246" fmla="*/ 8565356 w 8801100"/>
                  <a:gd name="connsiteY246" fmla="*/ 1585913 h 4410075"/>
                  <a:gd name="connsiteX247" fmla="*/ 8534400 w 8801100"/>
                  <a:gd name="connsiteY247" fmla="*/ 1583531 h 4410075"/>
                  <a:gd name="connsiteX248" fmla="*/ 8517731 w 8801100"/>
                  <a:gd name="connsiteY248" fmla="*/ 1531144 h 4410075"/>
                  <a:gd name="connsiteX249" fmla="*/ 8477250 w 8801100"/>
                  <a:gd name="connsiteY249" fmla="*/ 1514475 h 4410075"/>
                  <a:gd name="connsiteX250" fmla="*/ 8477250 w 8801100"/>
                  <a:gd name="connsiteY250" fmla="*/ 1514475 h 4410075"/>
                  <a:gd name="connsiteX251" fmla="*/ 8436769 w 8801100"/>
                  <a:gd name="connsiteY251" fmla="*/ 1519238 h 4410075"/>
                  <a:gd name="connsiteX252" fmla="*/ 8351043 w 8801100"/>
                  <a:gd name="connsiteY252" fmla="*/ 1445419 h 4410075"/>
                  <a:gd name="connsiteX253" fmla="*/ 8170069 w 8801100"/>
                  <a:gd name="connsiteY253" fmla="*/ 1445418 h 4410075"/>
                  <a:gd name="connsiteX254" fmla="*/ 8117681 w 8801100"/>
                  <a:gd name="connsiteY254" fmla="*/ 1483519 h 4410075"/>
                  <a:gd name="connsiteX255" fmla="*/ 8067675 w 8801100"/>
                  <a:gd name="connsiteY255" fmla="*/ 1562100 h 4410075"/>
                  <a:gd name="connsiteX256" fmla="*/ 8084344 w 8801100"/>
                  <a:gd name="connsiteY256" fmla="*/ 1583531 h 4410075"/>
                  <a:gd name="connsiteX257" fmla="*/ 8039100 w 8801100"/>
                  <a:gd name="connsiteY257" fmla="*/ 1633537 h 4410075"/>
                  <a:gd name="connsiteX258" fmla="*/ 7889081 w 8801100"/>
                  <a:gd name="connsiteY258" fmla="*/ 1557337 h 4410075"/>
                  <a:gd name="connsiteX259" fmla="*/ 7798594 w 8801100"/>
                  <a:gd name="connsiteY259" fmla="*/ 1593056 h 4410075"/>
                  <a:gd name="connsiteX260" fmla="*/ 7724775 w 8801100"/>
                  <a:gd name="connsiteY260" fmla="*/ 1590675 h 4410075"/>
                  <a:gd name="connsiteX261" fmla="*/ 7667625 w 8801100"/>
                  <a:gd name="connsiteY261" fmla="*/ 1685925 h 4410075"/>
                  <a:gd name="connsiteX262" fmla="*/ 7529513 w 8801100"/>
                  <a:gd name="connsiteY262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740569 w 8801100"/>
                  <a:gd name="connsiteY148" fmla="*/ 2566988 h 4410075"/>
                  <a:gd name="connsiteX149" fmla="*/ 769144 w 8801100"/>
                  <a:gd name="connsiteY149" fmla="*/ 2566988 h 4410075"/>
                  <a:gd name="connsiteX150" fmla="*/ 931069 w 8801100"/>
                  <a:gd name="connsiteY150" fmla="*/ 2669381 h 4410075"/>
                  <a:gd name="connsiteX151" fmla="*/ 1035844 w 8801100"/>
                  <a:gd name="connsiteY151" fmla="*/ 2667000 h 4410075"/>
                  <a:gd name="connsiteX152" fmla="*/ 1114425 w 8801100"/>
                  <a:gd name="connsiteY152" fmla="*/ 2721769 h 4410075"/>
                  <a:gd name="connsiteX153" fmla="*/ 1245393 w 8801100"/>
                  <a:gd name="connsiteY153" fmla="*/ 2724150 h 4410075"/>
                  <a:gd name="connsiteX154" fmla="*/ 1435893 w 8801100"/>
                  <a:gd name="connsiteY154" fmla="*/ 2793206 h 4410075"/>
                  <a:gd name="connsiteX155" fmla="*/ 1638300 w 8801100"/>
                  <a:gd name="connsiteY155" fmla="*/ 2943225 h 4410075"/>
                  <a:gd name="connsiteX156" fmla="*/ 1671637 w 8801100"/>
                  <a:gd name="connsiteY156" fmla="*/ 3009900 h 4410075"/>
                  <a:gd name="connsiteX157" fmla="*/ 1838325 w 8801100"/>
                  <a:gd name="connsiteY157" fmla="*/ 3136106 h 4410075"/>
                  <a:gd name="connsiteX158" fmla="*/ 1909763 w 8801100"/>
                  <a:gd name="connsiteY158" fmla="*/ 3131344 h 4410075"/>
                  <a:gd name="connsiteX159" fmla="*/ 1945482 w 8801100"/>
                  <a:gd name="connsiteY159" fmla="*/ 3155156 h 4410075"/>
                  <a:gd name="connsiteX160" fmla="*/ 1916906 w 8801100"/>
                  <a:gd name="connsiteY160" fmla="*/ 3195638 h 4410075"/>
                  <a:gd name="connsiteX161" fmla="*/ 1924050 w 8801100"/>
                  <a:gd name="connsiteY161" fmla="*/ 3248025 h 4410075"/>
                  <a:gd name="connsiteX162" fmla="*/ 1976438 w 8801100"/>
                  <a:gd name="connsiteY162" fmla="*/ 3274219 h 4410075"/>
                  <a:gd name="connsiteX163" fmla="*/ 2038350 w 8801100"/>
                  <a:gd name="connsiteY163" fmla="*/ 3498057 h 4410075"/>
                  <a:gd name="connsiteX164" fmla="*/ 2028825 w 8801100"/>
                  <a:gd name="connsiteY164" fmla="*/ 3562350 h 4410075"/>
                  <a:gd name="connsiteX165" fmla="*/ 2164556 w 8801100"/>
                  <a:gd name="connsiteY165" fmla="*/ 3729038 h 4410075"/>
                  <a:gd name="connsiteX166" fmla="*/ 2183606 w 8801100"/>
                  <a:gd name="connsiteY166" fmla="*/ 3779044 h 4410075"/>
                  <a:gd name="connsiteX167" fmla="*/ 2157413 w 8801100"/>
                  <a:gd name="connsiteY167" fmla="*/ 3798094 h 4410075"/>
                  <a:gd name="connsiteX168" fmla="*/ 2259806 w 8801100"/>
                  <a:gd name="connsiteY168" fmla="*/ 3807619 h 4410075"/>
                  <a:gd name="connsiteX169" fmla="*/ 2371725 w 8801100"/>
                  <a:gd name="connsiteY169" fmla="*/ 3795713 h 4410075"/>
                  <a:gd name="connsiteX170" fmla="*/ 2650331 w 8801100"/>
                  <a:gd name="connsiteY170" fmla="*/ 3879056 h 4410075"/>
                  <a:gd name="connsiteX171" fmla="*/ 3057525 w 8801100"/>
                  <a:gd name="connsiteY171" fmla="*/ 3960019 h 4410075"/>
                  <a:gd name="connsiteX172" fmla="*/ 3255169 w 8801100"/>
                  <a:gd name="connsiteY172" fmla="*/ 3929062 h 4410075"/>
                  <a:gd name="connsiteX173" fmla="*/ 3300413 w 8801100"/>
                  <a:gd name="connsiteY173" fmla="*/ 3940968 h 4410075"/>
                  <a:gd name="connsiteX174" fmla="*/ 3355181 w 8801100"/>
                  <a:gd name="connsiteY174" fmla="*/ 3917157 h 4410075"/>
                  <a:gd name="connsiteX175" fmla="*/ 3748087 w 8801100"/>
                  <a:gd name="connsiteY175" fmla="*/ 4007644 h 4410075"/>
                  <a:gd name="connsiteX176" fmla="*/ 3831432 w 8801100"/>
                  <a:gd name="connsiteY176" fmla="*/ 4105275 h 4410075"/>
                  <a:gd name="connsiteX177" fmla="*/ 3950494 w 8801100"/>
                  <a:gd name="connsiteY177" fmla="*/ 4176713 h 4410075"/>
                  <a:gd name="connsiteX178" fmla="*/ 4010025 w 8801100"/>
                  <a:gd name="connsiteY178" fmla="*/ 4160044 h 4410075"/>
                  <a:gd name="connsiteX179" fmla="*/ 4360068 w 8801100"/>
                  <a:gd name="connsiteY179" fmla="*/ 4333875 h 4410075"/>
                  <a:gd name="connsiteX180" fmla="*/ 4586288 w 8801100"/>
                  <a:gd name="connsiteY180" fmla="*/ 4305300 h 4410075"/>
                  <a:gd name="connsiteX181" fmla="*/ 4595813 w 8801100"/>
                  <a:gd name="connsiteY181" fmla="*/ 4383881 h 4410075"/>
                  <a:gd name="connsiteX182" fmla="*/ 4681538 w 8801100"/>
                  <a:gd name="connsiteY182" fmla="*/ 4379118 h 4410075"/>
                  <a:gd name="connsiteX183" fmla="*/ 4760119 w 8801100"/>
                  <a:gd name="connsiteY183" fmla="*/ 4410075 h 4410075"/>
                  <a:gd name="connsiteX184" fmla="*/ 4802981 w 8801100"/>
                  <a:gd name="connsiteY184" fmla="*/ 4350544 h 4410075"/>
                  <a:gd name="connsiteX185" fmla="*/ 5474494 w 8801100"/>
                  <a:gd name="connsiteY185" fmla="*/ 4031456 h 4410075"/>
                  <a:gd name="connsiteX186" fmla="*/ 5562600 w 8801100"/>
                  <a:gd name="connsiteY186" fmla="*/ 4060032 h 4410075"/>
                  <a:gd name="connsiteX187" fmla="*/ 5693569 w 8801100"/>
                  <a:gd name="connsiteY187" fmla="*/ 4031456 h 4410075"/>
                  <a:gd name="connsiteX188" fmla="*/ 5872162 w 8801100"/>
                  <a:gd name="connsiteY188" fmla="*/ 4048125 h 4410075"/>
                  <a:gd name="connsiteX189" fmla="*/ 5929313 w 8801100"/>
                  <a:gd name="connsiteY189" fmla="*/ 4021932 h 4410075"/>
                  <a:gd name="connsiteX190" fmla="*/ 6062662 w 8801100"/>
                  <a:gd name="connsiteY190" fmla="*/ 4019550 h 4410075"/>
                  <a:gd name="connsiteX191" fmla="*/ 6196012 w 8801100"/>
                  <a:gd name="connsiteY191" fmla="*/ 3921919 h 4410075"/>
                  <a:gd name="connsiteX192" fmla="*/ 6262687 w 8801100"/>
                  <a:gd name="connsiteY192" fmla="*/ 3914775 h 4410075"/>
                  <a:gd name="connsiteX193" fmla="*/ 6360319 w 8801100"/>
                  <a:gd name="connsiteY193" fmla="*/ 3840956 h 4410075"/>
                  <a:gd name="connsiteX194" fmla="*/ 6434138 w 8801100"/>
                  <a:gd name="connsiteY194" fmla="*/ 3771900 h 4410075"/>
                  <a:gd name="connsiteX195" fmla="*/ 6443663 w 8801100"/>
                  <a:gd name="connsiteY195" fmla="*/ 3709988 h 4410075"/>
                  <a:gd name="connsiteX196" fmla="*/ 6477000 w 8801100"/>
                  <a:gd name="connsiteY196" fmla="*/ 3640931 h 4410075"/>
                  <a:gd name="connsiteX197" fmla="*/ 6629400 w 8801100"/>
                  <a:gd name="connsiteY197" fmla="*/ 3533775 h 4410075"/>
                  <a:gd name="connsiteX198" fmla="*/ 6662738 w 8801100"/>
                  <a:gd name="connsiteY198" fmla="*/ 3538538 h 4410075"/>
                  <a:gd name="connsiteX199" fmla="*/ 6715125 w 8801100"/>
                  <a:gd name="connsiteY199" fmla="*/ 3459956 h 4410075"/>
                  <a:gd name="connsiteX200" fmla="*/ 6762750 w 8801100"/>
                  <a:gd name="connsiteY200" fmla="*/ 3421856 h 4410075"/>
                  <a:gd name="connsiteX201" fmla="*/ 6748463 w 8801100"/>
                  <a:gd name="connsiteY201" fmla="*/ 3352800 h 4410075"/>
                  <a:gd name="connsiteX202" fmla="*/ 6698456 w 8801100"/>
                  <a:gd name="connsiteY202" fmla="*/ 3321843 h 4410075"/>
                  <a:gd name="connsiteX203" fmla="*/ 6638925 w 8801100"/>
                  <a:gd name="connsiteY203" fmla="*/ 3267075 h 4410075"/>
                  <a:gd name="connsiteX204" fmla="*/ 6619875 w 8801100"/>
                  <a:gd name="connsiteY204" fmla="*/ 3209925 h 4410075"/>
                  <a:gd name="connsiteX205" fmla="*/ 6584156 w 8801100"/>
                  <a:gd name="connsiteY205" fmla="*/ 3176588 h 4410075"/>
                  <a:gd name="connsiteX206" fmla="*/ 6610350 w 8801100"/>
                  <a:gd name="connsiteY206" fmla="*/ 3124200 h 4410075"/>
                  <a:gd name="connsiteX207" fmla="*/ 6650831 w 8801100"/>
                  <a:gd name="connsiteY207" fmla="*/ 2945606 h 4410075"/>
                  <a:gd name="connsiteX208" fmla="*/ 6691313 w 8801100"/>
                  <a:gd name="connsiteY208" fmla="*/ 2878931 h 4410075"/>
                  <a:gd name="connsiteX209" fmla="*/ 6836569 w 8801100"/>
                  <a:gd name="connsiteY209" fmla="*/ 2862262 h 4410075"/>
                  <a:gd name="connsiteX210" fmla="*/ 6905625 w 8801100"/>
                  <a:gd name="connsiteY210" fmla="*/ 2919413 h 4410075"/>
                  <a:gd name="connsiteX211" fmla="*/ 6981825 w 8801100"/>
                  <a:gd name="connsiteY211" fmla="*/ 2943225 h 4410075"/>
                  <a:gd name="connsiteX212" fmla="*/ 7186612 w 8801100"/>
                  <a:gd name="connsiteY212" fmla="*/ 2947988 h 4410075"/>
                  <a:gd name="connsiteX213" fmla="*/ 7362825 w 8801100"/>
                  <a:gd name="connsiteY213" fmla="*/ 2809875 h 4410075"/>
                  <a:gd name="connsiteX214" fmla="*/ 7419975 w 8801100"/>
                  <a:gd name="connsiteY214" fmla="*/ 2719387 h 4410075"/>
                  <a:gd name="connsiteX215" fmla="*/ 7446169 w 8801100"/>
                  <a:gd name="connsiteY215" fmla="*/ 2636044 h 4410075"/>
                  <a:gd name="connsiteX216" fmla="*/ 7577137 w 8801100"/>
                  <a:gd name="connsiteY216" fmla="*/ 2636044 h 4410075"/>
                  <a:gd name="connsiteX217" fmla="*/ 7750969 w 8801100"/>
                  <a:gd name="connsiteY217" fmla="*/ 2578893 h 4410075"/>
                  <a:gd name="connsiteX218" fmla="*/ 7810500 w 8801100"/>
                  <a:gd name="connsiteY218" fmla="*/ 2466975 h 4410075"/>
                  <a:gd name="connsiteX219" fmla="*/ 7874794 w 8801100"/>
                  <a:gd name="connsiteY219" fmla="*/ 2431256 h 4410075"/>
                  <a:gd name="connsiteX220" fmla="*/ 7853363 w 8801100"/>
                  <a:gd name="connsiteY220" fmla="*/ 2386013 h 4410075"/>
                  <a:gd name="connsiteX221" fmla="*/ 7931944 w 8801100"/>
                  <a:gd name="connsiteY221" fmla="*/ 2216943 h 4410075"/>
                  <a:gd name="connsiteX222" fmla="*/ 7986713 w 8801100"/>
                  <a:gd name="connsiteY222" fmla="*/ 2157413 h 4410075"/>
                  <a:gd name="connsiteX223" fmla="*/ 8024813 w 8801100"/>
                  <a:gd name="connsiteY223" fmla="*/ 2152650 h 4410075"/>
                  <a:gd name="connsiteX224" fmla="*/ 8070056 w 8801100"/>
                  <a:gd name="connsiteY224" fmla="*/ 2157413 h 4410075"/>
                  <a:gd name="connsiteX225" fmla="*/ 8134350 w 8801100"/>
                  <a:gd name="connsiteY225" fmla="*/ 2124075 h 4410075"/>
                  <a:gd name="connsiteX226" fmla="*/ 8143875 w 8801100"/>
                  <a:gd name="connsiteY226" fmla="*/ 2059781 h 4410075"/>
                  <a:gd name="connsiteX227" fmla="*/ 8184355 w 8801100"/>
                  <a:gd name="connsiteY227" fmla="*/ 2024063 h 4410075"/>
                  <a:gd name="connsiteX228" fmla="*/ 8243888 w 8801100"/>
                  <a:gd name="connsiteY228" fmla="*/ 2064543 h 4410075"/>
                  <a:gd name="connsiteX229" fmla="*/ 8270082 w 8801100"/>
                  <a:gd name="connsiteY229" fmla="*/ 2014537 h 4410075"/>
                  <a:gd name="connsiteX230" fmla="*/ 8365331 w 8801100"/>
                  <a:gd name="connsiteY230" fmla="*/ 1945481 h 4410075"/>
                  <a:gd name="connsiteX231" fmla="*/ 8427244 w 8801100"/>
                  <a:gd name="connsiteY231" fmla="*/ 1952625 h 4410075"/>
                  <a:gd name="connsiteX232" fmla="*/ 8477250 w 8801100"/>
                  <a:gd name="connsiteY232" fmla="*/ 1933575 h 4410075"/>
                  <a:gd name="connsiteX233" fmla="*/ 8515350 w 8801100"/>
                  <a:gd name="connsiteY233" fmla="*/ 1905000 h 4410075"/>
                  <a:gd name="connsiteX234" fmla="*/ 8548688 w 8801100"/>
                  <a:gd name="connsiteY234" fmla="*/ 1902619 h 4410075"/>
                  <a:gd name="connsiteX235" fmla="*/ 8584406 w 8801100"/>
                  <a:gd name="connsiteY235" fmla="*/ 1933575 h 4410075"/>
                  <a:gd name="connsiteX236" fmla="*/ 8643938 w 8801100"/>
                  <a:gd name="connsiteY236" fmla="*/ 1933575 h 4410075"/>
                  <a:gd name="connsiteX237" fmla="*/ 8682037 w 8801100"/>
                  <a:gd name="connsiteY237" fmla="*/ 1914525 h 4410075"/>
                  <a:gd name="connsiteX238" fmla="*/ 8765381 w 8801100"/>
                  <a:gd name="connsiteY238" fmla="*/ 1916907 h 4410075"/>
                  <a:gd name="connsiteX239" fmla="*/ 8796338 w 8801100"/>
                  <a:gd name="connsiteY239" fmla="*/ 1871663 h 4410075"/>
                  <a:gd name="connsiteX240" fmla="*/ 8801100 w 8801100"/>
                  <a:gd name="connsiteY240" fmla="*/ 1809750 h 4410075"/>
                  <a:gd name="connsiteX241" fmla="*/ 8751093 w 8801100"/>
                  <a:gd name="connsiteY241" fmla="*/ 1769269 h 4410075"/>
                  <a:gd name="connsiteX242" fmla="*/ 8734425 w 8801100"/>
                  <a:gd name="connsiteY242" fmla="*/ 1714500 h 4410075"/>
                  <a:gd name="connsiteX243" fmla="*/ 8643938 w 8801100"/>
                  <a:gd name="connsiteY243" fmla="*/ 1652588 h 4410075"/>
                  <a:gd name="connsiteX244" fmla="*/ 8603456 w 8801100"/>
                  <a:gd name="connsiteY244" fmla="*/ 1631156 h 4410075"/>
                  <a:gd name="connsiteX245" fmla="*/ 8565356 w 8801100"/>
                  <a:gd name="connsiteY245" fmla="*/ 1585913 h 4410075"/>
                  <a:gd name="connsiteX246" fmla="*/ 8534400 w 8801100"/>
                  <a:gd name="connsiteY246" fmla="*/ 1583531 h 4410075"/>
                  <a:gd name="connsiteX247" fmla="*/ 8517731 w 8801100"/>
                  <a:gd name="connsiteY247" fmla="*/ 1531144 h 4410075"/>
                  <a:gd name="connsiteX248" fmla="*/ 8477250 w 8801100"/>
                  <a:gd name="connsiteY248" fmla="*/ 1514475 h 4410075"/>
                  <a:gd name="connsiteX249" fmla="*/ 8477250 w 8801100"/>
                  <a:gd name="connsiteY249" fmla="*/ 1514475 h 4410075"/>
                  <a:gd name="connsiteX250" fmla="*/ 8436769 w 8801100"/>
                  <a:gd name="connsiteY250" fmla="*/ 1519238 h 4410075"/>
                  <a:gd name="connsiteX251" fmla="*/ 8351043 w 8801100"/>
                  <a:gd name="connsiteY251" fmla="*/ 1445419 h 4410075"/>
                  <a:gd name="connsiteX252" fmla="*/ 8170069 w 8801100"/>
                  <a:gd name="connsiteY252" fmla="*/ 1445418 h 4410075"/>
                  <a:gd name="connsiteX253" fmla="*/ 8117681 w 8801100"/>
                  <a:gd name="connsiteY253" fmla="*/ 1483519 h 4410075"/>
                  <a:gd name="connsiteX254" fmla="*/ 8067675 w 8801100"/>
                  <a:gd name="connsiteY254" fmla="*/ 1562100 h 4410075"/>
                  <a:gd name="connsiteX255" fmla="*/ 8084344 w 8801100"/>
                  <a:gd name="connsiteY255" fmla="*/ 1583531 h 4410075"/>
                  <a:gd name="connsiteX256" fmla="*/ 8039100 w 8801100"/>
                  <a:gd name="connsiteY256" fmla="*/ 1633537 h 4410075"/>
                  <a:gd name="connsiteX257" fmla="*/ 7889081 w 8801100"/>
                  <a:gd name="connsiteY257" fmla="*/ 1557337 h 4410075"/>
                  <a:gd name="connsiteX258" fmla="*/ 7798594 w 8801100"/>
                  <a:gd name="connsiteY258" fmla="*/ 1593056 h 4410075"/>
                  <a:gd name="connsiteX259" fmla="*/ 7724775 w 8801100"/>
                  <a:gd name="connsiteY259" fmla="*/ 1590675 h 4410075"/>
                  <a:gd name="connsiteX260" fmla="*/ 7667625 w 8801100"/>
                  <a:gd name="connsiteY260" fmla="*/ 1685925 h 4410075"/>
                  <a:gd name="connsiteX261" fmla="*/ 7529513 w 8801100"/>
                  <a:gd name="connsiteY261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740569 w 8801100"/>
                  <a:gd name="connsiteY148" fmla="*/ 2566988 h 4410075"/>
                  <a:gd name="connsiteX149" fmla="*/ 769144 w 8801100"/>
                  <a:gd name="connsiteY149" fmla="*/ 2566988 h 4410075"/>
                  <a:gd name="connsiteX150" fmla="*/ 1035844 w 8801100"/>
                  <a:gd name="connsiteY150" fmla="*/ 2667000 h 4410075"/>
                  <a:gd name="connsiteX151" fmla="*/ 1114425 w 8801100"/>
                  <a:gd name="connsiteY151" fmla="*/ 2721769 h 4410075"/>
                  <a:gd name="connsiteX152" fmla="*/ 1245393 w 8801100"/>
                  <a:gd name="connsiteY152" fmla="*/ 2724150 h 4410075"/>
                  <a:gd name="connsiteX153" fmla="*/ 1435893 w 8801100"/>
                  <a:gd name="connsiteY153" fmla="*/ 2793206 h 4410075"/>
                  <a:gd name="connsiteX154" fmla="*/ 1638300 w 8801100"/>
                  <a:gd name="connsiteY154" fmla="*/ 2943225 h 4410075"/>
                  <a:gd name="connsiteX155" fmla="*/ 1671637 w 8801100"/>
                  <a:gd name="connsiteY155" fmla="*/ 3009900 h 4410075"/>
                  <a:gd name="connsiteX156" fmla="*/ 1838325 w 8801100"/>
                  <a:gd name="connsiteY156" fmla="*/ 3136106 h 4410075"/>
                  <a:gd name="connsiteX157" fmla="*/ 1909763 w 8801100"/>
                  <a:gd name="connsiteY157" fmla="*/ 3131344 h 4410075"/>
                  <a:gd name="connsiteX158" fmla="*/ 1945482 w 8801100"/>
                  <a:gd name="connsiteY158" fmla="*/ 3155156 h 4410075"/>
                  <a:gd name="connsiteX159" fmla="*/ 1916906 w 8801100"/>
                  <a:gd name="connsiteY159" fmla="*/ 3195638 h 4410075"/>
                  <a:gd name="connsiteX160" fmla="*/ 1924050 w 8801100"/>
                  <a:gd name="connsiteY160" fmla="*/ 3248025 h 4410075"/>
                  <a:gd name="connsiteX161" fmla="*/ 1976438 w 8801100"/>
                  <a:gd name="connsiteY161" fmla="*/ 3274219 h 4410075"/>
                  <a:gd name="connsiteX162" fmla="*/ 2038350 w 8801100"/>
                  <a:gd name="connsiteY162" fmla="*/ 3498057 h 4410075"/>
                  <a:gd name="connsiteX163" fmla="*/ 2028825 w 8801100"/>
                  <a:gd name="connsiteY163" fmla="*/ 3562350 h 4410075"/>
                  <a:gd name="connsiteX164" fmla="*/ 2164556 w 8801100"/>
                  <a:gd name="connsiteY164" fmla="*/ 3729038 h 4410075"/>
                  <a:gd name="connsiteX165" fmla="*/ 2183606 w 8801100"/>
                  <a:gd name="connsiteY165" fmla="*/ 3779044 h 4410075"/>
                  <a:gd name="connsiteX166" fmla="*/ 2157413 w 8801100"/>
                  <a:gd name="connsiteY166" fmla="*/ 3798094 h 4410075"/>
                  <a:gd name="connsiteX167" fmla="*/ 2259806 w 8801100"/>
                  <a:gd name="connsiteY167" fmla="*/ 3807619 h 4410075"/>
                  <a:gd name="connsiteX168" fmla="*/ 2371725 w 8801100"/>
                  <a:gd name="connsiteY168" fmla="*/ 3795713 h 4410075"/>
                  <a:gd name="connsiteX169" fmla="*/ 2650331 w 8801100"/>
                  <a:gd name="connsiteY169" fmla="*/ 3879056 h 4410075"/>
                  <a:gd name="connsiteX170" fmla="*/ 3057525 w 8801100"/>
                  <a:gd name="connsiteY170" fmla="*/ 3960019 h 4410075"/>
                  <a:gd name="connsiteX171" fmla="*/ 3255169 w 8801100"/>
                  <a:gd name="connsiteY171" fmla="*/ 3929062 h 4410075"/>
                  <a:gd name="connsiteX172" fmla="*/ 3300413 w 8801100"/>
                  <a:gd name="connsiteY172" fmla="*/ 3940968 h 4410075"/>
                  <a:gd name="connsiteX173" fmla="*/ 3355181 w 8801100"/>
                  <a:gd name="connsiteY173" fmla="*/ 3917157 h 4410075"/>
                  <a:gd name="connsiteX174" fmla="*/ 3748087 w 8801100"/>
                  <a:gd name="connsiteY174" fmla="*/ 4007644 h 4410075"/>
                  <a:gd name="connsiteX175" fmla="*/ 3831432 w 8801100"/>
                  <a:gd name="connsiteY175" fmla="*/ 4105275 h 4410075"/>
                  <a:gd name="connsiteX176" fmla="*/ 3950494 w 8801100"/>
                  <a:gd name="connsiteY176" fmla="*/ 4176713 h 4410075"/>
                  <a:gd name="connsiteX177" fmla="*/ 4010025 w 8801100"/>
                  <a:gd name="connsiteY177" fmla="*/ 4160044 h 4410075"/>
                  <a:gd name="connsiteX178" fmla="*/ 4360068 w 8801100"/>
                  <a:gd name="connsiteY178" fmla="*/ 4333875 h 4410075"/>
                  <a:gd name="connsiteX179" fmla="*/ 4586288 w 8801100"/>
                  <a:gd name="connsiteY179" fmla="*/ 4305300 h 4410075"/>
                  <a:gd name="connsiteX180" fmla="*/ 4595813 w 8801100"/>
                  <a:gd name="connsiteY180" fmla="*/ 4383881 h 4410075"/>
                  <a:gd name="connsiteX181" fmla="*/ 4681538 w 8801100"/>
                  <a:gd name="connsiteY181" fmla="*/ 4379118 h 4410075"/>
                  <a:gd name="connsiteX182" fmla="*/ 4760119 w 8801100"/>
                  <a:gd name="connsiteY182" fmla="*/ 4410075 h 4410075"/>
                  <a:gd name="connsiteX183" fmla="*/ 4802981 w 8801100"/>
                  <a:gd name="connsiteY183" fmla="*/ 4350544 h 4410075"/>
                  <a:gd name="connsiteX184" fmla="*/ 5474494 w 8801100"/>
                  <a:gd name="connsiteY184" fmla="*/ 4031456 h 4410075"/>
                  <a:gd name="connsiteX185" fmla="*/ 5562600 w 8801100"/>
                  <a:gd name="connsiteY185" fmla="*/ 4060032 h 4410075"/>
                  <a:gd name="connsiteX186" fmla="*/ 5693569 w 8801100"/>
                  <a:gd name="connsiteY186" fmla="*/ 4031456 h 4410075"/>
                  <a:gd name="connsiteX187" fmla="*/ 5872162 w 8801100"/>
                  <a:gd name="connsiteY187" fmla="*/ 4048125 h 4410075"/>
                  <a:gd name="connsiteX188" fmla="*/ 5929313 w 8801100"/>
                  <a:gd name="connsiteY188" fmla="*/ 4021932 h 4410075"/>
                  <a:gd name="connsiteX189" fmla="*/ 6062662 w 8801100"/>
                  <a:gd name="connsiteY189" fmla="*/ 4019550 h 4410075"/>
                  <a:gd name="connsiteX190" fmla="*/ 6196012 w 8801100"/>
                  <a:gd name="connsiteY190" fmla="*/ 3921919 h 4410075"/>
                  <a:gd name="connsiteX191" fmla="*/ 6262687 w 8801100"/>
                  <a:gd name="connsiteY191" fmla="*/ 3914775 h 4410075"/>
                  <a:gd name="connsiteX192" fmla="*/ 6360319 w 8801100"/>
                  <a:gd name="connsiteY192" fmla="*/ 3840956 h 4410075"/>
                  <a:gd name="connsiteX193" fmla="*/ 6434138 w 8801100"/>
                  <a:gd name="connsiteY193" fmla="*/ 3771900 h 4410075"/>
                  <a:gd name="connsiteX194" fmla="*/ 6443663 w 8801100"/>
                  <a:gd name="connsiteY194" fmla="*/ 3709988 h 4410075"/>
                  <a:gd name="connsiteX195" fmla="*/ 6477000 w 8801100"/>
                  <a:gd name="connsiteY195" fmla="*/ 3640931 h 4410075"/>
                  <a:gd name="connsiteX196" fmla="*/ 6629400 w 8801100"/>
                  <a:gd name="connsiteY196" fmla="*/ 3533775 h 4410075"/>
                  <a:gd name="connsiteX197" fmla="*/ 6662738 w 8801100"/>
                  <a:gd name="connsiteY197" fmla="*/ 3538538 h 4410075"/>
                  <a:gd name="connsiteX198" fmla="*/ 6715125 w 8801100"/>
                  <a:gd name="connsiteY198" fmla="*/ 3459956 h 4410075"/>
                  <a:gd name="connsiteX199" fmla="*/ 6762750 w 8801100"/>
                  <a:gd name="connsiteY199" fmla="*/ 3421856 h 4410075"/>
                  <a:gd name="connsiteX200" fmla="*/ 6748463 w 8801100"/>
                  <a:gd name="connsiteY200" fmla="*/ 3352800 h 4410075"/>
                  <a:gd name="connsiteX201" fmla="*/ 6698456 w 8801100"/>
                  <a:gd name="connsiteY201" fmla="*/ 3321843 h 4410075"/>
                  <a:gd name="connsiteX202" fmla="*/ 6638925 w 8801100"/>
                  <a:gd name="connsiteY202" fmla="*/ 3267075 h 4410075"/>
                  <a:gd name="connsiteX203" fmla="*/ 6619875 w 8801100"/>
                  <a:gd name="connsiteY203" fmla="*/ 3209925 h 4410075"/>
                  <a:gd name="connsiteX204" fmla="*/ 6584156 w 8801100"/>
                  <a:gd name="connsiteY204" fmla="*/ 3176588 h 4410075"/>
                  <a:gd name="connsiteX205" fmla="*/ 6610350 w 8801100"/>
                  <a:gd name="connsiteY205" fmla="*/ 3124200 h 4410075"/>
                  <a:gd name="connsiteX206" fmla="*/ 6650831 w 8801100"/>
                  <a:gd name="connsiteY206" fmla="*/ 2945606 h 4410075"/>
                  <a:gd name="connsiteX207" fmla="*/ 6691313 w 8801100"/>
                  <a:gd name="connsiteY207" fmla="*/ 2878931 h 4410075"/>
                  <a:gd name="connsiteX208" fmla="*/ 6836569 w 8801100"/>
                  <a:gd name="connsiteY208" fmla="*/ 2862262 h 4410075"/>
                  <a:gd name="connsiteX209" fmla="*/ 6905625 w 8801100"/>
                  <a:gd name="connsiteY209" fmla="*/ 2919413 h 4410075"/>
                  <a:gd name="connsiteX210" fmla="*/ 6981825 w 8801100"/>
                  <a:gd name="connsiteY210" fmla="*/ 2943225 h 4410075"/>
                  <a:gd name="connsiteX211" fmla="*/ 7186612 w 8801100"/>
                  <a:gd name="connsiteY211" fmla="*/ 2947988 h 4410075"/>
                  <a:gd name="connsiteX212" fmla="*/ 7362825 w 8801100"/>
                  <a:gd name="connsiteY212" fmla="*/ 2809875 h 4410075"/>
                  <a:gd name="connsiteX213" fmla="*/ 7419975 w 8801100"/>
                  <a:gd name="connsiteY213" fmla="*/ 2719387 h 4410075"/>
                  <a:gd name="connsiteX214" fmla="*/ 7446169 w 8801100"/>
                  <a:gd name="connsiteY214" fmla="*/ 2636044 h 4410075"/>
                  <a:gd name="connsiteX215" fmla="*/ 7577137 w 8801100"/>
                  <a:gd name="connsiteY215" fmla="*/ 2636044 h 4410075"/>
                  <a:gd name="connsiteX216" fmla="*/ 7750969 w 8801100"/>
                  <a:gd name="connsiteY216" fmla="*/ 2578893 h 4410075"/>
                  <a:gd name="connsiteX217" fmla="*/ 7810500 w 8801100"/>
                  <a:gd name="connsiteY217" fmla="*/ 2466975 h 4410075"/>
                  <a:gd name="connsiteX218" fmla="*/ 7874794 w 8801100"/>
                  <a:gd name="connsiteY218" fmla="*/ 2431256 h 4410075"/>
                  <a:gd name="connsiteX219" fmla="*/ 7853363 w 8801100"/>
                  <a:gd name="connsiteY219" fmla="*/ 2386013 h 4410075"/>
                  <a:gd name="connsiteX220" fmla="*/ 7931944 w 8801100"/>
                  <a:gd name="connsiteY220" fmla="*/ 2216943 h 4410075"/>
                  <a:gd name="connsiteX221" fmla="*/ 7986713 w 8801100"/>
                  <a:gd name="connsiteY221" fmla="*/ 2157413 h 4410075"/>
                  <a:gd name="connsiteX222" fmla="*/ 8024813 w 8801100"/>
                  <a:gd name="connsiteY222" fmla="*/ 2152650 h 4410075"/>
                  <a:gd name="connsiteX223" fmla="*/ 8070056 w 8801100"/>
                  <a:gd name="connsiteY223" fmla="*/ 2157413 h 4410075"/>
                  <a:gd name="connsiteX224" fmla="*/ 8134350 w 8801100"/>
                  <a:gd name="connsiteY224" fmla="*/ 2124075 h 4410075"/>
                  <a:gd name="connsiteX225" fmla="*/ 8143875 w 8801100"/>
                  <a:gd name="connsiteY225" fmla="*/ 2059781 h 4410075"/>
                  <a:gd name="connsiteX226" fmla="*/ 8184355 w 8801100"/>
                  <a:gd name="connsiteY226" fmla="*/ 2024063 h 4410075"/>
                  <a:gd name="connsiteX227" fmla="*/ 8243888 w 8801100"/>
                  <a:gd name="connsiteY227" fmla="*/ 2064543 h 4410075"/>
                  <a:gd name="connsiteX228" fmla="*/ 8270082 w 8801100"/>
                  <a:gd name="connsiteY228" fmla="*/ 2014537 h 4410075"/>
                  <a:gd name="connsiteX229" fmla="*/ 8365331 w 8801100"/>
                  <a:gd name="connsiteY229" fmla="*/ 1945481 h 4410075"/>
                  <a:gd name="connsiteX230" fmla="*/ 8427244 w 8801100"/>
                  <a:gd name="connsiteY230" fmla="*/ 1952625 h 4410075"/>
                  <a:gd name="connsiteX231" fmla="*/ 8477250 w 8801100"/>
                  <a:gd name="connsiteY231" fmla="*/ 1933575 h 4410075"/>
                  <a:gd name="connsiteX232" fmla="*/ 8515350 w 8801100"/>
                  <a:gd name="connsiteY232" fmla="*/ 1905000 h 4410075"/>
                  <a:gd name="connsiteX233" fmla="*/ 8548688 w 8801100"/>
                  <a:gd name="connsiteY233" fmla="*/ 1902619 h 4410075"/>
                  <a:gd name="connsiteX234" fmla="*/ 8584406 w 8801100"/>
                  <a:gd name="connsiteY234" fmla="*/ 1933575 h 4410075"/>
                  <a:gd name="connsiteX235" fmla="*/ 8643938 w 8801100"/>
                  <a:gd name="connsiteY235" fmla="*/ 1933575 h 4410075"/>
                  <a:gd name="connsiteX236" fmla="*/ 8682037 w 8801100"/>
                  <a:gd name="connsiteY236" fmla="*/ 1914525 h 4410075"/>
                  <a:gd name="connsiteX237" fmla="*/ 8765381 w 8801100"/>
                  <a:gd name="connsiteY237" fmla="*/ 1916907 h 4410075"/>
                  <a:gd name="connsiteX238" fmla="*/ 8796338 w 8801100"/>
                  <a:gd name="connsiteY238" fmla="*/ 1871663 h 4410075"/>
                  <a:gd name="connsiteX239" fmla="*/ 8801100 w 8801100"/>
                  <a:gd name="connsiteY239" fmla="*/ 1809750 h 4410075"/>
                  <a:gd name="connsiteX240" fmla="*/ 8751093 w 8801100"/>
                  <a:gd name="connsiteY240" fmla="*/ 1769269 h 4410075"/>
                  <a:gd name="connsiteX241" fmla="*/ 8734425 w 8801100"/>
                  <a:gd name="connsiteY241" fmla="*/ 1714500 h 4410075"/>
                  <a:gd name="connsiteX242" fmla="*/ 8643938 w 8801100"/>
                  <a:gd name="connsiteY242" fmla="*/ 1652588 h 4410075"/>
                  <a:gd name="connsiteX243" fmla="*/ 8603456 w 8801100"/>
                  <a:gd name="connsiteY243" fmla="*/ 1631156 h 4410075"/>
                  <a:gd name="connsiteX244" fmla="*/ 8565356 w 8801100"/>
                  <a:gd name="connsiteY244" fmla="*/ 1585913 h 4410075"/>
                  <a:gd name="connsiteX245" fmla="*/ 8534400 w 8801100"/>
                  <a:gd name="connsiteY245" fmla="*/ 1583531 h 4410075"/>
                  <a:gd name="connsiteX246" fmla="*/ 8517731 w 8801100"/>
                  <a:gd name="connsiteY246" fmla="*/ 1531144 h 4410075"/>
                  <a:gd name="connsiteX247" fmla="*/ 8477250 w 8801100"/>
                  <a:gd name="connsiteY247" fmla="*/ 1514475 h 4410075"/>
                  <a:gd name="connsiteX248" fmla="*/ 8477250 w 8801100"/>
                  <a:gd name="connsiteY248" fmla="*/ 1514475 h 4410075"/>
                  <a:gd name="connsiteX249" fmla="*/ 8436769 w 8801100"/>
                  <a:gd name="connsiteY249" fmla="*/ 1519238 h 4410075"/>
                  <a:gd name="connsiteX250" fmla="*/ 8351043 w 8801100"/>
                  <a:gd name="connsiteY250" fmla="*/ 1445419 h 4410075"/>
                  <a:gd name="connsiteX251" fmla="*/ 8170069 w 8801100"/>
                  <a:gd name="connsiteY251" fmla="*/ 1445418 h 4410075"/>
                  <a:gd name="connsiteX252" fmla="*/ 8117681 w 8801100"/>
                  <a:gd name="connsiteY252" fmla="*/ 1483519 h 4410075"/>
                  <a:gd name="connsiteX253" fmla="*/ 8067675 w 8801100"/>
                  <a:gd name="connsiteY253" fmla="*/ 1562100 h 4410075"/>
                  <a:gd name="connsiteX254" fmla="*/ 8084344 w 8801100"/>
                  <a:gd name="connsiteY254" fmla="*/ 1583531 h 4410075"/>
                  <a:gd name="connsiteX255" fmla="*/ 8039100 w 8801100"/>
                  <a:gd name="connsiteY255" fmla="*/ 1633537 h 4410075"/>
                  <a:gd name="connsiteX256" fmla="*/ 7889081 w 8801100"/>
                  <a:gd name="connsiteY256" fmla="*/ 1557337 h 4410075"/>
                  <a:gd name="connsiteX257" fmla="*/ 7798594 w 8801100"/>
                  <a:gd name="connsiteY257" fmla="*/ 1593056 h 4410075"/>
                  <a:gd name="connsiteX258" fmla="*/ 7724775 w 8801100"/>
                  <a:gd name="connsiteY258" fmla="*/ 1590675 h 4410075"/>
                  <a:gd name="connsiteX259" fmla="*/ 7667625 w 8801100"/>
                  <a:gd name="connsiteY259" fmla="*/ 1685925 h 4410075"/>
                  <a:gd name="connsiteX260" fmla="*/ 7529513 w 8801100"/>
                  <a:gd name="connsiteY260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740569 w 8801100"/>
                  <a:gd name="connsiteY148" fmla="*/ 2566988 h 4410075"/>
                  <a:gd name="connsiteX149" fmla="*/ 1035844 w 8801100"/>
                  <a:gd name="connsiteY149" fmla="*/ 2667000 h 4410075"/>
                  <a:gd name="connsiteX150" fmla="*/ 1114425 w 8801100"/>
                  <a:gd name="connsiteY150" fmla="*/ 2721769 h 4410075"/>
                  <a:gd name="connsiteX151" fmla="*/ 1245393 w 8801100"/>
                  <a:gd name="connsiteY151" fmla="*/ 2724150 h 4410075"/>
                  <a:gd name="connsiteX152" fmla="*/ 1435893 w 8801100"/>
                  <a:gd name="connsiteY152" fmla="*/ 2793206 h 4410075"/>
                  <a:gd name="connsiteX153" fmla="*/ 1638300 w 8801100"/>
                  <a:gd name="connsiteY153" fmla="*/ 2943225 h 4410075"/>
                  <a:gd name="connsiteX154" fmla="*/ 1671637 w 8801100"/>
                  <a:gd name="connsiteY154" fmla="*/ 3009900 h 4410075"/>
                  <a:gd name="connsiteX155" fmla="*/ 1838325 w 8801100"/>
                  <a:gd name="connsiteY155" fmla="*/ 3136106 h 4410075"/>
                  <a:gd name="connsiteX156" fmla="*/ 1909763 w 8801100"/>
                  <a:gd name="connsiteY156" fmla="*/ 3131344 h 4410075"/>
                  <a:gd name="connsiteX157" fmla="*/ 1945482 w 8801100"/>
                  <a:gd name="connsiteY157" fmla="*/ 3155156 h 4410075"/>
                  <a:gd name="connsiteX158" fmla="*/ 1916906 w 8801100"/>
                  <a:gd name="connsiteY158" fmla="*/ 3195638 h 4410075"/>
                  <a:gd name="connsiteX159" fmla="*/ 1924050 w 8801100"/>
                  <a:gd name="connsiteY159" fmla="*/ 3248025 h 4410075"/>
                  <a:gd name="connsiteX160" fmla="*/ 1976438 w 8801100"/>
                  <a:gd name="connsiteY160" fmla="*/ 3274219 h 4410075"/>
                  <a:gd name="connsiteX161" fmla="*/ 2038350 w 8801100"/>
                  <a:gd name="connsiteY161" fmla="*/ 3498057 h 4410075"/>
                  <a:gd name="connsiteX162" fmla="*/ 2028825 w 8801100"/>
                  <a:gd name="connsiteY162" fmla="*/ 3562350 h 4410075"/>
                  <a:gd name="connsiteX163" fmla="*/ 2164556 w 8801100"/>
                  <a:gd name="connsiteY163" fmla="*/ 3729038 h 4410075"/>
                  <a:gd name="connsiteX164" fmla="*/ 2183606 w 8801100"/>
                  <a:gd name="connsiteY164" fmla="*/ 3779044 h 4410075"/>
                  <a:gd name="connsiteX165" fmla="*/ 2157413 w 8801100"/>
                  <a:gd name="connsiteY165" fmla="*/ 3798094 h 4410075"/>
                  <a:gd name="connsiteX166" fmla="*/ 2259806 w 8801100"/>
                  <a:gd name="connsiteY166" fmla="*/ 3807619 h 4410075"/>
                  <a:gd name="connsiteX167" fmla="*/ 2371725 w 8801100"/>
                  <a:gd name="connsiteY167" fmla="*/ 3795713 h 4410075"/>
                  <a:gd name="connsiteX168" fmla="*/ 2650331 w 8801100"/>
                  <a:gd name="connsiteY168" fmla="*/ 3879056 h 4410075"/>
                  <a:gd name="connsiteX169" fmla="*/ 3057525 w 8801100"/>
                  <a:gd name="connsiteY169" fmla="*/ 3960019 h 4410075"/>
                  <a:gd name="connsiteX170" fmla="*/ 3255169 w 8801100"/>
                  <a:gd name="connsiteY170" fmla="*/ 3929062 h 4410075"/>
                  <a:gd name="connsiteX171" fmla="*/ 3300413 w 8801100"/>
                  <a:gd name="connsiteY171" fmla="*/ 3940968 h 4410075"/>
                  <a:gd name="connsiteX172" fmla="*/ 3355181 w 8801100"/>
                  <a:gd name="connsiteY172" fmla="*/ 3917157 h 4410075"/>
                  <a:gd name="connsiteX173" fmla="*/ 3748087 w 8801100"/>
                  <a:gd name="connsiteY173" fmla="*/ 4007644 h 4410075"/>
                  <a:gd name="connsiteX174" fmla="*/ 3831432 w 8801100"/>
                  <a:gd name="connsiteY174" fmla="*/ 4105275 h 4410075"/>
                  <a:gd name="connsiteX175" fmla="*/ 3950494 w 8801100"/>
                  <a:gd name="connsiteY175" fmla="*/ 4176713 h 4410075"/>
                  <a:gd name="connsiteX176" fmla="*/ 4010025 w 8801100"/>
                  <a:gd name="connsiteY176" fmla="*/ 4160044 h 4410075"/>
                  <a:gd name="connsiteX177" fmla="*/ 4360068 w 8801100"/>
                  <a:gd name="connsiteY177" fmla="*/ 4333875 h 4410075"/>
                  <a:gd name="connsiteX178" fmla="*/ 4586288 w 8801100"/>
                  <a:gd name="connsiteY178" fmla="*/ 4305300 h 4410075"/>
                  <a:gd name="connsiteX179" fmla="*/ 4595813 w 8801100"/>
                  <a:gd name="connsiteY179" fmla="*/ 4383881 h 4410075"/>
                  <a:gd name="connsiteX180" fmla="*/ 4681538 w 8801100"/>
                  <a:gd name="connsiteY180" fmla="*/ 4379118 h 4410075"/>
                  <a:gd name="connsiteX181" fmla="*/ 4760119 w 8801100"/>
                  <a:gd name="connsiteY181" fmla="*/ 4410075 h 4410075"/>
                  <a:gd name="connsiteX182" fmla="*/ 4802981 w 8801100"/>
                  <a:gd name="connsiteY182" fmla="*/ 4350544 h 4410075"/>
                  <a:gd name="connsiteX183" fmla="*/ 5474494 w 8801100"/>
                  <a:gd name="connsiteY183" fmla="*/ 4031456 h 4410075"/>
                  <a:gd name="connsiteX184" fmla="*/ 5562600 w 8801100"/>
                  <a:gd name="connsiteY184" fmla="*/ 4060032 h 4410075"/>
                  <a:gd name="connsiteX185" fmla="*/ 5693569 w 8801100"/>
                  <a:gd name="connsiteY185" fmla="*/ 4031456 h 4410075"/>
                  <a:gd name="connsiteX186" fmla="*/ 5872162 w 8801100"/>
                  <a:gd name="connsiteY186" fmla="*/ 4048125 h 4410075"/>
                  <a:gd name="connsiteX187" fmla="*/ 5929313 w 8801100"/>
                  <a:gd name="connsiteY187" fmla="*/ 4021932 h 4410075"/>
                  <a:gd name="connsiteX188" fmla="*/ 6062662 w 8801100"/>
                  <a:gd name="connsiteY188" fmla="*/ 4019550 h 4410075"/>
                  <a:gd name="connsiteX189" fmla="*/ 6196012 w 8801100"/>
                  <a:gd name="connsiteY189" fmla="*/ 3921919 h 4410075"/>
                  <a:gd name="connsiteX190" fmla="*/ 6262687 w 8801100"/>
                  <a:gd name="connsiteY190" fmla="*/ 3914775 h 4410075"/>
                  <a:gd name="connsiteX191" fmla="*/ 6360319 w 8801100"/>
                  <a:gd name="connsiteY191" fmla="*/ 3840956 h 4410075"/>
                  <a:gd name="connsiteX192" fmla="*/ 6434138 w 8801100"/>
                  <a:gd name="connsiteY192" fmla="*/ 3771900 h 4410075"/>
                  <a:gd name="connsiteX193" fmla="*/ 6443663 w 8801100"/>
                  <a:gd name="connsiteY193" fmla="*/ 3709988 h 4410075"/>
                  <a:gd name="connsiteX194" fmla="*/ 6477000 w 8801100"/>
                  <a:gd name="connsiteY194" fmla="*/ 3640931 h 4410075"/>
                  <a:gd name="connsiteX195" fmla="*/ 6629400 w 8801100"/>
                  <a:gd name="connsiteY195" fmla="*/ 3533775 h 4410075"/>
                  <a:gd name="connsiteX196" fmla="*/ 6662738 w 8801100"/>
                  <a:gd name="connsiteY196" fmla="*/ 3538538 h 4410075"/>
                  <a:gd name="connsiteX197" fmla="*/ 6715125 w 8801100"/>
                  <a:gd name="connsiteY197" fmla="*/ 3459956 h 4410075"/>
                  <a:gd name="connsiteX198" fmla="*/ 6762750 w 8801100"/>
                  <a:gd name="connsiteY198" fmla="*/ 3421856 h 4410075"/>
                  <a:gd name="connsiteX199" fmla="*/ 6748463 w 8801100"/>
                  <a:gd name="connsiteY199" fmla="*/ 3352800 h 4410075"/>
                  <a:gd name="connsiteX200" fmla="*/ 6698456 w 8801100"/>
                  <a:gd name="connsiteY200" fmla="*/ 3321843 h 4410075"/>
                  <a:gd name="connsiteX201" fmla="*/ 6638925 w 8801100"/>
                  <a:gd name="connsiteY201" fmla="*/ 3267075 h 4410075"/>
                  <a:gd name="connsiteX202" fmla="*/ 6619875 w 8801100"/>
                  <a:gd name="connsiteY202" fmla="*/ 3209925 h 4410075"/>
                  <a:gd name="connsiteX203" fmla="*/ 6584156 w 8801100"/>
                  <a:gd name="connsiteY203" fmla="*/ 3176588 h 4410075"/>
                  <a:gd name="connsiteX204" fmla="*/ 6610350 w 8801100"/>
                  <a:gd name="connsiteY204" fmla="*/ 3124200 h 4410075"/>
                  <a:gd name="connsiteX205" fmla="*/ 6650831 w 8801100"/>
                  <a:gd name="connsiteY205" fmla="*/ 2945606 h 4410075"/>
                  <a:gd name="connsiteX206" fmla="*/ 6691313 w 8801100"/>
                  <a:gd name="connsiteY206" fmla="*/ 2878931 h 4410075"/>
                  <a:gd name="connsiteX207" fmla="*/ 6836569 w 8801100"/>
                  <a:gd name="connsiteY207" fmla="*/ 2862262 h 4410075"/>
                  <a:gd name="connsiteX208" fmla="*/ 6905625 w 8801100"/>
                  <a:gd name="connsiteY208" fmla="*/ 2919413 h 4410075"/>
                  <a:gd name="connsiteX209" fmla="*/ 6981825 w 8801100"/>
                  <a:gd name="connsiteY209" fmla="*/ 2943225 h 4410075"/>
                  <a:gd name="connsiteX210" fmla="*/ 7186612 w 8801100"/>
                  <a:gd name="connsiteY210" fmla="*/ 2947988 h 4410075"/>
                  <a:gd name="connsiteX211" fmla="*/ 7362825 w 8801100"/>
                  <a:gd name="connsiteY211" fmla="*/ 2809875 h 4410075"/>
                  <a:gd name="connsiteX212" fmla="*/ 7419975 w 8801100"/>
                  <a:gd name="connsiteY212" fmla="*/ 2719387 h 4410075"/>
                  <a:gd name="connsiteX213" fmla="*/ 7446169 w 8801100"/>
                  <a:gd name="connsiteY213" fmla="*/ 2636044 h 4410075"/>
                  <a:gd name="connsiteX214" fmla="*/ 7577137 w 8801100"/>
                  <a:gd name="connsiteY214" fmla="*/ 2636044 h 4410075"/>
                  <a:gd name="connsiteX215" fmla="*/ 7750969 w 8801100"/>
                  <a:gd name="connsiteY215" fmla="*/ 2578893 h 4410075"/>
                  <a:gd name="connsiteX216" fmla="*/ 7810500 w 8801100"/>
                  <a:gd name="connsiteY216" fmla="*/ 2466975 h 4410075"/>
                  <a:gd name="connsiteX217" fmla="*/ 7874794 w 8801100"/>
                  <a:gd name="connsiteY217" fmla="*/ 2431256 h 4410075"/>
                  <a:gd name="connsiteX218" fmla="*/ 7853363 w 8801100"/>
                  <a:gd name="connsiteY218" fmla="*/ 2386013 h 4410075"/>
                  <a:gd name="connsiteX219" fmla="*/ 7931944 w 8801100"/>
                  <a:gd name="connsiteY219" fmla="*/ 2216943 h 4410075"/>
                  <a:gd name="connsiteX220" fmla="*/ 7986713 w 8801100"/>
                  <a:gd name="connsiteY220" fmla="*/ 2157413 h 4410075"/>
                  <a:gd name="connsiteX221" fmla="*/ 8024813 w 8801100"/>
                  <a:gd name="connsiteY221" fmla="*/ 2152650 h 4410075"/>
                  <a:gd name="connsiteX222" fmla="*/ 8070056 w 8801100"/>
                  <a:gd name="connsiteY222" fmla="*/ 2157413 h 4410075"/>
                  <a:gd name="connsiteX223" fmla="*/ 8134350 w 8801100"/>
                  <a:gd name="connsiteY223" fmla="*/ 2124075 h 4410075"/>
                  <a:gd name="connsiteX224" fmla="*/ 8143875 w 8801100"/>
                  <a:gd name="connsiteY224" fmla="*/ 2059781 h 4410075"/>
                  <a:gd name="connsiteX225" fmla="*/ 8184355 w 8801100"/>
                  <a:gd name="connsiteY225" fmla="*/ 2024063 h 4410075"/>
                  <a:gd name="connsiteX226" fmla="*/ 8243888 w 8801100"/>
                  <a:gd name="connsiteY226" fmla="*/ 2064543 h 4410075"/>
                  <a:gd name="connsiteX227" fmla="*/ 8270082 w 8801100"/>
                  <a:gd name="connsiteY227" fmla="*/ 2014537 h 4410075"/>
                  <a:gd name="connsiteX228" fmla="*/ 8365331 w 8801100"/>
                  <a:gd name="connsiteY228" fmla="*/ 1945481 h 4410075"/>
                  <a:gd name="connsiteX229" fmla="*/ 8427244 w 8801100"/>
                  <a:gd name="connsiteY229" fmla="*/ 1952625 h 4410075"/>
                  <a:gd name="connsiteX230" fmla="*/ 8477250 w 8801100"/>
                  <a:gd name="connsiteY230" fmla="*/ 1933575 h 4410075"/>
                  <a:gd name="connsiteX231" fmla="*/ 8515350 w 8801100"/>
                  <a:gd name="connsiteY231" fmla="*/ 1905000 h 4410075"/>
                  <a:gd name="connsiteX232" fmla="*/ 8548688 w 8801100"/>
                  <a:gd name="connsiteY232" fmla="*/ 1902619 h 4410075"/>
                  <a:gd name="connsiteX233" fmla="*/ 8584406 w 8801100"/>
                  <a:gd name="connsiteY233" fmla="*/ 1933575 h 4410075"/>
                  <a:gd name="connsiteX234" fmla="*/ 8643938 w 8801100"/>
                  <a:gd name="connsiteY234" fmla="*/ 1933575 h 4410075"/>
                  <a:gd name="connsiteX235" fmla="*/ 8682037 w 8801100"/>
                  <a:gd name="connsiteY235" fmla="*/ 1914525 h 4410075"/>
                  <a:gd name="connsiteX236" fmla="*/ 8765381 w 8801100"/>
                  <a:gd name="connsiteY236" fmla="*/ 1916907 h 4410075"/>
                  <a:gd name="connsiteX237" fmla="*/ 8796338 w 8801100"/>
                  <a:gd name="connsiteY237" fmla="*/ 1871663 h 4410075"/>
                  <a:gd name="connsiteX238" fmla="*/ 8801100 w 8801100"/>
                  <a:gd name="connsiteY238" fmla="*/ 1809750 h 4410075"/>
                  <a:gd name="connsiteX239" fmla="*/ 8751093 w 8801100"/>
                  <a:gd name="connsiteY239" fmla="*/ 1769269 h 4410075"/>
                  <a:gd name="connsiteX240" fmla="*/ 8734425 w 8801100"/>
                  <a:gd name="connsiteY240" fmla="*/ 1714500 h 4410075"/>
                  <a:gd name="connsiteX241" fmla="*/ 8643938 w 8801100"/>
                  <a:gd name="connsiteY241" fmla="*/ 1652588 h 4410075"/>
                  <a:gd name="connsiteX242" fmla="*/ 8603456 w 8801100"/>
                  <a:gd name="connsiteY242" fmla="*/ 1631156 h 4410075"/>
                  <a:gd name="connsiteX243" fmla="*/ 8565356 w 8801100"/>
                  <a:gd name="connsiteY243" fmla="*/ 1585913 h 4410075"/>
                  <a:gd name="connsiteX244" fmla="*/ 8534400 w 8801100"/>
                  <a:gd name="connsiteY244" fmla="*/ 1583531 h 4410075"/>
                  <a:gd name="connsiteX245" fmla="*/ 8517731 w 8801100"/>
                  <a:gd name="connsiteY245" fmla="*/ 1531144 h 4410075"/>
                  <a:gd name="connsiteX246" fmla="*/ 8477250 w 8801100"/>
                  <a:gd name="connsiteY246" fmla="*/ 1514475 h 4410075"/>
                  <a:gd name="connsiteX247" fmla="*/ 8477250 w 8801100"/>
                  <a:gd name="connsiteY247" fmla="*/ 1514475 h 4410075"/>
                  <a:gd name="connsiteX248" fmla="*/ 8436769 w 8801100"/>
                  <a:gd name="connsiteY248" fmla="*/ 1519238 h 4410075"/>
                  <a:gd name="connsiteX249" fmla="*/ 8351043 w 8801100"/>
                  <a:gd name="connsiteY249" fmla="*/ 1445419 h 4410075"/>
                  <a:gd name="connsiteX250" fmla="*/ 8170069 w 8801100"/>
                  <a:gd name="connsiteY250" fmla="*/ 1445418 h 4410075"/>
                  <a:gd name="connsiteX251" fmla="*/ 8117681 w 8801100"/>
                  <a:gd name="connsiteY251" fmla="*/ 1483519 h 4410075"/>
                  <a:gd name="connsiteX252" fmla="*/ 8067675 w 8801100"/>
                  <a:gd name="connsiteY252" fmla="*/ 1562100 h 4410075"/>
                  <a:gd name="connsiteX253" fmla="*/ 8084344 w 8801100"/>
                  <a:gd name="connsiteY253" fmla="*/ 1583531 h 4410075"/>
                  <a:gd name="connsiteX254" fmla="*/ 8039100 w 8801100"/>
                  <a:gd name="connsiteY254" fmla="*/ 1633537 h 4410075"/>
                  <a:gd name="connsiteX255" fmla="*/ 7889081 w 8801100"/>
                  <a:gd name="connsiteY255" fmla="*/ 1557337 h 4410075"/>
                  <a:gd name="connsiteX256" fmla="*/ 7798594 w 8801100"/>
                  <a:gd name="connsiteY256" fmla="*/ 1593056 h 4410075"/>
                  <a:gd name="connsiteX257" fmla="*/ 7724775 w 8801100"/>
                  <a:gd name="connsiteY257" fmla="*/ 1590675 h 4410075"/>
                  <a:gd name="connsiteX258" fmla="*/ 7667625 w 8801100"/>
                  <a:gd name="connsiteY258" fmla="*/ 1685925 h 4410075"/>
                  <a:gd name="connsiteX259" fmla="*/ 7529513 w 8801100"/>
                  <a:gd name="connsiteY259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035844 w 8801100"/>
                  <a:gd name="connsiteY148" fmla="*/ 2667000 h 4410075"/>
                  <a:gd name="connsiteX149" fmla="*/ 1114425 w 8801100"/>
                  <a:gd name="connsiteY149" fmla="*/ 2721769 h 4410075"/>
                  <a:gd name="connsiteX150" fmla="*/ 1245393 w 8801100"/>
                  <a:gd name="connsiteY150" fmla="*/ 2724150 h 4410075"/>
                  <a:gd name="connsiteX151" fmla="*/ 1435893 w 8801100"/>
                  <a:gd name="connsiteY151" fmla="*/ 2793206 h 4410075"/>
                  <a:gd name="connsiteX152" fmla="*/ 1638300 w 8801100"/>
                  <a:gd name="connsiteY152" fmla="*/ 2943225 h 4410075"/>
                  <a:gd name="connsiteX153" fmla="*/ 1671637 w 8801100"/>
                  <a:gd name="connsiteY153" fmla="*/ 3009900 h 4410075"/>
                  <a:gd name="connsiteX154" fmla="*/ 1838325 w 8801100"/>
                  <a:gd name="connsiteY154" fmla="*/ 3136106 h 4410075"/>
                  <a:gd name="connsiteX155" fmla="*/ 1909763 w 8801100"/>
                  <a:gd name="connsiteY155" fmla="*/ 3131344 h 4410075"/>
                  <a:gd name="connsiteX156" fmla="*/ 1945482 w 8801100"/>
                  <a:gd name="connsiteY156" fmla="*/ 3155156 h 4410075"/>
                  <a:gd name="connsiteX157" fmla="*/ 1916906 w 8801100"/>
                  <a:gd name="connsiteY157" fmla="*/ 3195638 h 4410075"/>
                  <a:gd name="connsiteX158" fmla="*/ 1924050 w 8801100"/>
                  <a:gd name="connsiteY158" fmla="*/ 3248025 h 4410075"/>
                  <a:gd name="connsiteX159" fmla="*/ 1976438 w 8801100"/>
                  <a:gd name="connsiteY159" fmla="*/ 3274219 h 4410075"/>
                  <a:gd name="connsiteX160" fmla="*/ 2038350 w 8801100"/>
                  <a:gd name="connsiteY160" fmla="*/ 3498057 h 4410075"/>
                  <a:gd name="connsiteX161" fmla="*/ 2028825 w 8801100"/>
                  <a:gd name="connsiteY161" fmla="*/ 3562350 h 4410075"/>
                  <a:gd name="connsiteX162" fmla="*/ 2164556 w 8801100"/>
                  <a:gd name="connsiteY162" fmla="*/ 3729038 h 4410075"/>
                  <a:gd name="connsiteX163" fmla="*/ 2183606 w 8801100"/>
                  <a:gd name="connsiteY163" fmla="*/ 3779044 h 4410075"/>
                  <a:gd name="connsiteX164" fmla="*/ 2157413 w 8801100"/>
                  <a:gd name="connsiteY164" fmla="*/ 3798094 h 4410075"/>
                  <a:gd name="connsiteX165" fmla="*/ 2259806 w 8801100"/>
                  <a:gd name="connsiteY165" fmla="*/ 3807619 h 4410075"/>
                  <a:gd name="connsiteX166" fmla="*/ 2371725 w 8801100"/>
                  <a:gd name="connsiteY166" fmla="*/ 3795713 h 4410075"/>
                  <a:gd name="connsiteX167" fmla="*/ 2650331 w 8801100"/>
                  <a:gd name="connsiteY167" fmla="*/ 3879056 h 4410075"/>
                  <a:gd name="connsiteX168" fmla="*/ 3057525 w 8801100"/>
                  <a:gd name="connsiteY168" fmla="*/ 3960019 h 4410075"/>
                  <a:gd name="connsiteX169" fmla="*/ 3255169 w 8801100"/>
                  <a:gd name="connsiteY169" fmla="*/ 3929062 h 4410075"/>
                  <a:gd name="connsiteX170" fmla="*/ 3300413 w 8801100"/>
                  <a:gd name="connsiteY170" fmla="*/ 3940968 h 4410075"/>
                  <a:gd name="connsiteX171" fmla="*/ 3355181 w 8801100"/>
                  <a:gd name="connsiteY171" fmla="*/ 3917157 h 4410075"/>
                  <a:gd name="connsiteX172" fmla="*/ 3748087 w 8801100"/>
                  <a:gd name="connsiteY172" fmla="*/ 4007644 h 4410075"/>
                  <a:gd name="connsiteX173" fmla="*/ 3831432 w 8801100"/>
                  <a:gd name="connsiteY173" fmla="*/ 4105275 h 4410075"/>
                  <a:gd name="connsiteX174" fmla="*/ 3950494 w 8801100"/>
                  <a:gd name="connsiteY174" fmla="*/ 4176713 h 4410075"/>
                  <a:gd name="connsiteX175" fmla="*/ 4010025 w 8801100"/>
                  <a:gd name="connsiteY175" fmla="*/ 4160044 h 4410075"/>
                  <a:gd name="connsiteX176" fmla="*/ 4360068 w 8801100"/>
                  <a:gd name="connsiteY176" fmla="*/ 4333875 h 4410075"/>
                  <a:gd name="connsiteX177" fmla="*/ 4586288 w 8801100"/>
                  <a:gd name="connsiteY177" fmla="*/ 4305300 h 4410075"/>
                  <a:gd name="connsiteX178" fmla="*/ 4595813 w 8801100"/>
                  <a:gd name="connsiteY178" fmla="*/ 4383881 h 4410075"/>
                  <a:gd name="connsiteX179" fmla="*/ 4681538 w 8801100"/>
                  <a:gd name="connsiteY179" fmla="*/ 4379118 h 4410075"/>
                  <a:gd name="connsiteX180" fmla="*/ 4760119 w 8801100"/>
                  <a:gd name="connsiteY180" fmla="*/ 4410075 h 4410075"/>
                  <a:gd name="connsiteX181" fmla="*/ 4802981 w 8801100"/>
                  <a:gd name="connsiteY181" fmla="*/ 4350544 h 4410075"/>
                  <a:gd name="connsiteX182" fmla="*/ 5474494 w 8801100"/>
                  <a:gd name="connsiteY182" fmla="*/ 4031456 h 4410075"/>
                  <a:gd name="connsiteX183" fmla="*/ 5562600 w 8801100"/>
                  <a:gd name="connsiteY183" fmla="*/ 4060032 h 4410075"/>
                  <a:gd name="connsiteX184" fmla="*/ 5693569 w 8801100"/>
                  <a:gd name="connsiteY184" fmla="*/ 4031456 h 4410075"/>
                  <a:gd name="connsiteX185" fmla="*/ 5872162 w 8801100"/>
                  <a:gd name="connsiteY185" fmla="*/ 4048125 h 4410075"/>
                  <a:gd name="connsiteX186" fmla="*/ 5929313 w 8801100"/>
                  <a:gd name="connsiteY186" fmla="*/ 4021932 h 4410075"/>
                  <a:gd name="connsiteX187" fmla="*/ 6062662 w 8801100"/>
                  <a:gd name="connsiteY187" fmla="*/ 4019550 h 4410075"/>
                  <a:gd name="connsiteX188" fmla="*/ 6196012 w 8801100"/>
                  <a:gd name="connsiteY188" fmla="*/ 3921919 h 4410075"/>
                  <a:gd name="connsiteX189" fmla="*/ 6262687 w 8801100"/>
                  <a:gd name="connsiteY189" fmla="*/ 3914775 h 4410075"/>
                  <a:gd name="connsiteX190" fmla="*/ 6360319 w 8801100"/>
                  <a:gd name="connsiteY190" fmla="*/ 3840956 h 4410075"/>
                  <a:gd name="connsiteX191" fmla="*/ 6434138 w 8801100"/>
                  <a:gd name="connsiteY191" fmla="*/ 3771900 h 4410075"/>
                  <a:gd name="connsiteX192" fmla="*/ 6443663 w 8801100"/>
                  <a:gd name="connsiteY192" fmla="*/ 3709988 h 4410075"/>
                  <a:gd name="connsiteX193" fmla="*/ 6477000 w 8801100"/>
                  <a:gd name="connsiteY193" fmla="*/ 3640931 h 4410075"/>
                  <a:gd name="connsiteX194" fmla="*/ 6629400 w 8801100"/>
                  <a:gd name="connsiteY194" fmla="*/ 3533775 h 4410075"/>
                  <a:gd name="connsiteX195" fmla="*/ 6662738 w 8801100"/>
                  <a:gd name="connsiteY195" fmla="*/ 3538538 h 4410075"/>
                  <a:gd name="connsiteX196" fmla="*/ 6715125 w 8801100"/>
                  <a:gd name="connsiteY196" fmla="*/ 3459956 h 4410075"/>
                  <a:gd name="connsiteX197" fmla="*/ 6762750 w 8801100"/>
                  <a:gd name="connsiteY197" fmla="*/ 3421856 h 4410075"/>
                  <a:gd name="connsiteX198" fmla="*/ 6748463 w 8801100"/>
                  <a:gd name="connsiteY198" fmla="*/ 3352800 h 4410075"/>
                  <a:gd name="connsiteX199" fmla="*/ 6698456 w 8801100"/>
                  <a:gd name="connsiteY199" fmla="*/ 3321843 h 4410075"/>
                  <a:gd name="connsiteX200" fmla="*/ 6638925 w 8801100"/>
                  <a:gd name="connsiteY200" fmla="*/ 3267075 h 4410075"/>
                  <a:gd name="connsiteX201" fmla="*/ 6619875 w 8801100"/>
                  <a:gd name="connsiteY201" fmla="*/ 3209925 h 4410075"/>
                  <a:gd name="connsiteX202" fmla="*/ 6584156 w 8801100"/>
                  <a:gd name="connsiteY202" fmla="*/ 3176588 h 4410075"/>
                  <a:gd name="connsiteX203" fmla="*/ 6610350 w 8801100"/>
                  <a:gd name="connsiteY203" fmla="*/ 3124200 h 4410075"/>
                  <a:gd name="connsiteX204" fmla="*/ 6650831 w 8801100"/>
                  <a:gd name="connsiteY204" fmla="*/ 2945606 h 4410075"/>
                  <a:gd name="connsiteX205" fmla="*/ 6691313 w 8801100"/>
                  <a:gd name="connsiteY205" fmla="*/ 2878931 h 4410075"/>
                  <a:gd name="connsiteX206" fmla="*/ 6836569 w 8801100"/>
                  <a:gd name="connsiteY206" fmla="*/ 2862262 h 4410075"/>
                  <a:gd name="connsiteX207" fmla="*/ 6905625 w 8801100"/>
                  <a:gd name="connsiteY207" fmla="*/ 2919413 h 4410075"/>
                  <a:gd name="connsiteX208" fmla="*/ 6981825 w 8801100"/>
                  <a:gd name="connsiteY208" fmla="*/ 2943225 h 4410075"/>
                  <a:gd name="connsiteX209" fmla="*/ 7186612 w 8801100"/>
                  <a:gd name="connsiteY209" fmla="*/ 2947988 h 4410075"/>
                  <a:gd name="connsiteX210" fmla="*/ 7362825 w 8801100"/>
                  <a:gd name="connsiteY210" fmla="*/ 2809875 h 4410075"/>
                  <a:gd name="connsiteX211" fmla="*/ 7419975 w 8801100"/>
                  <a:gd name="connsiteY211" fmla="*/ 2719387 h 4410075"/>
                  <a:gd name="connsiteX212" fmla="*/ 7446169 w 8801100"/>
                  <a:gd name="connsiteY212" fmla="*/ 2636044 h 4410075"/>
                  <a:gd name="connsiteX213" fmla="*/ 7577137 w 8801100"/>
                  <a:gd name="connsiteY213" fmla="*/ 2636044 h 4410075"/>
                  <a:gd name="connsiteX214" fmla="*/ 7750969 w 8801100"/>
                  <a:gd name="connsiteY214" fmla="*/ 2578893 h 4410075"/>
                  <a:gd name="connsiteX215" fmla="*/ 7810500 w 8801100"/>
                  <a:gd name="connsiteY215" fmla="*/ 2466975 h 4410075"/>
                  <a:gd name="connsiteX216" fmla="*/ 7874794 w 8801100"/>
                  <a:gd name="connsiteY216" fmla="*/ 2431256 h 4410075"/>
                  <a:gd name="connsiteX217" fmla="*/ 7853363 w 8801100"/>
                  <a:gd name="connsiteY217" fmla="*/ 2386013 h 4410075"/>
                  <a:gd name="connsiteX218" fmla="*/ 7931944 w 8801100"/>
                  <a:gd name="connsiteY218" fmla="*/ 2216943 h 4410075"/>
                  <a:gd name="connsiteX219" fmla="*/ 7986713 w 8801100"/>
                  <a:gd name="connsiteY219" fmla="*/ 2157413 h 4410075"/>
                  <a:gd name="connsiteX220" fmla="*/ 8024813 w 8801100"/>
                  <a:gd name="connsiteY220" fmla="*/ 2152650 h 4410075"/>
                  <a:gd name="connsiteX221" fmla="*/ 8070056 w 8801100"/>
                  <a:gd name="connsiteY221" fmla="*/ 2157413 h 4410075"/>
                  <a:gd name="connsiteX222" fmla="*/ 8134350 w 8801100"/>
                  <a:gd name="connsiteY222" fmla="*/ 2124075 h 4410075"/>
                  <a:gd name="connsiteX223" fmla="*/ 8143875 w 8801100"/>
                  <a:gd name="connsiteY223" fmla="*/ 2059781 h 4410075"/>
                  <a:gd name="connsiteX224" fmla="*/ 8184355 w 8801100"/>
                  <a:gd name="connsiteY224" fmla="*/ 2024063 h 4410075"/>
                  <a:gd name="connsiteX225" fmla="*/ 8243888 w 8801100"/>
                  <a:gd name="connsiteY225" fmla="*/ 2064543 h 4410075"/>
                  <a:gd name="connsiteX226" fmla="*/ 8270082 w 8801100"/>
                  <a:gd name="connsiteY226" fmla="*/ 2014537 h 4410075"/>
                  <a:gd name="connsiteX227" fmla="*/ 8365331 w 8801100"/>
                  <a:gd name="connsiteY227" fmla="*/ 1945481 h 4410075"/>
                  <a:gd name="connsiteX228" fmla="*/ 8427244 w 8801100"/>
                  <a:gd name="connsiteY228" fmla="*/ 1952625 h 4410075"/>
                  <a:gd name="connsiteX229" fmla="*/ 8477250 w 8801100"/>
                  <a:gd name="connsiteY229" fmla="*/ 1933575 h 4410075"/>
                  <a:gd name="connsiteX230" fmla="*/ 8515350 w 8801100"/>
                  <a:gd name="connsiteY230" fmla="*/ 1905000 h 4410075"/>
                  <a:gd name="connsiteX231" fmla="*/ 8548688 w 8801100"/>
                  <a:gd name="connsiteY231" fmla="*/ 1902619 h 4410075"/>
                  <a:gd name="connsiteX232" fmla="*/ 8584406 w 8801100"/>
                  <a:gd name="connsiteY232" fmla="*/ 1933575 h 4410075"/>
                  <a:gd name="connsiteX233" fmla="*/ 8643938 w 8801100"/>
                  <a:gd name="connsiteY233" fmla="*/ 1933575 h 4410075"/>
                  <a:gd name="connsiteX234" fmla="*/ 8682037 w 8801100"/>
                  <a:gd name="connsiteY234" fmla="*/ 1914525 h 4410075"/>
                  <a:gd name="connsiteX235" fmla="*/ 8765381 w 8801100"/>
                  <a:gd name="connsiteY235" fmla="*/ 1916907 h 4410075"/>
                  <a:gd name="connsiteX236" fmla="*/ 8796338 w 8801100"/>
                  <a:gd name="connsiteY236" fmla="*/ 1871663 h 4410075"/>
                  <a:gd name="connsiteX237" fmla="*/ 8801100 w 8801100"/>
                  <a:gd name="connsiteY237" fmla="*/ 1809750 h 4410075"/>
                  <a:gd name="connsiteX238" fmla="*/ 8751093 w 8801100"/>
                  <a:gd name="connsiteY238" fmla="*/ 1769269 h 4410075"/>
                  <a:gd name="connsiteX239" fmla="*/ 8734425 w 8801100"/>
                  <a:gd name="connsiteY239" fmla="*/ 1714500 h 4410075"/>
                  <a:gd name="connsiteX240" fmla="*/ 8643938 w 8801100"/>
                  <a:gd name="connsiteY240" fmla="*/ 1652588 h 4410075"/>
                  <a:gd name="connsiteX241" fmla="*/ 8603456 w 8801100"/>
                  <a:gd name="connsiteY241" fmla="*/ 1631156 h 4410075"/>
                  <a:gd name="connsiteX242" fmla="*/ 8565356 w 8801100"/>
                  <a:gd name="connsiteY242" fmla="*/ 1585913 h 4410075"/>
                  <a:gd name="connsiteX243" fmla="*/ 8534400 w 8801100"/>
                  <a:gd name="connsiteY243" fmla="*/ 1583531 h 4410075"/>
                  <a:gd name="connsiteX244" fmla="*/ 8517731 w 8801100"/>
                  <a:gd name="connsiteY244" fmla="*/ 1531144 h 4410075"/>
                  <a:gd name="connsiteX245" fmla="*/ 8477250 w 8801100"/>
                  <a:gd name="connsiteY245" fmla="*/ 1514475 h 4410075"/>
                  <a:gd name="connsiteX246" fmla="*/ 8477250 w 8801100"/>
                  <a:gd name="connsiteY246" fmla="*/ 1514475 h 4410075"/>
                  <a:gd name="connsiteX247" fmla="*/ 8436769 w 8801100"/>
                  <a:gd name="connsiteY247" fmla="*/ 1519238 h 4410075"/>
                  <a:gd name="connsiteX248" fmla="*/ 8351043 w 8801100"/>
                  <a:gd name="connsiteY248" fmla="*/ 1445419 h 4410075"/>
                  <a:gd name="connsiteX249" fmla="*/ 8170069 w 8801100"/>
                  <a:gd name="connsiteY249" fmla="*/ 1445418 h 4410075"/>
                  <a:gd name="connsiteX250" fmla="*/ 8117681 w 8801100"/>
                  <a:gd name="connsiteY250" fmla="*/ 1483519 h 4410075"/>
                  <a:gd name="connsiteX251" fmla="*/ 8067675 w 8801100"/>
                  <a:gd name="connsiteY251" fmla="*/ 1562100 h 4410075"/>
                  <a:gd name="connsiteX252" fmla="*/ 8084344 w 8801100"/>
                  <a:gd name="connsiteY252" fmla="*/ 1583531 h 4410075"/>
                  <a:gd name="connsiteX253" fmla="*/ 8039100 w 8801100"/>
                  <a:gd name="connsiteY253" fmla="*/ 1633537 h 4410075"/>
                  <a:gd name="connsiteX254" fmla="*/ 7889081 w 8801100"/>
                  <a:gd name="connsiteY254" fmla="*/ 1557337 h 4410075"/>
                  <a:gd name="connsiteX255" fmla="*/ 7798594 w 8801100"/>
                  <a:gd name="connsiteY255" fmla="*/ 1593056 h 4410075"/>
                  <a:gd name="connsiteX256" fmla="*/ 7724775 w 8801100"/>
                  <a:gd name="connsiteY256" fmla="*/ 1590675 h 4410075"/>
                  <a:gd name="connsiteX257" fmla="*/ 7667625 w 8801100"/>
                  <a:gd name="connsiteY257" fmla="*/ 1685925 h 4410075"/>
                  <a:gd name="connsiteX258" fmla="*/ 7529513 w 8801100"/>
                  <a:gd name="connsiteY258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114425 w 8801100"/>
                  <a:gd name="connsiteY148" fmla="*/ 2721769 h 4410075"/>
                  <a:gd name="connsiteX149" fmla="*/ 1245393 w 8801100"/>
                  <a:gd name="connsiteY149" fmla="*/ 2724150 h 4410075"/>
                  <a:gd name="connsiteX150" fmla="*/ 1435893 w 8801100"/>
                  <a:gd name="connsiteY150" fmla="*/ 2793206 h 4410075"/>
                  <a:gd name="connsiteX151" fmla="*/ 1638300 w 8801100"/>
                  <a:gd name="connsiteY151" fmla="*/ 2943225 h 4410075"/>
                  <a:gd name="connsiteX152" fmla="*/ 1671637 w 8801100"/>
                  <a:gd name="connsiteY152" fmla="*/ 3009900 h 4410075"/>
                  <a:gd name="connsiteX153" fmla="*/ 1838325 w 8801100"/>
                  <a:gd name="connsiteY153" fmla="*/ 3136106 h 4410075"/>
                  <a:gd name="connsiteX154" fmla="*/ 1909763 w 8801100"/>
                  <a:gd name="connsiteY154" fmla="*/ 3131344 h 4410075"/>
                  <a:gd name="connsiteX155" fmla="*/ 1945482 w 8801100"/>
                  <a:gd name="connsiteY155" fmla="*/ 3155156 h 4410075"/>
                  <a:gd name="connsiteX156" fmla="*/ 1916906 w 8801100"/>
                  <a:gd name="connsiteY156" fmla="*/ 3195638 h 4410075"/>
                  <a:gd name="connsiteX157" fmla="*/ 1924050 w 8801100"/>
                  <a:gd name="connsiteY157" fmla="*/ 3248025 h 4410075"/>
                  <a:gd name="connsiteX158" fmla="*/ 1976438 w 8801100"/>
                  <a:gd name="connsiteY158" fmla="*/ 3274219 h 4410075"/>
                  <a:gd name="connsiteX159" fmla="*/ 2038350 w 8801100"/>
                  <a:gd name="connsiteY159" fmla="*/ 3498057 h 4410075"/>
                  <a:gd name="connsiteX160" fmla="*/ 2028825 w 8801100"/>
                  <a:gd name="connsiteY160" fmla="*/ 3562350 h 4410075"/>
                  <a:gd name="connsiteX161" fmla="*/ 2164556 w 8801100"/>
                  <a:gd name="connsiteY161" fmla="*/ 3729038 h 4410075"/>
                  <a:gd name="connsiteX162" fmla="*/ 2183606 w 8801100"/>
                  <a:gd name="connsiteY162" fmla="*/ 3779044 h 4410075"/>
                  <a:gd name="connsiteX163" fmla="*/ 2157413 w 8801100"/>
                  <a:gd name="connsiteY163" fmla="*/ 3798094 h 4410075"/>
                  <a:gd name="connsiteX164" fmla="*/ 2259806 w 8801100"/>
                  <a:gd name="connsiteY164" fmla="*/ 3807619 h 4410075"/>
                  <a:gd name="connsiteX165" fmla="*/ 2371725 w 8801100"/>
                  <a:gd name="connsiteY165" fmla="*/ 3795713 h 4410075"/>
                  <a:gd name="connsiteX166" fmla="*/ 2650331 w 8801100"/>
                  <a:gd name="connsiteY166" fmla="*/ 3879056 h 4410075"/>
                  <a:gd name="connsiteX167" fmla="*/ 3057525 w 8801100"/>
                  <a:gd name="connsiteY167" fmla="*/ 3960019 h 4410075"/>
                  <a:gd name="connsiteX168" fmla="*/ 3255169 w 8801100"/>
                  <a:gd name="connsiteY168" fmla="*/ 3929062 h 4410075"/>
                  <a:gd name="connsiteX169" fmla="*/ 3300413 w 8801100"/>
                  <a:gd name="connsiteY169" fmla="*/ 3940968 h 4410075"/>
                  <a:gd name="connsiteX170" fmla="*/ 3355181 w 8801100"/>
                  <a:gd name="connsiteY170" fmla="*/ 3917157 h 4410075"/>
                  <a:gd name="connsiteX171" fmla="*/ 3748087 w 8801100"/>
                  <a:gd name="connsiteY171" fmla="*/ 4007644 h 4410075"/>
                  <a:gd name="connsiteX172" fmla="*/ 3831432 w 8801100"/>
                  <a:gd name="connsiteY172" fmla="*/ 4105275 h 4410075"/>
                  <a:gd name="connsiteX173" fmla="*/ 3950494 w 8801100"/>
                  <a:gd name="connsiteY173" fmla="*/ 4176713 h 4410075"/>
                  <a:gd name="connsiteX174" fmla="*/ 4010025 w 8801100"/>
                  <a:gd name="connsiteY174" fmla="*/ 4160044 h 4410075"/>
                  <a:gd name="connsiteX175" fmla="*/ 4360068 w 8801100"/>
                  <a:gd name="connsiteY175" fmla="*/ 4333875 h 4410075"/>
                  <a:gd name="connsiteX176" fmla="*/ 4586288 w 8801100"/>
                  <a:gd name="connsiteY176" fmla="*/ 4305300 h 4410075"/>
                  <a:gd name="connsiteX177" fmla="*/ 4595813 w 8801100"/>
                  <a:gd name="connsiteY177" fmla="*/ 4383881 h 4410075"/>
                  <a:gd name="connsiteX178" fmla="*/ 4681538 w 8801100"/>
                  <a:gd name="connsiteY178" fmla="*/ 4379118 h 4410075"/>
                  <a:gd name="connsiteX179" fmla="*/ 4760119 w 8801100"/>
                  <a:gd name="connsiteY179" fmla="*/ 4410075 h 4410075"/>
                  <a:gd name="connsiteX180" fmla="*/ 4802981 w 8801100"/>
                  <a:gd name="connsiteY180" fmla="*/ 4350544 h 4410075"/>
                  <a:gd name="connsiteX181" fmla="*/ 5474494 w 8801100"/>
                  <a:gd name="connsiteY181" fmla="*/ 4031456 h 4410075"/>
                  <a:gd name="connsiteX182" fmla="*/ 5562600 w 8801100"/>
                  <a:gd name="connsiteY182" fmla="*/ 4060032 h 4410075"/>
                  <a:gd name="connsiteX183" fmla="*/ 5693569 w 8801100"/>
                  <a:gd name="connsiteY183" fmla="*/ 4031456 h 4410075"/>
                  <a:gd name="connsiteX184" fmla="*/ 5872162 w 8801100"/>
                  <a:gd name="connsiteY184" fmla="*/ 4048125 h 4410075"/>
                  <a:gd name="connsiteX185" fmla="*/ 5929313 w 8801100"/>
                  <a:gd name="connsiteY185" fmla="*/ 4021932 h 4410075"/>
                  <a:gd name="connsiteX186" fmla="*/ 6062662 w 8801100"/>
                  <a:gd name="connsiteY186" fmla="*/ 4019550 h 4410075"/>
                  <a:gd name="connsiteX187" fmla="*/ 6196012 w 8801100"/>
                  <a:gd name="connsiteY187" fmla="*/ 3921919 h 4410075"/>
                  <a:gd name="connsiteX188" fmla="*/ 6262687 w 8801100"/>
                  <a:gd name="connsiteY188" fmla="*/ 3914775 h 4410075"/>
                  <a:gd name="connsiteX189" fmla="*/ 6360319 w 8801100"/>
                  <a:gd name="connsiteY189" fmla="*/ 3840956 h 4410075"/>
                  <a:gd name="connsiteX190" fmla="*/ 6434138 w 8801100"/>
                  <a:gd name="connsiteY190" fmla="*/ 3771900 h 4410075"/>
                  <a:gd name="connsiteX191" fmla="*/ 6443663 w 8801100"/>
                  <a:gd name="connsiteY191" fmla="*/ 3709988 h 4410075"/>
                  <a:gd name="connsiteX192" fmla="*/ 6477000 w 8801100"/>
                  <a:gd name="connsiteY192" fmla="*/ 3640931 h 4410075"/>
                  <a:gd name="connsiteX193" fmla="*/ 6629400 w 8801100"/>
                  <a:gd name="connsiteY193" fmla="*/ 3533775 h 4410075"/>
                  <a:gd name="connsiteX194" fmla="*/ 6662738 w 8801100"/>
                  <a:gd name="connsiteY194" fmla="*/ 3538538 h 4410075"/>
                  <a:gd name="connsiteX195" fmla="*/ 6715125 w 8801100"/>
                  <a:gd name="connsiteY195" fmla="*/ 3459956 h 4410075"/>
                  <a:gd name="connsiteX196" fmla="*/ 6762750 w 8801100"/>
                  <a:gd name="connsiteY196" fmla="*/ 3421856 h 4410075"/>
                  <a:gd name="connsiteX197" fmla="*/ 6748463 w 8801100"/>
                  <a:gd name="connsiteY197" fmla="*/ 3352800 h 4410075"/>
                  <a:gd name="connsiteX198" fmla="*/ 6698456 w 8801100"/>
                  <a:gd name="connsiteY198" fmla="*/ 3321843 h 4410075"/>
                  <a:gd name="connsiteX199" fmla="*/ 6638925 w 8801100"/>
                  <a:gd name="connsiteY199" fmla="*/ 3267075 h 4410075"/>
                  <a:gd name="connsiteX200" fmla="*/ 6619875 w 8801100"/>
                  <a:gd name="connsiteY200" fmla="*/ 3209925 h 4410075"/>
                  <a:gd name="connsiteX201" fmla="*/ 6584156 w 8801100"/>
                  <a:gd name="connsiteY201" fmla="*/ 3176588 h 4410075"/>
                  <a:gd name="connsiteX202" fmla="*/ 6610350 w 8801100"/>
                  <a:gd name="connsiteY202" fmla="*/ 3124200 h 4410075"/>
                  <a:gd name="connsiteX203" fmla="*/ 6650831 w 8801100"/>
                  <a:gd name="connsiteY203" fmla="*/ 2945606 h 4410075"/>
                  <a:gd name="connsiteX204" fmla="*/ 6691313 w 8801100"/>
                  <a:gd name="connsiteY204" fmla="*/ 2878931 h 4410075"/>
                  <a:gd name="connsiteX205" fmla="*/ 6836569 w 8801100"/>
                  <a:gd name="connsiteY205" fmla="*/ 2862262 h 4410075"/>
                  <a:gd name="connsiteX206" fmla="*/ 6905625 w 8801100"/>
                  <a:gd name="connsiteY206" fmla="*/ 2919413 h 4410075"/>
                  <a:gd name="connsiteX207" fmla="*/ 6981825 w 8801100"/>
                  <a:gd name="connsiteY207" fmla="*/ 2943225 h 4410075"/>
                  <a:gd name="connsiteX208" fmla="*/ 7186612 w 8801100"/>
                  <a:gd name="connsiteY208" fmla="*/ 2947988 h 4410075"/>
                  <a:gd name="connsiteX209" fmla="*/ 7362825 w 8801100"/>
                  <a:gd name="connsiteY209" fmla="*/ 2809875 h 4410075"/>
                  <a:gd name="connsiteX210" fmla="*/ 7419975 w 8801100"/>
                  <a:gd name="connsiteY210" fmla="*/ 2719387 h 4410075"/>
                  <a:gd name="connsiteX211" fmla="*/ 7446169 w 8801100"/>
                  <a:gd name="connsiteY211" fmla="*/ 2636044 h 4410075"/>
                  <a:gd name="connsiteX212" fmla="*/ 7577137 w 8801100"/>
                  <a:gd name="connsiteY212" fmla="*/ 2636044 h 4410075"/>
                  <a:gd name="connsiteX213" fmla="*/ 7750969 w 8801100"/>
                  <a:gd name="connsiteY213" fmla="*/ 2578893 h 4410075"/>
                  <a:gd name="connsiteX214" fmla="*/ 7810500 w 8801100"/>
                  <a:gd name="connsiteY214" fmla="*/ 2466975 h 4410075"/>
                  <a:gd name="connsiteX215" fmla="*/ 7874794 w 8801100"/>
                  <a:gd name="connsiteY215" fmla="*/ 2431256 h 4410075"/>
                  <a:gd name="connsiteX216" fmla="*/ 7853363 w 8801100"/>
                  <a:gd name="connsiteY216" fmla="*/ 2386013 h 4410075"/>
                  <a:gd name="connsiteX217" fmla="*/ 7931944 w 8801100"/>
                  <a:gd name="connsiteY217" fmla="*/ 2216943 h 4410075"/>
                  <a:gd name="connsiteX218" fmla="*/ 7986713 w 8801100"/>
                  <a:gd name="connsiteY218" fmla="*/ 2157413 h 4410075"/>
                  <a:gd name="connsiteX219" fmla="*/ 8024813 w 8801100"/>
                  <a:gd name="connsiteY219" fmla="*/ 2152650 h 4410075"/>
                  <a:gd name="connsiteX220" fmla="*/ 8070056 w 8801100"/>
                  <a:gd name="connsiteY220" fmla="*/ 2157413 h 4410075"/>
                  <a:gd name="connsiteX221" fmla="*/ 8134350 w 8801100"/>
                  <a:gd name="connsiteY221" fmla="*/ 2124075 h 4410075"/>
                  <a:gd name="connsiteX222" fmla="*/ 8143875 w 8801100"/>
                  <a:gd name="connsiteY222" fmla="*/ 2059781 h 4410075"/>
                  <a:gd name="connsiteX223" fmla="*/ 8184355 w 8801100"/>
                  <a:gd name="connsiteY223" fmla="*/ 2024063 h 4410075"/>
                  <a:gd name="connsiteX224" fmla="*/ 8243888 w 8801100"/>
                  <a:gd name="connsiteY224" fmla="*/ 2064543 h 4410075"/>
                  <a:gd name="connsiteX225" fmla="*/ 8270082 w 8801100"/>
                  <a:gd name="connsiteY225" fmla="*/ 2014537 h 4410075"/>
                  <a:gd name="connsiteX226" fmla="*/ 8365331 w 8801100"/>
                  <a:gd name="connsiteY226" fmla="*/ 1945481 h 4410075"/>
                  <a:gd name="connsiteX227" fmla="*/ 8427244 w 8801100"/>
                  <a:gd name="connsiteY227" fmla="*/ 1952625 h 4410075"/>
                  <a:gd name="connsiteX228" fmla="*/ 8477250 w 8801100"/>
                  <a:gd name="connsiteY228" fmla="*/ 1933575 h 4410075"/>
                  <a:gd name="connsiteX229" fmla="*/ 8515350 w 8801100"/>
                  <a:gd name="connsiteY229" fmla="*/ 1905000 h 4410075"/>
                  <a:gd name="connsiteX230" fmla="*/ 8548688 w 8801100"/>
                  <a:gd name="connsiteY230" fmla="*/ 1902619 h 4410075"/>
                  <a:gd name="connsiteX231" fmla="*/ 8584406 w 8801100"/>
                  <a:gd name="connsiteY231" fmla="*/ 1933575 h 4410075"/>
                  <a:gd name="connsiteX232" fmla="*/ 8643938 w 8801100"/>
                  <a:gd name="connsiteY232" fmla="*/ 1933575 h 4410075"/>
                  <a:gd name="connsiteX233" fmla="*/ 8682037 w 8801100"/>
                  <a:gd name="connsiteY233" fmla="*/ 1914525 h 4410075"/>
                  <a:gd name="connsiteX234" fmla="*/ 8765381 w 8801100"/>
                  <a:gd name="connsiteY234" fmla="*/ 1916907 h 4410075"/>
                  <a:gd name="connsiteX235" fmla="*/ 8796338 w 8801100"/>
                  <a:gd name="connsiteY235" fmla="*/ 1871663 h 4410075"/>
                  <a:gd name="connsiteX236" fmla="*/ 8801100 w 8801100"/>
                  <a:gd name="connsiteY236" fmla="*/ 1809750 h 4410075"/>
                  <a:gd name="connsiteX237" fmla="*/ 8751093 w 8801100"/>
                  <a:gd name="connsiteY237" fmla="*/ 1769269 h 4410075"/>
                  <a:gd name="connsiteX238" fmla="*/ 8734425 w 8801100"/>
                  <a:gd name="connsiteY238" fmla="*/ 1714500 h 4410075"/>
                  <a:gd name="connsiteX239" fmla="*/ 8643938 w 8801100"/>
                  <a:gd name="connsiteY239" fmla="*/ 1652588 h 4410075"/>
                  <a:gd name="connsiteX240" fmla="*/ 8603456 w 8801100"/>
                  <a:gd name="connsiteY240" fmla="*/ 1631156 h 4410075"/>
                  <a:gd name="connsiteX241" fmla="*/ 8565356 w 8801100"/>
                  <a:gd name="connsiteY241" fmla="*/ 1585913 h 4410075"/>
                  <a:gd name="connsiteX242" fmla="*/ 8534400 w 8801100"/>
                  <a:gd name="connsiteY242" fmla="*/ 1583531 h 4410075"/>
                  <a:gd name="connsiteX243" fmla="*/ 8517731 w 8801100"/>
                  <a:gd name="connsiteY243" fmla="*/ 1531144 h 4410075"/>
                  <a:gd name="connsiteX244" fmla="*/ 8477250 w 8801100"/>
                  <a:gd name="connsiteY244" fmla="*/ 1514475 h 4410075"/>
                  <a:gd name="connsiteX245" fmla="*/ 8477250 w 8801100"/>
                  <a:gd name="connsiteY245" fmla="*/ 1514475 h 4410075"/>
                  <a:gd name="connsiteX246" fmla="*/ 8436769 w 8801100"/>
                  <a:gd name="connsiteY246" fmla="*/ 1519238 h 4410075"/>
                  <a:gd name="connsiteX247" fmla="*/ 8351043 w 8801100"/>
                  <a:gd name="connsiteY247" fmla="*/ 1445419 h 4410075"/>
                  <a:gd name="connsiteX248" fmla="*/ 8170069 w 8801100"/>
                  <a:gd name="connsiteY248" fmla="*/ 1445418 h 4410075"/>
                  <a:gd name="connsiteX249" fmla="*/ 8117681 w 8801100"/>
                  <a:gd name="connsiteY249" fmla="*/ 1483519 h 4410075"/>
                  <a:gd name="connsiteX250" fmla="*/ 8067675 w 8801100"/>
                  <a:gd name="connsiteY250" fmla="*/ 1562100 h 4410075"/>
                  <a:gd name="connsiteX251" fmla="*/ 8084344 w 8801100"/>
                  <a:gd name="connsiteY251" fmla="*/ 1583531 h 4410075"/>
                  <a:gd name="connsiteX252" fmla="*/ 8039100 w 8801100"/>
                  <a:gd name="connsiteY252" fmla="*/ 1633537 h 4410075"/>
                  <a:gd name="connsiteX253" fmla="*/ 7889081 w 8801100"/>
                  <a:gd name="connsiteY253" fmla="*/ 1557337 h 4410075"/>
                  <a:gd name="connsiteX254" fmla="*/ 7798594 w 8801100"/>
                  <a:gd name="connsiteY254" fmla="*/ 1593056 h 4410075"/>
                  <a:gd name="connsiteX255" fmla="*/ 7724775 w 8801100"/>
                  <a:gd name="connsiteY255" fmla="*/ 1590675 h 4410075"/>
                  <a:gd name="connsiteX256" fmla="*/ 7667625 w 8801100"/>
                  <a:gd name="connsiteY256" fmla="*/ 1685925 h 4410075"/>
                  <a:gd name="connsiteX257" fmla="*/ 7529513 w 8801100"/>
                  <a:gd name="connsiteY257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245393 w 8801100"/>
                  <a:gd name="connsiteY148" fmla="*/ 2724150 h 4410075"/>
                  <a:gd name="connsiteX149" fmla="*/ 1435893 w 8801100"/>
                  <a:gd name="connsiteY149" fmla="*/ 2793206 h 4410075"/>
                  <a:gd name="connsiteX150" fmla="*/ 1638300 w 8801100"/>
                  <a:gd name="connsiteY150" fmla="*/ 2943225 h 4410075"/>
                  <a:gd name="connsiteX151" fmla="*/ 1671637 w 8801100"/>
                  <a:gd name="connsiteY151" fmla="*/ 3009900 h 4410075"/>
                  <a:gd name="connsiteX152" fmla="*/ 1838325 w 8801100"/>
                  <a:gd name="connsiteY152" fmla="*/ 3136106 h 4410075"/>
                  <a:gd name="connsiteX153" fmla="*/ 1909763 w 8801100"/>
                  <a:gd name="connsiteY153" fmla="*/ 3131344 h 4410075"/>
                  <a:gd name="connsiteX154" fmla="*/ 1945482 w 8801100"/>
                  <a:gd name="connsiteY154" fmla="*/ 3155156 h 4410075"/>
                  <a:gd name="connsiteX155" fmla="*/ 1916906 w 8801100"/>
                  <a:gd name="connsiteY155" fmla="*/ 3195638 h 4410075"/>
                  <a:gd name="connsiteX156" fmla="*/ 1924050 w 8801100"/>
                  <a:gd name="connsiteY156" fmla="*/ 3248025 h 4410075"/>
                  <a:gd name="connsiteX157" fmla="*/ 1976438 w 8801100"/>
                  <a:gd name="connsiteY157" fmla="*/ 3274219 h 4410075"/>
                  <a:gd name="connsiteX158" fmla="*/ 2038350 w 8801100"/>
                  <a:gd name="connsiteY158" fmla="*/ 3498057 h 4410075"/>
                  <a:gd name="connsiteX159" fmla="*/ 2028825 w 8801100"/>
                  <a:gd name="connsiteY159" fmla="*/ 3562350 h 4410075"/>
                  <a:gd name="connsiteX160" fmla="*/ 2164556 w 8801100"/>
                  <a:gd name="connsiteY160" fmla="*/ 3729038 h 4410075"/>
                  <a:gd name="connsiteX161" fmla="*/ 2183606 w 8801100"/>
                  <a:gd name="connsiteY161" fmla="*/ 3779044 h 4410075"/>
                  <a:gd name="connsiteX162" fmla="*/ 2157413 w 8801100"/>
                  <a:gd name="connsiteY162" fmla="*/ 3798094 h 4410075"/>
                  <a:gd name="connsiteX163" fmla="*/ 2259806 w 8801100"/>
                  <a:gd name="connsiteY163" fmla="*/ 3807619 h 4410075"/>
                  <a:gd name="connsiteX164" fmla="*/ 2371725 w 8801100"/>
                  <a:gd name="connsiteY164" fmla="*/ 3795713 h 4410075"/>
                  <a:gd name="connsiteX165" fmla="*/ 2650331 w 8801100"/>
                  <a:gd name="connsiteY165" fmla="*/ 3879056 h 4410075"/>
                  <a:gd name="connsiteX166" fmla="*/ 3057525 w 8801100"/>
                  <a:gd name="connsiteY166" fmla="*/ 3960019 h 4410075"/>
                  <a:gd name="connsiteX167" fmla="*/ 3255169 w 8801100"/>
                  <a:gd name="connsiteY167" fmla="*/ 3929062 h 4410075"/>
                  <a:gd name="connsiteX168" fmla="*/ 3300413 w 8801100"/>
                  <a:gd name="connsiteY168" fmla="*/ 3940968 h 4410075"/>
                  <a:gd name="connsiteX169" fmla="*/ 3355181 w 8801100"/>
                  <a:gd name="connsiteY169" fmla="*/ 3917157 h 4410075"/>
                  <a:gd name="connsiteX170" fmla="*/ 3748087 w 8801100"/>
                  <a:gd name="connsiteY170" fmla="*/ 4007644 h 4410075"/>
                  <a:gd name="connsiteX171" fmla="*/ 3831432 w 8801100"/>
                  <a:gd name="connsiteY171" fmla="*/ 4105275 h 4410075"/>
                  <a:gd name="connsiteX172" fmla="*/ 3950494 w 8801100"/>
                  <a:gd name="connsiteY172" fmla="*/ 4176713 h 4410075"/>
                  <a:gd name="connsiteX173" fmla="*/ 4010025 w 8801100"/>
                  <a:gd name="connsiteY173" fmla="*/ 4160044 h 4410075"/>
                  <a:gd name="connsiteX174" fmla="*/ 4360068 w 8801100"/>
                  <a:gd name="connsiteY174" fmla="*/ 4333875 h 4410075"/>
                  <a:gd name="connsiteX175" fmla="*/ 4586288 w 8801100"/>
                  <a:gd name="connsiteY175" fmla="*/ 4305300 h 4410075"/>
                  <a:gd name="connsiteX176" fmla="*/ 4595813 w 8801100"/>
                  <a:gd name="connsiteY176" fmla="*/ 4383881 h 4410075"/>
                  <a:gd name="connsiteX177" fmla="*/ 4681538 w 8801100"/>
                  <a:gd name="connsiteY177" fmla="*/ 4379118 h 4410075"/>
                  <a:gd name="connsiteX178" fmla="*/ 4760119 w 8801100"/>
                  <a:gd name="connsiteY178" fmla="*/ 4410075 h 4410075"/>
                  <a:gd name="connsiteX179" fmla="*/ 4802981 w 8801100"/>
                  <a:gd name="connsiteY179" fmla="*/ 4350544 h 4410075"/>
                  <a:gd name="connsiteX180" fmla="*/ 5474494 w 8801100"/>
                  <a:gd name="connsiteY180" fmla="*/ 4031456 h 4410075"/>
                  <a:gd name="connsiteX181" fmla="*/ 5562600 w 8801100"/>
                  <a:gd name="connsiteY181" fmla="*/ 4060032 h 4410075"/>
                  <a:gd name="connsiteX182" fmla="*/ 5693569 w 8801100"/>
                  <a:gd name="connsiteY182" fmla="*/ 4031456 h 4410075"/>
                  <a:gd name="connsiteX183" fmla="*/ 5872162 w 8801100"/>
                  <a:gd name="connsiteY183" fmla="*/ 4048125 h 4410075"/>
                  <a:gd name="connsiteX184" fmla="*/ 5929313 w 8801100"/>
                  <a:gd name="connsiteY184" fmla="*/ 4021932 h 4410075"/>
                  <a:gd name="connsiteX185" fmla="*/ 6062662 w 8801100"/>
                  <a:gd name="connsiteY185" fmla="*/ 4019550 h 4410075"/>
                  <a:gd name="connsiteX186" fmla="*/ 6196012 w 8801100"/>
                  <a:gd name="connsiteY186" fmla="*/ 3921919 h 4410075"/>
                  <a:gd name="connsiteX187" fmla="*/ 6262687 w 8801100"/>
                  <a:gd name="connsiteY187" fmla="*/ 3914775 h 4410075"/>
                  <a:gd name="connsiteX188" fmla="*/ 6360319 w 8801100"/>
                  <a:gd name="connsiteY188" fmla="*/ 3840956 h 4410075"/>
                  <a:gd name="connsiteX189" fmla="*/ 6434138 w 8801100"/>
                  <a:gd name="connsiteY189" fmla="*/ 3771900 h 4410075"/>
                  <a:gd name="connsiteX190" fmla="*/ 6443663 w 8801100"/>
                  <a:gd name="connsiteY190" fmla="*/ 3709988 h 4410075"/>
                  <a:gd name="connsiteX191" fmla="*/ 6477000 w 8801100"/>
                  <a:gd name="connsiteY191" fmla="*/ 3640931 h 4410075"/>
                  <a:gd name="connsiteX192" fmla="*/ 6629400 w 8801100"/>
                  <a:gd name="connsiteY192" fmla="*/ 3533775 h 4410075"/>
                  <a:gd name="connsiteX193" fmla="*/ 6662738 w 8801100"/>
                  <a:gd name="connsiteY193" fmla="*/ 3538538 h 4410075"/>
                  <a:gd name="connsiteX194" fmla="*/ 6715125 w 8801100"/>
                  <a:gd name="connsiteY194" fmla="*/ 3459956 h 4410075"/>
                  <a:gd name="connsiteX195" fmla="*/ 6762750 w 8801100"/>
                  <a:gd name="connsiteY195" fmla="*/ 3421856 h 4410075"/>
                  <a:gd name="connsiteX196" fmla="*/ 6748463 w 8801100"/>
                  <a:gd name="connsiteY196" fmla="*/ 3352800 h 4410075"/>
                  <a:gd name="connsiteX197" fmla="*/ 6698456 w 8801100"/>
                  <a:gd name="connsiteY197" fmla="*/ 3321843 h 4410075"/>
                  <a:gd name="connsiteX198" fmla="*/ 6638925 w 8801100"/>
                  <a:gd name="connsiteY198" fmla="*/ 3267075 h 4410075"/>
                  <a:gd name="connsiteX199" fmla="*/ 6619875 w 8801100"/>
                  <a:gd name="connsiteY199" fmla="*/ 3209925 h 4410075"/>
                  <a:gd name="connsiteX200" fmla="*/ 6584156 w 8801100"/>
                  <a:gd name="connsiteY200" fmla="*/ 3176588 h 4410075"/>
                  <a:gd name="connsiteX201" fmla="*/ 6610350 w 8801100"/>
                  <a:gd name="connsiteY201" fmla="*/ 3124200 h 4410075"/>
                  <a:gd name="connsiteX202" fmla="*/ 6650831 w 8801100"/>
                  <a:gd name="connsiteY202" fmla="*/ 2945606 h 4410075"/>
                  <a:gd name="connsiteX203" fmla="*/ 6691313 w 8801100"/>
                  <a:gd name="connsiteY203" fmla="*/ 2878931 h 4410075"/>
                  <a:gd name="connsiteX204" fmla="*/ 6836569 w 8801100"/>
                  <a:gd name="connsiteY204" fmla="*/ 2862262 h 4410075"/>
                  <a:gd name="connsiteX205" fmla="*/ 6905625 w 8801100"/>
                  <a:gd name="connsiteY205" fmla="*/ 2919413 h 4410075"/>
                  <a:gd name="connsiteX206" fmla="*/ 6981825 w 8801100"/>
                  <a:gd name="connsiteY206" fmla="*/ 2943225 h 4410075"/>
                  <a:gd name="connsiteX207" fmla="*/ 7186612 w 8801100"/>
                  <a:gd name="connsiteY207" fmla="*/ 2947988 h 4410075"/>
                  <a:gd name="connsiteX208" fmla="*/ 7362825 w 8801100"/>
                  <a:gd name="connsiteY208" fmla="*/ 2809875 h 4410075"/>
                  <a:gd name="connsiteX209" fmla="*/ 7419975 w 8801100"/>
                  <a:gd name="connsiteY209" fmla="*/ 2719387 h 4410075"/>
                  <a:gd name="connsiteX210" fmla="*/ 7446169 w 8801100"/>
                  <a:gd name="connsiteY210" fmla="*/ 2636044 h 4410075"/>
                  <a:gd name="connsiteX211" fmla="*/ 7577137 w 8801100"/>
                  <a:gd name="connsiteY211" fmla="*/ 2636044 h 4410075"/>
                  <a:gd name="connsiteX212" fmla="*/ 7750969 w 8801100"/>
                  <a:gd name="connsiteY212" fmla="*/ 2578893 h 4410075"/>
                  <a:gd name="connsiteX213" fmla="*/ 7810500 w 8801100"/>
                  <a:gd name="connsiteY213" fmla="*/ 2466975 h 4410075"/>
                  <a:gd name="connsiteX214" fmla="*/ 7874794 w 8801100"/>
                  <a:gd name="connsiteY214" fmla="*/ 2431256 h 4410075"/>
                  <a:gd name="connsiteX215" fmla="*/ 7853363 w 8801100"/>
                  <a:gd name="connsiteY215" fmla="*/ 2386013 h 4410075"/>
                  <a:gd name="connsiteX216" fmla="*/ 7931944 w 8801100"/>
                  <a:gd name="connsiteY216" fmla="*/ 2216943 h 4410075"/>
                  <a:gd name="connsiteX217" fmla="*/ 7986713 w 8801100"/>
                  <a:gd name="connsiteY217" fmla="*/ 2157413 h 4410075"/>
                  <a:gd name="connsiteX218" fmla="*/ 8024813 w 8801100"/>
                  <a:gd name="connsiteY218" fmla="*/ 2152650 h 4410075"/>
                  <a:gd name="connsiteX219" fmla="*/ 8070056 w 8801100"/>
                  <a:gd name="connsiteY219" fmla="*/ 2157413 h 4410075"/>
                  <a:gd name="connsiteX220" fmla="*/ 8134350 w 8801100"/>
                  <a:gd name="connsiteY220" fmla="*/ 2124075 h 4410075"/>
                  <a:gd name="connsiteX221" fmla="*/ 8143875 w 8801100"/>
                  <a:gd name="connsiteY221" fmla="*/ 2059781 h 4410075"/>
                  <a:gd name="connsiteX222" fmla="*/ 8184355 w 8801100"/>
                  <a:gd name="connsiteY222" fmla="*/ 2024063 h 4410075"/>
                  <a:gd name="connsiteX223" fmla="*/ 8243888 w 8801100"/>
                  <a:gd name="connsiteY223" fmla="*/ 2064543 h 4410075"/>
                  <a:gd name="connsiteX224" fmla="*/ 8270082 w 8801100"/>
                  <a:gd name="connsiteY224" fmla="*/ 2014537 h 4410075"/>
                  <a:gd name="connsiteX225" fmla="*/ 8365331 w 8801100"/>
                  <a:gd name="connsiteY225" fmla="*/ 1945481 h 4410075"/>
                  <a:gd name="connsiteX226" fmla="*/ 8427244 w 8801100"/>
                  <a:gd name="connsiteY226" fmla="*/ 1952625 h 4410075"/>
                  <a:gd name="connsiteX227" fmla="*/ 8477250 w 8801100"/>
                  <a:gd name="connsiteY227" fmla="*/ 1933575 h 4410075"/>
                  <a:gd name="connsiteX228" fmla="*/ 8515350 w 8801100"/>
                  <a:gd name="connsiteY228" fmla="*/ 1905000 h 4410075"/>
                  <a:gd name="connsiteX229" fmla="*/ 8548688 w 8801100"/>
                  <a:gd name="connsiteY229" fmla="*/ 1902619 h 4410075"/>
                  <a:gd name="connsiteX230" fmla="*/ 8584406 w 8801100"/>
                  <a:gd name="connsiteY230" fmla="*/ 1933575 h 4410075"/>
                  <a:gd name="connsiteX231" fmla="*/ 8643938 w 8801100"/>
                  <a:gd name="connsiteY231" fmla="*/ 1933575 h 4410075"/>
                  <a:gd name="connsiteX232" fmla="*/ 8682037 w 8801100"/>
                  <a:gd name="connsiteY232" fmla="*/ 1914525 h 4410075"/>
                  <a:gd name="connsiteX233" fmla="*/ 8765381 w 8801100"/>
                  <a:gd name="connsiteY233" fmla="*/ 1916907 h 4410075"/>
                  <a:gd name="connsiteX234" fmla="*/ 8796338 w 8801100"/>
                  <a:gd name="connsiteY234" fmla="*/ 1871663 h 4410075"/>
                  <a:gd name="connsiteX235" fmla="*/ 8801100 w 8801100"/>
                  <a:gd name="connsiteY235" fmla="*/ 1809750 h 4410075"/>
                  <a:gd name="connsiteX236" fmla="*/ 8751093 w 8801100"/>
                  <a:gd name="connsiteY236" fmla="*/ 1769269 h 4410075"/>
                  <a:gd name="connsiteX237" fmla="*/ 8734425 w 8801100"/>
                  <a:gd name="connsiteY237" fmla="*/ 1714500 h 4410075"/>
                  <a:gd name="connsiteX238" fmla="*/ 8643938 w 8801100"/>
                  <a:gd name="connsiteY238" fmla="*/ 1652588 h 4410075"/>
                  <a:gd name="connsiteX239" fmla="*/ 8603456 w 8801100"/>
                  <a:gd name="connsiteY239" fmla="*/ 1631156 h 4410075"/>
                  <a:gd name="connsiteX240" fmla="*/ 8565356 w 8801100"/>
                  <a:gd name="connsiteY240" fmla="*/ 1585913 h 4410075"/>
                  <a:gd name="connsiteX241" fmla="*/ 8534400 w 8801100"/>
                  <a:gd name="connsiteY241" fmla="*/ 1583531 h 4410075"/>
                  <a:gd name="connsiteX242" fmla="*/ 8517731 w 8801100"/>
                  <a:gd name="connsiteY242" fmla="*/ 1531144 h 4410075"/>
                  <a:gd name="connsiteX243" fmla="*/ 8477250 w 8801100"/>
                  <a:gd name="connsiteY243" fmla="*/ 1514475 h 4410075"/>
                  <a:gd name="connsiteX244" fmla="*/ 8477250 w 8801100"/>
                  <a:gd name="connsiteY244" fmla="*/ 1514475 h 4410075"/>
                  <a:gd name="connsiteX245" fmla="*/ 8436769 w 8801100"/>
                  <a:gd name="connsiteY245" fmla="*/ 1519238 h 4410075"/>
                  <a:gd name="connsiteX246" fmla="*/ 8351043 w 8801100"/>
                  <a:gd name="connsiteY246" fmla="*/ 1445419 h 4410075"/>
                  <a:gd name="connsiteX247" fmla="*/ 8170069 w 8801100"/>
                  <a:gd name="connsiteY247" fmla="*/ 1445418 h 4410075"/>
                  <a:gd name="connsiteX248" fmla="*/ 8117681 w 8801100"/>
                  <a:gd name="connsiteY248" fmla="*/ 1483519 h 4410075"/>
                  <a:gd name="connsiteX249" fmla="*/ 8067675 w 8801100"/>
                  <a:gd name="connsiteY249" fmla="*/ 1562100 h 4410075"/>
                  <a:gd name="connsiteX250" fmla="*/ 8084344 w 8801100"/>
                  <a:gd name="connsiteY250" fmla="*/ 1583531 h 4410075"/>
                  <a:gd name="connsiteX251" fmla="*/ 8039100 w 8801100"/>
                  <a:gd name="connsiteY251" fmla="*/ 1633537 h 4410075"/>
                  <a:gd name="connsiteX252" fmla="*/ 7889081 w 8801100"/>
                  <a:gd name="connsiteY252" fmla="*/ 1557337 h 4410075"/>
                  <a:gd name="connsiteX253" fmla="*/ 7798594 w 8801100"/>
                  <a:gd name="connsiteY253" fmla="*/ 1593056 h 4410075"/>
                  <a:gd name="connsiteX254" fmla="*/ 7724775 w 8801100"/>
                  <a:gd name="connsiteY254" fmla="*/ 1590675 h 4410075"/>
                  <a:gd name="connsiteX255" fmla="*/ 7667625 w 8801100"/>
                  <a:gd name="connsiteY255" fmla="*/ 1685925 h 4410075"/>
                  <a:gd name="connsiteX256" fmla="*/ 7529513 w 8801100"/>
                  <a:gd name="connsiteY256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435893 w 8801100"/>
                  <a:gd name="connsiteY148" fmla="*/ 2793206 h 4410075"/>
                  <a:gd name="connsiteX149" fmla="*/ 1638300 w 8801100"/>
                  <a:gd name="connsiteY149" fmla="*/ 2943225 h 4410075"/>
                  <a:gd name="connsiteX150" fmla="*/ 1671637 w 8801100"/>
                  <a:gd name="connsiteY150" fmla="*/ 3009900 h 4410075"/>
                  <a:gd name="connsiteX151" fmla="*/ 1838325 w 8801100"/>
                  <a:gd name="connsiteY151" fmla="*/ 3136106 h 4410075"/>
                  <a:gd name="connsiteX152" fmla="*/ 1909763 w 8801100"/>
                  <a:gd name="connsiteY152" fmla="*/ 3131344 h 4410075"/>
                  <a:gd name="connsiteX153" fmla="*/ 1945482 w 8801100"/>
                  <a:gd name="connsiteY153" fmla="*/ 3155156 h 4410075"/>
                  <a:gd name="connsiteX154" fmla="*/ 1916906 w 8801100"/>
                  <a:gd name="connsiteY154" fmla="*/ 3195638 h 4410075"/>
                  <a:gd name="connsiteX155" fmla="*/ 1924050 w 8801100"/>
                  <a:gd name="connsiteY155" fmla="*/ 3248025 h 4410075"/>
                  <a:gd name="connsiteX156" fmla="*/ 1976438 w 8801100"/>
                  <a:gd name="connsiteY156" fmla="*/ 3274219 h 4410075"/>
                  <a:gd name="connsiteX157" fmla="*/ 2038350 w 8801100"/>
                  <a:gd name="connsiteY157" fmla="*/ 3498057 h 4410075"/>
                  <a:gd name="connsiteX158" fmla="*/ 2028825 w 8801100"/>
                  <a:gd name="connsiteY158" fmla="*/ 3562350 h 4410075"/>
                  <a:gd name="connsiteX159" fmla="*/ 2164556 w 8801100"/>
                  <a:gd name="connsiteY159" fmla="*/ 3729038 h 4410075"/>
                  <a:gd name="connsiteX160" fmla="*/ 2183606 w 8801100"/>
                  <a:gd name="connsiteY160" fmla="*/ 3779044 h 4410075"/>
                  <a:gd name="connsiteX161" fmla="*/ 2157413 w 8801100"/>
                  <a:gd name="connsiteY161" fmla="*/ 3798094 h 4410075"/>
                  <a:gd name="connsiteX162" fmla="*/ 2259806 w 8801100"/>
                  <a:gd name="connsiteY162" fmla="*/ 3807619 h 4410075"/>
                  <a:gd name="connsiteX163" fmla="*/ 2371725 w 8801100"/>
                  <a:gd name="connsiteY163" fmla="*/ 3795713 h 4410075"/>
                  <a:gd name="connsiteX164" fmla="*/ 2650331 w 8801100"/>
                  <a:gd name="connsiteY164" fmla="*/ 3879056 h 4410075"/>
                  <a:gd name="connsiteX165" fmla="*/ 3057525 w 8801100"/>
                  <a:gd name="connsiteY165" fmla="*/ 3960019 h 4410075"/>
                  <a:gd name="connsiteX166" fmla="*/ 3255169 w 8801100"/>
                  <a:gd name="connsiteY166" fmla="*/ 3929062 h 4410075"/>
                  <a:gd name="connsiteX167" fmla="*/ 3300413 w 8801100"/>
                  <a:gd name="connsiteY167" fmla="*/ 3940968 h 4410075"/>
                  <a:gd name="connsiteX168" fmla="*/ 3355181 w 8801100"/>
                  <a:gd name="connsiteY168" fmla="*/ 3917157 h 4410075"/>
                  <a:gd name="connsiteX169" fmla="*/ 3748087 w 8801100"/>
                  <a:gd name="connsiteY169" fmla="*/ 4007644 h 4410075"/>
                  <a:gd name="connsiteX170" fmla="*/ 3831432 w 8801100"/>
                  <a:gd name="connsiteY170" fmla="*/ 4105275 h 4410075"/>
                  <a:gd name="connsiteX171" fmla="*/ 3950494 w 8801100"/>
                  <a:gd name="connsiteY171" fmla="*/ 4176713 h 4410075"/>
                  <a:gd name="connsiteX172" fmla="*/ 4010025 w 8801100"/>
                  <a:gd name="connsiteY172" fmla="*/ 4160044 h 4410075"/>
                  <a:gd name="connsiteX173" fmla="*/ 4360068 w 8801100"/>
                  <a:gd name="connsiteY173" fmla="*/ 4333875 h 4410075"/>
                  <a:gd name="connsiteX174" fmla="*/ 4586288 w 8801100"/>
                  <a:gd name="connsiteY174" fmla="*/ 4305300 h 4410075"/>
                  <a:gd name="connsiteX175" fmla="*/ 4595813 w 8801100"/>
                  <a:gd name="connsiteY175" fmla="*/ 4383881 h 4410075"/>
                  <a:gd name="connsiteX176" fmla="*/ 4681538 w 8801100"/>
                  <a:gd name="connsiteY176" fmla="*/ 4379118 h 4410075"/>
                  <a:gd name="connsiteX177" fmla="*/ 4760119 w 8801100"/>
                  <a:gd name="connsiteY177" fmla="*/ 4410075 h 4410075"/>
                  <a:gd name="connsiteX178" fmla="*/ 4802981 w 8801100"/>
                  <a:gd name="connsiteY178" fmla="*/ 4350544 h 4410075"/>
                  <a:gd name="connsiteX179" fmla="*/ 5474494 w 8801100"/>
                  <a:gd name="connsiteY179" fmla="*/ 4031456 h 4410075"/>
                  <a:gd name="connsiteX180" fmla="*/ 5562600 w 8801100"/>
                  <a:gd name="connsiteY180" fmla="*/ 4060032 h 4410075"/>
                  <a:gd name="connsiteX181" fmla="*/ 5693569 w 8801100"/>
                  <a:gd name="connsiteY181" fmla="*/ 4031456 h 4410075"/>
                  <a:gd name="connsiteX182" fmla="*/ 5872162 w 8801100"/>
                  <a:gd name="connsiteY182" fmla="*/ 4048125 h 4410075"/>
                  <a:gd name="connsiteX183" fmla="*/ 5929313 w 8801100"/>
                  <a:gd name="connsiteY183" fmla="*/ 4021932 h 4410075"/>
                  <a:gd name="connsiteX184" fmla="*/ 6062662 w 8801100"/>
                  <a:gd name="connsiteY184" fmla="*/ 4019550 h 4410075"/>
                  <a:gd name="connsiteX185" fmla="*/ 6196012 w 8801100"/>
                  <a:gd name="connsiteY185" fmla="*/ 3921919 h 4410075"/>
                  <a:gd name="connsiteX186" fmla="*/ 6262687 w 8801100"/>
                  <a:gd name="connsiteY186" fmla="*/ 3914775 h 4410075"/>
                  <a:gd name="connsiteX187" fmla="*/ 6360319 w 8801100"/>
                  <a:gd name="connsiteY187" fmla="*/ 3840956 h 4410075"/>
                  <a:gd name="connsiteX188" fmla="*/ 6434138 w 8801100"/>
                  <a:gd name="connsiteY188" fmla="*/ 3771900 h 4410075"/>
                  <a:gd name="connsiteX189" fmla="*/ 6443663 w 8801100"/>
                  <a:gd name="connsiteY189" fmla="*/ 3709988 h 4410075"/>
                  <a:gd name="connsiteX190" fmla="*/ 6477000 w 8801100"/>
                  <a:gd name="connsiteY190" fmla="*/ 3640931 h 4410075"/>
                  <a:gd name="connsiteX191" fmla="*/ 6629400 w 8801100"/>
                  <a:gd name="connsiteY191" fmla="*/ 3533775 h 4410075"/>
                  <a:gd name="connsiteX192" fmla="*/ 6662738 w 8801100"/>
                  <a:gd name="connsiteY192" fmla="*/ 3538538 h 4410075"/>
                  <a:gd name="connsiteX193" fmla="*/ 6715125 w 8801100"/>
                  <a:gd name="connsiteY193" fmla="*/ 3459956 h 4410075"/>
                  <a:gd name="connsiteX194" fmla="*/ 6762750 w 8801100"/>
                  <a:gd name="connsiteY194" fmla="*/ 3421856 h 4410075"/>
                  <a:gd name="connsiteX195" fmla="*/ 6748463 w 8801100"/>
                  <a:gd name="connsiteY195" fmla="*/ 3352800 h 4410075"/>
                  <a:gd name="connsiteX196" fmla="*/ 6698456 w 8801100"/>
                  <a:gd name="connsiteY196" fmla="*/ 3321843 h 4410075"/>
                  <a:gd name="connsiteX197" fmla="*/ 6638925 w 8801100"/>
                  <a:gd name="connsiteY197" fmla="*/ 3267075 h 4410075"/>
                  <a:gd name="connsiteX198" fmla="*/ 6619875 w 8801100"/>
                  <a:gd name="connsiteY198" fmla="*/ 3209925 h 4410075"/>
                  <a:gd name="connsiteX199" fmla="*/ 6584156 w 8801100"/>
                  <a:gd name="connsiteY199" fmla="*/ 3176588 h 4410075"/>
                  <a:gd name="connsiteX200" fmla="*/ 6610350 w 8801100"/>
                  <a:gd name="connsiteY200" fmla="*/ 3124200 h 4410075"/>
                  <a:gd name="connsiteX201" fmla="*/ 6650831 w 8801100"/>
                  <a:gd name="connsiteY201" fmla="*/ 2945606 h 4410075"/>
                  <a:gd name="connsiteX202" fmla="*/ 6691313 w 8801100"/>
                  <a:gd name="connsiteY202" fmla="*/ 2878931 h 4410075"/>
                  <a:gd name="connsiteX203" fmla="*/ 6836569 w 8801100"/>
                  <a:gd name="connsiteY203" fmla="*/ 2862262 h 4410075"/>
                  <a:gd name="connsiteX204" fmla="*/ 6905625 w 8801100"/>
                  <a:gd name="connsiteY204" fmla="*/ 2919413 h 4410075"/>
                  <a:gd name="connsiteX205" fmla="*/ 6981825 w 8801100"/>
                  <a:gd name="connsiteY205" fmla="*/ 2943225 h 4410075"/>
                  <a:gd name="connsiteX206" fmla="*/ 7186612 w 8801100"/>
                  <a:gd name="connsiteY206" fmla="*/ 2947988 h 4410075"/>
                  <a:gd name="connsiteX207" fmla="*/ 7362825 w 8801100"/>
                  <a:gd name="connsiteY207" fmla="*/ 2809875 h 4410075"/>
                  <a:gd name="connsiteX208" fmla="*/ 7419975 w 8801100"/>
                  <a:gd name="connsiteY208" fmla="*/ 2719387 h 4410075"/>
                  <a:gd name="connsiteX209" fmla="*/ 7446169 w 8801100"/>
                  <a:gd name="connsiteY209" fmla="*/ 2636044 h 4410075"/>
                  <a:gd name="connsiteX210" fmla="*/ 7577137 w 8801100"/>
                  <a:gd name="connsiteY210" fmla="*/ 2636044 h 4410075"/>
                  <a:gd name="connsiteX211" fmla="*/ 7750969 w 8801100"/>
                  <a:gd name="connsiteY211" fmla="*/ 2578893 h 4410075"/>
                  <a:gd name="connsiteX212" fmla="*/ 7810500 w 8801100"/>
                  <a:gd name="connsiteY212" fmla="*/ 2466975 h 4410075"/>
                  <a:gd name="connsiteX213" fmla="*/ 7874794 w 8801100"/>
                  <a:gd name="connsiteY213" fmla="*/ 2431256 h 4410075"/>
                  <a:gd name="connsiteX214" fmla="*/ 7853363 w 8801100"/>
                  <a:gd name="connsiteY214" fmla="*/ 2386013 h 4410075"/>
                  <a:gd name="connsiteX215" fmla="*/ 7931944 w 8801100"/>
                  <a:gd name="connsiteY215" fmla="*/ 2216943 h 4410075"/>
                  <a:gd name="connsiteX216" fmla="*/ 7986713 w 8801100"/>
                  <a:gd name="connsiteY216" fmla="*/ 2157413 h 4410075"/>
                  <a:gd name="connsiteX217" fmla="*/ 8024813 w 8801100"/>
                  <a:gd name="connsiteY217" fmla="*/ 2152650 h 4410075"/>
                  <a:gd name="connsiteX218" fmla="*/ 8070056 w 8801100"/>
                  <a:gd name="connsiteY218" fmla="*/ 2157413 h 4410075"/>
                  <a:gd name="connsiteX219" fmla="*/ 8134350 w 8801100"/>
                  <a:gd name="connsiteY219" fmla="*/ 2124075 h 4410075"/>
                  <a:gd name="connsiteX220" fmla="*/ 8143875 w 8801100"/>
                  <a:gd name="connsiteY220" fmla="*/ 2059781 h 4410075"/>
                  <a:gd name="connsiteX221" fmla="*/ 8184355 w 8801100"/>
                  <a:gd name="connsiteY221" fmla="*/ 2024063 h 4410075"/>
                  <a:gd name="connsiteX222" fmla="*/ 8243888 w 8801100"/>
                  <a:gd name="connsiteY222" fmla="*/ 2064543 h 4410075"/>
                  <a:gd name="connsiteX223" fmla="*/ 8270082 w 8801100"/>
                  <a:gd name="connsiteY223" fmla="*/ 2014537 h 4410075"/>
                  <a:gd name="connsiteX224" fmla="*/ 8365331 w 8801100"/>
                  <a:gd name="connsiteY224" fmla="*/ 1945481 h 4410075"/>
                  <a:gd name="connsiteX225" fmla="*/ 8427244 w 8801100"/>
                  <a:gd name="connsiteY225" fmla="*/ 1952625 h 4410075"/>
                  <a:gd name="connsiteX226" fmla="*/ 8477250 w 8801100"/>
                  <a:gd name="connsiteY226" fmla="*/ 1933575 h 4410075"/>
                  <a:gd name="connsiteX227" fmla="*/ 8515350 w 8801100"/>
                  <a:gd name="connsiteY227" fmla="*/ 1905000 h 4410075"/>
                  <a:gd name="connsiteX228" fmla="*/ 8548688 w 8801100"/>
                  <a:gd name="connsiteY228" fmla="*/ 1902619 h 4410075"/>
                  <a:gd name="connsiteX229" fmla="*/ 8584406 w 8801100"/>
                  <a:gd name="connsiteY229" fmla="*/ 1933575 h 4410075"/>
                  <a:gd name="connsiteX230" fmla="*/ 8643938 w 8801100"/>
                  <a:gd name="connsiteY230" fmla="*/ 1933575 h 4410075"/>
                  <a:gd name="connsiteX231" fmla="*/ 8682037 w 8801100"/>
                  <a:gd name="connsiteY231" fmla="*/ 1914525 h 4410075"/>
                  <a:gd name="connsiteX232" fmla="*/ 8765381 w 8801100"/>
                  <a:gd name="connsiteY232" fmla="*/ 1916907 h 4410075"/>
                  <a:gd name="connsiteX233" fmla="*/ 8796338 w 8801100"/>
                  <a:gd name="connsiteY233" fmla="*/ 1871663 h 4410075"/>
                  <a:gd name="connsiteX234" fmla="*/ 8801100 w 8801100"/>
                  <a:gd name="connsiteY234" fmla="*/ 1809750 h 4410075"/>
                  <a:gd name="connsiteX235" fmla="*/ 8751093 w 8801100"/>
                  <a:gd name="connsiteY235" fmla="*/ 1769269 h 4410075"/>
                  <a:gd name="connsiteX236" fmla="*/ 8734425 w 8801100"/>
                  <a:gd name="connsiteY236" fmla="*/ 1714500 h 4410075"/>
                  <a:gd name="connsiteX237" fmla="*/ 8643938 w 8801100"/>
                  <a:gd name="connsiteY237" fmla="*/ 1652588 h 4410075"/>
                  <a:gd name="connsiteX238" fmla="*/ 8603456 w 8801100"/>
                  <a:gd name="connsiteY238" fmla="*/ 1631156 h 4410075"/>
                  <a:gd name="connsiteX239" fmla="*/ 8565356 w 8801100"/>
                  <a:gd name="connsiteY239" fmla="*/ 1585913 h 4410075"/>
                  <a:gd name="connsiteX240" fmla="*/ 8534400 w 8801100"/>
                  <a:gd name="connsiteY240" fmla="*/ 1583531 h 4410075"/>
                  <a:gd name="connsiteX241" fmla="*/ 8517731 w 8801100"/>
                  <a:gd name="connsiteY241" fmla="*/ 1531144 h 4410075"/>
                  <a:gd name="connsiteX242" fmla="*/ 8477250 w 8801100"/>
                  <a:gd name="connsiteY242" fmla="*/ 1514475 h 4410075"/>
                  <a:gd name="connsiteX243" fmla="*/ 8477250 w 8801100"/>
                  <a:gd name="connsiteY243" fmla="*/ 1514475 h 4410075"/>
                  <a:gd name="connsiteX244" fmla="*/ 8436769 w 8801100"/>
                  <a:gd name="connsiteY244" fmla="*/ 1519238 h 4410075"/>
                  <a:gd name="connsiteX245" fmla="*/ 8351043 w 8801100"/>
                  <a:gd name="connsiteY245" fmla="*/ 1445419 h 4410075"/>
                  <a:gd name="connsiteX246" fmla="*/ 8170069 w 8801100"/>
                  <a:gd name="connsiteY246" fmla="*/ 1445418 h 4410075"/>
                  <a:gd name="connsiteX247" fmla="*/ 8117681 w 8801100"/>
                  <a:gd name="connsiteY247" fmla="*/ 1483519 h 4410075"/>
                  <a:gd name="connsiteX248" fmla="*/ 8067675 w 8801100"/>
                  <a:gd name="connsiteY248" fmla="*/ 1562100 h 4410075"/>
                  <a:gd name="connsiteX249" fmla="*/ 8084344 w 8801100"/>
                  <a:gd name="connsiteY249" fmla="*/ 1583531 h 4410075"/>
                  <a:gd name="connsiteX250" fmla="*/ 8039100 w 8801100"/>
                  <a:gd name="connsiteY250" fmla="*/ 1633537 h 4410075"/>
                  <a:gd name="connsiteX251" fmla="*/ 7889081 w 8801100"/>
                  <a:gd name="connsiteY251" fmla="*/ 1557337 h 4410075"/>
                  <a:gd name="connsiteX252" fmla="*/ 7798594 w 8801100"/>
                  <a:gd name="connsiteY252" fmla="*/ 1593056 h 4410075"/>
                  <a:gd name="connsiteX253" fmla="*/ 7724775 w 8801100"/>
                  <a:gd name="connsiteY253" fmla="*/ 1590675 h 4410075"/>
                  <a:gd name="connsiteX254" fmla="*/ 7667625 w 8801100"/>
                  <a:gd name="connsiteY254" fmla="*/ 1685925 h 4410075"/>
                  <a:gd name="connsiteX255" fmla="*/ 7529513 w 8801100"/>
                  <a:gd name="connsiteY255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638300 w 8801100"/>
                  <a:gd name="connsiteY148" fmla="*/ 2943225 h 4410075"/>
                  <a:gd name="connsiteX149" fmla="*/ 1671637 w 8801100"/>
                  <a:gd name="connsiteY149" fmla="*/ 3009900 h 4410075"/>
                  <a:gd name="connsiteX150" fmla="*/ 1838325 w 8801100"/>
                  <a:gd name="connsiteY150" fmla="*/ 3136106 h 4410075"/>
                  <a:gd name="connsiteX151" fmla="*/ 1909763 w 8801100"/>
                  <a:gd name="connsiteY151" fmla="*/ 3131344 h 4410075"/>
                  <a:gd name="connsiteX152" fmla="*/ 1945482 w 8801100"/>
                  <a:gd name="connsiteY152" fmla="*/ 3155156 h 4410075"/>
                  <a:gd name="connsiteX153" fmla="*/ 1916906 w 8801100"/>
                  <a:gd name="connsiteY153" fmla="*/ 3195638 h 4410075"/>
                  <a:gd name="connsiteX154" fmla="*/ 1924050 w 8801100"/>
                  <a:gd name="connsiteY154" fmla="*/ 3248025 h 4410075"/>
                  <a:gd name="connsiteX155" fmla="*/ 1976438 w 8801100"/>
                  <a:gd name="connsiteY155" fmla="*/ 3274219 h 4410075"/>
                  <a:gd name="connsiteX156" fmla="*/ 2038350 w 8801100"/>
                  <a:gd name="connsiteY156" fmla="*/ 3498057 h 4410075"/>
                  <a:gd name="connsiteX157" fmla="*/ 2028825 w 8801100"/>
                  <a:gd name="connsiteY157" fmla="*/ 3562350 h 4410075"/>
                  <a:gd name="connsiteX158" fmla="*/ 2164556 w 8801100"/>
                  <a:gd name="connsiteY158" fmla="*/ 3729038 h 4410075"/>
                  <a:gd name="connsiteX159" fmla="*/ 2183606 w 8801100"/>
                  <a:gd name="connsiteY159" fmla="*/ 3779044 h 4410075"/>
                  <a:gd name="connsiteX160" fmla="*/ 2157413 w 8801100"/>
                  <a:gd name="connsiteY160" fmla="*/ 3798094 h 4410075"/>
                  <a:gd name="connsiteX161" fmla="*/ 2259806 w 8801100"/>
                  <a:gd name="connsiteY161" fmla="*/ 3807619 h 4410075"/>
                  <a:gd name="connsiteX162" fmla="*/ 2371725 w 8801100"/>
                  <a:gd name="connsiteY162" fmla="*/ 3795713 h 4410075"/>
                  <a:gd name="connsiteX163" fmla="*/ 2650331 w 8801100"/>
                  <a:gd name="connsiteY163" fmla="*/ 3879056 h 4410075"/>
                  <a:gd name="connsiteX164" fmla="*/ 3057525 w 8801100"/>
                  <a:gd name="connsiteY164" fmla="*/ 3960019 h 4410075"/>
                  <a:gd name="connsiteX165" fmla="*/ 3255169 w 8801100"/>
                  <a:gd name="connsiteY165" fmla="*/ 3929062 h 4410075"/>
                  <a:gd name="connsiteX166" fmla="*/ 3300413 w 8801100"/>
                  <a:gd name="connsiteY166" fmla="*/ 3940968 h 4410075"/>
                  <a:gd name="connsiteX167" fmla="*/ 3355181 w 8801100"/>
                  <a:gd name="connsiteY167" fmla="*/ 3917157 h 4410075"/>
                  <a:gd name="connsiteX168" fmla="*/ 3748087 w 8801100"/>
                  <a:gd name="connsiteY168" fmla="*/ 4007644 h 4410075"/>
                  <a:gd name="connsiteX169" fmla="*/ 3831432 w 8801100"/>
                  <a:gd name="connsiteY169" fmla="*/ 4105275 h 4410075"/>
                  <a:gd name="connsiteX170" fmla="*/ 3950494 w 8801100"/>
                  <a:gd name="connsiteY170" fmla="*/ 4176713 h 4410075"/>
                  <a:gd name="connsiteX171" fmla="*/ 4010025 w 8801100"/>
                  <a:gd name="connsiteY171" fmla="*/ 4160044 h 4410075"/>
                  <a:gd name="connsiteX172" fmla="*/ 4360068 w 8801100"/>
                  <a:gd name="connsiteY172" fmla="*/ 4333875 h 4410075"/>
                  <a:gd name="connsiteX173" fmla="*/ 4586288 w 8801100"/>
                  <a:gd name="connsiteY173" fmla="*/ 4305300 h 4410075"/>
                  <a:gd name="connsiteX174" fmla="*/ 4595813 w 8801100"/>
                  <a:gd name="connsiteY174" fmla="*/ 4383881 h 4410075"/>
                  <a:gd name="connsiteX175" fmla="*/ 4681538 w 8801100"/>
                  <a:gd name="connsiteY175" fmla="*/ 4379118 h 4410075"/>
                  <a:gd name="connsiteX176" fmla="*/ 4760119 w 8801100"/>
                  <a:gd name="connsiteY176" fmla="*/ 4410075 h 4410075"/>
                  <a:gd name="connsiteX177" fmla="*/ 4802981 w 8801100"/>
                  <a:gd name="connsiteY177" fmla="*/ 4350544 h 4410075"/>
                  <a:gd name="connsiteX178" fmla="*/ 5474494 w 8801100"/>
                  <a:gd name="connsiteY178" fmla="*/ 4031456 h 4410075"/>
                  <a:gd name="connsiteX179" fmla="*/ 5562600 w 8801100"/>
                  <a:gd name="connsiteY179" fmla="*/ 4060032 h 4410075"/>
                  <a:gd name="connsiteX180" fmla="*/ 5693569 w 8801100"/>
                  <a:gd name="connsiteY180" fmla="*/ 4031456 h 4410075"/>
                  <a:gd name="connsiteX181" fmla="*/ 5872162 w 8801100"/>
                  <a:gd name="connsiteY181" fmla="*/ 4048125 h 4410075"/>
                  <a:gd name="connsiteX182" fmla="*/ 5929313 w 8801100"/>
                  <a:gd name="connsiteY182" fmla="*/ 4021932 h 4410075"/>
                  <a:gd name="connsiteX183" fmla="*/ 6062662 w 8801100"/>
                  <a:gd name="connsiteY183" fmla="*/ 4019550 h 4410075"/>
                  <a:gd name="connsiteX184" fmla="*/ 6196012 w 8801100"/>
                  <a:gd name="connsiteY184" fmla="*/ 3921919 h 4410075"/>
                  <a:gd name="connsiteX185" fmla="*/ 6262687 w 8801100"/>
                  <a:gd name="connsiteY185" fmla="*/ 3914775 h 4410075"/>
                  <a:gd name="connsiteX186" fmla="*/ 6360319 w 8801100"/>
                  <a:gd name="connsiteY186" fmla="*/ 3840956 h 4410075"/>
                  <a:gd name="connsiteX187" fmla="*/ 6434138 w 8801100"/>
                  <a:gd name="connsiteY187" fmla="*/ 3771900 h 4410075"/>
                  <a:gd name="connsiteX188" fmla="*/ 6443663 w 8801100"/>
                  <a:gd name="connsiteY188" fmla="*/ 3709988 h 4410075"/>
                  <a:gd name="connsiteX189" fmla="*/ 6477000 w 8801100"/>
                  <a:gd name="connsiteY189" fmla="*/ 3640931 h 4410075"/>
                  <a:gd name="connsiteX190" fmla="*/ 6629400 w 8801100"/>
                  <a:gd name="connsiteY190" fmla="*/ 3533775 h 4410075"/>
                  <a:gd name="connsiteX191" fmla="*/ 6662738 w 8801100"/>
                  <a:gd name="connsiteY191" fmla="*/ 3538538 h 4410075"/>
                  <a:gd name="connsiteX192" fmla="*/ 6715125 w 8801100"/>
                  <a:gd name="connsiteY192" fmla="*/ 3459956 h 4410075"/>
                  <a:gd name="connsiteX193" fmla="*/ 6762750 w 8801100"/>
                  <a:gd name="connsiteY193" fmla="*/ 3421856 h 4410075"/>
                  <a:gd name="connsiteX194" fmla="*/ 6748463 w 8801100"/>
                  <a:gd name="connsiteY194" fmla="*/ 3352800 h 4410075"/>
                  <a:gd name="connsiteX195" fmla="*/ 6698456 w 8801100"/>
                  <a:gd name="connsiteY195" fmla="*/ 3321843 h 4410075"/>
                  <a:gd name="connsiteX196" fmla="*/ 6638925 w 8801100"/>
                  <a:gd name="connsiteY196" fmla="*/ 3267075 h 4410075"/>
                  <a:gd name="connsiteX197" fmla="*/ 6619875 w 8801100"/>
                  <a:gd name="connsiteY197" fmla="*/ 3209925 h 4410075"/>
                  <a:gd name="connsiteX198" fmla="*/ 6584156 w 8801100"/>
                  <a:gd name="connsiteY198" fmla="*/ 3176588 h 4410075"/>
                  <a:gd name="connsiteX199" fmla="*/ 6610350 w 8801100"/>
                  <a:gd name="connsiteY199" fmla="*/ 3124200 h 4410075"/>
                  <a:gd name="connsiteX200" fmla="*/ 6650831 w 8801100"/>
                  <a:gd name="connsiteY200" fmla="*/ 2945606 h 4410075"/>
                  <a:gd name="connsiteX201" fmla="*/ 6691313 w 8801100"/>
                  <a:gd name="connsiteY201" fmla="*/ 2878931 h 4410075"/>
                  <a:gd name="connsiteX202" fmla="*/ 6836569 w 8801100"/>
                  <a:gd name="connsiteY202" fmla="*/ 2862262 h 4410075"/>
                  <a:gd name="connsiteX203" fmla="*/ 6905625 w 8801100"/>
                  <a:gd name="connsiteY203" fmla="*/ 2919413 h 4410075"/>
                  <a:gd name="connsiteX204" fmla="*/ 6981825 w 8801100"/>
                  <a:gd name="connsiteY204" fmla="*/ 2943225 h 4410075"/>
                  <a:gd name="connsiteX205" fmla="*/ 7186612 w 8801100"/>
                  <a:gd name="connsiteY205" fmla="*/ 2947988 h 4410075"/>
                  <a:gd name="connsiteX206" fmla="*/ 7362825 w 8801100"/>
                  <a:gd name="connsiteY206" fmla="*/ 2809875 h 4410075"/>
                  <a:gd name="connsiteX207" fmla="*/ 7419975 w 8801100"/>
                  <a:gd name="connsiteY207" fmla="*/ 2719387 h 4410075"/>
                  <a:gd name="connsiteX208" fmla="*/ 7446169 w 8801100"/>
                  <a:gd name="connsiteY208" fmla="*/ 2636044 h 4410075"/>
                  <a:gd name="connsiteX209" fmla="*/ 7577137 w 8801100"/>
                  <a:gd name="connsiteY209" fmla="*/ 2636044 h 4410075"/>
                  <a:gd name="connsiteX210" fmla="*/ 7750969 w 8801100"/>
                  <a:gd name="connsiteY210" fmla="*/ 2578893 h 4410075"/>
                  <a:gd name="connsiteX211" fmla="*/ 7810500 w 8801100"/>
                  <a:gd name="connsiteY211" fmla="*/ 2466975 h 4410075"/>
                  <a:gd name="connsiteX212" fmla="*/ 7874794 w 8801100"/>
                  <a:gd name="connsiteY212" fmla="*/ 2431256 h 4410075"/>
                  <a:gd name="connsiteX213" fmla="*/ 7853363 w 8801100"/>
                  <a:gd name="connsiteY213" fmla="*/ 2386013 h 4410075"/>
                  <a:gd name="connsiteX214" fmla="*/ 7931944 w 8801100"/>
                  <a:gd name="connsiteY214" fmla="*/ 2216943 h 4410075"/>
                  <a:gd name="connsiteX215" fmla="*/ 7986713 w 8801100"/>
                  <a:gd name="connsiteY215" fmla="*/ 2157413 h 4410075"/>
                  <a:gd name="connsiteX216" fmla="*/ 8024813 w 8801100"/>
                  <a:gd name="connsiteY216" fmla="*/ 2152650 h 4410075"/>
                  <a:gd name="connsiteX217" fmla="*/ 8070056 w 8801100"/>
                  <a:gd name="connsiteY217" fmla="*/ 2157413 h 4410075"/>
                  <a:gd name="connsiteX218" fmla="*/ 8134350 w 8801100"/>
                  <a:gd name="connsiteY218" fmla="*/ 2124075 h 4410075"/>
                  <a:gd name="connsiteX219" fmla="*/ 8143875 w 8801100"/>
                  <a:gd name="connsiteY219" fmla="*/ 2059781 h 4410075"/>
                  <a:gd name="connsiteX220" fmla="*/ 8184355 w 8801100"/>
                  <a:gd name="connsiteY220" fmla="*/ 2024063 h 4410075"/>
                  <a:gd name="connsiteX221" fmla="*/ 8243888 w 8801100"/>
                  <a:gd name="connsiteY221" fmla="*/ 2064543 h 4410075"/>
                  <a:gd name="connsiteX222" fmla="*/ 8270082 w 8801100"/>
                  <a:gd name="connsiteY222" fmla="*/ 2014537 h 4410075"/>
                  <a:gd name="connsiteX223" fmla="*/ 8365331 w 8801100"/>
                  <a:gd name="connsiteY223" fmla="*/ 1945481 h 4410075"/>
                  <a:gd name="connsiteX224" fmla="*/ 8427244 w 8801100"/>
                  <a:gd name="connsiteY224" fmla="*/ 1952625 h 4410075"/>
                  <a:gd name="connsiteX225" fmla="*/ 8477250 w 8801100"/>
                  <a:gd name="connsiteY225" fmla="*/ 1933575 h 4410075"/>
                  <a:gd name="connsiteX226" fmla="*/ 8515350 w 8801100"/>
                  <a:gd name="connsiteY226" fmla="*/ 1905000 h 4410075"/>
                  <a:gd name="connsiteX227" fmla="*/ 8548688 w 8801100"/>
                  <a:gd name="connsiteY227" fmla="*/ 1902619 h 4410075"/>
                  <a:gd name="connsiteX228" fmla="*/ 8584406 w 8801100"/>
                  <a:gd name="connsiteY228" fmla="*/ 1933575 h 4410075"/>
                  <a:gd name="connsiteX229" fmla="*/ 8643938 w 8801100"/>
                  <a:gd name="connsiteY229" fmla="*/ 1933575 h 4410075"/>
                  <a:gd name="connsiteX230" fmla="*/ 8682037 w 8801100"/>
                  <a:gd name="connsiteY230" fmla="*/ 1914525 h 4410075"/>
                  <a:gd name="connsiteX231" fmla="*/ 8765381 w 8801100"/>
                  <a:gd name="connsiteY231" fmla="*/ 1916907 h 4410075"/>
                  <a:gd name="connsiteX232" fmla="*/ 8796338 w 8801100"/>
                  <a:gd name="connsiteY232" fmla="*/ 1871663 h 4410075"/>
                  <a:gd name="connsiteX233" fmla="*/ 8801100 w 8801100"/>
                  <a:gd name="connsiteY233" fmla="*/ 1809750 h 4410075"/>
                  <a:gd name="connsiteX234" fmla="*/ 8751093 w 8801100"/>
                  <a:gd name="connsiteY234" fmla="*/ 1769269 h 4410075"/>
                  <a:gd name="connsiteX235" fmla="*/ 8734425 w 8801100"/>
                  <a:gd name="connsiteY235" fmla="*/ 1714500 h 4410075"/>
                  <a:gd name="connsiteX236" fmla="*/ 8643938 w 8801100"/>
                  <a:gd name="connsiteY236" fmla="*/ 1652588 h 4410075"/>
                  <a:gd name="connsiteX237" fmla="*/ 8603456 w 8801100"/>
                  <a:gd name="connsiteY237" fmla="*/ 1631156 h 4410075"/>
                  <a:gd name="connsiteX238" fmla="*/ 8565356 w 8801100"/>
                  <a:gd name="connsiteY238" fmla="*/ 1585913 h 4410075"/>
                  <a:gd name="connsiteX239" fmla="*/ 8534400 w 8801100"/>
                  <a:gd name="connsiteY239" fmla="*/ 1583531 h 4410075"/>
                  <a:gd name="connsiteX240" fmla="*/ 8517731 w 8801100"/>
                  <a:gd name="connsiteY240" fmla="*/ 1531144 h 4410075"/>
                  <a:gd name="connsiteX241" fmla="*/ 8477250 w 8801100"/>
                  <a:gd name="connsiteY241" fmla="*/ 1514475 h 4410075"/>
                  <a:gd name="connsiteX242" fmla="*/ 8477250 w 8801100"/>
                  <a:gd name="connsiteY242" fmla="*/ 1514475 h 4410075"/>
                  <a:gd name="connsiteX243" fmla="*/ 8436769 w 8801100"/>
                  <a:gd name="connsiteY243" fmla="*/ 1519238 h 4410075"/>
                  <a:gd name="connsiteX244" fmla="*/ 8351043 w 8801100"/>
                  <a:gd name="connsiteY244" fmla="*/ 1445419 h 4410075"/>
                  <a:gd name="connsiteX245" fmla="*/ 8170069 w 8801100"/>
                  <a:gd name="connsiteY245" fmla="*/ 1445418 h 4410075"/>
                  <a:gd name="connsiteX246" fmla="*/ 8117681 w 8801100"/>
                  <a:gd name="connsiteY246" fmla="*/ 1483519 h 4410075"/>
                  <a:gd name="connsiteX247" fmla="*/ 8067675 w 8801100"/>
                  <a:gd name="connsiteY247" fmla="*/ 1562100 h 4410075"/>
                  <a:gd name="connsiteX248" fmla="*/ 8084344 w 8801100"/>
                  <a:gd name="connsiteY248" fmla="*/ 1583531 h 4410075"/>
                  <a:gd name="connsiteX249" fmla="*/ 8039100 w 8801100"/>
                  <a:gd name="connsiteY249" fmla="*/ 1633537 h 4410075"/>
                  <a:gd name="connsiteX250" fmla="*/ 7889081 w 8801100"/>
                  <a:gd name="connsiteY250" fmla="*/ 1557337 h 4410075"/>
                  <a:gd name="connsiteX251" fmla="*/ 7798594 w 8801100"/>
                  <a:gd name="connsiteY251" fmla="*/ 1593056 h 4410075"/>
                  <a:gd name="connsiteX252" fmla="*/ 7724775 w 8801100"/>
                  <a:gd name="connsiteY252" fmla="*/ 1590675 h 4410075"/>
                  <a:gd name="connsiteX253" fmla="*/ 7667625 w 8801100"/>
                  <a:gd name="connsiteY253" fmla="*/ 1685925 h 4410075"/>
                  <a:gd name="connsiteX254" fmla="*/ 7529513 w 8801100"/>
                  <a:gd name="connsiteY254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671637 w 8801100"/>
                  <a:gd name="connsiteY148" fmla="*/ 3009900 h 4410075"/>
                  <a:gd name="connsiteX149" fmla="*/ 1838325 w 8801100"/>
                  <a:gd name="connsiteY149" fmla="*/ 3136106 h 4410075"/>
                  <a:gd name="connsiteX150" fmla="*/ 1909763 w 8801100"/>
                  <a:gd name="connsiteY150" fmla="*/ 3131344 h 4410075"/>
                  <a:gd name="connsiteX151" fmla="*/ 1945482 w 8801100"/>
                  <a:gd name="connsiteY151" fmla="*/ 3155156 h 4410075"/>
                  <a:gd name="connsiteX152" fmla="*/ 1916906 w 8801100"/>
                  <a:gd name="connsiteY152" fmla="*/ 3195638 h 4410075"/>
                  <a:gd name="connsiteX153" fmla="*/ 1924050 w 8801100"/>
                  <a:gd name="connsiteY153" fmla="*/ 3248025 h 4410075"/>
                  <a:gd name="connsiteX154" fmla="*/ 1976438 w 8801100"/>
                  <a:gd name="connsiteY154" fmla="*/ 3274219 h 4410075"/>
                  <a:gd name="connsiteX155" fmla="*/ 2038350 w 8801100"/>
                  <a:gd name="connsiteY155" fmla="*/ 3498057 h 4410075"/>
                  <a:gd name="connsiteX156" fmla="*/ 2028825 w 8801100"/>
                  <a:gd name="connsiteY156" fmla="*/ 3562350 h 4410075"/>
                  <a:gd name="connsiteX157" fmla="*/ 2164556 w 8801100"/>
                  <a:gd name="connsiteY157" fmla="*/ 3729038 h 4410075"/>
                  <a:gd name="connsiteX158" fmla="*/ 2183606 w 8801100"/>
                  <a:gd name="connsiteY158" fmla="*/ 3779044 h 4410075"/>
                  <a:gd name="connsiteX159" fmla="*/ 2157413 w 8801100"/>
                  <a:gd name="connsiteY159" fmla="*/ 3798094 h 4410075"/>
                  <a:gd name="connsiteX160" fmla="*/ 2259806 w 8801100"/>
                  <a:gd name="connsiteY160" fmla="*/ 3807619 h 4410075"/>
                  <a:gd name="connsiteX161" fmla="*/ 2371725 w 8801100"/>
                  <a:gd name="connsiteY161" fmla="*/ 3795713 h 4410075"/>
                  <a:gd name="connsiteX162" fmla="*/ 2650331 w 8801100"/>
                  <a:gd name="connsiteY162" fmla="*/ 3879056 h 4410075"/>
                  <a:gd name="connsiteX163" fmla="*/ 3057525 w 8801100"/>
                  <a:gd name="connsiteY163" fmla="*/ 3960019 h 4410075"/>
                  <a:gd name="connsiteX164" fmla="*/ 3255169 w 8801100"/>
                  <a:gd name="connsiteY164" fmla="*/ 3929062 h 4410075"/>
                  <a:gd name="connsiteX165" fmla="*/ 3300413 w 8801100"/>
                  <a:gd name="connsiteY165" fmla="*/ 3940968 h 4410075"/>
                  <a:gd name="connsiteX166" fmla="*/ 3355181 w 8801100"/>
                  <a:gd name="connsiteY166" fmla="*/ 3917157 h 4410075"/>
                  <a:gd name="connsiteX167" fmla="*/ 3748087 w 8801100"/>
                  <a:gd name="connsiteY167" fmla="*/ 4007644 h 4410075"/>
                  <a:gd name="connsiteX168" fmla="*/ 3831432 w 8801100"/>
                  <a:gd name="connsiteY168" fmla="*/ 4105275 h 4410075"/>
                  <a:gd name="connsiteX169" fmla="*/ 3950494 w 8801100"/>
                  <a:gd name="connsiteY169" fmla="*/ 4176713 h 4410075"/>
                  <a:gd name="connsiteX170" fmla="*/ 4010025 w 8801100"/>
                  <a:gd name="connsiteY170" fmla="*/ 4160044 h 4410075"/>
                  <a:gd name="connsiteX171" fmla="*/ 4360068 w 8801100"/>
                  <a:gd name="connsiteY171" fmla="*/ 4333875 h 4410075"/>
                  <a:gd name="connsiteX172" fmla="*/ 4586288 w 8801100"/>
                  <a:gd name="connsiteY172" fmla="*/ 4305300 h 4410075"/>
                  <a:gd name="connsiteX173" fmla="*/ 4595813 w 8801100"/>
                  <a:gd name="connsiteY173" fmla="*/ 4383881 h 4410075"/>
                  <a:gd name="connsiteX174" fmla="*/ 4681538 w 8801100"/>
                  <a:gd name="connsiteY174" fmla="*/ 4379118 h 4410075"/>
                  <a:gd name="connsiteX175" fmla="*/ 4760119 w 8801100"/>
                  <a:gd name="connsiteY175" fmla="*/ 4410075 h 4410075"/>
                  <a:gd name="connsiteX176" fmla="*/ 4802981 w 8801100"/>
                  <a:gd name="connsiteY176" fmla="*/ 4350544 h 4410075"/>
                  <a:gd name="connsiteX177" fmla="*/ 5474494 w 8801100"/>
                  <a:gd name="connsiteY177" fmla="*/ 4031456 h 4410075"/>
                  <a:gd name="connsiteX178" fmla="*/ 5562600 w 8801100"/>
                  <a:gd name="connsiteY178" fmla="*/ 4060032 h 4410075"/>
                  <a:gd name="connsiteX179" fmla="*/ 5693569 w 8801100"/>
                  <a:gd name="connsiteY179" fmla="*/ 4031456 h 4410075"/>
                  <a:gd name="connsiteX180" fmla="*/ 5872162 w 8801100"/>
                  <a:gd name="connsiteY180" fmla="*/ 4048125 h 4410075"/>
                  <a:gd name="connsiteX181" fmla="*/ 5929313 w 8801100"/>
                  <a:gd name="connsiteY181" fmla="*/ 4021932 h 4410075"/>
                  <a:gd name="connsiteX182" fmla="*/ 6062662 w 8801100"/>
                  <a:gd name="connsiteY182" fmla="*/ 4019550 h 4410075"/>
                  <a:gd name="connsiteX183" fmla="*/ 6196012 w 8801100"/>
                  <a:gd name="connsiteY183" fmla="*/ 3921919 h 4410075"/>
                  <a:gd name="connsiteX184" fmla="*/ 6262687 w 8801100"/>
                  <a:gd name="connsiteY184" fmla="*/ 3914775 h 4410075"/>
                  <a:gd name="connsiteX185" fmla="*/ 6360319 w 8801100"/>
                  <a:gd name="connsiteY185" fmla="*/ 3840956 h 4410075"/>
                  <a:gd name="connsiteX186" fmla="*/ 6434138 w 8801100"/>
                  <a:gd name="connsiteY186" fmla="*/ 3771900 h 4410075"/>
                  <a:gd name="connsiteX187" fmla="*/ 6443663 w 8801100"/>
                  <a:gd name="connsiteY187" fmla="*/ 3709988 h 4410075"/>
                  <a:gd name="connsiteX188" fmla="*/ 6477000 w 8801100"/>
                  <a:gd name="connsiteY188" fmla="*/ 3640931 h 4410075"/>
                  <a:gd name="connsiteX189" fmla="*/ 6629400 w 8801100"/>
                  <a:gd name="connsiteY189" fmla="*/ 3533775 h 4410075"/>
                  <a:gd name="connsiteX190" fmla="*/ 6662738 w 8801100"/>
                  <a:gd name="connsiteY190" fmla="*/ 3538538 h 4410075"/>
                  <a:gd name="connsiteX191" fmla="*/ 6715125 w 8801100"/>
                  <a:gd name="connsiteY191" fmla="*/ 3459956 h 4410075"/>
                  <a:gd name="connsiteX192" fmla="*/ 6762750 w 8801100"/>
                  <a:gd name="connsiteY192" fmla="*/ 3421856 h 4410075"/>
                  <a:gd name="connsiteX193" fmla="*/ 6748463 w 8801100"/>
                  <a:gd name="connsiteY193" fmla="*/ 3352800 h 4410075"/>
                  <a:gd name="connsiteX194" fmla="*/ 6698456 w 8801100"/>
                  <a:gd name="connsiteY194" fmla="*/ 3321843 h 4410075"/>
                  <a:gd name="connsiteX195" fmla="*/ 6638925 w 8801100"/>
                  <a:gd name="connsiteY195" fmla="*/ 3267075 h 4410075"/>
                  <a:gd name="connsiteX196" fmla="*/ 6619875 w 8801100"/>
                  <a:gd name="connsiteY196" fmla="*/ 3209925 h 4410075"/>
                  <a:gd name="connsiteX197" fmla="*/ 6584156 w 8801100"/>
                  <a:gd name="connsiteY197" fmla="*/ 3176588 h 4410075"/>
                  <a:gd name="connsiteX198" fmla="*/ 6610350 w 8801100"/>
                  <a:gd name="connsiteY198" fmla="*/ 3124200 h 4410075"/>
                  <a:gd name="connsiteX199" fmla="*/ 6650831 w 8801100"/>
                  <a:gd name="connsiteY199" fmla="*/ 2945606 h 4410075"/>
                  <a:gd name="connsiteX200" fmla="*/ 6691313 w 8801100"/>
                  <a:gd name="connsiteY200" fmla="*/ 2878931 h 4410075"/>
                  <a:gd name="connsiteX201" fmla="*/ 6836569 w 8801100"/>
                  <a:gd name="connsiteY201" fmla="*/ 2862262 h 4410075"/>
                  <a:gd name="connsiteX202" fmla="*/ 6905625 w 8801100"/>
                  <a:gd name="connsiteY202" fmla="*/ 2919413 h 4410075"/>
                  <a:gd name="connsiteX203" fmla="*/ 6981825 w 8801100"/>
                  <a:gd name="connsiteY203" fmla="*/ 2943225 h 4410075"/>
                  <a:gd name="connsiteX204" fmla="*/ 7186612 w 8801100"/>
                  <a:gd name="connsiteY204" fmla="*/ 2947988 h 4410075"/>
                  <a:gd name="connsiteX205" fmla="*/ 7362825 w 8801100"/>
                  <a:gd name="connsiteY205" fmla="*/ 2809875 h 4410075"/>
                  <a:gd name="connsiteX206" fmla="*/ 7419975 w 8801100"/>
                  <a:gd name="connsiteY206" fmla="*/ 2719387 h 4410075"/>
                  <a:gd name="connsiteX207" fmla="*/ 7446169 w 8801100"/>
                  <a:gd name="connsiteY207" fmla="*/ 2636044 h 4410075"/>
                  <a:gd name="connsiteX208" fmla="*/ 7577137 w 8801100"/>
                  <a:gd name="connsiteY208" fmla="*/ 2636044 h 4410075"/>
                  <a:gd name="connsiteX209" fmla="*/ 7750969 w 8801100"/>
                  <a:gd name="connsiteY209" fmla="*/ 2578893 h 4410075"/>
                  <a:gd name="connsiteX210" fmla="*/ 7810500 w 8801100"/>
                  <a:gd name="connsiteY210" fmla="*/ 2466975 h 4410075"/>
                  <a:gd name="connsiteX211" fmla="*/ 7874794 w 8801100"/>
                  <a:gd name="connsiteY211" fmla="*/ 2431256 h 4410075"/>
                  <a:gd name="connsiteX212" fmla="*/ 7853363 w 8801100"/>
                  <a:gd name="connsiteY212" fmla="*/ 2386013 h 4410075"/>
                  <a:gd name="connsiteX213" fmla="*/ 7931944 w 8801100"/>
                  <a:gd name="connsiteY213" fmla="*/ 2216943 h 4410075"/>
                  <a:gd name="connsiteX214" fmla="*/ 7986713 w 8801100"/>
                  <a:gd name="connsiteY214" fmla="*/ 2157413 h 4410075"/>
                  <a:gd name="connsiteX215" fmla="*/ 8024813 w 8801100"/>
                  <a:gd name="connsiteY215" fmla="*/ 2152650 h 4410075"/>
                  <a:gd name="connsiteX216" fmla="*/ 8070056 w 8801100"/>
                  <a:gd name="connsiteY216" fmla="*/ 2157413 h 4410075"/>
                  <a:gd name="connsiteX217" fmla="*/ 8134350 w 8801100"/>
                  <a:gd name="connsiteY217" fmla="*/ 2124075 h 4410075"/>
                  <a:gd name="connsiteX218" fmla="*/ 8143875 w 8801100"/>
                  <a:gd name="connsiteY218" fmla="*/ 2059781 h 4410075"/>
                  <a:gd name="connsiteX219" fmla="*/ 8184355 w 8801100"/>
                  <a:gd name="connsiteY219" fmla="*/ 2024063 h 4410075"/>
                  <a:gd name="connsiteX220" fmla="*/ 8243888 w 8801100"/>
                  <a:gd name="connsiteY220" fmla="*/ 2064543 h 4410075"/>
                  <a:gd name="connsiteX221" fmla="*/ 8270082 w 8801100"/>
                  <a:gd name="connsiteY221" fmla="*/ 2014537 h 4410075"/>
                  <a:gd name="connsiteX222" fmla="*/ 8365331 w 8801100"/>
                  <a:gd name="connsiteY222" fmla="*/ 1945481 h 4410075"/>
                  <a:gd name="connsiteX223" fmla="*/ 8427244 w 8801100"/>
                  <a:gd name="connsiteY223" fmla="*/ 1952625 h 4410075"/>
                  <a:gd name="connsiteX224" fmla="*/ 8477250 w 8801100"/>
                  <a:gd name="connsiteY224" fmla="*/ 1933575 h 4410075"/>
                  <a:gd name="connsiteX225" fmla="*/ 8515350 w 8801100"/>
                  <a:gd name="connsiteY225" fmla="*/ 1905000 h 4410075"/>
                  <a:gd name="connsiteX226" fmla="*/ 8548688 w 8801100"/>
                  <a:gd name="connsiteY226" fmla="*/ 1902619 h 4410075"/>
                  <a:gd name="connsiteX227" fmla="*/ 8584406 w 8801100"/>
                  <a:gd name="connsiteY227" fmla="*/ 1933575 h 4410075"/>
                  <a:gd name="connsiteX228" fmla="*/ 8643938 w 8801100"/>
                  <a:gd name="connsiteY228" fmla="*/ 1933575 h 4410075"/>
                  <a:gd name="connsiteX229" fmla="*/ 8682037 w 8801100"/>
                  <a:gd name="connsiteY229" fmla="*/ 1914525 h 4410075"/>
                  <a:gd name="connsiteX230" fmla="*/ 8765381 w 8801100"/>
                  <a:gd name="connsiteY230" fmla="*/ 1916907 h 4410075"/>
                  <a:gd name="connsiteX231" fmla="*/ 8796338 w 8801100"/>
                  <a:gd name="connsiteY231" fmla="*/ 1871663 h 4410075"/>
                  <a:gd name="connsiteX232" fmla="*/ 8801100 w 8801100"/>
                  <a:gd name="connsiteY232" fmla="*/ 1809750 h 4410075"/>
                  <a:gd name="connsiteX233" fmla="*/ 8751093 w 8801100"/>
                  <a:gd name="connsiteY233" fmla="*/ 1769269 h 4410075"/>
                  <a:gd name="connsiteX234" fmla="*/ 8734425 w 8801100"/>
                  <a:gd name="connsiteY234" fmla="*/ 1714500 h 4410075"/>
                  <a:gd name="connsiteX235" fmla="*/ 8643938 w 8801100"/>
                  <a:gd name="connsiteY235" fmla="*/ 1652588 h 4410075"/>
                  <a:gd name="connsiteX236" fmla="*/ 8603456 w 8801100"/>
                  <a:gd name="connsiteY236" fmla="*/ 1631156 h 4410075"/>
                  <a:gd name="connsiteX237" fmla="*/ 8565356 w 8801100"/>
                  <a:gd name="connsiteY237" fmla="*/ 1585913 h 4410075"/>
                  <a:gd name="connsiteX238" fmla="*/ 8534400 w 8801100"/>
                  <a:gd name="connsiteY238" fmla="*/ 1583531 h 4410075"/>
                  <a:gd name="connsiteX239" fmla="*/ 8517731 w 8801100"/>
                  <a:gd name="connsiteY239" fmla="*/ 1531144 h 4410075"/>
                  <a:gd name="connsiteX240" fmla="*/ 8477250 w 8801100"/>
                  <a:gd name="connsiteY240" fmla="*/ 1514475 h 4410075"/>
                  <a:gd name="connsiteX241" fmla="*/ 8477250 w 8801100"/>
                  <a:gd name="connsiteY241" fmla="*/ 1514475 h 4410075"/>
                  <a:gd name="connsiteX242" fmla="*/ 8436769 w 8801100"/>
                  <a:gd name="connsiteY242" fmla="*/ 1519238 h 4410075"/>
                  <a:gd name="connsiteX243" fmla="*/ 8351043 w 8801100"/>
                  <a:gd name="connsiteY243" fmla="*/ 1445419 h 4410075"/>
                  <a:gd name="connsiteX244" fmla="*/ 8170069 w 8801100"/>
                  <a:gd name="connsiteY244" fmla="*/ 1445418 h 4410075"/>
                  <a:gd name="connsiteX245" fmla="*/ 8117681 w 8801100"/>
                  <a:gd name="connsiteY245" fmla="*/ 1483519 h 4410075"/>
                  <a:gd name="connsiteX246" fmla="*/ 8067675 w 8801100"/>
                  <a:gd name="connsiteY246" fmla="*/ 1562100 h 4410075"/>
                  <a:gd name="connsiteX247" fmla="*/ 8084344 w 8801100"/>
                  <a:gd name="connsiteY247" fmla="*/ 1583531 h 4410075"/>
                  <a:gd name="connsiteX248" fmla="*/ 8039100 w 8801100"/>
                  <a:gd name="connsiteY248" fmla="*/ 1633537 h 4410075"/>
                  <a:gd name="connsiteX249" fmla="*/ 7889081 w 8801100"/>
                  <a:gd name="connsiteY249" fmla="*/ 1557337 h 4410075"/>
                  <a:gd name="connsiteX250" fmla="*/ 7798594 w 8801100"/>
                  <a:gd name="connsiteY250" fmla="*/ 1593056 h 4410075"/>
                  <a:gd name="connsiteX251" fmla="*/ 7724775 w 8801100"/>
                  <a:gd name="connsiteY251" fmla="*/ 1590675 h 4410075"/>
                  <a:gd name="connsiteX252" fmla="*/ 7667625 w 8801100"/>
                  <a:gd name="connsiteY252" fmla="*/ 1685925 h 4410075"/>
                  <a:gd name="connsiteX253" fmla="*/ 7529513 w 8801100"/>
                  <a:gd name="connsiteY253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838325 w 8801100"/>
                  <a:gd name="connsiteY148" fmla="*/ 3136106 h 4410075"/>
                  <a:gd name="connsiteX149" fmla="*/ 1909763 w 8801100"/>
                  <a:gd name="connsiteY149" fmla="*/ 3131344 h 4410075"/>
                  <a:gd name="connsiteX150" fmla="*/ 1945482 w 8801100"/>
                  <a:gd name="connsiteY150" fmla="*/ 3155156 h 4410075"/>
                  <a:gd name="connsiteX151" fmla="*/ 1916906 w 8801100"/>
                  <a:gd name="connsiteY151" fmla="*/ 3195638 h 4410075"/>
                  <a:gd name="connsiteX152" fmla="*/ 1924050 w 8801100"/>
                  <a:gd name="connsiteY152" fmla="*/ 3248025 h 4410075"/>
                  <a:gd name="connsiteX153" fmla="*/ 1976438 w 8801100"/>
                  <a:gd name="connsiteY153" fmla="*/ 3274219 h 4410075"/>
                  <a:gd name="connsiteX154" fmla="*/ 2038350 w 8801100"/>
                  <a:gd name="connsiteY154" fmla="*/ 3498057 h 4410075"/>
                  <a:gd name="connsiteX155" fmla="*/ 2028825 w 8801100"/>
                  <a:gd name="connsiteY155" fmla="*/ 3562350 h 4410075"/>
                  <a:gd name="connsiteX156" fmla="*/ 2164556 w 8801100"/>
                  <a:gd name="connsiteY156" fmla="*/ 3729038 h 4410075"/>
                  <a:gd name="connsiteX157" fmla="*/ 2183606 w 8801100"/>
                  <a:gd name="connsiteY157" fmla="*/ 3779044 h 4410075"/>
                  <a:gd name="connsiteX158" fmla="*/ 2157413 w 8801100"/>
                  <a:gd name="connsiteY158" fmla="*/ 3798094 h 4410075"/>
                  <a:gd name="connsiteX159" fmla="*/ 2259806 w 8801100"/>
                  <a:gd name="connsiteY159" fmla="*/ 3807619 h 4410075"/>
                  <a:gd name="connsiteX160" fmla="*/ 2371725 w 8801100"/>
                  <a:gd name="connsiteY160" fmla="*/ 3795713 h 4410075"/>
                  <a:gd name="connsiteX161" fmla="*/ 2650331 w 8801100"/>
                  <a:gd name="connsiteY161" fmla="*/ 3879056 h 4410075"/>
                  <a:gd name="connsiteX162" fmla="*/ 3057525 w 8801100"/>
                  <a:gd name="connsiteY162" fmla="*/ 3960019 h 4410075"/>
                  <a:gd name="connsiteX163" fmla="*/ 3255169 w 8801100"/>
                  <a:gd name="connsiteY163" fmla="*/ 3929062 h 4410075"/>
                  <a:gd name="connsiteX164" fmla="*/ 3300413 w 8801100"/>
                  <a:gd name="connsiteY164" fmla="*/ 3940968 h 4410075"/>
                  <a:gd name="connsiteX165" fmla="*/ 3355181 w 8801100"/>
                  <a:gd name="connsiteY165" fmla="*/ 3917157 h 4410075"/>
                  <a:gd name="connsiteX166" fmla="*/ 3748087 w 8801100"/>
                  <a:gd name="connsiteY166" fmla="*/ 4007644 h 4410075"/>
                  <a:gd name="connsiteX167" fmla="*/ 3831432 w 8801100"/>
                  <a:gd name="connsiteY167" fmla="*/ 4105275 h 4410075"/>
                  <a:gd name="connsiteX168" fmla="*/ 3950494 w 8801100"/>
                  <a:gd name="connsiteY168" fmla="*/ 4176713 h 4410075"/>
                  <a:gd name="connsiteX169" fmla="*/ 4010025 w 8801100"/>
                  <a:gd name="connsiteY169" fmla="*/ 4160044 h 4410075"/>
                  <a:gd name="connsiteX170" fmla="*/ 4360068 w 8801100"/>
                  <a:gd name="connsiteY170" fmla="*/ 4333875 h 4410075"/>
                  <a:gd name="connsiteX171" fmla="*/ 4586288 w 8801100"/>
                  <a:gd name="connsiteY171" fmla="*/ 4305300 h 4410075"/>
                  <a:gd name="connsiteX172" fmla="*/ 4595813 w 8801100"/>
                  <a:gd name="connsiteY172" fmla="*/ 4383881 h 4410075"/>
                  <a:gd name="connsiteX173" fmla="*/ 4681538 w 8801100"/>
                  <a:gd name="connsiteY173" fmla="*/ 4379118 h 4410075"/>
                  <a:gd name="connsiteX174" fmla="*/ 4760119 w 8801100"/>
                  <a:gd name="connsiteY174" fmla="*/ 4410075 h 4410075"/>
                  <a:gd name="connsiteX175" fmla="*/ 4802981 w 8801100"/>
                  <a:gd name="connsiteY175" fmla="*/ 4350544 h 4410075"/>
                  <a:gd name="connsiteX176" fmla="*/ 5474494 w 8801100"/>
                  <a:gd name="connsiteY176" fmla="*/ 4031456 h 4410075"/>
                  <a:gd name="connsiteX177" fmla="*/ 5562600 w 8801100"/>
                  <a:gd name="connsiteY177" fmla="*/ 4060032 h 4410075"/>
                  <a:gd name="connsiteX178" fmla="*/ 5693569 w 8801100"/>
                  <a:gd name="connsiteY178" fmla="*/ 4031456 h 4410075"/>
                  <a:gd name="connsiteX179" fmla="*/ 5872162 w 8801100"/>
                  <a:gd name="connsiteY179" fmla="*/ 4048125 h 4410075"/>
                  <a:gd name="connsiteX180" fmla="*/ 5929313 w 8801100"/>
                  <a:gd name="connsiteY180" fmla="*/ 4021932 h 4410075"/>
                  <a:gd name="connsiteX181" fmla="*/ 6062662 w 8801100"/>
                  <a:gd name="connsiteY181" fmla="*/ 4019550 h 4410075"/>
                  <a:gd name="connsiteX182" fmla="*/ 6196012 w 8801100"/>
                  <a:gd name="connsiteY182" fmla="*/ 3921919 h 4410075"/>
                  <a:gd name="connsiteX183" fmla="*/ 6262687 w 8801100"/>
                  <a:gd name="connsiteY183" fmla="*/ 3914775 h 4410075"/>
                  <a:gd name="connsiteX184" fmla="*/ 6360319 w 8801100"/>
                  <a:gd name="connsiteY184" fmla="*/ 3840956 h 4410075"/>
                  <a:gd name="connsiteX185" fmla="*/ 6434138 w 8801100"/>
                  <a:gd name="connsiteY185" fmla="*/ 3771900 h 4410075"/>
                  <a:gd name="connsiteX186" fmla="*/ 6443663 w 8801100"/>
                  <a:gd name="connsiteY186" fmla="*/ 3709988 h 4410075"/>
                  <a:gd name="connsiteX187" fmla="*/ 6477000 w 8801100"/>
                  <a:gd name="connsiteY187" fmla="*/ 3640931 h 4410075"/>
                  <a:gd name="connsiteX188" fmla="*/ 6629400 w 8801100"/>
                  <a:gd name="connsiteY188" fmla="*/ 3533775 h 4410075"/>
                  <a:gd name="connsiteX189" fmla="*/ 6662738 w 8801100"/>
                  <a:gd name="connsiteY189" fmla="*/ 3538538 h 4410075"/>
                  <a:gd name="connsiteX190" fmla="*/ 6715125 w 8801100"/>
                  <a:gd name="connsiteY190" fmla="*/ 3459956 h 4410075"/>
                  <a:gd name="connsiteX191" fmla="*/ 6762750 w 8801100"/>
                  <a:gd name="connsiteY191" fmla="*/ 3421856 h 4410075"/>
                  <a:gd name="connsiteX192" fmla="*/ 6748463 w 8801100"/>
                  <a:gd name="connsiteY192" fmla="*/ 3352800 h 4410075"/>
                  <a:gd name="connsiteX193" fmla="*/ 6698456 w 8801100"/>
                  <a:gd name="connsiteY193" fmla="*/ 3321843 h 4410075"/>
                  <a:gd name="connsiteX194" fmla="*/ 6638925 w 8801100"/>
                  <a:gd name="connsiteY194" fmla="*/ 3267075 h 4410075"/>
                  <a:gd name="connsiteX195" fmla="*/ 6619875 w 8801100"/>
                  <a:gd name="connsiteY195" fmla="*/ 3209925 h 4410075"/>
                  <a:gd name="connsiteX196" fmla="*/ 6584156 w 8801100"/>
                  <a:gd name="connsiteY196" fmla="*/ 3176588 h 4410075"/>
                  <a:gd name="connsiteX197" fmla="*/ 6610350 w 8801100"/>
                  <a:gd name="connsiteY197" fmla="*/ 3124200 h 4410075"/>
                  <a:gd name="connsiteX198" fmla="*/ 6650831 w 8801100"/>
                  <a:gd name="connsiteY198" fmla="*/ 2945606 h 4410075"/>
                  <a:gd name="connsiteX199" fmla="*/ 6691313 w 8801100"/>
                  <a:gd name="connsiteY199" fmla="*/ 2878931 h 4410075"/>
                  <a:gd name="connsiteX200" fmla="*/ 6836569 w 8801100"/>
                  <a:gd name="connsiteY200" fmla="*/ 2862262 h 4410075"/>
                  <a:gd name="connsiteX201" fmla="*/ 6905625 w 8801100"/>
                  <a:gd name="connsiteY201" fmla="*/ 2919413 h 4410075"/>
                  <a:gd name="connsiteX202" fmla="*/ 6981825 w 8801100"/>
                  <a:gd name="connsiteY202" fmla="*/ 2943225 h 4410075"/>
                  <a:gd name="connsiteX203" fmla="*/ 7186612 w 8801100"/>
                  <a:gd name="connsiteY203" fmla="*/ 2947988 h 4410075"/>
                  <a:gd name="connsiteX204" fmla="*/ 7362825 w 8801100"/>
                  <a:gd name="connsiteY204" fmla="*/ 2809875 h 4410075"/>
                  <a:gd name="connsiteX205" fmla="*/ 7419975 w 8801100"/>
                  <a:gd name="connsiteY205" fmla="*/ 2719387 h 4410075"/>
                  <a:gd name="connsiteX206" fmla="*/ 7446169 w 8801100"/>
                  <a:gd name="connsiteY206" fmla="*/ 2636044 h 4410075"/>
                  <a:gd name="connsiteX207" fmla="*/ 7577137 w 8801100"/>
                  <a:gd name="connsiteY207" fmla="*/ 2636044 h 4410075"/>
                  <a:gd name="connsiteX208" fmla="*/ 7750969 w 8801100"/>
                  <a:gd name="connsiteY208" fmla="*/ 2578893 h 4410075"/>
                  <a:gd name="connsiteX209" fmla="*/ 7810500 w 8801100"/>
                  <a:gd name="connsiteY209" fmla="*/ 2466975 h 4410075"/>
                  <a:gd name="connsiteX210" fmla="*/ 7874794 w 8801100"/>
                  <a:gd name="connsiteY210" fmla="*/ 2431256 h 4410075"/>
                  <a:gd name="connsiteX211" fmla="*/ 7853363 w 8801100"/>
                  <a:gd name="connsiteY211" fmla="*/ 2386013 h 4410075"/>
                  <a:gd name="connsiteX212" fmla="*/ 7931944 w 8801100"/>
                  <a:gd name="connsiteY212" fmla="*/ 2216943 h 4410075"/>
                  <a:gd name="connsiteX213" fmla="*/ 7986713 w 8801100"/>
                  <a:gd name="connsiteY213" fmla="*/ 2157413 h 4410075"/>
                  <a:gd name="connsiteX214" fmla="*/ 8024813 w 8801100"/>
                  <a:gd name="connsiteY214" fmla="*/ 2152650 h 4410075"/>
                  <a:gd name="connsiteX215" fmla="*/ 8070056 w 8801100"/>
                  <a:gd name="connsiteY215" fmla="*/ 2157413 h 4410075"/>
                  <a:gd name="connsiteX216" fmla="*/ 8134350 w 8801100"/>
                  <a:gd name="connsiteY216" fmla="*/ 2124075 h 4410075"/>
                  <a:gd name="connsiteX217" fmla="*/ 8143875 w 8801100"/>
                  <a:gd name="connsiteY217" fmla="*/ 2059781 h 4410075"/>
                  <a:gd name="connsiteX218" fmla="*/ 8184355 w 8801100"/>
                  <a:gd name="connsiteY218" fmla="*/ 2024063 h 4410075"/>
                  <a:gd name="connsiteX219" fmla="*/ 8243888 w 8801100"/>
                  <a:gd name="connsiteY219" fmla="*/ 2064543 h 4410075"/>
                  <a:gd name="connsiteX220" fmla="*/ 8270082 w 8801100"/>
                  <a:gd name="connsiteY220" fmla="*/ 2014537 h 4410075"/>
                  <a:gd name="connsiteX221" fmla="*/ 8365331 w 8801100"/>
                  <a:gd name="connsiteY221" fmla="*/ 1945481 h 4410075"/>
                  <a:gd name="connsiteX222" fmla="*/ 8427244 w 8801100"/>
                  <a:gd name="connsiteY222" fmla="*/ 1952625 h 4410075"/>
                  <a:gd name="connsiteX223" fmla="*/ 8477250 w 8801100"/>
                  <a:gd name="connsiteY223" fmla="*/ 1933575 h 4410075"/>
                  <a:gd name="connsiteX224" fmla="*/ 8515350 w 8801100"/>
                  <a:gd name="connsiteY224" fmla="*/ 1905000 h 4410075"/>
                  <a:gd name="connsiteX225" fmla="*/ 8548688 w 8801100"/>
                  <a:gd name="connsiteY225" fmla="*/ 1902619 h 4410075"/>
                  <a:gd name="connsiteX226" fmla="*/ 8584406 w 8801100"/>
                  <a:gd name="connsiteY226" fmla="*/ 1933575 h 4410075"/>
                  <a:gd name="connsiteX227" fmla="*/ 8643938 w 8801100"/>
                  <a:gd name="connsiteY227" fmla="*/ 1933575 h 4410075"/>
                  <a:gd name="connsiteX228" fmla="*/ 8682037 w 8801100"/>
                  <a:gd name="connsiteY228" fmla="*/ 1914525 h 4410075"/>
                  <a:gd name="connsiteX229" fmla="*/ 8765381 w 8801100"/>
                  <a:gd name="connsiteY229" fmla="*/ 1916907 h 4410075"/>
                  <a:gd name="connsiteX230" fmla="*/ 8796338 w 8801100"/>
                  <a:gd name="connsiteY230" fmla="*/ 1871663 h 4410075"/>
                  <a:gd name="connsiteX231" fmla="*/ 8801100 w 8801100"/>
                  <a:gd name="connsiteY231" fmla="*/ 1809750 h 4410075"/>
                  <a:gd name="connsiteX232" fmla="*/ 8751093 w 8801100"/>
                  <a:gd name="connsiteY232" fmla="*/ 1769269 h 4410075"/>
                  <a:gd name="connsiteX233" fmla="*/ 8734425 w 8801100"/>
                  <a:gd name="connsiteY233" fmla="*/ 1714500 h 4410075"/>
                  <a:gd name="connsiteX234" fmla="*/ 8643938 w 8801100"/>
                  <a:gd name="connsiteY234" fmla="*/ 1652588 h 4410075"/>
                  <a:gd name="connsiteX235" fmla="*/ 8603456 w 8801100"/>
                  <a:gd name="connsiteY235" fmla="*/ 1631156 h 4410075"/>
                  <a:gd name="connsiteX236" fmla="*/ 8565356 w 8801100"/>
                  <a:gd name="connsiteY236" fmla="*/ 1585913 h 4410075"/>
                  <a:gd name="connsiteX237" fmla="*/ 8534400 w 8801100"/>
                  <a:gd name="connsiteY237" fmla="*/ 1583531 h 4410075"/>
                  <a:gd name="connsiteX238" fmla="*/ 8517731 w 8801100"/>
                  <a:gd name="connsiteY238" fmla="*/ 1531144 h 4410075"/>
                  <a:gd name="connsiteX239" fmla="*/ 8477250 w 8801100"/>
                  <a:gd name="connsiteY239" fmla="*/ 1514475 h 4410075"/>
                  <a:gd name="connsiteX240" fmla="*/ 8477250 w 8801100"/>
                  <a:gd name="connsiteY240" fmla="*/ 1514475 h 4410075"/>
                  <a:gd name="connsiteX241" fmla="*/ 8436769 w 8801100"/>
                  <a:gd name="connsiteY241" fmla="*/ 1519238 h 4410075"/>
                  <a:gd name="connsiteX242" fmla="*/ 8351043 w 8801100"/>
                  <a:gd name="connsiteY242" fmla="*/ 1445419 h 4410075"/>
                  <a:gd name="connsiteX243" fmla="*/ 8170069 w 8801100"/>
                  <a:gd name="connsiteY243" fmla="*/ 1445418 h 4410075"/>
                  <a:gd name="connsiteX244" fmla="*/ 8117681 w 8801100"/>
                  <a:gd name="connsiteY244" fmla="*/ 1483519 h 4410075"/>
                  <a:gd name="connsiteX245" fmla="*/ 8067675 w 8801100"/>
                  <a:gd name="connsiteY245" fmla="*/ 1562100 h 4410075"/>
                  <a:gd name="connsiteX246" fmla="*/ 8084344 w 8801100"/>
                  <a:gd name="connsiteY246" fmla="*/ 1583531 h 4410075"/>
                  <a:gd name="connsiteX247" fmla="*/ 8039100 w 8801100"/>
                  <a:gd name="connsiteY247" fmla="*/ 1633537 h 4410075"/>
                  <a:gd name="connsiteX248" fmla="*/ 7889081 w 8801100"/>
                  <a:gd name="connsiteY248" fmla="*/ 1557337 h 4410075"/>
                  <a:gd name="connsiteX249" fmla="*/ 7798594 w 8801100"/>
                  <a:gd name="connsiteY249" fmla="*/ 1593056 h 4410075"/>
                  <a:gd name="connsiteX250" fmla="*/ 7724775 w 8801100"/>
                  <a:gd name="connsiteY250" fmla="*/ 1590675 h 4410075"/>
                  <a:gd name="connsiteX251" fmla="*/ 7667625 w 8801100"/>
                  <a:gd name="connsiteY251" fmla="*/ 1685925 h 4410075"/>
                  <a:gd name="connsiteX252" fmla="*/ 7529513 w 8801100"/>
                  <a:gd name="connsiteY252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909763 w 8801100"/>
                  <a:gd name="connsiteY148" fmla="*/ 3131344 h 4410075"/>
                  <a:gd name="connsiteX149" fmla="*/ 1945482 w 8801100"/>
                  <a:gd name="connsiteY149" fmla="*/ 3155156 h 4410075"/>
                  <a:gd name="connsiteX150" fmla="*/ 1916906 w 8801100"/>
                  <a:gd name="connsiteY150" fmla="*/ 3195638 h 4410075"/>
                  <a:gd name="connsiteX151" fmla="*/ 1924050 w 8801100"/>
                  <a:gd name="connsiteY151" fmla="*/ 3248025 h 4410075"/>
                  <a:gd name="connsiteX152" fmla="*/ 1976438 w 8801100"/>
                  <a:gd name="connsiteY152" fmla="*/ 3274219 h 4410075"/>
                  <a:gd name="connsiteX153" fmla="*/ 2038350 w 8801100"/>
                  <a:gd name="connsiteY153" fmla="*/ 3498057 h 4410075"/>
                  <a:gd name="connsiteX154" fmla="*/ 2028825 w 8801100"/>
                  <a:gd name="connsiteY154" fmla="*/ 3562350 h 4410075"/>
                  <a:gd name="connsiteX155" fmla="*/ 2164556 w 8801100"/>
                  <a:gd name="connsiteY155" fmla="*/ 3729038 h 4410075"/>
                  <a:gd name="connsiteX156" fmla="*/ 2183606 w 8801100"/>
                  <a:gd name="connsiteY156" fmla="*/ 3779044 h 4410075"/>
                  <a:gd name="connsiteX157" fmla="*/ 2157413 w 8801100"/>
                  <a:gd name="connsiteY157" fmla="*/ 3798094 h 4410075"/>
                  <a:gd name="connsiteX158" fmla="*/ 2259806 w 8801100"/>
                  <a:gd name="connsiteY158" fmla="*/ 3807619 h 4410075"/>
                  <a:gd name="connsiteX159" fmla="*/ 2371725 w 8801100"/>
                  <a:gd name="connsiteY159" fmla="*/ 3795713 h 4410075"/>
                  <a:gd name="connsiteX160" fmla="*/ 2650331 w 8801100"/>
                  <a:gd name="connsiteY160" fmla="*/ 3879056 h 4410075"/>
                  <a:gd name="connsiteX161" fmla="*/ 3057525 w 8801100"/>
                  <a:gd name="connsiteY161" fmla="*/ 3960019 h 4410075"/>
                  <a:gd name="connsiteX162" fmla="*/ 3255169 w 8801100"/>
                  <a:gd name="connsiteY162" fmla="*/ 3929062 h 4410075"/>
                  <a:gd name="connsiteX163" fmla="*/ 3300413 w 8801100"/>
                  <a:gd name="connsiteY163" fmla="*/ 3940968 h 4410075"/>
                  <a:gd name="connsiteX164" fmla="*/ 3355181 w 8801100"/>
                  <a:gd name="connsiteY164" fmla="*/ 3917157 h 4410075"/>
                  <a:gd name="connsiteX165" fmla="*/ 3748087 w 8801100"/>
                  <a:gd name="connsiteY165" fmla="*/ 4007644 h 4410075"/>
                  <a:gd name="connsiteX166" fmla="*/ 3831432 w 8801100"/>
                  <a:gd name="connsiteY166" fmla="*/ 4105275 h 4410075"/>
                  <a:gd name="connsiteX167" fmla="*/ 3950494 w 8801100"/>
                  <a:gd name="connsiteY167" fmla="*/ 4176713 h 4410075"/>
                  <a:gd name="connsiteX168" fmla="*/ 4010025 w 8801100"/>
                  <a:gd name="connsiteY168" fmla="*/ 4160044 h 4410075"/>
                  <a:gd name="connsiteX169" fmla="*/ 4360068 w 8801100"/>
                  <a:gd name="connsiteY169" fmla="*/ 4333875 h 4410075"/>
                  <a:gd name="connsiteX170" fmla="*/ 4586288 w 8801100"/>
                  <a:gd name="connsiteY170" fmla="*/ 4305300 h 4410075"/>
                  <a:gd name="connsiteX171" fmla="*/ 4595813 w 8801100"/>
                  <a:gd name="connsiteY171" fmla="*/ 4383881 h 4410075"/>
                  <a:gd name="connsiteX172" fmla="*/ 4681538 w 8801100"/>
                  <a:gd name="connsiteY172" fmla="*/ 4379118 h 4410075"/>
                  <a:gd name="connsiteX173" fmla="*/ 4760119 w 8801100"/>
                  <a:gd name="connsiteY173" fmla="*/ 4410075 h 4410075"/>
                  <a:gd name="connsiteX174" fmla="*/ 4802981 w 8801100"/>
                  <a:gd name="connsiteY174" fmla="*/ 4350544 h 4410075"/>
                  <a:gd name="connsiteX175" fmla="*/ 5474494 w 8801100"/>
                  <a:gd name="connsiteY175" fmla="*/ 4031456 h 4410075"/>
                  <a:gd name="connsiteX176" fmla="*/ 5562600 w 8801100"/>
                  <a:gd name="connsiteY176" fmla="*/ 4060032 h 4410075"/>
                  <a:gd name="connsiteX177" fmla="*/ 5693569 w 8801100"/>
                  <a:gd name="connsiteY177" fmla="*/ 4031456 h 4410075"/>
                  <a:gd name="connsiteX178" fmla="*/ 5872162 w 8801100"/>
                  <a:gd name="connsiteY178" fmla="*/ 4048125 h 4410075"/>
                  <a:gd name="connsiteX179" fmla="*/ 5929313 w 8801100"/>
                  <a:gd name="connsiteY179" fmla="*/ 4021932 h 4410075"/>
                  <a:gd name="connsiteX180" fmla="*/ 6062662 w 8801100"/>
                  <a:gd name="connsiteY180" fmla="*/ 4019550 h 4410075"/>
                  <a:gd name="connsiteX181" fmla="*/ 6196012 w 8801100"/>
                  <a:gd name="connsiteY181" fmla="*/ 3921919 h 4410075"/>
                  <a:gd name="connsiteX182" fmla="*/ 6262687 w 8801100"/>
                  <a:gd name="connsiteY182" fmla="*/ 3914775 h 4410075"/>
                  <a:gd name="connsiteX183" fmla="*/ 6360319 w 8801100"/>
                  <a:gd name="connsiteY183" fmla="*/ 3840956 h 4410075"/>
                  <a:gd name="connsiteX184" fmla="*/ 6434138 w 8801100"/>
                  <a:gd name="connsiteY184" fmla="*/ 3771900 h 4410075"/>
                  <a:gd name="connsiteX185" fmla="*/ 6443663 w 8801100"/>
                  <a:gd name="connsiteY185" fmla="*/ 3709988 h 4410075"/>
                  <a:gd name="connsiteX186" fmla="*/ 6477000 w 8801100"/>
                  <a:gd name="connsiteY186" fmla="*/ 3640931 h 4410075"/>
                  <a:gd name="connsiteX187" fmla="*/ 6629400 w 8801100"/>
                  <a:gd name="connsiteY187" fmla="*/ 3533775 h 4410075"/>
                  <a:gd name="connsiteX188" fmla="*/ 6662738 w 8801100"/>
                  <a:gd name="connsiteY188" fmla="*/ 3538538 h 4410075"/>
                  <a:gd name="connsiteX189" fmla="*/ 6715125 w 8801100"/>
                  <a:gd name="connsiteY189" fmla="*/ 3459956 h 4410075"/>
                  <a:gd name="connsiteX190" fmla="*/ 6762750 w 8801100"/>
                  <a:gd name="connsiteY190" fmla="*/ 3421856 h 4410075"/>
                  <a:gd name="connsiteX191" fmla="*/ 6748463 w 8801100"/>
                  <a:gd name="connsiteY191" fmla="*/ 3352800 h 4410075"/>
                  <a:gd name="connsiteX192" fmla="*/ 6698456 w 8801100"/>
                  <a:gd name="connsiteY192" fmla="*/ 3321843 h 4410075"/>
                  <a:gd name="connsiteX193" fmla="*/ 6638925 w 8801100"/>
                  <a:gd name="connsiteY193" fmla="*/ 3267075 h 4410075"/>
                  <a:gd name="connsiteX194" fmla="*/ 6619875 w 8801100"/>
                  <a:gd name="connsiteY194" fmla="*/ 3209925 h 4410075"/>
                  <a:gd name="connsiteX195" fmla="*/ 6584156 w 8801100"/>
                  <a:gd name="connsiteY195" fmla="*/ 3176588 h 4410075"/>
                  <a:gd name="connsiteX196" fmla="*/ 6610350 w 8801100"/>
                  <a:gd name="connsiteY196" fmla="*/ 3124200 h 4410075"/>
                  <a:gd name="connsiteX197" fmla="*/ 6650831 w 8801100"/>
                  <a:gd name="connsiteY197" fmla="*/ 2945606 h 4410075"/>
                  <a:gd name="connsiteX198" fmla="*/ 6691313 w 8801100"/>
                  <a:gd name="connsiteY198" fmla="*/ 2878931 h 4410075"/>
                  <a:gd name="connsiteX199" fmla="*/ 6836569 w 8801100"/>
                  <a:gd name="connsiteY199" fmla="*/ 2862262 h 4410075"/>
                  <a:gd name="connsiteX200" fmla="*/ 6905625 w 8801100"/>
                  <a:gd name="connsiteY200" fmla="*/ 2919413 h 4410075"/>
                  <a:gd name="connsiteX201" fmla="*/ 6981825 w 8801100"/>
                  <a:gd name="connsiteY201" fmla="*/ 2943225 h 4410075"/>
                  <a:gd name="connsiteX202" fmla="*/ 7186612 w 8801100"/>
                  <a:gd name="connsiteY202" fmla="*/ 2947988 h 4410075"/>
                  <a:gd name="connsiteX203" fmla="*/ 7362825 w 8801100"/>
                  <a:gd name="connsiteY203" fmla="*/ 2809875 h 4410075"/>
                  <a:gd name="connsiteX204" fmla="*/ 7419975 w 8801100"/>
                  <a:gd name="connsiteY204" fmla="*/ 2719387 h 4410075"/>
                  <a:gd name="connsiteX205" fmla="*/ 7446169 w 8801100"/>
                  <a:gd name="connsiteY205" fmla="*/ 2636044 h 4410075"/>
                  <a:gd name="connsiteX206" fmla="*/ 7577137 w 8801100"/>
                  <a:gd name="connsiteY206" fmla="*/ 2636044 h 4410075"/>
                  <a:gd name="connsiteX207" fmla="*/ 7750969 w 8801100"/>
                  <a:gd name="connsiteY207" fmla="*/ 2578893 h 4410075"/>
                  <a:gd name="connsiteX208" fmla="*/ 7810500 w 8801100"/>
                  <a:gd name="connsiteY208" fmla="*/ 2466975 h 4410075"/>
                  <a:gd name="connsiteX209" fmla="*/ 7874794 w 8801100"/>
                  <a:gd name="connsiteY209" fmla="*/ 2431256 h 4410075"/>
                  <a:gd name="connsiteX210" fmla="*/ 7853363 w 8801100"/>
                  <a:gd name="connsiteY210" fmla="*/ 2386013 h 4410075"/>
                  <a:gd name="connsiteX211" fmla="*/ 7931944 w 8801100"/>
                  <a:gd name="connsiteY211" fmla="*/ 2216943 h 4410075"/>
                  <a:gd name="connsiteX212" fmla="*/ 7986713 w 8801100"/>
                  <a:gd name="connsiteY212" fmla="*/ 2157413 h 4410075"/>
                  <a:gd name="connsiteX213" fmla="*/ 8024813 w 8801100"/>
                  <a:gd name="connsiteY213" fmla="*/ 2152650 h 4410075"/>
                  <a:gd name="connsiteX214" fmla="*/ 8070056 w 8801100"/>
                  <a:gd name="connsiteY214" fmla="*/ 2157413 h 4410075"/>
                  <a:gd name="connsiteX215" fmla="*/ 8134350 w 8801100"/>
                  <a:gd name="connsiteY215" fmla="*/ 2124075 h 4410075"/>
                  <a:gd name="connsiteX216" fmla="*/ 8143875 w 8801100"/>
                  <a:gd name="connsiteY216" fmla="*/ 2059781 h 4410075"/>
                  <a:gd name="connsiteX217" fmla="*/ 8184355 w 8801100"/>
                  <a:gd name="connsiteY217" fmla="*/ 2024063 h 4410075"/>
                  <a:gd name="connsiteX218" fmla="*/ 8243888 w 8801100"/>
                  <a:gd name="connsiteY218" fmla="*/ 2064543 h 4410075"/>
                  <a:gd name="connsiteX219" fmla="*/ 8270082 w 8801100"/>
                  <a:gd name="connsiteY219" fmla="*/ 2014537 h 4410075"/>
                  <a:gd name="connsiteX220" fmla="*/ 8365331 w 8801100"/>
                  <a:gd name="connsiteY220" fmla="*/ 1945481 h 4410075"/>
                  <a:gd name="connsiteX221" fmla="*/ 8427244 w 8801100"/>
                  <a:gd name="connsiteY221" fmla="*/ 1952625 h 4410075"/>
                  <a:gd name="connsiteX222" fmla="*/ 8477250 w 8801100"/>
                  <a:gd name="connsiteY222" fmla="*/ 1933575 h 4410075"/>
                  <a:gd name="connsiteX223" fmla="*/ 8515350 w 8801100"/>
                  <a:gd name="connsiteY223" fmla="*/ 1905000 h 4410075"/>
                  <a:gd name="connsiteX224" fmla="*/ 8548688 w 8801100"/>
                  <a:gd name="connsiteY224" fmla="*/ 1902619 h 4410075"/>
                  <a:gd name="connsiteX225" fmla="*/ 8584406 w 8801100"/>
                  <a:gd name="connsiteY225" fmla="*/ 1933575 h 4410075"/>
                  <a:gd name="connsiteX226" fmla="*/ 8643938 w 8801100"/>
                  <a:gd name="connsiteY226" fmla="*/ 1933575 h 4410075"/>
                  <a:gd name="connsiteX227" fmla="*/ 8682037 w 8801100"/>
                  <a:gd name="connsiteY227" fmla="*/ 1914525 h 4410075"/>
                  <a:gd name="connsiteX228" fmla="*/ 8765381 w 8801100"/>
                  <a:gd name="connsiteY228" fmla="*/ 1916907 h 4410075"/>
                  <a:gd name="connsiteX229" fmla="*/ 8796338 w 8801100"/>
                  <a:gd name="connsiteY229" fmla="*/ 1871663 h 4410075"/>
                  <a:gd name="connsiteX230" fmla="*/ 8801100 w 8801100"/>
                  <a:gd name="connsiteY230" fmla="*/ 1809750 h 4410075"/>
                  <a:gd name="connsiteX231" fmla="*/ 8751093 w 8801100"/>
                  <a:gd name="connsiteY231" fmla="*/ 1769269 h 4410075"/>
                  <a:gd name="connsiteX232" fmla="*/ 8734425 w 8801100"/>
                  <a:gd name="connsiteY232" fmla="*/ 1714500 h 4410075"/>
                  <a:gd name="connsiteX233" fmla="*/ 8643938 w 8801100"/>
                  <a:gd name="connsiteY233" fmla="*/ 1652588 h 4410075"/>
                  <a:gd name="connsiteX234" fmla="*/ 8603456 w 8801100"/>
                  <a:gd name="connsiteY234" fmla="*/ 1631156 h 4410075"/>
                  <a:gd name="connsiteX235" fmla="*/ 8565356 w 8801100"/>
                  <a:gd name="connsiteY235" fmla="*/ 1585913 h 4410075"/>
                  <a:gd name="connsiteX236" fmla="*/ 8534400 w 8801100"/>
                  <a:gd name="connsiteY236" fmla="*/ 1583531 h 4410075"/>
                  <a:gd name="connsiteX237" fmla="*/ 8517731 w 8801100"/>
                  <a:gd name="connsiteY237" fmla="*/ 1531144 h 4410075"/>
                  <a:gd name="connsiteX238" fmla="*/ 8477250 w 8801100"/>
                  <a:gd name="connsiteY238" fmla="*/ 1514475 h 4410075"/>
                  <a:gd name="connsiteX239" fmla="*/ 8477250 w 8801100"/>
                  <a:gd name="connsiteY239" fmla="*/ 1514475 h 4410075"/>
                  <a:gd name="connsiteX240" fmla="*/ 8436769 w 8801100"/>
                  <a:gd name="connsiteY240" fmla="*/ 1519238 h 4410075"/>
                  <a:gd name="connsiteX241" fmla="*/ 8351043 w 8801100"/>
                  <a:gd name="connsiteY241" fmla="*/ 1445419 h 4410075"/>
                  <a:gd name="connsiteX242" fmla="*/ 8170069 w 8801100"/>
                  <a:gd name="connsiteY242" fmla="*/ 1445418 h 4410075"/>
                  <a:gd name="connsiteX243" fmla="*/ 8117681 w 8801100"/>
                  <a:gd name="connsiteY243" fmla="*/ 1483519 h 4410075"/>
                  <a:gd name="connsiteX244" fmla="*/ 8067675 w 8801100"/>
                  <a:gd name="connsiteY244" fmla="*/ 1562100 h 4410075"/>
                  <a:gd name="connsiteX245" fmla="*/ 8084344 w 8801100"/>
                  <a:gd name="connsiteY245" fmla="*/ 1583531 h 4410075"/>
                  <a:gd name="connsiteX246" fmla="*/ 8039100 w 8801100"/>
                  <a:gd name="connsiteY246" fmla="*/ 1633537 h 4410075"/>
                  <a:gd name="connsiteX247" fmla="*/ 7889081 w 8801100"/>
                  <a:gd name="connsiteY247" fmla="*/ 1557337 h 4410075"/>
                  <a:gd name="connsiteX248" fmla="*/ 7798594 w 8801100"/>
                  <a:gd name="connsiteY248" fmla="*/ 1593056 h 4410075"/>
                  <a:gd name="connsiteX249" fmla="*/ 7724775 w 8801100"/>
                  <a:gd name="connsiteY249" fmla="*/ 1590675 h 4410075"/>
                  <a:gd name="connsiteX250" fmla="*/ 7667625 w 8801100"/>
                  <a:gd name="connsiteY250" fmla="*/ 1685925 h 4410075"/>
                  <a:gd name="connsiteX251" fmla="*/ 7529513 w 8801100"/>
                  <a:gd name="connsiteY251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909763 w 8801100"/>
                  <a:gd name="connsiteY148" fmla="*/ 3131344 h 4410075"/>
                  <a:gd name="connsiteX149" fmla="*/ 1916906 w 8801100"/>
                  <a:gd name="connsiteY149" fmla="*/ 3195638 h 4410075"/>
                  <a:gd name="connsiteX150" fmla="*/ 1924050 w 8801100"/>
                  <a:gd name="connsiteY150" fmla="*/ 3248025 h 4410075"/>
                  <a:gd name="connsiteX151" fmla="*/ 1976438 w 8801100"/>
                  <a:gd name="connsiteY151" fmla="*/ 3274219 h 4410075"/>
                  <a:gd name="connsiteX152" fmla="*/ 2038350 w 8801100"/>
                  <a:gd name="connsiteY152" fmla="*/ 3498057 h 4410075"/>
                  <a:gd name="connsiteX153" fmla="*/ 2028825 w 8801100"/>
                  <a:gd name="connsiteY153" fmla="*/ 3562350 h 4410075"/>
                  <a:gd name="connsiteX154" fmla="*/ 2164556 w 8801100"/>
                  <a:gd name="connsiteY154" fmla="*/ 3729038 h 4410075"/>
                  <a:gd name="connsiteX155" fmla="*/ 2183606 w 8801100"/>
                  <a:gd name="connsiteY155" fmla="*/ 3779044 h 4410075"/>
                  <a:gd name="connsiteX156" fmla="*/ 2157413 w 8801100"/>
                  <a:gd name="connsiteY156" fmla="*/ 3798094 h 4410075"/>
                  <a:gd name="connsiteX157" fmla="*/ 2259806 w 8801100"/>
                  <a:gd name="connsiteY157" fmla="*/ 3807619 h 4410075"/>
                  <a:gd name="connsiteX158" fmla="*/ 2371725 w 8801100"/>
                  <a:gd name="connsiteY158" fmla="*/ 3795713 h 4410075"/>
                  <a:gd name="connsiteX159" fmla="*/ 2650331 w 8801100"/>
                  <a:gd name="connsiteY159" fmla="*/ 3879056 h 4410075"/>
                  <a:gd name="connsiteX160" fmla="*/ 3057525 w 8801100"/>
                  <a:gd name="connsiteY160" fmla="*/ 3960019 h 4410075"/>
                  <a:gd name="connsiteX161" fmla="*/ 3255169 w 8801100"/>
                  <a:gd name="connsiteY161" fmla="*/ 3929062 h 4410075"/>
                  <a:gd name="connsiteX162" fmla="*/ 3300413 w 8801100"/>
                  <a:gd name="connsiteY162" fmla="*/ 3940968 h 4410075"/>
                  <a:gd name="connsiteX163" fmla="*/ 3355181 w 8801100"/>
                  <a:gd name="connsiteY163" fmla="*/ 3917157 h 4410075"/>
                  <a:gd name="connsiteX164" fmla="*/ 3748087 w 8801100"/>
                  <a:gd name="connsiteY164" fmla="*/ 4007644 h 4410075"/>
                  <a:gd name="connsiteX165" fmla="*/ 3831432 w 8801100"/>
                  <a:gd name="connsiteY165" fmla="*/ 4105275 h 4410075"/>
                  <a:gd name="connsiteX166" fmla="*/ 3950494 w 8801100"/>
                  <a:gd name="connsiteY166" fmla="*/ 4176713 h 4410075"/>
                  <a:gd name="connsiteX167" fmla="*/ 4010025 w 8801100"/>
                  <a:gd name="connsiteY167" fmla="*/ 4160044 h 4410075"/>
                  <a:gd name="connsiteX168" fmla="*/ 4360068 w 8801100"/>
                  <a:gd name="connsiteY168" fmla="*/ 4333875 h 4410075"/>
                  <a:gd name="connsiteX169" fmla="*/ 4586288 w 8801100"/>
                  <a:gd name="connsiteY169" fmla="*/ 4305300 h 4410075"/>
                  <a:gd name="connsiteX170" fmla="*/ 4595813 w 8801100"/>
                  <a:gd name="connsiteY170" fmla="*/ 4383881 h 4410075"/>
                  <a:gd name="connsiteX171" fmla="*/ 4681538 w 8801100"/>
                  <a:gd name="connsiteY171" fmla="*/ 4379118 h 4410075"/>
                  <a:gd name="connsiteX172" fmla="*/ 4760119 w 8801100"/>
                  <a:gd name="connsiteY172" fmla="*/ 4410075 h 4410075"/>
                  <a:gd name="connsiteX173" fmla="*/ 4802981 w 8801100"/>
                  <a:gd name="connsiteY173" fmla="*/ 4350544 h 4410075"/>
                  <a:gd name="connsiteX174" fmla="*/ 5474494 w 8801100"/>
                  <a:gd name="connsiteY174" fmla="*/ 4031456 h 4410075"/>
                  <a:gd name="connsiteX175" fmla="*/ 5562600 w 8801100"/>
                  <a:gd name="connsiteY175" fmla="*/ 4060032 h 4410075"/>
                  <a:gd name="connsiteX176" fmla="*/ 5693569 w 8801100"/>
                  <a:gd name="connsiteY176" fmla="*/ 4031456 h 4410075"/>
                  <a:gd name="connsiteX177" fmla="*/ 5872162 w 8801100"/>
                  <a:gd name="connsiteY177" fmla="*/ 4048125 h 4410075"/>
                  <a:gd name="connsiteX178" fmla="*/ 5929313 w 8801100"/>
                  <a:gd name="connsiteY178" fmla="*/ 4021932 h 4410075"/>
                  <a:gd name="connsiteX179" fmla="*/ 6062662 w 8801100"/>
                  <a:gd name="connsiteY179" fmla="*/ 4019550 h 4410075"/>
                  <a:gd name="connsiteX180" fmla="*/ 6196012 w 8801100"/>
                  <a:gd name="connsiteY180" fmla="*/ 3921919 h 4410075"/>
                  <a:gd name="connsiteX181" fmla="*/ 6262687 w 8801100"/>
                  <a:gd name="connsiteY181" fmla="*/ 3914775 h 4410075"/>
                  <a:gd name="connsiteX182" fmla="*/ 6360319 w 8801100"/>
                  <a:gd name="connsiteY182" fmla="*/ 3840956 h 4410075"/>
                  <a:gd name="connsiteX183" fmla="*/ 6434138 w 8801100"/>
                  <a:gd name="connsiteY183" fmla="*/ 3771900 h 4410075"/>
                  <a:gd name="connsiteX184" fmla="*/ 6443663 w 8801100"/>
                  <a:gd name="connsiteY184" fmla="*/ 3709988 h 4410075"/>
                  <a:gd name="connsiteX185" fmla="*/ 6477000 w 8801100"/>
                  <a:gd name="connsiteY185" fmla="*/ 3640931 h 4410075"/>
                  <a:gd name="connsiteX186" fmla="*/ 6629400 w 8801100"/>
                  <a:gd name="connsiteY186" fmla="*/ 3533775 h 4410075"/>
                  <a:gd name="connsiteX187" fmla="*/ 6662738 w 8801100"/>
                  <a:gd name="connsiteY187" fmla="*/ 3538538 h 4410075"/>
                  <a:gd name="connsiteX188" fmla="*/ 6715125 w 8801100"/>
                  <a:gd name="connsiteY188" fmla="*/ 3459956 h 4410075"/>
                  <a:gd name="connsiteX189" fmla="*/ 6762750 w 8801100"/>
                  <a:gd name="connsiteY189" fmla="*/ 3421856 h 4410075"/>
                  <a:gd name="connsiteX190" fmla="*/ 6748463 w 8801100"/>
                  <a:gd name="connsiteY190" fmla="*/ 3352800 h 4410075"/>
                  <a:gd name="connsiteX191" fmla="*/ 6698456 w 8801100"/>
                  <a:gd name="connsiteY191" fmla="*/ 3321843 h 4410075"/>
                  <a:gd name="connsiteX192" fmla="*/ 6638925 w 8801100"/>
                  <a:gd name="connsiteY192" fmla="*/ 3267075 h 4410075"/>
                  <a:gd name="connsiteX193" fmla="*/ 6619875 w 8801100"/>
                  <a:gd name="connsiteY193" fmla="*/ 3209925 h 4410075"/>
                  <a:gd name="connsiteX194" fmla="*/ 6584156 w 8801100"/>
                  <a:gd name="connsiteY194" fmla="*/ 3176588 h 4410075"/>
                  <a:gd name="connsiteX195" fmla="*/ 6610350 w 8801100"/>
                  <a:gd name="connsiteY195" fmla="*/ 3124200 h 4410075"/>
                  <a:gd name="connsiteX196" fmla="*/ 6650831 w 8801100"/>
                  <a:gd name="connsiteY196" fmla="*/ 2945606 h 4410075"/>
                  <a:gd name="connsiteX197" fmla="*/ 6691313 w 8801100"/>
                  <a:gd name="connsiteY197" fmla="*/ 2878931 h 4410075"/>
                  <a:gd name="connsiteX198" fmla="*/ 6836569 w 8801100"/>
                  <a:gd name="connsiteY198" fmla="*/ 2862262 h 4410075"/>
                  <a:gd name="connsiteX199" fmla="*/ 6905625 w 8801100"/>
                  <a:gd name="connsiteY199" fmla="*/ 2919413 h 4410075"/>
                  <a:gd name="connsiteX200" fmla="*/ 6981825 w 8801100"/>
                  <a:gd name="connsiteY200" fmla="*/ 2943225 h 4410075"/>
                  <a:gd name="connsiteX201" fmla="*/ 7186612 w 8801100"/>
                  <a:gd name="connsiteY201" fmla="*/ 2947988 h 4410075"/>
                  <a:gd name="connsiteX202" fmla="*/ 7362825 w 8801100"/>
                  <a:gd name="connsiteY202" fmla="*/ 2809875 h 4410075"/>
                  <a:gd name="connsiteX203" fmla="*/ 7419975 w 8801100"/>
                  <a:gd name="connsiteY203" fmla="*/ 2719387 h 4410075"/>
                  <a:gd name="connsiteX204" fmla="*/ 7446169 w 8801100"/>
                  <a:gd name="connsiteY204" fmla="*/ 2636044 h 4410075"/>
                  <a:gd name="connsiteX205" fmla="*/ 7577137 w 8801100"/>
                  <a:gd name="connsiteY205" fmla="*/ 2636044 h 4410075"/>
                  <a:gd name="connsiteX206" fmla="*/ 7750969 w 8801100"/>
                  <a:gd name="connsiteY206" fmla="*/ 2578893 h 4410075"/>
                  <a:gd name="connsiteX207" fmla="*/ 7810500 w 8801100"/>
                  <a:gd name="connsiteY207" fmla="*/ 2466975 h 4410075"/>
                  <a:gd name="connsiteX208" fmla="*/ 7874794 w 8801100"/>
                  <a:gd name="connsiteY208" fmla="*/ 2431256 h 4410075"/>
                  <a:gd name="connsiteX209" fmla="*/ 7853363 w 8801100"/>
                  <a:gd name="connsiteY209" fmla="*/ 2386013 h 4410075"/>
                  <a:gd name="connsiteX210" fmla="*/ 7931944 w 8801100"/>
                  <a:gd name="connsiteY210" fmla="*/ 2216943 h 4410075"/>
                  <a:gd name="connsiteX211" fmla="*/ 7986713 w 8801100"/>
                  <a:gd name="connsiteY211" fmla="*/ 2157413 h 4410075"/>
                  <a:gd name="connsiteX212" fmla="*/ 8024813 w 8801100"/>
                  <a:gd name="connsiteY212" fmla="*/ 2152650 h 4410075"/>
                  <a:gd name="connsiteX213" fmla="*/ 8070056 w 8801100"/>
                  <a:gd name="connsiteY213" fmla="*/ 2157413 h 4410075"/>
                  <a:gd name="connsiteX214" fmla="*/ 8134350 w 8801100"/>
                  <a:gd name="connsiteY214" fmla="*/ 2124075 h 4410075"/>
                  <a:gd name="connsiteX215" fmla="*/ 8143875 w 8801100"/>
                  <a:gd name="connsiteY215" fmla="*/ 2059781 h 4410075"/>
                  <a:gd name="connsiteX216" fmla="*/ 8184355 w 8801100"/>
                  <a:gd name="connsiteY216" fmla="*/ 2024063 h 4410075"/>
                  <a:gd name="connsiteX217" fmla="*/ 8243888 w 8801100"/>
                  <a:gd name="connsiteY217" fmla="*/ 2064543 h 4410075"/>
                  <a:gd name="connsiteX218" fmla="*/ 8270082 w 8801100"/>
                  <a:gd name="connsiteY218" fmla="*/ 2014537 h 4410075"/>
                  <a:gd name="connsiteX219" fmla="*/ 8365331 w 8801100"/>
                  <a:gd name="connsiteY219" fmla="*/ 1945481 h 4410075"/>
                  <a:gd name="connsiteX220" fmla="*/ 8427244 w 8801100"/>
                  <a:gd name="connsiteY220" fmla="*/ 1952625 h 4410075"/>
                  <a:gd name="connsiteX221" fmla="*/ 8477250 w 8801100"/>
                  <a:gd name="connsiteY221" fmla="*/ 1933575 h 4410075"/>
                  <a:gd name="connsiteX222" fmla="*/ 8515350 w 8801100"/>
                  <a:gd name="connsiteY222" fmla="*/ 1905000 h 4410075"/>
                  <a:gd name="connsiteX223" fmla="*/ 8548688 w 8801100"/>
                  <a:gd name="connsiteY223" fmla="*/ 1902619 h 4410075"/>
                  <a:gd name="connsiteX224" fmla="*/ 8584406 w 8801100"/>
                  <a:gd name="connsiteY224" fmla="*/ 1933575 h 4410075"/>
                  <a:gd name="connsiteX225" fmla="*/ 8643938 w 8801100"/>
                  <a:gd name="connsiteY225" fmla="*/ 1933575 h 4410075"/>
                  <a:gd name="connsiteX226" fmla="*/ 8682037 w 8801100"/>
                  <a:gd name="connsiteY226" fmla="*/ 1914525 h 4410075"/>
                  <a:gd name="connsiteX227" fmla="*/ 8765381 w 8801100"/>
                  <a:gd name="connsiteY227" fmla="*/ 1916907 h 4410075"/>
                  <a:gd name="connsiteX228" fmla="*/ 8796338 w 8801100"/>
                  <a:gd name="connsiteY228" fmla="*/ 1871663 h 4410075"/>
                  <a:gd name="connsiteX229" fmla="*/ 8801100 w 8801100"/>
                  <a:gd name="connsiteY229" fmla="*/ 1809750 h 4410075"/>
                  <a:gd name="connsiteX230" fmla="*/ 8751093 w 8801100"/>
                  <a:gd name="connsiteY230" fmla="*/ 1769269 h 4410075"/>
                  <a:gd name="connsiteX231" fmla="*/ 8734425 w 8801100"/>
                  <a:gd name="connsiteY231" fmla="*/ 1714500 h 4410075"/>
                  <a:gd name="connsiteX232" fmla="*/ 8643938 w 8801100"/>
                  <a:gd name="connsiteY232" fmla="*/ 1652588 h 4410075"/>
                  <a:gd name="connsiteX233" fmla="*/ 8603456 w 8801100"/>
                  <a:gd name="connsiteY233" fmla="*/ 1631156 h 4410075"/>
                  <a:gd name="connsiteX234" fmla="*/ 8565356 w 8801100"/>
                  <a:gd name="connsiteY234" fmla="*/ 1585913 h 4410075"/>
                  <a:gd name="connsiteX235" fmla="*/ 8534400 w 8801100"/>
                  <a:gd name="connsiteY235" fmla="*/ 1583531 h 4410075"/>
                  <a:gd name="connsiteX236" fmla="*/ 8517731 w 8801100"/>
                  <a:gd name="connsiteY236" fmla="*/ 1531144 h 4410075"/>
                  <a:gd name="connsiteX237" fmla="*/ 8477250 w 8801100"/>
                  <a:gd name="connsiteY237" fmla="*/ 1514475 h 4410075"/>
                  <a:gd name="connsiteX238" fmla="*/ 8477250 w 8801100"/>
                  <a:gd name="connsiteY238" fmla="*/ 1514475 h 4410075"/>
                  <a:gd name="connsiteX239" fmla="*/ 8436769 w 8801100"/>
                  <a:gd name="connsiteY239" fmla="*/ 1519238 h 4410075"/>
                  <a:gd name="connsiteX240" fmla="*/ 8351043 w 8801100"/>
                  <a:gd name="connsiteY240" fmla="*/ 1445419 h 4410075"/>
                  <a:gd name="connsiteX241" fmla="*/ 8170069 w 8801100"/>
                  <a:gd name="connsiteY241" fmla="*/ 1445418 h 4410075"/>
                  <a:gd name="connsiteX242" fmla="*/ 8117681 w 8801100"/>
                  <a:gd name="connsiteY242" fmla="*/ 1483519 h 4410075"/>
                  <a:gd name="connsiteX243" fmla="*/ 8067675 w 8801100"/>
                  <a:gd name="connsiteY243" fmla="*/ 1562100 h 4410075"/>
                  <a:gd name="connsiteX244" fmla="*/ 8084344 w 8801100"/>
                  <a:gd name="connsiteY244" fmla="*/ 1583531 h 4410075"/>
                  <a:gd name="connsiteX245" fmla="*/ 8039100 w 8801100"/>
                  <a:gd name="connsiteY245" fmla="*/ 1633537 h 4410075"/>
                  <a:gd name="connsiteX246" fmla="*/ 7889081 w 8801100"/>
                  <a:gd name="connsiteY246" fmla="*/ 1557337 h 4410075"/>
                  <a:gd name="connsiteX247" fmla="*/ 7798594 w 8801100"/>
                  <a:gd name="connsiteY247" fmla="*/ 1593056 h 4410075"/>
                  <a:gd name="connsiteX248" fmla="*/ 7724775 w 8801100"/>
                  <a:gd name="connsiteY248" fmla="*/ 1590675 h 4410075"/>
                  <a:gd name="connsiteX249" fmla="*/ 7667625 w 8801100"/>
                  <a:gd name="connsiteY249" fmla="*/ 1685925 h 4410075"/>
                  <a:gd name="connsiteX250" fmla="*/ 7529513 w 8801100"/>
                  <a:gd name="connsiteY250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909763 w 8801100"/>
                  <a:gd name="connsiteY148" fmla="*/ 3131344 h 4410075"/>
                  <a:gd name="connsiteX149" fmla="*/ 1924050 w 8801100"/>
                  <a:gd name="connsiteY149" fmla="*/ 3248025 h 4410075"/>
                  <a:gd name="connsiteX150" fmla="*/ 1976438 w 8801100"/>
                  <a:gd name="connsiteY150" fmla="*/ 3274219 h 4410075"/>
                  <a:gd name="connsiteX151" fmla="*/ 2038350 w 8801100"/>
                  <a:gd name="connsiteY151" fmla="*/ 3498057 h 4410075"/>
                  <a:gd name="connsiteX152" fmla="*/ 2028825 w 8801100"/>
                  <a:gd name="connsiteY152" fmla="*/ 3562350 h 4410075"/>
                  <a:gd name="connsiteX153" fmla="*/ 2164556 w 8801100"/>
                  <a:gd name="connsiteY153" fmla="*/ 3729038 h 4410075"/>
                  <a:gd name="connsiteX154" fmla="*/ 2183606 w 8801100"/>
                  <a:gd name="connsiteY154" fmla="*/ 3779044 h 4410075"/>
                  <a:gd name="connsiteX155" fmla="*/ 2157413 w 8801100"/>
                  <a:gd name="connsiteY155" fmla="*/ 3798094 h 4410075"/>
                  <a:gd name="connsiteX156" fmla="*/ 2259806 w 8801100"/>
                  <a:gd name="connsiteY156" fmla="*/ 3807619 h 4410075"/>
                  <a:gd name="connsiteX157" fmla="*/ 2371725 w 8801100"/>
                  <a:gd name="connsiteY157" fmla="*/ 3795713 h 4410075"/>
                  <a:gd name="connsiteX158" fmla="*/ 2650331 w 8801100"/>
                  <a:gd name="connsiteY158" fmla="*/ 3879056 h 4410075"/>
                  <a:gd name="connsiteX159" fmla="*/ 3057525 w 8801100"/>
                  <a:gd name="connsiteY159" fmla="*/ 3960019 h 4410075"/>
                  <a:gd name="connsiteX160" fmla="*/ 3255169 w 8801100"/>
                  <a:gd name="connsiteY160" fmla="*/ 3929062 h 4410075"/>
                  <a:gd name="connsiteX161" fmla="*/ 3300413 w 8801100"/>
                  <a:gd name="connsiteY161" fmla="*/ 3940968 h 4410075"/>
                  <a:gd name="connsiteX162" fmla="*/ 3355181 w 8801100"/>
                  <a:gd name="connsiteY162" fmla="*/ 3917157 h 4410075"/>
                  <a:gd name="connsiteX163" fmla="*/ 3748087 w 8801100"/>
                  <a:gd name="connsiteY163" fmla="*/ 4007644 h 4410075"/>
                  <a:gd name="connsiteX164" fmla="*/ 3831432 w 8801100"/>
                  <a:gd name="connsiteY164" fmla="*/ 4105275 h 4410075"/>
                  <a:gd name="connsiteX165" fmla="*/ 3950494 w 8801100"/>
                  <a:gd name="connsiteY165" fmla="*/ 4176713 h 4410075"/>
                  <a:gd name="connsiteX166" fmla="*/ 4010025 w 8801100"/>
                  <a:gd name="connsiteY166" fmla="*/ 4160044 h 4410075"/>
                  <a:gd name="connsiteX167" fmla="*/ 4360068 w 8801100"/>
                  <a:gd name="connsiteY167" fmla="*/ 4333875 h 4410075"/>
                  <a:gd name="connsiteX168" fmla="*/ 4586288 w 8801100"/>
                  <a:gd name="connsiteY168" fmla="*/ 4305300 h 4410075"/>
                  <a:gd name="connsiteX169" fmla="*/ 4595813 w 8801100"/>
                  <a:gd name="connsiteY169" fmla="*/ 4383881 h 4410075"/>
                  <a:gd name="connsiteX170" fmla="*/ 4681538 w 8801100"/>
                  <a:gd name="connsiteY170" fmla="*/ 4379118 h 4410075"/>
                  <a:gd name="connsiteX171" fmla="*/ 4760119 w 8801100"/>
                  <a:gd name="connsiteY171" fmla="*/ 4410075 h 4410075"/>
                  <a:gd name="connsiteX172" fmla="*/ 4802981 w 8801100"/>
                  <a:gd name="connsiteY172" fmla="*/ 4350544 h 4410075"/>
                  <a:gd name="connsiteX173" fmla="*/ 5474494 w 8801100"/>
                  <a:gd name="connsiteY173" fmla="*/ 4031456 h 4410075"/>
                  <a:gd name="connsiteX174" fmla="*/ 5562600 w 8801100"/>
                  <a:gd name="connsiteY174" fmla="*/ 4060032 h 4410075"/>
                  <a:gd name="connsiteX175" fmla="*/ 5693569 w 8801100"/>
                  <a:gd name="connsiteY175" fmla="*/ 4031456 h 4410075"/>
                  <a:gd name="connsiteX176" fmla="*/ 5872162 w 8801100"/>
                  <a:gd name="connsiteY176" fmla="*/ 4048125 h 4410075"/>
                  <a:gd name="connsiteX177" fmla="*/ 5929313 w 8801100"/>
                  <a:gd name="connsiteY177" fmla="*/ 4021932 h 4410075"/>
                  <a:gd name="connsiteX178" fmla="*/ 6062662 w 8801100"/>
                  <a:gd name="connsiteY178" fmla="*/ 4019550 h 4410075"/>
                  <a:gd name="connsiteX179" fmla="*/ 6196012 w 8801100"/>
                  <a:gd name="connsiteY179" fmla="*/ 3921919 h 4410075"/>
                  <a:gd name="connsiteX180" fmla="*/ 6262687 w 8801100"/>
                  <a:gd name="connsiteY180" fmla="*/ 3914775 h 4410075"/>
                  <a:gd name="connsiteX181" fmla="*/ 6360319 w 8801100"/>
                  <a:gd name="connsiteY181" fmla="*/ 3840956 h 4410075"/>
                  <a:gd name="connsiteX182" fmla="*/ 6434138 w 8801100"/>
                  <a:gd name="connsiteY182" fmla="*/ 3771900 h 4410075"/>
                  <a:gd name="connsiteX183" fmla="*/ 6443663 w 8801100"/>
                  <a:gd name="connsiteY183" fmla="*/ 3709988 h 4410075"/>
                  <a:gd name="connsiteX184" fmla="*/ 6477000 w 8801100"/>
                  <a:gd name="connsiteY184" fmla="*/ 3640931 h 4410075"/>
                  <a:gd name="connsiteX185" fmla="*/ 6629400 w 8801100"/>
                  <a:gd name="connsiteY185" fmla="*/ 3533775 h 4410075"/>
                  <a:gd name="connsiteX186" fmla="*/ 6662738 w 8801100"/>
                  <a:gd name="connsiteY186" fmla="*/ 3538538 h 4410075"/>
                  <a:gd name="connsiteX187" fmla="*/ 6715125 w 8801100"/>
                  <a:gd name="connsiteY187" fmla="*/ 3459956 h 4410075"/>
                  <a:gd name="connsiteX188" fmla="*/ 6762750 w 8801100"/>
                  <a:gd name="connsiteY188" fmla="*/ 3421856 h 4410075"/>
                  <a:gd name="connsiteX189" fmla="*/ 6748463 w 8801100"/>
                  <a:gd name="connsiteY189" fmla="*/ 3352800 h 4410075"/>
                  <a:gd name="connsiteX190" fmla="*/ 6698456 w 8801100"/>
                  <a:gd name="connsiteY190" fmla="*/ 3321843 h 4410075"/>
                  <a:gd name="connsiteX191" fmla="*/ 6638925 w 8801100"/>
                  <a:gd name="connsiteY191" fmla="*/ 3267075 h 4410075"/>
                  <a:gd name="connsiteX192" fmla="*/ 6619875 w 8801100"/>
                  <a:gd name="connsiteY192" fmla="*/ 3209925 h 4410075"/>
                  <a:gd name="connsiteX193" fmla="*/ 6584156 w 8801100"/>
                  <a:gd name="connsiteY193" fmla="*/ 3176588 h 4410075"/>
                  <a:gd name="connsiteX194" fmla="*/ 6610350 w 8801100"/>
                  <a:gd name="connsiteY194" fmla="*/ 3124200 h 4410075"/>
                  <a:gd name="connsiteX195" fmla="*/ 6650831 w 8801100"/>
                  <a:gd name="connsiteY195" fmla="*/ 2945606 h 4410075"/>
                  <a:gd name="connsiteX196" fmla="*/ 6691313 w 8801100"/>
                  <a:gd name="connsiteY196" fmla="*/ 2878931 h 4410075"/>
                  <a:gd name="connsiteX197" fmla="*/ 6836569 w 8801100"/>
                  <a:gd name="connsiteY197" fmla="*/ 2862262 h 4410075"/>
                  <a:gd name="connsiteX198" fmla="*/ 6905625 w 8801100"/>
                  <a:gd name="connsiteY198" fmla="*/ 2919413 h 4410075"/>
                  <a:gd name="connsiteX199" fmla="*/ 6981825 w 8801100"/>
                  <a:gd name="connsiteY199" fmla="*/ 2943225 h 4410075"/>
                  <a:gd name="connsiteX200" fmla="*/ 7186612 w 8801100"/>
                  <a:gd name="connsiteY200" fmla="*/ 2947988 h 4410075"/>
                  <a:gd name="connsiteX201" fmla="*/ 7362825 w 8801100"/>
                  <a:gd name="connsiteY201" fmla="*/ 2809875 h 4410075"/>
                  <a:gd name="connsiteX202" fmla="*/ 7419975 w 8801100"/>
                  <a:gd name="connsiteY202" fmla="*/ 2719387 h 4410075"/>
                  <a:gd name="connsiteX203" fmla="*/ 7446169 w 8801100"/>
                  <a:gd name="connsiteY203" fmla="*/ 2636044 h 4410075"/>
                  <a:gd name="connsiteX204" fmla="*/ 7577137 w 8801100"/>
                  <a:gd name="connsiteY204" fmla="*/ 2636044 h 4410075"/>
                  <a:gd name="connsiteX205" fmla="*/ 7750969 w 8801100"/>
                  <a:gd name="connsiteY205" fmla="*/ 2578893 h 4410075"/>
                  <a:gd name="connsiteX206" fmla="*/ 7810500 w 8801100"/>
                  <a:gd name="connsiteY206" fmla="*/ 2466975 h 4410075"/>
                  <a:gd name="connsiteX207" fmla="*/ 7874794 w 8801100"/>
                  <a:gd name="connsiteY207" fmla="*/ 2431256 h 4410075"/>
                  <a:gd name="connsiteX208" fmla="*/ 7853363 w 8801100"/>
                  <a:gd name="connsiteY208" fmla="*/ 2386013 h 4410075"/>
                  <a:gd name="connsiteX209" fmla="*/ 7931944 w 8801100"/>
                  <a:gd name="connsiteY209" fmla="*/ 2216943 h 4410075"/>
                  <a:gd name="connsiteX210" fmla="*/ 7986713 w 8801100"/>
                  <a:gd name="connsiteY210" fmla="*/ 2157413 h 4410075"/>
                  <a:gd name="connsiteX211" fmla="*/ 8024813 w 8801100"/>
                  <a:gd name="connsiteY211" fmla="*/ 2152650 h 4410075"/>
                  <a:gd name="connsiteX212" fmla="*/ 8070056 w 8801100"/>
                  <a:gd name="connsiteY212" fmla="*/ 2157413 h 4410075"/>
                  <a:gd name="connsiteX213" fmla="*/ 8134350 w 8801100"/>
                  <a:gd name="connsiteY213" fmla="*/ 2124075 h 4410075"/>
                  <a:gd name="connsiteX214" fmla="*/ 8143875 w 8801100"/>
                  <a:gd name="connsiteY214" fmla="*/ 2059781 h 4410075"/>
                  <a:gd name="connsiteX215" fmla="*/ 8184355 w 8801100"/>
                  <a:gd name="connsiteY215" fmla="*/ 2024063 h 4410075"/>
                  <a:gd name="connsiteX216" fmla="*/ 8243888 w 8801100"/>
                  <a:gd name="connsiteY216" fmla="*/ 2064543 h 4410075"/>
                  <a:gd name="connsiteX217" fmla="*/ 8270082 w 8801100"/>
                  <a:gd name="connsiteY217" fmla="*/ 2014537 h 4410075"/>
                  <a:gd name="connsiteX218" fmla="*/ 8365331 w 8801100"/>
                  <a:gd name="connsiteY218" fmla="*/ 1945481 h 4410075"/>
                  <a:gd name="connsiteX219" fmla="*/ 8427244 w 8801100"/>
                  <a:gd name="connsiteY219" fmla="*/ 1952625 h 4410075"/>
                  <a:gd name="connsiteX220" fmla="*/ 8477250 w 8801100"/>
                  <a:gd name="connsiteY220" fmla="*/ 1933575 h 4410075"/>
                  <a:gd name="connsiteX221" fmla="*/ 8515350 w 8801100"/>
                  <a:gd name="connsiteY221" fmla="*/ 1905000 h 4410075"/>
                  <a:gd name="connsiteX222" fmla="*/ 8548688 w 8801100"/>
                  <a:gd name="connsiteY222" fmla="*/ 1902619 h 4410075"/>
                  <a:gd name="connsiteX223" fmla="*/ 8584406 w 8801100"/>
                  <a:gd name="connsiteY223" fmla="*/ 1933575 h 4410075"/>
                  <a:gd name="connsiteX224" fmla="*/ 8643938 w 8801100"/>
                  <a:gd name="connsiteY224" fmla="*/ 1933575 h 4410075"/>
                  <a:gd name="connsiteX225" fmla="*/ 8682037 w 8801100"/>
                  <a:gd name="connsiteY225" fmla="*/ 1914525 h 4410075"/>
                  <a:gd name="connsiteX226" fmla="*/ 8765381 w 8801100"/>
                  <a:gd name="connsiteY226" fmla="*/ 1916907 h 4410075"/>
                  <a:gd name="connsiteX227" fmla="*/ 8796338 w 8801100"/>
                  <a:gd name="connsiteY227" fmla="*/ 1871663 h 4410075"/>
                  <a:gd name="connsiteX228" fmla="*/ 8801100 w 8801100"/>
                  <a:gd name="connsiteY228" fmla="*/ 1809750 h 4410075"/>
                  <a:gd name="connsiteX229" fmla="*/ 8751093 w 8801100"/>
                  <a:gd name="connsiteY229" fmla="*/ 1769269 h 4410075"/>
                  <a:gd name="connsiteX230" fmla="*/ 8734425 w 8801100"/>
                  <a:gd name="connsiteY230" fmla="*/ 1714500 h 4410075"/>
                  <a:gd name="connsiteX231" fmla="*/ 8643938 w 8801100"/>
                  <a:gd name="connsiteY231" fmla="*/ 1652588 h 4410075"/>
                  <a:gd name="connsiteX232" fmla="*/ 8603456 w 8801100"/>
                  <a:gd name="connsiteY232" fmla="*/ 1631156 h 4410075"/>
                  <a:gd name="connsiteX233" fmla="*/ 8565356 w 8801100"/>
                  <a:gd name="connsiteY233" fmla="*/ 1585913 h 4410075"/>
                  <a:gd name="connsiteX234" fmla="*/ 8534400 w 8801100"/>
                  <a:gd name="connsiteY234" fmla="*/ 1583531 h 4410075"/>
                  <a:gd name="connsiteX235" fmla="*/ 8517731 w 8801100"/>
                  <a:gd name="connsiteY235" fmla="*/ 1531144 h 4410075"/>
                  <a:gd name="connsiteX236" fmla="*/ 8477250 w 8801100"/>
                  <a:gd name="connsiteY236" fmla="*/ 1514475 h 4410075"/>
                  <a:gd name="connsiteX237" fmla="*/ 8477250 w 8801100"/>
                  <a:gd name="connsiteY237" fmla="*/ 1514475 h 4410075"/>
                  <a:gd name="connsiteX238" fmla="*/ 8436769 w 8801100"/>
                  <a:gd name="connsiteY238" fmla="*/ 1519238 h 4410075"/>
                  <a:gd name="connsiteX239" fmla="*/ 8351043 w 8801100"/>
                  <a:gd name="connsiteY239" fmla="*/ 1445419 h 4410075"/>
                  <a:gd name="connsiteX240" fmla="*/ 8170069 w 8801100"/>
                  <a:gd name="connsiteY240" fmla="*/ 1445418 h 4410075"/>
                  <a:gd name="connsiteX241" fmla="*/ 8117681 w 8801100"/>
                  <a:gd name="connsiteY241" fmla="*/ 1483519 h 4410075"/>
                  <a:gd name="connsiteX242" fmla="*/ 8067675 w 8801100"/>
                  <a:gd name="connsiteY242" fmla="*/ 1562100 h 4410075"/>
                  <a:gd name="connsiteX243" fmla="*/ 8084344 w 8801100"/>
                  <a:gd name="connsiteY243" fmla="*/ 1583531 h 4410075"/>
                  <a:gd name="connsiteX244" fmla="*/ 8039100 w 8801100"/>
                  <a:gd name="connsiteY244" fmla="*/ 1633537 h 4410075"/>
                  <a:gd name="connsiteX245" fmla="*/ 7889081 w 8801100"/>
                  <a:gd name="connsiteY245" fmla="*/ 1557337 h 4410075"/>
                  <a:gd name="connsiteX246" fmla="*/ 7798594 w 8801100"/>
                  <a:gd name="connsiteY246" fmla="*/ 1593056 h 4410075"/>
                  <a:gd name="connsiteX247" fmla="*/ 7724775 w 8801100"/>
                  <a:gd name="connsiteY247" fmla="*/ 1590675 h 4410075"/>
                  <a:gd name="connsiteX248" fmla="*/ 7667625 w 8801100"/>
                  <a:gd name="connsiteY248" fmla="*/ 1685925 h 4410075"/>
                  <a:gd name="connsiteX249" fmla="*/ 7529513 w 8801100"/>
                  <a:gd name="connsiteY249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924050 w 8801100"/>
                  <a:gd name="connsiteY148" fmla="*/ 3248025 h 4410075"/>
                  <a:gd name="connsiteX149" fmla="*/ 1976438 w 8801100"/>
                  <a:gd name="connsiteY149" fmla="*/ 3274219 h 4410075"/>
                  <a:gd name="connsiteX150" fmla="*/ 2038350 w 8801100"/>
                  <a:gd name="connsiteY150" fmla="*/ 3498057 h 4410075"/>
                  <a:gd name="connsiteX151" fmla="*/ 2028825 w 8801100"/>
                  <a:gd name="connsiteY151" fmla="*/ 3562350 h 4410075"/>
                  <a:gd name="connsiteX152" fmla="*/ 2164556 w 8801100"/>
                  <a:gd name="connsiteY152" fmla="*/ 3729038 h 4410075"/>
                  <a:gd name="connsiteX153" fmla="*/ 2183606 w 8801100"/>
                  <a:gd name="connsiteY153" fmla="*/ 3779044 h 4410075"/>
                  <a:gd name="connsiteX154" fmla="*/ 2157413 w 8801100"/>
                  <a:gd name="connsiteY154" fmla="*/ 3798094 h 4410075"/>
                  <a:gd name="connsiteX155" fmla="*/ 2259806 w 8801100"/>
                  <a:gd name="connsiteY155" fmla="*/ 3807619 h 4410075"/>
                  <a:gd name="connsiteX156" fmla="*/ 2371725 w 8801100"/>
                  <a:gd name="connsiteY156" fmla="*/ 3795713 h 4410075"/>
                  <a:gd name="connsiteX157" fmla="*/ 2650331 w 8801100"/>
                  <a:gd name="connsiteY157" fmla="*/ 3879056 h 4410075"/>
                  <a:gd name="connsiteX158" fmla="*/ 3057525 w 8801100"/>
                  <a:gd name="connsiteY158" fmla="*/ 3960019 h 4410075"/>
                  <a:gd name="connsiteX159" fmla="*/ 3255169 w 8801100"/>
                  <a:gd name="connsiteY159" fmla="*/ 3929062 h 4410075"/>
                  <a:gd name="connsiteX160" fmla="*/ 3300413 w 8801100"/>
                  <a:gd name="connsiteY160" fmla="*/ 3940968 h 4410075"/>
                  <a:gd name="connsiteX161" fmla="*/ 3355181 w 8801100"/>
                  <a:gd name="connsiteY161" fmla="*/ 3917157 h 4410075"/>
                  <a:gd name="connsiteX162" fmla="*/ 3748087 w 8801100"/>
                  <a:gd name="connsiteY162" fmla="*/ 4007644 h 4410075"/>
                  <a:gd name="connsiteX163" fmla="*/ 3831432 w 8801100"/>
                  <a:gd name="connsiteY163" fmla="*/ 4105275 h 4410075"/>
                  <a:gd name="connsiteX164" fmla="*/ 3950494 w 8801100"/>
                  <a:gd name="connsiteY164" fmla="*/ 4176713 h 4410075"/>
                  <a:gd name="connsiteX165" fmla="*/ 4010025 w 8801100"/>
                  <a:gd name="connsiteY165" fmla="*/ 4160044 h 4410075"/>
                  <a:gd name="connsiteX166" fmla="*/ 4360068 w 8801100"/>
                  <a:gd name="connsiteY166" fmla="*/ 4333875 h 4410075"/>
                  <a:gd name="connsiteX167" fmla="*/ 4586288 w 8801100"/>
                  <a:gd name="connsiteY167" fmla="*/ 4305300 h 4410075"/>
                  <a:gd name="connsiteX168" fmla="*/ 4595813 w 8801100"/>
                  <a:gd name="connsiteY168" fmla="*/ 4383881 h 4410075"/>
                  <a:gd name="connsiteX169" fmla="*/ 4681538 w 8801100"/>
                  <a:gd name="connsiteY169" fmla="*/ 4379118 h 4410075"/>
                  <a:gd name="connsiteX170" fmla="*/ 4760119 w 8801100"/>
                  <a:gd name="connsiteY170" fmla="*/ 4410075 h 4410075"/>
                  <a:gd name="connsiteX171" fmla="*/ 4802981 w 8801100"/>
                  <a:gd name="connsiteY171" fmla="*/ 4350544 h 4410075"/>
                  <a:gd name="connsiteX172" fmla="*/ 5474494 w 8801100"/>
                  <a:gd name="connsiteY172" fmla="*/ 4031456 h 4410075"/>
                  <a:gd name="connsiteX173" fmla="*/ 5562600 w 8801100"/>
                  <a:gd name="connsiteY173" fmla="*/ 4060032 h 4410075"/>
                  <a:gd name="connsiteX174" fmla="*/ 5693569 w 8801100"/>
                  <a:gd name="connsiteY174" fmla="*/ 4031456 h 4410075"/>
                  <a:gd name="connsiteX175" fmla="*/ 5872162 w 8801100"/>
                  <a:gd name="connsiteY175" fmla="*/ 4048125 h 4410075"/>
                  <a:gd name="connsiteX176" fmla="*/ 5929313 w 8801100"/>
                  <a:gd name="connsiteY176" fmla="*/ 4021932 h 4410075"/>
                  <a:gd name="connsiteX177" fmla="*/ 6062662 w 8801100"/>
                  <a:gd name="connsiteY177" fmla="*/ 4019550 h 4410075"/>
                  <a:gd name="connsiteX178" fmla="*/ 6196012 w 8801100"/>
                  <a:gd name="connsiteY178" fmla="*/ 3921919 h 4410075"/>
                  <a:gd name="connsiteX179" fmla="*/ 6262687 w 8801100"/>
                  <a:gd name="connsiteY179" fmla="*/ 3914775 h 4410075"/>
                  <a:gd name="connsiteX180" fmla="*/ 6360319 w 8801100"/>
                  <a:gd name="connsiteY180" fmla="*/ 3840956 h 4410075"/>
                  <a:gd name="connsiteX181" fmla="*/ 6434138 w 8801100"/>
                  <a:gd name="connsiteY181" fmla="*/ 3771900 h 4410075"/>
                  <a:gd name="connsiteX182" fmla="*/ 6443663 w 8801100"/>
                  <a:gd name="connsiteY182" fmla="*/ 3709988 h 4410075"/>
                  <a:gd name="connsiteX183" fmla="*/ 6477000 w 8801100"/>
                  <a:gd name="connsiteY183" fmla="*/ 3640931 h 4410075"/>
                  <a:gd name="connsiteX184" fmla="*/ 6629400 w 8801100"/>
                  <a:gd name="connsiteY184" fmla="*/ 3533775 h 4410075"/>
                  <a:gd name="connsiteX185" fmla="*/ 6662738 w 8801100"/>
                  <a:gd name="connsiteY185" fmla="*/ 3538538 h 4410075"/>
                  <a:gd name="connsiteX186" fmla="*/ 6715125 w 8801100"/>
                  <a:gd name="connsiteY186" fmla="*/ 3459956 h 4410075"/>
                  <a:gd name="connsiteX187" fmla="*/ 6762750 w 8801100"/>
                  <a:gd name="connsiteY187" fmla="*/ 3421856 h 4410075"/>
                  <a:gd name="connsiteX188" fmla="*/ 6748463 w 8801100"/>
                  <a:gd name="connsiteY188" fmla="*/ 3352800 h 4410075"/>
                  <a:gd name="connsiteX189" fmla="*/ 6698456 w 8801100"/>
                  <a:gd name="connsiteY189" fmla="*/ 3321843 h 4410075"/>
                  <a:gd name="connsiteX190" fmla="*/ 6638925 w 8801100"/>
                  <a:gd name="connsiteY190" fmla="*/ 3267075 h 4410075"/>
                  <a:gd name="connsiteX191" fmla="*/ 6619875 w 8801100"/>
                  <a:gd name="connsiteY191" fmla="*/ 3209925 h 4410075"/>
                  <a:gd name="connsiteX192" fmla="*/ 6584156 w 8801100"/>
                  <a:gd name="connsiteY192" fmla="*/ 3176588 h 4410075"/>
                  <a:gd name="connsiteX193" fmla="*/ 6610350 w 8801100"/>
                  <a:gd name="connsiteY193" fmla="*/ 3124200 h 4410075"/>
                  <a:gd name="connsiteX194" fmla="*/ 6650831 w 8801100"/>
                  <a:gd name="connsiteY194" fmla="*/ 2945606 h 4410075"/>
                  <a:gd name="connsiteX195" fmla="*/ 6691313 w 8801100"/>
                  <a:gd name="connsiteY195" fmla="*/ 2878931 h 4410075"/>
                  <a:gd name="connsiteX196" fmla="*/ 6836569 w 8801100"/>
                  <a:gd name="connsiteY196" fmla="*/ 2862262 h 4410075"/>
                  <a:gd name="connsiteX197" fmla="*/ 6905625 w 8801100"/>
                  <a:gd name="connsiteY197" fmla="*/ 2919413 h 4410075"/>
                  <a:gd name="connsiteX198" fmla="*/ 6981825 w 8801100"/>
                  <a:gd name="connsiteY198" fmla="*/ 2943225 h 4410075"/>
                  <a:gd name="connsiteX199" fmla="*/ 7186612 w 8801100"/>
                  <a:gd name="connsiteY199" fmla="*/ 2947988 h 4410075"/>
                  <a:gd name="connsiteX200" fmla="*/ 7362825 w 8801100"/>
                  <a:gd name="connsiteY200" fmla="*/ 2809875 h 4410075"/>
                  <a:gd name="connsiteX201" fmla="*/ 7419975 w 8801100"/>
                  <a:gd name="connsiteY201" fmla="*/ 2719387 h 4410075"/>
                  <a:gd name="connsiteX202" fmla="*/ 7446169 w 8801100"/>
                  <a:gd name="connsiteY202" fmla="*/ 2636044 h 4410075"/>
                  <a:gd name="connsiteX203" fmla="*/ 7577137 w 8801100"/>
                  <a:gd name="connsiteY203" fmla="*/ 2636044 h 4410075"/>
                  <a:gd name="connsiteX204" fmla="*/ 7750969 w 8801100"/>
                  <a:gd name="connsiteY204" fmla="*/ 2578893 h 4410075"/>
                  <a:gd name="connsiteX205" fmla="*/ 7810500 w 8801100"/>
                  <a:gd name="connsiteY205" fmla="*/ 2466975 h 4410075"/>
                  <a:gd name="connsiteX206" fmla="*/ 7874794 w 8801100"/>
                  <a:gd name="connsiteY206" fmla="*/ 2431256 h 4410075"/>
                  <a:gd name="connsiteX207" fmla="*/ 7853363 w 8801100"/>
                  <a:gd name="connsiteY207" fmla="*/ 2386013 h 4410075"/>
                  <a:gd name="connsiteX208" fmla="*/ 7931944 w 8801100"/>
                  <a:gd name="connsiteY208" fmla="*/ 2216943 h 4410075"/>
                  <a:gd name="connsiteX209" fmla="*/ 7986713 w 8801100"/>
                  <a:gd name="connsiteY209" fmla="*/ 2157413 h 4410075"/>
                  <a:gd name="connsiteX210" fmla="*/ 8024813 w 8801100"/>
                  <a:gd name="connsiteY210" fmla="*/ 2152650 h 4410075"/>
                  <a:gd name="connsiteX211" fmla="*/ 8070056 w 8801100"/>
                  <a:gd name="connsiteY211" fmla="*/ 2157413 h 4410075"/>
                  <a:gd name="connsiteX212" fmla="*/ 8134350 w 8801100"/>
                  <a:gd name="connsiteY212" fmla="*/ 2124075 h 4410075"/>
                  <a:gd name="connsiteX213" fmla="*/ 8143875 w 8801100"/>
                  <a:gd name="connsiteY213" fmla="*/ 2059781 h 4410075"/>
                  <a:gd name="connsiteX214" fmla="*/ 8184355 w 8801100"/>
                  <a:gd name="connsiteY214" fmla="*/ 2024063 h 4410075"/>
                  <a:gd name="connsiteX215" fmla="*/ 8243888 w 8801100"/>
                  <a:gd name="connsiteY215" fmla="*/ 2064543 h 4410075"/>
                  <a:gd name="connsiteX216" fmla="*/ 8270082 w 8801100"/>
                  <a:gd name="connsiteY216" fmla="*/ 2014537 h 4410075"/>
                  <a:gd name="connsiteX217" fmla="*/ 8365331 w 8801100"/>
                  <a:gd name="connsiteY217" fmla="*/ 1945481 h 4410075"/>
                  <a:gd name="connsiteX218" fmla="*/ 8427244 w 8801100"/>
                  <a:gd name="connsiteY218" fmla="*/ 1952625 h 4410075"/>
                  <a:gd name="connsiteX219" fmla="*/ 8477250 w 8801100"/>
                  <a:gd name="connsiteY219" fmla="*/ 1933575 h 4410075"/>
                  <a:gd name="connsiteX220" fmla="*/ 8515350 w 8801100"/>
                  <a:gd name="connsiteY220" fmla="*/ 1905000 h 4410075"/>
                  <a:gd name="connsiteX221" fmla="*/ 8548688 w 8801100"/>
                  <a:gd name="connsiteY221" fmla="*/ 1902619 h 4410075"/>
                  <a:gd name="connsiteX222" fmla="*/ 8584406 w 8801100"/>
                  <a:gd name="connsiteY222" fmla="*/ 1933575 h 4410075"/>
                  <a:gd name="connsiteX223" fmla="*/ 8643938 w 8801100"/>
                  <a:gd name="connsiteY223" fmla="*/ 1933575 h 4410075"/>
                  <a:gd name="connsiteX224" fmla="*/ 8682037 w 8801100"/>
                  <a:gd name="connsiteY224" fmla="*/ 1914525 h 4410075"/>
                  <a:gd name="connsiteX225" fmla="*/ 8765381 w 8801100"/>
                  <a:gd name="connsiteY225" fmla="*/ 1916907 h 4410075"/>
                  <a:gd name="connsiteX226" fmla="*/ 8796338 w 8801100"/>
                  <a:gd name="connsiteY226" fmla="*/ 1871663 h 4410075"/>
                  <a:gd name="connsiteX227" fmla="*/ 8801100 w 8801100"/>
                  <a:gd name="connsiteY227" fmla="*/ 1809750 h 4410075"/>
                  <a:gd name="connsiteX228" fmla="*/ 8751093 w 8801100"/>
                  <a:gd name="connsiteY228" fmla="*/ 1769269 h 4410075"/>
                  <a:gd name="connsiteX229" fmla="*/ 8734425 w 8801100"/>
                  <a:gd name="connsiteY229" fmla="*/ 1714500 h 4410075"/>
                  <a:gd name="connsiteX230" fmla="*/ 8643938 w 8801100"/>
                  <a:gd name="connsiteY230" fmla="*/ 1652588 h 4410075"/>
                  <a:gd name="connsiteX231" fmla="*/ 8603456 w 8801100"/>
                  <a:gd name="connsiteY231" fmla="*/ 1631156 h 4410075"/>
                  <a:gd name="connsiteX232" fmla="*/ 8565356 w 8801100"/>
                  <a:gd name="connsiteY232" fmla="*/ 1585913 h 4410075"/>
                  <a:gd name="connsiteX233" fmla="*/ 8534400 w 8801100"/>
                  <a:gd name="connsiteY233" fmla="*/ 1583531 h 4410075"/>
                  <a:gd name="connsiteX234" fmla="*/ 8517731 w 8801100"/>
                  <a:gd name="connsiteY234" fmla="*/ 1531144 h 4410075"/>
                  <a:gd name="connsiteX235" fmla="*/ 8477250 w 8801100"/>
                  <a:gd name="connsiteY235" fmla="*/ 1514475 h 4410075"/>
                  <a:gd name="connsiteX236" fmla="*/ 8477250 w 8801100"/>
                  <a:gd name="connsiteY236" fmla="*/ 1514475 h 4410075"/>
                  <a:gd name="connsiteX237" fmla="*/ 8436769 w 8801100"/>
                  <a:gd name="connsiteY237" fmla="*/ 1519238 h 4410075"/>
                  <a:gd name="connsiteX238" fmla="*/ 8351043 w 8801100"/>
                  <a:gd name="connsiteY238" fmla="*/ 1445419 h 4410075"/>
                  <a:gd name="connsiteX239" fmla="*/ 8170069 w 8801100"/>
                  <a:gd name="connsiteY239" fmla="*/ 1445418 h 4410075"/>
                  <a:gd name="connsiteX240" fmla="*/ 8117681 w 8801100"/>
                  <a:gd name="connsiteY240" fmla="*/ 1483519 h 4410075"/>
                  <a:gd name="connsiteX241" fmla="*/ 8067675 w 8801100"/>
                  <a:gd name="connsiteY241" fmla="*/ 1562100 h 4410075"/>
                  <a:gd name="connsiteX242" fmla="*/ 8084344 w 8801100"/>
                  <a:gd name="connsiteY242" fmla="*/ 1583531 h 4410075"/>
                  <a:gd name="connsiteX243" fmla="*/ 8039100 w 8801100"/>
                  <a:gd name="connsiteY243" fmla="*/ 1633537 h 4410075"/>
                  <a:gd name="connsiteX244" fmla="*/ 7889081 w 8801100"/>
                  <a:gd name="connsiteY244" fmla="*/ 1557337 h 4410075"/>
                  <a:gd name="connsiteX245" fmla="*/ 7798594 w 8801100"/>
                  <a:gd name="connsiteY245" fmla="*/ 1593056 h 4410075"/>
                  <a:gd name="connsiteX246" fmla="*/ 7724775 w 8801100"/>
                  <a:gd name="connsiteY246" fmla="*/ 1590675 h 4410075"/>
                  <a:gd name="connsiteX247" fmla="*/ 7667625 w 8801100"/>
                  <a:gd name="connsiteY247" fmla="*/ 1685925 h 4410075"/>
                  <a:gd name="connsiteX248" fmla="*/ 7529513 w 8801100"/>
                  <a:gd name="connsiteY248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1976438 w 8801100"/>
                  <a:gd name="connsiteY148" fmla="*/ 3274219 h 4410075"/>
                  <a:gd name="connsiteX149" fmla="*/ 2038350 w 8801100"/>
                  <a:gd name="connsiteY149" fmla="*/ 3498057 h 4410075"/>
                  <a:gd name="connsiteX150" fmla="*/ 2028825 w 8801100"/>
                  <a:gd name="connsiteY150" fmla="*/ 3562350 h 4410075"/>
                  <a:gd name="connsiteX151" fmla="*/ 2164556 w 8801100"/>
                  <a:gd name="connsiteY151" fmla="*/ 3729038 h 4410075"/>
                  <a:gd name="connsiteX152" fmla="*/ 2183606 w 8801100"/>
                  <a:gd name="connsiteY152" fmla="*/ 3779044 h 4410075"/>
                  <a:gd name="connsiteX153" fmla="*/ 2157413 w 8801100"/>
                  <a:gd name="connsiteY153" fmla="*/ 3798094 h 4410075"/>
                  <a:gd name="connsiteX154" fmla="*/ 2259806 w 8801100"/>
                  <a:gd name="connsiteY154" fmla="*/ 3807619 h 4410075"/>
                  <a:gd name="connsiteX155" fmla="*/ 2371725 w 8801100"/>
                  <a:gd name="connsiteY155" fmla="*/ 3795713 h 4410075"/>
                  <a:gd name="connsiteX156" fmla="*/ 2650331 w 8801100"/>
                  <a:gd name="connsiteY156" fmla="*/ 3879056 h 4410075"/>
                  <a:gd name="connsiteX157" fmla="*/ 3057525 w 8801100"/>
                  <a:gd name="connsiteY157" fmla="*/ 3960019 h 4410075"/>
                  <a:gd name="connsiteX158" fmla="*/ 3255169 w 8801100"/>
                  <a:gd name="connsiteY158" fmla="*/ 3929062 h 4410075"/>
                  <a:gd name="connsiteX159" fmla="*/ 3300413 w 8801100"/>
                  <a:gd name="connsiteY159" fmla="*/ 3940968 h 4410075"/>
                  <a:gd name="connsiteX160" fmla="*/ 3355181 w 8801100"/>
                  <a:gd name="connsiteY160" fmla="*/ 3917157 h 4410075"/>
                  <a:gd name="connsiteX161" fmla="*/ 3748087 w 8801100"/>
                  <a:gd name="connsiteY161" fmla="*/ 4007644 h 4410075"/>
                  <a:gd name="connsiteX162" fmla="*/ 3831432 w 8801100"/>
                  <a:gd name="connsiteY162" fmla="*/ 4105275 h 4410075"/>
                  <a:gd name="connsiteX163" fmla="*/ 3950494 w 8801100"/>
                  <a:gd name="connsiteY163" fmla="*/ 4176713 h 4410075"/>
                  <a:gd name="connsiteX164" fmla="*/ 4010025 w 8801100"/>
                  <a:gd name="connsiteY164" fmla="*/ 4160044 h 4410075"/>
                  <a:gd name="connsiteX165" fmla="*/ 4360068 w 8801100"/>
                  <a:gd name="connsiteY165" fmla="*/ 4333875 h 4410075"/>
                  <a:gd name="connsiteX166" fmla="*/ 4586288 w 8801100"/>
                  <a:gd name="connsiteY166" fmla="*/ 4305300 h 4410075"/>
                  <a:gd name="connsiteX167" fmla="*/ 4595813 w 8801100"/>
                  <a:gd name="connsiteY167" fmla="*/ 4383881 h 4410075"/>
                  <a:gd name="connsiteX168" fmla="*/ 4681538 w 8801100"/>
                  <a:gd name="connsiteY168" fmla="*/ 4379118 h 4410075"/>
                  <a:gd name="connsiteX169" fmla="*/ 4760119 w 8801100"/>
                  <a:gd name="connsiteY169" fmla="*/ 4410075 h 4410075"/>
                  <a:gd name="connsiteX170" fmla="*/ 4802981 w 8801100"/>
                  <a:gd name="connsiteY170" fmla="*/ 4350544 h 4410075"/>
                  <a:gd name="connsiteX171" fmla="*/ 5474494 w 8801100"/>
                  <a:gd name="connsiteY171" fmla="*/ 4031456 h 4410075"/>
                  <a:gd name="connsiteX172" fmla="*/ 5562600 w 8801100"/>
                  <a:gd name="connsiteY172" fmla="*/ 4060032 h 4410075"/>
                  <a:gd name="connsiteX173" fmla="*/ 5693569 w 8801100"/>
                  <a:gd name="connsiteY173" fmla="*/ 4031456 h 4410075"/>
                  <a:gd name="connsiteX174" fmla="*/ 5872162 w 8801100"/>
                  <a:gd name="connsiteY174" fmla="*/ 4048125 h 4410075"/>
                  <a:gd name="connsiteX175" fmla="*/ 5929313 w 8801100"/>
                  <a:gd name="connsiteY175" fmla="*/ 4021932 h 4410075"/>
                  <a:gd name="connsiteX176" fmla="*/ 6062662 w 8801100"/>
                  <a:gd name="connsiteY176" fmla="*/ 4019550 h 4410075"/>
                  <a:gd name="connsiteX177" fmla="*/ 6196012 w 8801100"/>
                  <a:gd name="connsiteY177" fmla="*/ 3921919 h 4410075"/>
                  <a:gd name="connsiteX178" fmla="*/ 6262687 w 8801100"/>
                  <a:gd name="connsiteY178" fmla="*/ 3914775 h 4410075"/>
                  <a:gd name="connsiteX179" fmla="*/ 6360319 w 8801100"/>
                  <a:gd name="connsiteY179" fmla="*/ 3840956 h 4410075"/>
                  <a:gd name="connsiteX180" fmla="*/ 6434138 w 8801100"/>
                  <a:gd name="connsiteY180" fmla="*/ 3771900 h 4410075"/>
                  <a:gd name="connsiteX181" fmla="*/ 6443663 w 8801100"/>
                  <a:gd name="connsiteY181" fmla="*/ 3709988 h 4410075"/>
                  <a:gd name="connsiteX182" fmla="*/ 6477000 w 8801100"/>
                  <a:gd name="connsiteY182" fmla="*/ 3640931 h 4410075"/>
                  <a:gd name="connsiteX183" fmla="*/ 6629400 w 8801100"/>
                  <a:gd name="connsiteY183" fmla="*/ 3533775 h 4410075"/>
                  <a:gd name="connsiteX184" fmla="*/ 6662738 w 8801100"/>
                  <a:gd name="connsiteY184" fmla="*/ 3538538 h 4410075"/>
                  <a:gd name="connsiteX185" fmla="*/ 6715125 w 8801100"/>
                  <a:gd name="connsiteY185" fmla="*/ 3459956 h 4410075"/>
                  <a:gd name="connsiteX186" fmla="*/ 6762750 w 8801100"/>
                  <a:gd name="connsiteY186" fmla="*/ 3421856 h 4410075"/>
                  <a:gd name="connsiteX187" fmla="*/ 6748463 w 8801100"/>
                  <a:gd name="connsiteY187" fmla="*/ 3352800 h 4410075"/>
                  <a:gd name="connsiteX188" fmla="*/ 6698456 w 8801100"/>
                  <a:gd name="connsiteY188" fmla="*/ 3321843 h 4410075"/>
                  <a:gd name="connsiteX189" fmla="*/ 6638925 w 8801100"/>
                  <a:gd name="connsiteY189" fmla="*/ 3267075 h 4410075"/>
                  <a:gd name="connsiteX190" fmla="*/ 6619875 w 8801100"/>
                  <a:gd name="connsiteY190" fmla="*/ 3209925 h 4410075"/>
                  <a:gd name="connsiteX191" fmla="*/ 6584156 w 8801100"/>
                  <a:gd name="connsiteY191" fmla="*/ 3176588 h 4410075"/>
                  <a:gd name="connsiteX192" fmla="*/ 6610350 w 8801100"/>
                  <a:gd name="connsiteY192" fmla="*/ 3124200 h 4410075"/>
                  <a:gd name="connsiteX193" fmla="*/ 6650831 w 8801100"/>
                  <a:gd name="connsiteY193" fmla="*/ 2945606 h 4410075"/>
                  <a:gd name="connsiteX194" fmla="*/ 6691313 w 8801100"/>
                  <a:gd name="connsiteY194" fmla="*/ 2878931 h 4410075"/>
                  <a:gd name="connsiteX195" fmla="*/ 6836569 w 8801100"/>
                  <a:gd name="connsiteY195" fmla="*/ 2862262 h 4410075"/>
                  <a:gd name="connsiteX196" fmla="*/ 6905625 w 8801100"/>
                  <a:gd name="connsiteY196" fmla="*/ 2919413 h 4410075"/>
                  <a:gd name="connsiteX197" fmla="*/ 6981825 w 8801100"/>
                  <a:gd name="connsiteY197" fmla="*/ 2943225 h 4410075"/>
                  <a:gd name="connsiteX198" fmla="*/ 7186612 w 8801100"/>
                  <a:gd name="connsiteY198" fmla="*/ 2947988 h 4410075"/>
                  <a:gd name="connsiteX199" fmla="*/ 7362825 w 8801100"/>
                  <a:gd name="connsiteY199" fmla="*/ 2809875 h 4410075"/>
                  <a:gd name="connsiteX200" fmla="*/ 7419975 w 8801100"/>
                  <a:gd name="connsiteY200" fmla="*/ 2719387 h 4410075"/>
                  <a:gd name="connsiteX201" fmla="*/ 7446169 w 8801100"/>
                  <a:gd name="connsiteY201" fmla="*/ 2636044 h 4410075"/>
                  <a:gd name="connsiteX202" fmla="*/ 7577137 w 8801100"/>
                  <a:gd name="connsiteY202" fmla="*/ 2636044 h 4410075"/>
                  <a:gd name="connsiteX203" fmla="*/ 7750969 w 8801100"/>
                  <a:gd name="connsiteY203" fmla="*/ 2578893 h 4410075"/>
                  <a:gd name="connsiteX204" fmla="*/ 7810500 w 8801100"/>
                  <a:gd name="connsiteY204" fmla="*/ 2466975 h 4410075"/>
                  <a:gd name="connsiteX205" fmla="*/ 7874794 w 8801100"/>
                  <a:gd name="connsiteY205" fmla="*/ 2431256 h 4410075"/>
                  <a:gd name="connsiteX206" fmla="*/ 7853363 w 8801100"/>
                  <a:gd name="connsiteY206" fmla="*/ 2386013 h 4410075"/>
                  <a:gd name="connsiteX207" fmla="*/ 7931944 w 8801100"/>
                  <a:gd name="connsiteY207" fmla="*/ 2216943 h 4410075"/>
                  <a:gd name="connsiteX208" fmla="*/ 7986713 w 8801100"/>
                  <a:gd name="connsiteY208" fmla="*/ 2157413 h 4410075"/>
                  <a:gd name="connsiteX209" fmla="*/ 8024813 w 8801100"/>
                  <a:gd name="connsiteY209" fmla="*/ 2152650 h 4410075"/>
                  <a:gd name="connsiteX210" fmla="*/ 8070056 w 8801100"/>
                  <a:gd name="connsiteY210" fmla="*/ 2157413 h 4410075"/>
                  <a:gd name="connsiteX211" fmla="*/ 8134350 w 8801100"/>
                  <a:gd name="connsiteY211" fmla="*/ 2124075 h 4410075"/>
                  <a:gd name="connsiteX212" fmla="*/ 8143875 w 8801100"/>
                  <a:gd name="connsiteY212" fmla="*/ 2059781 h 4410075"/>
                  <a:gd name="connsiteX213" fmla="*/ 8184355 w 8801100"/>
                  <a:gd name="connsiteY213" fmla="*/ 2024063 h 4410075"/>
                  <a:gd name="connsiteX214" fmla="*/ 8243888 w 8801100"/>
                  <a:gd name="connsiteY214" fmla="*/ 2064543 h 4410075"/>
                  <a:gd name="connsiteX215" fmla="*/ 8270082 w 8801100"/>
                  <a:gd name="connsiteY215" fmla="*/ 2014537 h 4410075"/>
                  <a:gd name="connsiteX216" fmla="*/ 8365331 w 8801100"/>
                  <a:gd name="connsiteY216" fmla="*/ 1945481 h 4410075"/>
                  <a:gd name="connsiteX217" fmla="*/ 8427244 w 8801100"/>
                  <a:gd name="connsiteY217" fmla="*/ 1952625 h 4410075"/>
                  <a:gd name="connsiteX218" fmla="*/ 8477250 w 8801100"/>
                  <a:gd name="connsiteY218" fmla="*/ 1933575 h 4410075"/>
                  <a:gd name="connsiteX219" fmla="*/ 8515350 w 8801100"/>
                  <a:gd name="connsiteY219" fmla="*/ 1905000 h 4410075"/>
                  <a:gd name="connsiteX220" fmla="*/ 8548688 w 8801100"/>
                  <a:gd name="connsiteY220" fmla="*/ 1902619 h 4410075"/>
                  <a:gd name="connsiteX221" fmla="*/ 8584406 w 8801100"/>
                  <a:gd name="connsiteY221" fmla="*/ 1933575 h 4410075"/>
                  <a:gd name="connsiteX222" fmla="*/ 8643938 w 8801100"/>
                  <a:gd name="connsiteY222" fmla="*/ 1933575 h 4410075"/>
                  <a:gd name="connsiteX223" fmla="*/ 8682037 w 8801100"/>
                  <a:gd name="connsiteY223" fmla="*/ 1914525 h 4410075"/>
                  <a:gd name="connsiteX224" fmla="*/ 8765381 w 8801100"/>
                  <a:gd name="connsiteY224" fmla="*/ 1916907 h 4410075"/>
                  <a:gd name="connsiteX225" fmla="*/ 8796338 w 8801100"/>
                  <a:gd name="connsiteY225" fmla="*/ 1871663 h 4410075"/>
                  <a:gd name="connsiteX226" fmla="*/ 8801100 w 8801100"/>
                  <a:gd name="connsiteY226" fmla="*/ 1809750 h 4410075"/>
                  <a:gd name="connsiteX227" fmla="*/ 8751093 w 8801100"/>
                  <a:gd name="connsiteY227" fmla="*/ 1769269 h 4410075"/>
                  <a:gd name="connsiteX228" fmla="*/ 8734425 w 8801100"/>
                  <a:gd name="connsiteY228" fmla="*/ 1714500 h 4410075"/>
                  <a:gd name="connsiteX229" fmla="*/ 8643938 w 8801100"/>
                  <a:gd name="connsiteY229" fmla="*/ 1652588 h 4410075"/>
                  <a:gd name="connsiteX230" fmla="*/ 8603456 w 8801100"/>
                  <a:gd name="connsiteY230" fmla="*/ 1631156 h 4410075"/>
                  <a:gd name="connsiteX231" fmla="*/ 8565356 w 8801100"/>
                  <a:gd name="connsiteY231" fmla="*/ 1585913 h 4410075"/>
                  <a:gd name="connsiteX232" fmla="*/ 8534400 w 8801100"/>
                  <a:gd name="connsiteY232" fmla="*/ 1583531 h 4410075"/>
                  <a:gd name="connsiteX233" fmla="*/ 8517731 w 8801100"/>
                  <a:gd name="connsiteY233" fmla="*/ 1531144 h 4410075"/>
                  <a:gd name="connsiteX234" fmla="*/ 8477250 w 8801100"/>
                  <a:gd name="connsiteY234" fmla="*/ 1514475 h 4410075"/>
                  <a:gd name="connsiteX235" fmla="*/ 8477250 w 8801100"/>
                  <a:gd name="connsiteY235" fmla="*/ 1514475 h 4410075"/>
                  <a:gd name="connsiteX236" fmla="*/ 8436769 w 8801100"/>
                  <a:gd name="connsiteY236" fmla="*/ 1519238 h 4410075"/>
                  <a:gd name="connsiteX237" fmla="*/ 8351043 w 8801100"/>
                  <a:gd name="connsiteY237" fmla="*/ 1445419 h 4410075"/>
                  <a:gd name="connsiteX238" fmla="*/ 8170069 w 8801100"/>
                  <a:gd name="connsiteY238" fmla="*/ 1445418 h 4410075"/>
                  <a:gd name="connsiteX239" fmla="*/ 8117681 w 8801100"/>
                  <a:gd name="connsiteY239" fmla="*/ 1483519 h 4410075"/>
                  <a:gd name="connsiteX240" fmla="*/ 8067675 w 8801100"/>
                  <a:gd name="connsiteY240" fmla="*/ 1562100 h 4410075"/>
                  <a:gd name="connsiteX241" fmla="*/ 8084344 w 8801100"/>
                  <a:gd name="connsiteY241" fmla="*/ 1583531 h 4410075"/>
                  <a:gd name="connsiteX242" fmla="*/ 8039100 w 8801100"/>
                  <a:gd name="connsiteY242" fmla="*/ 1633537 h 4410075"/>
                  <a:gd name="connsiteX243" fmla="*/ 7889081 w 8801100"/>
                  <a:gd name="connsiteY243" fmla="*/ 1557337 h 4410075"/>
                  <a:gd name="connsiteX244" fmla="*/ 7798594 w 8801100"/>
                  <a:gd name="connsiteY244" fmla="*/ 1593056 h 4410075"/>
                  <a:gd name="connsiteX245" fmla="*/ 7724775 w 8801100"/>
                  <a:gd name="connsiteY245" fmla="*/ 1590675 h 4410075"/>
                  <a:gd name="connsiteX246" fmla="*/ 7667625 w 8801100"/>
                  <a:gd name="connsiteY246" fmla="*/ 1685925 h 4410075"/>
                  <a:gd name="connsiteX247" fmla="*/ 7529513 w 8801100"/>
                  <a:gd name="connsiteY247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038350 w 8801100"/>
                  <a:gd name="connsiteY148" fmla="*/ 3498057 h 4410075"/>
                  <a:gd name="connsiteX149" fmla="*/ 2028825 w 8801100"/>
                  <a:gd name="connsiteY149" fmla="*/ 3562350 h 4410075"/>
                  <a:gd name="connsiteX150" fmla="*/ 2164556 w 8801100"/>
                  <a:gd name="connsiteY150" fmla="*/ 3729038 h 4410075"/>
                  <a:gd name="connsiteX151" fmla="*/ 2183606 w 8801100"/>
                  <a:gd name="connsiteY151" fmla="*/ 3779044 h 4410075"/>
                  <a:gd name="connsiteX152" fmla="*/ 2157413 w 8801100"/>
                  <a:gd name="connsiteY152" fmla="*/ 3798094 h 4410075"/>
                  <a:gd name="connsiteX153" fmla="*/ 2259806 w 8801100"/>
                  <a:gd name="connsiteY153" fmla="*/ 3807619 h 4410075"/>
                  <a:gd name="connsiteX154" fmla="*/ 2371725 w 8801100"/>
                  <a:gd name="connsiteY154" fmla="*/ 3795713 h 4410075"/>
                  <a:gd name="connsiteX155" fmla="*/ 2650331 w 8801100"/>
                  <a:gd name="connsiteY155" fmla="*/ 3879056 h 4410075"/>
                  <a:gd name="connsiteX156" fmla="*/ 3057525 w 8801100"/>
                  <a:gd name="connsiteY156" fmla="*/ 3960019 h 4410075"/>
                  <a:gd name="connsiteX157" fmla="*/ 3255169 w 8801100"/>
                  <a:gd name="connsiteY157" fmla="*/ 3929062 h 4410075"/>
                  <a:gd name="connsiteX158" fmla="*/ 3300413 w 8801100"/>
                  <a:gd name="connsiteY158" fmla="*/ 3940968 h 4410075"/>
                  <a:gd name="connsiteX159" fmla="*/ 3355181 w 8801100"/>
                  <a:gd name="connsiteY159" fmla="*/ 3917157 h 4410075"/>
                  <a:gd name="connsiteX160" fmla="*/ 3748087 w 8801100"/>
                  <a:gd name="connsiteY160" fmla="*/ 4007644 h 4410075"/>
                  <a:gd name="connsiteX161" fmla="*/ 3831432 w 8801100"/>
                  <a:gd name="connsiteY161" fmla="*/ 4105275 h 4410075"/>
                  <a:gd name="connsiteX162" fmla="*/ 3950494 w 8801100"/>
                  <a:gd name="connsiteY162" fmla="*/ 4176713 h 4410075"/>
                  <a:gd name="connsiteX163" fmla="*/ 4010025 w 8801100"/>
                  <a:gd name="connsiteY163" fmla="*/ 4160044 h 4410075"/>
                  <a:gd name="connsiteX164" fmla="*/ 4360068 w 8801100"/>
                  <a:gd name="connsiteY164" fmla="*/ 4333875 h 4410075"/>
                  <a:gd name="connsiteX165" fmla="*/ 4586288 w 8801100"/>
                  <a:gd name="connsiteY165" fmla="*/ 4305300 h 4410075"/>
                  <a:gd name="connsiteX166" fmla="*/ 4595813 w 8801100"/>
                  <a:gd name="connsiteY166" fmla="*/ 4383881 h 4410075"/>
                  <a:gd name="connsiteX167" fmla="*/ 4681538 w 8801100"/>
                  <a:gd name="connsiteY167" fmla="*/ 4379118 h 4410075"/>
                  <a:gd name="connsiteX168" fmla="*/ 4760119 w 8801100"/>
                  <a:gd name="connsiteY168" fmla="*/ 4410075 h 4410075"/>
                  <a:gd name="connsiteX169" fmla="*/ 4802981 w 8801100"/>
                  <a:gd name="connsiteY169" fmla="*/ 4350544 h 4410075"/>
                  <a:gd name="connsiteX170" fmla="*/ 5474494 w 8801100"/>
                  <a:gd name="connsiteY170" fmla="*/ 4031456 h 4410075"/>
                  <a:gd name="connsiteX171" fmla="*/ 5562600 w 8801100"/>
                  <a:gd name="connsiteY171" fmla="*/ 4060032 h 4410075"/>
                  <a:gd name="connsiteX172" fmla="*/ 5693569 w 8801100"/>
                  <a:gd name="connsiteY172" fmla="*/ 4031456 h 4410075"/>
                  <a:gd name="connsiteX173" fmla="*/ 5872162 w 8801100"/>
                  <a:gd name="connsiteY173" fmla="*/ 4048125 h 4410075"/>
                  <a:gd name="connsiteX174" fmla="*/ 5929313 w 8801100"/>
                  <a:gd name="connsiteY174" fmla="*/ 4021932 h 4410075"/>
                  <a:gd name="connsiteX175" fmla="*/ 6062662 w 8801100"/>
                  <a:gd name="connsiteY175" fmla="*/ 4019550 h 4410075"/>
                  <a:gd name="connsiteX176" fmla="*/ 6196012 w 8801100"/>
                  <a:gd name="connsiteY176" fmla="*/ 3921919 h 4410075"/>
                  <a:gd name="connsiteX177" fmla="*/ 6262687 w 8801100"/>
                  <a:gd name="connsiteY177" fmla="*/ 3914775 h 4410075"/>
                  <a:gd name="connsiteX178" fmla="*/ 6360319 w 8801100"/>
                  <a:gd name="connsiteY178" fmla="*/ 3840956 h 4410075"/>
                  <a:gd name="connsiteX179" fmla="*/ 6434138 w 8801100"/>
                  <a:gd name="connsiteY179" fmla="*/ 3771900 h 4410075"/>
                  <a:gd name="connsiteX180" fmla="*/ 6443663 w 8801100"/>
                  <a:gd name="connsiteY180" fmla="*/ 3709988 h 4410075"/>
                  <a:gd name="connsiteX181" fmla="*/ 6477000 w 8801100"/>
                  <a:gd name="connsiteY181" fmla="*/ 3640931 h 4410075"/>
                  <a:gd name="connsiteX182" fmla="*/ 6629400 w 8801100"/>
                  <a:gd name="connsiteY182" fmla="*/ 3533775 h 4410075"/>
                  <a:gd name="connsiteX183" fmla="*/ 6662738 w 8801100"/>
                  <a:gd name="connsiteY183" fmla="*/ 3538538 h 4410075"/>
                  <a:gd name="connsiteX184" fmla="*/ 6715125 w 8801100"/>
                  <a:gd name="connsiteY184" fmla="*/ 3459956 h 4410075"/>
                  <a:gd name="connsiteX185" fmla="*/ 6762750 w 8801100"/>
                  <a:gd name="connsiteY185" fmla="*/ 3421856 h 4410075"/>
                  <a:gd name="connsiteX186" fmla="*/ 6748463 w 8801100"/>
                  <a:gd name="connsiteY186" fmla="*/ 3352800 h 4410075"/>
                  <a:gd name="connsiteX187" fmla="*/ 6698456 w 8801100"/>
                  <a:gd name="connsiteY187" fmla="*/ 3321843 h 4410075"/>
                  <a:gd name="connsiteX188" fmla="*/ 6638925 w 8801100"/>
                  <a:gd name="connsiteY188" fmla="*/ 3267075 h 4410075"/>
                  <a:gd name="connsiteX189" fmla="*/ 6619875 w 8801100"/>
                  <a:gd name="connsiteY189" fmla="*/ 3209925 h 4410075"/>
                  <a:gd name="connsiteX190" fmla="*/ 6584156 w 8801100"/>
                  <a:gd name="connsiteY190" fmla="*/ 3176588 h 4410075"/>
                  <a:gd name="connsiteX191" fmla="*/ 6610350 w 8801100"/>
                  <a:gd name="connsiteY191" fmla="*/ 3124200 h 4410075"/>
                  <a:gd name="connsiteX192" fmla="*/ 6650831 w 8801100"/>
                  <a:gd name="connsiteY192" fmla="*/ 2945606 h 4410075"/>
                  <a:gd name="connsiteX193" fmla="*/ 6691313 w 8801100"/>
                  <a:gd name="connsiteY193" fmla="*/ 2878931 h 4410075"/>
                  <a:gd name="connsiteX194" fmla="*/ 6836569 w 8801100"/>
                  <a:gd name="connsiteY194" fmla="*/ 2862262 h 4410075"/>
                  <a:gd name="connsiteX195" fmla="*/ 6905625 w 8801100"/>
                  <a:gd name="connsiteY195" fmla="*/ 2919413 h 4410075"/>
                  <a:gd name="connsiteX196" fmla="*/ 6981825 w 8801100"/>
                  <a:gd name="connsiteY196" fmla="*/ 2943225 h 4410075"/>
                  <a:gd name="connsiteX197" fmla="*/ 7186612 w 8801100"/>
                  <a:gd name="connsiteY197" fmla="*/ 2947988 h 4410075"/>
                  <a:gd name="connsiteX198" fmla="*/ 7362825 w 8801100"/>
                  <a:gd name="connsiteY198" fmla="*/ 2809875 h 4410075"/>
                  <a:gd name="connsiteX199" fmla="*/ 7419975 w 8801100"/>
                  <a:gd name="connsiteY199" fmla="*/ 2719387 h 4410075"/>
                  <a:gd name="connsiteX200" fmla="*/ 7446169 w 8801100"/>
                  <a:gd name="connsiteY200" fmla="*/ 2636044 h 4410075"/>
                  <a:gd name="connsiteX201" fmla="*/ 7577137 w 8801100"/>
                  <a:gd name="connsiteY201" fmla="*/ 2636044 h 4410075"/>
                  <a:gd name="connsiteX202" fmla="*/ 7750969 w 8801100"/>
                  <a:gd name="connsiteY202" fmla="*/ 2578893 h 4410075"/>
                  <a:gd name="connsiteX203" fmla="*/ 7810500 w 8801100"/>
                  <a:gd name="connsiteY203" fmla="*/ 2466975 h 4410075"/>
                  <a:gd name="connsiteX204" fmla="*/ 7874794 w 8801100"/>
                  <a:gd name="connsiteY204" fmla="*/ 2431256 h 4410075"/>
                  <a:gd name="connsiteX205" fmla="*/ 7853363 w 8801100"/>
                  <a:gd name="connsiteY205" fmla="*/ 2386013 h 4410075"/>
                  <a:gd name="connsiteX206" fmla="*/ 7931944 w 8801100"/>
                  <a:gd name="connsiteY206" fmla="*/ 2216943 h 4410075"/>
                  <a:gd name="connsiteX207" fmla="*/ 7986713 w 8801100"/>
                  <a:gd name="connsiteY207" fmla="*/ 2157413 h 4410075"/>
                  <a:gd name="connsiteX208" fmla="*/ 8024813 w 8801100"/>
                  <a:gd name="connsiteY208" fmla="*/ 2152650 h 4410075"/>
                  <a:gd name="connsiteX209" fmla="*/ 8070056 w 8801100"/>
                  <a:gd name="connsiteY209" fmla="*/ 2157413 h 4410075"/>
                  <a:gd name="connsiteX210" fmla="*/ 8134350 w 8801100"/>
                  <a:gd name="connsiteY210" fmla="*/ 2124075 h 4410075"/>
                  <a:gd name="connsiteX211" fmla="*/ 8143875 w 8801100"/>
                  <a:gd name="connsiteY211" fmla="*/ 2059781 h 4410075"/>
                  <a:gd name="connsiteX212" fmla="*/ 8184355 w 8801100"/>
                  <a:gd name="connsiteY212" fmla="*/ 2024063 h 4410075"/>
                  <a:gd name="connsiteX213" fmla="*/ 8243888 w 8801100"/>
                  <a:gd name="connsiteY213" fmla="*/ 2064543 h 4410075"/>
                  <a:gd name="connsiteX214" fmla="*/ 8270082 w 8801100"/>
                  <a:gd name="connsiteY214" fmla="*/ 2014537 h 4410075"/>
                  <a:gd name="connsiteX215" fmla="*/ 8365331 w 8801100"/>
                  <a:gd name="connsiteY215" fmla="*/ 1945481 h 4410075"/>
                  <a:gd name="connsiteX216" fmla="*/ 8427244 w 8801100"/>
                  <a:gd name="connsiteY216" fmla="*/ 1952625 h 4410075"/>
                  <a:gd name="connsiteX217" fmla="*/ 8477250 w 8801100"/>
                  <a:gd name="connsiteY217" fmla="*/ 1933575 h 4410075"/>
                  <a:gd name="connsiteX218" fmla="*/ 8515350 w 8801100"/>
                  <a:gd name="connsiteY218" fmla="*/ 1905000 h 4410075"/>
                  <a:gd name="connsiteX219" fmla="*/ 8548688 w 8801100"/>
                  <a:gd name="connsiteY219" fmla="*/ 1902619 h 4410075"/>
                  <a:gd name="connsiteX220" fmla="*/ 8584406 w 8801100"/>
                  <a:gd name="connsiteY220" fmla="*/ 1933575 h 4410075"/>
                  <a:gd name="connsiteX221" fmla="*/ 8643938 w 8801100"/>
                  <a:gd name="connsiteY221" fmla="*/ 1933575 h 4410075"/>
                  <a:gd name="connsiteX222" fmla="*/ 8682037 w 8801100"/>
                  <a:gd name="connsiteY222" fmla="*/ 1914525 h 4410075"/>
                  <a:gd name="connsiteX223" fmla="*/ 8765381 w 8801100"/>
                  <a:gd name="connsiteY223" fmla="*/ 1916907 h 4410075"/>
                  <a:gd name="connsiteX224" fmla="*/ 8796338 w 8801100"/>
                  <a:gd name="connsiteY224" fmla="*/ 1871663 h 4410075"/>
                  <a:gd name="connsiteX225" fmla="*/ 8801100 w 8801100"/>
                  <a:gd name="connsiteY225" fmla="*/ 1809750 h 4410075"/>
                  <a:gd name="connsiteX226" fmla="*/ 8751093 w 8801100"/>
                  <a:gd name="connsiteY226" fmla="*/ 1769269 h 4410075"/>
                  <a:gd name="connsiteX227" fmla="*/ 8734425 w 8801100"/>
                  <a:gd name="connsiteY227" fmla="*/ 1714500 h 4410075"/>
                  <a:gd name="connsiteX228" fmla="*/ 8643938 w 8801100"/>
                  <a:gd name="connsiteY228" fmla="*/ 1652588 h 4410075"/>
                  <a:gd name="connsiteX229" fmla="*/ 8603456 w 8801100"/>
                  <a:gd name="connsiteY229" fmla="*/ 1631156 h 4410075"/>
                  <a:gd name="connsiteX230" fmla="*/ 8565356 w 8801100"/>
                  <a:gd name="connsiteY230" fmla="*/ 1585913 h 4410075"/>
                  <a:gd name="connsiteX231" fmla="*/ 8534400 w 8801100"/>
                  <a:gd name="connsiteY231" fmla="*/ 1583531 h 4410075"/>
                  <a:gd name="connsiteX232" fmla="*/ 8517731 w 8801100"/>
                  <a:gd name="connsiteY232" fmla="*/ 1531144 h 4410075"/>
                  <a:gd name="connsiteX233" fmla="*/ 8477250 w 8801100"/>
                  <a:gd name="connsiteY233" fmla="*/ 1514475 h 4410075"/>
                  <a:gd name="connsiteX234" fmla="*/ 8477250 w 8801100"/>
                  <a:gd name="connsiteY234" fmla="*/ 1514475 h 4410075"/>
                  <a:gd name="connsiteX235" fmla="*/ 8436769 w 8801100"/>
                  <a:gd name="connsiteY235" fmla="*/ 1519238 h 4410075"/>
                  <a:gd name="connsiteX236" fmla="*/ 8351043 w 8801100"/>
                  <a:gd name="connsiteY236" fmla="*/ 1445419 h 4410075"/>
                  <a:gd name="connsiteX237" fmla="*/ 8170069 w 8801100"/>
                  <a:gd name="connsiteY237" fmla="*/ 1445418 h 4410075"/>
                  <a:gd name="connsiteX238" fmla="*/ 8117681 w 8801100"/>
                  <a:gd name="connsiteY238" fmla="*/ 1483519 h 4410075"/>
                  <a:gd name="connsiteX239" fmla="*/ 8067675 w 8801100"/>
                  <a:gd name="connsiteY239" fmla="*/ 1562100 h 4410075"/>
                  <a:gd name="connsiteX240" fmla="*/ 8084344 w 8801100"/>
                  <a:gd name="connsiteY240" fmla="*/ 1583531 h 4410075"/>
                  <a:gd name="connsiteX241" fmla="*/ 8039100 w 8801100"/>
                  <a:gd name="connsiteY241" fmla="*/ 1633537 h 4410075"/>
                  <a:gd name="connsiteX242" fmla="*/ 7889081 w 8801100"/>
                  <a:gd name="connsiteY242" fmla="*/ 1557337 h 4410075"/>
                  <a:gd name="connsiteX243" fmla="*/ 7798594 w 8801100"/>
                  <a:gd name="connsiteY243" fmla="*/ 1593056 h 4410075"/>
                  <a:gd name="connsiteX244" fmla="*/ 7724775 w 8801100"/>
                  <a:gd name="connsiteY244" fmla="*/ 1590675 h 4410075"/>
                  <a:gd name="connsiteX245" fmla="*/ 7667625 w 8801100"/>
                  <a:gd name="connsiteY245" fmla="*/ 1685925 h 4410075"/>
                  <a:gd name="connsiteX246" fmla="*/ 7529513 w 8801100"/>
                  <a:gd name="connsiteY246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028825 w 8801100"/>
                  <a:gd name="connsiteY148" fmla="*/ 3562350 h 4410075"/>
                  <a:gd name="connsiteX149" fmla="*/ 2164556 w 8801100"/>
                  <a:gd name="connsiteY149" fmla="*/ 3729038 h 4410075"/>
                  <a:gd name="connsiteX150" fmla="*/ 2183606 w 8801100"/>
                  <a:gd name="connsiteY150" fmla="*/ 3779044 h 4410075"/>
                  <a:gd name="connsiteX151" fmla="*/ 2157413 w 8801100"/>
                  <a:gd name="connsiteY151" fmla="*/ 3798094 h 4410075"/>
                  <a:gd name="connsiteX152" fmla="*/ 2259806 w 8801100"/>
                  <a:gd name="connsiteY152" fmla="*/ 3807619 h 4410075"/>
                  <a:gd name="connsiteX153" fmla="*/ 2371725 w 8801100"/>
                  <a:gd name="connsiteY153" fmla="*/ 3795713 h 4410075"/>
                  <a:gd name="connsiteX154" fmla="*/ 2650331 w 8801100"/>
                  <a:gd name="connsiteY154" fmla="*/ 3879056 h 4410075"/>
                  <a:gd name="connsiteX155" fmla="*/ 3057525 w 8801100"/>
                  <a:gd name="connsiteY155" fmla="*/ 3960019 h 4410075"/>
                  <a:gd name="connsiteX156" fmla="*/ 3255169 w 8801100"/>
                  <a:gd name="connsiteY156" fmla="*/ 3929062 h 4410075"/>
                  <a:gd name="connsiteX157" fmla="*/ 3300413 w 8801100"/>
                  <a:gd name="connsiteY157" fmla="*/ 3940968 h 4410075"/>
                  <a:gd name="connsiteX158" fmla="*/ 3355181 w 8801100"/>
                  <a:gd name="connsiteY158" fmla="*/ 3917157 h 4410075"/>
                  <a:gd name="connsiteX159" fmla="*/ 3748087 w 8801100"/>
                  <a:gd name="connsiteY159" fmla="*/ 4007644 h 4410075"/>
                  <a:gd name="connsiteX160" fmla="*/ 3831432 w 8801100"/>
                  <a:gd name="connsiteY160" fmla="*/ 4105275 h 4410075"/>
                  <a:gd name="connsiteX161" fmla="*/ 3950494 w 8801100"/>
                  <a:gd name="connsiteY161" fmla="*/ 4176713 h 4410075"/>
                  <a:gd name="connsiteX162" fmla="*/ 4010025 w 8801100"/>
                  <a:gd name="connsiteY162" fmla="*/ 4160044 h 4410075"/>
                  <a:gd name="connsiteX163" fmla="*/ 4360068 w 8801100"/>
                  <a:gd name="connsiteY163" fmla="*/ 4333875 h 4410075"/>
                  <a:gd name="connsiteX164" fmla="*/ 4586288 w 8801100"/>
                  <a:gd name="connsiteY164" fmla="*/ 4305300 h 4410075"/>
                  <a:gd name="connsiteX165" fmla="*/ 4595813 w 8801100"/>
                  <a:gd name="connsiteY165" fmla="*/ 4383881 h 4410075"/>
                  <a:gd name="connsiteX166" fmla="*/ 4681538 w 8801100"/>
                  <a:gd name="connsiteY166" fmla="*/ 4379118 h 4410075"/>
                  <a:gd name="connsiteX167" fmla="*/ 4760119 w 8801100"/>
                  <a:gd name="connsiteY167" fmla="*/ 4410075 h 4410075"/>
                  <a:gd name="connsiteX168" fmla="*/ 4802981 w 8801100"/>
                  <a:gd name="connsiteY168" fmla="*/ 4350544 h 4410075"/>
                  <a:gd name="connsiteX169" fmla="*/ 5474494 w 8801100"/>
                  <a:gd name="connsiteY169" fmla="*/ 4031456 h 4410075"/>
                  <a:gd name="connsiteX170" fmla="*/ 5562600 w 8801100"/>
                  <a:gd name="connsiteY170" fmla="*/ 4060032 h 4410075"/>
                  <a:gd name="connsiteX171" fmla="*/ 5693569 w 8801100"/>
                  <a:gd name="connsiteY171" fmla="*/ 4031456 h 4410075"/>
                  <a:gd name="connsiteX172" fmla="*/ 5872162 w 8801100"/>
                  <a:gd name="connsiteY172" fmla="*/ 4048125 h 4410075"/>
                  <a:gd name="connsiteX173" fmla="*/ 5929313 w 8801100"/>
                  <a:gd name="connsiteY173" fmla="*/ 4021932 h 4410075"/>
                  <a:gd name="connsiteX174" fmla="*/ 6062662 w 8801100"/>
                  <a:gd name="connsiteY174" fmla="*/ 4019550 h 4410075"/>
                  <a:gd name="connsiteX175" fmla="*/ 6196012 w 8801100"/>
                  <a:gd name="connsiteY175" fmla="*/ 3921919 h 4410075"/>
                  <a:gd name="connsiteX176" fmla="*/ 6262687 w 8801100"/>
                  <a:gd name="connsiteY176" fmla="*/ 3914775 h 4410075"/>
                  <a:gd name="connsiteX177" fmla="*/ 6360319 w 8801100"/>
                  <a:gd name="connsiteY177" fmla="*/ 3840956 h 4410075"/>
                  <a:gd name="connsiteX178" fmla="*/ 6434138 w 8801100"/>
                  <a:gd name="connsiteY178" fmla="*/ 3771900 h 4410075"/>
                  <a:gd name="connsiteX179" fmla="*/ 6443663 w 8801100"/>
                  <a:gd name="connsiteY179" fmla="*/ 3709988 h 4410075"/>
                  <a:gd name="connsiteX180" fmla="*/ 6477000 w 8801100"/>
                  <a:gd name="connsiteY180" fmla="*/ 3640931 h 4410075"/>
                  <a:gd name="connsiteX181" fmla="*/ 6629400 w 8801100"/>
                  <a:gd name="connsiteY181" fmla="*/ 3533775 h 4410075"/>
                  <a:gd name="connsiteX182" fmla="*/ 6662738 w 8801100"/>
                  <a:gd name="connsiteY182" fmla="*/ 3538538 h 4410075"/>
                  <a:gd name="connsiteX183" fmla="*/ 6715125 w 8801100"/>
                  <a:gd name="connsiteY183" fmla="*/ 3459956 h 4410075"/>
                  <a:gd name="connsiteX184" fmla="*/ 6762750 w 8801100"/>
                  <a:gd name="connsiteY184" fmla="*/ 3421856 h 4410075"/>
                  <a:gd name="connsiteX185" fmla="*/ 6748463 w 8801100"/>
                  <a:gd name="connsiteY185" fmla="*/ 3352800 h 4410075"/>
                  <a:gd name="connsiteX186" fmla="*/ 6698456 w 8801100"/>
                  <a:gd name="connsiteY186" fmla="*/ 3321843 h 4410075"/>
                  <a:gd name="connsiteX187" fmla="*/ 6638925 w 8801100"/>
                  <a:gd name="connsiteY187" fmla="*/ 3267075 h 4410075"/>
                  <a:gd name="connsiteX188" fmla="*/ 6619875 w 8801100"/>
                  <a:gd name="connsiteY188" fmla="*/ 3209925 h 4410075"/>
                  <a:gd name="connsiteX189" fmla="*/ 6584156 w 8801100"/>
                  <a:gd name="connsiteY189" fmla="*/ 3176588 h 4410075"/>
                  <a:gd name="connsiteX190" fmla="*/ 6610350 w 8801100"/>
                  <a:gd name="connsiteY190" fmla="*/ 3124200 h 4410075"/>
                  <a:gd name="connsiteX191" fmla="*/ 6650831 w 8801100"/>
                  <a:gd name="connsiteY191" fmla="*/ 2945606 h 4410075"/>
                  <a:gd name="connsiteX192" fmla="*/ 6691313 w 8801100"/>
                  <a:gd name="connsiteY192" fmla="*/ 2878931 h 4410075"/>
                  <a:gd name="connsiteX193" fmla="*/ 6836569 w 8801100"/>
                  <a:gd name="connsiteY193" fmla="*/ 2862262 h 4410075"/>
                  <a:gd name="connsiteX194" fmla="*/ 6905625 w 8801100"/>
                  <a:gd name="connsiteY194" fmla="*/ 2919413 h 4410075"/>
                  <a:gd name="connsiteX195" fmla="*/ 6981825 w 8801100"/>
                  <a:gd name="connsiteY195" fmla="*/ 2943225 h 4410075"/>
                  <a:gd name="connsiteX196" fmla="*/ 7186612 w 8801100"/>
                  <a:gd name="connsiteY196" fmla="*/ 2947988 h 4410075"/>
                  <a:gd name="connsiteX197" fmla="*/ 7362825 w 8801100"/>
                  <a:gd name="connsiteY197" fmla="*/ 2809875 h 4410075"/>
                  <a:gd name="connsiteX198" fmla="*/ 7419975 w 8801100"/>
                  <a:gd name="connsiteY198" fmla="*/ 2719387 h 4410075"/>
                  <a:gd name="connsiteX199" fmla="*/ 7446169 w 8801100"/>
                  <a:gd name="connsiteY199" fmla="*/ 2636044 h 4410075"/>
                  <a:gd name="connsiteX200" fmla="*/ 7577137 w 8801100"/>
                  <a:gd name="connsiteY200" fmla="*/ 2636044 h 4410075"/>
                  <a:gd name="connsiteX201" fmla="*/ 7750969 w 8801100"/>
                  <a:gd name="connsiteY201" fmla="*/ 2578893 h 4410075"/>
                  <a:gd name="connsiteX202" fmla="*/ 7810500 w 8801100"/>
                  <a:gd name="connsiteY202" fmla="*/ 2466975 h 4410075"/>
                  <a:gd name="connsiteX203" fmla="*/ 7874794 w 8801100"/>
                  <a:gd name="connsiteY203" fmla="*/ 2431256 h 4410075"/>
                  <a:gd name="connsiteX204" fmla="*/ 7853363 w 8801100"/>
                  <a:gd name="connsiteY204" fmla="*/ 2386013 h 4410075"/>
                  <a:gd name="connsiteX205" fmla="*/ 7931944 w 8801100"/>
                  <a:gd name="connsiteY205" fmla="*/ 2216943 h 4410075"/>
                  <a:gd name="connsiteX206" fmla="*/ 7986713 w 8801100"/>
                  <a:gd name="connsiteY206" fmla="*/ 2157413 h 4410075"/>
                  <a:gd name="connsiteX207" fmla="*/ 8024813 w 8801100"/>
                  <a:gd name="connsiteY207" fmla="*/ 2152650 h 4410075"/>
                  <a:gd name="connsiteX208" fmla="*/ 8070056 w 8801100"/>
                  <a:gd name="connsiteY208" fmla="*/ 2157413 h 4410075"/>
                  <a:gd name="connsiteX209" fmla="*/ 8134350 w 8801100"/>
                  <a:gd name="connsiteY209" fmla="*/ 2124075 h 4410075"/>
                  <a:gd name="connsiteX210" fmla="*/ 8143875 w 8801100"/>
                  <a:gd name="connsiteY210" fmla="*/ 2059781 h 4410075"/>
                  <a:gd name="connsiteX211" fmla="*/ 8184355 w 8801100"/>
                  <a:gd name="connsiteY211" fmla="*/ 2024063 h 4410075"/>
                  <a:gd name="connsiteX212" fmla="*/ 8243888 w 8801100"/>
                  <a:gd name="connsiteY212" fmla="*/ 2064543 h 4410075"/>
                  <a:gd name="connsiteX213" fmla="*/ 8270082 w 8801100"/>
                  <a:gd name="connsiteY213" fmla="*/ 2014537 h 4410075"/>
                  <a:gd name="connsiteX214" fmla="*/ 8365331 w 8801100"/>
                  <a:gd name="connsiteY214" fmla="*/ 1945481 h 4410075"/>
                  <a:gd name="connsiteX215" fmla="*/ 8427244 w 8801100"/>
                  <a:gd name="connsiteY215" fmla="*/ 1952625 h 4410075"/>
                  <a:gd name="connsiteX216" fmla="*/ 8477250 w 8801100"/>
                  <a:gd name="connsiteY216" fmla="*/ 1933575 h 4410075"/>
                  <a:gd name="connsiteX217" fmla="*/ 8515350 w 8801100"/>
                  <a:gd name="connsiteY217" fmla="*/ 1905000 h 4410075"/>
                  <a:gd name="connsiteX218" fmla="*/ 8548688 w 8801100"/>
                  <a:gd name="connsiteY218" fmla="*/ 1902619 h 4410075"/>
                  <a:gd name="connsiteX219" fmla="*/ 8584406 w 8801100"/>
                  <a:gd name="connsiteY219" fmla="*/ 1933575 h 4410075"/>
                  <a:gd name="connsiteX220" fmla="*/ 8643938 w 8801100"/>
                  <a:gd name="connsiteY220" fmla="*/ 1933575 h 4410075"/>
                  <a:gd name="connsiteX221" fmla="*/ 8682037 w 8801100"/>
                  <a:gd name="connsiteY221" fmla="*/ 1914525 h 4410075"/>
                  <a:gd name="connsiteX222" fmla="*/ 8765381 w 8801100"/>
                  <a:gd name="connsiteY222" fmla="*/ 1916907 h 4410075"/>
                  <a:gd name="connsiteX223" fmla="*/ 8796338 w 8801100"/>
                  <a:gd name="connsiteY223" fmla="*/ 1871663 h 4410075"/>
                  <a:gd name="connsiteX224" fmla="*/ 8801100 w 8801100"/>
                  <a:gd name="connsiteY224" fmla="*/ 1809750 h 4410075"/>
                  <a:gd name="connsiteX225" fmla="*/ 8751093 w 8801100"/>
                  <a:gd name="connsiteY225" fmla="*/ 1769269 h 4410075"/>
                  <a:gd name="connsiteX226" fmla="*/ 8734425 w 8801100"/>
                  <a:gd name="connsiteY226" fmla="*/ 1714500 h 4410075"/>
                  <a:gd name="connsiteX227" fmla="*/ 8643938 w 8801100"/>
                  <a:gd name="connsiteY227" fmla="*/ 1652588 h 4410075"/>
                  <a:gd name="connsiteX228" fmla="*/ 8603456 w 8801100"/>
                  <a:gd name="connsiteY228" fmla="*/ 1631156 h 4410075"/>
                  <a:gd name="connsiteX229" fmla="*/ 8565356 w 8801100"/>
                  <a:gd name="connsiteY229" fmla="*/ 1585913 h 4410075"/>
                  <a:gd name="connsiteX230" fmla="*/ 8534400 w 8801100"/>
                  <a:gd name="connsiteY230" fmla="*/ 1583531 h 4410075"/>
                  <a:gd name="connsiteX231" fmla="*/ 8517731 w 8801100"/>
                  <a:gd name="connsiteY231" fmla="*/ 1531144 h 4410075"/>
                  <a:gd name="connsiteX232" fmla="*/ 8477250 w 8801100"/>
                  <a:gd name="connsiteY232" fmla="*/ 1514475 h 4410075"/>
                  <a:gd name="connsiteX233" fmla="*/ 8477250 w 8801100"/>
                  <a:gd name="connsiteY233" fmla="*/ 1514475 h 4410075"/>
                  <a:gd name="connsiteX234" fmla="*/ 8436769 w 8801100"/>
                  <a:gd name="connsiteY234" fmla="*/ 1519238 h 4410075"/>
                  <a:gd name="connsiteX235" fmla="*/ 8351043 w 8801100"/>
                  <a:gd name="connsiteY235" fmla="*/ 1445419 h 4410075"/>
                  <a:gd name="connsiteX236" fmla="*/ 8170069 w 8801100"/>
                  <a:gd name="connsiteY236" fmla="*/ 1445418 h 4410075"/>
                  <a:gd name="connsiteX237" fmla="*/ 8117681 w 8801100"/>
                  <a:gd name="connsiteY237" fmla="*/ 1483519 h 4410075"/>
                  <a:gd name="connsiteX238" fmla="*/ 8067675 w 8801100"/>
                  <a:gd name="connsiteY238" fmla="*/ 1562100 h 4410075"/>
                  <a:gd name="connsiteX239" fmla="*/ 8084344 w 8801100"/>
                  <a:gd name="connsiteY239" fmla="*/ 1583531 h 4410075"/>
                  <a:gd name="connsiteX240" fmla="*/ 8039100 w 8801100"/>
                  <a:gd name="connsiteY240" fmla="*/ 1633537 h 4410075"/>
                  <a:gd name="connsiteX241" fmla="*/ 7889081 w 8801100"/>
                  <a:gd name="connsiteY241" fmla="*/ 1557337 h 4410075"/>
                  <a:gd name="connsiteX242" fmla="*/ 7798594 w 8801100"/>
                  <a:gd name="connsiteY242" fmla="*/ 1593056 h 4410075"/>
                  <a:gd name="connsiteX243" fmla="*/ 7724775 w 8801100"/>
                  <a:gd name="connsiteY243" fmla="*/ 1590675 h 4410075"/>
                  <a:gd name="connsiteX244" fmla="*/ 7667625 w 8801100"/>
                  <a:gd name="connsiteY244" fmla="*/ 1685925 h 4410075"/>
                  <a:gd name="connsiteX245" fmla="*/ 7529513 w 8801100"/>
                  <a:gd name="connsiteY245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164556 w 8801100"/>
                  <a:gd name="connsiteY148" fmla="*/ 3729038 h 4410075"/>
                  <a:gd name="connsiteX149" fmla="*/ 2183606 w 8801100"/>
                  <a:gd name="connsiteY149" fmla="*/ 3779044 h 4410075"/>
                  <a:gd name="connsiteX150" fmla="*/ 2157413 w 8801100"/>
                  <a:gd name="connsiteY150" fmla="*/ 3798094 h 4410075"/>
                  <a:gd name="connsiteX151" fmla="*/ 2259806 w 8801100"/>
                  <a:gd name="connsiteY151" fmla="*/ 3807619 h 4410075"/>
                  <a:gd name="connsiteX152" fmla="*/ 2371725 w 8801100"/>
                  <a:gd name="connsiteY152" fmla="*/ 3795713 h 4410075"/>
                  <a:gd name="connsiteX153" fmla="*/ 2650331 w 8801100"/>
                  <a:gd name="connsiteY153" fmla="*/ 3879056 h 4410075"/>
                  <a:gd name="connsiteX154" fmla="*/ 3057525 w 8801100"/>
                  <a:gd name="connsiteY154" fmla="*/ 3960019 h 4410075"/>
                  <a:gd name="connsiteX155" fmla="*/ 3255169 w 8801100"/>
                  <a:gd name="connsiteY155" fmla="*/ 3929062 h 4410075"/>
                  <a:gd name="connsiteX156" fmla="*/ 3300413 w 8801100"/>
                  <a:gd name="connsiteY156" fmla="*/ 3940968 h 4410075"/>
                  <a:gd name="connsiteX157" fmla="*/ 3355181 w 8801100"/>
                  <a:gd name="connsiteY157" fmla="*/ 3917157 h 4410075"/>
                  <a:gd name="connsiteX158" fmla="*/ 3748087 w 8801100"/>
                  <a:gd name="connsiteY158" fmla="*/ 4007644 h 4410075"/>
                  <a:gd name="connsiteX159" fmla="*/ 3831432 w 8801100"/>
                  <a:gd name="connsiteY159" fmla="*/ 4105275 h 4410075"/>
                  <a:gd name="connsiteX160" fmla="*/ 3950494 w 8801100"/>
                  <a:gd name="connsiteY160" fmla="*/ 4176713 h 4410075"/>
                  <a:gd name="connsiteX161" fmla="*/ 4010025 w 8801100"/>
                  <a:gd name="connsiteY161" fmla="*/ 4160044 h 4410075"/>
                  <a:gd name="connsiteX162" fmla="*/ 4360068 w 8801100"/>
                  <a:gd name="connsiteY162" fmla="*/ 4333875 h 4410075"/>
                  <a:gd name="connsiteX163" fmla="*/ 4586288 w 8801100"/>
                  <a:gd name="connsiteY163" fmla="*/ 4305300 h 4410075"/>
                  <a:gd name="connsiteX164" fmla="*/ 4595813 w 8801100"/>
                  <a:gd name="connsiteY164" fmla="*/ 4383881 h 4410075"/>
                  <a:gd name="connsiteX165" fmla="*/ 4681538 w 8801100"/>
                  <a:gd name="connsiteY165" fmla="*/ 4379118 h 4410075"/>
                  <a:gd name="connsiteX166" fmla="*/ 4760119 w 8801100"/>
                  <a:gd name="connsiteY166" fmla="*/ 4410075 h 4410075"/>
                  <a:gd name="connsiteX167" fmla="*/ 4802981 w 8801100"/>
                  <a:gd name="connsiteY167" fmla="*/ 4350544 h 4410075"/>
                  <a:gd name="connsiteX168" fmla="*/ 5474494 w 8801100"/>
                  <a:gd name="connsiteY168" fmla="*/ 4031456 h 4410075"/>
                  <a:gd name="connsiteX169" fmla="*/ 5562600 w 8801100"/>
                  <a:gd name="connsiteY169" fmla="*/ 4060032 h 4410075"/>
                  <a:gd name="connsiteX170" fmla="*/ 5693569 w 8801100"/>
                  <a:gd name="connsiteY170" fmla="*/ 4031456 h 4410075"/>
                  <a:gd name="connsiteX171" fmla="*/ 5872162 w 8801100"/>
                  <a:gd name="connsiteY171" fmla="*/ 4048125 h 4410075"/>
                  <a:gd name="connsiteX172" fmla="*/ 5929313 w 8801100"/>
                  <a:gd name="connsiteY172" fmla="*/ 4021932 h 4410075"/>
                  <a:gd name="connsiteX173" fmla="*/ 6062662 w 8801100"/>
                  <a:gd name="connsiteY173" fmla="*/ 4019550 h 4410075"/>
                  <a:gd name="connsiteX174" fmla="*/ 6196012 w 8801100"/>
                  <a:gd name="connsiteY174" fmla="*/ 3921919 h 4410075"/>
                  <a:gd name="connsiteX175" fmla="*/ 6262687 w 8801100"/>
                  <a:gd name="connsiteY175" fmla="*/ 3914775 h 4410075"/>
                  <a:gd name="connsiteX176" fmla="*/ 6360319 w 8801100"/>
                  <a:gd name="connsiteY176" fmla="*/ 3840956 h 4410075"/>
                  <a:gd name="connsiteX177" fmla="*/ 6434138 w 8801100"/>
                  <a:gd name="connsiteY177" fmla="*/ 3771900 h 4410075"/>
                  <a:gd name="connsiteX178" fmla="*/ 6443663 w 8801100"/>
                  <a:gd name="connsiteY178" fmla="*/ 3709988 h 4410075"/>
                  <a:gd name="connsiteX179" fmla="*/ 6477000 w 8801100"/>
                  <a:gd name="connsiteY179" fmla="*/ 3640931 h 4410075"/>
                  <a:gd name="connsiteX180" fmla="*/ 6629400 w 8801100"/>
                  <a:gd name="connsiteY180" fmla="*/ 3533775 h 4410075"/>
                  <a:gd name="connsiteX181" fmla="*/ 6662738 w 8801100"/>
                  <a:gd name="connsiteY181" fmla="*/ 3538538 h 4410075"/>
                  <a:gd name="connsiteX182" fmla="*/ 6715125 w 8801100"/>
                  <a:gd name="connsiteY182" fmla="*/ 3459956 h 4410075"/>
                  <a:gd name="connsiteX183" fmla="*/ 6762750 w 8801100"/>
                  <a:gd name="connsiteY183" fmla="*/ 3421856 h 4410075"/>
                  <a:gd name="connsiteX184" fmla="*/ 6748463 w 8801100"/>
                  <a:gd name="connsiteY184" fmla="*/ 3352800 h 4410075"/>
                  <a:gd name="connsiteX185" fmla="*/ 6698456 w 8801100"/>
                  <a:gd name="connsiteY185" fmla="*/ 3321843 h 4410075"/>
                  <a:gd name="connsiteX186" fmla="*/ 6638925 w 8801100"/>
                  <a:gd name="connsiteY186" fmla="*/ 3267075 h 4410075"/>
                  <a:gd name="connsiteX187" fmla="*/ 6619875 w 8801100"/>
                  <a:gd name="connsiteY187" fmla="*/ 3209925 h 4410075"/>
                  <a:gd name="connsiteX188" fmla="*/ 6584156 w 8801100"/>
                  <a:gd name="connsiteY188" fmla="*/ 3176588 h 4410075"/>
                  <a:gd name="connsiteX189" fmla="*/ 6610350 w 8801100"/>
                  <a:gd name="connsiteY189" fmla="*/ 3124200 h 4410075"/>
                  <a:gd name="connsiteX190" fmla="*/ 6650831 w 8801100"/>
                  <a:gd name="connsiteY190" fmla="*/ 2945606 h 4410075"/>
                  <a:gd name="connsiteX191" fmla="*/ 6691313 w 8801100"/>
                  <a:gd name="connsiteY191" fmla="*/ 2878931 h 4410075"/>
                  <a:gd name="connsiteX192" fmla="*/ 6836569 w 8801100"/>
                  <a:gd name="connsiteY192" fmla="*/ 2862262 h 4410075"/>
                  <a:gd name="connsiteX193" fmla="*/ 6905625 w 8801100"/>
                  <a:gd name="connsiteY193" fmla="*/ 2919413 h 4410075"/>
                  <a:gd name="connsiteX194" fmla="*/ 6981825 w 8801100"/>
                  <a:gd name="connsiteY194" fmla="*/ 2943225 h 4410075"/>
                  <a:gd name="connsiteX195" fmla="*/ 7186612 w 8801100"/>
                  <a:gd name="connsiteY195" fmla="*/ 2947988 h 4410075"/>
                  <a:gd name="connsiteX196" fmla="*/ 7362825 w 8801100"/>
                  <a:gd name="connsiteY196" fmla="*/ 2809875 h 4410075"/>
                  <a:gd name="connsiteX197" fmla="*/ 7419975 w 8801100"/>
                  <a:gd name="connsiteY197" fmla="*/ 2719387 h 4410075"/>
                  <a:gd name="connsiteX198" fmla="*/ 7446169 w 8801100"/>
                  <a:gd name="connsiteY198" fmla="*/ 2636044 h 4410075"/>
                  <a:gd name="connsiteX199" fmla="*/ 7577137 w 8801100"/>
                  <a:gd name="connsiteY199" fmla="*/ 2636044 h 4410075"/>
                  <a:gd name="connsiteX200" fmla="*/ 7750969 w 8801100"/>
                  <a:gd name="connsiteY200" fmla="*/ 2578893 h 4410075"/>
                  <a:gd name="connsiteX201" fmla="*/ 7810500 w 8801100"/>
                  <a:gd name="connsiteY201" fmla="*/ 2466975 h 4410075"/>
                  <a:gd name="connsiteX202" fmla="*/ 7874794 w 8801100"/>
                  <a:gd name="connsiteY202" fmla="*/ 2431256 h 4410075"/>
                  <a:gd name="connsiteX203" fmla="*/ 7853363 w 8801100"/>
                  <a:gd name="connsiteY203" fmla="*/ 2386013 h 4410075"/>
                  <a:gd name="connsiteX204" fmla="*/ 7931944 w 8801100"/>
                  <a:gd name="connsiteY204" fmla="*/ 2216943 h 4410075"/>
                  <a:gd name="connsiteX205" fmla="*/ 7986713 w 8801100"/>
                  <a:gd name="connsiteY205" fmla="*/ 2157413 h 4410075"/>
                  <a:gd name="connsiteX206" fmla="*/ 8024813 w 8801100"/>
                  <a:gd name="connsiteY206" fmla="*/ 2152650 h 4410075"/>
                  <a:gd name="connsiteX207" fmla="*/ 8070056 w 8801100"/>
                  <a:gd name="connsiteY207" fmla="*/ 2157413 h 4410075"/>
                  <a:gd name="connsiteX208" fmla="*/ 8134350 w 8801100"/>
                  <a:gd name="connsiteY208" fmla="*/ 2124075 h 4410075"/>
                  <a:gd name="connsiteX209" fmla="*/ 8143875 w 8801100"/>
                  <a:gd name="connsiteY209" fmla="*/ 2059781 h 4410075"/>
                  <a:gd name="connsiteX210" fmla="*/ 8184355 w 8801100"/>
                  <a:gd name="connsiteY210" fmla="*/ 2024063 h 4410075"/>
                  <a:gd name="connsiteX211" fmla="*/ 8243888 w 8801100"/>
                  <a:gd name="connsiteY211" fmla="*/ 2064543 h 4410075"/>
                  <a:gd name="connsiteX212" fmla="*/ 8270082 w 8801100"/>
                  <a:gd name="connsiteY212" fmla="*/ 2014537 h 4410075"/>
                  <a:gd name="connsiteX213" fmla="*/ 8365331 w 8801100"/>
                  <a:gd name="connsiteY213" fmla="*/ 1945481 h 4410075"/>
                  <a:gd name="connsiteX214" fmla="*/ 8427244 w 8801100"/>
                  <a:gd name="connsiteY214" fmla="*/ 1952625 h 4410075"/>
                  <a:gd name="connsiteX215" fmla="*/ 8477250 w 8801100"/>
                  <a:gd name="connsiteY215" fmla="*/ 1933575 h 4410075"/>
                  <a:gd name="connsiteX216" fmla="*/ 8515350 w 8801100"/>
                  <a:gd name="connsiteY216" fmla="*/ 1905000 h 4410075"/>
                  <a:gd name="connsiteX217" fmla="*/ 8548688 w 8801100"/>
                  <a:gd name="connsiteY217" fmla="*/ 1902619 h 4410075"/>
                  <a:gd name="connsiteX218" fmla="*/ 8584406 w 8801100"/>
                  <a:gd name="connsiteY218" fmla="*/ 1933575 h 4410075"/>
                  <a:gd name="connsiteX219" fmla="*/ 8643938 w 8801100"/>
                  <a:gd name="connsiteY219" fmla="*/ 1933575 h 4410075"/>
                  <a:gd name="connsiteX220" fmla="*/ 8682037 w 8801100"/>
                  <a:gd name="connsiteY220" fmla="*/ 1914525 h 4410075"/>
                  <a:gd name="connsiteX221" fmla="*/ 8765381 w 8801100"/>
                  <a:gd name="connsiteY221" fmla="*/ 1916907 h 4410075"/>
                  <a:gd name="connsiteX222" fmla="*/ 8796338 w 8801100"/>
                  <a:gd name="connsiteY222" fmla="*/ 1871663 h 4410075"/>
                  <a:gd name="connsiteX223" fmla="*/ 8801100 w 8801100"/>
                  <a:gd name="connsiteY223" fmla="*/ 1809750 h 4410075"/>
                  <a:gd name="connsiteX224" fmla="*/ 8751093 w 8801100"/>
                  <a:gd name="connsiteY224" fmla="*/ 1769269 h 4410075"/>
                  <a:gd name="connsiteX225" fmla="*/ 8734425 w 8801100"/>
                  <a:gd name="connsiteY225" fmla="*/ 1714500 h 4410075"/>
                  <a:gd name="connsiteX226" fmla="*/ 8643938 w 8801100"/>
                  <a:gd name="connsiteY226" fmla="*/ 1652588 h 4410075"/>
                  <a:gd name="connsiteX227" fmla="*/ 8603456 w 8801100"/>
                  <a:gd name="connsiteY227" fmla="*/ 1631156 h 4410075"/>
                  <a:gd name="connsiteX228" fmla="*/ 8565356 w 8801100"/>
                  <a:gd name="connsiteY228" fmla="*/ 1585913 h 4410075"/>
                  <a:gd name="connsiteX229" fmla="*/ 8534400 w 8801100"/>
                  <a:gd name="connsiteY229" fmla="*/ 1583531 h 4410075"/>
                  <a:gd name="connsiteX230" fmla="*/ 8517731 w 8801100"/>
                  <a:gd name="connsiteY230" fmla="*/ 1531144 h 4410075"/>
                  <a:gd name="connsiteX231" fmla="*/ 8477250 w 8801100"/>
                  <a:gd name="connsiteY231" fmla="*/ 1514475 h 4410075"/>
                  <a:gd name="connsiteX232" fmla="*/ 8477250 w 8801100"/>
                  <a:gd name="connsiteY232" fmla="*/ 1514475 h 4410075"/>
                  <a:gd name="connsiteX233" fmla="*/ 8436769 w 8801100"/>
                  <a:gd name="connsiteY233" fmla="*/ 1519238 h 4410075"/>
                  <a:gd name="connsiteX234" fmla="*/ 8351043 w 8801100"/>
                  <a:gd name="connsiteY234" fmla="*/ 1445419 h 4410075"/>
                  <a:gd name="connsiteX235" fmla="*/ 8170069 w 8801100"/>
                  <a:gd name="connsiteY235" fmla="*/ 1445418 h 4410075"/>
                  <a:gd name="connsiteX236" fmla="*/ 8117681 w 8801100"/>
                  <a:gd name="connsiteY236" fmla="*/ 1483519 h 4410075"/>
                  <a:gd name="connsiteX237" fmla="*/ 8067675 w 8801100"/>
                  <a:gd name="connsiteY237" fmla="*/ 1562100 h 4410075"/>
                  <a:gd name="connsiteX238" fmla="*/ 8084344 w 8801100"/>
                  <a:gd name="connsiteY238" fmla="*/ 1583531 h 4410075"/>
                  <a:gd name="connsiteX239" fmla="*/ 8039100 w 8801100"/>
                  <a:gd name="connsiteY239" fmla="*/ 1633537 h 4410075"/>
                  <a:gd name="connsiteX240" fmla="*/ 7889081 w 8801100"/>
                  <a:gd name="connsiteY240" fmla="*/ 1557337 h 4410075"/>
                  <a:gd name="connsiteX241" fmla="*/ 7798594 w 8801100"/>
                  <a:gd name="connsiteY241" fmla="*/ 1593056 h 4410075"/>
                  <a:gd name="connsiteX242" fmla="*/ 7724775 w 8801100"/>
                  <a:gd name="connsiteY242" fmla="*/ 1590675 h 4410075"/>
                  <a:gd name="connsiteX243" fmla="*/ 7667625 w 8801100"/>
                  <a:gd name="connsiteY243" fmla="*/ 1685925 h 4410075"/>
                  <a:gd name="connsiteX244" fmla="*/ 7529513 w 8801100"/>
                  <a:gd name="connsiteY244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183606 w 8801100"/>
                  <a:gd name="connsiteY148" fmla="*/ 3779044 h 4410075"/>
                  <a:gd name="connsiteX149" fmla="*/ 2157413 w 8801100"/>
                  <a:gd name="connsiteY149" fmla="*/ 3798094 h 4410075"/>
                  <a:gd name="connsiteX150" fmla="*/ 2259806 w 8801100"/>
                  <a:gd name="connsiteY150" fmla="*/ 3807619 h 4410075"/>
                  <a:gd name="connsiteX151" fmla="*/ 2371725 w 8801100"/>
                  <a:gd name="connsiteY151" fmla="*/ 3795713 h 4410075"/>
                  <a:gd name="connsiteX152" fmla="*/ 2650331 w 8801100"/>
                  <a:gd name="connsiteY152" fmla="*/ 3879056 h 4410075"/>
                  <a:gd name="connsiteX153" fmla="*/ 3057525 w 8801100"/>
                  <a:gd name="connsiteY153" fmla="*/ 3960019 h 4410075"/>
                  <a:gd name="connsiteX154" fmla="*/ 3255169 w 8801100"/>
                  <a:gd name="connsiteY154" fmla="*/ 3929062 h 4410075"/>
                  <a:gd name="connsiteX155" fmla="*/ 3300413 w 8801100"/>
                  <a:gd name="connsiteY155" fmla="*/ 3940968 h 4410075"/>
                  <a:gd name="connsiteX156" fmla="*/ 3355181 w 8801100"/>
                  <a:gd name="connsiteY156" fmla="*/ 3917157 h 4410075"/>
                  <a:gd name="connsiteX157" fmla="*/ 3748087 w 8801100"/>
                  <a:gd name="connsiteY157" fmla="*/ 4007644 h 4410075"/>
                  <a:gd name="connsiteX158" fmla="*/ 3831432 w 8801100"/>
                  <a:gd name="connsiteY158" fmla="*/ 4105275 h 4410075"/>
                  <a:gd name="connsiteX159" fmla="*/ 3950494 w 8801100"/>
                  <a:gd name="connsiteY159" fmla="*/ 4176713 h 4410075"/>
                  <a:gd name="connsiteX160" fmla="*/ 4010025 w 8801100"/>
                  <a:gd name="connsiteY160" fmla="*/ 4160044 h 4410075"/>
                  <a:gd name="connsiteX161" fmla="*/ 4360068 w 8801100"/>
                  <a:gd name="connsiteY161" fmla="*/ 4333875 h 4410075"/>
                  <a:gd name="connsiteX162" fmla="*/ 4586288 w 8801100"/>
                  <a:gd name="connsiteY162" fmla="*/ 4305300 h 4410075"/>
                  <a:gd name="connsiteX163" fmla="*/ 4595813 w 8801100"/>
                  <a:gd name="connsiteY163" fmla="*/ 4383881 h 4410075"/>
                  <a:gd name="connsiteX164" fmla="*/ 4681538 w 8801100"/>
                  <a:gd name="connsiteY164" fmla="*/ 4379118 h 4410075"/>
                  <a:gd name="connsiteX165" fmla="*/ 4760119 w 8801100"/>
                  <a:gd name="connsiteY165" fmla="*/ 4410075 h 4410075"/>
                  <a:gd name="connsiteX166" fmla="*/ 4802981 w 8801100"/>
                  <a:gd name="connsiteY166" fmla="*/ 4350544 h 4410075"/>
                  <a:gd name="connsiteX167" fmla="*/ 5474494 w 8801100"/>
                  <a:gd name="connsiteY167" fmla="*/ 4031456 h 4410075"/>
                  <a:gd name="connsiteX168" fmla="*/ 5562600 w 8801100"/>
                  <a:gd name="connsiteY168" fmla="*/ 4060032 h 4410075"/>
                  <a:gd name="connsiteX169" fmla="*/ 5693569 w 8801100"/>
                  <a:gd name="connsiteY169" fmla="*/ 4031456 h 4410075"/>
                  <a:gd name="connsiteX170" fmla="*/ 5872162 w 8801100"/>
                  <a:gd name="connsiteY170" fmla="*/ 4048125 h 4410075"/>
                  <a:gd name="connsiteX171" fmla="*/ 5929313 w 8801100"/>
                  <a:gd name="connsiteY171" fmla="*/ 4021932 h 4410075"/>
                  <a:gd name="connsiteX172" fmla="*/ 6062662 w 8801100"/>
                  <a:gd name="connsiteY172" fmla="*/ 4019550 h 4410075"/>
                  <a:gd name="connsiteX173" fmla="*/ 6196012 w 8801100"/>
                  <a:gd name="connsiteY173" fmla="*/ 3921919 h 4410075"/>
                  <a:gd name="connsiteX174" fmla="*/ 6262687 w 8801100"/>
                  <a:gd name="connsiteY174" fmla="*/ 3914775 h 4410075"/>
                  <a:gd name="connsiteX175" fmla="*/ 6360319 w 8801100"/>
                  <a:gd name="connsiteY175" fmla="*/ 3840956 h 4410075"/>
                  <a:gd name="connsiteX176" fmla="*/ 6434138 w 8801100"/>
                  <a:gd name="connsiteY176" fmla="*/ 3771900 h 4410075"/>
                  <a:gd name="connsiteX177" fmla="*/ 6443663 w 8801100"/>
                  <a:gd name="connsiteY177" fmla="*/ 3709988 h 4410075"/>
                  <a:gd name="connsiteX178" fmla="*/ 6477000 w 8801100"/>
                  <a:gd name="connsiteY178" fmla="*/ 3640931 h 4410075"/>
                  <a:gd name="connsiteX179" fmla="*/ 6629400 w 8801100"/>
                  <a:gd name="connsiteY179" fmla="*/ 3533775 h 4410075"/>
                  <a:gd name="connsiteX180" fmla="*/ 6662738 w 8801100"/>
                  <a:gd name="connsiteY180" fmla="*/ 3538538 h 4410075"/>
                  <a:gd name="connsiteX181" fmla="*/ 6715125 w 8801100"/>
                  <a:gd name="connsiteY181" fmla="*/ 3459956 h 4410075"/>
                  <a:gd name="connsiteX182" fmla="*/ 6762750 w 8801100"/>
                  <a:gd name="connsiteY182" fmla="*/ 3421856 h 4410075"/>
                  <a:gd name="connsiteX183" fmla="*/ 6748463 w 8801100"/>
                  <a:gd name="connsiteY183" fmla="*/ 3352800 h 4410075"/>
                  <a:gd name="connsiteX184" fmla="*/ 6698456 w 8801100"/>
                  <a:gd name="connsiteY184" fmla="*/ 3321843 h 4410075"/>
                  <a:gd name="connsiteX185" fmla="*/ 6638925 w 8801100"/>
                  <a:gd name="connsiteY185" fmla="*/ 3267075 h 4410075"/>
                  <a:gd name="connsiteX186" fmla="*/ 6619875 w 8801100"/>
                  <a:gd name="connsiteY186" fmla="*/ 3209925 h 4410075"/>
                  <a:gd name="connsiteX187" fmla="*/ 6584156 w 8801100"/>
                  <a:gd name="connsiteY187" fmla="*/ 3176588 h 4410075"/>
                  <a:gd name="connsiteX188" fmla="*/ 6610350 w 8801100"/>
                  <a:gd name="connsiteY188" fmla="*/ 3124200 h 4410075"/>
                  <a:gd name="connsiteX189" fmla="*/ 6650831 w 8801100"/>
                  <a:gd name="connsiteY189" fmla="*/ 2945606 h 4410075"/>
                  <a:gd name="connsiteX190" fmla="*/ 6691313 w 8801100"/>
                  <a:gd name="connsiteY190" fmla="*/ 2878931 h 4410075"/>
                  <a:gd name="connsiteX191" fmla="*/ 6836569 w 8801100"/>
                  <a:gd name="connsiteY191" fmla="*/ 2862262 h 4410075"/>
                  <a:gd name="connsiteX192" fmla="*/ 6905625 w 8801100"/>
                  <a:gd name="connsiteY192" fmla="*/ 2919413 h 4410075"/>
                  <a:gd name="connsiteX193" fmla="*/ 6981825 w 8801100"/>
                  <a:gd name="connsiteY193" fmla="*/ 2943225 h 4410075"/>
                  <a:gd name="connsiteX194" fmla="*/ 7186612 w 8801100"/>
                  <a:gd name="connsiteY194" fmla="*/ 2947988 h 4410075"/>
                  <a:gd name="connsiteX195" fmla="*/ 7362825 w 8801100"/>
                  <a:gd name="connsiteY195" fmla="*/ 2809875 h 4410075"/>
                  <a:gd name="connsiteX196" fmla="*/ 7419975 w 8801100"/>
                  <a:gd name="connsiteY196" fmla="*/ 2719387 h 4410075"/>
                  <a:gd name="connsiteX197" fmla="*/ 7446169 w 8801100"/>
                  <a:gd name="connsiteY197" fmla="*/ 2636044 h 4410075"/>
                  <a:gd name="connsiteX198" fmla="*/ 7577137 w 8801100"/>
                  <a:gd name="connsiteY198" fmla="*/ 2636044 h 4410075"/>
                  <a:gd name="connsiteX199" fmla="*/ 7750969 w 8801100"/>
                  <a:gd name="connsiteY199" fmla="*/ 2578893 h 4410075"/>
                  <a:gd name="connsiteX200" fmla="*/ 7810500 w 8801100"/>
                  <a:gd name="connsiteY200" fmla="*/ 2466975 h 4410075"/>
                  <a:gd name="connsiteX201" fmla="*/ 7874794 w 8801100"/>
                  <a:gd name="connsiteY201" fmla="*/ 2431256 h 4410075"/>
                  <a:gd name="connsiteX202" fmla="*/ 7853363 w 8801100"/>
                  <a:gd name="connsiteY202" fmla="*/ 2386013 h 4410075"/>
                  <a:gd name="connsiteX203" fmla="*/ 7931944 w 8801100"/>
                  <a:gd name="connsiteY203" fmla="*/ 2216943 h 4410075"/>
                  <a:gd name="connsiteX204" fmla="*/ 7986713 w 8801100"/>
                  <a:gd name="connsiteY204" fmla="*/ 2157413 h 4410075"/>
                  <a:gd name="connsiteX205" fmla="*/ 8024813 w 8801100"/>
                  <a:gd name="connsiteY205" fmla="*/ 2152650 h 4410075"/>
                  <a:gd name="connsiteX206" fmla="*/ 8070056 w 8801100"/>
                  <a:gd name="connsiteY206" fmla="*/ 2157413 h 4410075"/>
                  <a:gd name="connsiteX207" fmla="*/ 8134350 w 8801100"/>
                  <a:gd name="connsiteY207" fmla="*/ 2124075 h 4410075"/>
                  <a:gd name="connsiteX208" fmla="*/ 8143875 w 8801100"/>
                  <a:gd name="connsiteY208" fmla="*/ 2059781 h 4410075"/>
                  <a:gd name="connsiteX209" fmla="*/ 8184355 w 8801100"/>
                  <a:gd name="connsiteY209" fmla="*/ 2024063 h 4410075"/>
                  <a:gd name="connsiteX210" fmla="*/ 8243888 w 8801100"/>
                  <a:gd name="connsiteY210" fmla="*/ 2064543 h 4410075"/>
                  <a:gd name="connsiteX211" fmla="*/ 8270082 w 8801100"/>
                  <a:gd name="connsiteY211" fmla="*/ 2014537 h 4410075"/>
                  <a:gd name="connsiteX212" fmla="*/ 8365331 w 8801100"/>
                  <a:gd name="connsiteY212" fmla="*/ 1945481 h 4410075"/>
                  <a:gd name="connsiteX213" fmla="*/ 8427244 w 8801100"/>
                  <a:gd name="connsiteY213" fmla="*/ 1952625 h 4410075"/>
                  <a:gd name="connsiteX214" fmla="*/ 8477250 w 8801100"/>
                  <a:gd name="connsiteY214" fmla="*/ 1933575 h 4410075"/>
                  <a:gd name="connsiteX215" fmla="*/ 8515350 w 8801100"/>
                  <a:gd name="connsiteY215" fmla="*/ 1905000 h 4410075"/>
                  <a:gd name="connsiteX216" fmla="*/ 8548688 w 8801100"/>
                  <a:gd name="connsiteY216" fmla="*/ 1902619 h 4410075"/>
                  <a:gd name="connsiteX217" fmla="*/ 8584406 w 8801100"/>
                  <a:gd name="connsiteY217" fmla="*/ 1933575 h 4410075"/>
                  <a:gd name="connsiteX218" fmla="*/ 8643938 w 8801100"/>
                  <a:gd name="connsiteY218" fmla="*/ 1933575 h 4410075"/>
                  <a:gd name="connsiteX219" fmla="*/ 8682037 w 8801100"/>
                  <a:gd name="connsiteY219" fmla="*/ 1914525 h 4410075"/>
                  <a:gd name="connsiteX220" fmla="*/ 8765381 w 8801100"/>
                  <a:gd name="connsiteY220" fmla="*/ 1916907 h 4410075"/>
                  <a:gd name="connsiteX221" fmla="*/ 8796338 w 8801100"/>
                  <a:gd name="connsiteY221" fmla="*/ 1871663 h 4410075"/>
                  <a:gd name="connsiteX222" fmla="*/ 8801100 w 8801100"/>
                  <a:gd name="connsiteY222" fmla="*/ 1809750 h 4410075"/>
                  <a:gd name="connsiteX223" fmla="*/ 8751093 w 8801100"/>
                  <a:gd name="connsiteY223" fmla="*/ 1769269 h 4410075"/>
                  <a:gd name="connsiteX224" fmla="*/ 8734425 w 8801100"/>
                  <a:gd name="connsiteY224" fmla="*/ 1714500 h 4410075"/>
                  <a:gd name="connsiteX225" fmla="*/ 8643938 w 8801100"/>
                  <a:gd name="connsiteY225" fmla="*/ 1652588 h 4410075"/>
                  <a:gd name="connsiteX226" fmla="*/ 8603456 w 8801100"/>
                  <a:gd name="connsiteY226" fmla="*/ 1631156 h 4410075"/>
                  <a:gd name="connsiteX227" fmla="*/ 8565356 w 8801100"/>
                  <a:gd name="connsiteY227" fmla="*/ 1585913 h 4410075"/>
                  <a:gd name="connsiteX228" fmla="*/ 8534400 w 8801100"/>
                  <a:gd name="connsiteY228" fmla="*/ 1583531 h 4410075"/>
                  <a:gd name="connsiteX229" fmla="*/ 8517731 w 8801100"/>
                  <a:gd name="connsiteY229" fmla="*/ 1531144 h 4410075"/>
                  <a:gd name="connsiteX230" fmla="*/ 8477250 w 8801100"/>
                  <a:gd name="connsiteY230" fmla="*/ 1514475 h 4410075"/>
                  <a:gd name="connsiteX231" fmla="*/ 8477250 w 8801100"/>
                  <a:gd name="connsiteY231" fmla="*/ 1514475 h 4410075"/>
                  <a:gd name="connsiteX232" fmla="*/ 8436769 w 8801100"/>
                  <a:gd name="connsiteY232" fmla="*/ 1519238 h 4410075"/>
                  <a:gd name="connsiteX233" fmla="*/ 8351043 w 8801100"/>
                  <a:gd name="connsiteY233" fmla="*/ 1445419 h 4410075"/>
                  <a:gd name="connsiteX234" fmla="*/ 8170069 w 8801100"/>
                  <a:gd name="connsiteY234" fmla="*/ 1445418 h 4410075"/>
                  <a:gd name="connsiteX235" fmla="*/ 8117681 w 8801100"/>
                  <a:gd name="connsiteY235" fmla="*/ 1483519 h 4410075"/>
                  <a:gd name="connsiteX236" fmla="*/ 8067675 w 8801100"/>
                  <a:gd name="connsiteY236" fmla="*/ 1562100 h 4410075"/>
                  <a:gd name="connsiteX237" fmla="*/ 8084344 w 8801100"/>
                  <a:gd name="connsiteY237" fmla="*/ 1583531 h 4410075"/>
                  <a:gd name="connsiteX238" fmla="*/ 8039100 w 8801100"/>
                  <a:gd name="connsiteY238" fmla="*/ 1633537 h 4410075"/>
                  <a:gd name="connsiteX239" fmla="*/ 7889081 w 8801100"/>
                  <a:gd name="connsiteY239" fmla="*/ 1557337 h 4410075"/>
                  <a:gd name="connsiteX240" fmla="*/ 7798594 w 8801100"/>
                  <a:gd name="connsiteY240" fmla="*/ 1593056 h 4410075"/>
                  <a:gd name="connsiteX241" fmla="*/ 7724775 w 8801100"/>
                  <a:gd name="connsiteY241" fmla="*/ 1590675 h 4410075"/>
                  <a:gd name="connsiteX242" fmla="*/ 7667625 w 8801100"/>
                  <a:gd name="connsiteY242" fmla="*/ 1685925 h 4410075"/>
                  <a:gd name="connsiteX243" fmla="*/ 7529513 w 8801100"/>
                  <a:gd name="connsiteY243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183606 w 8801100"/>
                  <a:gd name="connsiteY148" fmla="*/ 3779044 h 4410075"/>
                  <a:gd name="connsiteX149" fmla="*/ 2259806 w 8801100"/>
                  <a:gd name="connsiteY149" fmla="*/ 3807619 h 4410075"/>
                  <a:gd name="connsiteX150" fmla="*/ 2371725 w 8801100"/>
                  <a:gd name="connsiteY150" fmla="*/ 3795713 h 4410075"/>
                  <a:gd name="connsiteX151" fmla="*/ 2650331 w 8801100"/>
                  <a:gd name="connsiteY151" fmla="*/ 3879056 h 4410075"/>
                  <a:gd name="connsiteX152" fmla="*/ 3057525 w 8801100"/>
                  <a:gd name="connsiteY152" fmla="*/ 3960019 h 4410075"/>
                  <a:gd name="connsiteX153" fmla="*/ 3255169 w 8801100"/>
                  <a:gd name="connsiteY153" fmla="*/ 3929062 h 4410075"/>
                  <a:gd name="connsiteX154" fmla="*/ 3300413 w 8801100"/>
                  <a:gd name="connsiteY154" fmla="*/ 3940968 h 4410075"/>
                  <a:gd name="connsiteX155" fmla="*/ 3355181 w 8801100"/>
                  <a:gd name="connsiteY155" fmla="*/ 3917157 h 4410075"/>
                  <a:gd name="connsiteX156" fmla="*/ 3748087 w 8801100"/>
                  <a:gd name="connsiteY156" fmla="*/ 4007644 h 4410075"/>
                  <a:gd name="connsiteX157" fmla="*/ 3831432 w 8801100"/>
                  <a:gd name="connsiteY157" fmla="*/ 4105275 h 4410075"/>
                  <a:gd name="connsiteX158" fmla="*/ 3950494 w 8801100"/>
                  <a:gd name="connsiteY158" fmla="*/ 4176713 h 4410075"/>
                  <a:gd name="connsiteX159" fmla="*/ 4010025 w 8801100"/>
                  <a:gd name="connsiteY159" fmla="*/ 4160044 h 4410075"/>
                  <a:gd name="connsiteX160" fmla="*/ 4360068 w 8801100"/>
                  <a:gd name="connsiteY160" fmla="*/ 4333875 h 4410075"/>
                  <a:gd name="connsiteX161" fmla="*/ 4586288 w 8801100"/>
                  <a:gd name="connsiteY161" fmla="*/ 4305300 h 4410075"/>
                  <a:gd name="connsiteX162" fmla="*/ 4595813 w 8801100"/>
                  <a:gd name="connsiteY162" fmla="*/ 4383881 h 4410075"/>
                  <a:gd name="connsiteX163" fmla="*/ 4681538 w 8801100"/>
                  <a:gd name="connsiteY163" fmla="*/ 4379118 h 4410075"/>
                  <a:gd name="connsiteX164" fmla="*/ 4760119 w 8801100"/>
                  <a:gd name="connsiteY164" fmla="*/ 4410075 h 4410075"/>
                  <a:gd name="connsiteX165" fmla="*/ 4802981 w 8801100"/>
                  <a:gd name="connsiteY165" fmla="*/ 4350544 h 4410075"/>
                  <a:gd name="connsiteX166" fmla="*/ 5474494 w 8801100"/>
                  <a:gd name="connsiteY166" fmla="*/ 4031456 h 4410075"/>
                  <a:gd name="connsiteX167" fmla="*/ 5562600 w 8801100"/>
                  <a:gd name="connsiteY167" fmla="*/ 4060032 h 4410075"/>
                  <a:gd name="connsiteX168" fmla="*/ 5693569 w 8801100"/>
                  <a:gd name="connsiteY168" fmla="*/ 4031456 h 4410075"/>
                  <a:gd name="connsiteX169" fmla="*/ 5872162 w 8801100"/>
                  <a:gd name="connsiteY169" fmla="*/ 4048125 h 4410075"/>
                  <a:gd name="connsiteX170" fmla="*/ 5929313 w 8801100"/>
                  <a:gd name="connsiteY170" fmla="*/ 4021932 h 4410075"/>
                  <a:gd name="connsiteX171" fmla="*/ 6062662 w 8801100"/>
                  <a:gd name="connsiteY171" fmla="*/ 4019550 h 4410075"/>
                  <a:gd name="connsiteX172" fmla="*/ 6196012 w 8801100"/>
                  <a:gd name="connsiteY172" fmla="*/ 3921919 h 4410075"/>
                  <a:gd name="connsiteX173" fmla="*/ 6262687 w 8801100"/>
                  <a:gd name="connsiteY173" fmla="*/ 3914775 h 4410075"/>
                  <a:gd name="connsiteX174" fmla="*/ 6360319 w 8801100"/>
                  <a:gd name="connsiteY174" fmla="*/ 3840956 h 4410075"/>
                  <a:gd name="connsiteX175" fmla="*/ 6434138 w 8801100"/>
                  <a:gd name="connsiteY175" fmla="*/ 3771900 h 4410075"/>
                  <a:gd name="connsiteX176" fmla="*/ 6443663 w 8801100"/>
                  <a:gd name="connsiteY176" fmla="*/ 3709988 h 4410075"/>
                  <a:gd name="connsiteX177" fmla="*/ 6477000 w 8801100"/>
                  <a:gd name="connsiteY177" fmla="*/ 3640931 h 4410075"/>
                  <a:gd name="connsiteX178" fmla="*/ 6629400 w 8801100"/>
                  <a:gd name="connsiteY178" fmla="*/ 3533775 h 4410075"/>
                  <a:gd name="connsiteX179" fmla="*/ 6662738 w 8801100"/>
                  <a:gd name="connsiteY179" fmla="*/ 3538538 h 4410075"/>
                  <a:gd name="connsiteX180" fmla="*/ 6715125 w 8801100"/>
                  <a:gd name="connsiteY180" fmla="*/ 3459956 h 4410075"/>
                  <a:gd name="connsiteX181" fmla="*/ 6762750 w 8801100"/>
                  <a:gd name="connsiteY181" fmla="*/ 3421856 h 4410075"/>
                  <a:gd name="connsiteX182" fmla="*/ 6748463 w 8801100"/>
                  <a:gd name="connsiteY182" fmla="*/ 3352800 h 4410075"/>
                  <a:gd name="connsiteX183" fmla="*/ 6698456 w 8801100"/>
                  <a:gd name="connsiteY183" fmla="*/ 3321843 h 4410075"/>
                  <a:gd name="connsiteX184" fmla="*/ 6638925 w 8801100"/>
                  <a:gd name="connsiteY184" fmla="*/ 3267075 h 4410075"/>
                  <a:gd name="connsiteX185" fmla="*/ 6619875 w 8801100"/>
                  <a:gd name="connsiteY185" fmla="*/ 3209925 h 4410075"/>
                  <a:gd name="connsiteX186" fmla="*/ 6584156 w 8801100"/>
                  <a:gd name="connsiteY186" fmla="*/ 3176588 h 4410075"/>
                  <a:gd name="connsiteX187" fmla="*/ 6610350 w 8801100"/>
                  <a:gd name="connsiteY187" fmla="*/ 3124200 h 4410075"/>
                  <a:gd name="connsiteX188" fmla="*/ 6650831 w 8801100"/>
                  <a:gd name="connsiteY188" fmla="*/ 2945606 h 4410075"/>
                  <a:gd name="connsiteX189" fmla="*/ 6691313 w 8801100"/>
                  <a:gd name="connsiteY189" fmla="*/ 2878931 h 4410075"/>
                  <a:gd name="connsiteX190" fmla="*/ 6836569 w 8801100"/>
                  <a:gd name="connsiteY190" fmla="*/ 2862262 h 4410075"/>
                  <a:gd name="connsiteX191" fmla="*/ 6905625 w 8801100"/>
                  <a:gd name="connsiteY191" fmla="*/ 2919413 h 4410075"/>
                  <a:gd name="connsiteX192" fmla="*/ 6981825 w 8801100"/>
                  <a:gd name="connsiteY192" fmla="*/ 2943225 h 4410075"/>
                  <a:gd name="connsiteX193" fmla="*/ 7186612 w 8801100"/>
                  <a:gd name="connsiteY193" fmla="*/ 2947988 h 4410075"/>
                  <a:gd name="connsiteX194" fmla="*/ 7362825 w 8801100"/>
                  <a:gd name="connsiteY194" fmla="*/ 2809875 h 4410075"/>
                  <a:gd name="connsiteX195" fmla="*/ 7419975 w 8801100"/>
                  <a:gd name="connsiteY195" fmla="*/ 2719387 h 4410075"/>
                  <a:gd name="connsiteX196" fmla="*/ 7446169 w 8801100"/>
                  <a:gd name="connsiteY196" fmla="*/ 2636044 h 4410075"/>
                  <a:gd name="connsiteX197" fmla="*/ 7577137 w 8801100"/>
                  <a:gd name="connsiteY197" fmla="*/ 2636044 h 4410075"/>
                  <a:gd name="connsiteX198" fmla="*/ 7750969 w 8801100"/>
                  <a:gd name="connsiteY198" fmla="*/ 2578893 h 4410075"/>
                  <a:gd name="connsiteX199" fmla="*/ 7810500 w 8801100"/>
                  <a:gd name="connsiteY199" fmla="*/ 2466975 h 4410075"/>
                  <a:gd name="connsiteX200" fmla="*/ 7874794 w 8801100"/>
                  <a:gd name="connsiteY200" fmla="*/ 2431256 h 4410075"/>
                  <a:gd name="connsiteX201" fmla="*/ 7853363 w 8801100"/>
                  <a:gd name="connsiteY201" fmla="*/ 2386013 h 4410075"/>
                  <a:gd name="connsiteX202" fmla="*/ 7931944 w 8801100"/>
                  <a:gd name="connsiteY202" fmla="*/ 2216943 h 4410075"/>
                  <a:gd name="connsiteX203" fmla="*/ 7986713 w 8801100"/>
                  <a:gd name="connsiteY203" fmla="*/ 2157413 h 4410075"/>
                  <a:gd name="connsiteX204" fmla="*/ 8024813 w 8801100"/>
                  <a:gd name="connsiteY204" fmla="*/ 2152650 h 4410075"/>
                  <a:gd name="connsiteX205" fmla="*/ 8070056 w 8801100"/>
                  <a:gd name="connsiteY205" fmla="*/ 2157413 h 4410075"/>
                  <a:gd name="connsiteX206" fmla="*/ 8134350 w 8801100"/>
                  <a:gd name="connsiteY206" fmla="*/ 2124075 h 4410075"/>
                  <a:gd name="connsiteX207" fmla="*/ 8143875 w 8801100"/>
                  <a:gd name="connsiteY207" fmla="*/ 2059781 h 4410075"/>
                  <a:gd name="connsiteX208" fmla="*/ 8184355 w 8801100"/>
                  <a:gd name="connsiteY208" fmla="*/ 2024063 h 4410075"/>
                  <a:gd name="connsiteX209" fmla="*/ 8243888 w 8801100"/>
                  <a:gd name="connsiteY209" fmla="*/ 2064543 h 4410075"/>
                  <a:gd name="connsiteX210" fmla="*/ 8270082 w 8801100"/>
                  <a:gd name="connsiteY210" fmla="*/ 2014537 h 4410075"/>
                  <a:gd name="connsiteX211" fmla="*/ 8365331 w 8801100"/>
                  <a:gd name="connsiteY211" fmla="*/ 1945481 h 4410075"/>
                  <a:gd name="connsiteX212" fmla="*/ 8427244 w 8801100"/>
                  <a:gd name="connsiteY212" fmla="*/ 1952625 h 4410075"/>
                  <a:gd name="connsiteX213" fmla="*/ 8477250 w 8801100"/>
                  <a:gd name="connsiteY213" fmla="*/ 1933575 h 4410075"/>
                  <a:gd name="connsiteX214" fmla="*/ 8515350 w 8801100"/>
                  <a:gd name="connsiteY214" fmla="*/ 1905000 h 4410075"/>
                  <a:gd name="connsiteX215" fmla="*/ 8548688 w 8801100"/>
                  <a:gd name="connsiteY215" fmla="*/ 1902619 h 4410075"/>
                  <a:gd name="connsiteX216" fmla="*/ 8584406 w 8801100"/>
                  <a:gd name="connsiteY216" fmla="*/ 1933575 h 4410075"/>
                  <a:gd name="connsiteX217" fmla="*/ 8643938 w 8801100"/>
                  <a:gd name="connsiteY217" fmla="*/ 1933575 h 4410075"/>
                  <a:gd name="connsiteX218" fmla="*/ 8682037 w 8801100"/>
                  <a:gd name="connsiteY218" fmla="*/ 1914525 h 4410075"/>
                  <a:gd name="connsiteX219" fmla="*/ 8765381 w 8801100"/>
                  <a:gd name="connsiteY219" fmla="*/ 1916907 h 4410075"/>
                  <a:gd name="connsiteX220" fmla="*/ 8796338 w 8801100"/>
                  <a:gd name="connsiteY220" fmla="*/ 1871663 h 4410075"/>
                  <a:gd name="connsiteX221" fmla="*/ 8801100 w 8801100"/>
                  <a:gd name="connsiteY221" fmla="*/ 1809750 h 4410075"/>
                  <a:gd name="connsiteX222" fmla="*/ 8751093 w 8801100"/>
                  <a:gd name="connsiteY222" fmla="*/ 1769269 h 4410075"/>
                  <a:gd name="connsiteX223" fmla="*/ 8734425 w 8801100"/>
                  <a:gd name="connsiteY223" fmla="*/ 1714500 h 4410075"/>
                  <a:gd name="connsiteX224" fmla="*/ 8643938 w 8801100"/>
                  <a:gd name="connsiteY224" fmla="*/ 1652588 h 4410075"/>
                  <a:gd name="connsiteX225" fmla="*/ 8603456 w 8801100"/>
                  <a:gd name="connsiteY225" fmla="*/ 1631156 h 4410075"/>
                  <a:gd name="connsiteX226" fmla="*/ 8565356 w 8801100"/>
                  <a:gd name="connsiteY226" fmla="*/ 1585913 h 4410075"/>
                  <a:gd name="connsiteX227" fmla="*/ 8534400 w 8801100"/>
                  <a:gd name="connsiteY227" fmla="*/ 1583531 h 4410075"/>
                  <a:gd name="connsiteX228" fmla="*/ 8517731 w 8801100"/>
                  <a:gd name="connsiteY228" fmla="*/ 1531144 h 4410075"/>
                  <a:gd name="connsiteX229" fmla="*/ 8477250 w 8801100"/>
                  <a:gd name="connsiteY229" fmla="*/ 1514475 h 4410075"/>
                  <a:gd name="connsiteX230" fmla="*/ 8477250 w 8801100"/>
                  <a:gd name="connsiteY230" fmla="*/ 1514475 h 4410075"/>
                  <a:gd name="connsiteX231" fmla="*/ 8436769 w 8801100"/>
                  <a:gd name="connsiteY231" fmla="*/ 1519238 h 4410075"/>
                  <a:gd name="connsiteX232" fmla="*/ 8351043 w 8801100"/>
                  <a:gd name="connsiteY232" fmla="*/ 1445419 h 4410075"/>
                  <a:gd name="connsiteX233" fmla="*/ 8170069 w 8801100"/>
                  <a:gd name="connsiteY233" fmla="*/ 1445418 h 4410075"/>
                  <a:gd name="connsiteX234" fmla="*/ 8117681 w 8801100"/>
                  <a:gd name="connsiteY234" fmla="*/ 1483519 h 4410075"/>
                  <a:gd name="connsiteX235" fmla="*/ 8067675 w 8801100"/>
                  <a:gd name="connsiteY235" fmla="*/ 1562100 h 4410075"/>
                  <a:gd name="connsiteX236" fmla="*/ 8084344 w 8801100"/>
                  <a:gd name="connsiteY236" fmla="*/ 1583531 h 4410075"/>
                  <a:gd name="connsiteX237" fmla="*/ 8039100 w 8801100"/>
                  <a:gd name="connsiteY237" fmla="*/ 1633537 h 4410075"/>
                  <a:gd name="connsiteX238" fmla="*/ 7889081 w 8801100"/>
                  <a:gd name="connsiteY238" fmla="*/ 1557337 h 4410075"/>
                  <a:gd name="connsiteX239" fmla="*/ 7798594 w 8801100"/>
                  <a:gd name="connsiteY239" fmla="*/ 1593056 h 4410075"/>
                  <a:gd name="connsiteX240" fmla="*/ 7724775 w 8801100"/>
                  <a:gd name="connsiteY240" fmla="*/ 1590675 h 4410075"/>
                  <a:gd name="connsiteX241" fmla="*/ 7667625 w 8801100"/>
                  <a:gd name="connsiteY241" fmla="*/ 1685925 h 4410075"/>
                  <a:gd name="connsiteX242" fmla="*/ 7529513 w 8801100"/>
                  <a:gd name="connsiteY242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259806 w 8801100"/>
                  <a:gd name="connsiteY148" fmla="*/ 3807619 h 4410075"/>
                  <a:gd name="connsiteX149" fmla="*/ 2371725 w 8801100"/>
                  <a:gd name="connsiteY149" fmla="*/ 3795713 h 4410075"/>
                  <a:gd name="connsiteX150" fmla="*/ 2650331 w 8801100"/>
                  <a:gd name="connsiteY150" fmla="*/ 3879056 h 4410075"/>
                  <a:gd name="connsiteX151" fmla="*/ 3057525 w 8801100"/>
                  <a:gd name="connsiteY151" fmla="*/ 3960019 h 4410075"/>
                  <a:gd name="connsiteX152" fmla="*/ 3255169 w 8801100"/>
                  <a:gd name="connsiteY152" fmla="*/ 3929062 h 4410075"/>
                  <a:gd name="connsiteX153" fmla="*/ 3300413 w 8801100"/>
                  <a:gd name="connsiteY153" fmla="*/ 3940968 h 4410075"/>
                  <a:gd name="connsiteX154" fmla="*/ 3355181 w 8801100"/>
                  <a:gd name="connsiteY154" fmla="*/ 3917157 h 4410075"/>
                  <a:gd name="connsiteX155" fmla="*/ 3748087 w 8801100"/>
                  <a:gd name="connsiteY155" fmla="*/ 4007644 h 4410075"/>
                  <a:gd name="connsiteX156" fmla="*/ 3831432 w 8801100"/>
                  <a:gd name="connsiteY156" fmla="*/ 4105275 h 4410075"/>
                  <a:gd name="connsiteX157" fmla="*/ 3950494 w 8801100"/>
                  <a:gd name="connsiteY157" fmla="*/ 4176713 h 4410075"/>
                  <a:gd name="connsiteX158" fmla="*/ 4010025 w 8801100"/>
                  <a:gd name="connsiteY158" fmla="*/ 4160044 h 4410075"/>
                  <a:gd name="connsiteX159" fmla="*/ 4360068 w 8801100"/>
                  <a:gd name="connsiteY159" fmla="*/ 4333875 h 4410075"/>
                  <a:gd name="connsiteX160" fmla="*/ 4586288 w 8801100"/>
                  <a:gd name="connsiteY160" fmla="*/ 4305300 h 4410075"/>
                  <a:gd name="connsiteX161" fmla="*/ 4595813 w 8801100"/>
                  <a:gd name="connsiteY161" fmla="*/ 4383881 h 4410075"/>
                  <a:gd name="connsiteX162" fmla="*/ 4681538 w 8801100"/>
                  <a:gd name="connsiteY162" fmla="*/ 4379118 h 4410075"/>
                  <a:gd name="connsiteX163" fmla="*/ 4760119 w 8801100"/>
                  <a:gd name="connsiteY163" fmla="*/ 4410075 h 4410075"/>
                  <a:gd name="connsiteX164" fmla="*/ 4802981 w 8801100"/>
                  <a:gd name="connsiteY164" fmla="*/ 4350544 h 4410075"/>
                  <a:gd name="connsiteX165" fmla="*/ 5474494 w 8801100"/>
                  <a:gd name="connsiteY165" fmla="*/ 4031456 h 4410075"/>
                  <a:gd name="connsiteX166" fmla="*/ 5562600 w 8801100"/>
                  <a:gd name="connsiteY166" fmla="*/ 4060032 h 4410075"/>
                  <a:gd name="connsiteX167" fmla="*/ 5693569 w 8801100"/>
                  <a:gd name="connsiteY167" fmla="*/ 4031456 h 4410075"/>
                  <a:gd name="connsiteX168" fmla="*/ 5872162 w 8801100"/>
                  <a:gd name="connsiteY168" fmla="*/ 4048125 h 4410075"/>
                  <a:gd name="connsiteX169" fmla="*/ 5929313 w 8801100"/>
                  <a:gd name="connsiteY169" fmla="*/ 4021932 h 4410075"/>
                  <a:gd name="connsiteX170" fmla="*/ 6062662 w 8801100"/>
                  <a:gd name="connsiteY170" fmla="*/ 4019550 h 4410075"/>
                  <a:gd name="connsiteX171" fmla="*/ 6196012 w 8801100"/>
                  <a:gd name="connsiteY171" fmla="*/ 3921919 h 4410075"/>
                  <a:gd name="connsiteX172" fmla="*/ 6262687 w 8801100"/>
                  <a:gd name="connsiteY172" fmla="*/ 3914775 h 4410075"/>
                  <a:gd name="connsiteX173" fmla="*/ 6360319 w 8801100"/>
                  <a:gd name="connsiteY173" fmla="*/ 3840956 h 4410075"/>
                  <a:gd name="connsiteX174" fmla="*/ 6434138 w 8801100"/>
                  <a:gd name="connsiteY174" fmla="*/ 3771900 h 4410075"/>
                  <a:gd name="connsiteX175" fmla="*/ 6443663 w 8801100"/>
                  <a:gd name="connsiteY175" fmla="*/ 3709988 h 4410075"/>
                  <a:gd name="connsiteX176" fmla="*/ 6477000 w 8801100"/>
                  <a:gd name="connsiteY176" fmla="*/ 3640931 h 4410075"/>
                  <a:gd name="connsiteX177" fmla="*/ 6629400 w 8801100"/>
                  <a:gd name="connsiteY177" fmla="*/ 3533775 h 4410075"/>
                  <a:gd name="connsiteX178" fmla="*/ 6662738 w 8801100"/>
                  <a:gd name="connsiteY178" fmla="*/ 3538538 h 4410075"/>
                  <a:gd name="connsiteX179" fmla="*/ 6715125 w 8801100"/>
                  <a:gd name="connsiteY179" fmla="*/ 3459956 h 4410075"/>
                  <a:gd name="connsiteX180" fmla="*/ 6762750 w 8801100"/>
                  <a:gd name="connsiteY180" fmla="*/ 3421856 h 4410075"/>
                  <a:gd name="connsiteX181" fmla="*/ 6748463 w 8801100"/>
                  <a:gd name="connsiteY181" fmla="*/ 3352800 h 4410075"/>
                  <a:gd name="connsiteX182" fmla="*/ 6698456 w 8801100"/>
                  <a:gd name="connsiteY182" fmla="*/ 3321843 h 4410075"/>
                  <a:gd name="connsiteX183" fmla="*/ 6638925 w 8801100"/>
                  <a:gd name="connsiteY183" fmla="*/ 3267075 h 4410075"/>
                  <a:gd name="connsiteX184" fmla="*/ 6619875 w 8801100"/>
                  <a:gd name="connsiteY184" fmla="*/ 3209925 h 4410075"/>
                  <a:gd name="connsiteX185" fmla="*/ 6584156 w 8801100"/>
                  <a:gd name="connsiteY185" fmla="*/ 3176588 h 4410075"/>
                  <a:gd name="connsiteX186" fmla="*/ 6610350 w 8801100"/>
                  <a:gd name="connsiteY186" fmla="*/ 3124200 h 4410075"/>
                  <a:gd name="connsiteX187" fmla="*/ 6650831 w 8801100"/>
                  <a:gd name="connsiteY187" fmla="*/ 2945606 h 4410075"/>
                  <a:gd name="connsiteX188" fmla="*/ 6691313 w 8801100"/>
                  <a:gd name="connsiteY188" fmla="*/ 2878931 h 4410075"/>
                  <a:gd name="connsiteX189" fmla="*/ 6836569 w 8801100"/>
                  <a:gd name="connsiteY189" fmla="*/ 2862262 h 4410075"/>
                  <a:gd name="connsiteX190" fmla="*/ 6905625 w 8801100"/>
                  <a:gd name="connsiteY190" fmla="*/ 2919413 h 4410075"/>
                  <a:gd name="connsiteX191" fmla="*/ 6981825 w 8801100"/>
                  <a:gd name="connsiteY191" fmla="*/ 2943225 h 4410075"/>
                  <a:gd name="connsiteX192" fmla="*/ 7186612 w 8801100"/>
                  <a:gd name="connsiteY192" fmla="*/ 2947988 h 4410075"/>
                  <a:gd name="connsiteX193" fmla="*/ 7362825 w 8801100"/>
                  <a:gd name="connsiteY193" fmla="*/ 2809875 h 4410075"/>
                  <a:gd name="connsiteX194" fmla="*/ 7419975 w 8801100"/>
                  <a:gd name="connsiteY194" fmla="*/ 2719387 h 4410075"/>
                  <a:gd name="connsiteX195" fmla="*/ 7446169 w 8801100"/>
                  <a:gd name="connsiteY195" fmla="*/ 2636044 h 4410075"/>
                  <a:gd name="connsiteX196" fmla="*/ 7577137 w 8801100"/>
                  <a:gd name="connsiteY196" fmla="*/ 2636044 h 4410075"/>
                  <a:gd name="connsiteX197" fmla="*/ 7750969 w 8801100"/>
                  <a:gd name="connsiteY197" fmla="*/ 2578893 h 4410075"/>
                  <a:gd name="connsiteX198" fmla="*/ 7810500 w 8801100"/>
                  <a:gd name="connsiteY198" fmla="*/ 2466975 h 4410075"/>
                  <a:gd name="connsiteX199" fmla="*/ 7874794 w 8801100"/>
                  <a:gd name="connsiteY199" fmla="*/ 2431256 h 4410075"/>
                  <a:gd name="connsiteX200" fmla="*/ 7853363 w 8801100"/>
                  <a:gd name="connsiteY200" fmla="*/ 2386013 h 4410075"/>
                  <a:gd name="connsiteX201" fmla="*/ 7931944 w 8801100"/>
                  <a:gd name="connsiteY201" fmla="*/ 2216943 h 4410075"/>
                  <a:gd name="connsiteX202" fmla="*/ 7986713 w 8801100"/>
                  <a:gd name="connsiteY202" fmla="*/ 2157413 h 4410075"/>
                  <a:gd name="connsiteX203" fmla="*/ 8024813 w 8801100"/>
                  <a:gd name="connsiteY203" fmla="*/ 2152650 h 4410075"/>
                  <a:gd name="connsiteX204" fmla="*/ 8070056 w 8801100"/>
                  <a:gd name="connsiteY204" fmla="*/ 2157413 h 4410075"/>
                  <a:gd name="connsiteX205" fmla="*/ 8134350 w 8801100"/>
                  <a:gd name="connsiteY205" fmla="*/ 2124075 h 4410075"/>
                  <a:gd name="connsiteX206" fmla="*/ 8143875 w 8801100"/>
                  <a:gd name="connsiteY206" fmla="*/ 2059781 h 4410075"/>
                  <a:gd name="connsiteX207" fmla="*/ 8184355 w 8801100"/>
                  <a:gd name="connsiteY207" fmla="*/ 2024063 h 4410075"/>
                  <a:gd name="connsiteX208" fmla="*/ 8243888 w 8801100"/>
                  <a:gd name="connsiteY208" fmla="*/ 2064543 h 4410075"/>
                  <a:gd name="connsiteX209" fmla="*/ 8270082 w 8801100"/>
                  <a:gd name="connsiteY209" fmla="*/ 2014537 h 4410075"/>
                  <a:gd name="connsiteX210" fmla="*/ 8365331 w 8801100"/>
                  <a:gd name="connsiteY210" fmla="*/ 1945481 h 4410075"/>
                  <a:gd name="connsiteX211" fmla="*/ 8427244 w 8801100"/>
                  <a:gd name="connsiteY211" fmla="*/ 1952625 h 4410075"/>
                  <a:gd name="connsiteX212" fmla="*/ 8477250 w 8801100"/>
                  <a:gd name="connsiteY212" fmla="*/ 1933575 h 4410075"/>
                  <a:gd name="connsiteX213" fmla="*/ 8515350 w 8801100"/>
                  <a:gd name="connsiteY213" fmla="*/ 1905000 h 4410075"/>
                  <a:gd name="connsiteX214" fmla="*/ 8548688 w 8801100"/>
                  <a:gd name="connsiteY214" fmla="*/ 1902619 h 4410075"/>
                  <a:gd name="connsiteX215" fmla="*/ 8584406 w 8801100"/>
                  <a:gd name="connsiteY215" fmla="*/ 1933575 h 4410075"/>
                  <a:gd name="connsiteX216" fmla="*/ 8643938 w 8801100"/>
                  <a:gd name="connsiteY216" fmla="*/ 1933575 h 4410075"/>
                  <a:gd name="connsiteX217" fmla="*/ 8682037 w 8801100"/>
                  <a:gd name="connsiteY217" fmla="*/ 1914525 h 4410075"/>
                  <a:gd name="connsiteX218" fmla="*/ 8765381 w 8801100"/>
                  <a:gd name="connsiteY218" fmla="*/ 1916907 h 4410075"/>
                  <a:gd name="connsiteX219" fmla="*/ 8796338 w 8801100"/>
                  <a:gd name="connsiteY219" fmla="*/ 1871663 h 4410075"/>
                  <a:gd name="connsiteX220" fmla="*/ 8801100 w 8801100"/>
                  <a:gd name="connsiteY220" fmla="*/ 1809750 h 4410075"/>
                  <a:gd name="connsiteX221" fmla="*/ 8751093 w 8801100"/>
                  <a:gd name="connsiteY221" fmla="*/ 1769269 h 4410075"/>
                  <a:gd name="connsiteX222" fmla="*/ 8734425 w 8801100"/>
                  <a:gd name="connsiteY222" fmla="*/ 1714500 h 4410075"/>
                  <a:gd name="connsiteX223" fmla="*/ 8643938 w 8801100"/>
                  <a:gd name="connsiteY223" fmla="*/ 1652588 h 4410075"/>
                  <a:gd name="connsiteX224" fmla="*/ 8603456 w 8801100"/>
                  <a:gd name="connsiteY224" fmla="*/ 1631156 h 4410075"/>
                  <a:gd name="connsiteX225" fmla="*/ 8565356 w 8801100"/>
                  <a:gd name="connsiteY225" fmla="*/ 1585913 h 4410075"/>
                  <a:gd name="connsiteX226" fmla="*/ 8534400 w 8801100"/>
                  <a:gd name="connsiteY226" fmla="*/ 1583531 h 4410075"/>
                  <a:gd name="connsiteX227" fmla="*/ 8517731 w 8801100"/>
                  <a:gd name="connsiteY227" fmla="*/ 1531144 h 4410075"/>
                  <a:gd name="connsiteX228" fmla="*/ 8477250 w 8801100"/>
                  <a:gd name="connsiteY228" fmla="*/ 1514475 h 4410075"/>
                  <a:gd name="connsiteX229" fmla="*/ 8477250 w 8801100"/>
                  <a:gd name="connsiteY229" fmla="*/ 1514475 h 4410075"/>
                  <a:gd name="connsiteX230" fmla="*/ 8436769 w 8801100"/>
                  <a:gd name="connsiteY230" fmla="*/ 1519238 h 4410075"/>
                  <a:gd name="connsiteX231" fmla="*/ 8351043 w 8801100"/>
                  <a:gd name="connsiteY231" fmla="*/ 1445419 h 4410075"/>
                  <a:gd name="connsiteX232" fmla="*/ 8170069 w 8801100"/>
                  <a:gd name="connsiteY232" fmla="*/ 1445418 h 4410075"/>
                  <a:gd name="connsiteX233" fmla="*/ 8117681 w 8801100"/>
                  <a:gd name="connsiteY233" fmla="*/ 1483519 h 4410075"/>
                  <a:gd name="connsiteX234" fmla="*/ 8067675 w 8801100"/>
                  <a:gd name="connsiteY234" fmla="*/ 1562100 h 4410075"/>
                  <a:gd name="connsiteX235" fmla="*/ 8084344 w 8801100"/>
                  <a:gd name="connsiteY235" fmla="*/ 1583531 h 4410075"/>
                  <a:gd name="connsiteX236" fmla="*/ 8039100 w 8801100"/>
                  <a:gd name="connsiteY236" fmla="*/ 1633537 h 4410075"/>
                  <a:gd name="connsiteX237" fmla="*/ 7889081 w 8801100"/>
                  <a:gd name="connsiteY237" fmla="*/ 1557337 h 4410075"/>
                  <a:gd name="connsiteX238" fmla="*/ 7798594 w 8801100"/>
                  <a:gd name="connsiteY238" fmla="*/ 1593056 h 4410075"/>
                  <a:gd name="connsiteX239" fmla="*/ 7724775 w 8801100"/>
                  <a:gd name="connsiteY239" fmla="*/ 1590675 h 4410075"/>
                  <a:gd name="connsiteX240" fmla="*/ 7667625 w 8801100"/>
                  <a:gd name="connsiteY240" fmla="*/ 1685925 h 4410075"/>
                  <a:gd name="connsiteX241" fmla="*/ 7529513 w 8801100"/>
                  <a:gd name="connsiteY241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371725 w 8801100"/>
                  <a:gd name="connsiteY148" fmla="*/ 3795713 h 4410075"/>
                  <a:gd name="connsiteX149" fmla="*/ 2650331 w 8801100"/>
                  <a:gd name="connsiteY149" fmla="*/ 3879056 h 4410075"/>
                  <a:gd name="connsiteX150" fmla="*/ 3057525 w 8801100"/>
                  <a:gd name="connsiteY150" fmla="*/ 3960019 h 4410075"/>
                  <a:gd name="connsiteX151" fmla="*/ 3255169 w 8801100"/>
                  <a:gd name="connsiteY151" fmla="*/ 3929062 h 4410075"/>
                  <a:gd name="connsiteX152" fmla="*/ 3300413 w 8801100"/>
                  <a:gd name="connsiteY152" fmla="*/ 3940968 h 4410075"/>
                  <a:gd name="connsiteX153" fmla="*/ 3355181 w 8801100"/>
                  <a:gd name="connsiteY153" fmla="*/ 3917157 h 4410075"/>
                  <a:gd name="connsiteX154" fmla="*/ 3748087 w 8801100"/>
                  <a:gd name="connsiteY154" fmla="*/ 4007644 h 4410075"/>
                  <a:gd name="connsiteX155" fmla="*/ 3831432 w 8801100"/>
                  <a:gd name="connsiteY155" fmla="*/ 4105275 h 4410075"/>
                  <a:gd name="connsiteX156" fmla="*/ 3950494 w 8801100"/>
                  <a:gd name="connsiteY156" fmla="*/ 4176713 h 4410075"/>
                  <a:gd name="connsiteX157" fmla="*/ 4010025 w 8801100"/>
                  <a:gd name="connsiteY157" fmla="*/ 4160044 h 4410075"/>
                  <a:gd name="connsiteX158" fmla="*/ 4360068 w 8801100"/>
                  <a:gd name="connsiteY158" fmla="*/ 4333875 h 4410075"/>
                  <a:gd name="connsiteX159" fmla="*/ 4586288 w 8801100"/>
                  <a:gd name="connsiteY159" fmla="*/ 4305300 h 4410075"/>
                  <a:gd name="connsiteX160" fmla="*/ 4595813 w 8801100"/>
                  <a:gd name="connsiteY160" fmla="*/ 4383881 h 4410075"/>
                  <a:gd name="connsiteX161" fmla="*/ 4681538 w 8801100"/>
                  <a:gd name="connsiteY161" fmla="*/ 4379118 h 4410075"/>
                  <a:gd name="connsiteX162" fmla="*/ 4760119 w 8801100"/>
                  <a:gd name="connsiteY162" fmla="*/ 4410075 h 4410075"/>
                  <a:gd name="connsiteX163" fmla="*/ 4802981 w 8801100"/>
                  <a:gd name="connsiteY163" fmla="*/ 4350544 h 4410075"/>
                  <a:gd name="connsiteX164" fmla="*/ 5474494 w 8801100"/>
                  <a:gd name="connsiteY164" fmla="*/ 4031456 h 4410075"/>
                  <a:gd name="connsiteX165" fmla="*/ 5562600 w 8801100"/>
                  <a:gd name="connsiteY165" fmla="*/ 4060032 h 4410075"/>
                  <a:gd name="connsiteX166" fmla="*/ 5693569 w 8801100"/>
                  <a:gd name="connsiteY166" fmla="*/ 4031456 h 4410075"/>
                  <a:gd name="connsiteX167" fmla="*/ 5872162 w 8801100"/>
                  <a:gd name="connsiteY167" fmla="*/ 4048125 h 4410075"/>
                  <a:gd name="connsiteX168" fmla="*/ 5929313 w 8801100"/>
                  <a:gd name="connsiteY168" fmla="*/ 4021932 h 4410075"/>
                  <a:gd name="connsiteX169" fmla="*/ 6062662 w 8801100"/>
                  <a:gd name="connsiteY169" fmla="*/ 4019550 h 4410075"/>
                  <a:gd name="connsiteX170" fmla="*/ 6196012 w 8801100"/>
                  <a:gd name="connsiteY170" fmla="*/ 3921919 h 4410075"/>
                  <a:gd name="connsiteX171" fmla="*/ 6262687 w 8801100"/>
                  <a:gd name="connsiteY171" fmla="*/ 3914775 h 4410075"/>
                  <a:gd name="connsiteX172" fmla="*/ 6360319 w 8801100"/>
                  <a:gd name="connsiteY172" fmla="*/ 3840956 h 4410075"/>
                  <a:gd name="connsiteX173" fmla="*/ 6434138 w 8801100"/>
                  <a:gd name="connsiteY173" fmla="*/ 3771900 h 4410075"/>
                  <a:gd name="connsiteX174" fmla="*/ 6443663 w 8801100"/>
                  <a:gd name="connsiteY174" fmla="*/ 3709988 h 4410075"/>
                  <a:gd name="connsiteX175" fmla="*/ 6477000 w 8801100"/>
                  <a:gd name="connsiteY175" fmla="*/ 3640931 h 4410075"/>
                  <a:gd name="connsiteX176" fmla="*/ 6629400 w 8801100"/>
                  <a:gd name="connsiteY176" fmla="*/ 3533775 h 4410075"/>
                  <a:gd name="connsiteX177" fmla="*/ 6662738 w 8801100"/>
                  <a:gd name="connsiteY177" fmla="*/ 3538538 h 4410075"/>
                  <a:gd name="connsiteX178" fmla="*/ 6715125 w 8801100"/>
                  <a:gd name="connsiteY178" fmla="*/ 3459956 h 4410075"/>
                  <a:gd name="connsiteX179" fmla="*/ 6762750 w 8801100"/>
                  <a:gd name="connsiteY179" fmla="*/ 3421856 h 4410075"/>
                  <a:gd name="connsiteX180" fmla="*/ 6748463 w 8801100"/>
                  <a:gd name="connsiteY180" fmla="*/ 3352800 h 4410075"/>
                  <a:gd name="connsiteX181" fmla="*/ 6698456 w 8801100"/>
                  <a:gd name="connsiteY181" fmla="*/ 3321843 h 4410075"/>
                  <a:gd name="connsiteX182" fmla="*/ 6638925 w 8801100"/>
                  <a:gd name="connsiteY182" fmla="*/ 3267075 h 4410075"/>
                  <a:gd name="connsiteX183" fmla="*/ 6619875 w 8801100"/>
                  <a:gd name="connsiteY183" fmla="*/ 3209925 h 4410075"/>
                  <a:gd name="connsiteX184" fmla="*/ 6584156 w 8801100"/>
                  <a:gd name="connsiteY184" fmla="*/ 3176588 h 4410075"/>
                  <a:gd name="connsiteX185" fmla="*/ 6610350 w 8801100"/>
                  <a:gd name="connsiteY185" fmla="*/ 3124200 h 4410075"/>
                  <a:gd name="connsiteX186" fmla="*/ 6650831 w 8801100"/>
                  <a:gd name="connsiteY186" fmla="*/ 2945606 h 4410075"/>
                  <a:gd name="connsiteX187" fmla="*/ 6691313 w 8801100"/>
                  <a:gd name="connsiteY187" fmla="*/ 2878931 h 4410075"/>
                  <a:gd name="connsiteX188" fmla="*/ 6836569 w 8801100"/>
                  <a:gd name="connsiteY188" fmla="*/ 2862262 h 4410075"/>
                  <a:gd name="connsiteX189" fmla="*/ 6905625 w 8801100"/>
                  <a:gd name="connsiteY189" fmla="*/ 2919413 h 4410075"/>
                  <a:gd name="connsiteX190" fmla="*/ 6981825 w 8801100"/>
                  <a:gd name="connsiteY190" fmla="*/ 2943225 h 4410075"/>
                  <a:gd name="connsiteX191" fmla="*/ 7186612 w 8801100"/>
                  <a:gd name="connsiteY191" fmla="*/ 2947988 h 4410075"/>
                  <a:gd name="connsiteX192" fmla="*/ 7362825 w 8801100"/>
                  <a:gd name="connsiteY192" fmla="*/ 2809875 h 4410075"/>
                  <a:gd name="connsiteX193" fmla="*/ 7419975 w 8801100"/>
                  <a:gd name="connsiteY193" fmla="*/ 2719387 h 4410075"/>
                  <a:gd name="connsiteX194" fmla="*/ 7446169 w 8801100"/>
                  <a:gd name="connsiteY194" fmla="*/ 2636044 h 4410075"/>
                  <a:gd name="connsiteX195" fmla="*/ 7577137 w 8801100"/>
                  <a:gd name="connsiteY195" fmla="*/ 2636044 h 4410075"/>
                  <a:gd name="connsiteX196" fmla="*/ 7750969 w 8801100"/>
                  <a:gd name="connsiteY196" fmla="*/ 2578893 h 4410075"/>
                  <a:gd name="connsiteX197" fmla="*/ 7810500 w 8801100"/>
                  <a:gd name="connsiteY197" fmla="*/ 2466975 h 4410075"/>
                  <a:gd name="connsiteX198" fmla="*/ 7874794 w 8801100"/>
                  <a:gd name="connsiteY198" fmla="*/ 2431256 h 4410075"/>
                  <a:gd name="connsiteX199" fmla="*/ 7853363 w 8801100"/>
                  <a:gd name="connsiteY199" fmla="*/ 2386013 h 4410075"/>
                  <a:gd name="connsiteX200" fmla="*/ 7931944 w 8801100"/>
                  <a:gd name="connsiteY200" fmla="*/ 2216943 h 4410075"/>
                  <a:gd name="connsiteX201" fmla="*/ 7986713 w 8801100"/>
                  <a:gd name="connsiteY201" fmla="*/ 2157413 h 4410075"/>
                  <a:gd name="connsiteX202" fmla="*/ 8024813 w 8801100"/>
                  <a:gd name="connsiteY202" fmla="*/ 2152650 h 4410075"/>
                  <a:gd name="connsiteX203" fmla="*/ 8070056 w 8801100"/>
                  <a:gd name="connsiteY203" fmla="*/ 2157413 h 4410075"/>
                  <a:gd name="connsiteX204" fmla="*/ 8134350 w 8801100"/>
                  <a:gd name="connsiteY204" fmla="*/ 2124075 h 4410075"/>
                  <a:gd name="connsiteX205" fmla="*/ 8143875 w 8801100"/>
                  <a:gd name="connsiteY205" fmla="*/ 2059781 h 4410075"/>
                  <a:gd name="connsiteX206" fmla="*/ 8184355 w 8801100"/>
                  <a:gd name="connsiteY206" fmla="*/ 2024063 h 4410075"/>
                  <a:gd name="connsiteX207" fmla="*/ 8243888 w 8801100"/>
                  <a:gd name="connsiteY207" fmla="*/ 2064543 h 4410075"/>
                  <a:gd name="connsiteX208" fmla="*/ 8270082 w 8801100"/>
                  <a:gd name="connsiteY208" fmla="*/ 2014537 h 4410075"/>
                  <a:gd name="connsiteX209" fmla="*/ 8365331 w 8801100"/>
                  <a:gd name="connsiteY209" fmla="*/ 1945481 h 4410075"/>
                  <a:gd name="connsiteX210" fmla="*/ 8427244 w 8801100"/>
                  <a:gd name="connsiteY210" fmla="*/ 1952625 h 4410075"/>
                  <a:gd name="connsiteX211" fmla="*/ 8477250 w 8801100"/>
                  <a:gd name="connsiteY211" fmla="*/ 1933575 h 4410075"/>
                  <a:gd name="connsiteX212" fmla="*/ 8515350 w 8801100"/>
                  <a:gd name="connsiteY212" fmla="*/ 1905000 h 4410075"/>
                  <a:gd name="connsiteX213" fmla="*/ 8548688 w 8801100"/>
                  <a:gd name="connsiteY213" fmla="*/ 1902619 h 4410075"/>
                  <a:gd name="connsiteX214" fmla="*/ 8584406 w 8801100"/>
                  <a:gd name="connsiteY214" fmla="*/ 1933575 h 4410075"/>
                  <a:gd name="connsiteX215" fmla="*/ 8643938 w 8801100"/>
                  <a:gd name="connsiteY215" fmla="*/ 1933575 h 4410075"/>
                  <a:gd name="connsiteX216" fmla="*/ 8682037 w 8801100"/>
                  <a:gd name="connsiteY216" fmla="*/ 1914525 h 4410075"/>
                  <a:gd name="connsiteX217" fmla="*/ 8765381 w 8801100"/>
                  <a:gd name="connsiteY217" fmla="*/ 1916907 h 4410075"/>
                  <a:gd name="connsiteX218" fmla="*/ 8796338 w 8801100"/>
                  <a:gd name="connsiteY218" fmla="*/ 1871663 h 4410075"/>
                  <a:gd name="connsiteX219" fmla="*/ 8801100 w 8801100"/>
                  <a:gd name="connsiteY219" fmla="*/ 1809750 h 4410075"/>
                  <a:gd name="connsiteX220" fmla="*/ 8751093 w 8801100"/>
                  <a:gd name="connsiteY220" fmla="*/ 1769269 h 4410075"/>
                  <a:gd name="connsiteX221" fmla="*/ 8734425 w 8801100"/>
                  <a:gd name="connsiteY221" fmla="*/ 1714500 h 4410075"/>
                  <a:gd name="connsiteX222" fmla="*/ 8643938 w 8801100"/>
                  <a:gd name="connsiteY222" fmla="*/ 1652588 h 4410075"/>
                  <a:gd name="connsiteX223" fmla="*/ 8603456 w 8801100"/>
                  <a:gd name="connsiteY223" fmla="*/ 1631156 h 4410075"/>
                  <a:gd name="connsiteX224" fmla="*/ 8565356 w 8801100"/>
                  <a:gd name="connsiteY224" fmla="*/ 1585913 h 4410075"/>
                  <a:gd name="connsiteX225" fmla="*/ 8534400 w 8801100"/>
                  <a:gd name="connsiteY225" fmla="*/ 1583531 h 4410075"/>
                  <a:gd name="connsiteX226" fmla="*/ 8517731 w 8801100"/>
                  <a:gd name="connsiteY226" fmla="*/ 1531144 h 4410075"/>
                  <a:gd name="connsiteX227" fmla="*/ 8477250 w 8801100"/>
                  <a:gd name="connsiteY227" fmla="*/ 1514475 h 4410075"/>
                  <a:gd name="connsiteX228" fmla="*/ 8477250 w 8801100"/>
                  <a:gd name="connsiteY228" fmla="*/ 1514475 h 4410075"/>
                  <a:gd name="connsiteX229" fmla="*/ 8436769 w 8801100"/>
                  <a:gd name="connsiteY229" fmla="*/ 1519238 h 4410075"/>
                  <a:gd name="connsiteX230" fmla="*/ 8351043 w 8801100"/>
                  <a:gd name="connsiteY230" fmla="*/ 1445419 h 4410075"/>
                  <a:gd name="connsiteX231" fmla="*/ 8170069 w 8801100"/>
                  <a:gd name="connsiteY231" fmla="*/ 1445418 h 4410075"/>
                  <a:gd name="connsiteX232" fmla="*/ 8117681 w 8801100"/>
                  <a:gd name="connsiteY232" fmla="*/ 1483519 h 4410075"/>
                  <a:gd name="connsiteX233" fmla="*/ 8067675 w 8801100"/>
                  <a:gd name="connsiteY233" fmla="*/ 1562100 h 4410075"/>
                  <a:gd name="connsiteX234" fmla="*/ 8084344 w 8801100"/>
                  <a:gd name="connsiteY234" fmla="*/ 1583531 h 4410075"/>
                  <a:gd name="connsiteX235" fmla="*/ 8039100 w 8801100"/>
                  <a:gd name="connsiteY235" fmla="*/ 1633537 h 4410075"/>
                  <a:gd name="connsiteX236" fmla="*/ 7889081 w 8801100"/>
                  <a:gd name="connsiteY236" fmla="*/ 1557337 h 4410075"/>
                  <a:gd name="connsiteX237" fmla="*/ 7798594 w 8801100"/>
                  <a:gd name="connsiteY237" fmla="*/ 1593056 h 4410075"/>
                  <a:gd name="connsiteX238" fmla="*/ 7724775 w 8801100"/>
                  <a:gd name="connsiteY238" fmla="*/ 1590675 h 4410075"/>
                  <a:gd name="connsiteX239" fmla="*/ 7667625 w 8801100"/>
                  <a:gd name="connsiteY239" fmla="*/ 1685925 h 4410075"/>
                  <a:gd name="connsiteX240" fmla="*/ 7529513 w 8801100"/>
                  <a:gd name="connsiteY240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2650331 w 8801100"/>
                  <a:gd name="connsiteY148" fmla="*/ 3879056 h 4410075"/>
                  <a:gd name="connsiteX149" fmla="*/ 3057525 w 8801100"/>
                  <a:gd name="connsiteY149" fmla="*/ 3960019 h 4410075"/>
                  <a:gd name="connsiteX150" fmla="*/ 3255169 w 8801100"/>
                  <a:gd name="connsiteY150" fmla="*/ 3929062 h 4410075"/>
                  <a:gd name="connsiteX151" fmla="*/ 3300413 w 8801100"/>
                  <a:gd name="connsiteY151" fmla="*/ 3940968 h 4410075"/>
                  <a:gd name="connsiteX152" fmla="*/ 3355181 w 8801100"/>
                  <a:gd name="connsiteY152" fmla="*/ 3917157 h 4410075"/>
                  <a:gd name="connsiteX153" fmla="*/ 3748087 w 8801100"/>
                  <a:gd name="connsiteY153" fmla="*/ 4007644 h 4410075"/>
                  <a:gd name="connsiteX154" fmla="*/ 3831432 w 8801100"/>
                  <a:gd name="connsiteY154" fmla="*/ 4105275 h 4410075"/>
                  <a:gd name="connsiteX155" fmla="*/ 3950494 w 8801100"/>
                  <a:gd name="connsiteY155" fmla="*/ 4176713 h 4410075"/>
                  <a:gd name="connsiteX156" fmla="*/ 4010025 w 8801100"/>
                  <a:gd name="connsiteY156" fmla="*/ 4160044 h 4410075"/>
                  <a:gd name="connsiteX157" fmla="*/ 4360068 w 8801100"/>
                  <a:gd name="connsiteY157" fmla="*/ 4333875 h 4410075"/>
                  <a:gd name="connsiteX158" fmla="*/ 4586288 w 8801100"/>
                  <a:gd name="connsiteY158" fmla="*/ 4305300 h 4410075"/>
                  <a:gd name="connsiteX159" fmla="*/ 4595813 w 8801100"/>
                  <a:gd name="connsiteY159" fmla="*/ 4383881 h 4410075"/>
                  <a:gd name="connsiteX160" fmla="*/ 4681538 w 8801100"/>
                  <a:gd name="connsiteY160" fmla="*/ 4379118 h 4410075"/>
                  <a:gd name="connsiteX161" fmla="*/ 4760119 w 8801100"/>
                  <a:gd name="connsiteY161" fmla="*/ 4410075 h 4410075"/>
                  <a:gd name="connsiteX162" fmla="*/ 4802981 w 8801100"/>
                  <a:gd name="connsiteY162" fmla="*/ 4350544 h 4410075"/>
                  <a:gd name="connsiteX163" fmla="*/ 5474494 w 8801100"/>
                  <a:gd name="connsiteY163" fmla="*/ 4031456 h 4410075"/>
                  <a:gd name="connsiteX164" fmla="*/ 5562600 w 8801100"/>
                  <a:gd name="connsiteY164" fmla="*/ 4060032 h 4410075"/>
                  <a:gd name="connsiteX165" fmla="*/ 5693569 w 8801100"/>
                  <a:gd name="connsiteY165" fmla="*/ 4031456 h 4410075"/>
                  <a:gd name="connsiteX166" fmla="*/ 5872162 w 8801100"/>
                  <a:gd name="connsiteY166" fmla="*/ 4048125 h 4410075"/>
                  <a:gd name="connsiteX167" fmla="*/ 5929313 w 8801100"/>
                  <a:gd name="connsiteY167" fmla="*/ 4021932 h 4410075"/>
                  <a:gd name="connsiteX168" fmla="*/ 6062662 w 8801100"/>
                  <a:gd name="connsiteY168" fmla="*/ 4019550 h 4410075"/>
                  <a:gd name="connsiteX169" fmla="*/ 6196012 w 8801100"/>
                  <a:gd name="connsiteY169" fmla="*/ 3921919 h 4410075"/>
                  <a:gd name="connsiteX170" fmla="*/ 6262687 w 8801100"/>
                  <a:gd name="connsiteY170" fmla="*/ 3914775 h 4410075"/>
                  <a:gd name="connsiteX171" fmla="*/ 6360319 w 8801100"/>
                  <a:gd name="connsiteY171" fmla="*/ 3840956 h 4410075"/>
                  <a:gd name="connsiteX172" fmla="*/ 6434138 w 8801100"/>
                  <a:gd name="connsiteY172" fmla="*/ 3771900 h 4410075"/>
                  <a:gd name="connsiteX173" fmla="*/ 6443663 w 8801100"/>
                  <a:gd name="connsiteY173" fmla="*/ 3709988 h 4410075"/>
                  <a:gd name="connsiteX174" fmla="*/ 6477000 w 8801100"/>
                  <a:gd name="connsiteY174" fmla="*/ 3640931 h 4410075"/>
                  <a:gd name="connsiteX175" fmla="*/ 6629400 w 8801100"/>
                  <a:gd name="connsiteY175" fmla="*/ 3533775 h 4410075"/>
                  <a:gd name="connsiteX176" fmla="*/ 6662738 w 8801100"/>
                  <a:gd name="connsiteY176" fmla="*/ 3538538 h 4410075"/>
                  <a:gd name="connsiteX177" fmla="*/ 6715125 w 8801100"/>
                  <a:gd name="connsiteY177" fmla="*/ 3459956 h 4410075"/>
                  <a:gd name="connsiteX178" fmla="*/ 6762750 w 8801100"/>
                  <a:gd name="connsiteY178" fmla="*/ 3421856 h 4410075"/>
                  <a:gd name="connsiteX179" fmla="*/ 6748463 w 8801100"/>
                  <a:gd name="connsiteY179" fmla="*/ 3352800 h 4410075"/>
                  <a:gd name="connsiteX180" fmla="*/ 6698456 w 8801100"/>
                  <a:gd name="connsiteY180" fmla="*/ 3321843 h 4410075"/>
                  <a:gd name="connsiteX181" fmla="*/ 6638925 w 8801100"/>
                  <a:gd name="connsiteY181" fmla="*/ 3267075 h 4410075"/>
                  <a:gd name="connsiteX182" fmla="*/ 6619875 w 8801100"/>
                  <a:gd name="connsiteY182" fmla="*/ 3209925 h 4410075"/>
                  <a:gd name="connsiteX183" fmla="*/ 6584156 w 8801100"/>
                  <a:gd name="connsiteY183" fmla="*/ 3176588 h 4410075"/>
                  <a:gd name="connsiteX184" fmla="*/ 6610350 w 8801100"/>
                  <a:gd name="connsiteY184" fmla="*/ 3124200 h 4410075"/>
                  <a:gd name="connsiteX185" fmla="*/ 6650831 w 8801100"/>
                  <a:gd name="connsiteY185" fmla="*/ 2945606 h 4410075"/>
                  <a:gd name="connsiteX186" fmla="*/ 6691313 w 8801100"/>
                  <a:gd name="connsiteY186" fmla="*/ 2878931 h 4410075"/>
                  <a:gd name="connsiteX187" fmla="*/ 6836569 w 8801100"/>
                  <a:gd name="connsiteY187" fmla="*/ 2862262 h 4410075"/>
                  <a:gd name="connsiteX188" fmla="*/ 6905625 w 8801100"/>
                  <a:gd name="connsiteY188" fmla="*/ 2919413 h 4410075"/>
                  <a:gd name="connsiteX189" fmla="*/ 6981825 w 8801100"/>
                  <a:gd name="connsiteY189" fmla="*/ 2943225 h 4410075"/>
                  <a:gd name="connsiteX190" fmla="*/ 7186612 w 8801100"/>
                  <a:gd name="connsiteY190" fmla="*/ 2947988 h 4410075"/>
                  <a:gd name="connsiteX191" fmla="*/ 7362825 w 8801100"/>
                  <a:gd name="connsiteY191" fmla="*/ 2809875 h 4410075"/>
                  <a:gd name="connsiteX192" fmla="*/ 7419975 w 8801100"/>
                  <a:gd name="connsiteY192" fmla="*/ 2719387 h 4410075"/>
                  <a:gd name="connsiteX193" fmla="*/ 7446169 w 8801100"/>
                  <a:gd name="connsiteY193" fmla="*/ 2636044 h 4410075"/>
                  <a:gd name="connsiteX194" fmla="*/ 7577137 w 8801100"/>
                  <a:gd name="connsiteY194" fmla="*/ 2636044 h 4410075"/>
                  <a:gd name="connsiteX195" fmla="*/ 7750969 w 8801100"/>
                  <a:gd name="connsiteY195" fmla="*/ 2578893 h 4410075"/>
                  <a:gd name="connsiteX196" fmla="*/ 7810500 w 8801100"/>
                  <a:gd name="connsiteY196" fmla="*/ 2466975 h 4410075"/>
                  <a:gd name="connsiteX197" fmla="*/ 7874794 w 8801100"/>
                  <a:gd name="connsiteY197" fmla="*/ 2431256 h 4410075"/>
                  <a:gd name="connsiteX198" fmla="*/ 7853363 w 8801100"/>
                  <a:gd name="connsiteY198" fmla="*/ 2386013 h 4410075"/>
                  <a:gd name="connsiteX199" fmla="*/ 7931944 w 8801100"/>
                  <a:gd name="connsiteY199" fmla="*/ 2216943 h 4410075"/>
                  <a:gd name="connsiteX200" fmla="*/ 7986713 w 8801100"/>
                  <a:gd name="connsiteY200" fmla="*/ 2157413 h 4410075"/>
                  <a:gd name="connsiteX201" fmla="*/ 8024813 w 8801100"/>
                  <a:gd name="connsiteY201" fmla="*/ 2152650 h 4410075"/>
                  <a:gd name="connsiteX202" fmla="*/ 8070056 w 8801100"/>
                  <a:gd name="connsiteY202" fmla="*/ 2157413 h 4410075"/>
                  <a:gd name="connsiteX203" fmla="*/ 8134350 w 8801100"/>
                  <a:gd name="connsiteY203" fmla="*/ 2124075 h 4410075"/>
                  <a:gd name="connsiteX204" fmla="*/ 8143875 w 8801100"/>
                  <a:gd name="connsiteY204" fmla="*/ 2059781 h 4410075"/>
                  <a:gd name="connsiteX205" fmla="*/ 8184355 w 8801100"/>
                  <a:gd name="connsiteY205" fmla="*/ 2024063 h 4410075"/>
                  <a:gd name="connsiteX206" fmla="*/ 8243888 w 8801100"/>
                  <a:gd name="connsiteY206" fmla="*/ 2064543 h 4410075"/>
                  <a:gd name="connsiteX207" fmla="*/ 8270082 w 8801100"/>
                  <a:gd name="connsiteY207" fmla="*/ 2014537 h 4410075"/>
                  <a:gd name="connsiteX208" fmla="*/ 8365331 w 8801100"/>
                  <a:gd name="connsiteY208" fmla="*/ 1945481 h 4410075"/>
                  <a:gd name="connsiteX209" fmla="*/ 8427244 w 8801100"/>
                  <a:gd name="connsiteY209" fmla="*/ 1952625 h 4410075"/>
                  <a:gd name="connsiteX210" fmla="*/ 8477250 w 8801100"/>
                  <a:gd name="connsiteY210" fmla="*/ 1933575 h 4410075"/>
                  <a:gd name="connsiteX211" fmla="*/ 8515350 w 8801100"/>
                  <a:gd name="connsiteY211" fmla="*/ 1905000 h 4410075"/>
                  <a:gd name="connsiteX212" fmla="*/ 8548688 w 8801100"/>
                  <a:gd name="connsiteY212" fmla="*/ 1902619 h 4410075"/>
                  <a:gd name="connsiteX213" fmla="*/ 8584406 w 8801100"/>
                  <a:gd name="connsiteY213" fmla="*/ 1933575 h 4410075"/>
                  <a:gd name="connsiteX214" fmla="*/ 8643938 w 8801100"/>
                  <a:gd name="connsiteY214" fmla="*/ 1933575 h 4410075"/>
                  <a:gd name="connsiteX215" fmla="*/ 8682037 w 8801100"/>
                  <a:gd name="connsiteY215" fmla="*/ 1914525 h 4410075"/>
                  <a:gd name="connsiteX216" fmla="*/ 8765381 w 8801100"/>
                  <a:gd name="connsiteY216" fmla="*/ 1916907 h 4410075"/>
                  <a:gd name="connsiteX217" fmla="*/ 8796338 w 8801100"/>
                  <a:gd name="connsiteY217" fmla="*/ 1871663 h 4410075"/>
                  <a:gd name="connsiteX218" fmla="*/ 8801100 w 8801100"/>
                  <a:gd name="connsiteY218" fmla="*/ 1809750 h 4410075"/>
                  <a:gd name="connsiteX219" fmla="*/ 8751093 w 8801100"/>
                  <a:gd name="connsiteY219" fmla="*/ 1769269 h 4410075"/>
                  <a:gd name="connsiteX220" fmla="*/ 8734425 w 8801100"/>
                  <a:gd name="connsiteY220" fmla="*/ 1714500 h 4410075"/>
                  <a:gd name="connsiteX221" fmla="*/ 8643938 w 8801100"/>
                  <a:gd name="connsiteY221" fmla="*/ 1652588 h 4410075"/>
                  <a:gd name="connsiteX222" fmla="*/ 8603456 w 8801100"/>
                  <a:gd name="connsiteY222" fmla="*/ 1631156 h 4410075"/>
                  <a:gd name="connsiteX223" fmla="*/ 8565356 w 8801100"/>
                  <a:gd name="connsiteY223" fmla="*/ 1585913 h 4410075"/>
                  <a:gd name="connsiteX224" fmla="*/ 8534400 w 8801100"/>
                  <a:gd name="connsiteY224" fmla="*/ 1583531 h 4410075"/>
                  <a:gd name="connsiteX225" fmla="*/ 8517731 w 8801100"/>
                  <a:gd name="connsiteY225" fmla="*/ 1531144 h 4410075"/>
                  <a:gd name="connsiteX226" fmla="*/ 8477250 w 8801100"/>
                  <a:gd name="connsiteY226" fmla="*/ 1514475 h 4410075"/>
                  <a:gd name="connsiteX227" fmla="*/ 8477250 w 8801100"/>
                  <a:gd name="connsiteY227" fmla="*/ 1514475 h 4410075"/>
                  <a:gd name="connsiteX228" fmla="*/ 8436769 w 8801100"/>
                  <a:gd name="connsiteY228" fmla="*/ 1519238 h 4410075"/>
                  <a:gd name="connsiteX229" fmla="*/ 8351043 w 8801100"/>
                  <a:gd name="connsiteY229" fmla="*/ 1445419 h 4410075"/>
                  <a:gd name="connsiteX230" fmla="*/ 8170069 w 8801100"/>
                  <a:gd name="connsiteY230" fmla="*/ 1445418 h 4410075"/>
                  <a:gd name="connsiteX231" fmla="*/ 8117681 w 8801100"/>
                  <a:gd name="connsiteY231" fmla="*/ 1483519 h 4410075"/>
                  <a:gd name="connsiteX232" fmla="*/ 8067675 w 8801100"/>
                  <a:gd name="connsiteY232" fmla="*/ 1562100 h 4410075"/>
                  <a:gd name="connsiteX233" fmla="*/ 8084344 w 8801100"/>
                  <a:gd name="connsiteY233" fmla="*/ 1583531 h 4410075"/>
                  <a:gd name="connsiteX234" fmla="*/ 8039100 w 8801100"/>
                  <a:gd name="connsiteY234" fmla="*/ 1633537 h 4410075"/>
                  <a:gd name="connsiteX235" fmla="*/ 7889081 w 8801100"/>
                  <a:gd name="connsiteY235" fmla="*/ 1557337 h 4410075"/>
                  <a:gd name="connsiteX236" fmla="*/ 7798594 w 8801100"/>
                  <a:gd name="connsiteY236" fmla="*/ 1593056 h 4410075"/>
                  <a:gd name="connsiteX237" fmla="*/ 7724775 w 8801100"/>
                  <a:gd name="connsiteY237" fmla="*/ 1590675 h 4410075"/>
                  <a:gd name="connsiteX238" fmla="*/ 7667625 w 8801100"/>
                  <a:gd name="connsiteY238" fmla="*/ 1685925 h 4410075"/>
                  <a:gd name="connsiteX239" fmla="*/ 7529513 w 8801100"/>
                  <a:gd name="connsiteY239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057525 w 8801100"/>
                  <a:gd name="connsiteY148" fmla="*/ 3960019 h 4410075"/>
                  <a:gd name="connsiteX149" fmla="*/ 3255169 w 8801100"/>
                  <a:gd name="connsiteY149" fmla="*/ 3929062 h 4410075"/>
                  <a:gd name="connsiteX150" fmla="*/ 3300413 w 8801100"/>
                  <a:gd name="connsiteY150" fmla="*/ 3940968 h 4410075"/>
                  <a:gd name="connsiteX151" fmla="*/ 3355181 w 8801100"/>
                  <a:gd name="connsiteY151" fmla="*/ 3917157 h 4410075"/>
                  <a:gd name="connsiteX152" fmla="*/ 3748087 w 8801100"/>
                  <a:gd name="connsiteY152" fmla="*/ 4007644 h 4410075"/>
                  <a:gd name="connsiteX153" fmla="*/ 3831432 w 8801100"/>
                  <a:gd name="connsiteY153" fmla="*/ 4105275 h 4410075"/>
                  <a:gd name="connsiteX154" fmla="*/ 3950494 w 8801100"/>
                  <a:gd name="connsiteY154" fmla="*/ 4176713 h 4410075"/>
                  <a:gd name="connsiteX155" fmla="*/ 4010025 w 8801100"/>
                  <a:gd name="connsiteY155" fmla="*/ 4160044 h 4410075"/>
                  <a:gd name="connsiteX156" fmla="*/ 4360068 w 8801100"/>
                  <a:gd name="connsiteY156" fmla="*/ 4333875 h 4410075"/>
                  <a:gd name="connsiteX157" fmla="*/ 4586288 w 8801100"/>
                  <a:gd name="connsiteY157" fmla="*/ 4305300 h 4410075"/>
                  <a:gd name="connsiteX158" fmla="*/ 4595813 w 8801100"/>
                  <a:gd name="connsiteY158" fmla="*/ 4383881 h 4410075"/>
                  <a:gd name="connsiteX159" fmla="*/ 4681538 w 8801100"/>
                  <a:gd name="connsiteY159" fmla="*/ 4379118 h 4410075"/>
                  <a:gd name="connsiteX160" fmla="*/ 4760119 w 8801100"/>
                  <a:gd name="connsiteY160" fmla="*/ 4410075 h 4410075"/>
                  <a:gd name="connsiteX161" fmla="*/ 4802981 w 8801100"/>
                  <a:gd name="connsiteY161" fmla="*/ 4350544 h 4410075"/>
                  <a:gd name="connsiteX162" fmla="*/ 5474494 w 8801100"/>
                  <a:gd name="connsiteY162" fmla="*/ 4031456 h 4410075"/>
                  <a:gd name="connsiteX163" fmla="*/ 5562600 w 8801100"/>
                  <a:gd name="connsiteY163" fmla="*/ 4060032 h 4410075"/>
                  <a:gd name="connsiteX164" fmla="*/ 5693569 w 8801100"/>
                  <a:gd name="connsiteY164" fmla="*/ 4031456 h 4410075"/>
                  <a:gd name="connsiteX165" fmla="*/ 5872162 w 8801100"/>
                  <a:gd name="connsiteY165" fmla="*/ 4048125 h 4410075"/>
                  <a:gd name="connsiteX166" fmla="*/ 5929313 w 8801100"/>
                  <a:gd name="connsiteY166" fmla="*/ 4021932 h 4410075"/>
                  <a:gd name="connsiteX167" fmla="*/ 6062662 w 8801100"/>
                  <a:gd name="connsiteY167" fmla="*/ 4019550 h 4410075"/>
                  <a:gd name="connsiteX168" fmla="*/ 6196012 w 8801100"/>
                  <a:gd name="connsiteY168" fmla="*/ 3921919 h 4410075"/>
                  <a:gd name="connsiteX169" fmla="*/ 6262687 w 8801100"/>
                  <a:gd name="connsiteY169" fmla="*/ 3914775 h 4410075"/>
                  <a:gd name="connsiteX170" fmla="*/ 6360319 w 8801100"/>
                  <a:gd name="connsiteY170" fmla="*/ 3840956 h 4410075"/>
                  <a:gd name="connsiteX171" fmla="*/ 6434138 w 8801100"/>
                  <a:gd name="connsiteY171" fmla="*/ 3771900 h 4410075"/>
                  <a:gd name="connsiteX172" fmla="*/ 6443663 w 8801100"/>
                  <a:gd name="connsiteY172" fmla="*/ 3709988 h 4410075"/>
                  <a:gd name="connsiteX173" fmla="*/ 6477000 w 8801100"/>
                  <a:gd name="connsiteY173" fmla="*/ 3640931 h 4410075"/>
                  <a:gd name="connsiteX174" fmla="*/ 6629400 w 8801100"/>
                  <a:gd name="connsiteY174" fmla="*/ 3533775 h 4410075"/>
                  <a:gd name="connsiteX175" fmla="*/ 6662738 w 8801100"/>
                  <a:gd name="connsiteY175" fmla="*/ 3538538 h 4410075"/>
                  <a:gd name="connsiteX176" fmla="*/ 6715125 w 8801100"/>
                  <a:gd name="connsiteY176" fmla="*/ 3459956 h 4410075"/>
                  <a:gd name="connsiteX177" fmla="*/ 6762750 w 8801100"/>
                  <a:gd name="connsiteY177" fmla="*/ 3421856 h 4410075"/>
                  <a:gd name="connsiteX178" fmla="*/ 6748463 w 8801100"/>
                  <a:gd name="connsiteY178" fmla="*/ 3352800 h 4410075"/>
                  <a:gd name="connsiteX179" fmla="*/ 6698456 w 8801100"/>
                  <a:gd name="connsiteY179" fmla="*/ 3321843 h 4410075"/>
                  <a:gd name="connsiteX180" fmla="*/ 6638925 w 8801100"/>
                  <a:gd name="connsiteY180" fmla="*/ 3267075 h 4410075"/>
                  <a:gd name="connsiteX181" fmla="*/ 6619875 w 8801100"/>
                  <a:gd name="connsiteY181" fmla="*/ 3209925 h 4410075"/>
                  <a:gd name="connsiteX182" fmla="*/ 6584156 w 8801100"/>
                  <a:gd name="connsiteY182" fmla="*/ 3176588 h 4410075"/>
                  <a:gd name="connsiteX183" fmla="*/ 6610350 w 8801100"/>
                  <a:gd name="connsiteY183" fmla="*/ 3124200 h 4410075"/>
                  <a:gd name="connsiteX184" fmla="*/ 6650831 w 8801100"/>
                  <a:gd name="connsiteY184" fmla="*/ 2945606 h 4410075"/>
                  <a:gd name="connsiteX185" fmla="*/ 6691313 w 8801100"/>
                  <a:gd name="connsiteY185" fmla="*/ 2878931 h 4410075"/>
                  <a:gd name="connsiteX186" fmla="*/ 6836569 w 8801100"/>
                  <a:gd name="connsiteY186" fmla="*/ 2862262 h 4410075"/>
                  <a:gd name="connsiteX187" fmla="*/ 6905625 w 8801100"/>
                  <a:gd name="connsiteY187" fmla="*/ 2919413 h 4410075"/>
                  <a:gd name="connsiteX188" fmla="*/ 6981825 w 8801100"/>
                  <a:gd name="connsiteY188" fmla="*/ 2943225 h 4410075"/>
                  <a:gd name="connsiteX189" fmla="*/ 7186612 w 8801100"/>
                  <a:gd name="connsiteY189" fmla="*/ 2947988 h 4410075"/>
                  <a:gd name="connsiteX190" fmla="*/ 7362825 w 8801100"/>
                  <a:gd name="connsiteY190" fmla="*/ 2809875 h 4410075"/>
                  <a:gd name="connsiteX191" fmla="*/ 7419975 w 8801100"/>
                  <a:gd name="connsiteY191" fmla="*/ 2719387 h 4410075"/>
                  <a:gd name="connsiteX192" fmla="*/ 7446169 w 8801100"/>
                  <a:gd name="connsiteY192" fmla="*/ 2636044 h 4410075"/>
                  <a:gd name="connsiteX193" fmla="*/ 7577137 w 8801100"/>
                  <a:gd name="connsiteY193" fmla="*/ 2636044 h 4410075"/>
                  <a:gd name="connsiteX194" fmla="*/ 7750969 w 8801100"/>
                  <a:gd name="connsiteY194" fmla="*/ 2578893 h 4410075"/>
                  <a:gd name="connsiteX195" fmla="*/ 7810500 w 8801100"/>
                  <a:gd name="connsiteY195" fmla="*/ 2466975 h 4410075"/>
                  <a:gd name="connsiteX196" fmla="*/ 7874794 w 8801100"/>
                  <a:gd name="connsiteY196" fmla="*/ 2431256 h 4410075"/>
                  <a:gd name="connsiteX197" fmla="*/ 7853363 w 8801100"/>
                  <a:gd name="connsiteY197" fmla="*/ 2386013 h 4410075"/>
                  <a:gd name="connsiteX198" fmla="*/ 7931944 w 8801100"/>
                  <a:gd name="connsiteY198" fmla="*/ 2216943 h 4410075"/>
                  <a:gd name="connsiteX199" fmla="*/ 7986713 w 8801100"/>
                  <a:gd name="connsiteY199" fmla="*/ 2157413 h 4410075"/>
                  <a:gd name="connsiteX200" fmla="*/ 8024813 w 8801100"/>
                  <a:gd name="connsiteY200" fmla="*/ 2152650 h 4410075"/>
                  <a:gd name="connsiteX201" fmla="*/ 8070056 w 8801100"/>
                  <a:gd name="connsiteY201" fmla="*/ 2157413 h 4410075"/>
                  <a:gd name="connsiteX202" fmla="*/ 8134350 w 8801100"/>
                  <a:gd name="connsiteY202" fmla="*/ 2124075 h 4410075"/>
                  <a:gd name="connsiteX203" fmla="*/ 8143875 w 8801100"/>
                  <a:gd name="connsiteY203" fmla="*/ 2059781 h 4410075"/>
                  <a:gd name="connsiteX204" fmla="*/ 8184355 w 8801100"/>
                  <a:gd name="connsiteY204" fmla="*/ 2024063 h 4410075"/>
                  <a:gd name="connsiteX205" fmla="*/ 8243888 w 8801100"/>
                  <a:gd name="connsiteY205" fmla="*/ 2064543 h 4410075"/>
                  <a:gd name="connsiteX206" fmla="*/ 8270082 w 8801100"/>
                  <a:gd name="connsiteY206" fmla="*/ 2014537 h 4410075"/>
                  <a:gd name="connsiteX207" fmla="*/ 8365331 w 8801100"/>
                  <a:gd name="connsiteY207" fmla="*/ 1945481 h 4410075"/>
                  <a:gd name="connsiteX208" fmla="*/ 8427244 w 8801100"/>
                  <a:gd name="connsiteY208" fmla="*/ 1952625 h 4410075"/>
                  <a:gd name="connsiteX209" fmla="*/ 8477250 w 8801100"/>
                  <a:gd name="connsiteY209" fmla="*/ 1933575 h 4410075"/>
                  <a:gd name="connsiteX210" fmla="*/ 8515350 w 8801100"/>
                  <a:gd name="connsiteY210" fmla="*/ 1905000 h 4410075"/>
                  <a:gd name="connsiteX211" fmla="*/ 8548688 w 8801100"/>
                  <a:gd name="connsiteY211" fmla="*/ 1902619 h 4410075"/>
                  <a:gd name="connsiteX212" fmla="*/ 8584406 w 8801100"/>
                  <a:gd name="connsiteY212" fmla="*/ 1933575 h 4410075"/>
                  <a:gd name="connsiteX213" fmla="*/ 8643938 w 8801100"/>
                  <a:gd name="connsiteY213" fmla="*/ 1933575 h 4410075"/>
                  <a:gd name="connsiteX214" fmla="*/ 8682037 w 8801100"/>
                  <a:gd name="connsiteY214" fmla="*/ 1914525 h 4410075"/>
                  <a:gd name="connsiteX215" fmla="*/ 8765381 w 8801100"/>
                  <a:gd name="connsiteY215" fmla="*/ 1916907 h 4410075"/>
                  <a:gd name="connsiteX216" fmla="*/ 8796338 w 8801100"/>
                  <a:gd name="connsiteY216" fmla="*/ 1871663 h 4410075"/>
                  <a:gd name="connsiteX217" fmla="*/ 8801100 w 8801100"/>
                  <a:gd name="connsiteY217" fmla="*/ 1809750 h 4410075"/>
                  <a:gd name="connsiteX218" fmla="*/ 8751093 w 8801100"/>
                  <a:gd name="connsiteY218" fmla="*/ 1769269 h 4410075"/>
                  <a:gd name="connsiteX219" fmla="*/ 8734425 w 8801100"/>
                  <a:gd name="connsiteY219" fmla="*/ 1714500 h 4410075"/>
                  <a:gd name="connsiteX220" fmla="*/ 8643938 w 8801100"/>
                  <a:gd name="connsiteY220" fmla="*/ 1652588 h 4410075"/>
                  <a:gd name="connsiteX221" fmla="*/ 8603456 w 8801100"/>
                  <a:gd name="connsiteY221" fmla="*/ 1631156 h 4410075"/>
                  <a:gd name="connsiteX222" fmla="*/ 8565356 w 8801100"/>
                  <a:gd name="connsiteY222" fmla="*/ 1585913 h 4410075"/>
                  <a:gd name="connsiteX223" fmla="*/ 8534400 w 8801100"/>
                  <a:gd name="connsiteY223" fmla="*/ 1583531 h 4410075"/>
                  <a:gd name="connsiteX224" fmla="*/ 8517731 w 8801100"/>
                  <a:gd name="connsiteY224" fmla="*/ 1531144 h 4410075"/>
                  <a:gd name="connsiteX225" fmla="*/ 8477250 w 8801100"/>
                  <a:gd name="connsiteY225" fmla="*/ 1514475 h 4410075"/>
                  <a:gd name="connsiteX226" fmla="*/ 8477250 w 8801100"/>
                  <a:gd name="connsiteY226" fmla="*/ 1514475 h 4410075"/>
                  <a:gd name="connsiteX227" fmla="*/ 8436769 w 8801100"/>
                  <a:gd name="connsiteY227" fmla="*/ 1519238 h 4410075"/>
                  <a:gd name="connsiteX228" fmla="*/ 8351043 w 8801100"/>
                  <a:gd name="connsiteY228" fmla="*/ 1445419 h 4410075"/>
                  <a:gd name="connsiteX229" fmla="*/ 8170069 w 8801100"/>
                  <a:gd name="connsiteY229" fmla="*/ 1445418 h 4410075"/>
                  <a:gd name="connsiteX230" fmla="*/ 8117681 w 8801100"/>
                  <a:gd name="connsiteY230" fmla="*/ 1483519 h 4410075"/>
                  <a:gd name="connsiteX231" fmla="*/ 8067675 w 8801100"/>
                  <a:gd name="connsiteY231" fmla="*/ 1562100 h 4410075"/>
                  <a:gd name="connsiteX232" fmla="*/ 8084344 w 8801100"/>
                  <a:gd name="connsiteY232" fmla="*/ 1583531 h 4410075"/>
                  <a:gd name="connsiteX233" fmla="*/ 8039100 w 8801100"/>
                  <a:gd name="connsiteY233" fmla="*/ 1633537 h 4410075"/>
                  <a:gd name="connsiteX234" fmla="*/ 7889081 w 8801100"/>
                  <a:gd name="connsiteY234" fmla="*/ 1557337 h 4410075"/>
                  <a:gd name="connsiteX235" fmla="*/ 7798594 w 8801100"/>
                  <a:gd name="connsiteY235" fmla="*/ 1593056 h 4410075"/>
                  <a:gd name="connsiteX236" fmla="*/ 7724775 w 8801100"/>
                  <a:gd name="connsiteY236" fmla="*/ 1590675 h 4410075"/>
                  <a:gd name="connsiteX237" fmla="*/ 7667625 w 8801100"/>
                  <a:gd name="connsiteY237" fmla="*/ 1685925 h 4410075"/>
                  <a:gd name="connsiteX238" fmla="*/ 7529513 w 8801100"/>
                  <a:gd name="connsiteY238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255169 w 8801100"/>
                  <a:gd name="connsiteY148" fmla="*/ 3929062 h 4410075"/>
                  <a:gd name="connsiteX149" fmla="*/ 3300413 w 8801100"/>
                  <a:gd name="connsiteY149" fmla="*/ 3940968 h 4410075"/>
                  <a:gd name="connsiteX150" fmla="*/ 3355181 w 8801100"/>
                  <a:gd name="connsiteY150" fmla="*/ 3917157 h 4410075"/>
                  <a:gd name="connsiteX151" fmla="*/ 3748087 w 8801100"/>
                  <a:gd name="connsiteY151" fmla="*/ 4007644 h 4410075"/>
                  <a:gd name="connsiteX152" fmla="*/ 3831432 w 8801100"/>
                  <a:gd name="connsiteY152" fmla="*/ 4105275 h 4410075"/>
                  <a:gd name="connsiteX153" fmla="*/ 3950494 w 8801100"/>
                  <a:gd name="connsiteY153" fmla="*/ 4176713 h 4410075"/>
                  <a:gd name="connsiteX154" fmla="*/ 4010025 w 8801100"/>
                  <a:gd name="connsiteY154" fmla="*/ 4160044 h 4410075"/>
                  <a:gd name="connsiteX155" fmla="*/ 4360068 w 8801100"/>
                  <a:gd name="connsiteY155" fmla="*/ 4333875 h 4410075"/>
                  <a:gd name="connsiteX156" fmla="*/ 4586288 w 8801100"/>
                  <a:gd name="connsiteY156" fmla="*/ 4305300 h 4410075"/>
                  <a:gd name="connsiteX157" fmla="*/ 4595813 w 8801100"/>
                  <a:gd name="connsiteY157" fmla="*/ 4383881 h 4410075"/>
                  <a:gd name="connsiteX158" fmla="*/ 4681538 w 8801100"/>
                  <a:gd name="connsiteY158" fmla="*/ 4379118 h 4410075"/>
                  <a:gd name="connsiteX159" fmla="*/ 4760119 w 8801100"/>
                  <a:gd name="connsiteY159" fmla="*/ 4410075 h 4410075"/>
                  <a:gd name="connsiteX160" fmla="*/ 4802981 w 8801100"/>
                  <a:gd name="connsiteY160" fmla="*/ 4350544 h 4410075"/>
                  <a:gd name="connsiteX161" fmla="*/ 5474494 w 8801100"/>
                  <a:gd name="connsiteY161" fmla="*/ 4031456 h 4410075"/>
                  <a:gd name="connsiteX162" fmla="*/ 5562600 w 8801100"/>
                  <a:gd name="connsiteY162" fmla="*/ 4060032 h 4410075"/>
                  <a:gd name="connsiteX163" fmla="*/ 5693569 w 8801100"/>
                  <a:gd name="connsiteY163" fmla="*/ 4031456 h 4410075"/>
                  <a:gd name="connsiteX164" fmla="*/ 5872162 w 8801100"/>
                  <a:gd name="connsiteY164" fmla="*/ 4048125 h 4410075"/>
                  <a:gd name="connsiteX165" fmla="*/ 5929313 w 8801100"/>
                  <a:gd name="connsiteY165" fmla="*/ 4021932 h 4410075"/>
                  <a:gd name="connsiteX166" fmla="*/ 6062662 w 8801100"/>
                  <a:gd name="connsiteY166" fmla="*/ 4019550 h 4410075"/>
                  <a:gd name="connsiteX167" fmla="*/ 6196012 w 8801100"/>
                  <a:gd name="connsiteY167" fmla="*/ 3921919 h 4410075"/>
                  <a:gd name="connsiteX168" fmla="*/ 6262687 w 8801100"/>
                  <a:gd name="connsiteY168" fmla="*/ 3914775 h 4410075"/>
                  <a:gd name="connsiteX169" fmla="*/ 6360319 w 8801100"/>
                  <a:gd name="connsiteY169" fmla="*/ 3840956 h 4410075"/>
                  <a:gd name="connsiteX170" fmla="*/ 6434138 w 8801100"/>
                  <a:gd name="connsiteY170" fmla="*/ 3771900 h 4410075"/>
                  <a:gd name="connsiteX171" fmla="*/ 6443663 w 8801100"/>
                  <a:gd name="connsiteY171" fmla="*/ 3709988 h 4410075"/>
                  <a:gd name="connsiteX172" fmla="*/ 6477000 w 8801100"/>
                  <a:gd name="connsiteY172" fmla="*/ 3640931 h 4410075"/>
                  <a:gd name="connsiteX173" fmla="*/ 6629400 w 8801100"/>
                  <a:gd name="connsiteY173" fmla="*/ 3533775 h 4410075"/>
                  <a:gd name="connsiteX174" fmla="*/ 6662738 w 8801100"/>
                  <a:gd name="connsiteY174" fmla="*/ 3538538 h 4410075"/>
                  <a:gd name="connsiteX175" fmla="*/ 6715125 w 8801100"/>
                  <a:gd name="connsiteY175" fmla="*/ 3459956 h 4410075"/>
                  <a:gd name="connsiteX176" fmla="*/ 6762750 w 8801100"/>
                  <a:gd name="connsiteY176" fmla="*/ 3421856 h 4410075"/>
                  <a:gd name="connsiteX177" fmla="*/ 6748463 w 8801100"/>
                  <a:gd name="connsiteY177" fmla="*/ 3352800 h 4410075"/>
                  <a:gd name="connsiteX178" fmla="*/ 6698456 w 8801100"/>
                  <a:gd name="connsiteY178" fmla="*/ 3321843 h 4410075"/>
                  <a:gd name="connsiteX179" fmla="*/ 6638925 w 8801100"/>
                  <a:gd name="connsiteY179" fmla="*/ 3267075 h 4410075"/>
                  <a:gd name="connsiteX180" fmla="*/ 6619875 w 8801100"/>
                  <a:gd name="connsiteY180" fmla="*/ 3209925 h 4410075"/>
                  <a:gd name="connsiteX181" fmla="*/ 6584156 w 8801100"/>
                  <a:gd name="connsiteY181" fmla="*/ 3176588 h 4410075"/>
                  <a:gd name="connsiteX182" fmla="*/ 6610350 w 8801100"/>
                  <a:gd name="connsiteY182" fmla="*/ 3124200 h 4410075"/>
                  <a:gd name="connsiteX183" fmla="*/ 6650831 w 8801100"/>
                  <a:gd name="connsiteY183" fmla="*/ 2945606 h 4410075"/>
                  <a:gd name="connsiteX184" fmla="*/ 6691313 w 8801100"/>
                  <a:gd name="connsiteY184" fmla="*/ 2878931 h 4410075"/>
                  <a:gd name="connsiteX185" fmla="*/ 6836569 w 8801100"/>
                  <a:gd name="connsiteY185" fmla="*/ 2862262 h 4410075"/>
                  <a:gd name="connsiteX186" fmla="*/ 6905625 w 8801100"/>
                  <a:gd name="connsiteY186" fmla="*/ 2919413 h 4410075"/>
                  <a:gd name="connsiteX187" fmla="*/ 6981825 w 8801100"/>
                  <a:gd name="connsiteY187" fmla="*/ 2943225 h 4410075"/>
                  <a:gd name="connsiteX188" fmla="*/ 7186612 w 8801100"/>
                  <a:gd name="connsiteY188" fmla="*/ 2947988 h 4410075"/>
                  <a:gd name="connsiteX189" fmla="*/ 7362825 w 8801100"/>
                  <a:gd name="connsiteY189" fmla="*/ 2809875 h 4410075"/>
                  <a:gd name="connsiteX190" fmla="*/ 7419975 w 8801100"/>
                  <a:gd name="connsiteY190" fmla="*/ 2719387 h 4410075"/>
                  <a:gd name="connsiteX191" fmla="*/ 7446169 w 8801100"/>
                  <a:gd name="connsiteY191" fmla="*/ 2636044 h 4410075"/>
                  <a:gd name="connsiteX192" fmla="*/ 7577137 w 8801100"/>
                  <a:gd name="connsiteY192" fmla="*/ 2636044 h 4410075"/>
                  <a:gd name="connsiteX193" fmla="*/ 7750969 w 8801100"/>
                  <a:gd name="connsiteY193" fmla="*/ 2578893 h 4410075"/>
                  <a:gd name="connsiteX194" fmla="*/ 7810500 w 8801100"/>
                  <a:gd name="connsiteY194" fmla="*/ 2466975 h 4410075"/>
                  <a:gd name="connsiteX195" fmla="*/ 7874794 w 8801100"/>
                  <a:gd name="connsiteY195" fmla="*/ 2431256 h 4410075"/>
                  <a:gd name="connsiteX196" fmla="*/ 7853363 w 8801100"/>
                  <a:gd name="connsiteY196" fmla="*/ 2386013 h 4410075"/>
                  <a:gd name="connsiteX197" fmla="*/ 7931944 w 8801100"/>
                  <a:gd name="connsiteY197" fmla="*/ 2216943 h 4410075"/>
                  <a:gd name="connsiteX198" fmla="*/ 7986713 w 8801100"/>
                  <a:gd name="connsiteY198" fmla="*/ 2157413 h 4410075"/>
                  <a:gd name="connsiteX199" fmla="*/ 8024813 w 8801100"/>
                  <a:gd name="connsiteY199" fmla="*/ 2152650 h 4410075"/>
                  <a:gd name="connsiteX200" fmla="*/ 8070056 w 8801100"/>
                  <a:gd name="connsiteY200" fmla="*/ 2157413 h 4410075"/>
                  <a:gd name="connsiteX201" fmla="*/ 8134350 w 8801100"/>
                  <a:gd name="connsiteY201" fmla="*/ 2124075 h 4410075"/>
                  <a:gd name="connsiteX202" fmla="*/ 8143875 w 8801100"/>
                  <a:gd name="connsiteY202" fmla="*/ 2059781 h 4410075"/>
                  <a:gd name="connsiteX203" fmla="*/ 8184355 w 8801100"/>
                  <a:gd name="connsiteY203" fmla="*/ 2024063 h 4410075"/>
                  <a:gd name="connsiteX204" fmla="*/ 8243888 w 8801100"/>
                  <a:gd name="connsiteY204" fmla="*/ 2064543 h 4410075"/>
                  <a:gd name="connsiteX205" fmla="*/ 8270082 w 8801100"/>
                  <a:gd name="connsiteY205" fmla="*/ 2014537 h 4410075"/>
                  <a:gd name="connsiteX206" fmla="*/ 8365331 w 8801100"/>
                  <a:gd name="connsiteY206" fmla="*/ 1945481 h 4410075"/>
                  <a:gd name="connsiteX207" fmla="*/ 8427244 w 8801100"/>
                  <a:gd name="connsiteY207" fmla="*/ 1952625 h 4410075"/>
                  <a:gd name="connsiteX208" fmla="*/ 8477250 w 8801100"/>
                  <a:gd name="connsiteY208" fmla="*/ 1933575 h 4410075"/>
                  <a:gd name="connsiteX209" fmla="*/ 8515350 w 8801100"/>
                  <a:gd name="connsiteY209" fmla="*/ 1905000 h 4410075"/>
                  <a:gd name="connsiteX210" fmla="*/ 8548688 w 8801100"/>
                  <a:gd name="connsiteY210" fmla="*/ 1902619 h 4410075"/>
                  <a:gd name="connsiteX211" fmla="*/ 8584406 w 8801100"/>
                  <a:gd name="connsiteY211" fmla="*/ 1933575 h 4410075"/>
                  <a:gd name="connsiteX212" fmla="*/ 8643938 w 8801100"/>
                  <a:gd name="connsiteY212" fmla="*/ 1933575 h 4410075"/>
                  <a:gd name="connsiteX213" fmla="*/ 8682037 w 8801100"/>
                  <a:gd name="connsiteY213" fmla="*/ 1914525 h 4410075"/>
                  <a:gd name="connsiteX214" fmla="*/ 8765381 w 8801100"/>
                  <a:gd name="connsiteY214" fmla="*/ 1916907 h 4410075"/>
                  <a:gd name="connsiteX215" fmla="*/ 8796338 w 8801100"/>
                  <a:gd name="connsiteY215" fmla="*/ 1871663 h 4410075"/>
                  <a:gd name="connsiteX216" fmla="*/ 8801100 w 8801100"/>
                  <a:gd name="connsiteY216" fmla="*/ 1809750 h 4410075"/>
                  <a:gd name="connsiteX217" fmla="*/ 8751093 w 8801100"/>
                  <a:gd name="connsiteY217" fmla="*/ 1769269 h 4410075"/>
                  <a:gd name="connsiteX218" fmla="*/ 8734425 w 8801100"/>
                  <a:gd name="connsiteY218" fmla="*/ 1714500 h 4410075"/>
                  <a:gd name="connsiteX219" fmla="*/ 8643938 w 8801100"/>
                  <a:gd name="connsiteY219" fmla="*/ 1652588 h 4410075"/>
                  <a:gd name="connsiteX220" fmla="*/ 8603456 w 8801100"/>
                  <a:gd name="connsiteY220" fmla="*/ 1631156 h 4410075"/>
                  <a:gd name="connsiteX221" fmla="*/ 8565356 w 8801100"/>
                  <a:gd name="connsiteY221" fmla="*/ 1585913 h 4410075"/>
                  <a:gd name="connsiteX222" fmla="*/ 8534400 w 8801100"/>
                  <a:gd name="connsiteY222" fmla="*/ 1583531 h 4410075"/>
                  <a:gd name="connsiteX223" fmla="*/ 8517731 w 8801100"/>
                  <a:gd name="connsiteY223" fmla="*/ 1531144 h 4410075"/>
                  <a:gd name="connsiteX224" fmla="*/ 8477250 w 8801100"/>
                  <a:gd name="connsiteY224" fmla="*/ 1514475 h 4410075"/>
                  <a:gd name="connsiteX225" fmla="*/ 8477250 w 8801100"/>
                  <a:gd name="connsiteY225" fmla="*/ 1514475 h 4410075"/>
                  <a:gd name="connsiteX226" fmla="*/ 8436769 w 8801100"/>
                  <a:gd name="connsiteY226" fmla="*/ 1519238 h 4410075"/>
                  <a:gd name="connsiteX227" fmla="*/ 8351043 w 8801100"/>
                  <a:gd name="connsiteY227" fmla="*/ 1445419 h 4410075"/>
                  <a:gd name="connsiteX228" fmla="*/ 8170069 w 8801100"/>
                  <a:gd name="connsiteY228" fmla="*/ 1445418 h 4410075"/>
                  <a:gd name="connsiteX229" fmla="*/ 8117681 w 8801100"/>
                  <a:gd name="connsiteY229" fmla="*/ 1483519 h 4410075"/>
                  <a:gd name="connsiteX230" fmla="*/ 8067675 w 8801100"/>
                  <a:gd name="connsiteY230" fmla="*/ 1562100 h 4410075"/>
                  <a:gd name="connsiteX231" fmla="*/ 8084344 w 8801100"/>
                  <a:gd name="connsiteY231" fmla="*/ 1583531 h 4410075"/>
                  <a:gd name="connsiteX232" fmla="*/ 8039100 w 8801100"/>
                  <a:gd name="connsiteY232" fmla="*/ 1633537 h 4410075"/>
                  <a:gd name="connsiteX233" fmla="*/ 7889081 w 8801100"/>
                  <a:gd name="connsiteY233" fmla="*/ 1557337 h 4410075"/>
                  <a:gd name="connsiteX234" fmla="*/ 7798594 w 8801100"/>
                  <a:gd name="connsiteY234" fmla="*/ 1593056 h 4410075"/>
                  <a:gd name="connsiteX235" fmla="*/ 7724775 w 8801100"/>
                  <a:gd name="connsiteY235" fmla="*/ 1590675 h 4410075"/>
                  <a:gd name="connsiteX236" fmla="*/ 7667625 w 8801100"/>
                  <a:gd name="connsiteY236" fmla="*/ 1685925 h 4410075"/>
                  <a:gd name="connsiteX237" fmla="*/ 7529513 w 8801100"/>
                  <a:gd name="connsiteY237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300413 w 8801100"/>
                  <a:gd name="connsiteY148" fmla="*/ 3940968 h 4410075"/>
                  <a:gd name="connsiteX149" fmla="*/ 3355181 w 8801100"/>
                  <a:gd name="connsiteY149" fmla="*/ 3917157 h 4410075"/>
                  <a:gd name="connsiteX150" fmla="*/ 3748087 w 8801100"/>
                  <a:gd name="connsiteY150" fmla="*/ 4007644 h 4410075"/>
                  <a:gd name="connsiteX151" fmla="*/ 3831432 w 8801100"/>
                  <a:gd name="connsiteY151" fmla="*/ 4105275 h 4410075"/>
                  <a:gd name="connsiteX152" fmla="*/ 3950494 w 8801100"/>
                  <a:gd name="connsiteY152" fmla="*/ 4176713 h 4410075"/>
                  <a:gd name="connsiteX153" fmla="*/ 4010025 w 8801100"/>
                  <a:gd name="connsiteY153" fmla="*/ 4160044 h 4410075"/>
                  <a:gd name="connsiteX154" fmla="*/ 4360068 w 8801100"/>
                  <a:gd name="connsiteY154" fmla="*/ 4333875 h 4410075"/>
                  <a:gd name="connsiteX155" fmla="*/ 4586288 w 8801100"/>
                  <a:gd name="connsiteY155" fmla="*/ 4305300 h 4410075"/>
                  <a:gd name="connsiteX156" fmla="*/ 4595813 w 8801100"/>
                  <a:gd name="connsiteY156" fmla="*/ 4383881 h 4410075"/>
                  <a:gd name="connsiteX157" fmla="*/ 4681538 w 8801100"/>
                  <a:gd name="connsiteY157" fmla="*/ 4379118 h 4410075"/>
                  <a:gd name="connsiteX158" fmla="*/ 4760119 w 8801100"/>
                  <a:gd name="connsiteY158" fmla="*/ 4410075 h 4410075"/>
                  <a:gd name="connsiteX159" fmla="*/ 4802981 w 8801100"/>
                  <a:gd name="connsiteY159" fmla="*/ 4350544 h 4410075"/>
                  <a:gd name="connsiteX160" fmla="*/ 5474494 w 8801100"/>
                  <a:gd name="connsiteY160" fmla="*/ 4031456 h 4410075"/>
                  <a:gd name="connsiteX161" fmla="*/ 5562600 w 8801100"/>
                  <a:gd name="connsiteY161" fmla="*/ 4060032 h 4410075"/>
                  <a:gd name="connsiteX162" fmla="*/ 5693569 w 8801100"/>
                  <a:gd name="connsiteY162" fmla="*/ 4031456 h 4410075"/>
                  <a:gd name="connsiteX163" fmla="*/ 5872162 w 8801100"/>
                  <a:gd name="connsiteY163" fmla="*/ 4048125 h 4410075"/>
                  <a:gd name="connsiteX164" fmla="*/ 5929313 w 8801100"/>
                  <a:gd name="connsiteY164" fmla="*/ 4021932 h 4410075"/>
                  <a:gd name="connsiteX165" fmla="*/ 6062662 w 8801100"/>
                  <a:gd name="connsiteY165" fmla="*/ 4019550 h 4410075"/>
                  <a:gd name="connsiteX166" fmla="*/ 6196012 w 8801100"/>
                  <a:gd name="connsiteY166" fmla="*/ 3921919 h 4410075"/>
                  <a:gd name="connsiteX167" fmla="*/ 6262687 w 8801100"/>
                  <a:gd name="connsiteY167" fmla="*/ 3914775 h 4410075"/>
                  <a:gd name="connsiteX168" fmla="*/ 6360319 w 8801100"/>
                  <a:gd name="connsiteY168" fmla="*/ 3840956 h 4410075"/>
                  <a:gd name="connsiteX169" fmla="*/ 6434138 w 8801100"/>
                  <a:gd name="connsiteY169" fmla="*/ 3771900 h 4410075"/>
                  <a:gd name="connsiteX170" fmla="*/ 6443663 w 8801100"/>
                  <a:gd name="connsiteY170" fmla="*/ 3709988 h 4410075"/>
                  <a:gd name="connsiteX171" fmla="*/ 6477000 w 8801100"/>
                  <a:gd name="connsiteY171" fmla="*/ 3640931 h 4410075"/>
                  <a:gd name="connsiteX172" fmla="*/ 6629400 w 8801100"/>
                  <a:gd name="connsiteY172" fmla="*/ 3533775 h 4410075"/>
                  <a:gd name="connsiteX173" fmla="*/ 6662738 w 8801100"/>
                  <a:gd name="connsiteY173" fmla="*/ 3538538 h 4410075"/>
                  <a:gd name="connsiteX174" fmla="*/ 6715125 w 8801100"/>
                  <a:gd name="connsiteY174" fmla="*/ 3459956 h 4410075"/>
                  <a:gd name="connsiteX175" fmla="*/ 6762750 w 8801100"/>
                  <a:gd name="connsiteY175" fmla="*/ 3421856 h 4410075"/>
                  <a:gd name="connsiteX176" fmla="*/ 6748463 w 8801100"/>
                  <a:gd name="connsiteY176" fmla="*/ 3352800 h 4410075"/>
                  <a:gd name="connsiteX177" fmla="*/ 6698456 w 8801100"/>
                  <a:gd name="connsiteY177" fmla="*/ 3321843 h 4410075"/>
                  <a:gd name="connsiteX178" fmla="*/ 6638925 w 8801100"/>
                  <a:gd name="connsiteY178" fmla="*/ 3267075 h 4410075"/>
                  <a:gd name="connsiteX179" fmla="*/ 6619875 w 8801100"/>
                  <a:gd name="connsiteY179" fmla="*/ 3209925 h 4410075"/>
                  <a:gd name="connsiteX180" fmla="*/ 6584156 w 8801100"/>
                  <a:gd name="connsiteY180" fmla="*/ 3176588 h 4410075"/>
                  <a:gd name="connsiteX181" fmla="*/ 6610350 w 8801100"/>
                  <a:gd name="connsiteY181" fmla="*/ 3124200 h 4410075"/>
                  <a:gd name="connsiteX182" fmla="*/ 6650831 w 8801100"/>
                  <a:gd name="connsiteY182" fmla="*/ 2945606 h 4410075"/>
                  <a:gd name="connsiteX183" fmla="*/ 6691313 w 8801100"/>
                  <a:gd name="connsiteY183" fmla="*/ 2878931 h 4410075"/>
                  <a:gd name="connsiteX184" fmla="*/ 6836569 w 8801100"/>
                  <a:gd name="connsiteY184" fmla="*/ 2862262 h 4410075"/>
                  <a:gd name="connsiteX185" fmla="*/ 6905625 w 8801100"/>
                  <a:gd name="connsiteY185" fmla="*/ 2919413 h 4410075"/>
                  <a:gd name="connsiteX186" fmla="*/ 6981825 w 8801100"/>
                  <a:gd name="connsiteY186" fmla="*/ 2943225 h 4410075"/>
                  <a:gd name="connsiteX187" fmla="*/ 7186612 w 8801100"/>
                  <a:gd name="connsiteY187" fmla="*/ 2947988 h 4410075"/>
                  <a:gd name="connsiteX188" fmla="*/ 7362825 w 8801100"/>
                  <a:gd name="connsiteY188" fmla="*/ 2809875 h 4410075"/>
                  <a:gd name="connsiteX189" fmla="*/ 7419975 w 8801100"/>
                  <a:gd name="connsiteY189" fmla="*/ 2719387 h 4410075"/>
                  <a:gd name="connsiteX190" fmla="*/ 7446169 w 8801100"/>
                  <a:gd name="connsiteY190" fmla="*/ 2636044 h 4410075"/>
                  <a:gd name="connsiteX191" fmla="*/ 7577137 w 8801100"/>
                  <a:gd name="connsiteY191" fmla="*/ 2636044 h 4410075"/>
                  <a:gd name="connsiteX192" fmla="*/ 7750969 w 8801100"/>
                  <a:gd name="connsiteY192" fmla="*/ 2578893 h 4410075"/>
                  <a:gd name="connsiteX193" fmla="*/ 7810500 w 8801100"/>
                  <a:gd name="connsiteY193" fmla="*/ 2466975 h 4410075"/>
                  <a:gd name="connsiteX194" fmla="*/ 7874794 w 8801100"/>
                  <a:gd name="connsiteY194" fmla="*/ 2431256 h 4410075"/>
                  <a:gd name="connsiteX195" fmla="*/ 7853363 w 8801100"/>
                  <a:gd name="connsiteY195" fmla="*/ 2386013 h 4410075"/>
                  <a:gd name="connsiteX196" fmla="*/ 7931944 w 8801100"/>
                  <a:gd name="connsiteY196" fmla="*/ 2216943 h 4410075"/>
                  <a:gd name="connsiteX197" fmla="*/ 7986713 w 8801100"/>
                  <a:gd name="connsiteY197" fmla="*/ 2157413 h 4410075"/>
                  <a:gd name="connsiteX198" fmla="*/ 8024813 w 8801100"/>
                  <a:gd name="connsiteY198" fmla="*/ 2152650 h 4410075"/>
                  <a:gd name="connsiteX199" fmla="*/ 8070056 w 8801100"/>
                  <a:gd name="connsiteY199" fmla="*/ 2157413 h 4410075"/>
                  <a:gd name="connsiteX200" fmla="*/ 8134350 w 8801100"/>
                  <a:gd name="connsiteY200" fmla="*/ 2124075 h 4410075"/>
                  <a:gd name="connsiteX201" fmla="*/ 8143875 w 8801100"/>
                  <a:gd name="connsiteY201" fmla="*/ 2059781 h 4410075"/>
                  <a:gd name="connsiteX202" fmla="*/ 8184355 w 8801100"/>
                  <a:gd name="connsiteY202" fmla="*/ 2024063 h 4410075"/>
                  <a:gd name="connsiteX203" fmla="*/ 8243888 w 8801100"/>
                  <a:gd name="connsiteY203" fmla="*/ 2064543 h 4410075"/>
                  <a:gd name="connsiteX204" fmla="*/ 8270082 w 8801100"/>
                  <a:gd name="connsiteY204" fmla="*/ 2014537 h 4410075"/>
                  <a:gd name="connsiteX205" fmla="*/ 8365331 w 8801100"/>
                  <a:gd name="connsiteY205" fmla="*/ 1945481 h 4410075"/>
                  <a:gd name="connsiteX206" fmla="*/ 8427244 w 8801100"/>
                  <a:gd name="connsiteY206" fmla="*/ 1952625 h 4410075"/>
                  <a:gd name="connsiteX207" fmla="*/ 8477250 w 8801100"/>
                  <a:gd name="connsiteY207" fmla="*/ 1933575 h 4410075"/>
                  <a:gd name="connsiteX208" fmla="*/ 8515350 w 8801100"/>
                  <a:gd name="connsiteY208" fmla="*/ 1905000 h 4410075"/>
                  <a:gd name="connsiteX209" fmla="*/ 8548688 w 8801100"/>
                  <a:gd name="connsiteY209" fmla="*/ 1902619 h 4410075"/>
                  <a:gd name="connsiteX210" fmla="*/ 8584406 w 8801100"/>
                  <a:gd name="connsiteY210" fmla="*/ 1933575 h 4410075"/>
                  <a:gd name="connsiteX211" fmla="*/ 8643938 w 8801100"/>
                  <a:gd name="connsiteY211" fmla="*/ 1933575 h 4410075"/>
                  <a:gd name="connsiteX212" fmla="*/ 8682037 w 8801100"/>
                  <a:gd name="connsiteY212" fmla="*/ 1914525 h 4410075"/>
                  <a:gd name="connsiteX213" fmla="*/ 8765381 w 8801100"/>
                  <a:gd name="connsiteY213" fmla="*/ 1916907 h 4410075"/>
                  <a:gd name="connsiteX214" fmla="*/ 8796338 w 8801100"/>
                  <a:gd name="connsiteY214" fmla="*/ 1871663 h 4410075"/>
                  <a:gd name="connsiteX215" fmla="*/ 8801100 w 8801100"/>
                  <a:gd name="connsiteY215" fmla="*/ 1809750 h 4410075"/>
                  <a:gd name="connsiteX216" fmla="*/ 8751093 w 8801100"/>
                  <a:gd name="connsiteY216" fmla="*/ 1769269 h 4410075"/>
                  <a:gd name="connsiteX217" fmla="*/ 8734425 w 8801100"/>
                  <a:gd name="connsiteY217" fmla="*/ 1714500 h 4410075"/>
                  <a:gd name="connsiteX218" fmla="*/ 8643938 w 8801100"/>
                  <a:gd name="connsiteY218" fmla="*/ 1652588 h 4410075"/>
                  <a:gd name="connsiteX219" fmla="*/ 8603456 w 8801100"/>
                  <a:gd name="connsiteY219" fmla="*/ 1631156 h 4410075"/>
                  <a:gd name="connsiteX220" fmla="*/ 8565356 w 8801100"/>
                  <a:gd name="connsiteY220" fmla="*/ 1585913 h 4410075"/>
                  <a:gd name="connsiteX221" fmla="*/ 8534400 w 8801100"/>
                  <a:gd name="connsiteY221" fmla="*/ 1583531 h 4410075"/>
                  <a:gd name="connsiteX222" fmla="*/ 8517731 w 8801100"/>
                  <a:gd name="connsiteY222" fmla="*/ 1531144 h 4410075"/>
                  <a:gd name="connsiteX223" fmla="*/ 8477250 w 8801100"/>
                  <a:gd name="connsiteY223" fmla="*/ 1514475 h 4410075"/>
                  <a:gd name="connsiteX224" fmla="*/ 8477250 w 8801100"/>
                  <a:gd name="connsiteY224" fmla="*/ 1514475 h 4410075"/>
                  <a:gd name="connsiteX225" fmla="*/ 8436769 w 8801100"/>
                  <a:gd name="connsiteY225" fmla="*/ 1519238 h 4410075"/>
                  <a:gd name="connsiteX226" fmla="*/ 8351043 w 8801100"/>
                  <a:gd name="connsiteY226" fmla="*/ 1445419 h 4410075"/>
                  <a:gd name="connsiteX227" fmla="*/ 8170069 w 8801100"/>
                  <a:gd name="connsiteY227" fmla="*/ 1445418 h 4410075"/>
                  <a:gd name="connsiteX228" fmla="*/ 8117681 w 8801100"/>
                  <a:gd name="connsiteY228" fmla="*/ 1483519 h 4410075"/>
                  <a:gd name="connsiteX229" fmla="*/ 8067675 w 8801100"/>
                  <a:gd name="connsiteY229" fmla="*/ 1562100 h 4410075"/>
                  <a:gd name="connsiteX230" fmla="*/ 8084344 w 8801100"/>
                  <a:gd name="connsiteY230" fmla="*/ 1583531 h 4410075"/>
                  <a:gd name="connsiteX231" fmla="*/ 8039100 w 8801100"/>
                  <a:gd name="connsiteY231" fmla="*/ 1633537 h 4410075"/>
                  <a:gd name="connsiteX232" fmla="*/ 7889081 w 8801100"/>
                  <a:gd name="connsiteY232" fmla="*/ 1557337 h 4410075"/>
                  <a:gd name="connsiteX233" fmla="*/ 7798594 w 8801100"/>
                  <a:gd name="connsiteY233" fmla="*/ 1593056 h 4410075"/>
                  <a:gd name="connsiteX234" fmla="*/ 7724775 w 8801100"/>
                  <a:gd name="connsiteY234" fmla="*/ 1590675 h 4410075"/>
                  <a:gd name="connsiteX235" fmla="*/ 7667625 w 8801100"/>
                  <a:gd name="connsiteY235" fmla="*/ 1685925 h 4410075"/>
                  <a:gd name="connsiteX236" fmla="*/ 7529513 w 8801100"/>
                  <a:gd name="connsiteY236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355181 w 8801100"/>
                  <a:gd name="connsiteY148" fmla="*/ 3917157 h 4410075"/>
                  <a:gd name="connsiteX149" fmla="*/ 3748087 w 8801100"/>
                  <a:gd name="connsiteY149" fmla="*/ 4007644 h 4410075"/>
                  <a:gd name="connsiteX150" fmla="*/ 3831432 w 8801100"/>
                  <a:gd name="connsiteY150" fmla="*/ 4105275 h 4410075"/>
                  <a:gd name="connsiteX151" fmla="*/ 3950494 w 8801100"/>
                  <a:gd name="connsiteY151" fmla="*/ 4176713 h 4410075"/>
                  <a:gd name="connsiteX152" fmla="*/ 4010025 w 8801100"/>
                  <a:gd name="connsiteY152" fmla="*/ 4160044 h 4410075"/>
                  <a:gd name="connsiteX153" fmla="*/ 4360068 w 8801100"/>
                  <a:gd name="connsiteY153" fmla="*/ 4333875 h 4410075"/>
                  <a:gd name="connsiteX154" fmla="*/ 4586288 w 8801100"/>
                  <a:gd name="connsiteY154" fmla="*/ 4305300 h 4410075"/>
                  <a:gd name="connsiteX155" fmla="*/ 4595813 w 8801100"/>
                  <a:gd name="connsiteY155" fmla="*/ 4383881 h 4410075"/>
                  <a:gd name="connsiteX156" fmla="*/ 4681538 w 8801100"/>
                  <a:gd name="connsiteY156" fmla="*/ 4379118 h 4410075"/>
                  <a:gd name="connsiteX157" fmla="*/ 4760119 w 8801100"/>
                  <a:gd name="connsiteY157" fmla="*/ 4410075 h 4410075"/>
                  <a:gd name="connsiteX158" fmla="*/ 4802981 w 8801100"/>
                  <a:gd name="connsiteY158" fmla="*/ 4350544 h 4410075"/>
                  <a:gd name="connsiteX159" fmla="*/ 5474494 w 8801100"/>
                  <a:gd name="connsiteY159" fmla="*/ 4031456 h 4410075"/>
                  <a:gd name="connsiteX160" fmla="*/ 5562600 w 8801100"/>
                  <a:gd name="connsiteY160" fmla="*/ 4060032 h 4410075"/>
                  <a:gd name="connsiteX161" fmla="*/ 5693569 w 8801100"/>
                  <a:gd name="connsiteY161" fmla="*/ 4031456 h 4410075"/>
                  <a:gd name="connsiteX162" fmla="*/ 5872162 w 8801100"/>
                  <a:gd name="connsiteY162" fmla="*/ 4048125 h 4410075"/>
                  <a:gd name="connsiteX163" fmla="*/ 5929313 w 8801100"/>
                  <a:gd name="connsiteY163" fmla="*/ 4021932 h 4410075"/>
                  <a:gd name="connsiteX164" fmla="*/ 6062662 w 8801100"/>
                  <a:gd name="connsiteY164" fmla="*/ 4019550 h 4410075"/>
                  <a:gd name="connsiteX165" fmla="*/ 6196012 w 8801100"/>
                  <a:gd name="connsiteY165" fmla="*/ 3921919 h 4410075"/>
                  <a:gd name="connsiteX166" fmla="*/ 6262687 w 8801100"/>
                  <a:gd name="connsiteY166" fmla="*/ 3914775 h 4410075"/>
                  <a:gd name="connsiteX167" fmla="*/ 6360319 w 8801100"/>
                  <a:gd name="connsiteY167" fmla="*/ 3840956 h 4410075"/>
                  <a:gd name="connsiteX168" fmla="*/ 6434138 w 8801100"/>
                  <a:gd name="connsiteY168" fmla="*/ 3771900 h 4410075"/>
                  <a:gd name="connsiteX169" fmla="*/ 6443663 w 8801100"/>
                  <a:gd name="connsiteY169" fmla="*/ 3709988 h 4410075"/>
                  <a:gd name="connsiteX170" fmla="*/ 6477000 w 8801100"/>
                  <a:gd name="connsiteY170" fmla="*/ 3640931 h 4410075"/>
                  <a:gd name="connsiteX171" fmla="*/ 6629400 w 8801100"/>
                  <a:gd name="connsiteY171" fmla="*/ 3533775 h 4410075"/>
                  <a:gd name="connsiteX172" fmla="*/ 6662738 w 8801100"/>
                  <a:gd name="connsiteY172" fmla="*/ 3538538 h 4410075"/>
                  <a:gd name="connsiteX173" fmla="*/ 6715125 w 8801100"/>
                  <a:gd name="connsiteY173" fmla="*/ 3459956 h 4410075"/>
                  <a:gd name="connsiteX174" fmla="*/ 6762750 w 8801100"/>
                  <a:gd name="connsiteY174" fmla="*/ 3421856 h 4410075"/>
                  <a:gd name="connsiteX175" fmla="*/ 6748463 w 8801100"/>
                  <a:gd name="connsiteY175" fmla="*/ 3352800 h 4410075"/>
                  <a:gd name="connsiteX176" fmla="*/ 6698456 w 8801100"/>
                  <a:gd name="connsiteY176" fmla="*/ 3321843 h 4410075"/>
                  <a:gd name="connsiteX177" fmla="*/ 6638925 w 8801100"/>
                  <a:gd name="connsiteY177" fmla="*/ 3267075 h 4410075"/>
                  <a:gd name="connsiteX178" fmla="*/ 6619875 w 8801100"/>
                  <a:gd name="connsiteY178" fmla="*/ 3209925 h 4410075"/>
                  <a:gd name="connsiteX179" fmla="*/ 6584156 w 8801100"/>
                  <a:gd name="connsiteY179" fmla="*/ 3176588 h 4410075"/>
                  <a:gd name="connsiteX180" fmla="*/ 6610350 w 8801100"/>
                  <a:gd name="connsiteY180" fmla="*/ 3124200 h 4410075"/>
                  <a:gd name="connsiteX181" fmla="*/ 6650831 w 8801100"/>
                  <a:gd name="connsiteY181" fmla="*/ 2945606 h 4410075"/>
                  <a:gd name="connsiteX182" fmla="*/ 6691313 w 8801100"/>
                  <a:gd name="connsiteY182" fmla="*/ 2878931 h 4410075"/>
                  <a:gd name="connsiteX183" fmla="*/ 6836569 w 8801100"/>
                  <a:gd name="connsiteY183" fmla="*/ 2862262 h 4410075"/>
                  <a:gd name="connsiteX184" fmla="*/ 6905625 w 8801100"/>
                  <a:gd name="connsiteY184" fmla="*/ 2919413 h 4410075"/>
                  <a:gd name="connsiteX185" fmla="*/ 6981825 w 8801100"/>
                  <a:gd name="connsiteY185" fmla="*/ 2943225 h 4410075"/>
                  <a:gd name="connsiteX186" fmla="*/ 7186612 w 8801100"/>
                  <a:gd name="connsiteY186" fmla="*/ 2947988 h 4410075"/>
                  <a:gd name="connsiteX187" fmla="*/ 7362825 w 8801100"/>
                  <a:gd name="connsiteY187" fmla="*/ 2809875 h 4410075"/>
                  <a:gd name="connsiteX188" fmla="*/ 7419975 w 8801100"/>
                  <a:gd name="connsiteY188" fmla="*/ 2719387 h 4410075"/>
                  <a:gd name="connsiteX189" fmla="*/ 7446169 w 8801100"/>
                  <a:gd name="connsiteY189" fmla="*/ 2636044 h 4410075"/>
                  <a:gd name="connsiteX190" fmla="*/ 7577137 w 8801100"/>
                  <a:gd name="connsiteY190" fmla="*/ 2636044 h 4410075"/>
                  <a:gd name="connsiteX191" fmla="*/ 7750969 w 8801100"/>
                  <a:gd name="connsiteY191" fmla="*/ 2578893 h 4410075"/>
                  <a:gd name="connsiteX192" fmla="*/ 7810500 w 8801100"/>
                  <a:gd name="connsiteY192" fmla="*/ 2466975 h 4410075"/>
                  <a:gd name="connsiteX193" fmla="*/ 7874794 w 8801100"/>
                  <a:gd name="connsiteY193" fmla="*/ 2431256 h 4410075"/>
                  <a:gd name="connsiteX194" fmla="*/ 7853363 w 8801100"/>
                  <a:gd name="connsiteY194" fmla="*/ 2386013 h 4410075"/>
                  <a:gd name="connsiteX195" fmla="*/ 7931944 w 8801100"/>
                  <a:gd name="connsiteY195" fmla="*/ 2216943 h 4410075"/>
                  <a:gd name="connsiteX196" fmla="*/ 7986713 w 8801100"/>
                  <a:gd name="connsiteY196" fmla="*/ 2157413 h 4410075"/>
                  <a:gd name="connsiteX197" fmla="*/ 8024813 w 8801100"/>
                  <a:gd name="connsiteY197" fmla="*/ 2152650 h 4410075"/>
                  <a:gd name="connsiteX198" fmla="*/ 8070056 w 8801100"/>
                  <a:gd name="connsiteY198" fmla="*/ 2157413 h 4410075"/>
                  <a:gd name="connsiteX199" fmla="*/ 8134350 w 8801100"/>
                  <a:gd name="connsiteY199" fmla="*/ 2124075 h 4410075"/>
                  <a:gd name="connsiteX200" fmla="*/ 8143875 w 8801100"/>
                  <a:gd name="connsiteY200" fmla="*/ 2059781 h 4410075"/>
                  <a:gd name="connsiteX201" fmla="*/ 8184355 w 8801100"/>
                  <a:gd name="connsiteY201" fmla="*/ 2024063 h 4410075"/>
                  <a:gd name="connsiteX202" fmla="*/ 8243888 w 8801100"/>
                  <a:gd name="connsiteY202" fmla="*/ 2064543 h 4410075"/>
                  <a:gd name="connsiteX203" fmla="*/ 8270082 w 8801100"/>
                  <a:gd name="connsiteY203" fmla="*/ 2014537 h 4410075"/>
                  <a:gd name="connsiteX204" fmla="*/ 8365331 w 8801100"/>
                  <a:gd name="connsiteY204" fmla="*/ 1945481 h 4410075"/>
                  <a:gd name="connsiteX205" fmla="*/ 8427244 w 8801100"/>
                  <a:gd name="connsiteY205" fmla="*/ 1952625 h 4410075"/>
                  <a:gd name="connsiteX206" fmla="*/ 8477250 w 8801100"/>
                  <a:gd name="connsiteY206" fmla="*/ 1933575 h 4410075"/>
                  <a:gd name="connsiteX207" fmla="*/ 8515350 w 8801100"/>
                  <a:gd name="connsiteY207" fmla="*/ 1905000 h 4410075"/>
                  <a:gd name="connsiteX208" fmla="*/ 8548688 w 8801100"/>
                  <a:gd name="connsiteY208" fmla="*/ 1902619 h 4410075"/>
                  <a:gd name="connsiteX209" fmla="*/ 8584406 w 8801100"/>
                  <a:gd name="connsiteY209" fmla="*/ 1933575 h 4410075"/>
                  <a:gd name="connsiteX210" fmla="*/ 8643938 w 8801100"/>
                  <a:gd name="connsiteY210" fmla="*/ 1933575 h 4410075"/>
                  <a:gd name="connsiteX211" fmla="*/ 8682037 w 8801100"/>
                  <a:gd name="connsiteY211" fmla="*/ 1914525 h 4410075"/>
                  <a:gd name="connsiteX212" fmla="*/ 8765381 w 8801100"/>
                  <a:gd name="connsiteY212" fmla="*/ 1916907 h 4410075"/>
                  <a:gd name="connsiteX213" fmla="*/ 8796338 w 8801100"/>
                  <a:gd name="connsiteY213" fmla="*/ 1871663 h 4410075"/>
                  <a:gd name="connsiteX214" fmla="*/ 8801100 w 8801100"/>
                  <a:gd name="connsiteY214" fmla="*/ 1809750 h 4410075"/>
                  <a:gd name="connsiteX215" fmla="*/ 8751093 w 8801100"/>
                  <a:gd name="connsiteY215" fmla="*/ 1769269 h 4410075"/>
                  <a:gd name="connsiteX216" fmla="*/ 8734425 w 8801100"/>
                  <a:gd name="connsiteY216" fmla="*/ 1714500 h 4410075"/>
                  <a:gd name="connsiteX217" fmla="*/ 8643938 w 8801100"/>
                  <a:gd name="connsiteY217" fmla="*/ 1652588 h 4410075"/>
                  <a:gd name="connsiteX218" fmla="*/ 8603456 w 8801100"/>
                  <a:gd name="connsiteY218" fmla="*/ 1631156 h 4410075"/>
                  <a:gd name="connsiteX219" fmla="*/ 8565356 w 8801100"/>
                  <a:gd name="connsiteY219" fmla="*/ 1585913 h 4410075"/>
                  <a:gd name="connsiteX220" fmla="*/ 8534400 w 8801100"/>
                  <a:gd name="connsiteY220" fmla="*/ 1583531 h 4410075"/>
                  <a:gd name="connsiteX221" fmla="*/ 8517731 w 8801100"/>
                  <a:gd name="connsiteY221" fmla="*/ 1531144 h 4410075"/>
                  <a:gd name="connsiteX222" fmla="*/ 8477250 w 8801100"/>
                  <a:gd name="connsiteY222" fmla="*/ 1514475 h 4410075"/>
                  <a:gd name="connsiteX223" fmla="*/ 8477250 w 8801100"/>
                  <a:gd name="connsiteY223" fmla="*/ 1514475 h 4410075"/>
                  <a:gd name="connsiteX224" fmla="*/ 8436769 w 8801100"/>
                  <a:gd name="connsiteY224" fmla="*/ 1519238 h 4410075"/>
                  <a:gd name="connsiteX225" fmla="*/ 8351043 w 8801100"/>
                  <a:gd name="connsiteY225" fmla="*/ 1445419 h 4410075"/>
                  <a:gd name="connsiteX226" fmla="*/ 8170069 w 8801100"/>
                  <a:gd name="connsiteY226" fmla="*/ 1445418 h 4410075"/>
                  <a:gd name="connsiteX227" fmla="*/ 8117681 w 8801100"/>
                  <a:gd name="connsiteY227" fmla="*/ 1483519 h 4410075"/>
                  <a:gd name="connsiteX228" fmla="*/ 8067675 w 8801100"/>
                  <a:gd name="connsiteY228" fmla="*/ 1562100 h 4410075"/>
                  <a:gd name="connsiteX229" fmla="*/ 8084344 w 8801100"/>
                  <a:gd name="connsiteY229" fmla="*/ 1583531 h 4410075"/>
                  <a:gd name="connsiteX230" fmla="*/ 8039100 w 8801100"/>
                  <a:gd name="connsiteY230" fmla="*/ 1633537 h 4410075"/>
                  <a:gd name="connsiteX231" fmla="*/ 7889081 w 8801100"/>
                  <a:gd name="connsiteY231" fmla="*/ 1557337 h 4410075"/>
                  <a:gd name="connsiteX232" fmla="*/ 7798594 w 8801100"/>
                  <a:gd name="connsiteY232" fmla="*/ 1593056 h 4410075"/>
                  <a:gd name="connsiteX233" fmla="*/ 7724775 w 8801100"/>
                  <a:gd name="connsiteY233" fmla="*/ 1590675 h 4410075"/>
                  <a:gd name="connsiteX234" fmla="*/ 7667625 w 8801100"/>
                  <a:gd name="connsiteY234" fmla="*/ 1685925 h 4410075"/>
                  <a:gd name="connsiteX235" fmla="*/ 7529513 w 8801100"/>
                  <a:gd name="connsiteY235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748087 w 8801100"/>
                  <a:gd name="connsiteY148" fmla="*/ 4007644 h 4410075"/>
                  <a:gd name="connsiteX149" fmla="*/ 3831432 w 8801100"/>
                  <a:gd name="connsiteY149" fmla="*/ 4105275 h 4410075"/>
                  <a:gd name="connsiteX150" fmla="*/ 3950494 w 8801100"/>
                  <a:gd name="connsiteY150" fmla="*/ 4176713 h 4410075"/>
                  <a:gd name="connsiteX151" fmla="*/ 4010025 w 8801100"/>
                  <a:gd name="connsiteY151" fmla="*/ 4160044 h 4410075"/>
                  <a:gd name="connsiteX152" fmla="*/ 4360068 w 8801100"/>
                  <a:gd name="connsiteY152" fmla="*/ 4333875 h 4410075"/>
                  <a:gd name="connsiteX153" fmla="*/ 4586288 w 8801100"/>
                  <a:gd name="connsiteY153" fmla="*/ 4305300 h 4410075"/>
                  <a:gd name="connsiteX154" fmla="*/ 4595813 w 8801100"/>
                  <a:gd name="connsiteY154" fmla="*/ 4383881 h 4410075"/>
                  <a:gd name="connsiteX155" fmla="*/ 4681538 w 8801100"/>
                  <a:gd name="connsiteY155" fmla="*/ 4379118 h 4410075"/>
                  <a:gd name="connsiteX156" fmla="*/ 4760119 w 8801100"/>
                  <a:gd name="connsiteY156" fmla="*/ 4410075 h 4410075"/>
                  <a:gd name="connsiteX157" fmla="*/ 4802981 w 8801100"/>
                  <a:gd name="connsiteY157" fmla="*/ 4350544 h 4410075"/>
                  <a:gd name="connsiteX158" fmla="*/ 5474494 w 8801100"/>
                  <a:gd name="connsiteY158" fmla="*/ 4031456 h 4410075"/>
                  <a:gd name="connsiteX159" fmla="*/ 5562600 w 8801100"/>
                  <a:gd name="connsiteY159" fmla="*/ 4060032 h 4410075"/>
                  <a:gd name="connsiteX160" fmla="*/ 5693569 w 8801100"/>
                  <a:gd name="connsiteY160" fmla="*/ 4031456 h 4410075"/>
                  <a:gd name="connsiteX161" fmla="*/ 5872162 w 8801100"/>
                  <a:gd name="connsiteY161" fmla="*/ 4048125 h 4410075"/>
                  <a:gd name="connsiteX162" fmla="*/ 5929313 w 8801100"/>
                  <a:gd name="connsiteY162" fmla="*/ 4021932 h 4410075"/>
                  <a:gd name="connsiteX163" fmla="*/ 6062662 w 8801100"/>
                  <a:gd name="connsiteY163" fmla="*/ 4019550 h 4410075"/>
                  <a:gd name="connsiteX164" fmla="*/ 6196012 w 8801100"/>
                  <a:gd name="connsiteY164" fmla="*/ 3921919 h 4410075"/>
                  <a:gd name="connsiteX165" fmla="*/ 6262687 w 8801100"/>
                  <a:gd name="connsiteY165" fmla="*/ 3914775 h 4410075"/>
                  <a:gd name="connsiteX166" fmla="*/ 6360319 w 8801100"/>
                  <a:gd name="connsiteY166" fmla="*/ 3840956 h 4410075"/>
                  <a:gd name="connsiteX167" fmla="*/ 6434138 w 8801100"/>
                  <a:gd name="connsiteY167" fmla="*/ 3771900 h 4410075"/>
                  <a:gd name="connsiteX168" fmla="*/ 6443663 w 8801100"/>
                  <a:gd name="connsiteY168" fmla="*/ 3709988 h 4410075"/>
                  <a:gd name="connsiteX169" fmla="*/ 6477000 w 8801100"/>
                  <a:gd name="connsiteY169" fmla="*/ 3640931 h 4410075"/>
                  <a:gd name="connsiteX170" fmla="*/ 6629400 w 8801100"/>
                  <a:gd name="connsiteY170" fmla="*/ 3533775 h 4410075"/>
                  <a:gd name="connsiteX171" fmla="*/ 6662738 w 8801100"/>
                  <a:gd name="connsiteY171" fmla="*/ 3538538 h 4410075"/>
                  <a:gd name="connsiteX172" fmla="*/ 6715125 w 8801100"/>
                  <a:gd name="connsiteY172" fmla="*/ 3459956 h 4410075"/>
                  <a:gd name="connsiteX173" fmla="*/ 6762750 w 8801100"/>
                  <a:gd name="connsiteY173" fmla="*/ 3421856 h 4410075"/>
                  <a:gd name="connsiteX174" fmla="*/ 6748463 w 8801100"/>
                  <a:gd name="connsiteY174" fmla="*/ 3352800 h 4410075"/>
                  <a:gd name="connsiteX175" fmla="*/ 6698456 w 8801100"/>
                  <a:gd name="connsiteY175" fmla="*/ 3321843 h 4410075"/>
                  <a:gd name="connsiteX176" fmla="*/ 6638925 w 8801100"/>
                  <a:gd name="connsiteY176" fmla="*/ 3267075 h 4410075"/>
                  <a:gd name="connsiteX177" fmla="*/ 6619875 w 8801100"/>
                  <a:gd name="connsiteY177" fmla="*/ 3209925 h 4410075"/>
                  <a:gd name="connsiteX178" fmla="*/ 6584156 w 8801100"/>
                  <a:gd name="connsiteY178" fmla="*/ 3176588 h 4410075"/>
                  <a:gd name="connsiteX179" fmla="*/ 6610350 w 8801100"/>
                  <a:gd name="connsiteY179" fmla="*/ 3124200 h 4410075"/>
                  <a:gd name="connsiteX180" fmla="*/ 6650831 w 8801100"/>
                  <a:gd name="connsiteY180" fmla="*/ 2945606 h 4410075"/>
                  <a:gd name="connsiteX181" fmla="*/ 6691313 w 8801100"/>
                  <a:gd name="connsiteY181" fmla="*/ 2878931 h 4410075"/>
                  <a:gd name="connsiteX182" fmla="*/ 6836569 w 8801100"/>
                  <a:gd name="connsiteY182" fmla="*/ 2862262 h 4410075"/>
                  <a:gd name="connsiteX183" fmla="*/ 6905625 w 8801100"/>
                  <a:gd name="connsiteY183" fmla="*/ 2919413 h 4410075"/>
                  <a:gd name="connsiteX184" fmla="*/ 6981825 w 8801100"/>
                  <a:gd name="connsiteY184" fmla="*/ 2943225 h 4410075"/>
                  <a:gd name="connsiteX185" fmla="*/ 7186612 w 8801100"/>
                  <a:gd name="connsiteY185" fmla="*/ 2947988 h 4410075"/>
                  <a:gd name="connsiteX186" fmla="*/ 7362825 w 8801100"/>
                  <a:gd name="connsiteY186" fmla="*/ 2809875 h 4410075"/>
                  <a:gd name="connsiteX187" fmla="*/ 7419975 w 8801100"/>
                  <a:gd name="connsiteY187" fmla="*/ 2719387 h 4410075"/>
                  <a:gd name="connsiteX188" fmla="*/ 7446169 w 8801100"/>
                  <a:gd name="connsiteY188" fmla="*/ 2636044 h 4410075"/>
                  <a:gd name="connsiteX189" fmla="*/ 7577137 w 8801100"/>
                  <a:gd name="connsiteY189" fmla="*/ 2636044 h 4410075"/>
                  <a:gd name="connsiteX190" fmla="*/ 7750969 w 8801100"/>
                  <a:gd name="connsiteY190" fmla="*/ 2578893 h 4410075"/>
                  <a:gd name="connsiteX191" fmla="*/ 7810500 w 8801100"/>
                  <a:gd name="connsiteY191" fmla="*/ 2466975 h 4410075"/>
                  <a:gd name="connsiteX192" fmla="*/ 7874794 w 8801100"/>
                  <a:gd name="connsiteY192" fmla="*/ 2431256 h 4410075"/>
                  <a:gd name="connsiteX193" fmla="*/ 7853363 w 8801100"/>
                  <a:gd name="connsiteY193" fmla="*/ 2386013 h 4410075"/>
                  <a:gd name="connsiteX194" fmla="*/ 7931944 w 8801100"/>
                  <a:gd name="connsiteY194" fmla="*/ 2216943 h 4410075"/>
                  <a:gd name="connsiteX195" fmla="*/ 7986713 w 8801100"/>
                  <a:gd name="connsiteY195" fmla="*/ 2157413 h 4410075"/>
                  <a:gd name="connsiteX196" fmla="*/ 8024813 w 8801100"/>
                  <a:gd name="connsiteY196" fmla="*/ 2152650 h 4410075"/>
                  <a:gd name="connsiteX197" fmla="*/ 8070056 w 8801100"/>
                  <a:gd name="connsiteY197" fmla="*/ 2157413 h 4410075"/>
                  <a:gd name="connsiteX198" fmla="*/ 8134350 w 8801100"/>
                  <a:gd name="connsiteY198" fmla="*/ 2124075 h 4410075"/>
                  <a:gd name="connsiteX199" fmla="*/ 8143875 w 8801100"/>
                  <a:gd name="connsiteY199" fmla="*/ 2059781 h 4410075"/>
                  <a:gd name="connsiteX200" fmla="*/ 8184355 w 8801100"/>
                  <a:gd name="connsiteY200" fmla="*/ 2024063 h 4410075"/>
                  <a:gd name="connsiteX201" fmla="*/ 8243888 w 8801100"/>
                  <a:gd name="connsiteY201" fmla="*/ 2064543 h 4410075"/>
                  <a:gd name="connsiteX202" fmla="*/ 8270082 w 8801100"/>
                  <a:gd name="connsiteY202" fmla="*/ 2014537 h 4410075"/>
                  <a:gd name="connsiteX203" fmla="*/ 8365331 w 8801100"/>
                  <a:gd name="connsiteY203" fmla="*/ 1945481 h 4410075"/>
                  <a:gd name="connsiteX204" fmla="*/ 8427244 w 8801100"/>
                  <a:gd name="connsiteY204" fmla="*/ 1952625 h 4410075"/>
                  <a:gd name="connsiteX205" fmla="*/ 8477250 w 8801100"/>
                  <a:gd name="connsiteY205" fmla="*/ 1933575 h 4410075"/>
                  <a:gd name="connsiteX206" fmla="*/ 8515350 w 8801100"/>
                  <a:gd name="connsiteY206" fmla="*/ 1905000 h 4410075"/>
                  <a:gd name="connsiteX207" fmla="*/ 8548688 w 8801100"/>
                  <a:gd name="connsiteY207" fmla="*/ 1902619 h 4410075"/>
                  <a:gd name="connsiteX208" fmla="*/ 8584406 w 8801100"/>
                  <a:gd name="connsiteY208" fmla="*/ 1933575 h 4410075"/>
                  <a:gd name="connsiteX209" fmla="*/ 8643938 w 8801100"/>
                  <a:gd name="connsiteY209" fmla="*/ 1933575 h 4410075"/>
                  <a:gd name="connsiteX210" fmla="*/ 8682037 w 8801100"/>
                  <a:gd name="connsiteY210" fmla="*/ 1914525 h 4410075"/>
                  <a:gd name="connsiteX211" fmla="*/ 8765381 w 8801100"/>
                  <a:gd name="connsiteY211" fmla="*/ 1916907 h 4410075"/>
                  <a:gd name="connsiteX212" fmla="*/ 8796338 w 8801100"/>
                  <a:gd name="connsiteY212" fmla="*/ 1871663 h 4410075"/>
                  <a:gd name="connsiteX213" fmla="*/ 8801100 w 8801100"/>
                  <a:gd name="connsiteY213" fmla="*/ 1809750 h 4410075"/>
                  <a:gd name="connsiteX214" fmla="*/ 8751093 w 8801100"/>
                  <a:gd name="connsiteY214" fmla="*/ 1769269 h 4410075"/>
                  <a:gd name="connsiteX215" fmla="*/ 8734425 w 8801100"/>
                  <a:gd name="connsiteY215" fmla="*/ 1714500 h 4410075"/>
                  <a:gd name="connsiteX216" fmla="*/ 8643938 w 8801100"/>
                  <a:gd name="connsiteY216" fmla="*/ 1652588 h 4410075"/>
                  <a:gd name="connsiteX217" fmla="*/ 8603456 w 8801100"/>
                  <a:gd name="connsiteY217" fmla="*/ 1631156 h 4410075"/>
                  <a:gd name="connsiteX218" fmla="*/ 8565356 w 8801100"/>
                  <a:gd name="connsiteY218" fmla="*/ 1585913 h 4410075"/>
                  <a:gd name="connsiteX219" fmla="*/ 8534400 w 8801100"/>
                  <a:gd name="connsiteY219" fmla="*/ 1583531 h 4410075"/>
                  <a:gd name="connsiteX220" fmla="*/ 8517731 w 8801100"/>
                  <a:gd name="connsiteY220" fmla="*/ 1531144 h 4410075"/>
                  <a:gd name="connsiteX221" fmla="*/ 8477250 w 8801100"/>
                  <a:gd name="connsiteY221" fmla="*/ 1514475 h 4410075"/>
                  <a:gd name="connsiteX222" fmla="*/ 8477250 w 8801100"/>
                  <a:gd name="connsiteY222" fmla="*/ 1514475 h 4410075"/>
                  <a:gd name="connsiteX223" fmla="*/ 8436769 w 8801100"/>
                  <a:gd name="connsiteY223" fmla="*/ 1519238 h 4410075"/>
                  <a:gd name="connsiteX224" fmla="*/ 8351043 w 8801100"/>
                  <a:gd name="connsiteY224" fmla="*/ 1445419 h 4410075"/>
                  <a:gd name="connsiteX225" fmla="*/ 8170069 w 8801100"/>
                  <a:gd name="connsiteY225" fmla="*/ 1445418 h 4410075"/>
                  <a:gd name="connsiteX226" fmla="*/ 8117681 w 8801100"/>
                  <a:gd name="connsiteY226" fmla="*/ 1483519 h 4410075"/>
                  <a:gd name="connsiteX227" fmla="*/ 8067675 w 8801100"/>
                  <a:gd name="connsiteY227" fmla="*/ 1562100 h 4410075"/>
                  <a:gd name="connsiteX228" fmla="*/ 8084344 w 8801100"/>
                  <a:gd name="connsiteY228" fmla="*/ 1583531 h 4410075"/>
                  <a:gd name="connsiteX229" fmla="*/ 8039100 w 8801100"/>
                  <a:gd name="connsiteY229" fmla="*/ 1633537 h 4410075"/>
                  <a:gd name="connsiteX230" fmla="*/ 7889081 w 8801100"/>
                  <a:gd name="connsiteY230" fmla="*/ 1557337 h 4410075"/>
                  <a:gd name="connsiteX231" fmla="*/ 7798594 w 8801100"/>
                  <a:gd name="connsiteY231" fmla="*/ 1593056 h 4410075"/>
                  <a:gd name="connsiteX232" fmla="*/ 7724775 w 8801100"/>
                  <a:gd name="connsiteY232" fmla="*/ 1590675 h 4410075"/>
                  <a:gd name="connsiteX233" fmla="*/ 7667625 w 8801100"/>
                  <a:gd name="connsiteY233" fmla="*/ 1685925 h 4410075"/>
                  <a:gd name="connsiteX234" fmla="*/ 7529513 w 8801100"/>
                  <a:gd name="connsiteY234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831432 w 8801100"/>
                  <a:gd name="connsiteY148" fmla="*/ 4105275 h 4410075"/>
                  <a:gd name="connsiteX149" fmla="*/ 3950494 w 8801100"/>
                  <a:gd name="connsiteY149" fmla="*/ 4176713 h 4410075"/>
                  <a:gd name="connsiteX150" fmla="*/ 4010025 w 8801100"/>
                  <a:gd name="connsiteY150" fmla="*/ 4160044 h 4410075"/>
                  <a:gd name="connsiteX151" fmla="*/ 4360068 w 8801100"/>
                  <a:gd name="connsiteY151" fmla="*/ 4333875 h 4410075"/>
                  <a:gd name="connsiteX152" fmla="*/ 4586288 w 8801100"/>
                  <a:gd name="connsiteY152" fmla="*/ 4305300 h 4410075"/>
                  <a:gd name="connsiteX153" fmla="*/ 4595813 w 8801100"/>
                  <a:gd name="connsiteY153" fmla="*/ 4383881 h 4410075"/>
                  <a:gd name="connsiteX154" fmla="*/ 4681538 w 8801100"/>
                  <a:gd name="connsiteY154" fmla="*/ 4379118 h 4410075"/>
                  <a:gd name="connsiteX155" fmla="*/ 4760119 w 8801100"/>
                  <a:gd name="connsiteY155" fmla="*/ 4410075 h 4410075"/>
                  <a:gd name="connsiteX156" fmla="*/ 4802981 w 8801100"/>
                  <a:gd name="connsiteY156" fmla="*/ 4350544 h 4410075"/>
                  <a:gd name="connsiteX157" fmla="*/ 5474494 w 8801100"/>
                  <a:gd name="connsiteY157" fmla="*/ 4031456 h 4410075"/>
                  <a:gd name="connsiteX158" fmla="*/ 5562600 w 8801100"/>
                  <a:gd name="connsiteY158" fmla="*/ 4060032 h 4410075"/>
                  <a:gd name="connsiteX159" fmla="*/ 5693569 w 8801100"/>
                  <a:gd name="connsiteY159" fmla="*/ 4031456 h 4410075"/>
                  <a:gd name="connsiteX160" fmla="*/ 5872162 w 8801100"/>
                  <a:gd name="connsiteY160" fmla="*/ 4048125 h 4410075"/>
                  <a:gd name="connsiteX161" fmla="*/ 5929313 w 8801100"/>
                  <a:gd name="connsiteY161" fmla="*/ 4021932 h 4410075"/>
                  <a:gd name="connsiteX162" fmla="*/ 6062662 w 8801100"/>
                  <a:gd name="connsiteY162" fmla="*/ 4019550 h 4410075"/>
                  <a:gd name="connsiteX163" fmla="*/ 6196012 w 8801100"/>
                  <a:gd name="connsiteY163" fmla="*/ 3921919 h 4410075"/>
                  <a:gd name="connsiteX164" fmla="*/ 6262687 w 8801100"/>
                  <a:gd name="connsiteY164" fmla="*/ 3914775 h 4410075"/>
                  <a:gd name="connsiteX165" fmla="*/ 6360319 w 8801100"/>
                  <a:gd name="connsiteY165" fmla="*/ 3840956 h 4410075"/>
                  <a:gd name="connsiteX166" fmla="*/ 6434138 w 8801100"/>
                  <a:gd name="connsiteY166" fmla="*/ 3771900 h 4410075"/>
                  <a:gd name="connsiteX167" fmla="*/ 6443663 w 8801100"/>
                  <a:gd name="connsiteY167" fmla="*/ 3709988 h 4410075"/>
                  <a:gd name="connsiteX168" fmla="*/ 6477000 w 8801100"/>
                  <a:gd name="connsiteY168" fmla="*/ 3640931 h 4410075"/>
                  <a:gd name="connsiteX169" fmla="*/ 6629400 w 8801100"/>
                  <a:gd name="connsiteY169" fmla="*/ 3533775 h 4410075"/>
                  <a:gd name="connsiteX170" fmla="*/ 6662738 w 8801100"/>
                  <a:gd name="connsiteY170" fmla="*/ 3538538 h 4410075"/>
                  <a:gd name="connsiteX171" fmla="*/ 6715125 w 8801100"/>
                  <a:gd name="connsiteY171" fmla="*/ 3459956 h 4410075"/>
                  <a:gd name="connsiteX172" fmla="*/ 6762750 w 8801100"/>
                  <a:gd name="connsiteY172" fmla="*/ 3421856 h 4410075"/>
                  <a:gd name="connsiteX173" fmla="*/ 6748463 w 8801100"/>
                  <a:gd name="connsiteY173" fmla="*/ 3352800 h 4410075"/>
                  <a:gd name="connsiteX174" fmla="*/ 6698456 w 8801100"/>
                  <a:gd name="connsiteY174" fmla="*/ 3321843 h 4410075"/>
                  <a:gd name="connsiteX175" fmla="*/ 6638925 w 8801100"/>
                  <a:gd name="connsiteY175" fmla="*/ 3267075 h 4410075"/>
                  <a:gd name="connsiteX176" fmla="*/ 6619875 w 8801100"/>
                  <a:gd name="connsiteY176" fmla="*/ 3209925 h 4410075"/>
                  <a:gd name="connsiteX177" fmla="*/ 6584156 w 8801100"/>
                  <a:gd name="connsiteY177" fmla="*/ 3176588 h 4410075"/>
                  <a:gd name="connsiteX178" fmla="*/ 6610350 w 8801100"/>
                  <a:gd name="connsiteY178" fmla="*/ 3124200 h 4410075"/>
                  <a:gd name="connsiteX179" fmla="*/ 6650831 w 8801100"/>
                  <a:gd name="connsiteY179" fmla="*/ 2945606 h 4410075"/>
                  <a:gd name="connsiteX180" fmla="*/ 6691313 w 8801100"/>
                  <a:gd name="connsiteY180" fmla="*/ 2878931 h 4410075"/>
                  <a:gd name="connsiteX181" fmla="*/ 6836569 w 8801100"/>
                  <a:gd name="connsiteY181" fmla="*/ 2862262 h 4410075"/>
                  <a:gd name="connsiteX182" fmla="*/ 6905625 w 8801100"/>
                  <a:gd name="connsiteY182" fmla="*/ 2919413 h 4410075"/>
                  <a:gd name="connsiteX183" fmla="*/ 6981825 w 8801100"/>
                  <a:gd name="connsiteY183" fmla="*/ 2943225 h 4410075"/>
                  <a:gd name="connsiteX184" fmla="*/ 7186612 w 8801100"/>
                  <a:gd name="connsiteY184" fmla="*/ 2947988 h 4410075"/>
                  <a:gd name="connsiteX185" fmla="*/ 7362825 w 8801100"/>
                  <a:gd name="connsiteY185" fmla="*/ 2809875 h 4410075"/>
                  <a:gd name="connsiteX186" fmla="*/ 7419975 w 8801100"/>
                  <a:gd name="connsiteY186" fmla="*/ 2719387 h 4410075"/>
                  <a:gd name="connsiteX187" fmla="*/ 7446169 w 8801100"/>
                  <a:gd name="connsiteY187" fmla="*/ 2636044 h 4410075"/>
                  <a:gd name="connsiteX188" fmla="*/ 7577137 w 8801100"/>
                  <a:gd name="connsiteY188" fmla="*/ 2636044 h 4410075"/>
                  <a:gd name="connsiteX189" fmla="*/ 7750969 w 8801100"/>
                  <a:gd name="connsiteY189" fmla="*/ 2578893 h 4410075"/>
                  <a:gd name="connsiteX190" fmla="*/ 7810500 w 8801100"/>
                  <a:gd name="connsiteY190" fmla="*/ 2466975 h 4410075"/>
                  <a:gd name="connsiteX191" fmla="*/ 7874794 w 8801100"/>
                  <a:gd name="connsiteY191" fmla="*/ 2431256 h 4410075"/>
                  <a:gd name="connsiteX192" fmla="*/ 7853363 w 8801100"/>
                  <a:gd name="connsiteY192" fmla="*/ 2386013 h 4410075"/>
                  <a:gd name="connsiteX193" fmla="*/ 7931944 w 8801100"/>
                  <a:gd name="connsiteY193" fmla="*/ 2216943 h 4410075"/>
                  <a:gd name="connsiteX194" fmla="*/ 7986713 w 8801100"/>
                  <a:gd name="connsiteY194" fmla="*/ 2157413 h 4410075"/>
                  <a:gd name="connsiteX195" fmla="*/ 8024813 w 8801100"/>
                  <a:gd name="connsiteY195" fmla="*/ 2152650 h 4410075"/>
                  <a:gd name="connsiteX196" fmla="*/ 8070056 w 8801100"/>
                  <a:gd name="connsiteY196" fmla="*/ 2157413 h 4410075"/>
                  <a:gd name="connsiteX197" fmla="*/ 8134350 w 8801100"/>
                  <a:gd name="connsiteY197" fmla="*/ 2124075 h 4410075"/>
                  <a:gd name="connsiteX198" fmla="*/ 8143875 w 8801100"/>
                  <a:gd name="connsiteY198" fmla="*/ 2059781 h 4410075"/>
                  <a:gd name="connsiteX199" fmla="*/ 8184355 w 8801100"/>
                  <a:gd name="connsiteY199" fmla="*/ 2024063 h 4410075"/>
                  <a:gd name="connsiteX200" fmla="*/ 8243888 w 8801100"/>
                  <a:gd name="connsiteY200" fmla="*/ 2064543 h 4410075"/>
                  <a:gd name="connsiteX201" fmla="*/ 8270082 w 8801100"/>
                  <a:gd name="connsiteY201" fmla="*/ 2014537 h 4410075"/>
                  <a:gd name="connsiteX202" fmla="*/ 8365331 w 8801100"/>
                  <a:gd name="connsiteY202" fmla="*/ 1945481 h 4410075"/>
                  <a:gd name="connsiteX203" fmla="*/ 8427244 w 8801100"/>
                  <a:gd name="connsiteY203" fmla="*/ 1952625 h 4410075"/>
                  <a:gd name="connsiteX204" fmla="*/ 8477250 w 8801100"/>
                  <a:gd name="connsiteY204" fmla="*/ 1933575 h 4410075"/>
                  <a:gd name="connsiteX205" fmla="*/ 8515350 w 8801100"/>
                  <a:gd name="connsiteY205" fmla="*/ 1905000 h 4410075"/>
                  <a:gd name="connsiteX206" fmla="*/ 8548688 w 8801100"/>
                  <a:gd name="connsiteY206" fmla="*/ 1902619 h 4410075"/>
                  <a:gd name="connsiteX207" fmla="*/ 8584406 w 8801100"/>
                  <a:gd name="connsiteY207" fmla="*/ 1933575 h 4410075"/>
                  <a:gd name="connsiteX208" fmla="*/ 8643938 w 8801100"/>
                  <a:gd name="connsiteY208" fmla="*/ 1933575 h 4410075"/>
                  <a:gd name="connsiteX209" fmla="*/ 8682037 w 8801100"/>
                  <a:gd name="connsiteY209" fmla="*/ 1914525 h 4410075"/>
                  <a:gd name="connsiteX210" fmla="*/ 8765381 w 8801100"/>
                  <a:gd name="connsiteY210" fmla="*/ 1916907 h 4410075"/>
                  <a:gd name="connsiteX211" fmla="*/ 8796338 w 8801100"/>
                  <a:gd name="connsiteY211" fmla="*/ 1871663 h 4410075"/>
                  <a:gd name="connsiteX212" fmla="*/ 8801100 w 8801100"/>
                  <a:gd name="connsiteY212" fmla="*/ 1809750 h 4410075"/>
                  <a:gd name="connsiteX213" fmla="*/ 8751093 w 8801100"/>
                  <a:gd name="connsiteY213" fmla="*/ 1769269 h 4410075"/>
                  <a:gd name="connsiteX214" fmla="*/ 8734425 w 8801100"/>
                  <a:gd name="connsiteY214" fmla="*/ 1714500 h 4410075"/>
                  <a:gd name="connsiteX215" fmla="*/ 8643938 w 8801100"/>
                  <a:gd name="connsiteY215" fmla="*/ 1652588 h 4410075"/>
                  <a:gd name="connsiteX216" fmla="*/ 8603456 w 8801100"/>
                  <a:gd name="connsiteY216" fmla="*/ 1631156 h 4410075"/>
                  <a:gd name="connsiteX217" fmla="*/ 8565356 w 8801100"/>
                  <a:gd name="connsiteY217" fmla="*/ 1585913 h 4410075"/>
                  <a:gd name="connsiteX218" fmla="*/ 8534400 w 8801100"/>
                  <a:gd name="connsiteY218" fmla="*/ 1583531 h 4410075"/>
                  <a:gd name="connsiteX219" fmla="*/ 8517731 w 8801100"/>
                  <a:gd name="connsiteY219" fmla="*/ 1531144 h 4410075"/>
                  <a:gd name="connsiteX220" fmla="*/ 8477250 w 8801100"/>
                  <a:gd name="connsiteY220" fmla="*/ 1514475 h 4410075"/>
                  <a:gd name="connsiteX221" fmla="*/ 8477250 w 8801100"/>
                  <a:gd name="connsiteY221" fmla="*/ 1514475 h 4410075"/>
                  <a:gd name="connsiteX222" fmla="*/ 8436769 w 8801100"/>
                  <a:gd name="connsiteY222" fmla="*/ 1519238 h 4410075"/>
                  <a:gd name="connsiteX223" fmla="*/ 8351043 w 8801100"/>
                  <a:gd name="connsiteY223" fmla="*/ 1445419 h 4410075"/>
                  <a:gd name="connsiteX224" fmla="*/ 8170069 w 8801100"/>
                  <a:gd name="connsiteY224" fmla="*/ 1445418 h 4410075"/>
                  <a:gd name="connsiteX225" fmla="*/ 8117681 w 8801100"/>
                  <a:gd name="connsiteY225" fmla="*/ 1483519 h 4410075"/>
                  <a:gd name="connsiteX226" fmla="*/ 8067675 w 8801100"/>
                  <a:gd name="connsiteY226" fmla="*/ 1562100 h 4410075"/>
                  <a:gd name="connsiteX227" fmla="*/ 8084344 w 8801100"/>
                  <a:gd name="connsiteY227" fmla="*/ 1583531 h 4410075"/>
                  <a:gd name="connsiteX228" fmla="*/ 8039100 w 8801100"/>
                  <a:gd name="connsiteY228" fmla="*/ 1633537 h 4410075"/>
                  <a:gd name="connsiteX229" fmla="*/ 7889081 w 8801100"/>
                  <a:gd name="connsiteY229" fmla="*/ 1557337 h 4410075"/>
                  <a:gd name="connsiteX230" fmla="*/ 7798594 w 8801100"/>
                  <a:gd name="connsiteY230" fmla="*/ 1593056 h 4410075"/>
                  <a:gd name="connsiteX231" fmla="*/ 7724775 w 8801100"/>
                  <a:gd name="connsiteY231" fmla="*/ 1590675 h 4410075"/>
                  <a:gd name="connsiteX232" fmla="*/ 7667625 w 8801100"/>
                  <a:gd name="connsiteY232" fmla="*/ 1685925 h 4410075"/>
                  <a:gd name="connsiteX233" fmla="*/ 7529513 w 8801100"/>
                  <a:gd name="connsiteY233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3950494 w 8801100"/>
                  <a:gd name="connsiteY148" fmla="*/ 4176713 h 4410075"/>
                  <a:gd name="connsiteX149" fmla="*/ 4010025 w 8801100"/>
                  <a:gd name="connsiteY149" fmla="*/ 4160044 h 4410075"/>
                  <a:gd name="connsiteX150" fmla="*/ 4360068 w 8801100"/>
                  <a:gd name="connsiteY150" fmla="*/ 4333875 h 4410075"/>
                  <a:gd name="connsiteX151" fmla="*/ 4586288 w 8801100"/>
                  <a:gd name="connsiteY151" fmla="*/ 4305300 h 4410075"/>
                  <a:gd name="connsiteX152" fmla="*/ 4595813 w 8801100"/>
                  <a:gd name="connsiteY152" fmla="*/ 4383881 h 4410075"/>
                  <a:gd name="connsiteX153" fmla="*/ 4681538 w 8801100"/>
                  <a:gd name="connsiteY153" fmla="*/ 4379118 h 4410075"/>
                  <a:gd name="connsiteX154" fmla="*/ 4760119 w 8801100"/>
                  <a:gd name="connsiteY154" fmla="*/ 4410075 h 4410075"/>
                  <a:gd name="connsiteX155" fmla="*/ 4802981 w 8801100"/>
                  <a:gd name="connsiteY155" fmla="*/ 4350544 h 4410075"/>
                  <a:gd name="connsiteX156" fmla="*/ 5474494 w 8801100"/>
                  <a:gd name="connsiteY156" fmla="*/ 4031456 h 4410075"/>
                  <a:gd name="connsiteX157" fmla="*/ 5562600 w 8801100"/>
                  <a:gd name="connsiteY157" fmla="*/ 4060032 h 4410075"/>
                  <a:gd name="connsiteX158" fmla="*/ 5693569 w 8801100"/>
                  <a:gd name="connsiteY158" fmla="*/ 4031456 h 4410075"/>
                  <a:gd name="connsiteX159" fmla="*/ 5872162 w 8801100"/>
                  <a:gd name="connsiteY159" fmla="*/ 4048125 h 4410075"/>
                  <a:gd name="connsiteX160" fmla="*/ 5929313 w 8801100"/>
                  <a:gd name="connsiteY160" fmla="*/ 4021932 h 4410075"/>
                  <a:gd name="connsiteX161" fmla="*/ 6062662 w 8801100"/>
                  <a:gd name="connsiteY161" fmla="*/ 4019550 h 4410075"/>
                  <a:gd name="connsiteX162" fmla="*/ 6196012 w 8801100"/>
                  <a:gd name="connsiteY162" fmla="*/ 3921919 h 4410075"/>
                  <a:gd name="connsiteX163" fmla="*/ 6262687 w 8801100"/>
                  <a:gd name="connsiteY163" fmla="*/ 3914775 h 4410075"/>
                  <a:gd name="connsiteX164" fmla="*/ 6360319 w 8801100"/>
                  <a:gd name="connsiteY164" fmla="*/ 3840956 h 4410075"/>
                  <a:gd name="connsiteX165" fmla="*/ 6434138 w 8801100"/>
                  <a:gd name="connsiteY165" fmla="*/ 3771900 h 4410075"/>
                  <a:gd name="connsiteX166" fmla="*/ 6443663 w 8801100"/>
                  <a:gd name="connsiteY166" fmla="*/ 3709988 h 4410075"/>
                  <a:gd name="connsiteX167" fmla="*/ 6477000 w 8801100"/>
                  <a:gd name="connsiteY167" fmla="*/ 3640931 h 4410075"/>
                  <a:gd name="connsiteX168" fmla="*/ 6629400 w 8801100"/>
                  <a:gd name="connsiteY168" fmla="*/ 3533775 h 4410075"/>
                  <a:gd name="connsiteX169" fmla="*/ 6662738 w 8801100"/>
                  <a:gd name="connsiteY169" fmla="*/ 3538538 h 4410075"/>
                  <a:gd name="connsiteX170" fmla="*/ 6715125 w 8801100"/>
                  <a:gd name="connsiteY170" fmla="*/ 3459956 h 4410075"/>
                  <a:gd name="connsiteX171" fmla="*/ 6762750 w 8801100"/>
                  <a:gd name="connsiteY171" fmla="*/ 3421856 h 4410075"/>
                  <a:gd name="connsiteX172" fmla="*/ 6748463 w 8801100"/>
                  <a:gd name="connsiteY172" fmla="*/ 3352800 h 4410075"/>
                  <a:gd name="connsiteX173" fmla="*/ 6698456 w 8801100"/>
                  <a:gd name="connsiteY173" fmla="*/ 3321843 h 4410075"/>
                  <a:gd name="connsiteX174" fmla="*/ 6638925 w 8801100"/>
                  <a:gd name="connsiteY174" fmla="*/ 3267075 h 4410075"/>
                  <a:gd name="connsiteX175" fmla="*/ 6619875 w 8801100"/>
                  <a:gd name="connsiteY175" fmla="*/ 3209925 h 4410075"/>
                  <a:gd name="connsiteX176" fmla="*/ 6584156 w 8801100"/>
                  <a:gd name="connsiteY176" fmla="*/ 3176588 h 4410075"/>
                  <a:gd name="connsiteX177" fmla="*/ 6610350 w 8801100"/>
                  <a:gd name="connsiteY177" fmla="*/ 3124200 h 4410075"/>
                  <a:gd name="connsiteX178" fmla="*/ 6650831 w 8801100"/>
                  <a:gd name="connsiteY178" fmla="*/ 2945606 h 4410075"/>
                  <a:gd name="connsiteX179" fmla="*/ 6691313 w 8801100"/>
                  <a:gd name="connsiteY179" fmla="*/ 2878931 h 4410075"/>
                  <a:gd name="connsiteX180" fmla="*/ 6836569 w 8801100"/>
                  <a:gd name="connsiteY180" fmla="*/ 2862262 h 4410075"/>
                  <a:gd name="connsiteX181" fmla="*/ 6905625 w 8801100"/>
                  <a:gd name="connsiteY181" fmla="*/ 2919413 h 4410075"/>
                  <a:gd name="connsiteX182" fmla="*/ 6981825 w 8801100"/>
                  <a:gd name="connsiteY182" fmla="*/ 2943225 h 4410075"/>
                  <a:gd name="connsiteX183" fmla="*/ 7186612 w 8801100"/>
                  <a:gd name="connsiteY183" fmla="*/ 2947988 h 4410075"/>
                  <a:gd name="connsiteX184" fmla="*/ 7362825 w 8801100"/>
                  <a:gd name="connsiteY184" fmla="*/ 2809875 h 4410075"/>
                  <a:gd name="connsiteX185" fmla="*/ 7419975 w 8801100"/>
                  <a:gd name="connsiteY185" fmla="*/ 2719387 h 4410075"/>
                  <a:gd name="connsiteX186" fmla="*/ 7446169 w 8801100"/>
                  <a:gd name="connsiteY186" fmla="*/ 2636044 h 4410075"/>
                  <a:gd name="connsiteX187" fmla="*/ 7577137 w 8801100"/>
                  <a:gd name="connsiteY187" fmla="*/ 2636044 h 4410075"/>
                  <a:gd name="connsiteX188" fmla="*/ 7750969 w 8801100"/>
                  <a:gd name="connsiteY188" fmla="*/ 2578893 h 4410075"/>
                  <a:gd name="connsiteX189" fmla="*/ 7810500 w 8801100"/>
                  <a:gd name="connsiteY189" fmla="*/ 2466975 h 4410075"/>
                  <a:gd name="connsiteX190" fmla="*/ 7874794 w 8801100"/>
                  <a:gd name="connsiteY190" fmla="*/ 2431256 h 4410075"/>
                  <a:gd name="connsiteX191" fmla="*/ 7853363 w 8801100"/>
                  <a:gd name="connsiteY191" fmla="*/ 2386013 h 4410075"/>
                  <a:gd name="connsiteX192" fmla="*/ 7931944 w 8801100"/>
                  <a:gd name="connsiteY192" fmla="*/ 2216943 h 4410075"/>
                  <a:gd name="connsiteX193" fmla="*/ 7986713 w 8801100"/>
                  <a:gd name="connsiteY193" fmla="*/ 2157413 h 4410075"/>
                  <a:gd name="connsiteX194" fmla="*/ 8024813 w 8801100"/>
                  <a:gd name="connsiteY194" fmla="*/ 2152650 h 4410075"/>
                  <a:gd name="connsiteX195" fmla="*/ 8070056 w 8801100"/>
                  <a:gd name="connsiteY195" fmla="*/ 2157413 h 4410075"/>
                  <a:gd name="connsiteX196" fmla="*/ 8134350 w 8801100"/>
                  <a:gd name="connsiteY196" fmla="*/ 2124075 h 4410075"/>
                  <a:gd name="connsiteX197" fmla="*/ 8143875 w 8801100"/>
                  <a:gd name="connsiteY197" fmla="*/ 2059781 h 4410075"/>
                  <a:gd name="connsiteX198" fmla="*/ 8184355 w 8801100"/>
                  <a:gd name="connsiteY198" fmla="*/ 2024063 h 4410075"/>
                  <a:gd name="connsiteX199" fmla="*/ 8243888 w 8801100"/>
                  <a:gd name="connsiteY199" fmla="*/ 2064543 h 4410075"/>
                  <a:gd name="connsiteX200" fmla="*/ 8270082 w 8801100"/>
                  <a:gd name="connsiteY200" fmla="*/ 2014537 h 4410075"/>
                  <a:gd name="connsiteX201" fmla="*/ 8365331 w 8801100"/>
                  <a:gd name="connsiteY201" fmla="*/ 1945481 h 4410075"/>
                  <a:gd name="connsiteX202" fmla="*/ 8427244 w 8801100"/>
                  <a:gd name="connsiteY202" fmla="*/ 1952625 h 4410075"/>
                  <a:gd name="connsiteX203" fmla="*/ 8477250 w 8801100"/>
                  <a:gd name="connsiteY203" fmla="*/ 1933575 h 4410075"/>
                  <a:gd name="connsiteX204" fmla="*/ 8515350 w 8801100"/>
                  <a:gd name="connsiteY204" fmla="*/ 1905000 h 4410075"/>
                  <a:gd name="connsiteX205" fmla="*/ 8548688 w 8801100"/>
                  <a:gd name="connsiteY205" fmla="*/ 1902619 h 4410075"/>
                  <a:gd name="connsiteX206" fmla="*/ 8584406 w 8801100"/>
                  <a:gd name="connsiteY206" fmla="*/ 1933575 h 4410075"/>
                  <a:gd name="connsiteX207" fmla="*/ 8643938 w 8801100"/>
                  <a:gd name="connsiteY207" fmla="*/ 1933575 h 4410075"/>
                  <a:gd name="connsiteX208" fmla="*/ 8682037 w 8801100"/>
                  <a:gd name="connsiteY208" fmla="*/ 1914525 h 4410075"/>
                  <a:gd name="connsiteX209" fmla="*/ 8765381 w 8801100"/>
                  <a:gd name="connsiteY209" fmla="*/ 1916907 h 4410075"/>
                  <a:gd name="connsiteX210" fmla="*/ 8796338 w 8801100"/>
                  <a:gd name="connsiteY210" fmla="*/ 1871663 h 4410075"/>
                  <a:gd name="connsiteX211" fmla="*/ 8801100 w 8801100"/>
                  <a:gd name="connsiteY211" fmla="*/ 1809750 h 4410075"/>
                  <a:gd name="connsiteX212" fmla="*/ 8751093 w 8801100"/>
                  <a:gd name="connsiteY212" fmla="*/ 1769269 h 4410075"/>
                  <a:gd name="connsiteX213" fmla="*/ 8734425 w 8801100"/>
                  <a:gd name="connsiteY213" fmla="*/ 1714500 h 4410075"/>
                  <a:gd name="connsiteX214" fmla="*/ 8643938 w 8801100"/>
                  <a:gd name="connsiteY214" fmla="*/ 1652588 h 4410075"/>
                  <a:gd name="connsiteX215" fmla="*/ 8603456 w 8801100"/>
                  <a:gd name="connsiteY215" fmla="*/ 1631156 h 4410075"/>
                  <a:gd name="connsiteX216" fmla="*/ 8565356 w 8801100"/>
                  <a:gd name="connsiteY216" fmla="*/ 1585913 h 4410075"/>
                  <a:gd name="connsiteX217" fmla="*/ 8534400 w 8801100"/>
                  <a:gd name="connsiteY217" fmla="*/ 1583531 h 4410075"/>
                  <a:gd name="connsiteX218" fmla="*/ 8517731 w 8801100"/>
                  <a:gd name="connsiteY218" fmla="*/ 1531144 h 4410075"/>
                  <a:gd name="connsiteX219" fmla="*/ 8477250 w 8801100"/>
                  <a:gd name="connsiteY219" fmla="*/ 1514475 h 4410075"/>
                  <a:gd name="connsiteX220" fmla="*/ 8477250 w 8801100"/>
                  <a:gd name="connsiteY220" fmla="*/ 1514475 h 4410075"/>
                  <a:gd name="connsiteX221" fmla="*/ 8436769 w 8801100"/>
                  <a:gd name="connsiteY221" fmla="*/ 1519238 h 4410075"/>
                  <a:gd name="connsiteX222" fmla="*/ 8351043 w 8801100"/>
                  <a:gd name="connsiteY222" fmla="*/ 1445419 h 4410075"/>
                  <a:gd name="connsiteX223" fmla="*/ 8170069 w 8801100"/>
                  <a:gd name="connsiteY223" fmla="*/ 1445418 h 4410075"/>
                  <a:gd name="connsiteX224" fmla="*/ 8117681 w 8801100"/>
                  <a:gd name="connsiteY224" fmla="*/ 1483519 h 4410075"/>
                  <a:gd name="connsiteX225" fmla="*/ 8067675 w 8801100"/>
                  <a:gd name="connsiteY225" fmla="*/ 1562100 h 4410075"/>
                  <a:gd name="connsiteX226" fmla="*/ 8084344 w 8801100"/>
                  <a:gd name="connsiteY226" fmla="*/ 1583531 h 4410075"/>
                  <a:gd name="connsiteX227" fmla="*/ 8039100 w 8801100"/>
                  <a:gd name="connsiteY227" fmla="*/ 1633537 h 4410075"/>
                  <a:gd name="connsiteX228" fmla="*/ 7889081 w 8801100"/>
                  <a:gd name="connsiteY228" fmla="*/ 1557337 h 4410075"/>
                  <a:gd name="connsiteX229" fmla="*/ 7798594 w 8801100"/>
                  <a:gd name="connsiteY229" fmla="*/ 1593056 h 4410075"/>
                  <a:gd name="connsiteX230" fmla="*/ 7724775 w 8801100"/>
                  <a:gd name="connsiteY230" fmla="*/ 1590675 h 4410075"/>
                  <a:gd name="connsiteX231" fmla="*/ 7667625 w 8801100"/>
                  <a:gd name="connsiteY231" fmla="*/ 1685925 h 4410075"/>
                  <a:gd name="connsiteX232" fmla="*/ 7529513 w 8801100"/>
                  <a:gd name="connsiteY232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4010025 w 8801100"/>
                  <a:gd name="connsiteY148" fmla="*/ 4160044 h 4410075"/>
                  <a:gd name="connsiteX149" fmla="*/ 4360068 w 8801100"/>
                  <a:gd name="connsiteY149" fmla="*/ 4333875 h 4410075"/>
                  <a:gd name="connsiteX150" fmla="*/ 4586288 w 8801100"/>
                  <a:gd name="connsiteY150" fmla="*/ 4305300 h 4410075"/>
                  <a:gd name="connsiteX151" fmla="*/ 4595813 w 8801100"/>
                  <a:gd name="connsiteY151" fmla="*/ 4383881 h 4410075"/>
                  <a:gd name="connsiteX152" fmla="*/ 4681538 w 8801100"/>
                  <a:gd name="connsiteY152" fmla="*/ 4379118 h 4410075"/>
                  <a:gd name="connsiteX153" fmla="*/ 4760119 w 8801100"/>
                  <a:gd name="connsiteY153" fmla="*/ 4410075 h 4410075"/>
                  <a:gd name="connsiteX154" fmla="*/ 4802981 w 8801100"/>
                  <a:gd name="connsiteY154" fmla="*/ 4350544 h 4410075"/>
                  <a:gd name="connsiteX155" fmla="*/ 5474494 w 8801100"/>
                  <a:gd name="connsiteY155" fmla="*/ 4031456 h 4410075"/>
                  <a:gd name="connsiteX156" fmla="*/ 5562600 w 8801100"/>
                  <a:gd name="connsiteY156" fmla="*/ 4060032 h 4410075"/>
                  <a:gd name="connsiteX157" fmla="*/ 5693569 w 8801100"/>
                  <a:gd name="connsiteY157" fmla="*/ 4031456 h 4410075"/>
                  <a:gd name="connsiteX158" fmla="*/ 5872162 w 8801100"/>
                  <a:gd name="connsiteY158" fmla="*/ 4048125 h 4410075"/>
                  <a:gd name="connsiteX159" fmla="*/ 5929313 w 8801100"/>
                  <a:gd name="connsiteY159" fmla="*/ 4021932 h 4410075"/>
                  <a:gd name="connsiteX160" fmla="*/ 6062662 w 8801100"/>
                  <a:gd name="connsiteY160" fmla="*/ 4019550 h 4410075"/>
                  <a:gd name="connsiteX161" fmla="*/ 6196012 w 8801100"/>
                  <a:gd name="connsiteY161" fmla="*/ 3921919 h 4410075"/>
                  <a:gd name="connsiteX162" fmla="*/ 6262687 w 8801100"/>
                  <a:gd name="connsiteY162" fmla="*/ 3914775 h 4410075"/>
                  <a:gd name="connsiteX163" fmla="*/ 6360319 w 8801100"/>
                  <a:gd name="connsiteY163" fmla="*/ 3840956 h 4410075"/>
                  <a:gd name="connsiteX164" fmla="*/ 6434138 w 8801100"/>
                  <a:gd name="connsiteY164" fmla="*/ 3771900 h 4410075"/>
                  <a:gd name="connsiteX165" fmla="*/ 6443663 w 8801100"/>
                  <a:gd name="connsiteY165" fmla="*/ 3709988 h 4410075"/>
                  <a:gd name="connsiteX166" fmla="*/ 6477000 w 8801100"/>
                  <a:gd name="connsiteY166" fmla="*/ 3640931 h 4410075"/>
                  <a:gd name="connsiteX167" fmla="*/ 6629400 w 8801100"/>
                  <a:gd name="connsiteY167" fmla="*/ 3533775 h 4410075"/>
                  <a:gd name="connsiteX168" fmla="*/ 6662738 w 8801100"/>
                  <a:gd name="connsiteY168" fmla="*/ 3538538 h 4410075"/>
                  <a:gd name="connsiteX169" fmla="*/ 6715125 w 8801100"/>
                  <a:gd name="connsiteY169" fmla="*/ 3459956 h 4410075"/>
                  <a:gd name="connsiteX170" fmla="*/ 6762750 w 8801100"/>
                  <a:gd name="connsiteY170" fmla="*/ 3421856 h 4410075"/>
                  <a:gd name="connsiteX171" fmla="*/ 6748463 w 8801100"/>
                  <a:gd name="connsiteY171" fmla="*/ 3352800 h 4410075"/>
                  <a:gd name="connsiteX172" fmla="*/ 6698456 w 8801100"/>
                  <a:gd name="connsiteY172" fmla="*/ 3321843 h 4410075"/>
                  <a:gd name="connsiteX173" fmla="*/ 6638925 w 8801100"/>
                  <a:gd name="connsiteY173" fmla="*/ 3267075 h 4410075"/>
                  <a:gd name="connsiteX174" fmla="*/ 6619875 w 8801100"/>
                  <a:gd name="connsiteY174" fmla="*/ 3209925 h 4410075"/>
                  <a:gd name="connsiteX175" fmla="*/ 6584156 w 8801100"/>
                  <a:gd name="connsiteY175" fmla="*/ 3176588 h 4410075"/>
                  <a:gd name="connsiteX176" fmla="*/ 6610350 w 8801100"/>
                  <a:gd name="connsiteY176" fmla="*/ 3124200 h 4410075"/>
                  <a:gd name="connsiteX177" fmla="*/ 6650831 w 8801100"/>
                  <a:gd name="connsiteY177" fmla="*/ 2945606 h 4410075"/>
                  <a:gd name="connsiteX178" fmla="*/ 6691313 w 8801100"/>
                  <a:gd name="connsiteY178" fmla="*/ 2878931 h 4410075"/>
                  <a:gd name="connsiteX179" fmla="*/ 6836569 w 8801100"/>
                  <a:gd name="connsiteY179" fmla="*/ 2862262 h 4410075"/>
                  <a:gd name="connsiteX180" fmla="*/ 6905625 w 8801100"/>
                  <a:gd name="connsiteY180" fmla="*/ 2919413 h 4410075"/>
                  <a:gd name="connsiteX181" fmla="*/ 6981825 w 8801100"/>
                  <a:gd name="connsiteY181" fmla="*/ 2943225 h 4410075"/>
                  <a:gd name="connsiteX182" fmla="*/ 7186612 w 8801100"/>
                  <a:gd name="connsiteY182" fmla="*/ 2947988 h 4410075"/>
                  <a:gd name="connsiteX183" fmla="*/ 7362825 w 8801100"/>
                  <a:gd name="connsiteY183" fmla="*/ 2809875 h 4410075"/>
                  <a:gd name="connsiteX184" fmla="*/ 7419975 w 8801100"/>
                  <a:gd name="connsiteY184" fmla="*/ 2719387 h 4410075"/>
                  <a:gd name="connsiteX185" fmla="*/ 7446169 w 8801100"/>
                  <a:gd name="connsiteY185" fmla="*/ 2636044 h 4410075"/>
                  <a:gd name="connsiteX186" fmla="*/ 7577137 w 8801100"/>
                  <a:gd name="connsiteY186" fmla="*/ 2636044 h 4410075"/>
                  <a:gd name="connsiteX187" fmla="*/ 7750969 w 8801100"/>
                  <a:gd name="connsiteY187" fmla="*/ 2578893 h 4410075"/>
                  <a:gd name="connsiteX188" fmla="*/ 7810500 w 8801100"/>
                  <a:gd name="connsiteY188" fmla="*/ 2466975 h 4410075"/>
                  <a:gd name="connsiteX189" fmla="*/ 7874794 w 8801100"/>
                  <a:gd name="connsiteY189" fmla="*/ 2431256 h 4410075"/>
                  <a:gd name="connsiteX190" fmla="*/ 7853363 w 8801100"/>
                  <a:gd name="connsiteY190" fmla="*/ 2386013 h 4410075"/>
                  <a:gd name="connsiteX191" fmla="*/ 7931944 w 8801100"/>
                  <a:gd name="connsiteY191" fmla="*/ 2216943 h 4410075"/>
                  <a:gd name="connsiteX192" fmla="*/ 7986713 w 8801100"/>
                  <a:gd name="connsiteY192" fmla="*/ 2157413 h 4410075"/>
                  <a:gd name="connsiteX193" fmla="*/ 8024813 w 8801100"/>
                  <a:gd name="connsiteY193" fmla="*/ 2152650 h 4410075"/>
                  <a:gd name="connsiteX194" fmla="*/ 8070056 w 8801100"/>
                  <a:gd name="connsiteY194" fmla="*/ 2157413 h 4410075"/>
                  <a:gd name="connsiteX195" fmla="*/ 8134350 w 8801100"/>
                  <a:gd name="connsiteY195" fmla="*/ 2124075 h 4410075"/>
                  <a:gd name="connsiteX196" fmla="*/ 8143875 w 8801100"/>
                  <a:gd name="connsiteY196" fmla="*/ 2059781 h 4410075"/>
                  <a:gd name="connsiteX197" fmla="*/ 8184355 w 8801100"/>
                  <a:gd name="connsiteY197" fmla="*/ 2024063 h 4410075"/>
                  <a:gd name="connsiteX198" fmla="*/ 8243888 w 8801100"/>
                  <a:gd name="connsiteY198" fmla="*/ 2064543 h 4410075"/>
                  <a:gd name="connsiteX199" fmla="*/ 8270082 w 8801100"/>
                  <a:gd name="connsiteY199" fmla="*/ 2014537 h 4410075"/>
                  <a:gd name="connsiteX200" fmla="*/ 8365331 w 8801100"/>
                  <a:gd name="connsiteY200" fmla="*/ 1945481 h 4410075"/>
                  <a:gd name="connsiteX201" fmla="*/ 8427244 w 8801100"/>
                  <a:gd name="connsiteY201" fmla="*/ 1952625 h 4410075"/>
                  <a:gd name="connsiteX202" fmla="*/ 8477250 w 8801100"/>
                  <a:gd name="connsiteY202" fmla="*/ 1933575 h 4410075"/>
                  <a:gd name="connsiteX203" fmla="*/ 8515350 w 8801100"/>
                  <a:gd name="connsiteY203" fmla="*/ 1905000 h 4410075"/>
                  <a:gd name="connsiteX204" fmla="*/ 8548688 w 8801100"/>
                  <a:gd name="connsiteY204" fmla="*/ 1902619 h 4410075"/>
                  <a:gd name="connsiteX205" fmla="*/ 8584406 w 8801100"/>
                  <a:gd name="connsiteY205" fmla="*/ 1933575 h 4410075"/>
                  <a:gd name="connsiteX206" fmla="*/ 8643938 w 8801100"/>
                  <a:gd name="connsiteY206" fmla="*/ 1933575 h 4410075"/>
                  <a:gd name="connsiteX207" fmla="*/ 8682037 w 8801100"/>
                  <a:gd name="connsiteY207" fmla="*/ 1914525 h 4410075"/>
                  <a:gd name="connsiteX208" fmla="*/ 8765381 w 8801100"/>
                  <a:gd name="connsiteY208" fmla="*/ 1916907 h 4410075"/>
                  <a:gd name="connsiteX209" fmla="*/ 8796338 w 8801100"/>
                  <a:gd name="connsiteY209" fmla="*/ 1871663 h 4410075"/>
                  <a:gd name="connsiteX210" fmla="*/ 8801100 w 8801100"/>
                  <a:gd name="connsiteY210" fmla="*/ 1809750 h 4410075"/>
                  <a:gd name="connsiteX211" fmla="*/ 8751093 w 8801100"/>
                  <a:gd name="connsiteY211" fmla="*/ 1769269 h 4410075"/>
                  <a:gd name="connsiteX212" fmla="*/ 8734425 w 8801100"/>
                  <a:gd name="connsiteY212" fmla="*/ 1714500 h 4410075"/>
                  <a:gd name="connsiteX213" fmla="*/ 8643938 w 8801100"/>
                  <a:gd name="connsiteY213" fmla="*/ 1652588 h 4410075"/>
                  <a:gd name="connsiteX214" fmla="*/ 8603456 w 8801100"/>
                  <a:gd name="connsiteY214" fmla="*/ 1631156 h 4410075"/>
                  <a:gd name="connsiteX215" fmla="*/ 8565356 w 8801100"/>
                  <a:gd name="connsiteY215" fmla="*/ 1585913 h 4410075"/>
                  <a:gd name="connsiteX216" fmla="*/ 8534400 w 8801100"/>
                  <a:gd name="connsiteY216" fmla="*/ 1583531 h 4410075"/>
                  <a:gd name="connsiteX217" fmla="*/ 8517731 w 8801100"/>
                  <a:gd name="connsiteY217" fmla="*/ 1531144 h 4410075"/>
                  <a:gd name="connsiteX218" fmla="*/ 8477250 w 8801100"/>
                  <a:gd name="connsiteY218" fmla="*/ 1514475 h 4410075"/>
                  <a:gd name="connsiteX219" fmla="*/ 8477250 w 8801100"/>
                  <a:gd name="connsiteY219" fmla="*/ 1514475 h 4410075"/>
                  <a:gd name="connsiteX220" fmla="*/ 8436769 w 8801100"/>
                  <a:gd name="connsiteY220" fmla="*/ 1519238 h 4410075"/>
                  <a:gd name="connsiteX221" fmla="*/ 8351043 w 8801100"/>
                  <a:gd name="connsiteY221" fmla="*/ 1445419 h 4410075"/>
                  <a:gd name="connsiteX222" fmla="*/ 8170069 w 8801100"/>
                  <a:gd name="connsiteY222" fmla="*/ 1445418 h 4410075"/>
                  <a:gd name="connsiteX223" fmla="*/ 8117681 w 8801100"/>
                  <a:gd name="connsiteY223" fmla="*/ 1483519 h 4410075"/>
                  <a:gd name="connsiteX224" fmla="*/ 8067675 w 8801100"/>
                  <a:gd name="connsiteY224" fmla="*/ 1562100 h 4410075"/>
                  <a:gd name="connsiteX225" fmla="*/ 8084344 w 8801100"/>
                  <a:gd name="connsiteY225" fmla="*/ 1583531 h 4410075"/>
                  <a:gd name="connsiteX226" fmla="*/ 8039100 w 8801100"/>
                  <a:gd name="connsiteY226" fmla="*/ 1633537 h 4410075"/>
                  <a:gd name="connsiteX227" fmla="*/ 7889081 w 8801100"/>
                  <a:gd name="connsiteY227" fmla="*/ 1557337 h 4410075"/>
                  <a:gd name="connsiteX228" fmla="*/ 7798594 w 8801100"/>
                  <a:gd name="connsiteY228" fmla="*/ 1593056 h 4410075"/>
                  <a:gd name="connsiteX229" fmla="*/ 7724775 w 8801100"/>
                  <a:gd name="connsiteY229" fmla="*/ 1590675 h 4410075"/>
                  <a:gd name="connsiteX230" fmla="*/ 7667625 w 8801100"/>
                  <a:gd name="connsiteY230" fmla="*/ 1685925 h 4410075"/>
                  <a:gd name="connsiteX231" fmla="*/ 7529513 w 8801100"/>
                  <a:gd name="connsiteY231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4360068 w 8801100"/>
                  <a:gd name="connsiteY148" fmla="*/ 4333875 h 4410075"/>
                  <a:gd name="connsiteX149" fmla="*/ 4586288 w 8801100"/>
                  <a:gd name="connsiteY149" fmla="*/ 4305300 h 4410075"/>
                  <a:gd name="connsiteX150" fmla="*/ 4595813 w 8801100"/>
                  <a:gd name="connsiteY150" fmla="*/ 4383881 h 4410075"/>
                  <a:gd name="connsiteX151" fmla="*/ 4681538 w 8801100"/>
                  <a:gd name="connsiteY151" fmla="*/ 4379118 h 4410075"/>
                  <a:gd name="connsiteX152" fmla="*/ 4760119 w 8801100"/>
                  <a:gd name="connsiteY152" fmla="*/ 4410075 h 4410075"/>
                  <a:gd name="connsiteX153" fmla="*/ 4802981 w 8801100"/>
                  <a:gd name="connsiteY153" fmla="*/ 4350544 h 4410075"/>
                  <a:gd name="connsiteX154" fmla="*/ 5474494 w 8801100"/>
                  <a:gd name="connsiteY154" fmla="*/ 4031456 h 4410075"/>
                  <a:gd name="connsiteX155" fmla="*/ 5562600 w 8801100"/>
                  <a:gd name="connsiteY155" fmla="*/ 4060032 h 4410075"/>
                  <a:gd name="connsiteX156" fmla="*/ 5693569 w 8801100"/>
                  <a:gd name="connsiteY156" fmla="*/ 4031456 h 4410075"/>
                  <a:gd name="connsiteX157" fmla="*/ 5872162 w 8801100"/>
                  <a:gd name="connsiteY157" fmla="*/ 4048125 h 4410075"/>
                  <a:gd name="connsiteX158" fmla="*/ 5929313 w 8801100"/>
                  <a:gd name="connsiteY158" fmla="*/ 4021932 h 4410075"/>
                  <a:gd name="connsiteX159" fmla="*/ 6062662 w 8801100"/>
                  <a:gd name="connsiteY159" fmla="*/ 4019550 h 4410075"/>
                  <a:gd name="connsiteX160" fmla="*/ 6196012 w 8801100"/>
                  <a:gd name="connsiteY160" fmla="*/ 3921919 h 4410075"/>
                  <a:gd name="connsiteX161" fmla="*/ 6262687 w 8801100"/>
                  <a:gd name="connsiteY161" fmla="*/ 3914775 h 4410075"/>
                  <a:gd name="connsiteX162" fmla="*/ 6360319 w 8801100"/>
                  <a:gd name="connsiteY162" fmla="*/ 3840956 h 4410075"/>
                  <a:gd name="connsiteX163" fmla="*/ 6434138 w 8801100"/>
                  <a:gd name="connsiteY163" fmla="*/ 3771900 h 4410075"/>
                  <a:gd name="connsiteX164" fmla="*/ 6443663 w 8801100"/>
                  <a:gd name="connsiteY164" fmla="*/ 3709988 h 4410075"/>
                  <a:gd name="connsiteX165" fmla="*/ 6477000 w 8801100"/>
                  <a:gd name="connsiteY165" fmla="*/ 3640931 h 4410075"/>
                  <a:gd name="connsiteX166" fmla="*/ 6629400 w 8801100"/>
                  <a:gd name="connsiteY166" fmla="*/ 3533775 h 4410075"/>
                  <a:gd name="connsiteX167" fmla="*/ 6662738 w 8801100"/>
                  <a:gd name="connsiteY167" fmla="*/ 3538538 h 4410075"/>
                  <a:gd name="connsiteX168" fmla="*/ 6715125 w 8801100"/>
                  <a:gd name="connsiteY168" fmla="*/ 3459956 h 4410075"/>
                  <a:gd name="connsiteX169" fmla="*/ 6762750 w 8801100"/>
                  <a:gd name="connsiteY169" fmla="*/ 3421856 h 4410075"/>
                  <a:gd name="connsiteX170" fmla="*/ 6748463 w 8801100"/>
                  <a:gd name="connsiteY170" fmla="*/ 3352800 h 4410075"/>
                  <a:gd name="connsiteX171" fmla="*/ 6698456 w 8801100"/>
                  <a:gd name="connsiteY171" fmla="*/ 3321843 h 4410075"/>
                  <a:gd name="connsiteX172" fmla="*/ 6638925 w 8801100"/>
                  <a:gd name="connsiteY172" fmla="*/ 3267075 h 4410075"/>
                  <a:gd name="connsiteX173" fmla="*/ 6619875 w 8801100"/>
                  <a:gd name="connsiteY173" fmla="*/ 3209925 h 4410075"/>
                  <a:gd name="connsiteX174" fmla="*/ 6584156 w 8801100"/>
                  <a:gd name="connsiteY174" fmla="*/ 3176588 h 4410075"/>
                  <a:gd name="connsiteX175" fmla="*/ 6610350 w 8801100"/>
                  <a:gd name="connsiteY175" fmla="*/ 3124200 h 4410075"/>
                  <a:gd name="connsiteX176" fmla="*/ 6650831 w 8801100"/>
                  <a:gd name="connsiteY176" fmla="*/ 2945606 h 4410075"/>
                  <a:gd name="connsiteX177" fmla="*/ 6691313 w 8801100"/>
                  <a:gd name="connsiteY177" fmla="*/ 2878931 h 4410075"/>
                  <a:gd name="connsiteX178" fmla="*/ 6836569 w 8801100"/>
                  <a:gd name="connsiteY178" fmla="*/ 2862262 h 4410075"/>
                  <a:gd name="connsiteX179" fmla="*/ 6905625 w 8801100"/>
                  <a:gd name="connsiteY179" fmla="*/ 2919413 h 4410075"/>
                  <a:gd name="connsiteX180" fmla="*/ 6981825 w 8801100"/>
                  <a:gd name="connsiteY180" fmla="*/ 2943225 h 4410075"/>
                  <a:gd name="connsiteX181" fmla="*/ 7186612 w 8801100"/>
                  <a:gd name="connsiteY181" fmla="*/ 2947988 h 4410075"/>
                  <a:gd name="connsiteX182" fmla="*/ 7362825 w 8801100"/>
                  <a:gd name="connsiteY182" fmla="*/ 2809875 h 4410075"/>
                  <a:gd name="connsiteX183" fmla="*/ 7419975 w 8801100"/>
                  <a:gd name="connsiteY183" fmla="*/ 2719387 h 4410075"/>
                  <a:gd name="connsiteX184" fmla="*/ 7446169 w 8801100"/>
                  <a:gd name="connsiteY184" fmla="*/ 2636044 h 4410075"/>
                  <a:gd name="connsiteX185" fmla="*/ 7577137 w 8801100"/>
                  <a:gd name="connsiteY185" fmla="*/ 2636044 h 4410075"/>
                  <a:gd name="connsiteX186" fmla="*/ 7750969 w 8801100"/>
                  <a:gd name="connsiteY186" fmla="*/ 2578893 h 4410075"/>
                  <a:gd name="connsiteX187" fmla="*/ 7810500 w 8801100"/>
                  <a:gd name="connsiteY187" fmla="*/ 2466975 h 4410075"/>
                  <a:gd name="connsiteX188" fmla="*/ 7874794 w 8801100"/>
                  <a:gd name="connsiteY188" fmla="*/ 2431256 h 4410075"/>
                  <a:gd name="connsiteX189" fmla="*/ 7853363 w 8801100"/>
                  <a:gd name="connsiteY189" fmla="*/ 2386013 h 4410075"/>
                  <a:gd name="connsiteX190" fmla="*/ 7931944 w 8801100"/>
                  <a:gd name="connsiteY190" fmla="*/ 2216943 h 4410075"/>
                  <a:gd name="connsiteX191" fmla="*/ 7986713 w 8801100"/>
                  <a:gd name="connsiteY191" fmla="*/ 2157413 h 4410075"/>
                  <a:gd name="connsiteX192" fmla="*/ 8024813 w 8801100"/>
                  <a:gd name="connsiteY192" fmla="*/ 2152650 h 4410075"/>
                  <a:gd name="connsiteX193" fmla="*/ 8070056 w 8801100"/>
                  <a:gd name="connsiteY193" fmla="*/ 2157413 h 4410075"/>
                  <a:gd name="connsiteX194" fmla="*/ 8134350 w 8801100"/>
                  <a:gd name="connsiteY194" fmla="*/ 2124075 h 4410075"/>
                  <a:gd name="connsiteX195" fmla="*/ 8143875 w 8801100"/>
                  <a:gd name="connsiteY195" fmla="*/ 2059781 h 4410075"/>
                  <a:gd name="connsiteX196" fmla="*/ 8184355 w 8801100"/>
                  <a:gd name="connsiteY196" fmla="*/ 2024063 h 4410075"/>
                  <a:gd name="connsiteX197" fmla="*/ 8243888 w 8801100"/>
                  <a:gd name="connsiteY197" fmla="*/ 2064543 h 4410075"/>
                  <a:gd name="connsiteX198" fmla="*/ 8270082 w 8801100"/>
                  <a:gd name="connsiteY198" fmla="*/ 2014537 h 4410075"/>
                  <a:gd name="connsiteX199" fmla="*/ 8365331 w 8801100"/>
                  <a:gd name="connsiteY199" fmla="*/ 1945481 h 4410075"/>
                  <a:gd name="connsiteX200" fmla="*/ 8427244 w 8801100"/>
                  <a:gd name="connsiteY200" fmla="*/ 1952625 h 4410075"/>
                  <a:gd name="connsiteX201" fmla="*/ 8477250 w 8801100"/>
                  <a:gd name="connsiteY201" fmla="*/ 1933575 h 4410075"/>
                  <a:gd name="connsiteX202" fmla="*/ 8515350 w 8801100"/>
                  <a:gd name="connsiteY202" fmla="*/ 1905000 h 4410075"/>
                  <a:gd name="connsiteX203" fmla="*/ 8548688 w 8801100"/>
                  <a:gd name="connsiteY203" fmla="*/ 1902619 h 4410075"/>
                  <a:gd name="connsiteX204" fmla="*/ 8584406 w 8801100"/>
                  <a:gd name="connsiteY204" fmla="*/ 1933575 h 4410075"/>
                  <a:gd name="connsiteX205" fmla="*/ 8643938 w 8801100"/>
                  <a:gd name="connsiteY205" fmla="*/ 1933575 h 4410075"/>
                  <a:gd name="connsiteX206" fmla="*/ 8682037 w 8801100"/>
                  <a:gd name="connsiteY206" fmla="*/ 1914525 h 4410075"/>
                  <a:gd name="connsiteX207" fmla="*/ 8765381 w 8801100"/>
                  <a:gd name="connsiteY207" fmla="*/ 1916907 h 4410075"/>
                  <a:gd name="connsiteX208" fmla="*/ 8796338 w 8801100"/>
                  <a:gd name="connsiteY208" fmla="*/ 1871663 h 4410075"/>
                  <a:gd name="connsiteX209" fmla="*/ 8801100 w 8801100"/>
                  <a:gd name="connsiteY209" fmla="*/ 1809750 h 4410075"/>
                  <a:gd name="connsiteX210" fmla="*/ 8751093 w 8801100"/>
                  <a:gd name="connsiteY210" fmla="*/ 1769269 h 4410075"/>
                  <a:gd name="connsiteX211" fmla="*/ 8734425 w 8801100"/>
                  <a:gd name="connsiteY211" fmla="*/ 1714500 h 4410075"/>
                  <a:gd name="connsiteX212" fmla="*/ 8643938 w 8801100"/>
                  <a:gd name="connsiteY212" fmla="*/ 1652588 h 4410075"/>
                  <a:gd name="connsiteX213" fmla="*/ 8603456 w 8801100"/>
                  <a:gd name="connsiteY213" fmla="*/ 1631156 h 4410075"/>
                  <a:gd name="connsiteX214" fmla="*/ 8565356 w 8801100"/>
                  <a:gd name="connsiteY214" fmla="*/ 1585913 h 4410075"/>
                  <a:gd name="connsiteX215" fmla="*/ 8534400 w 8801100"/>
                  <a:gd name="connsiteY215" fmla="*/ 1583531 h 4410075"/>
                  <a:gd name="connsiteX216" fmla="*/ 8517731 w 8801100"/>
                  <a:gd name="connsiteY216" fmla="*/ 1531144 h 4410075"/>
                  <a:gd name="connsiteX217" fmla="*/ 8477250 w 8801100"/>
                  <a:gd name="connsiteY217" fmla="*/ 1514475 h 4410075"/>
                  <a:gd name="connsiteX218" fmla="*/ 8477250 w 8801100"/>
                  <a:gd name="connsiteY218" fmla="*/ 1514475 h 4410075"/>
                  <a:gd name="connsiteX219" fmla="*/ 8436769 w 8801100"/>
                  <a:gd name="connsiteY219" fmla="*/ 1519238 h 4410075"/>
                  <a:gd name="connsiteX220" fmla="*/ 8351043 w 8801100"/>
                  <a:gd name="connsiteY220" fmla="*/ 1445419 h 4410075"/>
                  <a:gd name="connsiteX221" fmla="*/ 8170069 w 8801100"/>
                  <a:gd name="connsiteY221" fmla="*/ 1445418 h 4410075"/>
                  <a:gd name="connsiteX222" fmla="*/ 8117681 w 8801100"/>
                  <a:gd name="connsiteY222" fmla="*/ 1483519 h 4410075"/>
                  <a:gd name="connsiteX223" fmla="*/ 8067675 w 8801100"/>
                  <a:gd name="connsiteY223" fmla="*/ 1562100 h 4410075"/>
                  <a:gd name="connsiteX224" fmla="*/ 8084344 w 8801100"/>
                  <a:gd name="connsiteY224" fmla="*/ 1583531 h 4410075"/>
                  <a:gd name="connsiteX225" fmla="*/ 8039100 w 8801100"/>
                  <a:gd name="connsiteY225" fmla="*/ 1633537 h 4410075"/>
                  <a:gd name="connsiteX226" fmla="*/ 7889081 w 8801100"/>
                  <a:gd name="connsiteY226" fmla="*/ 1557337 h 4410075"/>
                  <a:gd name="connsiteX227" fmla="*/ 7798594 w 8801100"/>
                  <a:gd name="connsiteY227" fmla="*/ 1593056 h 4410075"/>
                  <a:gd name="connsiteX228" fmla="*/ 7724775 w 8801100"/>
                  <a:gd name="connsiteY228" fmla="*/ 1590675 h 4410075"/>
                  <a:gd name="connsiteX229" fmla="*/ 7667625 w 8801100"/>
                  <a:gd name="connsiteY229" fmla="*/ 1685925 h 4410075"/>
                  <a:gd name="connsiteX230" fmla="*/ 7529513 w 8801100"/>
                  <a:gd name="connsiteY230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4586288 w 8801100"/>
                  <a:gd name="connsiteY148" fmla="*/ 4305300 h 4410075"/>
                  <a:gd name="connsiteX149" fmla="*/ 4595813 w 8801100"/>
                  <a:gd name="connsiteY149" fmla="*/ 4383881 h 4410075"/>
                  <a:gd name="connsiteX150" fmla="*/ 4681538 w 8801100"/>
                  <a:gd name="connsiteY150" fmla="*/ 4379118 h 4410075"/>
                  <a:gd name="connsiteX151" fmla="*/ 4760119 w 8801100"/>
                  <a:gd name="connsiteY151" fmla="*/ 4410075 h 4410075"/>
                  <a:gd name="connsiteX152" fmla="*/ 4802981 w 8801100"/>
                  <a:gd name="connsiteY152" fmla="*/ 4350544 h 4410075"/>
                  <a:gd name="connsiteX153" fmla="*/ 5474494 w 8801100"/>
                  <a:gd name="connsiteY153" fmla="*/ 4031456 h 4410075"/>
                  <a:gd name="connsiteX154" fmla="*/ 5562600 w 8801100"/>
                  <a:gd name="connsiteY154" fmla="*/ 4060032 h 4410075"/>
                  <a:gd name="connsiteX155" fmla="*/ 5693569 w 8801100"/>
                  <a:gd name="connsiteY155" fmla="*/ 4031456 h 4410075"/>
                  <a:gd name="connsiteX156" fmla="*/ 5872162 w 8801100"/>
                  <a:gd name="connsiteY156" fmla="*/ 4048125 h 4410075"/>
                  <a:gd name="connsiteX157" fmla="*/ 5929313 w 8801100"/>
                  <a:gd name="connsiteY157" fmla="*/ 4021932 h 4410075"/>
                  <a:gd name="connsiteX158" fmla="*/ 6062662 w 8801100"/>
                  <a:gd name="connsiteY158" fmla="*/ 4019550 h 4410075"/>
                  <a:gd name="connsiteX159" fmla="*/ 6196012 w 8801100"/>
                  <a:gd name="connsiteY159" fmla="*/ 3921919 h 4410075"/>
                  <a:gd name="connsiteX160" fmla="*/ 6262687 w 8801100"/>
                  <a:gd name="connsiteY160" fmla="*/ 3914775 h 4410075"/>
                  <a:gd name="connsiteX161" fmla="*/ 6360319 w 8801100"/>
                  <a:gd name="connsiteY161" fmla="*/ 3840956 h 4410075"/>
                  <a:gd name="connsiteX162" fmla="*/ 6434138 w 8801100"/>
                  <a:gd name="connsiteY162" fmla="*/ 3771900 h 4410075"/>
                  <a:gd name="connsiteX163" fmla="*/ 6443663 w 8801100"/>
                  <a:gd name="connsiteY163" fmla="*/ 3709988 h 4410075"/>
                  <a:gd name="connsiteX164" fmla="*/ 6477000 w 8801100"/>
                  <a:gd name="connsiteY164" fmla="*/ 3640931 h 4410075"/>
                  <a:gd name="connsiteX165" fmla="*/ 6629400 w 8801100"/>
                  <a:gd name="connsiteY165" fmla="*/ 3533775 h 4410075"/>
                  <a:gd name="connsiteX166" fmla="*/ 6662738 w 8801100"/>
                  <a:gd name="connsiteY166" fmla="*/ 3538538 h 4410075"/>
                  <a:gd name="connsiteX167" fmla="*/ 6715125 w 8801100"/>
                  <a:gd name="connsiteY167" fmla="*/ 3459956 h 4410075"/>
                  <a:gd name="connsiteX168" fmla="*/ 6762750 w 8801100"/>
                  <a:gd name="connsiteY168" fmla="*/ 3421856 h 4410075"/>
                  <a:gd name="connsiteX169" fmla="*/ 6748463 w 8801100"/>
                  <a:gd name="connsiteY169" fmla="*/ 3352800 h 4410075"/>
                  <a:gd name="connsiteX170" fmla="*/ 6698456 w 8801100"/>
                  <a:gd name="connsiteY170" fmla="*/ 3321843 h 4410075"/>
                  <a:gd name="connsiteX171" fmla="*/ 6638925 w 8801100"/>
                  <a:gd name="connsiteY171" fmla="*/ 3267075 h 4410075"/>
                  <a:gd name="connsiteX172" fmla="*/ 6619875 w 8801100"/>
                  <a:gd name="connsiteY172" fmla="*/ 3209925 h 4410075"/>
                  <a:gd name="connsiteX173" fmla="*/ 6584156 w 8801100"/>
                  <a:gd name="connsiteY173" fmla="*/ 3176588 h 4410075"/>
                  <a:gd name="connsiteX174" fmla="*/ 6610350 w 8801100"/>
                  <a:gd name="connsiteY174" fmla="*/ 3124200 h 4410075"/>
                  <a:gd name="connsiteX175" fmla="*/ 6650831 w 8801100"/>
                  <a:gd name="connsiteY175" fmla="*/ 2945606 h 4410075"/>
                  <a:gd name="connsiteX176" fmla="*/ 6691313 w 8801100"/>
                  <a:gd name="connsiteY176" fmla="*/ 2878931 h 4410075"/>
                  <a:gd name="connsiteX177" fmla="*/ 6836569 w 8801100"/>
                  <a:gd name="connsiteY177" fmla="*/ 2862262 h 4410075"/>
                  <a:gd name="connsiteX178" fmla="*/ 6905625 w 8801100"/>
                  <a:gd name="connsiteY178" fmla="*/ 2919413 h 4410075"/>
                  <a:gd name="connsiteX179" fmla="*/ 6981825 w 8801100"/>
                  <a:gd name="connsiteY179" fmla="*/ 2943225 h 4410075"/>
                  <a:gd name="connsiteX180" fmla="*/ 7186612 w 8801100"/>
                  <a:gd name="connsiteY180" fmla="*/ 2947988 h 4410075"/>
                  <a:gd name="connsiteX181" fmla="*/ 7362825 w 8801100"/>
                  <a:gd name="connsiteY181" fmla="*/ 2809875 h 4410075"/>
                  <a:gd name="connsiteX182" fmla="*/ 7419975 w 8801100"/>
                  <a:gd name="connsiteY182" fmla="*/ 2719387 h 4410075"/>
                  <a:gd name="connsiteX183" fmla="*/ 7446169 w 8801100"/>
                  <a:gd name="connsiteY183" fmla="*/ 2636044 h 4410075"/>
                  <a:gd name="connsiteX184" fmla="*/ 7577137 w 8801100"/>
                  <a:gd name="connsiteY184" fmla="*/ 2636044 h 4410075"/>
                  <a:gd name="connsiteX185" fmla="*/ 7750969 w 8801100"/>
                  <a:gd name="connsiteY185" fmla="*/ 2578893 h 4410075"/>
                  <a:gd name="connsiteX186" fmla="*/ 7810500 w 8801100"/>
                  <a:gd name="connsiteY186" fmla="*/ 2466975 h 4410075"/>
                  <a:gd name="connsiteX187" fmla="*/ 7874794 w 8801100"/>
                  <a:gd name="connsiteY187" fmla="*/ 2431256 h 4410075"/>
                  <a:gd name="connsiteX188" fmla="*/ 7853363 w 8801100"/>
                  <a:gd name="connsiteY188" fmla="*/ 2386013 h 4410075"/>
                  <a:gd name="connsiteX189" fmla="*/ 7931944 w 8801100"/>
                  <a:gd name="connsiteY189" fmla="*/ 2216943 h 4410075"/>
                  <a:gd name="connsiteX190" fmla="*/ 7986713 w 8801100"/>
                  <a:gd name="connsiteY190" fmla="*/ 2157413 h 4410075"/>
                  <a:gd name="connsiteX191" fmla="*/ 8024813 w 8801100"/>
                  <a:gd name="connsiteY191" fmla="*/ 2152650 h 4410075"/>
                  <a:gd name="connsiteX192" fmla="*/ 8070056 w 8801100"/>
                  <a:gd name="connsiteY192" fmla="*/ 2157413 h 4410075"/>
                  <a:gd name="connsiteX193" fmla="*/ 8134350 w 8801100"/>
                  <a:gd name="connsiteY193" fmla="*/ 2124075 h 4410075"/>
                  <a:gd name="connsiteX194" fmla="*/ 8143875 w 8801100"/>
                  <a:gd name="connsiteY194" fmla="*/ 2059781 h 4410075"/>
                  <a:gd name="connsiteX195" fmla="*/ 8184355 w 8801100"/>
                  <a:gd name="connsiteY195" fmla="*/ 2024063 h 4410075"/>
                  <a:gd name="connsiteX196" fmla="*/ 8243888 w 8801100"/>
                  <a:gd name="connsiteY196" fmla="*/ 2064543 h 4410075"/>
                  <a:gd name="connsiteX197" fmla="*/ 8270082 w 8801100"/>
                  <a:gd name="connsiteY197" fmla="*/ 2014537 h 4410075"/>
                  <a:gd name="connsiteX198" fmla="*/ 8365331 w 8801100"/>
                  <a:gd name="connsiteY198" fmla="*/ 1945481 h 4410075"/>
                  <a:gd name="connsiteX199" fmla="*/ 8427244 w 8801100"/>
                  <a:gd name="connsiteY199" fmla="*/ 1952625 h 4410075"/>
                  <a:gd name="connsiteX200" fmla="*/ 8477250 w 8801100"/>
                  <a:gd name="connsiteY200" fmla="*/ 1933575 h 4410075"/>
                  <a:gd name="connsiteX201" fmla="*/ 8515350 w 8801100"/>
                  <a:gd name="connsiteY201" fmla="*/ 1905000 h 4410075"/>
                  <a:gd name="connsiteX202" fmla="*/ 8548688 w 8801100"/>
                  <a:gd name="connsiteY202" fmla="*/ 1902619 h 4410075"/>
                  <a:gd name="connsiteX203" fmla="*/ 8584406 w 8801100"/>
                  <a:gd name="connsiteY203" fmla="*/ 1933575 h 4410075"/>
                  <a:gd name="connsiteX204" fmla="*/ 8643938 w 8801100"/>
                  <a:gd name="connsiteY204" fmla="*/ 1933575 h 4410075"/>
                  <a:gd name="connsiteX205" fmla="*/ 8682037 w 8801100"/>
                  <a:gd name="connsiteY205" fmla="*/ 1914525 h 4410075"/>
                  <a:gd name="connsiteX206" fmla="*/ 8765381 w 8801100"/>
                  <a:gd name="connsiteY206" fmla="*/ 1916907 h 4410075"/>
                  <a:gd name="connsiteX207" fmla="*/ 8796338 w 8801100"/>
                  <a:gd name="connsiteY207" fmla="*/ 1871663 h 4410075"/>
                  <a:gd name="connsiteX208" fmla="*/ 8801100 w 8801100"/>
                  <a:gd name="connsiteY208" fmla="*/ 1809750 h 4410075"/>
                  <a:gd name="connsiteX209" fmla="*/ 8751093 w 8801100"/>
                  <a:gd name="connsiteY209" fmla="*/ 1769269 h 4410075"/>
                  <a:gd name="connsiteX210" fmla="*/ 8734425 w 8801100"/>
                  <a:gd name="connsiteY210" fmla="*/ 1714500 h 4410075"/>
                  <a:gd name="connsiteX211" fmla="*/ 8643938 w 8801100"/>
                  <a:gd name="connsiteY211" fmla="*/ 1652588 h 4410075"/>
                  <a:gd name="connsiteX212" fmla="*/ 8603456 w 8801100"/>
                  <a:gd name="connsiteY212" fmla="*/ 1631156 h 4410075"/>
                  <a:gd name="connsiteX213" fmla="*/ 8565356 w 8801100"/>
                  <a:gd name="connsiteY213" fmla="*/ 1585913 h 4410075"/>
                  <a:gd name="connsiteX214" fmla="*/ 8534400 w 8801100"/>
                  <a:gd name="connsiteY214" fmla="*/ 1583531 h 4410075"/>
                  <a:gd name="connsiteX215" fmla="*/ 8517731 w 8801100"/>
                  <a:gd name="connsiteY215" fmla="*/ 1531144 h 4410075"/>
                  <a:gd name="connsiteX216" fmla="*/ 8477250 w 8801100"/>
                  <a:gd name="connsiteY216" fmla="*/ 1514475 h 4410075"/>
                  <a:gd name="connsiteX217" fmla="*/ 8477250 w 8801100"/>
                  <a:gd name="connsiteY217" fmla="*/ 1514475 h 4410075"/>
                  <a:gd name="connsiteX218" fmla="*/ 8436769 w 8801100"/>
                  <a:gd name="connsiteY218" fmla="*/ 1519238 h 4410075"/>
                  <a:gd name="connsiteX219" fmla="*/ 8351043 w 8801100"/>
                  <a:gd name="connsiteY219" fmla="*/ 1445419 h 4410075"/>
                  <a:gd name="connsiteX220" fmla="*/ 8170069 w 8801100"/>
                  <a:gd name="connsiteY220" fmla="*/ 1445418 h 4410075"/>
                  <a:gd name="connsiteX221" fmla="*/ 8117681 w 8801100"/>
                  <a:gd name="connsiteY221" fmla="*/ 1483519 h 4410075"/>
                  <a:gd name="connsiteX222" fmla="*/ 8067675 w 8801100"/>
                  <a:gd name="connsiteY222" fmla="*/ 1562100 h 4410075"/>
                  <a:gd name="connsiteX223" fmla="*/ 8084344 w 8801100"/>
                  <a:gd name="connsiteY223" fmla="*/ 1583531 h 4410075"/>
                  <a:gd name="connsiteX224" fmla="*/ 8039100 w 8801100"/>
                  <a:gd name="connsiteY224" fmla="*/ 1633537 h 4410075"/>
                  <a:gd name="connsiteX225" fmla="*/ 7889081 w 8801100"/>
                  <a:gd name="connsiteY225" fmla="*/ 1557337 h 4410075"/>
                  <a:gd name="connsiteX226" fmla="*/ 7798594 w 8801100"/>
                  <a:gd name="connsiteY226" fmla="*/ 1593056 h 4410075"/>
                  <a:gd name="connsiteX227" fmla="*/ 7724775 w 8801100"/>
                  <a:gd name="connsiteY227" fmla="*/ 1590675 h 4410075"/>
                  <a:gd name="connsiteX228" fmla="*/ 7667625 w 8801100"/>
                  <a:gd name="connsiteY228" fmla="*/ 1685925 h 4410075"/>
                  <a:gd name="connsiteX229" fmla="*/ 7529513 w 8801100"/>
                  <a:gd name="connsiteY229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4595813 w 8801100"/>
                  <a:gd name="connsiteY148" fmla="*/ 4383881 h 4410075"/>
                  <a:gd name="connsiteX149" fmla="*/ 4681538 w 8801100"/>
                  <a:gd name="connsiteY149" fmla="*/ 4379118 h 4410075"/>
                  <a:gd name="connsiteX150" fmla="*/ 4760119 w 8801100"/>
                  <a:gd name="connsiteY150" fmla="*/ 4410075 h 4410075"/>
                  <a:gd name="connsiteX151" fmla="*/ 4802981 w 8801100"/>
                  <a:gd name="connsiteY151" fmla="*/ 4350544 h 4410075"/>
                  <a:gd name="connsiteX152" fmla="*/ 5474494 w 8801100"/>
                  <a:gd name="connsiteY152" fmla="*/ 4031456 h 4410075"/>
                  <a:gd name="connsiteX153" fmla="*/ 5562600 w 8801100"/>
                  <a:gd name="connsiteY153" fmla="*/ 4060032 h 4410075"/>
                  <a:gd name="connsiteX154" fmla="*/ 5693569 w 8801100"/>
                  <a:gd name="connsiteY154" fmla="*/ 4031456 h 4410075"/>
                  <a:gd name="connsiteX155" fmla="*/ 5872162 w 8801100"/>
                  <a:gd name="connsiteY155" fmla="*/ 4048125 h 4410075"/>
                  <a:gd name="connsiteX156" fmla="*/ 5929313 w 8801100"/>
                  <a:gd name="connsiteY156" fmla="*/ 4021932 h 4410075"/>
                  <a:gd name="connsiteX157" fmla="*/ 6062662 w 8801100"/>
                  <a:gd name="connsiteY157" fmla="*/ 4019550 h 4410075"/>
                  <a:gd name="connsiteX158" fmla="*/ 6196012 w 8801100"/>
                  <a:gd name="connsiteY158" fmla="*/ 3921919 h 4410075"/>
                  <a:gd name="connsiteX159" fmla="*/ 6262687 w 8801100"/>
                  <a:gd name="connsiteY159" fmla="*/ 3914775 h 4410075"/>
                  <a:gd name="connsiteX160" fmla="*/ 6360319 w 8801100"/>
                  <a:gd name="connsiteY160" fmla="*/ 3840956 h 4410075"/>
                  <a:gd name="connsiteX161" fmla="*/ 6434138 w 8801100"/>
                  <a:gd name="connsiteY161" fmla="*/ 3771900 h 4410075"/>
                  <a:gd name="connsiteX162" fmla="*/ 6443663 w 8801100"/>
                  <a:gd name="connsiteY162" fmla="*/ 3709988 h 4410075"/>
                  <a:gd name="connsiteX163" fmla="*/ 6477000 w 8801100"/>
                  <a:gd name="connsiteY163" fmla="*/ 3640931 h 4410075"/>
                  <a:gd name="connsiteX164" fmla="*/ 6629400 w 8801100"/>
                  <a:gd name="connsiteY164" fmla="*/ 3533775 h 4410075"/>
                  <a:gd name="connsiteX165" fmla="*/ 6662738 w 8801100"/>
                  <a:gd name="connsiteY165" fmla="*/ 3538538 h 4410075"/>
                  <a:gd name="connsiteX166" fmla="*/ 6715125 w 8801100"/>
                  <a:gd name="connsiteY166" fmla="*/ 3459956 h 4410075"/>
                  <a:gd name="connsiteX167" fmla="*/ 6762750 w 8801100"/>
                  <a:gd name="connsiteY167" fmla="*/ 3421856 h 4410075"/>
                  <a:gd name="connsiteX168" fmla="*/ 6748463 w 8801100"/>
                  <a:gd name="connsiteY168" fmla="*/ 3352800 h 4410075"/>
                  <a:gd name="connsiteX169" fmla="*/ 6698456 w 8801100"/>
                  <a:gd name="connsiteY169" fmla="*/ 3321843 h 4410075"/>
                  <a:gd name="connsiteX170" fmla="*/ 6638925 w 8801100"/>
                  <a:gd name="connsiteY170" fmla="*/ 3267075 h 4410075"/>
                  <a:gd name="connsiteX171" fmla="*/ 6619875 w 8801100"/>
                  <a:gd name="connsiteY171" fmla="*/ 3209925 h 4410075"/>
                  <a:gd name="connsiteX172" fmla="*/ 6584156 w 8801100"/>
                  <a:gd name="connsiteY172" fmla="*/ 3176588 h 4410075"/>
                  <a:gd name="connsiteX173" fmla="*/ 6610350 w 8801100"/>
                  <a:gd name="connsiteY173" fmla="*/ 3124200 h 4410075"/>
                  <a:gd name="connsiteX174" fmla="*/ 6650831 w 8801100"/>
                  <a:gd name="connsiteY174" fmla="*/ 2945606 h 4410075"/>
                  <a:gd name="connsiteX175" fmla="*/ 6691313 w 8801100"/>
                  <a:gd name="connsiteY175" fmla="*/ 2878931 h 4410075"/>
                  <a:gd name="connsiteX176" fmla="*/ 6836569 w 8801100"/>
                  <a:gd name="connsiteY176" fmla="*/ 2862262 h 4410075"/>
                  <a:gd name="connsiteX177" fmla="*/ 6905625 w 8801100"/>
                  <a:gd name="connsiteY177" fmla="*/ 2919413 h 4410075"/>
                  <a:gd name="connsiteX178" fmla="*/ 6981825 w 8801100"/>
                  <a:gd name="connsiteY178" fmla="*/ 2943225 h 4410075"/>
                  <a:gd name="connsiteX179" fmla="*/ 7186612 w 8801100"/>
                  <a:gd name="connsiteY179" fmla="*/ 2947988 h 4410075"/>
                  <a:gd name="connsiteX180" fmla="*/ 7362825 w 8801100"/>
                  <a:gd name="connsiteY180" fmla="*/ 2809875 h 4410075"/>
                  <a:gd name="connsiteX181" fmla="*/ 7419975 w 8801100"/>
                  <a:gd name="connsiteY181" fmla="*/ 2719387 h 4410075"/>
                  <a:gd name="connsiteX182" fmla="*/ 7446169 w 8801100"/>
                  <a:gd name="connsiteY182" fmla="*/ 2636044 h 4410075"/>
                  <a:gd name="connsiteX183" fmla="*/ 7577137 w 8801100"/>
                  <a:gd name="connsiteY183" fmla="*/ 2636044 h 4410075"/>
                  <a:gd name="connsiteX184" fmla="*/ 7750969 w 8801100"/>
                  <a:gd name="connsiteY184" fmla="*/ 2578893 h 4410075"/>
                  <a:gd name="connsiteX185" fmla="*/ 7810500 w 8801100"/>
                  <a:gd name="connsiteY185" fmla="*/ 2466975 h 4410075"/>
                  <a:gd name="connsiteX186" fmla="*/ 7874794 w 8801100"/>
                  <a:gd name="connsiteY186" fmla="*/ 2431256 h 4410075"/>
                  <a:gd name="connsiteX187" fmla="*/ 7853363 w 8801100"/>
                  <a:gd name="connsiteY187" fmla="*/ 2386013 h 4410075"/>
                  <a:gd name="connsiteX188" fmla="*/ 7931944 w 8801100"/>
                  <a:gd name="connsiteY188" fmla="*/ 2216943 h 4410075"/>
                  <a:gd name="connsiteX189" fmla="*/ 7986713 w 8801100"/>
                  <a:gd name="connsiteY189" fmla="*/ 2157413 h 4410075"/>
                  <a:gd name="connsiteX190" fmla="*/ 8024813 w 8801100"/>
                  <a:gd name="connsiteY190" fmla="*/ 2152650 h 4410075"/>
                  <a:gd name="connsiteX191" fmla="*/ 8070056 w 8801100"/>
                  <a:gd name="connsiteY191" fmla="*/ 2157413 h 4410075"/>
                  <a:gd name="connsiteX192" fmla="*/ 8134350 w 8801100"/>
                  <a:gd name="connsiteY192" fmla="*/ 2124075 h 4410075"/>
                  <a:gd name="connsiteX193" fmla="*/ 8143875 w 8801100"/>
                  <a:gd name="connsiteY193" fmla="*/ 2059781 h 4410075"/>
                  <a:gd name="connsiteX194" fmla="*/ 8184355 w 8801100"/>
                  <a:gd name="connsiteY194" fmla="*/ 2024063 h 4410075"/>
                  <a:gd name="connsiteX195" fmla="*/ 8243888 w 8801100"/>
                  <a:gd name="connsiteY195" fmla="*/ 2064543 h 4410075"/>
                  <a:gd name="connsiteX196" fmla="*/ 8270082 w 8801100"/>
                  <a:gd name="connsiteY196" fmla="*/ 2014537 h 4410075"/>
                  <a:gd name="connsiteX197" fmla="*/ 8365331 w 8801100"/>
                  <a:gd name="connsiteY197" fmla="*/ 1945481 h 4410075"/>
                  <a:gd name="connsiteX198" fmla="*/ 8427244 w 8801100"/>
                  <a:gd name="connsiteY198" fmla="*/ 1952625 h 4410075"/>
                  <a:gd name="connsiteX199" fmla="*/ 8477250 w 8801100"/>
                  <a:gd name="connsiteY199" fmla="*/ 1933575 h 4410075"/>
                  <a:gd name="connsiteX200" fmla="*/ 8515350 w 8801100"/>
                  <a:gd name="connsiteY200" fmla="*/ 1905000 h 4410075"/>
                  <a:gd name="connsiteX201" fmla="*/ 8548688 w 8801100"/>
                  <a:gd name="connsiteY201" fmla="*/ 1902619 h 4410075"/>
                  <a:gd name="connsiteX202" fmla="*/ 8584406 w 8801100"/>
                  <a:gd name="connsiteY202" fmla="*/ 1933575 h 4410075"/>
                  <a:gd name="connsiteX203" fmla="*/ 8643938 w 8801100"/>
                  <a:gd name="connsiteY203" fmla="*/ 1933575 h 4410075"/>
                  <a:gd name="connsiteX204" fmla="*/ 8682037 w 8801100"/>
                  <a:gd name="connsiteY204" fmla="*/ 1914525 h 4410075"/>
                  <a:gd name="connsiteX205" fmla="*/ 8765381 w 8801100"/>
                  <a:gd name="connsiteY205" fmla="*/ 1916907 h 4410075"/>
                  <a:gd name="connsiteX206" fmla="*/ 8796338 w 8801100"/>
                  <a:gd name="connsiteY206" fmla="*/ 1871663 h 4410075"/>
                  <a:gd name="connsiteX207" fmla="*/ 8801100 w 8801100"/>
                  <a:gd name="connsiteY207" fmla="*/ 1809750 h 4410075"/>
                  <a:gd name="connsiteX208" fmla="*/ 8751093 w 8801100"/>
                  <a:gd name="connsiteY208" fmla="*/ 1769269 h 4410075"/>
                  <a:gd name="connsiteX209" fmla="*/ 8734425 w 8801100"/>
                  <a:gd name="connsiteY209" fmla="*/ 1714500 h 4410075"/>
                  <a:gd name="connsiteX210" fmla="*/ 8643938 w 8801100"/>
                  <a:gd name="connsiteY210" fmla="*/ 1652588 h 4410075"/>
                  <a:gd name="connsiteX211" fmla="*/ 8603456 w 8801100"/>
                  <a:gd name="connsiteY211" fmla="*/ 1631156 h 4410075"/>
                  <a:gd name="connsiteX212" fmla="*/ 8565356 w 8801100"/>
                  <a:gd name="connsiteY212" fmla="*/ 1585913 h 4410075"/>
                  <a:gd name="connsiteX213" fmla="*/ 8534400 w 8801100"/>
                  <a:gd name="connsiteY213" fmla="*/ 1583531 h 4410075"/>
                  <a:gd name="connsiteX214" fmla="*/ 8517731 w 8801100"/>
                  <a:gd name="connsiteY214" fmla="*/ 1531144 h 4410075"/>
                  <a:gd name="connsiteX215" fmla="*/ 8477250 w 8801100"/>
                  <a:gd name="connsiteY215" fmla="*/ 1514475 h 4410075"/>
                  <a:gd name="connsiteX216" fmla="*/ 8477250 w 8801100"/>
                  <a:gd name="connsiteY216" fmla="*/ 1514475 h 4410075"/>
                  <a:gd name="connsiteX217" fmla="*/ 8436769 w 8801100"/>
                  <a:gd name="connsiteY217" fmla="*/ 1519238 h 4410075"/>
                  <a:gd name="connsiteX218" fmla="*/ 8351043 w 8801100"/>
                  <a:gd name="connsiteY218" fmla="*/ 1445419 h 4410075"/>
                  <a:gd name="connsiteX219" fmla="*/ 8170069 w 8801100"/>
                  <a:gd name="connsiteY219" fmla="*/ 1445418 h 4410075"/>
                  <a:gd name="connsiteX220" fmla="*/ 8117681 w 8801100"/>
                  <a:gd name="connsiteY220" fmla="*/ 1483519 h 4410075"/>
                  <a:gd name="connsiteX221" fmla="*/ 8067675 w 8801100"/>
                  <a:gd name="connsiteY221" fmla="*/ 1562100 h 4410075"/>
                  <a:gd name="connsiteX222" fmla="*/ 8084344 w 8801100"/>
                  <a:gd name="connsiteY222" fmla="*/ 1583531 h 4410075"/>
                  <a:gd name="connsiteX223" fmla="*/ 8039100 w 8801100"/>
                  <a:gd name="connsiteY223" fmla="*/ 1633537 h 4410075"/>
                  <a:gd name="connsiteX224" fmla="*/ 7889081 w 8801100"/>
                  <a:gd name="connsiteY224" fmla="*/ 1557337 h 4410075"/>
                  <a:gd name="connsiteX225" fmla="*/ 7798594 w 8801100"/>
                  <a:gd name="connsiteY225" fmla="*/ 1593056 h 4410075"/>
                  <a:gd name="connsiteX226" fmla="*/ 7724775 w 8801100"/>
                  <a:gd name="connsiteY226" fmla="*/ 1590675 h 4410075"/>
                  <a:gd name="connsiteX227" fmla="*/ 7667625 w 8801100"/>
                  <a:gd name="connsiteY227" fmla="*/ 1685925 h 4410075"/>
                  <a:gd name="connsiteX228" fmla="*/ 7529513 w 8801100"/>
                  <a:gd name="connsiteY228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4681538 w 8801100"/>
                  <a:gd name="connsiteY148" fmla="*/ 4379118 h 4410075"/>
                  <a:gd name="connsiteX149" fmla="*/ 4760119 w 8801100"/>
                  <a:gd name="connsiteY149" fmla="*/ 4410075 h 4410075"/>
                  <a:gd name="connsiteX150" fmla="*/ 4802981 w 8801100"/>
                  <a:gd name="connsiteY150" fmla="*/ 4350544 h 4410075"/>
                  <a:gd name="connsiteX151" fmla="*/ 5474494 w 8801100"/>
                  <a:gd name="connsiteY151" fmla="*/ 4031456 h 4410075"/>
                  <a:gd name="connsiteX152" fmla="*/ 5562600 w 8801100"/>
                  <a:gd name="connsiteY152" fmla="*/ 4060032 h 4410075"/>
                  <a:gd name="connsiteX153" fmla="*/ 5693569 w 8801100"/>
                  <a:gd name="connsiteY153" fmla="*/ 4031456 h 4410075"/>
                  <a:gd name="connsiteX154" fmla="*/ 5872162 w 8801100"/>
                  <a:gd name="connsiteY154" fmla="*/ 4048125 h 4410075"/>
                  <a:gd name="connsiteX155" fmla="*/ 5929313 w 8801100"/>
                  <a:gd name="connsiteY155" fmla="*/ 4021932 h 4410075"/>
                  <a:gd name="connsiteX156" fmla="*/ 6062662 w 8801100"/>
                  <a:gd name="connsiteY156" fmla="*/ 4019550 h 4410075"/>
                  <a:gd name="connsiteX157" fmla="*/ 6196012 w 8801100"/>
                  <a:gd name="connsiteY157" fmla="*/ 3921919 h 4410075"/>
                  <a:gd name="connsiteX158" fmla="*/ 6262687 w 8801100"/>
                  <a:gd name="connsiteY158" fmla="*/ 3914775 h 4410075"/>
                  <a:gd name="connsiteX159" fmla="*/ 6360319 w 8801100"/>
                  <a:gd name="connsiteY159" fmla="*/ 3840956 h 4410075"/>
                  <a:gd name="connsiteX160" fmla="*/ 6434138 w 8801100"/>
                  <a:gd name="connsiteY160" fmla="*/ 3771900 h 4410075"/>
                  <a:gd name="connsiteX161" fmla="*/ 6443663 w 8801100"/>
                  <a:gd name="connsiteY161" fmla="*/ 3709988 h 4410075"/>
                  <a:gd name="connsiteX162" fmla="*/ 6477000 w 8801100"/>
                  <a:gd name="connsiteY162" fmla="*/ 3640931 h 4410075"/>
                  <a:gd name="connsiteX163" fmla="*/ 6629400 w 8801100"/>
                  <a:gd name="connsiteY163" fmla="*/ 3533775 h 4410075"/>
                  <a:gd name="connsiteX164" fmla="*/ 6662738 w 8801100"/>
                  <a:gd name="connsiteY164" fmla="*/ 3538538 h 4410075"/>
                  <a:gd name="connsiteX165" fmla="*/ 6715125 w 8801100"/>
                  <a:gd name="connsiteY165" fmla="*/ 3459956 h 4410075"/>
                  <a:gd name="connsiteX166" fmla="*/ 6762750 w 8801100"/>
                  <a:gd name="connsiteY166" fmla="*/ 3421856 h 4410075"/>
                  <a:gd name="connsiteX167" fmla="*/ 6748463 w 8801100"/>
                  <a:gd name="connsiteY167" fmla="*/ 3352800 h 4410075"/>
                  <a:gd name="connsiteX168" fmla="*/ 6698456 w 8801100"/>
                  <a:gd name="connsiteY168" fmla="*/ 3321843 h 4410075"/>
                  <a:gd name="connsiteX169" fmla="*/ 6638925 w 8801100"/>
                  <a:gd name="connsiteY169" fmla="*/ 3267075 h 4410075"/>
                  <a:gd name="connsiteX170" fmla="*/ 6619875 w 8801100"/>
                  <a:gd name="connsiteY170" fmla="*/ 3209925 h 4410075"/>
                  <a:gd name="connsiteX171" fmla="*/ 6584156 w 8801100"/>
                  <a:gd name="connsiteY171" fmla="*/ 3176588 h 4410075"/>
                  <a:gd name="connsiteX172" fmla="*/ 6610350 w 8801100"/>
                  <a:gd name="connsiteY172" fmla="*/ 3124200 h 4410075"/>
                  <a:gd name="connsiteX173" fmla="*/ 6650831 w 8801100"/>
                  <a:gd name="connsiteY173" fmla="*/ 2945606 h 4410075"/>
                  <a:gd name="connsiteX174" fmla="*/ 6691313 w 8801100"/>
                  <a:gd name="connsiteY174" fmla="*/ 2878931 h 4410075"/>
                  <a:gd name="connsiteX175" fmla="*/ 6836569 w 8801100"/>
                  <a:gd name="connsiteY175" fmla="*/ 2862262 h 4410075"/>
                  <a:gd name="connsiteX176" fmla="*/ 6905625 w 8801100"/>
                  <a:gd name="connsiteY176" fmla="*/ 2919413 h 4410075"/>
                  <a:gd name="connsiteX177" fmla="*/ 6981825 w 8801100"/>
                  <a:gd name="connsiteY177" fmla="*/ 2943225 h 4410075"/>
                  <a:gd name="connsiteX178" fmla="*/ 7186612 w 8801100"/>
                  <a:gd name="connsiteY178" fmla="*/ 2947988 h 4410075"/>
                  <a:gd name="connsiteX179" fmla="*/ 7362825 w 8801100"/>
                  <a:gd name="connsiteY179" fmla="*/ 2809875 h 4410075"/>
                  <a:gd name="connsiteX180" fmla="*/ 7419975 w 8801100"/>
                  <a:gd name="connsiteY180" fmla="*/ 2719387 h 4410075"/>
                  <a:gd name="connsiteX181" fmla="*/ 7446169 w 8801100"/>
                  <a:gd name="connsiteY181" fmla="*/ 2636044 h 4410075"/>
                  <a:gd name="connsiteX182" fmla="*/ 7577137 w 8801100"/>
                  <a:gd name="connsiteY182" fmla="*/ 2636044 h 4410075"/>
                  <a:gd name="connsiteX183" fmla="*/ 7750969 w 8801100"/>
                  <a:gd name="connsiteY183" fmla="*/ 2578893 h 4410075"/>
                  <a:gd name="connsiteX184" fmla="*/ 7810500 w 8801100"/>
                  <a:gd name="connsiteY184" fmla="*/ 2466975 h 4410075"/>
                  <a:gd name="connsiteX185" fmla="*/ 7874794 w 8801100"/>
                  <a:gd name="connsiteY185" fmla="*/ 2431256 h 4410075"/>
                  <a:gd name="connsiteX186" fmla="*/ 7853363 w 8801100"/>
                  <a:gd name="connsiteY186" fmla="*/ 2386013 h 4410075"/>
                  <a:gd name="connsiteX187" fmla="*/ 7931944 w 8801100"/>
                  <a:gd name="connsiteY187" fmla="*/ 2216943 h 4410075"/>
                  <a:gd name="connsiteX188" fmla="*/ 7986713 w 8801100"/>
                  <a:gd name="connsiteY188" fmla="*/ 2157413 h 4410075"/>
                  <a:gd name="connsiteX189" fmla="*/ 8024813 w 8801100"/>
                  <a:gd name="connsiteY189" fmla="*/ 2152650 h 4410075"/>
                  <a:gd name="connsiteX190" fmla="*/ 8070056 w 8801100"/>
                  <a:gd name="connsiteY190" fmla="*/ 2157413 h 4410075"/>
                  <a:gd name="connsiteX191" fmla="*/ 8134350 w 8801100"/>
                  <a:gd name="connsiteY191" fmla="*/ 2124075 h 4410075"/>
                  <a:gd name="connsiteX192" fmla="*/ 8143875 w 8801100"/>
                  <a:gd name="connsiteY192" fmla="*/ 2059781 h 4410075"/>
                  <a:gd name="connsiteX193" fmla="*/ 8184355 w 8801100"/>
                  <a:gd name="connsiteY193" fmla="*/ 2024063 h 4410075"/>
                  <a:gd name="connsiteX194" fmla="*/ 8243888 w 8801100"/>
                  <a:gd name="connsiteY194" fmla="*/ 2064543 h 4410075"/>
                  <a:gd name="connsiteX195" fmla="*/ 8270082 w 8801100"/>
                  <a:gd name="connsiteY195" fmla="*/ 2014537 h 4410075"/>
                  <a:gd name="connsiteX196" fmla="*/ 8365331 w 8801100"/>
                  <a:gd name="connsiteY196" fmla="*/ 1945481 h 4410075"/>
                  <a:gd name="connsiteX197" fmla="*/ 8427244 w 8801100"/>
                  <a:gd name="connsiteY197" fmla="*/ 1952625 h 4410075"/>
                  <a:gd name="connsiteX198" fmla="*/ 8477250 w 8801100"/>
                  <a:gd name="connsiteY198" fmla="*/ 1933575 h 4410075"/>
                  <a:gd name="connsiteX199" fmla="*/ 8515350 w 8801100"/>
                  <a:gd name="connsiteY199" fmla="*/ 1905000 h 4410075"/>
                  <a:gd name="connsiteX200" fmla="*/ 8548688 w 8801100"/>
                  <a:gd name="connsiteY200" fmla="*/ 1902619 h 4410075"/>
                  <a:gd name="connsiteX201" fmla="*/ 8584406 w 8801100"/>
                  <a:gd name="connsiteY201" fmla="*/ 1933575 h 4410075"/>
                  <a:gd name="connsiteX202" fmla="*/ 8643938 w 8801100"/>
                  <a:gd name="connsiteY202" fmla="*/ 1933575 h 4410075"/>
                  <a:gd name="connsiteX203" fmla="*/ 8682037 w 8801100"/>
                  <a:gd name="connsiteY203" fmla="*/ 1914525 h 4410075"/>
                  <a:gd name="connsiteX204" fmla="*/ 8765381 w 8801100"/>
                  <a:gd name="connsiteY204" fmla="*/ 1916907 h 4410075"/>
                  <a:gd name="connsiteX205" fmla="*/ 8796338 w 8801100"/>
                  <a:gd name="connsiteY205" fmla="*/ 1871663 h 4410075"/>
                  <a:gd name="connsiteX206" fmla="*/ 8801100 w 8801100"/>
                  <a:gd name="connsiteY206" fmla="*/ 1809750 h 4410075"/>
                  <a:gd name="connsiteX207" fmla="*/ 8751093 w 8801100"/>
                  <a:gd name="connsiteY207" fmla="*/ 1769269 h 4410075"/>
                  <a:gd name="connsiteX208" fmla="*/ 8734425 w 8801100"/>
                  <a:gd name="connsiteY208" fmla="*/ 1714500 h 4410075"/>
                  <a:gd name="connsiteX209" fmla="*/ 8643938 w 8801100"/>
                  <a:gd name="connsiteY209" fmla="*/ 1652588 h 4410075"/>
                  <a:gd name="connsiteX210" fmla="*/ 8603456 w 8801100"/>
                  <a:gd name="connsiteY210" fmla="*/ 1631156 h 4410075"/>
                  <a:gd name="connsiteX211" fmla="*/ 8565356 w 8801100"/>
                  <a:gd name="connsiteY211" fmla="*/ 1585913 h 4410075"/>
                  <a:gd name="connsiteX212" fmla="*/ 8534400 w 8801100"/>
                  <a:gd name="connsiteY212" fmla="*/ 1583531 h 4410075"/>
                  <a:gd name="connsiteX213" fmla="*/ 8517731 w 8801100"/>
                  <a:gd name="connsiteY213" fmla="*/ 1531144 h 4410075"/>
                  <a:gd name="connsiteX214" fmla="*/ 8477250 w 8801100"/>
                  <a:gd name="connsiteY214" fmla="*/ 1514475 h 4410075"/>
                  <a:gd name="connsiteX215" fmla="*/ 8477250 w 8801100"/>
                  <a:gd name="connsiteY215" fmla="*/ 1514475 h 4410075"/>
                  <a:gd name="connsiteX216" fmla="*/ 8436769 w 8801100"/>
                  <a:gd name="connsiteY216" fmla="*/ 1519238 h 4410075"/>
                  <a:gd name="connsiteX217" fmla="*/ 8351043 w 8801100"/>
                  <a:gd name="connsiteY217" fmla="*/ 1445419 h 4410075"/>
                  <a:gd name="connsiteX218" fmla="*/ 8170069 w 8801100"/>
                  <a:gd name="connsiteY218" fmla="*/ 1445418 h 4410075"/>
                  <a:gd name="connsiteX219" fmla="*/ 8117681 w 8801100"/>
                  <a:gd name="connsiteY219" fmla="*/ 1483519 h 4410075"/>
                  <a:gd name="connsiteX220" fmla="*/ 8067675 w 8801100"/>
                  <a:gd name="connsiteY220" fmla="*/ 1562100 h 4410075"/>
                  <a:gd name="connsiteX221" fmla="*/ 8084344 w 8801100"/>
                  <a:gd name="connsiteY221" fmla="*/ 1583531 h 4410075"/>
                  <a:gd name="connsiteX222" fmla="*/ 8039100 w 8801100"/>
                  <a:gd name="connsiteY222" fmla="*/ 1633537 h 4410075"/>
                  <a:gd name="connsiteX223" fmla="*/ 7889081 w 8801100"/>
                  <a:gd name="connsiteY223" fmla="*/ 1557337 h 4410075"/>
                  <a:gd name="connsiteX224" fmla="*/ 7798594 w 8801100"/>
                  <a:gd name="connsiteY224" fmla="*/ 1593056 h 4410075"/>
                  <a:gd name="connsiteX225" fmla="*/ 7724775 w 8801100"/>
                  <a:gd name="connsiteY225" fmla="*/ 1590675 h 4410075"/>
                  <a:gd name="connsiteX226" fmla="*/ 7667625 w 8801100"/>
                  <a:gd name="connsiteY226" fmla="*/ 1685925 h 4410075"/>
                  <a:gd name="connsiteX227" fmla="*/ 7529513 w 8801100"/>
                  <a:gd name="connsiteY227" fmla="*/ 1588294 h 4410075"/>
                  <a:gd name="connsiteX0" fmla="*/ 7529513 w 8801100"/>
                  <a:gd name="connsiteY0" fmla="*/ 1588294 h 4410075"/>
                  <a:gd name="connsiteX1" fmla="*/ 7522369 w 8801100"/>
                  <a:gd name="connsiteY1" fmla="*/ 1533525 h 4410075"/>
                  <a:gd name="connsiteX2" fmla="*/ 7589044 w 8801100"/>
                  <a:gd name="connsiteY2" fmla="*/ 1459706 h 4410075"/>
                  <a:gd name="connsiteX3" fmla="*/ 7572375 w 8801100"/>
                  <a:gd name="connsiteY3" fmla="*/ 1388269 h 4410075"/>
                  <a:gd name="connsiteX4" fmla="*/ 7586663 w 8801100"/>
                  <a:gd name="connsiteY4" fmla="*/ 1293019 h 4410075"/>
                  <a:gd name="connsiteX5" fmla="*/ 7624763 w 8801100"/>
                  <a:gd name="connsiteY5" fmla="*/ 1235869 h 4410075"/>
                  <a:gd name="connsiteX6" fmla="*/ 7605712 w 8801100"/>
                  <a:gd name="connsiteY6" fmla="*/ 1202531 h 4410075"/>
                  <a:gd name="connsiteX7" fmla="*/ 7703343 w 8801100"/>
                  <a:gd name="connsiteY7" fmla="*/ 802481 h 4410075"/>
                  <a:gd name="connsiteX8" fmla="*/ 7696200 w 8801100"/>
                  <a:gd name="connsiteY8" fmla="*/ 773906 h 4410075"/>
                  <a:gd name="connsiteX9" fmla="*/ 7567613 w 8801100"/>
                  <a:gd name="connsiteY9" fmla="*/ 752475 h 4410075"/>
                  <a:gd name="connsiteX10" fmla="*/ 7384257 w 8801100"/>
                  <a:gd name="connsiteY10" fmla="*/ 831056 h 4410075"/>
                  <a:gd name="connsiteX11" fmla="*/ 7227093 w 8801100"/>
                  <a:gd name="connsiteY11" fmla="*/ 716756 h 4410075"/>
                  <a:gd name="connsiteX12" fmla="*/ 7150894 w 8801100"/>
                  <a:gd name="connsiteY12" fmla="*/ 723900 h 4410075"/>
                  <a:gd name="connsiteX13" fmla="*/ 7077075 w 8801100"/>
                  <a:gd name="connsiteY13" fmla="*/ 719138 h 4410075"/>
                  <a:gd name="connsiteX14" fmla="*/ 6938963 w 8801100"/>
                  <a:gd name="connsiteY14" fmla="*/ 823913 h 4410075"/>
                  <a:gd name="connsiteX15" fmla="*/ 6831806 w 8801100"/>
                  <a:gd name="connsiteY15" fmla="*/ 931069 h 4410075"/>
                  <a:gd name="connsiteX16" fmla="*/ 6788944 w 8801100"/>
                  <a:gd name="connsiteY16" fmla="*/ 1000125 h 4410075"/>
                  <a:gd name="connsiteX17" fmla="*/ 6796088 w 8801100"/>
                  <a:gd name="connsiteY17" fmla="*/ 1035844 h 4410075"/>
                  <a:gd name="connsiteX18" fmla="*/ 6734175 w 8801100"/>
                  <a:gd name="connsiteY18" fmla="*/ 1047750 h 4410075"/>
                  <a:gd name="connsiteX19" fmla="*/ 6753225 w 8801100"/>
                  <a:gd name="connsiteY19" fmla="*/ 1047750 h 4410075"/>
                  <a:gd name="connsiteX20" fmla="*/ 6719888 w 8801100"/>
                  <a:gd name="connsiteY20" fmla="*/ 1078706 h 4410075"/>
                  <a:gd name="connsiteX21" fmla="*/ 6619875 w 8801100"/>
                  <a:gd name="connsiteY21" fmla="*/ 1078707 h 4410075"/>
                  <a:gd name="connsiteX22" fmla="*/ 6524625 w 8801100"/>
                  <a:gd name="connsiteY22" fmla="*/ 1133475 h 4410075"/>
                  <a:gd name="connsiteX23" fmla="*/ 6443663 w 8801100"/>
                  <a:gd name="connsiteY23" fmla="*/ 1143000 h 4410075"/>
                  <a:gd name="connsiteX24" fmla="*/ 6403181 w 8801100"/>
                  <a:gd name="connsiteY24" fmla="*/ 1176338 h 4410075"/>
                  <a:gd name="connsiteX25" fmla="*/ 6353175 w 8801100"/>
                  <a:gd name="connsiteY25" fmla="*/ 1181100 h 4410075"/>
                  <a:gd name="connsiteX26" fmla="*/ 6231732 w 8801100"/>
                  <a:gd name="connsiteY26" fmla="*/ 1273969 h 4410075"/>
                  <a:gd name="connsiteX27" fmla="*/ 6172200 w 8801100"/>
                  <a:gd name="connsiteY27" fmla="*/ 1278731 h 4410075"/>
                  <a:gd name="connsiteX28" fmla="*/ 6119813 w 8801100"/>
                  <a:gd name="connsiteY28" fmla="*/ 1243013 h 4410075"/>
                  <a:gd name="connsiteX29" fmla="*/ 6093619 w 8801100"/>
                  <a:gd name="connsiteY29" fmla="*/ 1278731 h 4410075"/>
                  <a:gd name="connsiteX30" fmla="*/ 5895975 w 8801100"/>
                  <a:gd name="connsiteY30" fmla="*/ 1271588 h 4410075"/>
                  <a:gd name="connsiteX31" fmla="*/ 5834063 w 8801100"/>
                  <a:gd name="connsiteY31" fmla="*/ 1226344 h 4410075"/>
                  <a:gd name="connsiteX32" fmla="*/ 5636419 w 8801100"/>
                  <a:gd name="connsiteY32" fmla="*/ 1243013 h 4410075"/>
                  <a:gd name="connsiteX33" fmla="*/ 5548313 w 8801100"/>
                  <a:gd name="connsiteY33" fmla="*/ 1159668 h 4410075"/>
                  <a:gd name="connsiteX34" fmla="*/ 5472113 w 8801100"/>
                  <a:gd name="connsiteY34" fmla="*/ 1114425 h 4410075"/>
                  <a:gd name="connsiteX35" fmla="*/ 5474493 w 8801100"/>
                  <a:gd name="connsiteY35" fmla="*/ 1057275 h 4410075"/>
                  <a:gd name="connsiteX36" fmla="*/ 5455444 w 8801100"/>
                  <a:gd name="connsiteY36" fmla="*/ 1014412 h 4410075"/>
                  <a:gd name="connsiteX37" fmla="*/ 5360194 w 8801100"/>
                  <a:gd name="connsiteY37" fmla="*/ 1016794 h 4410075"/>
                  <a:gd name="connsiteX38" fmla="*/ 5264944 w 8801100"/>
                  <a:gd name="connsiteY38" fmla="*/ 995363 h 4410075"/>
                  <a:gd name="connsiteX39" fmla="*/ 5195887 w 8801100"/>
                  <a:gd name="connsiteY39" fmla="*/ 928687 h 4410075"/>
                  <a:gd name="connsiteX40" fmla="*/ 5160169 w 8801100"/>
                  <a:gd name="connsiteY40" fmla="*/ 885825 h 4410075"/>
                  <a:gd name="connsiteX41" fmla="*/ 5079206 w 8801100"/>
                  <a:gd name="connsiteY41" fmla="*/ 862012 h 4410075"/>
                  <a:gd name="connsiteX42" fmla="*/ 5005388 w 8801100"/>
                  <a:gd name="connsiteY42" fmla="*/ 873918 h 4410075"/>
                  <a:gd name="connsiteX43" fmla="*/ 4948237 w 8801100"/>
                  <a:gd name="connsiteY43" fmla="*/ 821531 h 4410075"/>
                  <a:gd name="connsiteX44" fmla="*/ 4852988 w 8801100"/>
                  <a:gd name="connsiteY44" fmla="*/ 833438 h 4410075"/>
                  <a:gd name="connsiteX45" fmla="*/ 4800600 w 8801100"/>
                  <a:gd name="connsiteY45" fmla="*/ 807244 h 4410075"/>
                  <a:gd name="connsiteX46" fmla="*/ 4719638 w 8801100"/>
                  <a:gd name="connsiteY46" fmla="*/ 850106 h 4410075"/>
                  <a:gd name="connsiteX47" fmla="*/ 4581525 w 8801100"/>
                  <a:gd name="connsiteY47" fmla="*/ 873919 h 4410075"/>
                  <a:gd name="connsiteX48" fmla="*/ 4452938 w 8801100"/>
                  <a:gd name="connsiteY48" fmla="*/ 966788 h 4410075"/>
                  <a:gd name="connsiteX49" fmla="*/ 4405312 w 8801100"/>
                  <a:gd name="connsiteY49" fmla="*/ 928688 h 4410075"/>
                  <a:gd name="connsiteX50" fmla="*/ 4383881 w 8801100"/>
                  <a:gd name="connsiteY50" fmla="*/ 959643 h 4410075"/>
                  <a:gd name="connsiteX51" fmla="*/ 4310063 w 8801100"/>
                  <a:gd name="connsiteY51" fmla="*/ 909638 h 4410075"/>
                  <a:gd name="connsiteX52" fmla="*/ 4271963 w 8801100"/>
                  <a:gd name="connsiteY52" fmla="*/ 916781 h 4410075"/>
                  <a:gd name="connsiteX53" fmla="*/ 4250531 w 8801100"/>
                  <a:gd name="connsiteY53" fmla="*/ 878681 h 4410075"/>
                  <a:gd name="connsiteX54" fmla="*/ 4191000 w 8801100"/>
                  <a:gd name="connsiteY54" fmla="*/ 883444 h 4410075"/>
                  <a:gd name="connsiteX55" fmla="*/ 4145756 w 8801100"/>
                  <a:gd name="connsiteY55" fmla="*/ 854869 h 4410075"/>
                  <a:gd name="connsiteX56" fmla="*/ 4107656 w 8801100"/>
                  <a:gd name="connsiteY56" fmla="*/ 852488 h 4410075"/>
                  <a:gd name="connsiteX57" fmla="*/ 4088606 w 8801100"/>
                  <a:gd name="connsiteY57" fmla="*/ 804862 h 4410075"/>
                  <a:gd name="connsiteX58" fmla="*/ 4074319 w 8801100"/>
                  <a:gd name="connsiteY58" fmla="*/ 773906 h 4410075"/>
                  <a:gd name="connsiteX59" fmla="*/ 4029075 w 8801100"/>
                  <a:gd name="connsiteY59" fmla="*/ 783431 h 4410075"/>
                  <a:gd name="connsiteX60" fmla="*/ 4010025 w 8801100"/>
                  <a:gd name="connsiteY60" fmla="*/ 747713 h 4410075"/>
                  <a:gd name="connsiteX61" fmla="*/ 4031457 w 8801100"/>
                  <a:gd name="connsiteY61" fmla="*/ 692944 h 4410075"/>
                  <a:gd name="connsiteX62" fmla="*/ 4000500 w 8801100"/>
                  <a:gd name="connsiteY62" fmla="*/ 666750 h 4410075"/>
                  <a:gd name="connsiteX63" fmla="*/ 4017169 w 8801100"/>
                  <a:gd name="connsiteY63" fmla="*/ 623888 h 4410075"/>
                  <a:gd name="connsiteX64" fmla="*/ 3990975 w 8801100"/>
                  <a:gd name="connsiteY64" fmla="*/ 581025 h 4410075"/>
                  <a:gd name="connsiteX65" fmla="*/ 3986213 w 8801100"/>
                  <a:gd name="connsiteY65" fmla="*/ 519113 h 4410075"/>
                  <a:gd name="connsiteX66" fmla="*/ 4010025 w 8801100"/>
                  <a:gd name="connsiteY66" fmla="*/ 454818 h 4410075"/>
                  <a:gd name="connsiteX67" fmla="*/ 3971925 w 8801100"/>
                  <a:gd name="connsiteY67" fmla="*/ 457200 h 4410075"/>
                  <a:gd name="connsiteX68" fmla="*/ 3852863 w 8801100"/>
                  <a:gd name="connsiteY68" fmla="*/ 400050 h 4410075"/>
                  <a:gd name="connsiteX69" fmla="*/ 3814762 w 8801100"/>
                  <a:gd name="connsiteY69" fmla="*/ 404812 h 4410075"/>
                  <a:gd name="connsiteX70" fmla="*/ 3609975 w 8801100"/>
                  <a:gd name="connsiteY70" fmla="*/ 295275 h 4410075"/>
                  <a:gd name="connsiteX71" fmla="*/ 3505200 w 8801100"/>
                  <a:gd name="connsiteY71" fmla="*/ 264319 h 4410075"/>
                  <a:gd name="connsiteX72" fmla="*/ 3440906 w 8801100"/>
                  <a:gd name="connsiteY72" fmla="*/ 273843 h 4410075"/>
                  <a:gd name="connsiteX73" fmla="*/ 3409950 w 8801100"/>
                  <a:gd name="connsiteY73" fmla="*/ 209550 h 4410075"/>
                  <a:gd name="connsiteX74" fmla="*/ 3352800 w 8801100"/>
                  <a:gd name="connsiteY74" fmla="*/ 209550 h 4410075"/>
                  <a:gd name="connsiteX75" fmla="*/ 3214687 w 8801100"/>
                  <a:gd name="connsiteY75" fmla="*/ 104775 h 4410075"/>
                  <a:gd name="connsiteX76" fmla="*/ 3181350 w 8801100"/>
                  <a:gd name="connsiteY76" fmla="*/ 164307 h 4410075"/>
                  <a:gd name="connsiteX77" fmla="*/ 3126581 w 8801100"/>
                  <a:gd name="connsiteY77" fmla="*/ 233363 h 4410075"/>
                  <a:gd name="connsiteX78" fmla="*/ 3083719 w 8801100"/>
                  <a:gd name="connsiteY78" fmla="*/ 250031 h 4410075"/>
                  <a:gd name="connsiteX79" fmla="*/ 3052763 w 8801100"/>
                  <a:gd name="connsiteY79" fmla="*/ 242888 h 4410075"/>
                  <a:gd name="connsiteX80" fmla="*/ 3028950 w 8801100"/>
                  <a:gd name="connsiteY80" fmla="*/ 271463 h 4410075"/>
                  <a:gd name="connsiteX81" fmla="*/ 3002756 w 8801100"/>
                  <a:gd name="connsiteY81" fmla="*/ 350044 h 4410075"/>
                  <a:gd name="connsiteX82" fmla="*/ 2959894 w 8801100"/>
                  <a:gd name="connsiteY82" fmla="*/ 347663 h 4410075"/>
                  <a:gd name="connsiteX83" fmla="*/ 2928937 w 8801100"/>
                  <a:gd name="connsiteY83" fmla="*/ 409575 h 4410075"/>
                  <a:gd name="connsiteX84" fmla="*/ 2924175 w 8801100"/>
                  <a:gd name="connsiteY84" fmla="*/ 473869 h 4410075"/>
                  <a:gd name="connsiteX85" fmla="*/ 2897982 w 8801100"/>
                  <a:gd name="connsiteY85" fmla="*/ 511969 h 4410075"/>
                  <a:gd name="connsiteX86" fmla="*/ 2924175 w 8801100"/>
                  <a:gd name="connsiteY86" fmla="*/ 571500 h 4410075"/>
                  <a:gd name="connsiteX87" fmla="*/ 2926556 w 8801100"/>
                  <a:gd name="connsiteY87" fmla="*/ 640556 h 4410075"/>
                  <a:gd name="connsiteX88" fmla="*/ 2955131 w 8801100"/>
                  <a:gd name="connsiteY88" fmla="*/ 692944 h 4410075"/>
                  <a:gd name="connsiteX89" fmla="*/ 3002757 w 8801100"/>
                  <a:gd name="connsiteY89" fmla="*/ 747713 h 4410075"/>
                  <a:gd name="connsiteX90" fmla="*/ 2952750 w 8801100"/>
                  <a:gd name="connsiteY90" fmla="*/ 885825 h 4410075"/>
                  <a:gd name="connsiteX91" fmla="*/ 2883694 w 8801100"/>
                  <a:gd name="connsiteY91" fmla="*/ 952500 h 4410075"/>
                  <a:gd name="connsiteX92" fmla="*/ 2812256 w 8801100"/>
                  <a:gd name="connsiteY92" fmla="*/ 947738 h 4410075"/>
                  <a:gd name="connsiteX93" fmla="*/ 2774156 w 8801100"/>
                  <a:gd name="connsiteY93" fmla="*/ 1004888 h 4410075"/>
                  <a:gd name="connsiteX94" fmla="*/ 2714625 w 8801100"/>
                  <a:gd name="connsiteY94" fmla="*/ 1019175 h 4410075"/>
                  <a:gd name="connsiteX95" fmla="*/ 2645569 w 8801100"/>
                  <a:gd name="connsiteY95" fmla="*/ 959644 h 4410075"/>
                  <a:gd name="connsiteX96" fmla="*/ 2590800 w 8801100"/>
                  <a:gd name="connsiteY96" fmla="*/ 931069 h 4410075"/>
                  <a:gd name="connsiteX97" fmla="*/ 2547938 w 8801100"/>
                  <a:gd name="connsiteY97" fmla="*/ 945356 h 4410075"/>
                  <a:gd name="connsiteX98" fmla="*/ 2495550 w 8801100"/>
                  <a:gd name="connsiteY98" fmla="*/ 928688 h 4410075"/>
                  <a:gd name="connsiteX99" fmla="*/ 2428875 w 8801100"/>
                  <a:gd name="connsiteY99" fmla="*/ 873919 h 4410075"/>
                  <a:gd name="connsiteX100" fmla="*/ 2383631 w 8801100"/>
                  <a:gd name="connsiteY100" fmla="*/ 885825 h 4410075"/>
                  <a:gd name="connsiteX101" fmla="*/ 2362200 w 8801100"/>
                  <a:gd name="connsiteY101" fmla="*/ 854869 h 4410075"/>
                  <a:gd name="connsiteX102" fmla="*/ 2305050 w 8801100"/>
                  <a:gd name="connsiteY102" fmla="*/ 895350 h 4410075"/>
                  <a:gd name="connsiteX103" fmla="*/ 2188369 w 8801100"/>
                  <a:gd name="connsiteY103" fmla="*/ 873919 h 4410075"/>
                  <a:gd name="connsiteX104" fmla="*/ 2138363 w 8801100"/>
                  <a:gd name="connsiteY104" fmla="*/ 821531 h 4410075"/>
                  <a:gd name="connsiteX105" fmla="*/ 2095500 w 8801100"/>
                  <a:gd name="connsiteY105" fmla="*/ 807244 h 4410075"/>
                  <a:gd name="connsiteX106" fmla="*/ 2052638 w 8801100"/>
                  <a:gd name="connsiteY106" fmla="*/ 833438 h 4410075"/>
                  <a:gd name="connsiteX107" fmla="*/ 2000250 w 8801100"/>
                  <a:gd name="connsiteY107" fmla="*/ 742950 h 4410075"/>
                  <a:gd name="connsiteX108" fmla="*/ 1990725 w 8801100"/>
                  <a:gd name="connsiteY108" fmla="*/ 595312 h 4410075"/>
                  <a:gd name="connsiteX109" fmla="*/ 1938337 w 8801100"/>
                  <a:gd name="connsiteY109" fmla="*/ 588168 h 4410075"/>
                  <a:gd name="connsiteX110" fmla="*/ 1847850 w 8801100"/>
                  <a:gd name="connsiteY110" fmla="*/ 578644 h 4410075"/>
                  <a:gd name="connsiteX111" fmla="*/ 1793081 w 8801100"/>
                  <a:gd name="connsiteY111" fmla="*/ 540544 h 4410075"/>
                  <a:gd name="connsiteX112" fmla="*/ 1724025 w 8801100"/>
                  <a:gd name="connsiteY112" fmla="*/ 550069 h 4410075"/>
                  <a:gd name="connsiteX113" fmla="*/ 1678781 w 8801100"/>
                  <a:gd name="connsiteY113" fmla="*/ 523875 h 4410075"/>
                  <a:gd name="connsiteX114" fmla="*/ 1669257 w 8801100"/>
                  <a:gd name="connsiteY114" fmla="*/ 452438 h 4410075"/>
                  <a:gd name="connsiteX115" fmla="*/ 1645444 w 8801100"/>
                  <a:gd name="connsiteY115" fmla="*/ 438150 h 4410075"/>
                  <a:gd name="connsiteX116" fmla="*/ 1607344 w 8801100"/>
                  <a:gd name="connsiteY116" fmla="*/ 485774 h 4410075"/>
                  <a:gd name="connsiteX117" fmla="*/ 1528762 w 8801100"/>
                  <a:gd name="connsiteY117" fmla="*/ 411956 h 4410075"/>
                  <a:gd name="connsiteX118" fmla="*/ 1488281 w 8801100"/>
                  <a:gd name="connsiteY118" fmla="*/ 452438 h 4410075"/>
                  <a:gd name="connsiteX119" fmla="*/ 1412081 w 8801100"/>
                  <a:gd name="connsiteY119" fmla="*/ 438150 h 4410075"/>
                  <a:gd name="connsiteX120" fmla="*/ 1333500 w 8801100"/>
                  <a:gd name="connsiteY120" fmla="*/ 464344 h 4410075"/>
                  <a:gd name="connsiteX121" fmla="*/ 1273969 w 8801100"/>
                  <a:gd name="connsiteY121" fmla="*/ 511968 h 4410075"/>
                  <a:gd name="connsiteX122" fmla="*/ 1200150 w 8801100"/>
                  <a:gd name="connsiteY122" fmla="*/ 523875 h 4410075"/>
                  <a:gd name="connsiteX123" fmla="*/ 1164431 w 8801100"/>
                  <a:gd name="connsiteY123" fmla="*/ 516731 h 4410075"/>
                  <a:gd name="connsiteX124" fmla="*/ 1085851 w 8801100"/>
                  <a:gd name="connsiteY124" fmla="*/ 547688 h 4410075"/>
                  <a:gd name="connsiteX125" fmla="*/ 1064419 w 8801100"/>
                  <a:gd name="connsiteY125" fmla="*/ 576263 h 4410075"/>
                  <a:gd name="connsiteX126" fmla="*/ 997744 w 8801100"/>
                  <a:gd name="connsiteY126" fmla="*/ 566738 h 4410075"/>
                  <a:gd name="connsiteX127" fmla="*/ 928688 w 8801100"/>
                  <a:gd name="connsiteY127" fmla="*/ 590550 h 4410075"/>
                  <a:gd name="connsiteX128" fmla="*/ 873919 w 8801100"/>
                  <a:gd name="connsiteY128" fmla="*/ 628650 h 4410075"/>
                  <a:gd name="connsiteX129" fmla="*/ 778669 w 8801100"/>
                  <a:gd name="connsiteY129" fmla="*/ 642937 h 4410075"/>
                  <a:gd name="connsiteX130" fmla="*/ 764381 w 8801100"/>
                  <a:gd name="connsiteY130" fmla="*/ 664369 h 4410075"/>
                  <a:gd name="connsiteX131" fmla="*/ 776287 w 8801100"/>
                  <a:gd name="connsiteY131" fmla="*/ 709613 h 4410075"/>
                  <a:gd name="connsiteX132" fmla="*/ 676276 w 8801100"/>
                  <a:gd name="connsiteY132" fmla="*/ 762000 h 4410075"/>
                  <a:gd name="connsiteX133" fmla="*/ 638175 w 8801100"/>
                  <a:gd name="connsiteY133" fmla="*/ 733424 h 4410075"/>
                  <a:gd name="connsiteX134" fmla="*/ 607219 w 8801100"/>
                  <a:gd name="connsiteY134" fmla="*/ 790575 h 4410075"/>
                  <a:gd name="connsiteX135" fmla="*/ 550069 w 8801100"/>
                  <a:gd name="connsiteY135" fmla="*/ 752475 h 4410075"/>
                  <a:gd name="connsiteX136" fmla="*/ 514350 w 8801100"/>
                  <a:gd name="connsiteY136" fmla="*/ 781050 h 4410075"/>
                  <a:gd name="connsiteX137" fmla="*/ 478631 w 8801100"/>
                  <a:gd name="connsiteY137" fmla="*/ 745331 h 4410075"/>
                  <a:gd name="connsiteX138" fmla="*/ 426244 w 8801100"/>
                  <a:gd name="connsiteY138" fmla="*/ 757238 h 4410075"/>
                  <a:gd name="connsiteX139" fmla="*/ 381000 w 8801100"/>
                  <a:gd name="connsiteY139" fmla="*/ 728663 h 4410075"/>
                  <a:gd name="connsiteX140" fmla="*/ 357188 w 8801100"/>
                  <a:gd name="connsiteY140" fmla="*/ 747713 h 4410075"/>
                  <a:gd name="connsiteX141" fmla="*/ 333375 w 8801100"/>
                  <a:gd name="connsiteY141" fmla="*/ 807244 h 4410075"/>
                  <a:gd name="connsiteX142" fmla="*/ 261938 w 8801100"/>
                  <a:gd name="connsiteY142" fmla="*/ 845343 h 4410075"/>
                  <a:gd name="connsiteX143" fmla="*/ 209550 w 8801100"/>
                  <a:gd name="connsiteY143" fmla="*/ 816769 h 4410075"/>
                  <a:gd name="connsiteX144" fmla="*/ 119063 w 8801100"/>
                  <a:gd name="connsiteY144" fmla="*/ 826294 h 4410075"/>
                  <a:gd name="connsiteX145" fmla="*/ 71437 w 8801100"/>
                  <a:gd name="connsiteY145" fmla="*/ 792957 h 4410075"/>
                  <a:gd name="connsiteX146" fmla="*/ 0 w 8801100"/>
                  <a:gd name="connsiteY146" fmla="*/ 812006 h 4410075"/>
                  <a:gd name="connsiteX147" fmla="*/ 4762 w 8801100"/>
                  <a:gd name="connsiteY147" fmla="*/ 0 h 4410075"/>
                  <a:gd name="connsiteX148" fmla="*/ 4760119 w 8801100"/>
                  <a:gd name="connsiteY148" fmla="*/ 4410075 h 4410075"/>
                  <a:gd name="connsiteX149" fmla="*/ 4802981 w 8801100"/>
                  <a:gd name="connsiteY149" fmla="*/ 4350544 h 4410075"/>
                  <a:gd name="connsiteX150" fmla="*/ 5474494 w 8801100"/>
                  <a:gd name="connsiteY150" fmla="*/ 4031456 h 4410075"/>
                  <a:gd name="connsiteX151" fmla="*/ 5562600 w 8801100"/>
                  <a:gd name="connsiteY151" fmla="*/ 4060032 h 4410075"/>
                  <a:gd name="connsiteX152" fmla="*/ 5693569 w 8801100"/>
                  <a:gd name="connsiteY152" fmla="*/ 4031456 h 4410075"/>
                  <a:gd name="connsiteX153" fmla="*/ 5872162 w 8801100"/>
                  <a:gd name="connsiteY153" fmla="*/ 4048125 h 4410075"/>
                  <a:gd name="connsiteX154" fmla="*/ 5929313 w 8801100"/>
                  <a:gd name="connsiteY154" fmla="*/ 4021932 h 4410075"/>
                  <a:gd name="connsiteX155" fmla="*/ 6062662 w 8801100"/>
                  <a:gd name="connsiteY155" fmla="*/ 4019550 h 4410075"/>
                  <a:gd name="connsiteX156" fmla="*/ 6196012 w 8801100"/>
                  <a:gd name="connsiteY156" fmla="*/ 3921919 h 4410075"/>
                  <a:gd name="connsiteX157" fmla="*/ 6262687 w 8801100"/>
                  <a:gd name="connsiteY157" fmla="*/ 3914775 h 4410075"/>
                  <a:gd name="connsiteX158" fmla="*/ 6360319 w 8801100"/>
                  <a:gd name="connsiteY158" fmla="*/ 3840956 h 4410075"/>
                  <a:gd name="connsiteX159" fmla="*/ 6434138 w 8801100"/>
                  <a:gd name="connsiteY159" fmla="*/ 3771900 h 4410075"/>
                  <a:gd name="connsiteX160" fmla="*/ 6443663 w 8801100"/>
                  <a:gd name="connsiteY160" fmla="*/ 3709988 h 4410075"/>
                  <a:gd name="connsiteX161" fmla="*/ 6477000 w 8801100"/>
                  <a:gd name="connsiteY161" fmla="*/ 3640931 h 4410075"/>
                  <a:gd name="connsiteX162" fmla="*/ 6629400 w 8801100"/>
                  <a:gd name="connsiteY162" fmla="*/ 3533775 h 4410075"/>
                  <a:gd name="connsiteX163" fmla="*/ 6662738 w 8801100"/>
                  <a:gd name="connsiteY163" fmla="*/ 3538538 h 4410075"/>
                  <a:gd name="connsiteX164" fmla="*/ 6715125 w 8801100"/>
                  <a:gd name="connsiteY164" fmla="*/ 3459956 h 4410075"/>
                  <a:gd name="connsiteX165" fmla="*/ 6762750 w 8801100"/>
                  <a:gd name="connsiteY165" fmla="*/ 3421856 h 4410075"/>
                  <a:gd name="connsiteX166" fmla="*/ 6748463 w 8801100"/>
                  <a:gd name="connsiteY166" fmla="*/ 3352800 h 4410075"/>
                  <a:gd name="connsiteX167" fmla="*/ 6698456 w 8801100"/>
                  <a:gd name="connsiteY167" fmla="*/ 3321843 h 4410075"/>
                  <a:gd name="connsiteX168" fmla="*/ 6638925 w 8801100"/>
                  <a:gd name="connsiteY168" fmla="*/ 3267075 h 4410075"/>
                  <a:gd name="connsiteX169" fmla="*/ 6619875 w 8801100"/>
                  <a:gd name="connsiteY169" fmla="*/ 3209925 h 4410075"/>
                  <a:gd name="connsiteX170" fmla="*/ 6584156 w 8801100"/>
                  <a:gd name="connsiteY170" fmla="*/ 3176588 h 4410075"/>
                  <a:gd name="connsiteX171" fmla="*/ 6610350 w 8801100"/>
                  <a:gd name="connsiteY171" fmla="*/ 3124200 h 4410075"/>
                  <a:gd name="connsiteX172" fmla="*/ 6650831 w 8801100"/>
                  <a:gd name="connsiteY172" fmla="*/ 2945606 h 4410075"/>
                  <a:gd name="connsiteX173" fmla="*/ 6691313 w 8801100"/>
                  <a:gd name="connsiteY173" fmla="*/ 2878931 h 4410075"/>
                  <a:gd name="connsiteX174" fmla="*/ 6836569 w 8801100"/>
                  <a:gd name="connsiteY174" fmla="*/ 2862262 h 4410075"/>
                  <a:gd name="connsiteX175" fmla="*/ 6905625 w 8801100"/>
                  <a:gd name="connsiteY175" fmla="*/ 2919413 h 4410075"/>
                  <a:gd name="connsiteX176" fmla="*/ 6981825 w 8801100"/>
                  <a:gd name="connsiteY176" fmla="*/ 2943225 h 4410075"/>
                  <a:gd name="connsiteX177" fmla="*/ 7186612 w 8801100"/>
                  <a:gd name="connsiteY177" fmla="*/ 2947988 h 4410075"/>
                  <a:gd name="connsiteX178" fmla="*/ 7362825 w 8801100"/>
                  <a:gd name="connsiteY178" fmla="*/ 2809875 h 4410075"/>
                  <a:gd name="connsiteX179" fmla="*/ 7419975 w 8801100"/>
                  <a:gd name="connsiteY179" fmla="*/ 2719387 h 4410075"/>
                  <a:gd name="connsiteX180" fmla="*/ 7446169 w 8801100"/>
                  <a:gd name="connsiteY180" fmla="*/ 2636044 h 4410075"/>
                  <a:gd name="connsiteX181" fmla="*/ 7577137 w 8801100"/>
                  <a:gd name="connsiteY181" fmla="*/ 2636044 h 4410075"/>
                  <a:gd name="connsiteX182" fmla="*/ 7750969 w 8801100"/>
                  <a:gd name="connsiteY182" fmla="*/ 2578893 h 4410075"/>
                  <a:gd name="connsiteX183" fmla="*/ 7810500 w 8801100"/>
                  <a:gd name="connsiteY183" fmla="*/ 2466975 h 4410075"/>
                  <a:gd name="connsiteX184" fmla="*/ 7874794 w 8801100"/>
                  <a:gd name="connsiteY184" fmla="*/ 2431256 h 4410075"/>
                  <a:gd name="connsiteX185" fmla="*/ 7853363 w 8801100"/>
                  <a:gd name="connsiteY185" fmla="*/ 2386013 h 4410075"/>
                  <a:gd name="connsiteX186" fmla="*/ 7931944 w 8801100"/>
                  <a:gd name="connsiteY186" fmla="*/ 2216943 h 4410075"/>
                  <a:gd name="connsiteX187" fmla="*/ 7986713 w 8801100"/>
                  <a:gd name="connsiteY187" fmla="*/ 2157413 h 4410075"/>
                  <a:gd name="connsiteX188" fmla="*/ 8024813 w 8801100"/>
                  <a:gd name="connsiteY188" fmla="*/ 2152650 h 4410075"/>
                  <a:gd name="connsiteX189" fmla="*/ 8070056 w 8801100"/>
                  <a:gd name="connsiteY189" fmla="*/ 2157413 h 4410075"/>
                  <a:gd name="connsiteX190" fmla="*/ 8134350 w 8801100"/>
                  <a:gd name="connsiteY190" fmla="*/ 2124075 h 4410075"/>
                  <a:gd name="connsiteX191" fmla="*/ 8143875 w 8801100"/>
                  <a:gd name="connsiteY191" fmla="*/ 2059781 h 4410075"/>
                  <a:gd name="connsiteX192" fmla="*/ 8184355 w 8801100"/>
                  <a:gd name="connsiteY192" fmla="*/ 2024063 h 4410075"/>
                  <a:gd name="connsiteX193" fmla="*/ 8243888 w 8801100"/>
                  <a:gd name="connsiteY193" fmla="*/ 2064543 h 4410075"/>
                  <a:gd name="connsiteX194" fmla="*/ 8270082 w 8801100"/>
                  <a:gd name="connsiteY194" fmla="*/ 2014537 h 4410075"/>
                  <a:gd name="connsiteX195" fmla="*/ 8365331 w 8801100"/>
                  <a:gd name="connsiteY195" fmla="*/ 1945481 h 4410075"/>
                  <a:gd name="connsiteX196" fmla="*/ 8427244 w 8801100"/>
                  <a:gd name="connsiteY196" fmla="*/ 1952625 h 4410075"/>
                  <a:gd name="connsiteX197" fmla="*/ 8477250 w 8801100"/>
                  <a:gd name="connsiteY197" fmla="*/ 1933575 h 4410075"/>
                  <a:gd name="connsiteX198" fmla="*/ 8515350 w 8801100"/>
                  <a:gd name="connsiteY198" fmla="*/ 1905000 h 4410075"/>
                  <a:gd name="connsiteX199" fmla="*/ 8548688 w 8801100"/>
                  <a:gd name="connsiteY199" fmla="*/ 1902619 h 4410075"/>
                  <a:gd name="connsiteX200" fmla="*/ 8584406 w 8801100"/>
                  <a:gd name="connsiteY200" fmla="*/ 1933575 h 4410075"/>
                  <a:gd name="connsiteX201" fmla="*/ 8643938 w 8801100"/>
                  <a:gd name="connsiteY201" fmla="*/ 1933575 h 4410075"/>
                  <a:gd name="connsiteX202" fmla="*/ 8682037 w 8801100"/>
                  <a:gd name="connsiteY202" fmla="*/ 1914525 h 4410075"/>
                  <a:gd name="connsiteX203" fmla="*/ 8765381 w 8801100"/>
                  <a:gd name="connsiteY203" fmla="*/ 1916907 h 4410075"/>
                  <a:gd name="connsiteX204" fmla="*/ 8796338 w 8801100"/>
                  <a:gd name="connsiteY204" fmla="*/ 1871663 h 4410075"/>
                  <a:gd name="connsiteX205" fmla="*/ 8801100 w 8801100"/>
                  <a:gd name="connsiteY205" fmla="*/ 1809750 h 4410075"/>
                  <a:gd name="connsiteX206" fmla="*/ 8751093 w 8801100"/>
                  <a:gd name="connsiteY206" fmla="*/ 1769269 h 4410075"/>
                  <a:gd name="connsiteX207" fmla="*/ 8734425 w 8801100"/>
                  <a:gd name="connsiteY207" fmla="*/ 1714500 h 4410075"/>
                  <a:gd name="connsiteX208" fmla="*/ 8643938 w 8801100"/>
                  <a:gd name="connsiteY208" fmla="*/ 1652588 h 4410075"/>
                  <a:gd name="connsiteX209" fmla="*/ 8603456 w 8801100"/>
                  <a:gd name="connsiteY209" fmla="*/ 1631156 h 4410075"/>
                  <a:gd name="connsiteX210" fmla="*/ 8565356 w 8801100"/>
                  <a:gd name="connsiteY210" fmla="*/ 1585913 h 4410075"/>
                  <a:gd name="connsiteX211" fmla="*/ 8534400 w 8801100"/>
                  <a:gd name="connsiteY211" fmla="*/ 1583531 h 4410075"/>
                  <a:gd name="connsiteX212" fmla="*/ 8517731 w 8801100"/>
                  <a:gd name="connsiteY212" fmla="*/ 1531144 h 4410075"/>
                  <a:gd name="connsiteX213" fmla="*/ 8477250 w 8801100"/>
                  <a:gd name="connsiteY213" fmla="*/ 1514475 h 4410075"/>
                  <a:gd name="connsiteX214" fmla="*/ 8477250 w 8801100"/>
                  <a:gd name="connsiteY214" fmla="*/ 1514475 h 4410075"/>
                  <a:gd name="connsiteX215" fmla="*/ 8436769 w 8801100"/>
                  <a:gd name="connsiteY215" fmla="*/ 1519238 h 4410075"/>
                  <a:gd name="connsiteX216" fmla="*/ 8351043 w 8801100"/>
                  <a:gd name="connsiteY216" fmla="*/ 1445419 h 4410075"/>
                  <a:gd name="connsiteX217" fmla="*/ 8170069 w 8801100"/>
                  <a:gd name="connsiteY217" fmla="*/ 1445418 h 4410075"/>
                  <a:gd name="connsiteX218" fmla="*/ 8117681 w 8801100"/>
                  <a:gd name="connsiteY218" fmla="*/ 1483519 h 4410075"/>
                  <a:gd name="connsiteX219" fmla="*/ 8067675 w 8801100"/>
                  <a:gd name="connsiteY219" fmla="*/ 1562100 h 4410075"/>
                  <a:gd name="connsiteX220" fmla="*/ 8084344 w 8801100"/>
                  <a:gd name="connsiteY220" fmla="*/ 1583531 h 4410075"/>
                  <a:gd name="connsiteX221" fmla="*/ 8039100 w 8801100"/>
                  <a:gd name="connsiteY221" fmla="*/ 1633537 h 4410075"/>
                  <a:gd name="connsiteX222" fmla="*/ 7889081 w 8801100"/>
                  <a:gd name="connsiteY222" fmla="*/ 1557337 h 4410075"/>
                  <a:gd name="connsiteX223" fmla="*/ 7798594 w 8801100"/>
                  <a:gd name="connsiteY223" fmla="*/ 1593056 h 4410075"/>
                  <a:gd name="connsiteX224" fmla="*/ 7724775 w 8801100"/>
                  <a:gd name="connsiteY224" fmla="*/ 1590675 h 4410075"/>
                  <a:gd name="connsiteX225" fmla="*/ 7667625 w 8801100"/>
                  <a:gd name="connsiteY225" fmla="*/ 1685925 h 4410075"/>
                  <a:gd name="connsiteX226" fmla="*/ 7529513 w 8801100"/>
                  <a:gd name="connsiteY226" fmla="*/ 1588294 h 4410075"/>
                  <a:gd name="connsiteX0" fmla="*/ 7529513 w 8801100"/>
                  <a:gd name="connsiteY0" fmla="*/ 1588294 h 4350544"/>
                  <a:gd name="connsiteX1" fmla="*/ 7522369 w 8801100"/>
                  <a:gd name="connsiteY1" fmla="*/ 1533525 h 4350544"/>
                  <a:gd name="connsiteX2" fmla="*/ 7589044 w 8801100"/>
                  <a:gd name="connsiteY2" fmla="*/ 1459706 h 4350544"/>
                  <a:gd name="connsiteX3" fmla="*/ 7572375 w 8801100"/>
                  <a:gd name="connsiteY3" fmla="*/ 1388269 h 4350544"/>
                  <a:gd name="connsiteX4" fmla="*/ 7586663 w 8801100"/>
                  <a:gd name="connsiteY4" fmla="*/ 1293019 h 4350544"/>
                  <a:gd name="connsiteX5" fmla="*/ 7624763 w 8801100"/>
                  <a:gd name="connsiteY5" fmla="*/ 1235869 h 4350544"/>
                  <a:gd name="connsiteX6" fmla="*/ 7605712 w 8801100"/>
                  <a:gd name="connsiteY6" fmla="*/ 1202531 h 4350544"/>
                  <a:gd name="connsiteX7" fmla="*/ 7703343 w 8801100"/>
                  <a:gd name="connsiteY7" fmla="*/ 802481 h 4350544"/>
                  <a:gd name="connsiteX8" fmla="*/ 7696200 w 8801100"/>
                  <a:gd name="connsiteY8" fmla="*/ 773906 h 4350544"/>
                  <a:gd name="connsiteX9" fmla="*/ 7567613 w 8801100"/>
                  <a:gd name="connsiteY9" fmla="*/ 752475 h 4350544"/>
                  <a:gd name="connsiteX10" fmla="*/ 7384257 w 8801100"/>
                  <a:gd name="connsiteY10" fmla="*/ 831056 h 4350544"/>
                  <a:gd name="connsiteX11" fmla="*/ 7227093 w 8801100"/>
                  <a:gd name="connsiteY11" fmla="*/ 716756 h 4350544"/>
                  <a:gd name="connsiteX12" fmla="*/ 7150894 w 8801100"/>
                  <a:gd name="connsiteY12" fmla="*/ 723900 h 4350544"/>
                  <a:gd name="connsiteX13" fmla="*/ 7077075 w 8801100"/>
                  <a:gd name="connsiteY13" fmla="*/ 719138 h 4350544"/>
                  <a:gd name="connsiteX14" fmla="*/ 6938963 w 8801100"/>
                  <a:gd name="connsiteY14" fmla="*/ 823913 h 4350544"/>
                  <a:gd name="connsiteX15" fmla="*/ 6831806 w 8801100"/>
                  <a:gd name="connsiteY15" fmla="*/ 931069 h 4350544"/>
                  <a:gd name="connsiteX16" fmla="*/ 6788944 w 8801100"/>
                  <a:gd name="connsiteY16" fmla="*/ 1000125 h 4350544"/>
                  <a:gd name="connsiteX17" fmla="*/ 6796088 w 8801100"/>
                  <a:gd name="connsiteY17" fmla="*/ 1035844 h 4350544"/>
                  <a:gd name="connsiteX18" fmla="*/ 6734175 w 8801100"/>
                  <a:gd name="connsiteY18" fmla="*/ 1047750 h 4350544"/>
                  <a:gd name="connsiteX19" fmla="*/ 6753225 w 8801100"/>
                  <a:gd name="connsiteY19" fmla="*/ 1047750 h 4350544"/>
                  <a:gd name="connsiteX20" fmla="*/ 6719888 w 8801100"/>
                  <a:gd name="connsiteY20" fmla="*/ 1078706 h 4350544"/>
                  <a:gd name="connsiteX21" fmla="*/ 6619875 w 8801100"/>
                  <a:gd name="connsiteY21" fmla="*/ 1078707 h 4350544"/>
                  <a:gd name="connsiteX22" fmla="*/ 6524625 w 8801100"/>
                  <a:gd name="connsiteY22" fmla="*/ 1133475 h 4350544"/>
                  <a:gd name="connsiteX23" fmla="*/ 6443663 w 8801100"/>
                  <a:gd name="connsiteY23" fmla="*/ 1143000 h 4350544"/>
                  <a:gd name="connsiteX24" fmla="*/ 6403181 w 8801100"/>
                  <a:gd name="connsiteY24" fmla="*/ 1176338 h 4350544"/>
                  <a:gd name="connsiteX25" fmla="*/ 6353175 w 8801100"/>
                  <a:gd name="connsiteY25" fmla="*/ 1181100 h 4350544"/>
                  <a:gd name="connsiteX26" fmla="*/ 6231732 w 8801100"/>
                  <a:gd name="connsiteY26" fmla="*/ 1273969 h 4350544"/>
                  <a:gd name="connsiteX27" fmla="*/ 6172200 w 8801100"/>
                  <a:gd name="connsiteY27" fmla="*/ 1278731 h 4350544"/>
                  <a:gd name="connsiteX28" fmla="*/ 6119813 w 8801100"/>
                  <a:gd name="connsiteY28" fmla="*/ 1243013 h 4350544"/>
                  <a:gd name="connsiteX29" fmla="*/ 6093619 w 8801100"/>
                  <a:gd name="connsiteY29" fmla="*/ 1278731 h 4350544"/>
                  <a:gd name="connsiteX30" fmla="*/ 5895975 w 8801100"/>
                  <a:gd name="connsiteY30" fmla="*/ 1271588 h 4350544"/>
                  <a:gd name="connsiteX31" fmla="*/ 5834063 w 8801100"/>
                  <a:gd name="connsiteY31" fmla="*/ 1226344 h 4350544"/>
                  <a:gd name="connsiteX32" fmla="*/ 5636419 w 8801100"/>
                  <a:gd name="connsiteY32" fmla="*/ 1243013 h 4350544"/>
                  <a:gd name="connsiteX33" fmla="*/ 5548313 w 8801100"/>
                  <a:gd name="connsiteY33" fmla="*/ 1159668 h 4350544"/>
                  <a:gd name="connsiteX34" fmla="*/ 5472113 w 8801100"/>
                  <a:gd name="connsiteY34" fmla="*/ 1114425 h 4350544"/>
                  <a:gd name="connsiteX35" fmla="*/ 5474493 w 8801100"/>
                  <a:gd name="connsiteY35" fmla="*/ 1057275 h 4350544"/>
                  <a:gd name="connsiteX36" fmla="*/ 5455444 w 8801100"/>
                  <a:gd name="connsiteY36" fmla="*/ 1014412 h 4350544"/>
                  <a:gd name="connsiteX37" fmla="*/ 5360194 w 8801100"/>
                  <a:gd name="connsiteY37" fmla="*/ 1016794 h 4350544"/>
                  <a:gd name="connsiteX38" fmla="*/ 5264944 w 8801100"/>
                  <a:gd name="connsiteY38" fmla="*/ 995363 h 4350544"/>
                  <a:gd name="connsiteX39" fmla="*/ 5195887 w 8801100"/>
                  <a:gd name="connsiteY39" fmla="*/ 928687 h 4350544"/>
                  <a:gd name="connsiteX40" fmla="*/ 5160169 w 8801100"/>
                  <a:gd name="connsiteY40" fmla="*/ 885825 h 4350544"/>
                  <a:gd name="connsiteX41" fmla="*/ 5079206 w 8801100"/>
                  <a:gd name="connsiteY41" fmla="*/ 862012 h 4350544"/>
                  <a:gd name="connsiteX42" fmla="*/ 5005388 w 8801100"/>
                  <a:gd name="connsiteY42" fmla="*/ 873918 h 4350544"/>
                  <a:gd name="connsiteX43" fmla="*/ 4948237 w 8801100"/>
                  <a:gd name="connsiteY43" fmla="*/ 821531 h 4350544"/>
                  <a:gd name="connsiteX44" fmla="*/ 4852988 w 8801100"/>
                  <a:gd name="connsiteY44" fmla="*/ 833438 h 4350544"/>
                  <a:gd name="connsiteX45" fmla="*/ 4800600 w 8801100"/>
                  <a:gd name="connsiteY45" fmla="*/ 807244 h 4350544"/>
                  <a:gd name="connsiteX46" fmla="*/ 4719638 w 8801100"/>
                  <a:gd name="connsiteY46" fmla="*/ 850106 h 4350544"/>
                  <a:gd name="connsiteX47" fmla="*/ 4581525 w 8801100"/>
                  <a:gd name="connsiteY47" fmla="*/ 873919 h 4350544"/>
                  <a:gd name="connsiteX48" fmla="*/ 4452938 w 8801100"/>
                  <a:gd name="connsiteY48" fmla="*/ 966788 h 4350544"/>
                  <a:gd name="connsiteX49" fmla="*/ 4405312 w 8801100"/>
                  <a:gd name="connsiteY49" fmla="*/ 928688 h 4350544"/>
                  <a:gd name="connsiteX50" fmla="*/ 4383881 w 8801100"/>
                  <a:gd name="connsiteY50" fmla="*/ 959643 h 4350544"/>
                  <a:gd name="connsiteX51" fmla="*/ 4310063 w 8801100"/>
                  <a:gd name="connsiteY51" fmla="*/ 909638 h 4350544"/>
                  <a:gd name="connsiteX52" fmla="*/ 4271963 w 8801100"/>
                  <a:gd name="connsiteY52" fmla="*/ 916781 h 4350544"/>
                  <a:gd name="connsiteX53" fmla="*/ 4250531 w 8801100"/>
                  <a:gd name="connsiteY53" fmla="*/ 878681 h 4350544"/>
                  <a:gd name="connsiteX54" fmla="*/ 4191000 w 8801100"/>
                  <a:gd name="connsiteY54" fmla="*/ 883444 h 4350544"/>
                  <a:gd name="connsiteX55" fmla="*/ 4145756 w 8801100"/>
                  <a:gd name="connsiteY55" fmla="*/ 854869 h 4350544"/>
                  <a:gd name="connsiteX56" fmla="*/ 4107656 w 8801100"/>
                  <a:gd name="connsiteY56" fmla="*/ 852488 h 4350544"/>
                  <a:gd name="connsiteX57" fmla="*/ 4088606 w 8801100"/>
                  <a:gd name="connsiteY57" fmla="*/ 804862 h 4350544"/>
                  <a:gd name="connsiteX58" fmla="*/ 4074319 w 8801100"/>
                  <a:gd name="connsiteY58" fmla="*/ 773906 h 4350544"/>
                  <a:gd name="connsiteX59" fmla="*/ 4029075 w 8801100"/>
                  <a:gd name="connsiteY59" fmla="*/ 783431 h 4350544"/>
                  <a:gd name="connsiteX60" fmla="*/ 4010025 w 8801100"/>
                  <a:gd name="connsiteY60" fmla="*/ 747713 h 4350544"/>
                  <a:gd name="connsiteX61" fmla="*/ 4031457 w 8801100"/>
                  <a:gd name="connsiteY61" fmla="*/ 692944 h 4350544"/>
                  <a:gd name="connsiteX62" fmla="*/ 4000500 w 8801100"/>
                  <a:gd name="connsiteY62" fmla="*/ 666750 h 4350544"/>
                  <a:gd name="connsiteX63" fmla="*/ 4017169 w 8801100"/>
                  <a:gd name="connsiteY63" fmla="*/ 623888 h 4350544"/>
                  <a:gd name="connsiteX64" fmla="*/ 3990975 w 8801100"/>
                  <a:gd name="connsiteY64" fmla="*/ 581025 h 4350544"/>
                  <a:gd name="connsiteX65" fmla="*/ 3986213 w 8801100"/>
                  <a:gd name="connsiteY65" fmla="*/ 519113 h 4350544"/>
                  <a:gd name="connsiteX66" fmla="*/ 4010025 w 8801100"/>
                  <a:gd name="connsiteY66" fmla="*/ 454818 h 4350544"/>
                  <a:gd name="connsiteX67" fmla="*/ 3971925 w 8801100"/>
                  <a:gd name="connsiteY67" fmla="*/ 457200 h 4350544"/>
                  <a:gd name="connsiteX68" fmla="*/ 3852863 w 8801100"/>
                  <a:gd name="connsiteY68" fmla="*/ 400050 h 4350544"/>
                  <a:gd name="connsiteX69" fmla="*/ 3814762 w 8801100"/>
                  <a:gd name="connsiteY69" fmla="*/ 404812 h 4350544"/>
                  <a:gd name="connsiteX70" fmla="*/ 3609975 w 8801100"/>
                  <a:gd name="connsiteY70" fmla="*/ 295275 h 4350544"/>
                  <a:gd name="connsiteX71" fmla="*/ 3505200 w 8801100"/>
                  <a:gd name="connsiteY71" fmla="*/ 264319 h 4350544"/>
                  <a:gd name="connsiteX72" fmla="*/ 3440906 w 8801100"/>
                  <a:gd name="connsiteY72" fmla="*/ 273843 h 4350544"/>
                  <a:gd name="connsiteX73" fmla="*/ 3409950 w 8801100"/>
                  <a:gd name="connsiteY73" fmla="*/ 209550 h 4350544"/>
                  <a:gd name="connsiteX74" fmla="*/ 3352800 w 8801100"/>
                  <a:gd name="connsiteY74" fmla="*/ 209550 h 4350544"/>
                  <a:gd name="connsiteX75" fmla="*/ 3214687 w 8801100"/>
                  <a:gd name="connsiteY75" fmla="*/ 104775 h 4350544"/>
                  <a:gd name="connsiteX76" fmla="*/ 3181350 w 8801100"/>
                  <a:gd name="connsiteY76" fmla="*/ 164307 h 4350544"/>
                  <a:gd name="connsiteX77" fmla="*/ 3126581 w 8801100"/>
                  <a:gd name="connsiteY77" fmla="*/ 233363 h 4350544"/>
                  <a:gd name="connsiteX78" fmla="*/ 3083719 w 8801100"/>
                  <a:gd name="connsiteY78" fmla="*/ 250031 h 4350544"/>
                  <a:gd name="connsiteX79" fmla="*/ 3052763 w 8801100"/>
                  <a:gd name="connsiteY79" fmla="*/ 242888 h 4350544"/>
                  <a:gd name="connsiteX80" fmla="*/ 3028950 w 8801100"/>
                  <a:gd name="connsiteY80" fmla="*/ 271463 h 4350544"/>
                  <a:gd name="connsiteX81" fmla="*/ 3002756 w 8801100"/>
                  <a:gd name="connsiteY81" fmla="*/ 350044 h 4350544"/>
                  <a:gd name="connsiteX82" fmla="*/ 2959894 w 8801100"/>
                  <a:gd name="connsiteY82" fmla="*/ 347663 h 4350544"/>
                  <a:gd name="connsiteX83" fmla="*/ 2928937 w 8801100"/>
                  <a:gd name="connsiteY83" fmla="*/ 409575 h 4350544"/>
                  <a:gd name="connsiteX84" fmla="*/ 2924175 w 8801100"/>
                  <a:gd name="connsiteY84" fmla="*/ 473869 h 4350544"/>
                  <a:gd name="connsiteX85" fmla="*/ 2897982 w 8801100"/>
                  <a:gd name="connsiteY85" fmla="*/ 511969 h 4350544"/>
                  <a:gd name="connsiteX86" fmla="*/ 2924175 w 8801100"/>
                  <a:gd name="connsiteY86" fmla="*/ 571500 h 4350544"/>
                  <a:gd name="connsiteX87" fmla="*/ 2926556 w 8801100"/>
                  <a:gd name="connsiteY87" fmla="*/ 640556 h 4350544"/>
                  <a:gd name="connsiteX88" fmla="*/ 2955131 w 8801100"/>
                  <a:gd name="connsiteY88" fmla="*/ 692944 h 4350544"/>
                  <a:gd name="connsiteX89" fmla="*/ 3002757 w 8801100"/>
                  <a:gd name="connsiteY89" fmla="*/ 747713 h 4350544"/>
                  <a:gd name="connsiteX90" fmla="*/ 2952750 w 8801100"/>
                  <a:gd name="connsiteY90" fmla="*/ 885825 h 4350544"/>
                  <a:gd name="connsiteX91" fmla="*/ 2883694 w 8801100"/>
                  <a:gd name="connsiteY91" fmla="*/ 952500 h 4350544"/>
                  <a:gd name="connsiteX92" fmla="*/ 2812256 w 8801100"/>
                  <a:gd name="connsiteY92" fmla="*/ 947738 h 4350544"/>
                  <a:gd name="connsiteX93" fmla="*/ 2774156 w 8801100"/>
                  <a:gd name="connsiteY93" fmla="*/ 1004888 h 4350544"/>
                  <a:gd name="connsiteX94" fmla="*/ 2714625 w 8801100"/>
                  <a:gd name="connsiteY94" fmla="*/ 1019175 h 4350544"/>
                  <a:gd name="connsiteX95" fmla="*/ 2645569 w 8801100"/>
                  <a:gd name="connsiteY95" fmla="*/ 959644 h 4350544"/>
                  <a:gd name="connsiteX96" fmla="*/ 2590800 w 8801100"/>
                  <a:gd name="connsiteY96" fmla="*/ 931069 h 4350544"/>
                  <a:gd name="connsiteX97" fmla="*/ 2547938 w 8801100"/>
                  <a:gd name="connsiteY97" fmla="*/ 945356 h 4350544"/>
                  <a:gd name="connsiteX98" fmla="*/ 2495550 w 8801100"/>
                  <a:gd name="connsiteY98" fmla="*/ 928688 h 4350544"/>
                  <a:gd name="connsiteX99" fmla="*/ 2428875 w 8801100"/>
                  <a:gd name="connsiteY99" fmla="*/ 873919 h 4350544"/>
                  <a:gd name="connsiteX100" fmla="*/ 2383631 w 8801100"/>
                  <a:gd name="connsiteY100" fmla="*/ 885825 h 4350544"/>
                  <a:gd name="connsiteX101" fmla="*/ 2362200 w 8801100"/>
                  <a:gd name="connsiteY101" fmla="*/ 854869 h 4350544"/>
                  <a:gd name="connsiteX102" fmla="*/ 2305050 w 8801100"/>
                  <a:gd name="connsiteY102" fmla="*/ 895350 h 4350544"/>
                  <a:gd name="connsiteX103" fmla="*/ 2188369 w 8801100"/>
                  <a:gd name="connsiteY103" fmla="*/ 873919 h 4350544"/>
                  <a:gd name="connsiteX104" fmla="*/ 2138363 w 8801100"/>
                  <a:gd name="connsiteY104" fmla="*/ 821531 h 4350544"/>
                  <a:gd name="connsiteX105" fmla="*/ 2095500 w 8801100"/>
                  <a:gd name="connsiteY105" fmla="*/ 807244 h 4350544"/>
                  <a:gd name="connsiteX106" fmla="*/ 2052638 w 8801100"/>
                  <a:gd name="connsiteY106" fmla="*/ 833438 h 4350544"/>
                  <a:gd name="connsiteX107" fmla="*/ 2000250 w 8801100"/>
                  <a:gd name="connsiteY107" fmla="*/ 742950 h 4350544"/>
                  <a:gd name="connsiteX108" fmla="*/ 1990725 w 8801100"/>
                  <a:gd name="connsiteY108" fmla="*/ 595312 h 4350544"/>
                  <a:gd name="connsiteX109" fmla="*/ 1938337 w 8801100"/>
                  <a:gd name="connsiteY109" fmla="*/ 588168 h 4350544"/>
                  <a:gd name="connsiteX110" fmla="*/ 1847850 w 8801100"/>
                  <a:gd name="connsiteY110" fmla="*/ 578644 h 4350544"/>
                  <a:gd name="connsiteX111" fmla="*/ 1793081 w 8801100"/>
                  <a:gd name="connsiteY111" fmla="*/ 540544 h 4350544"/>
                  <a:gd name="connsiteX112" fmla="*/ 1724025 w 8801100"/>
                  <a:gd name="connsiteY112" fmla="*/ 550069 h 4350544"/>
                  <a:gd name="connsiteX113" fmla="*/ 1678781 w 8801100"/>
                  <a:gd name="connsiteY113" fmla="*/ 523875 h 4350544"/>
                  <a:gd name="connsiteX114" fmla="*/ 1669257 w 8801100"/>
                  <a:gd name="connsiteY114" fmla="*/ 452438 h 4350544"/>
                  <a:gd name="connsiteX115" fmla="*/ 1645444 w 8801100"/>
                  <a:gd name="connsiteY115" fmla="*/ 438150 h 4350544"/>
                  <a:gd name="connsiteX116" fmla="*/ 1607344 w 8801100"/>
                  <a:gd name="connsiteY116" fmla="*/ 485774 h 4350544"/>
                  <a:gd name="connsiteX117" fmla="*/ 1528762 w 8801100"/>
                  <a:gd name="connsiteY117" fmla="*/ 411956 h 4350544"/>
                  <a:gd name="connsiteX118" fmla="*/ 1488281 w 8801100"/>
                  <a:gd name="connsiteY118" fmla="*/ 452438 h 4350544"/>
                  <a:gd name="connsiteX119" fmla="*/ 1412081 w 8801100"/>
                  <a:gd name="connsiteY119" fmla="*/ 438150 h 4350544"/>
                  <a:gd name="connsiteX120" fmla="*/ 1333500 w 8801100"/>
                  <a:gd name="connsiteY120" fmla="*/ 464344 h 4350544"/>
                  <a:gd name="connsiteX121" fmla="*/ 1273969 w 8801100"/>
                  <a:gd name="connsiteY121" fmla="*/ 511968 h 4350544"/>
                  <a:gd name="connsiteX122" fmla="*/ 1200150 w 8801100"/>
                  <a:gd name="connsiteY122" fmla="*/ 523875 h 4350544"/>
                  <a:gd name="connsiteX123" fmla="*/ 1164431 w 8801100"/>
                  <a:gd name="connsiteY123" fmla="*/ 516731 h 4350544"/>
                  <a:gd name="connsiteX124" fmla="*/ 1085851 w 8801100"/>
                  <a:gd name="connsiteY124" fmla="*/ 547688 h 4350544"/>
                  <a:gd name="connsiteX125" fmla="*/ 1064419 w 8801100"/>
                  <a:gd name="connsiteY125" fmla="*/ 576263 h 4350544"/>
                  <a:gd name="connsiteX126" fmla="*/ 997744 w 8801100"/>
                  <a:gd name="connsiteY126" fmla="*/ 566738 h 4350544"/>
                  <a:gd name="connsiteX127" fmla="*/ 928688 w 8801100"/>
                  <a:gd name="connsiteY127" fmla="*/ 590550 h 4350544"/>
                  <a:gd name="connsiteX128" fmla="*/ 873919 w 8801100"/>
                  <a:gd name="connsiteY128" fmla="*/ 628650 h 4350544"/>
                  <a:gd name="connsiteX129" fmla="*/ 778669 w 8801100"/>
                  <a:gd name="connsiteY129" fmla="*/ 642937 h 4350544"/>
                  <a:gd name="connsiteX130" fmla="*/ 764381 w 8801100"/>
                  <a:gd name="connsiteY130" fmla="*/ 664369 h 4350544"/>
                  <a:gd name="connsiteX131" fmla="*/ 776287 w 8801100"/>
                  <a:gd name="connsiteY131" fmla="*/ 709613 h 4350544"/>
                  <a:gd name="connsiteX132" fmla="*/ 676276 w 8801100"/>
                  <a:gd name="connsiteY132" fmla="*/ 762000 h 4350544"/>
                  <a:gd name="connsiteX133" fmla="*/ 638175 w 8801100"/>
                  <a:gd name="connsiteY133" fmla="*/ 733424 h 4350544"/>
                  <a:gd name="connsiteX134" fmla="*/ 607219 w 8801100"/>
                  <a:gd name="connsiteY134" fmla="*/ 790575 h 4350544"/>
                  <a:gd name="connsiteX135" fmla="*/ 550069 w 8801100"/>
                  <a:gd name="connsiteY135" fmla="*/ 752475 h 4350544"/>
                  <a:gd name="connsiteX136" fmla="*/ 514350 w 8801100"/>
                  <a:gd name="connsiteY136" fmla="*/ 781050 h 4350544"/>
                  <a:gd name="connsiteX137" fmla="*/ 478631 w 8801100"/>
                  <a:gd name="connsiteY137" fmla="*/ 745331 h 4350544"/>
                  <a:gd name="connsiteX138" fmla="*/ 426244 w 8801100"/>
                  <a:gd name="connsiteY138" fmla="*/ 757238 h 4350544"/>
                  <a:gd name="connsiteX139" fmla="*/ 381000 w 8801100"/>
                  <a:gd name="connsiteY139" fmla="*/ 728663 h 4350544"/>
                  <a:gd name="connsiteX140" fmla="*/ 357188 w 8801100"/>
                  <a:gd name="connsiteY140" fmla="*/ 747713 h 4350544"/>
                  <a:gd name="connsiteX141" fmla="*/ 333375 w 8801100"/>
                  <a:gd name="connsiteY141" fmla="*/ 807244 h 4350544"/>
                  <a:gd name="connsiteX142" fmla="*/ 261938 w 8801100"/>
                  <a:gd name="connsiteY142" fmla="*/ 845343 h 4350544"/>
                  <a:gd name="connsiteX143" fmla="*/ 209550 w 8801100"/>
                  <a:gd name="connsiteY143" fmla="*/ 816769 h 4350544"/>
                  <a:gd name="connsiteX144" fmla="*/ 119063 w 8801100"/>
                  <a:gd name="connsiteY144" fmla="*/ 826294 h 4350544"/>
                  <a:gd name="connsiteX145" fmla="*/ 71437 w 8801100"/>
                  <a:gd name="connsiteY145" fmla="*/ 792957 h 4350544"/>
                  <a:gd name="connsiteX146" fmla="*/ 0 w 8801100"/>
                  <a:gd name="connsiteY146" fmla="*/ 812006 h 4350544"/>
                  <a:gd name="connsiteX147" fmla="*/ 4762 w 8801100"/>
                  <a:gd name="connsiteY147" fmla="*/ 0 h 4350544"/>
                  <a:gd name="connsiteX148" fmla="*/ 4802981 w 8801100"/>
                  <a:gd name="connsiteY148" fmla="*/ 4350544 h 4350544"/>
                  <a:gd name="connsiteX149" fmla="*/ 5474494 w 8801100"/>
                  <a:gd name="connsiteY149" fmla="*/ 4031456 h 4350544"/>
                  <a:gd name="connsiteX150" fmla="*/ 5562600 w 8801100"/>
                  <a:gd name="connsiteY150" fmla="*/ 4060032 h 4350544"/>
                  <a:gd name="connsiteX151" fmla="*/ 5693569 w 8801100"/>
                  <a:gd name="connsiteY151" fmla="*/ 4031456 h 4350544"/>
                  <a:gd name="connsiteX152" fmla="*/ 5872162 w 8801100"/>
                  <a:gd name="connsiteY152" fmla="*/ 4048125 h 4350544"/>
                  <a:gd name="connsiteX153" fmla="*/ 5929313 w 8801100"/>
                  <a:gd name="connsiteY153" fmla="*/ 4021932 h 4350544"/>
                  <a:gd name="connsiteX154" fmla="*/ 6062662 w 8801100"/>
                  <a:gd name="connsiteY154" fmla="*/ 4019550 h 4350544"/>
                  <a:gd name="connsiteX155" fmla="*/ 6196012 w 8801100"/>
                  <a:gd name="connsiteY155" fmla="*/ 3921919 h 4350544"/>
                  <a:gd name="connsiteX156" fmla="*/ 6262687 w 8801100"/>
                  <a:gd name="connsiteY156" fmla="*/ 3914775 h 4350544"/>
                  <a:gd name="connsiteX157" fmla="*/ 6360319 w 8801100"/>
                  <a:gd name="connsiteY157" fmla="*/ 3840956 h 4350544"/>
                  <a:gd name="connsiteX158" fmla="*/ 6434138 w 8801100"/>
                  <a:gd name="connsiteY158" fmla="*/ 3771900 h 4350544"/>
                  <a:gd name="connsiteX159" fmla="*/ 6443663 w 8801100"/>
                  <a:gd name="connsiteY159" fmla="*/ 3709988 h 4350544"/>
                  <a:gd name="connsiteX160" fmla="*/ 6477000 w 8801100"/>
                  <a:gd name="connsiteY160" fmla="*/ 3640931 h 4350544"/>
                  <a:gd name="connsiteX161" fmla="*/ 6629400 w 8801100"/>
                  <a:gd name="connsiteY161" fmla="*/ 3533775 h 4350544"/>
                  <a:gd name="connsiteX162" fmla="*/ 6662738 w 8801100"/>
                  <a:gd name="connsiteY162" fmla="*/ 3538538 h 4350544"/>
                  <a:gd name="connsiteX163" fmla="*/ 6715125 w 8801100"/>
                  <a:gd name="connsiteY163" fmla="*/ 3459956 h 4350544"/>
                  <a:gd name="connsiteX164" fmla="*/ 6762750 w 8801100"/>
                  <a:gd name="connsiteY164" fmla="*/ 3421856 h 4350544"/>
                  <a:gd name="connsiteX165" fmla="*/ 6748463 w 8801100"/>
                  <a:gd name="connsiteY165" fmla="*/ 3352800 h 4350544"/>
                  <a:gd name="connsiteX166" fmla="*/ 6698456 w 8801100"/>
                  <a:gd name="connsiteY166" fmla="*/ 3321843 h 4350544"/>
                  <a:gd name="connsiteX167" fmla="*/ 6638925 w 8801100"/>
                  <a:gd name="connsiteY167" fmla="*/ 3267075 h 4350544"/>
                  <a:gd name="connsiteX168" fmla="*/ 6619875 w 8801100"/>
                  <a:gd name="connsiteY168" fmla="*/ 3209925 h 4350544"/>
                  <a:gd name="connsiteX169" fmla="*/ 6584156 w 8801100"/>
                  <a:gd name="connsiteY169" fmla="*/ 3176588 h 4350544"/>
                  <a:gd name="connsiteX170" fmla="*/ 6610350 w 8801100"/>
                  <a:gd name="connsiteY170" fmla="*/ 3124200 h 4350544"/>
                  <a:gd name="connsiteX171" fmla="*/ 6650831 w 8801100"/>
                  <a:gd name="connsiteY171" fmla="*/ 2945606 h 4350544"/>
                  <a:gd name="connsiteX172" fmla="*/ 6691313 w 8801100"/>
                  <a:gd name="connsiteY172" fmla="*/ 2878931 h 4350544"/>
                  <a:gd name="connsiteX173" fmla="*/ 6836569 w 8801100"/>
                  <a:gd name="connsiteY173" fmla="*/ 2862262 h 4350544"/>
                  <a:gd name="connsiteX174" fmla="*/ 6905625 w 8801100"/>
                  <a:gd name="connsiteY174" fmla="*/ 2919413 h 4350544"/>
                  <a:gd name="connsiteX175" fmla="*/ 6981825 w 8801100"/>
                  <a:gd name="connsiteY175" fmla="*/ 2943225 h 4350544"/>
                  <a:gd name="connsiteX176" fmla="*/ 7186612 w 8801100"/>
                  <a:gd name="connsiteY176" fmla="*/ 2947988 h 4350544"/>
                  <a:gd name="connsiteX177" fmla="*/ 7362825 w 8801100"/>
                  <a:gd name="connsiteY177" fmla="*/ 2809875 h 4350544"/>
                  <a:gd name="connsiteX178" fmla="*/ 7419975 w 8801100"/>
                  <a:gd name="connsiteY178" fmla="*/ 2719387 h 4350544"/>
                  <a:gd name="connsiteX179" fmla="*/ 7446169 w 8801100"/>
                  <a:gd name="connsiteY179" fmla="*/ 2636044 h 4350544"/>
                  <a:gd name="connsiteX180" fmla="*/ 7577137 w 8801100"/>
                  <a:gd name="connsiteY180" fmla="*/ 2636044 h 4350544"/>
                  <a:gd name="connsiteX181" fmla="*/ 7750969 w 8801100"/>
                  <a:gd name="connsiteY181" fmla="*/ 2578893 h 4350544"/>
                  <a:gd name="connsiteX182" fmla="*/ 7810500 w 8801100"/>
                  <a:gd name="connsiteY182" fmla="*/ 2466975 h 4350544"/>
                  <a:gd name="connsiteX183" fmla="*/ 7874794 w 8801100"/>
                  <a:gd name="connsiteY183" fmla="*/ 2431256 h 4350544"/>
                  <a:gd name="connsiteX184" fmla="*/ 7853363 w 8801100"/>
                  <a:gd name="connsiteY184" fmla="*/ 2386013 h 4350544"/>
                  <a:gd name="connsiteX185" fmla="*/ 7931944 w 8801100"/>
                  <a:gd name="connsiteY185" fmla="*/ 2216943 h 4350544"/>
                  <a:gd name="connsiteX186" fmla="*/ 7986713 w 8801100"/>
                  <a:gd name="connsiteY186" fmla="*/ 2157413 h 4350544"/>
                  <a:gd name="connsiteX187" fmla="*/ 8024813 w 8801100"/>
                  <a:gd name="connsiteY187" fmla="*/ 2152650 h 4350544"/>
                  <a:gd name="connsiteX188" fmla="*/ 8070056 w 8801100"/>
                  <a:gd name="connsiteY188" fmla="*/ 2157413 h 4350544"/>
                  <a:gd name="connsiteX189" fmla="*/ 8134350 w 8801100"/>
                  <a:gd name="connsiteY189" fmla="*/ 2124075 h 4350544"/>
                  <a:gd name="connsiteX190" fmla="*/ 8143875 w 8801100"/>
                  <a:gd name="connsiteY190" fmla="*/ 2059781 h 4350544"/>
                  <a:gd name="connsiteX191" fmla="*/ 8184355 w 8801100"/>
                  <a:gd name="connsiteY191" fmla="*/ 2024063 h 4350544"/>
                  <a:gd name="connsiteX192" fmla="*/ 8243888 w 8801100"/>
                  <a:gd name="connsiteY192" fmla="*/ 2064543 h 4350544"/>
                  <a:gd name="connsiteX193" fmla="*/ 8270082 w 8801100"/>
                  <a:gd name="connsiteY193" fmla="*/ 2014537 h 4350544"/>
                  <a:gd name="connsiteX194" fmla="*/ 8365331 w 8801100"/>
                  <a:gd name="connsiteY194" fmla="*/ 1945481 h 4350544"/>
                  <a:gd name="connsiteX195" fmla="*/ 8427244 w 8801100"/>
                  <a:gd name="connsiteY195" fmla="*/ 1952625 h 4350544"/>
                  <a:gd name="connsiteX196" fmla="*/ 8477250 w 8801100"/>
                  <a:gd name="connsiteY196" fmla="*/ 1933575 h 4350544"/>
                  <a:gd name="connsiteX197" fmla="*/ 8515350 w 8801100"/>
                  <a:gd name="connsiteY197" fmla="*/ 1905000 h 4350544"/>
                  <a:gd name="connsiteX198" fmla="*/ 8548688 w 8801100"/>
                  <a:gd name="connsiteY198" fmla="*/ 1902619 h 4350544"/>
                  <a:gd name="connsiteX199" fmla="*/ 8584406 w 8801100"/>
                  <a:gd name="connsiteY199" fmla="*/ 1933575 h 4350544"/>
                  <a:gd name="connsiteX200" fmla="*/ 8643938 w 8801100"/>
                  <a:gd name="connsiteY200" fmla="*/ 1933575 h 4350544"/>
                  <a:gd name="connsiteX201" fmla="*/ 8682037 w 8801100"/>
                  <a:gd name="connsiteY201" fmla="*/ 1914525 h 4350544"/>
                  <a:gd name="connsiteX202" fmla="*/ 8765381 w 8801100"/>
                  <a:gd name="connsiteY202" fmla="*/ 1916907 h 4350544"/>
                  <a:gd name="connsiteX203" fmla="*/ 8796338 w 8801100"/>
                  <a:gd name="connsiteY203" fmla="*/ 1871663 h 4350544"/>
                  <a:gd name="connsiteX204" fmla="*/ 8801100 w 8801100"/>
                  <a:gd name="connsiteY204" fmla="*/ 1809750 h 4350544"/>
                  <a:gd name="connsiteX205" fmla="*/ 8751093 w 8801100"/>
                  <a:gd name="connsiteY205" fmla="*/ 1769269 h 4350544"/>
                  <a:gd name="connsiteX206" fmla="*/ 8734425 w 8801100"/>
                  <a:gd name="connsiteY206" fmla="*/ 1714500 h 4350544"/>
                  <a:gd name="connsiteX207" fmla="*/ 8643938 w 8801100"/>
                  <a:gd name="connsiteY207" fmla="*/ 1652588 h 4350544"/>
                  <a:gd name="connsiteX208" fmla="*/ 8603456 w 8801100"/>
                  <a:gd name="connsiteY208" fmla="*/ 1631156 h 4350544"/>
                  <a:gd name="connsiteX209" fmla="*/ 8565356 w 8801100"/>
                  <a:gd name="connsiteY209" fmla="*/ 1585913 h 4350544"/>
                  <a:gd name="connsiteX210" fmla="*/ 8534400 w 8801100"/>
                  <a:gd name="connsiteY210" fmla="*/ 1583531 h 4350544"/>
                  <a:gd name="connsiteX211" fmla="*/ 8517731 w 8801100"/>
                  <a:gd name="connsiteY211" fmla="*/ 1531144 h 4350544"/>
                  <a:gd name="connsiteX212" fmla="*/ 8477250 w 8801100"/>
                  <a:gd name="connsiteY212" fmla="*/ 1514475 h 4350544"/>
                  <a:gd name="connsiteX213" fmla="*/ 8477250 w 8801100"/>
                  <a:gd name="connsiteY213" fmla="*/ 1514475 h 4350544"/>
                  <a:gd name="connsiteX214" fmla="*/ 8436769 w 8801100"/>
                  <a:gd name="connsiteY214" fmla="*/ 1519238 h 4350544"/>
                  <a:gd name="connsiteX215" fmla="*/ 8351043 w 8801100"/>
                  <a:gd name="connsiteY215" fmla="*/ 1445419 h 4350544"/>
                  <a:gd name="connsiteX216" fmla="*/ 8170069 w 8801100"/>
                  <a:gd name="connsiteY216" fmla="*/ 1445418 h 4350544"/>
                  <a:gd name="connsiteX217" fmla="*/ 8117681 w 8801100"/>
                  <a:gd name="connsiteY217" fmla="*/ 1483519 h 4350544"/>
                  <a:gd name="connsiteX218" fmla="*/ 8067675 w 8801100"/>
                  <a:gd name="connsiteY218" fmla="*/ 1562100 h 4350544"/>
                  <a:gd name="connsiteX219" fmla="*/ 8084344 w 8801100"/>
                  <a:gd name="connsiteY219" fmla="*/ 1583531 h 4350544"/>
                  <a:gd name="connsiteX220" fmla="*/ 8039100 w 8801100"/>
                  <a:gd name="connsiteY220" fmla="*/ 1633537 h 4350544"/>
                  <a:gd name="connsiteX221" fmla="*/ 7889081 w 8801100"/>
                  <a:gd name="connsiteY221" fmla="*/ 1557337 h 4350544"/>
                  <a:gd name="connsiteX222" fmla="*/ 7798594 w 8801100"/>
                  <a:gd name="connsiteY222" fmla="*/ 1593056 h 4350544"/>
                  <a:gd name="connsiteX223" fmla="*/ 7724775 w 8801100"/>
                  <a:gd name="connsiteY223" fmla="*/ 1590675 h 4350544"/>
                  <a:gd name="connsiteX224" fmla="*/ 7667625 w 8801100"/>
                  <a:gd name="connsiteY224" fmla="*/ 1685925 h 4350544"/>
                  <a:gd name="connsiteX225" fmla="*/ 7529513 w 8801100"/>
                  <a:gd name="connsiteY225" fmla="*/ 1588294 h 4350544"/>
                  <a:gd name="connsiteX0" fmla="*/ 7529513 w 8801100"/>
                  <a:gd name="connsiteY0" fmla="*/ 1588294 h 4350544"/>
                  <a:gd name="connsiteX1" fmla="*/ 7522369 w 8801100"/>
                  <a:gd name="connsiteY1" fmla="*/ 1533525 h 4350544"/>
                  <a:gd name="connsiteX2" fmla="*/ 7589044 w 8801100"/>
                  <a:gd name="connsiteY2" fmla="*/ 1459706 h 4350544"/>
                  <a:gd name="connsiteX3" fmla="*/ 7572375 w 8801100"/>
                  <a:gd name="connsiteY3" fmla="*/ 1388269 h 4350544"/>
                  <a:gd name="connsiteX4" fmla="*/ 7586663 w 8801100"/>
                  <a:gd name="connsiteY4" fmla="*/ 1293019 h 4350544"/>
                  <a:gd name="connsiteX5" fmla="*/ 7624763 w 8801100"/>
                  <a:gd name="connsiteY5" fmla="*/ 1235869 h 4350544"/>
                  <a:gd name="connsiteX6" fmla="*/ 7605712 w 8801100"/>
                  <a:gd name="connsiteY6" fmla="*/ 1202531 h 4350544"/>
                  <a:gd name="connsiteX7" fmla="*/ 7703343 w 8801100"/>
                  <a:gd name="connsiteY7" fmla="*/ 802481 h 4350544"/>
                  <a:gd name="connsiteX8" fmla="*/ 7696200 w 8801100"/>
                  <a:gd name="connsiteY8" fmla="*/ 773906 h 4350544"/>
                  <a:gd name="connsiteX9" fmla="*/ 7567613 w 8801100"/>
                  <a:gd name="connsiteY9" fmla="*/ 752475 h 4350544"/>
                  <a:gd name="connsiteX10" fmla="*/ 7384257 w 8801100"/>
                  <a:gd name="connsiteY10" fmla="*/ 831056 h 4350544"/>
                  <a:gd name="connsiteX11" fmla="*/ 7227093 w 8801100"/>
                  <a:gd name="connsiteY11" fmla="*/ 716756 h 4350544"/>
                  <a:gd name="connsiteX12" fmla="*/ 7150894 w 8801100"/>
                  <a:gd name="connsiteY12" fmla="*/ 723900 h 4350544"/>
                  <a:gd name="connsiteX13" fmla="*/ 7077075 w 8801100"/>
                  <a:gd name="connsiteY13" fmla="*/ 719138 h 4350544"/>
                  <a:gd name="connsiteX14" fmla="*/ 6938963 w 8801100"/>
                  <a:gd name="connsiteY14" fmla="*/ 823913 h 4350544"/>
                  <a:gd name="connsiteX15" fmla="*/ 6831806 w 8801100"/>
                  <a:gd name="connsiteY15" fmla="*/ 931069 h 4350544"/>
                  <a:gd name="connsiteX16" fmla="*/ 6788944 w 8801100"/>
                  <a:gd name="connsiteY16" fmla="*/ 1000125 h 4350544"/>
                  <a:gd name="connsiteX17" fmla="*/ 6796088 w 8801100"/>
                  <a:gd name="connsiteY17" fmla="*/ 1035844 h 4350544"/>
                  <a:gd name="connsiteX18" fmla="*/ 6734175 w 8801100"/>
                  <a:gd name="connsiteY18" fmla="*/ 1047750 h 4350544"/>
                  <a:gd name="connsiteX19" fmla="*/ 6753225 w 8801100"/>
                  <a:gd name="connsiteY19" fmla="*/ 1047750 h 4350544"/>
                  <a:gd name="connsiteX20" fmla="*/ 6719888 w 8801100"/>
                  <a:gd name="connsiteY20" fmla="*/ 1078706 h 4350544"/>
                  <a:gd name="connsiteX21" fmla="*/ 6619875 w 8801100"/>
                  <a:gd name="connsiteY21" fmla="*/ 1078707 h 4350544"/>
                  <a:gd name="connsiteX22" fmla="*/ 6524625 w 8801100"/>
                  <a:gd name="connsiteY22" fmla="*/ 1133475 h 4350544"/>
                  <a:gd name="connsiteX23" fmla="*/ 6443663 w 8801100"/>
                  <a:gd name="connsiteY23" fmla="*/ 1143000 h 4350544"/>
                  <a:gd name="connsiteX24" fmla="*/ 6403181 w 8801100"/>
                  <a:gd name="connsiteY24" fmla="*/ 1176338 h 4350544"/>
                  <a:gd name="connsiteX25" fmla="*/ 6353175 w 8801100"/>
                  <a:gd name="connsiteY25" fmla="*/ 1181100 h 4350544"/>
                  <a:gd name="connsiteX26" fmla="*/ 6231732 w 8801100"/>
                  <a:gd name="connsiteY26" fmla="*/ 1273969 h 4350544"/>
                  <a:gd name="connsiteX27" fmla="*/ 6172200 w 8801100"/>
                  <a:gd name="connsiteY27" fmla="*/ 1278731 h 4350544"/>
                  <a:gd name="connsiteX28" fmla="*/ 6119813 w 8801100"/>
                  <a:gd name="connsiteY28" fmla="*/ 1243013 h 4350544"/>
                  <a:gd name="connsiteX29" fmla="*/ 6093619 w 8801100"/>
                  <a:gd name="connsiteY29" fmla="*/ 1278731 h 4350544"/>
                  <a:gd name="connsiteX30" fmla="*/ 5895975 w 8801100"/>
                  <a:gd name="connsiteY30" fmla="*/ 1271588 h 4350544"/>
                  <a:gd name="connsiteX31" fmla="*/ 5834063 w 8801100"/>
                  <a:gd name="connsiteY31" fmla="*/ 1226344 h 4350544"/>
                  <a:gd name="connsiteX32" fmla="*/ 5636419 w 8801100"/>
                  <a:gd name="connsiteY32" fmla="*/ 1243013 h 4350544"/>
                  <a:gd name="connsiteX33" fmla="*/ 5548313 w 8801100"/>
                  <a:gd name="connsiteY33" fmla="*/ 1159668 h 4350544"/>
                  <a:gd name="connsiteX34" fmla="*/ 5472113 w 8801100"/>
                  <a:gd name="connsiteY34" fmla="*/ 1114425 h 4350544"/>
                  <a:gd name="connsiteX35" fmla="*/ 5474493 w 8801100"/>
                  <a:gd name="connsiteY35" fmla="*/ 1057275 h 4350544"/>
                  <a:gd name="connsiteX36" fmla="*/ 5455444 w 8801100"/>
                  <a:gd name="connsiteY36" fmla="*/ 1014412 h 4350544"/>
                  <a:gd name="connsiteX37" fmla="*/ 5360194 w 8801100"/>
                  <a:gd name="connsiteY37" fmla="*/ 1016794 h 4350544"/>
                  <a:gd name="connsiteX38" fmla="*/ 5264944 w 8801100"/>
                  <a:gd name="connsiteY38" fmla="*/ 995363 h 4350544"/>
                  <a:gd name="connsiteX39" fmla="*/ 5195887 w 8801100"/>
                  <a:gd name="connsiteY39" fmla="*/ 928687 h 4350544"/>
                  <a:gd name="connsiteX40" fmla="*/ 5160169 w 8801100"/>
                  <a:gd name="connsiteY40" fmla="*/ 885825 h 4350544"/>
                  <a:gd name="connsiteX41" fmla="*/ 5079206 w 8801100"/>
                  <a:gd name="connsiteY41" fmla="*/ 862012 h 4350544"/>
                  <a:gd name="connsiteX42" fmla="*/ 5005388 w 8801100"/>
                  <a:gd name="connsiteY42" fmla="*/ 873918 h 4350544"/>
                  <a:gd name="connsiteX43" fmla="*/ 4948237 w 8801100"/>
                  <a:gd name="connsiteY43" fmla="*/ 821531 h 4350544"/>
                  <a:gd name="connsiteX44" fmla="*/ 4852988 w 8801100"/>
                  <a:gd name="connsiteY44" fmla="*/ 833438 h 4350544"/>
                  <a:gd name="connsiteX45" fmla="*/ 4800600 w 8801100"/>
                  <a:gd name="connsiteY45" fmla="*/ 807244 h 4350544"/>
                  <a:gd name="connsiteX46" fmla="*/ 4719638 w 8801100"/>
                  <a:gd name="connsiteY46" fmla="*/ 850106 h 4350544"/>
                  <a:gd name="connsiteX47" fmla="*/ 4581525 w 8801100"/>
                  <a:gd name="connsiteY47" fmla="*/ 873919 h 4350544"/>
                  <a:gd name="connsiteX48" fmla="*/ 4452938 w 8801100"/>
                  <a:gd name="connsiteY48" fmla="*/ 966788 h 4350544"/>
                  <a:gd name="connsiteX49" fmla="*/ 4405312 w 8801100"/>
                  <a:gd name="connsiteY49" fmla="*/ 928688 h 4350544"/>
                  <a:gd name="connsiteX50" fmla="*/ 4383881 w 8801100"/>
                  <a:gd name="connsiteY50" fmla="*/ 959643 h 4350544"/>
                  <a:gd name="connsiteX51" fmla="*/ 4310063 w 8801100"/>
                  <a:gd name="connsiteY51" fmla="*/ 909638 h 4350544"/>
                  <a:gd name="connsiteX52" fmla="*/ 4271963 w 8801100"/>
                  <a:gd name="connsiteY52" fmla="*/ 916781 h 4350544"/>
                  <a:gd name="connsiteX53" fmla="*/ 4250531 w 8801100"/>
                  <a:gd name="connsiteY53" fmla="*/ 878681 h 4350544"/>
                  <a:gd name="connsiteX54" fmla="*/ 4191000 w 8801100"/>
                  <a:gd name="connsiteY54" fmla="*/ 883444 h 4350544"/>
                  <a:gd name="connsiteX55" fmla="*/ 4145756 w 8801100"/>
                  <a:gd name="connsiteY55" fmla="*/ 854869 h 4350544"/>
                  <a:gd name="connsiteX56" fmla="*/ 4107656 w 8801100"/>
                  <a:gd name="connsiteY56" fmla="*/ 852488 h 4350544"/>
                  <a:gd name="connsiteX57" fmla="*/ 4088606 w 8801100"/>
                  <a:gd name="connsiteY57" fmla="*/ 804862 h 4350544"/>
                  <a:gd name="connsiteX58" fmla="*/ 4074319 w 8801100"/>
                  <a:gd name="connsiteY58" fmla="*/ 773906 h 4350544"/>
                  <a:gd name="connsiteX59" fmla="*/ 4029075 w 8801100"/>
                  <a:gd name="connsiteY59" fmla="*/ 783431 h 4350544"/>
                  <a:gd name="connsiteX60" fmla="*/ 4010025 w 8801100"/>
                  <a:gd name="connsiteY60" fmla="*/ 747713 h 4350544"/>
                  <a:gd name="connsiteX61" fmla="*/ 4031457 w 8801100"/>
                  <a:gd name="connsiteY61" fmla="*/ 692944 h 4350544"/>
                  <a:gd name="connsiteX62" fmla="*/ 4000500 w 8801100"/>
                  <a:gd name="connsiteY62" fmla="*/ 666750 h 4350544"/>
                  <a:gd name="connsiteX63" fmla="*/ 4017169 w 8801100"/>
                  <a:gd name="connsiteY63" fmla="*/ 623888 h 4350544"/>
                  <a:gd name="connsiteX64" fmla="*/ 3990975 w 8801100"/>
                  <a:gd name="connsiteY64" fmla="*/ 581025 h 4350544"/>
                  <a:gd name="connsiteX65" fmla="*/ 3986213 w 8801100"/>
                  <a:gd name="connsiteY65" fmla="*/ 519113 h 4350544"/>
                  <a:gd name="connsiteX66" fmla="*/ 4010025 w 8801100"/>
                  <a:gd name="connsiteY66" fmla="*/ 454818 h 4350544"/>
                  <a:gd name="connsiteX67" fmla="*/ 3971925 w 8801100"/>
                  <a:gd name="connsiteY67" fmla="*/ 457200 h 4350544"/>
                  <a:gd name="connsiteX68" fmla="*/ 3852863 w 8801100"/>
                  <a:gd name="connsiteY68" fmla="*/ 400050 h 4350544"/>
                  <a:gd name="connsiteX69" fmla="*/ 3814762 w 8801100"/>
                  <a:gd name="connsiteY69" fmla="*/ 404812 h 4350544"/>
                  <a:gd name="connsiteX70" fmla="*/ 3609975 w 8801100"/>
                  <a:gd name="connsiteY70" fmla="*/ 295275 h 4350544"/>
                  <a:gd name="connsiteX71" fmla="*/ 3505200 w 8801100"/>
                  <a:gd name="connsiteY71" fmla="*/ 264319 h 4350544"/>
                  <a:gd name="connsiteX72" fmla="*/ 3440906 w 8801100"/>
                  <a:gd name="connsiteY72" fmla="*/ 273843 h 4350544"/>
                  <a:gd name="connsiteX73" fmla="*/ 3409950 w 8801100"/>
                  <a:gd name="connsiteY73" fmla="*/ 209550 h 4350544"/>
                  <a:gd name="connsiteX74" fmla="*/ 3352800 w 8801100"/>
                  <a:gd name="connsiteY74" fmla="*/ 209550 h 4350544"/>
                  <a:gd name="connsiteX75" fmla="*/ 3214687 w 8801100"/>
                  <a:gd name="connsiteY75" fmla="*/ 104775 h 4350544"/>
                  <a:gd name="connsiteX76" fmla="*/ 3181350 w 8801100"/>
                  <a:gd name="connsiteY76" fmla="*/ 164307 h 4350544"/>
                  <a:gd name="connsiteX77" fmla="*/ 3126581 w 8801100"/>
                  <a:gd name="connsiteY77" fmla="*/ 233363 h 4350544"/>
                  <a:gd name="connsiteX78" fmla="*/ 3083719 w 8801100"/>
                  <a:gd name="connsiteY78" fmla="*/ 250031 h 4350544"/>
                  <a:gd name="connsiteX79" fmla="*/ 3052763 w 8801100"/>
                  <a:gd name="connsiteY79" fmla="*/ 242888 h 4350544"/>
                  <a:gd name="connsiteX80" fmla="*/ 3028950 w 8801100"/>
                  <a:gd name="connsiteY80" fmla="*/ 271463 h 4350544"/>
                  <a:gd name="connsiteX81" fmla="*/ 3002756 w 8801100"/>
                  <a:gd name="connsiteY81" fmla="*/ 350044 h 4350544"/>
                  <a:gd name="connsiteX82" fmla="*/ 2959894 w 8801100"/>
                  <a:gd name="connsiteY82" fmla="*/ 347663 h 4350544"/>
                  <a:gd name="connsiteX83" fmla="*/ 2928937 w 8801100"/>
                  <a:gd name="connsiteY83" fmla="*/ 409575 h 4350544"/>
                  <a:gd name="connsiteX84" fmla="*/ 2924175 w 8801100"/>
                  <a:gd name="connsiteY84" fmla="*/ 473869 h 4350544"/>
                  <a:gd name="connsiteX85" fmla="*/ 2897982 w 8801100"/>
                  <a:gd name="connsiteY85" fmla="*/ 511969 h 4350544"/>
                  <a:gd name="connsiteX86" fmla="*/ 2924175 w 8801100"/>
                  <a:gd name="connsiteY86" fmla="*/ 571500 h 4350544"/>
                  <a:gd name="connsiteX87" fmla="*/ 2926556 w 8801100"/>
                  <a:gd name="connsiteY87" fmla="*/ 640556 h 4350544"/>
                  <a:gd name="connsiteX88" fmla="*/ 2955131 w 8801100"/>
                  <a:gd name="connsiteY88" fmla="*/ 692944 h 4350544"/>
                  <a:gd name="connsiteX89" fmla="*/ 3002757 w 8801100"/>
                  <a:gd name="connsiteY89" fmla="*/ 747713 h 4350544"/>
                  <a:gd name="connsiteX90" fmla="*/ 2952750 w 8801100"/>
                  <a:gd name="connsiteY90" fmla="*/ 885825 h 4350544"/>
                  <a:gd name="connsiteX91" fmla="*/ 2883694 w 8801100"/>
                  <a:gd name="connsiteY91" fmla="*/ 952500 h 4350544"/>
                  <a:gd name="connsiteX92" fmla="*/ 2812256 w 8801100"/>
                  <a:gd name="connsiteY92" fmla="*/ 947738 h 4350544"/>
                  <a:gd name="connsiteX93" fmla="*/ 2774156 w 8801100"/>
                  <a:gd name="connsiteY93" fmla="*/ 1004888 h 4350544"/>
                  <a:gd name="connsiteX94" fmla="*/ 2714625 w 8801100"/>
                  <a:gd name="connsiteY94" fmla="*/ 1019175 h 4350544"/>
                  <a:gd name="connsiteX95" fmla="*/ 2645569 w 8801100"/>
                  <a:gd name="connsiteY95" fmla="*/ 959644 h 4350544"/>
                  <a:gd name="connsiteX96" fmla="*/ 2590800 w 8801100"/>
                  <a:gd name="connsiteY96" fmla="*/ 931069 h 4350544"/>
                  <a:gd name="connsiteX97" fmla="*/ 2547938 w 8801100"/>
                  <a:gd name="connsiteY97" fmla="*/ 945356 h 4350544"/>
                  <a:gd name="connsiteX98" fmla="*/ 2495550 w 8801100"/>
                  <a:gd name="connsiteY98" fmla="*/ 928688 h 4350544"/>
                  <a:gd name="connsiteX99" fmla="*/ 2428875 w 8801100"/>
                  <a:gd name="connsiteY99" fmla="*/ 873919 h 4350544"/>
                  <a:gd name="connsiteX100" fmla="*/ 2383631 w 8801100"/>
                  <a:gd name="connsiteY100" fmla="*/ 885825 h 4350544"/>
                  <a:gd name="connsiteX101" fmla="*/ 2362200 w 8801100"/>
                  <a:gd name="connsiteY101" fmla="*/ 854869 h 4350544"/>
                  <a:gd name="connsiteX102" fmla="*/ 2305050 w 8801100"/>
                  <a:gd name="connsiteY102" fmla="*/ 895350 h 4350544"/>
                  <a:gd name="connsiteX103" fmla="*/ 2188369 w 8801100"/>
                  <a:gd name="connsiteY103" fmla="*/ 873919 h 4350544"/>
                  <a:gd name="connsiteX104" fmla="*/ 2138363 w 8801100"/>
                  <a:gd name="connsiteY104" fmla="*/ 821531 h 4350544"/>
                  <a:gd name="connsiteX105" fmla="*/ 2095500 w 8801100"/>
                  <a:gd name="connsiteY105" fmla="*/ 807244 h 4350544"/>
                  <a:gd name="connsiteX106" fmla="*/ 2052638 w 8801100"/>
                  <a:gd name="connsiteY106" fmla="*/ 833438 h 4350544"/>
                  <a:gd name="connsiteX107" fmla="*/ 2000250 w 8801100"/>
                  <a:gd name="connsiteY107" fmla="*/ 742950 h 4350544"/>
                  <a:gd name="connsiteX108" fmla="*/ 1990725 w 8801100"/>
                  <a:gd name="connsiteY108" fmla="*/ 595312 h 4350544"/>
                  <a:gd name="connsiteX109" fmla="*/ 1938337 w 8801100"/>
                  <a:gd name="connsiteY109" fmla="*/ 588168 h 4350544"/>
                  <a:gd name="connsiteX110" fmla="*/ 1847850 w 8801100"/>
                  <a:gd name="connsiteY110" fmla="*/ 578644 h 4350544"/>
                  <a:gd name="connsiteX111" fmla="*/ 1793081 w 8801100"/>
                  <a:gd name="connsiteY111" fmla="*/ 540544 h 4350544"/>
                  <a:gd name="connsiteX112" fmla="*/ 1724025 w 8801100"/>
                  <a:gd name="connsiteY112" fmla="*/ 550069 h 4350544"/>
                  <a:gd name="connsiteX113" fmla="*/ 1678781 w 8801100"/>
                  <a:gd name="connsiteY113" fmla="*/ 523875 h 4350544"/>
                  <a:gd name="connsiteX114" fmla="*/ 1669257 w 8801100"/>
                  <a:gd name="connsiteY114" fmla="*/ 452438 h 4350544"/>
                  <a:gd name="connsiteX115" fmla="*/ 1645444 w 8801100"/>
                  <a:gd name="connsiteY115" fmla="*/ 438150 h 4350544"/>
                  <a:gd name="connsiteX116" fmla="*/ 1607344 w 8801100"/>
                  <a:gd name="connsiteY116" fmla="*/ 485774 h 4350544"/>
                  <a:gd name="connsiteX117" fmla="*/ 1528762 w 8801100"/>
                  <a:gd name="connsiteY117" fmla="*/ 411956 h 4350544"/>
                  <a:gd name="connsiteX118" fmla="*/ 1488281 w 8801100"/>
                  <a:gd name="connsiteY118" fmla="*/ 452438 h 4350544"/>
                  <a:gd name="connsiteX119" fmla="*/ 1412081 w 8801100"/>
                  <a:gd name="connsiteY119" fmla="*/ 438150 h 4350544"/>
                  <a:gd name="connsiteX120" fmla="*/ 1333500 w 8801100"/>
                  <a:gd name="connsiteY120" fmla="*/ 464344 h 4350544"/>
                  <a:gd name="connsiteX121" fmla="*/ 1273969 w 8801100"/>
                  <a:gd name="connsiteY121" fmla="*/ 511968 h 4350544"/>
                  <a:gd name="connsiteX122" fmla="*/ 1200150 w 8801100"/>
                  <a:gd name="connsiteY122" fmla="*/ 523875 h 4350544"/>
                  <a:gd name="connsiteX123" fmla="*/ 1164431 w 8801100"/>
                  <a:gd name="connsiteY123" fmla="*/ 516731 h 4350544"/>
                  <a:gd name="connsiteX124" fmla="*/ 1085851 w 8801100"/>
                  <a:gd name="connsiteY124" fmla="*/ 547688 h 4350544"/>
                  <a:gd name="connsiteX125" fmla="*/ 1064419 w 8801100"/>
                  <a:gd name="connsiteY125" fmla="*/ 576263 h 4350544"/>
                  <a:gd name="connsiteX126" fmla="*/ 997744 w 8801100"/>
                  <a:gd name="connsiteY126" fmla="*/ 566738 h 4350544"/>
                  <a:gd name="connsiteX127" fmla="*/ 928688 w 8801100"/>
                  <a:gd name="connsiteY127" fmla="*/ 590550 h 4350544"/>
                  <a:gd name="connsiteX128" fmla="*/ 873919 w 8801100"/>
                  <a:gd name="connsiteY128" fmla="*/ 628650 h 4350544"/>
                  <a:gd name="connsiteX129" fmla="*/ 778669 w 8801100"/>
                  <a:gd name="connsiteY129" fmla="*/ 642937 h 4350544"/>
                  <a:gd name="connsiteX130" fmla="*/ 764381 w 8801100"/>
                  <a:gd name="connsiteY130" fmla="*/ 664369 h 4350544"/>
                  <a:gd name="connsiteX131" fmla="*/ 776287 w 8801100"/>
                  <a:gd name="connsiteY131" fmla="*/ 709613 h 4350544"/>
                  <a:gd name="connsiteX132" fmla="*/ 676276 w 8801100"/>
                  <a:gd name="connsiteY132" fmla="*/ 762000 h 4350544"/>
                  <a:gd name="connsiteX133" fmla="*/ 638175 w 8801100"/>
                  <a:gd name="connsiteY133" fmla="*/ 733424 h 4350544"/>
                  <a:gd name="connsiteX134" fmla="*/ 607219 w 8801100"/>
                  <a:gd name="connsiteY134" fmla="*/ 790575 h 4350544"/>
                  <a:gd name="connsiteX135" fmla="*/ 550069 w 8801100"/>
                  <a:gd name="connsiteY135" fmla="*/ 752475 h 4350544"/>
                  <a:gd name="connsiteX136" fmla="*/ 514350 w 8801100"/>
                  <a:gd name="connsiteY136" fmla="*/ 781050 h 4350544"/>
                  <a:gd name="connsiteX137" fmla="*/ 478631 w 8801100"/>
                  <a:gd name="connsiteY137" fmla="*/ 745331 h 4350544"/>
                  <a:gd name="connsiteX138" fmla="*/ 426244 w 8801100"/>
                  <a:gd name="connsiteY138" fmla="*/ 757238 h 4350544"/>
                  <a:gd name="connsiteX139" fmla="*/ 381000 w 8801100"/>
                  <a:gd name="connsiteY139" fmla="*/ 728663 h 4350544"/>
                  <a:gd name="connsiteX140" fmla="*/ 357188 w 8801100"/>
                  <a:gd name="connsiteY140" fmla="*/ 747713 h 4350544"/>
                  <a:gd name="connsiteX141" fmla="*/ 333375 w 8801100"/>
                  <a:gd name="connsiteY141" fmla="*/ 807244 h 4350544"/>
                  <a:gd name="connsiteX142" fmla="*/ 261938 w 8801100"/>
                  <a:gd name="connsiteY142" fmla="*/ 845343 h 4350544"/>
                  <a:gd name="connsiteX143" fmla="*/ 209550 w 8801100"/>
                  <a:gd name="connsiteY143" fmla="*/ 816769 h 4350544"/>
                  <a:gd name="connsiteX144" fmla="*/ 119063 w 8801100"/>
                  <a:gd name="connsiteY144" fmla="*/ 826294 h 4350544"/>
                  <a:gd name="connsiteX145" fmla="*/ 71437 w 8801100"/>
                  <a:gd name="connsiteY145" fmla="*/ 792957 h 4350544"/>
                  <a:gd name="connsiteX146" fmla="*/ 0 w 8801100"/>
                  <a:gd name="connsiteY146" fmla="*/ 812006 h 4350544"/>
                  <a:gd name="connsiteX147" fmla="*/ 4762 w 8801100"/>
                  <a:gd name="connsiteY147" fmla="*/ 0 h 4350544"/>
                  <a:gd name="connsiteX148" fmla="*/ 4802981 w 8801100"/>
                  <a:gd name="connsiteY148" fmla="*/ 4350544 h 4350544"/>
                  <a:gd name="connsiteX149" fmla="*/ 5562600 w 8801100"/>
                  <a:gd name="connsiteY149" fmla="*/ 4060032 h 4350544"/>
                  <a:gd name="connsiteX150" fmla="*/ 5693569 w 8801100"/>
                  <a:gd name="connsiteY150" fmla="*/ 4031456 h 4350544"/>
                  <a:gd name="connsiteX151" fmla="*/ 5872162 w 8801100"/>
                  <a:gd name="connsiteY151" fmla="*/ 4048125 h 4350544"/>
                  <a:gd name="connsiteX152" fmla="*/ 5929313 w 8801100"/>
                  <a:gd name="connsiteY152" fmla="*/ 4021932 h 4350544"/>
                  <a:gd name="connsiteX153" fmla="*/ 6062662 w 8801100"/>
                  <a:gd name="connsiteY153" fmla="*/ 4019550 h 4350544"/>
                  <a:gd name="connsiteX154" fmla="*/ 6196012 w 8801100"/>
                  <a:gd name="connsiteY154" fmla="*/ 3921919 h 4350544"/>
                  <a:gd name="connsiteX155" fmla="*/ 6262687 w 8801100"/>
                  <a:gd name="connsiteY155" fmla="*/ 3914775 h 4350544"/>
                  <a:gd name="connsiteX156" fmla="*/ 6360319 w 8801100"/>
                  <a:gd name="connsiteY156" fmla="*/ 3840956 h 4350544"/>
                  <a:gd name="connsiteX157" fmla="*/ 6434138 w 8801100"/>
                  <a:gd name="connsiteY157" fmla="*/ 3771900 h 4350544"/>
                  <a:gd name="connsiteX158" fmla="*/ 6443663 w 8801100"/>
                  <a:gd name="connsiteY158" fmla="*/ 3709988 h 4350544"/>
                  <a:gd name="connsiteX159" fmla="*/ 6477000 w 8801100"/>
                  <a:gd name="connsiteY159" fmla="*/ 3640931 h 4350544"/>
                  <a:gd name="connsiteX160" fmla="*/ 6629400 w 8801100"/>
                  <a:gd name="connsiteY160" fmla="*/ 3533775 h 4350544"/>
                  <a:gd name="connsiteX161" fmla="*/ 6662738 w 8801100"/>
                  <a:gd name="connsiteY161" fmla="*/ 3538538 h 4350544"/>
                  <a:gd name="connsiteX162" fmla="*/ 6715125 w 8801100"/>
                  <a:gd name="connsiteY162" fmla="*/ 3459956 h 4350544"/>
                  <a:gd name="connsiteX163" fmla="*/ 6762750 w 8801100"/>
                  <a:gd name="connsiteY163" fmla="*/ 3421856 h 4350544"/>
                  <a:gd name="connsiteX164" fmla="*/ 6748463 w 8801100"/>
                  <a:gd name="connsiteY164" fmla="*/ 3352800 h 4350544"/>
                  <a:gd name="connsiteX165" fmla="*/ 6698456 w 8801100"/>
                  <a:gd name="connsiteY165" fmla="*/ 3321843 h 4350544"/>
                  <a:gd name="connsiteX166" fmla="*/ 6638925 w 8801100"/>
                  <a:gd name="connsiteY166" fmla="*/ 3267075 h 4350544"/>
                  <a:gd name="connsiteX167" fmla="*/ 6619875 w 8801100"/>
                  <a:gd name="connsiteY167" fmla="*/ 3209925 h 4350544"/>
                  <a:gd name="connsiteX168" fmla="*/ 6584156 w 8801100"/>
                  <a:gd name="connsiteY168" fmla="*/ 3176588 h 4350544"/>
                  <a:gd name="connsiteX169" fmla="*/ 6610350 w 8801100"/>
                  <a:gd name="connsiteY169" fmla="*/ 3124200 h 4350544"/>
                  <a:gd name="connsiteX170" fmla="*/ 6650831 w 8801100"/>
                  <a:gd name="connsiteY170" fmla="*/ 2945606 h 4350544"/>
                  <a:gd name="connsiteX171" fmla="*/ 6691313 w 8801100"/>
                  <a:gd name="connsiteY171" fmla="*/ 2878931 h 4350544"/>
                  <a:gd name="connsiteX172" fmla="*/ 6836569 w 8801100"/>
                  <a:gd name="connsiteY172" fmla="*/ 2862262 h 4350544"/>
                  <a:gd name="connsiteX173" fmla="*/ 6905625 w 8801100"/>
                  <a:gd name="connsiteY173" fmla="*/ 2919413 h 4350544"/>
                  <a:gd name="connsiteX174" fmla="*/ 6981825 w 8801100"/>
                  <a:gd name="connsiteY174" fmla="*/ 2943225 h 4350544"/>
                  <a:gd name="connsiteX175" fmla="*/ 7186612 w 8801100"/>
                  <a:gd name="connsiteY175" fmla="*/ 2947988 h 4350544"/>
                  <a:gd name="connsiteX176" fmla="*/ 7362825 w 8801100"/>
                  <a:gd name="connsiteY176" fmla="*/ 2809875 h 4350544"/>
                  <a:gd name="connsiteX177" fmla="*/ 7419975 w 8801100"/>
                  <a:gd name="connsiteY177" fmla="*/ 2719387 h 4350544"/>
                  <a:gd name="connsiteX178" fmla="*/ 7446169 w 8801100"/>
                  <a:gd name="connsiteY178" fmla="*/ 2636044 h 4350544"/>
                  <a:gd name="connsiteX179" fmla="*/ 7577137 w 8801100"/>
                  <a:gd name="connsiteY179" fmla="*/ 2636044 h 4350544"/>
                  <a:gd name="connsiteX180" fmla="*/ 7750969 w 8801100"/>
                  <a:gd name="connsiteY180" fmla="*/ 2578893 h 4350544"/>
                  <a:gd name="connsiteX181" fmla="*/ 7810500 w 8801100"/>
                  <a:gd name="connsiteY181" fmla="*/ 2466975 h 4350544"/>
                  <a:gd name="connsiteX182" fmla="*/ 7874794 w 8801100"/>
                  <a:gd name="connsiteY182" fmla="*/ 2431256 h 4350544"/>
                  <a:gd name="connsiteX183" fmla="*/ 7853363 w 8801100"/>
                  <a:gd name="connsiteY183" fmla="*/ 2386013 h 4350544"/>
                  <a:gd name="connsiteX184" fmla="*/ 7931944 w 8801100"/>
                  <a:gd name="connsiteY184" fmla="*/ 2216943 h 4350544"/>
                  <a:gd name="connsiteX185" fmla="*/ 7986713 w 8801100"/>
                  <a:gd name="connsiteY185" fmla="*/ 2157413 h 4350544"/>
                  <a:gd name="connsiteX186" fmla="*/ 8024813 w 8801100"/>
                  <a:gd name="connsiteY186" fmla="*/ 2152650 h 4350544"/>
                  <a:gd name="connsiteX187" fmla="*/ 8070056 w 8801100"/>
                  <a:gd name="connsiteY187" fmla="*/ 2157413 h 4350544"/>
                  <a:gd name="connsiteX188" fmla="*/ 8134350 w 8801100"/>
                  <a:gd name="connsiteY188" fmla="*/ 2124075 h 4350544"/>
                  <a:gd name="connsiteX189" fmla="*/ 8143875 w 8801100"/>
                  <a:gd name="connsiteY189" fmla="*/ 2059781 h 4350544"/>
                  <a:gd name="connsiteX190" fmla="*/ 8184355 w 8801100"/>
                  <a:gd name="connsiteY190" fmla="*/ 2024063 h 4350544"/>
                  <a:gd name="connsiteX191" fmla="*/ 8243888 w 8801100"/>
                  <a:gd name="connsiteY191" fmla="*/ 2064543 h 4350544"/>
                  <a:gd name="connsiteX192" fmla="*/ 8270082 w 8801100"/>
                  <a:gd name="connsiteY192" fmla="*/ 2014537 h 4350544"/>
                  <a:gd name="connsiteX193" fmla="*/ 8365331 w 8801100"/>
                  <a:gd name="connsiteY193" fmla="*/ 1945481 h 4350544"/>
                  <a:gd name="connsiteX194" fmla="*/ 8427244 w 8801100"/>
                  <a:gd name="connsiteY194" fmla="*/ 1952625 h 4350544"/>
                  <a:gd name="connsiteX195" fmla="*/ 8477250 w 8801100"/>
                  <a:gd name="connsiteY195" fmla="*/ 1933575 h 4350544"/>
                  <a:gd name="connsiteX196" fmla="*/ 8515350 w 8801100"/>
                  <a:gd name="connsiteY196" fmla="*/ 1905000 h 4350544"/>
                  <a:gd name="connsiteX197" fmla="*/ 8548688 w 8801100"/>
                  <a:gd name="connsiteY197" fmla="*/ 1902619 h 4350544"/>
                  <a:gd name="connsiteX198" fmla="*/ 8584406 w 8801100"/>
                  <a:gd name="connsiteY198" fmla="*/ 1933575 h 4350544"/>
                  <a:gd name="connsiteX199" fmla="*/ 8643938 w 8801100"/>
                  <a:gd name="connsiteY199" fmla="*/ 1933575 h 4350544"/>
                  <a:gd name="connsiteX200" fmla="*/ 8682037 w 8801100"/>
                  <a:gd name="connsiteY200" fmla="*/ 1914525 h 4350544"/>
                  <a:gd name="connsiteX201" fmla="*/ 8765381 w 8801100"/>
                  <a:gd name="connsiteY201" fmla="*/ 1916907 h 4350544"/>
                  <a:gd name="connsiteX202" fmla="*/ 8796338 w 8801100"/>
                  <a:gd name="connsiteY202" fmla="*/ 1871663 h 4350544"/>
                  <a:gd name="connsiteX203" fmla="*/ 8801100 w 8801100"/>
                  <a:gd name="connsiteY203" fmla="*/ 1809750 h 4350544"/>
                  <a:gd name="connsiteX204" fmla="*/ 8751093 w 8801100"/>
                  <a:gd name="connsiteY204" fmla="*/ 1769269 h 4350544"/>
                  <a:gd name="connsiteX205" fmla="*/ 8734425 w 8801100"/>
                  <a:gd name="connsiteY205" fmla="*/ 1714500 h 4350544"/>
                  <a:gd name="connsiteX206" fmla="*/ 8643938 w 8801100"/>
                  <a:gd name="connsiteY206" fmla="*/ 1652588 h 4350544"/>
                  <a:gd name="connsiteX207" fmla="*/ 8603456 w 8801100"/>
                  <a:gd name="connsiteY207" fmla="*/ 1631156 h 4350544"/>
                  <a:gd name="connsiteX208" fmla="*/ 8565356 w 8801100"/>
                  <a:gd name="connsiteY208" fmla="*/ 1585913 h 4350544"/>
                  <a:gd name="connsiteX209" fmla="*/ 8534400 w 8801100"/>
                  <a:gd name="connsiteY209" fmla="*/ 1583531 h 4350544"/>
                  <a:gd name="connsiteX210" fmla="*/ 8517731 w 8801100"/>
                  <a:gd name="connsiteY210" fmla="*/ 1531144 h 4350544"/>
                  <a:gd name="connsiteX211" fmla="*/ 8477250 w 8801100"/>
                  <a:gd name="connsiteY211" fmla="*/ 1514475 h 4350544"/>
                  <a:gd name="connsiteX212" fmla="*/ 8477250 w 8801100"/>
                  <a:gd name="connsiteY212" fmla="*/ 1514475 h 4350544"/>
                  <a:gd name="connsiteX213" fmla="*/ 8436769 w 8801100"/>
                  <a:gd name="connsiteY213" fmla="*/ 1519238 h 4350544"/>
                  <a:gd name="connsiteX214" fmla="*/ 8351043 w 8801100"/>
                  <a:gd name="connsiteY214" fmla="*/ 1445419 h 4350544"/>
                  <a:gd name="connsiteX215" fmla="*/ 8170069 w 8801100"/>
                  <a:gd name="connsiteY215" fmla="*/ 1445418 h 4350544"/>
                  <a:gd name="connsiteX216" fmla="*/ 8117681 w 8801100"/>
                  <a:gd name="connsiteY216" fmla="*/ 1483519 h 4350544"/>
                  <a:gd name="connsiteX217" fmla="*/ 8067675 w 8801100"/>
                  <a:gd name="connsiteY217" fmla="*/ 1562100 h 4350544"/>
                  <a:gd name="connsiteX218" fmla="*/ 8084344 w 8801100"/>
                  <a:gd name="connsiteY218" fmla="*/ 1583531 h 4350544"/>
                  <a:gd name="connsiteX219" fmla="*/ 8039100 w 8801100"/>
                  <a:gd name="connsiteY219" fmla="*/ 1633537 h 4350544"/>
                  <a:gd name="connsiteX220" fmla="*/ 7889081 w 8801100"/>
                  <a:gd name="connsiteY220" fmla="*/ 1557337 h 4350544"/>
                  <a:gd name="connsiteX221" fmla="*/ 7798594 w 8801100"/>
                  <a:gd name="connsiteY221" fmla="*/ 1593056 h 4350544"/>
                  <a:gd name="connsiteX222" fmla="*/ 7724775 w 8801100"/>
                  <a:gd name="connsiteY222" fmla="*/ 1590675 h 4350544"/>
                  <a:gd name="connsiteX223" fmla="*/ 7667625 w 8801100"/>
                  <a:gd name="connsiteY223" fmla="*/ 1685925 h 4350544"/>
                  <a:gd name="connsiteX224" fmla="*/ 7529513 w 8801100"/>
                  <a:gd name="connsiteY224" fmla="*/ 1588294 h 4350544"/>
                  <a:gd name="connsiteX0" fmla="*/ 7529513 w 8801100"/>
                  <a:gd name="connsiteY0" fmla="*/ 1588294 h 4350544"/>
                  <a:gd name="connsiteX1" fmla="*/ 7522369 w 8801100"/>
                  <a:gd name="connsiteY1" fmla="*/ 1533525 h 4350544"/>
                  <a:gd name="connsiteX2" fmla="*/ 7589044 w 8801100"/>
                  <a:gd name="connsiteY2" fmla="*/ 1459706 h 4350544"/>
                  <a:gd name="connsiteX3" fmla="*/ 7572375 w 8801100"/>
                  <a:gd name="connsiteY3" fmla="*/ 1388269 h 4350544"/>
                  <a:gd name="connsiteX4" fmla="*/ 7586663 w 8801100"/>
                  <a:gd name="connsiteY4" fmla="*/ 1293019 h 4350544"/>
                  <a:gd name="connsiteX5" fmla="*/ 7624763 w 8801100"/>
                  <a:gd name="connsiteY5" fmla="*/ 1235869 h 4350544"/>
                  <a:gd name="connsiteX6" fmla="*/ 7605712 w 8801100"/>
                  <a:gd name="connsiteY6" fmla="*/ 1202531 h 4350544"/>
                  <a:gd name="connsiteX7" fmla="*/ 7703343 w 8801100"/>
                  <a:gd name="connsiteY7" fmla="*/ 802481 h 4350544"/>
                  <a:gd name="connsiteX8" fmla="*/ 7696200 w 8801100"/>
                  <a:gd name="connsiteY8" fmla="*/ 773906 h 4350544"/>
                  <a:gd name="connsiteX9" fmla="*/ 7567613 w 8801100"/>
                  <a:gd name="connsiteY9" fmla="*/ 752475 h 4350544"/>
                  <a:gd name="connsiteX10" fmla="*/ 7384257 w 8801100"/>
                  <a:gd name="connsiteY10" fmla="*/ 831056 h 4350544"/>
                  <a:gd name="connsiteX11" fmla="*/ 7227093 w 8801100"/>
                  <a:gd name="connsiteY11" fmla="*/ 716756 h 4350544"/>
                  <a:gd name="connsiteX12" fmla="*/ 7150894 w 8801100"/>
                  <a:gd name="connsiteY12" fmla="*/ 723900 h 4350544"/>
                  <a:gd name="connsiteX13" fmla="*/ 7077075 w 8801100"/>
                  <a:gd name="connsiteY13" fmla="*/ 719138 h 4350544"/>
                  <a:gd name="connsiteX14" fmla="*/ 6938963 w 8801100"/>
                  <a:gd name="connsiteY14" fmla="*/ 823913 h 4350544"/>
                  <a:gd name="connsiteX15" fmla="*/ 6831806 w 8801100"/>
                  <a:gd name="connsiteY15" fmla="*/ 931069 h 4350544"/>
                  <a:gd name="connsiteX16" fmla="*/ 6788944 w 8801100"/>
                  <a:gd name="connsiteY16" fmla="*/ 1000125 h 4350544"/>
                  <a:gd name="connsiteX17" fmla="*/ 6796088 w 8801100"/>
                  <a:gd name="connsiteY17" fmla="*/ 1035844 h 4350544"/>
                  <a:gd name="connsiteX18" fmla="*/ 6734175 w 8801100"/>
                  <a:gd name="connsiteY18" fmla="*/ 1047750 h 4350544"/>
                  <a:gd name="connsiteX19" fmla="*/ 6753225 w 8801100"/>
                  <a:gd name="connsiteY19" fmla="*/ 1047750 h 4350544"/>
                  <a:gd name="connsiteX20" fmla="*/ 6719888 w 8801100"/>
                  <a:gd name="connsiteY20" fmla="*/ 1078706 h 4350544"/>
                  <a:gd name="connsiteX21" fmla="*/ 6619875 w 8801100"/>
                  <a:gd name="connsiteY21" fmla="*/ 1078707 h 4350544"/>
                  <a:gd name="connsiteX22" fmla="*/ 6524625 w 8801100"/>
                  <a:gd name="connsiteY22" fmla="*/ 1133475 h 4350544"/>
                  <a:gd name="connsiteX23" fmla="*/ 6443663 w 8801100"/>
                  <a:gd name="connsiteY23" fmla="*/ 1143000 h 4350544"/>
                  <a:gd name="connsiteX24" fmla="*/ 6403181 w 8801100"/>
                  <a:gd name="connsiteY24" fmla="*/ 1176338 h 4350544"/>
                  <a:gd name="connsiteX25" fmla="*/ 6353175 w 8801100"/>
                  <a:gd name="connsiteY25" fmla="*/ 1181100 h 4350544"/>
                  <a:gd name="connsiteX26" fmla="*/ 6231732 w 8801100"/>
                  <a:gd name="connsiteY26" fmla="*/ 1273969 h 4350544"/>
                  <a:gd name="connsiteX27" fmla="*/ 6172200 w 8801100"/>
                  <a:gd name="connsiteY27" fmla="*/ 1278731 h 4350544"/>
                  <a:gd name="connsiteX28" fmla="*/ 6119813 w 8801100"/>
                  <a:gd name="connsiteY28" fmla="*/ 1243013 h 4350544"/>
                  <a:gd name="connsiteX29" fmla="*/ 6093619 w 8801100"/>
                  <a:gd name="connsiteY29" fmla="*/ 1278731 h 4350544"/>
                  <a:gd name="connsiteX30" fmla="*/ 5895975 w 8801100"/>
                  <a:gd name="connsiteY30" fmla="*/ 1271588 h 4350544"/>
                  <a:gd name="connsiteX31" fmla="*/ 5834063 w 8801100"/>
                  <a:gd name="connsiteY31" fmla="*/ 1226344 h 4350544"/>
                  <a:gd name="connsiteX32" fmla="*/ 5636419 w 8801100"/>
                  <a:gd name="connsiteY32" fmla="*/ 1243013 h 4350544"/>
                  <a:gd name="connsiteX33" fmla="*/ 5548313 w 8801100"/>
                  <a:gd name="connsiteY33" fmla="*/ 1159668 h 4350544"/>
                  <a:gd name="connsiteX34" fmla="*/ 5472113 w 8801100"/>
                  <a:gd name="connsiteY34" fmla="*/ 1114425 h 4350544"/>
                  <a:gd name="connsiteX35" fmla="*/ 5474493 w 8801100"/>
                  <a:gd name="connsiteY35" fmla="*/ 1057275 h 4350544"/>
                  <a:gd name="connsiteX36" fmla="*/ 5455444 w 8801100"/>
                  <a:gd name="connsiteY36" fmla="*/ 1014412 h 4350544"/>
                  <a:gd name="connsiteX37" fmla="*/ 5360194 w 8801100"/>
                  <a:gd name="connsiteY37" fmla="*/ 1016794 h 4350544"/>
                  <a:gd name="connsiteX38" fmla="*/ 5264944 w 8801100"/>
                  <a:gd name="connsiteY38" fmla="*/ 995363 h 4350544"/>
                  <a:gd name="connsiteX39" fmla="*/ 5195887 w 8801100"/>
                  <a:gd name="connsiteY39" fmla="*/ 928687 h 4350544"/>
                  <a:gd name="connsiteX40" fmla="*/ 5160169 w 8801100"/>
                  <a:gd name="connsiteY40" fmla="*/ 885825 h 4350544"/>
                  <a:gd name="connsiteX41" fmla="*/ 5079206 w 8801100"/>
                  <a:gd name="connsiteY41" fmla="*/ 862012 h 4350544"/>
                  <a:gd name="connsiteX42" fmla="*/ 5005388 w 8801100"/>
                  <a:gd name="connsiteY42" fmla="*/ 873918 h 4350544"/>
                  <a:gd name="connsiteX43" fmla="*/ 4948237 w 8801100"/>
                  <a:gd name="connsiteY43" fmla="*/ 821531 h 4350544"/>
                  <a:gd name="connsiteX44" fmla="*/ 4852988 w 8801100"/>
                  <a:gd name="connsiteY44" fmla="*/ 833438 h 4350544"/>
                  <a:gd name="connsiteX45" fmla="*/ 4800600 w 8801100"/>
                  <a:gd name="connsiteY45" fmla="*/ 807244 h 4350544"/>
                  <a:gd name="connsiteX46" fmla="*/ 4719638 w 8801100"/>
                  <a:gd name="connsiteY46" fmla="*/ 850106 h 4350544"/>
                  <a:gd name="connsiteX47" fmla="*/ 4581525 w 8801100"/>
                  <a:gd name="connsiteY47" fmla="*/ 873919 h 4350544"/>
                  <a:gd name="connsiteX48" fmla="*/ 4452938 w 8801100"/>
                  <a:gd name="connsiteY48" fmla="*/ 966788 h 4350544"/>
                  <a:gd name="connsiteX49" fmla="*/ 4405312 w 8801100"/>
                  <a:gd name="connsiteY49" fmla="*/ 928688 h 4350544"/>
                  <a:gd name="connsiteX50" fmla="*/ 4383881 w 8801100"/>
                  <a:gd name="connsiteY50" fmla="*/ 959643 h 4350544"/>
                  <a:gd name="connsiteX51" fmla="*/ 4310063 w 8801100"/>
                  <a:gd name="connsiteY51" fmla="*/ 909638 h 4350544"/>
                  <a:gd name="connsiteX52" fmla="*/ 4271963 w 8801100"/>
                  <a:gd name="connsiteY52" fmla="*/ 916781 h 4350544"/>
                  <a:gd name="connsiteX53" fmla="*/ 4250531 w 8801100"/>
                  <a:gd name="connsiteY53" fmla="*/ 878681 h 4350544"/>
                  <a:gd name="connsiteX54" fmla="*/ 4191000 w 8801100"/>
                  <a:gd name="connsiteY54" fmla="*/ 883444 h 4350544"/>
                  <a:gd name="connsiteX55" fmla="*/ 4145756 w 8801100"/>
                  <a:gd name="connsiteY55" fmla="*/ 854869 h 4350544"/>
                  <a:gd name="connsiteX56" fmla="*/ 4107656 w 8801100"/>
                  <a:gd name="connsiteY56" fmla="*/ 852488 h 4350544"/>
                  <a:gd name="connsiteX57" fmla="*/ 4088606 w 8801100"/>
                  <a:gd name="connsiteY57" fmla="*/ 804862 h 4350544"/>
                  <a:gd name="connsiteX58" fmla="*/ 4074319 w 8801100"/>
                  <a:gd name="connsiteY58" fmla="*/ 773906 h 4350544"/>
                  <a:gd name="connsiteX59" fmla="*/ 4029075 w 8801100"/>
                  <a:gd name="connsiteY59" fmla="*/ 783431 h 4350544"/>
                  <a:gd name="connsiteX60" fmla="*/ 4010025 w 8801100"/>
                  <a:gd name="connsiteY60" fmla="*/ 747713 h 4350544"/>
                  <a:gd name="connsiteX61" fmla="*/ 4031457 w 8801100"/>
                  <a:gd name="connsiteY61" fmla="*/ 692944 h 4350544"/>
                  <a:gd name="connsiteX62" fmla="*/ 4000500 w 8801100"/>
                  <a:gd name="connsiteY62" fmla="*/ 666750 h 4350544"/>
                  <a:gd name="connsiteX63" fmla="*/ 4017169 w 8801100"/>
                  <a:gd name="connsiteY63" fmla="*/ 623888 h 4350544"/>
                  <a:gd name="connsiteX64" fmla="*/ 3990975 w 8801100"/>
                  <a:gd name="connsiteY64" fmla="*/ 581025 h 4350544"/>
                  <a:gd name="connsiteX65" fmla="*/ 3986213 w 8801100"/>
                  <a:gd name="connsiteY65" fmla="*/ 519113 h 4350544"/>
                  <a:gd name="connsiteX66" fmla="*/ 4010025 w 8801100"/>
                  <a:gd name="connsiteY66" fmla="*/ 454818 h 4350544"/>
                  <a:gd name="connsiteX67" fmla="*/ 3971925 w 8801100"/>
                  <a:gd name="connsiteY67" fmla="*/ 457200 h 4350544"/>
                  <a:gd name="connsiteX68" fmla="*/ 3852863 w 8801100"/>
                  <a:gd name="connsiteY68" fmla="*/ 400050 h 4350544"/>
                  <a:gd name="connsiteX69" fmla="*/ 3814762 w 8801100"/>
                  <a:gd name="connsiteY69" fmla="*/ 404812 h 4350544"/>
                  <a:gd name="connsiteX70" fmla="*/ 3609975 w 8801100"/>
                  <a:gd name="connsiteY70" fmla="*/ 295275 h 4350544"/>
                  <a:gd name="connsiteX71" fmla="*/ 3505200 w 8801100"/>
                  <a:gd name="connsiteY71" fmla="*/ 264319 h 4350544"/>
                  <a:gd name="connsiteX72" fmla="*/ 3440906 w 8801100"/>
                  <a:gd name="connsiteY72" fmla="*/ 273843 h 4350544"/>
                  <a:gd name="connsiteX73" fmla="*/ 3409950 w 8801100"/>
                  <a:gd name="connsiteY73" fmla="*/ 209550 h 4350544"/>
                  <a:gd name="connsiteX74" fmla="*/ 3352800 w 8801100"/>
                  <a:gd name="connsiteY74" fmla="*/ 209550 h 4350544"/>
                  <a:gd name="connsiteX75" fmla="*/ 3214687 w 8801100"/>
                  <a:gd name="connsiteY75" fmla="*/ 104775 h 4350544"/>
                  <a:gd name="connsiteX76" fmla="*/ 3181350 w 8801100"/>
                  <a:gd name="connsiteY76" fmla="*/ 164307 h 4350544"/>
                  <a:gd name="connsiteX77" fmla="*/ 3126581 w 8801100"/>
                  <a:gd name="connsiteY77" fmla="*/ 233363 h 4350544"/>
                  <a:gd name="connsiteX78" fmla="*/ 3083719 w 8801100"/>
                  <a:gd name="connsiteY78" fmla="*/ 250031 h 4350544"/>
                  <a:gd name="connsiteX79" fmla="*/ 3052763 w 8801100"/>
                  <a:gd name="connsiteY79" fmla="*/ 242888 h 4350544"/>
                  <a:gd name="connsiteX80" fmla="*/ 3028950 w 8801100"/>
                  <a:gd name="connsiteY80" fmla="*/ 271463 h 4350544"/>
                  <a:gd name="connsiteX81" fmla="*/ 3002756 w 8801100"/>
                  <a:gd name="connsiteY81" fmla="*/ 350044 h 4350544"/>
                  <a:gd name="connsiteX82" fmla="*/ 2959894 w 8801100"/>
                  <a:gd name="connsiteY82" fmla="*/ 347663 h 4350544"/>
                  <a:gd name="connsiteX83" fmla="*/ 2928937 w 8801100"/>
                  <a:gd name="connsiteY83" fmla="*/ 409575 h 4350544"/>
                  <a:gd name="connsiteX84" fmla="*/ 2924175 w 8801100"/>
                  <a:gd name="connsiteY84" fmla="*/ 473869 h 4350544"/>
                  <a:gd name="connsiteX85" fmla="*/ 2897982 w 8801100"/>
                  <a:gd name="connsiteY85" fmla="*/ 511969 h 4350544"/>
                  <a:gd name="connsiteX86" fmla="*/ 2924175 w 8801100"/>
                  <a:gd name="connsiteY86" fmla="*/ 571500 h 4350544"/>
                  <a:gd name="connsiteX87" fmla="*/ 2926556 w 8801100"/>
                  <a:gd name="connsiteY87" fmla="*/ 640556 h 4350544"/>
                  <a:gd name="connsiteX88" fmla="*/ 2955131 w 8801100"/>
                  <a:gd name="connsiteY88" fmla="*/ 692944 h 4350544"/>
                  <a:gd name="connsiteX89" fmla="*/ 3002757 w 8801100"/>
                  <a:gd name="connsiteY89" fmla="*/ 747713 h 4350544"/>
                  <a:gd name="connsiteX90" fmla="*/ 2952750 w 8801100"/>
                  <a:gd name="connsiteY90" fmla="*/ 885825 h 4350544"/>
                  <a:gd name="connsiteX91" fmla="*/ 2883694 w 8801100"/>
                  <a:gd name="connsiteY91" fmla="*/ 952500 h 4350544"/>
                  <a:gd name="connsiteX92" fmla="*/ 2812256 w 8801100"/>
                  <a:gd name="connsiteY92" fmla="*/ 947738 h 4350544"/>
                  <a:gd name="connsiteX93" fmla="*/ 2774156 w 8801100"/>
                  <a:gd name="connsiteY93" fmla="*/ 1004888 h 4350544"/>
                  <a:gd name="connsiteX94" fmla="*/ 2714625 w 8801100"/>
                  <a:gd name="connsiteY94" fmla="*/ 1019175 h 4350544"/>
                  <a:gd name="connsiteX95" fmla="*/ 2645569 w 8801100"/>
                  <a:gd name="connsiteY95" fmla="*/ 959644 h 4350544"/>
                  <a:gd name="connsiteX96" fmla="*/ 2590800 w 8801100"/>
                  <a:gd name="connsiteY96" fmla="*/ 931069 h 4350544"/>
                  <a:gd name="connsiteX97" fmla="*/ 2547938 w 8801100"/>
                  <a:gd name="connsiteY97" fmla="*/ 945356 h 4350544"/>
                  <a:gd name="connsiteX98" fmla="*/ 2495550 w 8801100"/>
                  <a:gd name="connsiteY98" fmla="*/ 928688 h 4350544"/>
                  <a:gd name="connsiteX99" fmla="*/ 2428875 w 8801100"/>
                  <a:gd name="connsiteY99" fmla="*/ 873919 h 4350544"/>
                  <a:gd name="connsiteX100" fmla="*/ 2383631 w 8801100"/>
                  <a:gd name="connsiteY100" fmla="*/ 885825 h 4350544"/>
                  <a:gd name="connsiteX101" fmla="*/ 2362200 w 8801100"/>
                  <a:gd name="connsiteY101" fmla="*/ 854869 h 4350544"/>
                  <a:gd name="connsiteX102" fmla="*/ 2305050 w 8801100"/>
                  <a:gd name="connsiteY102" fmla="*/ 895350 h 4350544"/>
                  <a:gd name="connsiteX103" fmla="*/ 2188369 w 8801100"/>
                  <a:gd name="connsiteY103" fmla="*/ 873919 h 4350544"/>
                  <a:gd name="connsiteX104" fmla="*/ 2138363 w 8801100"/>
                  <a:gd name="connsiteY104" fmla="*/ 821531 h 4350544"/>
                  <a:gd name="connsiteX105" fmla="*/ 2095500 w 8801100"/>
                  <a:gd name="connsiteY105" fmla="*/ 807244 h 4350544"/>
                  <a:gd name="connsiteX106" fmla="*/ 2052638 w 8801100"/>
                  <a:gd name="connsiteY106" fmla="*/ 833438 h 4350544"/>
                  <a:gd name="connsiteX107" fmla="*/ 2000250 w 8801100"/>
                  <a:gd name="connsiteY107" fmla="*/ 742950 h 4350544"/>
                  <a:gd name="connsiteX108" fmla="*/ 1990725 w 8801100"/>
                  <a:gd name="connsiteY108" fmla="*/ 595312 h 4350544"/>
                  <a:gd name="connsiteX109" fmla="*/ 1938337 w 8801100"/>
                  <a:gd name="connsiteY109" fmla="*/ 588168 h 4350544"/>
                  <a:gd name="connsiteX110" fmla="*/ 1847850 w 8801100"/>
                  <a:gd name="connsiteY110" fmla="*/ 578644 h 4350544"/>
                  <a:gd name="connsiteX111" fmla="*/ 1793081 w 8801100"/>
                  <a:gd name="connsiteY111" fmla="*/ 540544 h 4350544"/>
                  <a:gd name="connsiteX112" fmla="*/ 1724025 w 8801100"/>
                  <a:gd name="connsiteY112" fmla="*/ 550069 h 4350544"/>
                  <a:gd name="connsiteX113" fmla="*/ 1678781 w 8801100"/>
                  <a:gd name="connsiteY113" fmla="*/ 523875 h 4350544"/>
                  <a:gd name="connsiteX114" fmla="*/ 1669257 w 8801100"/>
                  <a:gd name="connsiteY114" fmla="*/ 452438 h 4350544"/>
                  <a:gd name="connsiteX115" fmla="*/ 1645444 w 8801100"/>
                  <a:gd name="connsiteY115" fmla="*/ 438150 h 4350544"/>
                  <a:gd name="connsiteX116" fmla="*/ 1607344 w 8801100"/>
                  <a:gd name="connsiteY116" fmla="*/ 485774 h 4350544"/>
                  <a:gd name="connsiteX117" fmla="*/ 1528762 w 8801100"/>
                  <a:gd name="connsiteY117" fmla="*/ 411956 h 4350544"/>
                  <a:gd name="connsiteX118" fmla="*/ 1488281 w 8801100"/>
                  <a:gd name="connsiteY118" fmla="*/ 452438 h 4350544"/>
                  <a:gd name="connsiteX119" fmla="*/ 1412081 w 8801100"/>
                  <a:gd name="connsiteY119" fmla="*/ 438150 h 4350544"/>
                  <a:gd name="connsiteX120" fmla="*/ 1333500 w 8801100"/>
                  <a:gd name="connsiteY120" fmla="*/ 464344 h 4350544"/>
                  <a:gd name="connsiteX121" fmla="*/ 1273969 w 8801100"/>
                  <a:gd name="connsiteY121" fmla="*/ 511968 h 4350544"/>
                  <a:gd name="connsiteX122" fmla="*/ 1200150 w 8801100"/>
                  <a:gd name="connsiteY122" fmla="*/ 523875 h 4350544"/>
                  <a:gd name="connsiteX123" fmla="*/ 1164431 w 8801100"/>
                  <a:gd name="connsiteY123" fmla="*/ 516731 h 4350544"/>
                  <a:gd name="connsiteX124" fmla="*/ 1085851 w 8801100"/>
                  <a:gd name="connsiteY124" fmla="*/ 547688 h 4350544"/>
                  <a:gd name="connsiteX125" fmla="*/ 1064419 w 8801100"/>
                  <a:gd name="connsiteY125" fmla="*/ 576263 h 4350544"/>
                  <a:gd name="connsiteX126" fmla="*/ 997744 w 8801100"/>
                  <a:gd name="connsiteY126" fmla="*/ 566738 h 4350544"/>
                  <a:gd name="connsiteX127" fmla="*/ 928688 w 8801100"/>
                  <a:gd name="connsiteY127" fmla="*/ 590550 h 4350544"/>
                  <a:gd name="connsiteX128" fmla="*/ 873919 w 8801100"/>
                  <a:gd name="connsiteY128" fmla="*/ 628650 h 4350544"/>
                  <a:gd name="connsiteX129" fmla="*/ 778669 w 8801100"/>
                  <a:gd name="connsiteY129" fmla="*/ 642937 h 4350544"/>
                  <a:gd name="connsiteX130" fmla="*/ 764381 w 8801100"/>
                  <a:gd name="connsiteY130" fmla="*/ 664369 h 4350544"/>
                  <a:gd name="connsiteX131" fmla="*/ 776287 w 8801100"/>
                  <a:gd name="connsiteY131" fmla="*/ 709613 h 4350544"/>
                  <a:gd name="connsiteX132" fmla="*/ 676276 w 8801100"/>
                  <a:gd name="connsiteY132" fmla="*/ 762000 h 4350544"/>
                  <a:gd name="connsiteX133" fmla="*/ 638175 w 8801100"/>
                  <a:gd name="connsiteY133" fmla="*/ 733424 h 4350544"/>
                  <a:gd name="connsiteX134" fmla="*/ 607219 w 8801100"/>
                  <a:gd name="connsiteY134" fmla="*/ 790575 h 4350544"/>
                  <a:gd name="connsiteX135" fmla="*/ 550069 w 8801100"/>
                  <a:gd name="connsiteY135" fmla="*/ 752475 h 4350544"/>
                  <a:gd name="connsiteX136" fmla="*/ 514350 w 8801100"/>
                  <a:gd name="connsiteY136" fmla="*/ 781050 h 4350544"/>
                  <a:gd name="connsiteX137" fmla="*/ 478631 w 8801100"/>
                  <a:gd name="connsiteY137" fmla="*/ 745331 h 4350544"/>
                  <a:gd name="connsiteX138" fmla="*/ 426244 w 8801100"/>
                  <a:gd name="connsiteY138" fmla="*/ 757238 h 4350544"/>
                  <a:gd name="connsiteX139" fmla="*/ 381000 w 8801100"/>
                  <a:gd name="connsiteY139" fmla="*/ 728663 h 4350544"/>
                  <a:gd name="connsiteX140" fmla="*/ 357188 w 8801100"/>
                  <a:gd name="connsiteY140" fmla="*/ 747713 h 4350544"/>
                  <a:gd name="connsiteX141" fmla="*/ 333375 w 8801100"/>
                  <a:gd name="connsiteY141" fmla="*/ 807244 h 4350544"/>
                  <a:gd name="connsiteX142" fmla="*/ 261938 w 8801100"/>
                  <a:gd name="connsiteY142" fmla="*/ 845343 h 4350544"/>
                  <a:gd name="connsiteX143" fmla="*/ 209550 w 8801100"/>
                  <a:gd name="connsiteY143" fmla="*/ 816769 h 4350544"/>
                  <a:gd name="connsiteX144" fmla="*/ 119063 w 8801100"/>
                  <a:gd name="connsiteY144" fmla="*/ 826294 h 4350544"/>
                  <a:gd name="connsiteX145" fmla="*/ 71437 w 8801100"/>
                  <a:gd name="connsiteY145" fmla="*/ 792957 h 4350544"/>
                  <a:gd name="connsiteX146" fmla="*/ 0 w 8801100"/>
                  <a:gd name="connsiteY146" fmla="*/ 812006 h 4350544"/>
                  <a:gd name="connsiteX147" fmla="*/ 4762 w 8801100"/>
                  <a:gd name="connsiteY147" fmla="*/ 0 h 4350544"/>
                  <a:gd name="connsiteX148" fmla="*/ 4802981 w 8801100"/>
                  <a:gd name="connsiteY148" fmla="*/ 4350544 h 4350544"/>
                  <a:gd name="connsiteX149" fmla="*/ 5693569 w 8801100"/>
                  <a:gd name="connsiteY149" fmla="*/ 4031456 h 4350544"/>
                  <a:gd name="connsiteX150" fmla="*/ 5872162 w 8801100"/>
                  <a:gd name="connsiteY150" fmla="*/ 4048125 h 4350544"/>
                  <a:gd name="connsiteX151" fmla="*/ 5929313 w 8801100"/>
                  <a:gd name="connsiteY151" fmla="*/ 4021932 h 4350544"/>
                  <a:gd name="connsiteX152" fmla="*/ 6062662 w 8801100"/>
                  <a:gd name="connsiteY152" fmla="*/ 4019550 h 4350544"/>
                  <a:gd name="connsiteX153" fmla="*/ 6196012 w 8801100"/>
                  <a:gd name="connsiteY153" fmla="*/ 3921919 h 4350544"/>
                  <a:gd name="connsiteX154" fmla="*/ 6262687 w 8801100"/>
                  <a:gd name="connsiteY154" fmla="*/ 3914775 h 4350544"/>
                  <a:gd name="connsiteX155" fmla="*/ 6360319 w 8801100"/>
                  <a:gd name="connsiteY155" fmla="*/ 3840956 h 4350544"/>
                  <a:gd name="connsiteX156" fmla="*/ 6434138 w 8801100"/>
                  <a:gd name="connsiteY156" fmla="*/ 3771900 h 4350544"/>
                  <a:gd name="connsiteX157" fmla="*/ 6443663 w 8801100"/>
                  <a:gd name="connsiteY157" fmla="*/ 3709988 h 4350544"/>
                  <a:gd name="connsiteX158" fmla="*/ 6477000 w 8801100"/>
                  <a:gd name="connsiteY158" fmla="*/ 3640931 h 4350544"/>
                  <a:gd name="connsiteX159" fmla="*/ 6629400 w 8801100"/>
                  <a:gd name="connsiteY159" fmla="*/ 3533775 h 4350544"/>
                  <a:gd name="connsiteX160" fmla="*/ 6662738 w 8801100"/>
                  <a:gd name="connsiteY160" fmla="*/ 3538538 h 4350544"/>
                  <a:gd name="connsiteX161" fmla="*/ 6715125 w 8801100"/>
                  <a:gd name="connsiteY161" fmla="*/ 3459956 h 4350544"/>
                  <a:gd name="connsiteX162" fmla="*/ 6762750 w 8801100"/>
                  <a:gd name="connsiteY162" fmla="*/ 3421856 h 4350544"/>
                  <a:gd name="connsiteX163" fmla="*/ 6748463 w 8801100"/>
                  <a:gd name="connsiteY163" fmla="*/ 3352800 h 4350544"/>
                  <a:gd name="connsiteX164" fmla="*/ 6698456 w 8801100"/>
                  <a:gd name="connsiteY164" fmla="*/ 3321843 h 4350544"/>
                  <a:gd name="connsiteX165" fmla="*/ 6638925 w 8801100"/>
                  <a:gd name="connsiteY165" fmla="*/ 3267075 h 4350544"/>
                  <a:gd name="connsiteX166" fmla="*/ 6619875 w 8801100"/>
                  <a:gd name="connsiteY166" fmla="*/ 3209925 h 4350544"/>
                  <a:gd name="connsiteX167" fmla="*/ 6584156 w 8801100"/>
                  <a:gd name="connsiteY167" fmla="*/ 3176588 h 4350544"/>
                  <a:gd name="connsiteX168" fmla="*/ 6610350 w 8801100"/>
                  <a:gd name="connsiteY168" fmla="*/ 3124200 h 4350544"/>
                  <a:gd name="connsiteX169" fmla="*/ 6650831 w 8801100"/>
                  <a:gd name="connsiteY169" fmla="*/ 2945606 h 4350544"/>
                  <a:gd name="connsiteX170" fmla="*/ 6691313 w 8801100"/>
                  <a:gd name="connsiteY170" fmla="*/ 2878931 h 4350544"/>
                  <a:gd name="connsiteX171" fmla="*/ 6836569 w 8801100"/>
                  <a:gd name="connsiteY171" fmla="*/ 2862262 h 4350544"/>
                  <a:gd name="connsiteX172" fmla="*/ 6905625 w 8801100"/>
                  <a:gd name="connsiteY172" fmla="*/ 2919413 h 4350544"/>
                  <a:gd name="connsiteX173" fmla="*/ 6981825 w 8801100"/>
                  <a:gd name="connsiteY173" fmla="*/ 2943225 h 4350544"/>
                  <a:gd name="connsiteX174" fmla="*/ 7186612 w 8801100"/>
                  <a:gd name="connsiteY174" fmla="*/ 2947988 h 4350544"/>
                  <a:gd name="connsiteX175" fmla="*/ 7362825 w 8801100"/>
                  <a:gd name="connsiteY175" fmla="*/ 2809875 h 4350544"/>
                  <a:gd name="connsiteX176" fmla="*/ 7419975 w 8801100"/>
                  <a:gd name="connsiteY176" fmla="*/ 2719387 h 4350544"/>
                  <a:gd name="connsiteX177" fmla="*/ 7446169 w 8801100"/>
                  <a:gd name="connsiteY177" fmla="*/ 2636044 h 4350544"/>
                  <a:gd name="connsiteX178" fmla="*/ 7577137 w 8801100"/>
                  <a:gd name="connsiteY178" fmla="*/ 2636044 h 4350544"/>
                  <a:gd name="connsiteX179" fmla="*/ 7750969 w 8801100"/>
                  <a:gd name="connsiteY179" fmla="*/ 2578893 h 4350544"/>
                  <a:gd name="connsiteX180" fmla="*/ 7810500 w 8801100"/>
                  <a:gd name="connsiteY180" fmla="*/ 2466975 h 4350544"/>
                  <a:gd name="connsiteX181" fmla="*/ 7874794 w 8801100"/>
                  <a:gd name="connsiteY181" fmla="*/ 2431256 h 4350544"/>
                  <a:gd name="connsiteX182" fmla="*/ 7853363 w 8801100"/>
                  <a:gd name="connsiteY182" fmla="*/ 2386013 h 4350544"/>
                  <a:gd name="connsiteX183" fmla="*/ 7931944 w 8801100"/>
                  <a:gd name="connsiteY183" fmla="*/ 2216943 h 4350544"/>
                  <a:gd name="connsiteX184" fmla="*/ 7986713 w 8801100"/>
                  <a:gd name="connsiteY184" fmla="*/ 2157413 h 4350544"/>
                  <a:gd name="connsiteX185" fmla="*/ 8024813 w 8801100"/>
                  <a:gd name="connsiteY185" fmla="*/ 2152650 h 4350544"/>
                  <a:gd name="connsiteX186" fmla="*/ 8070056 w 8801100"/>
                  <a:gd name="connsiteY186" fmla="*/ 2157413 h 4350544"/>
                  <a:gd name="connsiteX187" fmla="*/ 8134350 w 8801100"/>
                  <a:gd name="connsiteY187" fmla="*/ 2124075 h 4350544"/>
                  <a:gd name="connsiteX188" fmla="*/ 8143875 w 8801100"/>
                  <a:gd name="connsiteY188" fmla="*/ 2059781 h 4350544"/>
                  <a:gd name="connsiteX189" fmla="*/ 8184355 w 8801100"/>
                  <a:gd name="connsiteY189" fmla="*/ 2024063 h 4350544"/>
                  <a:gd name="connsiteX190" fmla="*/ 8243888 w 8801100"/>
                  <a:gd name="connsiteY190" fmla="*/ 2064543 h 4350544"/>
                  <a:gd name="connsiteX191" fmla="*/ 8270082 w 8801100"/>
                  <a:gd name="connsiteY191" fmla="*/ 2014537 h 4350544"/>
                  <a:gd name="connsiteX192" fmla="*/ 8365331 w 8801100"/>
                  <a:gd name="connsiteY192" fmla="*/ 1945481 h 4350544"/>
                  <a:gd name="connsiteX193" fmla="*/ 8427244 w 8801100"/>
                  <a:gd name="connsiteY193" fmla="*/ 1952625 h 4350544"/>
                  <a:gd name="connsiteX194" fmla="*/ 8477250 w 8801100"/>
                  <a:gd name="connsiteY194" fmla="*/ 1933575 h 4350544"/>
                  <a:gd name="connsiteX195" fmla="*/ 8515350 w 8801100"/>
                  <a:gd name="connsiteY195" fmla="*/ 1905000 h 4350544"/>
                  <a:gd name="connsiteX196" fmla="*/ 8548688 w 8801100"/>
                  <a:gd name="connsiteY196" fmla="*/ 1902619 h 4350544"/>
                  <a:gd name="connsiteX197" fmla="*/ 8584406 w 8801100"/>
                  <a:gd name="connsiteY197" fmla="*/ 1933575 h 4350544"/>
                  <a:gd name="connsiteX198" fmla="*/ 8643938 w 8801100"/>
                  <a:gd name="connsiteY198" fmla="*/ 1933575 h 4350544"/>
                  <a:gd name="connsiteX199" fmla="*/ 8682037 w 8801100"/>
                  <a:gd name="connsiteY199" fmla="*/ 1914525 h 4350544"/>
                  <a:gd name="connsiteX200" fmla="*/ 8765381 w 8801100"/>
                  <a:gd name="connsiteY200" fmla="*/ 1916907 h 4350544"/>
                  <a:gd name="connsiteX201" fmla="*/ 8796338 w 8801100"/>
                  <a:gd name="connsiteY201" fmla="*/ 1871663 h 4350544"/>
                  <a:gd name="connsiteX202" fmla="*/ 8801100 w 8801100"/>
                  <a:gd name="connsiteY202" fmla="*/ 1809750 h 4350544"/>
                  <a:gd name="connsiteX203" fmla="*/ 8751093 w 8801100"/>
                  <a:gd name="connsiteY203" fmla="*/ 1769269 h 4350544"/>
                  <a:gd name="connsiteX204" fmla="*/ 8734425 w 8801100"/>
                  <a:gd name="connsiteY204" fmla="*/ 1714500 h 4350544"/>
                  <a:gd name="connsiteX205" fmla="*/ 8643938 w 8801100"/>
                  <a:gd name="connsiteY205" fmla="*/ 1652588 h 4350544"/>
                  <a:gd name="connsiteX206" fmla="*/ 8603456 w 8801100"/>
                  <a:gd name="connsiteY206" fmla="*/ 1631156 h 4350544"/>
                  <a:gd name="connsiteX207" fmla="*/ 8565356 w 8801100"/>
                  <a:gd name="connsiteY207" fmla="*/ 1585913 h 4350544"/>
                  <a:gd name="connsiteX208" fmla="*/ 8534400 w 8801100"/>
                  <a:gd name="connsiteY208" fmla="*/ 1583531 h 4350544"/>
                  <a:gd name="connsiteX209" fmla="*/ 8517731 w 8801100"/>
                  <a:gd name="connsiteY209" fmla="*/ 1531144 h 4350544"/>
                  <a:gd name="connsiteX210" fmla="*/ 8477250 w 8801100"/>
                  <a:gd name="connsiteY210" fmla="*/ 1514475 h 4350544"/>
                  <a:gd name="connsiteX211" fmla="*/ 8477250 w 8801100"/>
                  <a:gd name="connsiteY211" fmla="*/ 1514475 h 4350544"/>
                  <a:gd name="connsiteX212" fmla="*/ 8436769 w 8801100"/>
                  <a:gd name="connsiteY212" fmla="*/ 1519238 h 4350544"/>
                  <a:gd name="connsiteX213" fmla="*/ 8351043 w 8801100"/>
                  <a:gd name="connsiteY213" fmla="*/ 1445419 h 4350544"/>
                  <a:gd name="connsiteX214" fmla="*/ 8170069 w 8801100"/>
                  <a:gd name="connsiteY214" fmla="*/ 1445418 h 4350544"/>
                  <a:gd name="connsiteX215" fmla="*/ 8117681 w 8801100"/>
                  <a:gd name="connsiteY215" fmla="*/ 1483519 h 4350544"/>
                  <a:gd name="connsiteX216" fmla="*/ 8067675 w 8801100"/>
                  <a:gd name="connsiteY216" fmla="*/ 1562100 h 4350544"/>
                  <a:gd name="connsiteX217" fmla="*/ 8084344 w 8801100"/>
                  <a:gd name="connsiteY217" fmla="*/ 1583531 h 4350544"/>
                  <a:gd name="connsiteX218" fmla="*/ 8039100 w 8801100"/>
                  <a:gd name="connsiteY218" fmla="*/ 1633537 h 4350544"/>
                  <a:gd name="connsiteX219" fmla="*/ 7889081 w 8801100"/>
                  <a:gd name="connsiteY219" fmla="*/ 1557337 h 4350544"/>
                  <a:gd name="connsiteX220" fmla="*/ 7798594 w 8801100"/>
                  <a:gd name="connsiteY220" fmla="*/ 1593056 h 4350544"/>
                  <a:gd name="connsiteX221" fmla="*/ 7724775 w 8801100"/>
                  <a:gd name="connsiteY221" fmla="*/ 1590675 h 4350544"/>
                  <a:gd name="connsiteX222" fmla="*/ 7667625 w 8801100"/>
                  <a:gd name="connsiteY222" fmla="*/ 1685925 h 4350544"/>
                  <a:gd name="connsiteX223" fmla="*/ 7529513 w 8801100"/>
                  <a:gd name="connsiteY223" fmla="*/ 1588294 h 4350544"/>
                  <a:gd name="connsiteX0" fmla="*/ 7529513 w 8801100"/>
                  <a:gd name="connsiteY0" fmla="*/ 1588294 h 4048125"/>
                  <a:gd name="connsiteX1" fmla="*/ 7522369 w 8801100"/>
                  <a:gd name="connsiteY1" fmla="*/ 1533525 h 4048125"/>
                  <a:gd name="connsiteX2" fmla="*/ 7589044 w 8801100"/>
                  <a:gd name="connsiteY2" fmla="*/ 1459706 h 4048125"/>
                  <a:gd name="connsiteX3" fmla="*/ 7572375 w 8801100"/>
                  <a:gd name="connsiteY3" fmla="*/ 1388269 h 4048125"/>
                  <a:gd name="connsiteX4" fmla="*/ 7586663 w 8801100"/>
                  <a:gd name="connsiteY4" fmla="*/ 1293019 h 4048125"/>
                  <a:gd name="connsiteX5" fmla="*/ 7624763 w 8801100"/>
                  <a:gd name="connsiteY5" fmla="*/ 1235869 h 4048125"/>
                  <a:gd name="connsiteX6" fmla="*/ 7605712 w 8801100"/>
                  <a:gd name="connsiteY6" fmla="*/ 1202531 h 4048125"/>
                  <a:gd name="connsiteX7" fmla="*/ 7703343 w 8801100"/>
                  <a:gd name="connsiteY7" fmla="*/ 802481 h 4048125"/>
                  <a:gd name="connsiteX8" fmla="*/ 7696200 w 8801100"/>
                  <a:gd name="connsiteY8" fmla="*/ 773906 h 4048125"/>
                  <a:gd name="connsiteX9" fmla="*/ 7567613 w 8801100"/>
                  <a:gd name="connsiteY9" fmla="*/ 752475 h 4048125"/>
                  <a:gd name="connsiteX10" fmla="*/ 7384257 w 8801100"/>
                  <a:gd name="connsiteY10" fmla="*/ 831056 h 4048125"/>
                  <a:gd name="connsiteX11" fmla="*/ 7227093 w 8801100"/>
                  <a:gd name="connsiteY11" fmla="*/ 716756 h 4048125"/>
                  <a:gd name="connsiteX12" fmla="*/ 7150894 w 8801100"/>
                  <a:gd name="connsiteY12" fmla="*/ 723900 h 4048125"/>
                  <a:gd name="connsiteX13" fmla="*/ 7077075 w 8801100"/>
                  <a:gd name="connsiteY13" fmla="*/ 719138 h 4048125"/>
                  <a:gd name="connsiteX14" fmla="*/ 6938963 w 8801100"/>
                  <a:gd name="connsiteY14" fmla="*/ 823913 h 4048125"/>
                  <a:gd name="connsiteX15" fmla="*/ 6831806 w 8801100"/>
                  <a:gd name="connsiteY15" fmla="*/ 931069 h 4048125"/>
                  <a:gd name="connsiteX16" fmla="*/ 6788944 w 8801100"/>
                  <a:gd name="connsiteY16" fmla="*/ 1000125 h 4048125"/>
                  <a:gd name="connsiteX17" fmla="*/ 6796088 w 8801100"/>
                  <a:gd name="connsiteY17" fmla="*/ 1035844 h 4048125"/>
                  <a:gd name="connsiteX18" fmla="*/ 6734175 w 8801100"/>
                  <a:gd name="connsiteY18" fmla="*/ 1047750 h 4048125"/>
                  <a:gd name="connsiteX19" fmla="*/ 6753225 w 8801100"/>
                  <a:gd name="connsiteY19" fmla="*/ 1047750 h 4048125"/>
                  <a:gd name="connsiteX20" fmla="*/ 6719888 w 8801100"/>
                  <a:gd name="connsiteY20" fmla="*/ 1078706 h 4048125"/>
                  <a:gd name="connsiteX21" fmla="*/ 6619875 w 8801100"/>
                  <a:gd name="connsiteY21" fmla="*/ 1078707 h 4048125"/>
                  <a:gd name="connsiteX22" fmla="*/ 6524625 w 8801100"/>
                  <a:gd name="connsiteY22" fmla="*/ 1133475 h 4048125"/>
                  <a:gd name="connsiteX23" fmla="*/ 6443663 w 8801100"/>
                  <a:gd name="connsiteY23" fmla="*/ 1143000 h 4048125"/>
                  <a:gd name="connsiteX24" fmla="*/ 6403181 w 8801100"/>
                  <a:gd name="connsiteY24" fmla="*/ 1176338 h 4048125"/>
                  <a:gd name="connsiteX25" fmla="*/ 6353175 w 8801100"/>
                  <a:gd name="connsiteY25" fmla="*/ 1181100 h 4048125"/>
                  <a:gd name="connsiteX26" fmla="*/ 6231732 w 8801100"/>
                  <a:gd name="connsiteY26" fmla="*/ 1273969 h 4048125"/>
                  <a:gd name="connsiteX27" fmla="*/ 6172200 w 8801100"/>
                  <a:gd name="connsiteY27" fmla="*/ 1278731 h 4048125"/>
                  <a:gd name="connsiteX28" fmla="*/ 6119813 w 8801100"/>
                  <a:gd name="connsiteY28" fmla="*/ 1243013 h 4048125"/>
                  <a:gd name="connsiteX29" fmla="*/ 6093619 w 8801100"/>
                  <a:gd name="connsiteY29" fmla="*/ 1278731 h 4048125"/>
                  <a:gd name="connsiteX30" fmla="*/ 5895975 w 8801100"/>
                  <a:gd name="connsiteY30" fmla="*/ 1271588 h 4048125"/>
                  <a:gd name="connsiteX31" fmla="*/ 5834063 w 8801100"/>
                  <a:gd name="connsiteY31" fmla="*/ 1226344 h 4048125"/>
                  <a:gd name="connsiteX32" fmla="*/ 5636419 w 8801100"/>
                  <a:gd name="connsiteY32" fmla="*/ 1243013 h 4048125"/>
                  <a:gd name="connsiteX33" fmla="*/ 5548313 w 8801100"/>
                  <a:gd name="connsiteY33" fmla="*/ 1159668 h 4048125"/>
                  <a:gd name="connsiteX34" fmla="*/ 5472113 w 8801100"/>
                  <a:gd name="connsiteY34" fmla="*/ 1114425 h 4048125"/>
                  <a:gd name="connsiteX35" fmla="*/ 5474493 w 8801100"/>
                  <a:gd name="connsiteY35" fmla="*/ 1057275 h 4048125"/>
                  <a:gd name="connsiteX36" fmla="*/ 5455444 w 8801100"/>
                  <a:gd name="connsiteY36" fmla="*/ 1014412 h 4048125"/>
                  <a:gd name="connsiteX37" fmla="*/ 5360194 w 8801100"/>
                  <a:gd name="connsiteY37" fmla="*/ 1016794 h 4048125"/>
                  <a:gd name="connsiteX38" fmla="*/ 5264944 w 8801100"/>
                  <a:gd name="connsiteY38" fmla="*/ 995363 h 4048125"/>
                  <a:gd name="connsiteX39" fmla="*/ 5195887 w 8801100"/>
                  <a:gd name="connsiteY39" fmla="*/ 928687 h 4048125"/>
                  <a:gd name="connsiteX40" fmla="*/ 5160169 w 8801100"/>
                  <a:gd name="connsiteY40" fmla="*/ 885825 h 4048125"/>
                  <a:gd name="connsiteX41" fmla="*/ 5079206 w 8801100"/>
                  <a:gd name="connsiteY41" fmla="*/ 862012 h 4048125"/>
                  <a:gd name="connsiteX42" fmla="*/ 5005388 w 8801100"/>
                  <a:gd name="connsiteY42" fmla="*/ 873918 h 4048125"/>
                  <a:gd name="connsiteX43" fmla="*/ 4948237 w 8801100"/>
                  <a:gd name="connsiteY43" fmla="*/ 821531 h 4048125"/>
                  <a:gd name="connsiteX44" fmla="*/ 4852988 w 8801100"/>
                  <a:gd name="connsiteY44" fmla="*/ 833438 h 4048125"/>
                  <a:gd name="connsiteX45" fmla="*/ 4800600 w 8801100"/>
                  <a:gd name="connsiteY45" fmla="*/ 807244 h 4048125"/>
                  <a:gd name="connsiteX46" fmla="*/ 4719638 w 8801100"/>
                  <a:gd name="connsiteY46" fmla="*/ 850106 h 4048125"/>
                  <a:gd name="connsiteX47" fmla="*/ 4581525 w 8801100"/>
                  <a:gd name="connsiteY47" fmla="*/ 873919 h 4048125"/>
                  <a:gd name="connsiteX48" fmla="*/ 4452938 w 8801100"/>
                  <a:gd name="connsiteY48" fmla="*/ 966788 h 4048125"/>
                  <a:gd name="connsiteX49" fmla="*/ 4405312 w 8801100"/>
                  <a:gd name="connsiteY49" fmla="*/ 928688 h 4048125"/>
                  <a:gd name="connsiteX50" fmla="*/ 4383881 w 8801100"/>
                  <a:gd name="connsiteY50" fmla="*/ 959643 h 4048125"/>
                  <a:gd name="connsiteX51" fmla="*/ 4310063 w 8801100"/>
                  <a:gd name="connsiteY51" fmla="*/ 909638 h 4048125"/>
                  <a:gd name="connsiteX52" fmla="*/ 4271963 w 8801100"/>
                  <a:gd name="connsiteY52" fmla="*/ 916781 h 4048125"/>
                  <a:gd name="connsiteX53" fmla="*/ 4250531 w 8801100"/>
                  <a:gd name="connsiteY53" fmla="*/ 878681 h 4048125"/>
                  <a:gd name="connsiteX54" fmla="*/ 4191000 w 8801100"/>
                  <a:gd name="connsiteY54" fmla="*/ 883444 h 4048125"/>
                  <a:gd name="connsiteX55" fmla="*/ 4145756 w 8801100"/>
                  <a:gd name="connsiteY55" fmla="*/ 854869 h 4048125"/>
                  <a:gd name="connsiteX56" fmla="*/ 4107656 w 8801100"/>
                  <a:gd name="connsiteY56" fmla="*/ 852488 h 4048125"/>
                  <a:gd name="connsiteX57" fmla="*/ 4088606 w 8801100"/>
                  <a:gd name="connsiteY57" fmla="*/ 804862 h 4048125"/>
                  <a:gd name="connsiteX58" fmla="*/ 4074319 w 8801100"/>
                  <a:gd name="connsiteY58" fmla="*/ 773906 h 4048125"/>
                  <a:gd name="connsiteX59" fmla="*/ 4029075 w 8801100"/>
                  <a:gd name="connsiteY59" fmla="*/ 783431 h 4048125"/>
                  <a:gd name="connsiteX60" fmla="*/ 4010025 w 8801100"/>
                  <a:gd name="connsiteY60" fmla="*/ 747713 h 4048125"/>
                  <a:gd name="connsiteX61" fmla="*/ 4031457 w 8801100"/>
                  <a:gd name="connsiteY61" fmla="*/ 692944 h 4048125"/>
                  <a:gd name="connsiteX62" fmla="*/ 4000500 w 8801100"/>
                  <a:gd name="connsiteY62" fmla="*/ 666750 h 4048125"/>
                  <a:gd name="connsiteX63" fmla="*/ 4017169 w 8801100"/>
                  <a:gd name="connsiteY63" fmla="*/ 623888 h 4048125"/>
                  <a:gd name="connsiteX64" fmla="*/ 3990975 w 8801100"/>
                  <a:gd name="connsiteY64" fmla="*/ 581025 h 4048125"/>
                  <a:gd name="connsiteX65" fmla="*/ 3986213 w 8801100"/>
                  <a:gd name="connsiteY65" fmla="*/ 519113 h 4048125"/>
                  <a:gd name="connsiteX66" fmla="*/ 4010025 w 8801100"/>
                  <a:gd name="connsiteY66" fmla="*/ 454818 h 4048125"/>
                  <a:gd name="connsiteX67" fmla="*/ 3971925 w 8801100"/>
                  <a:gd name="connsiteY67" fmla="*/ 457200 h 4048125"/>
                  <a:gd name="connsiteX68" fmla="*/ 3852863 w 8801100"/>
                  <a:gd name="connsiteY68" fmla="*/ 400050 h 4048125"/>
                  <a:gd name="connsiteX69" fmla="*/ 3814762 w 8801100"/>
                  <a:gd name="connsiteY69" fmla="*/ 404812 h 4048125"/>
                  <a:gd name="connsiteX70" fmla="*/ 3609975 w 8801100"/>
                  <a:gd name="connsiteY70" fmla="*/ 295275 h 4048125"/>
                  <a:gd name="connsiteX71" fmla="*/ 3505200 w 8801100"/>
                  <a:gd name="connsiteY71" fmla="*/ 264319 h 4048125"/>
                  <a:gd name="connsiteX72" fmla="*/ 3440906 w 8801100"/>
                  <a:gd name="connsiteY72" fmla="*/ 273843 h 4048125"/>
                  <a:gd name="connsiteX73" fmla="*/ 3409950 w 8801100"/>
                  <a:gd name="connsiteY73" fmla="*/ 209550 h 4048125"/>
                  <a:gd name="connsiteX74" fmla="*/ 3352800 w 8801100"/>
                  <a:gd name="connsiteY74" fmla="*/ 209550 h 4048125"/>
                  <a:gd name="connsiteX75" fmla="*/ 3214687 w 8801100"/>
                  <a:gd name="connsiteY75" fmla="*/ 104775 h 4048125"/>
                  <a:gd name="connsiteX76" fmla="*/ 3181350 w 8801100"/>
                  <a:gd name="connsiteY76" fmla="*/ 164307 h 4048125"/>
                  <a:gd name="connsiteX77" fmla="*/ 3126581 w 8801100"/>
                  <a:gd name="connsiteY77" fmla="*/ 233363 h 4048125"/>
                  <a:gd name="connsiteX78" fmla="*/ 3083719 w 8801100"/>
                  <a:gd name="connsiteY78" fmla="*/ 250031 h 4048125"/>
                  <a:gd name="connsiteX79" fmla="*/ 3052763 w 8801100"/>
                  <a:gd name="connsiteY79" fmla="*/ 242888 h 4048125"/>
                  <a:gd name="connsiteX80" fmla="*/ 3028950 w 8801100"/>
                  <a:gd name="connsiteY80" fmla="*/ 271463 h 4048125"/>
                  <a:gd name="connsiteX81" fmla="*/ 3002756 w 8801100"/>
                  <a:gd name="connsiteY81" fmla="*/ 350044 h 4048125"/>
                  <a:gd name="connsiteX82" fmla="*/ 2959894 w 8801100"/>
                  <a:gd name="connsiteY82" fmla="*/ 347663 h 4048125"/>
                  <a:gd name="connsiteX83" fmla="*/ 2928937 w 8801100"/>
                  <a:gd name="connsiteY83" fmla="*/ 409575 h 4048125"/>
                  <a:gd name="connsiteX84" fmla="*/ 2924175 w 8801100"/>
                  <a:gd name="connsiteY84" fmla="*/ 473869 h 4048125"/>
                  <a:gd name="connsiteX85" fmla="*/ 2897982 w 8801100"/>
                  <a:gd name="connsiteY85" fmla="*/ 511969 h 4048125"/>
                  <a:gd name="connsiteX86" fmla="*/ 2924175 w 8801100"/>
                  <a:gd name="connsiteY86" fmla="*/ 571500 h 4048125"/>
                  <a:gd name="connsiteX87" fmla="*/ 2926556 w 8801100"/>
                  <a:gd name="connsiteY87" fmla="*/ 640556 h 4048125"/>
                  <a:gd name="connsiteX88" fmla="*/ 2955131 w 8801100"/>
                  <a:gd name="connsiteY88" fmla="*/ 692944 h 4048125"/>
                  <a:gd name="connsiteX89" fmla="*/ 3002757 w 8801100"/>
                  <a:gd name="connsiteY89" fmla="*/ 747713 h 4048125"/>
                  <a:gd name="connsiteX90" fmla="*/ 2952750 w 8801100"/>
                  <a:gd name="connsiteY90" fmla="*/ 885825 h 4048125"/>
                  <a:gd name="connsiteX91" fmla="*/ 2883694 w 8801100"/>
                  <a:gd name="connsiteY91" fmla="*/ 952500 h 4048125"/>
                  <a:gd name="connsiteX92" fmla="*/ 2812256 w 8801100"/>
                  <a:gd name="connsiteY92" fmla="*/ 947738 h 4048125"/>
                  <a:gd name="connsiteX93" fmla="*/ 2774156 w 8801100"/>
                  <a:gd name="connsiteY93" fmla="*/ 1004888 h 4048125"/>
                  <a:gd name="connsiteX94" fmla="*/ 2714625 w 8801100"/>
                  <a:gd name="connsiteY94" fmla="*/ 1019175 h 4048125"/>
                  <a:gd name="connsiteX95" fmla="*/ 2645569 w 8801100"/>
                  <a:gd name="connsiteY95" fmla="*/ 959644 h 4048125"/>
                  <a:gd name="connsiteX96" fmla="*/ 2590800 w 8801100"/>
                  <a:gd name="connsiteY96" fmla="*/ 931069 h 4048125"/>
                  <a:gd name="connsiteX97" fmla="*/ 2547938 w 8801100"/>
                  <a:gd name="connsiteY97" fmla="*/ 945356 h 4048125"/>
                  <a:gd name="connsiteX98" fmla="*/ 2495550 w 8801100"/>
                  <a:gd name="connsiteY98" fmla="*/ 928688 h 4048125"/>
                  <a:gd name="connsiteX99" fmla="*/ 2428875 w 8801100"/>
                  <a:gd name="connsiteY99" fmla="*/ 873919 h 4048125"/>
                  <a:gd name="connsiteX100" fmla="*/ 2383631 w 8801100"/>
                  <a:gd name="connsiteY100" fmla="*/ 885825 h 4048125"/>
                  <a:gd name="connsiteX101" fmla="*/ 2362200 w 8801100"/>
                  <a:gd name="connsiteY101" fmla="*/ 854869 h 4048125"/>
                  <a:gd name="connsiteX102" fmla="*/ 2305050 w 8801100"/>
                  <a:gd name="connsiteY102" fmla="*/ 895350 h 4048125"/>
                  <a:gd name="connsiteX103" fmla="*/ 2188369 w 8801100"/>
                  <a:gd name="connsiteY103" fmla="*/ 873919 h 4048125"/>
                  <a:gd name="connsiteX104" fmla="*/ 2138363 w 8801100"/>
                  <a:gd name="connsiteY104" fmla="*/ 821531 h 4048125"/>
                  <a:gd name="connsiteX105" fmla="*/ 2095500 w 8801100"/>
                  <a:gd name="connsiteY105" fmla="*/ 807244 h 4048125"/>
                  <a:gd name="connsiteX106" fmla="*/ 2052638 w 8801100"/>
                  <a:gd name="connsiteY106" fmla="*/ 833438 h 4048125"/>
                  <a:gd name="connsiteX107" fmla="*/ 2000250 w 8801100"/>
                  <a:gd name="connsiteY107" fmla="*/ 742950 h 4048125"/>
                  <a:gd name="connsiteX108" fmla="*/ 1990725 w 8801100"/>
                  <a:gd name="connsiteY108" fmla="*/ 595312 h 4048125"/>
                  <a:gd name="connsiteX109" fmla="*/ 1938337 w 8801100"/>
                  <a:gd name="connsiteY109" fmla="*/ 588168 h 4048125"/>
                  <a:gd name="connsiteX110" fmla="*/ 1847850 w 8801100"/>
                  <a:gd name="connsiteY110" fmla="*/ 578644 h 4048125"/>
                  <a:gd name="connsiteX111" fmla="*/ 1793081 w 8801100"/>
                  <a:gd name="connsiteY111" fmla="*/ 540544 h 4048125"/>
                  <a:gd name="connsiteX112" fmla="*/ 1724025 w 8801100"/>
                  <a:gd name="connsiteY112" fmla="*/ 550069 h 4048125"/>
                  <a:gd name="connsiteX113" fmla="*/ 1678781 w 8801100"/>
                  <a:gd name="connsiteY113" fmla="*/ 523875 h 4048125"/>
                  <a:gd name="connsiteX114" fmla="*/ 1669257 w 8801100"/>
                  <a:gd name="connsiteY114" fmla="*/ 452438 h 4048125"/>
                  <a:gd name="connsiteX115" fmla="*/ 1645444 w 8801100"/>
                  <a:gd name="connsiteY115" fmla="*/ 438150 h 4048125"/>
                  <a:gd name="connsiteX116" fmla="*/ 1607344 w 8801100"/>
                  <a:gd name="connsiteY116" fmla="*/ 485774 h 4048125"/>
                  <a:gd name="connsiteX117" fmla="*/ 1528762 w 8801100"/>
                  <a:gd name="connsiteY117" fmla="*/ 411956 h 4048125"/>
                  <a:gd name="connsiteX118" fmla="*/ 1488281 w 8801100"/>
                  <a:gd name="connsiteY118" fmla="*/ 452438 h 4048125"/>
                  <a:gd name="connsiteX119" fmla="*/ 1412081 w 8801100"/>
                  <a:gd name="connsiteY119" fmla="*/ 438150 h 4048125"/>
                  <a:gd name="connsiteX120" fmla="*/ 1333500 w 8801100"/>
                  <a:gd name="connsiteY120" fmla="*/ 464344 h 4048125"/>
                  <a:gd name="connsiteX121" fmla="*/ 1273969 w 8801100"/>
                  <a:gd name="connsiteY121" fmla="*/ 511968 h 4048125"/>
                  <a:gd name="connsiteX122" fmla="*/ 1200150 w 8801100"/>
                  <a:gd name="connsiteY122" fmla="*/ 523875 h 4048125"/>
                  <a:gd name="connsiteX123" fmla="*/ 1164431 w 8801100"/>
                  <a:gd name="connsiteY123" fmla="*/ 516731 h 4048125"/>
                  <a:gd name="connsiteX124" fmla="*/ 1085851 w 8801100"/>
                  <a:gd name="connsiteY124" fmla="*/ 547688 h 4048125"/>
                  <a:gd name="connsiteX125" fmla="*/ 1064419 w 8801100"/>
                  <a:gd name="connsiteY125" fmla="*/ 576263 h 4048125"/>
                  <a:gd name="connsiteX126" fmla="*/ 997744 w 8801100"/>
                  <a:gd name="connsiteY126" fmla="*/ 566738 h 4048125"/>
                  <a:gd name="connsiteX127" fmla="*/ 928688 w 8801100"/>
                  <a:gd name="connsiteY127" fmla="*/ 590550 h 4048125"/>
                  <a:gd name="connsiteX128" fmla="*/ 873919 w 8801100"/>
                  <a:gd name="connsiteY128" fmla="*/ 628650 h 4048125"/>
                  <a:gd name="connsiteX129" fmla="*/ 778669 w 8801100"/>
                  <a:gd name="connsiteY129" fmla="*/ 642937 h 4048125"/>
                  <a:gd name="connsiteX130" fmla="*/ 764381 w 8801100"/>
                  <a:gd name="connsiteY130" fmla="*/ 664369 h 4048125"/>
                  <a:gd name="connsiteX131" fmla="*/ 776287 w 8801100"/>
                  <a:gd name="connsiteY131" fmla="*/ 709613 h 4048125"/>
                  <a:gd name="connsiteX132" fmla="*/ 676276 w 8801100"/>
                  <a:gd name="connsiteY132" fmla="*/ 762000 h 4048125"/>
                  <a:gd name="connsiteX133" fmla="*/ 638175 w 8801100"/>
                  <a:gd name="connsiteY133" fmla="*/ 733424 h 4048125"/>
                  <a:gd name="connsiteX134" fmla="*/ 607219 w 8801100"/>
                  <a:gd name="connsiteY134" fmla="*/ 790575 h 4048125"/>
                  <a:gd name="connsiteX135" fmla="*/ 550069 w 8801100"/>
                  <a:gd name="connsiteY135" fmla="*/ 752475 h 4048125"/>
                  <a:gd name="connsiteX136" fmla="*/ 514350 w 8801100"/>
                  <a:gd name="connsiteY136" fmla="*/ 781050 h 4048125"/>
                  <a:gd name="connsiteX137" fmla="*/ 478631 w 8801100"/>
                  <a:gd name="connsiteY137" fmla="*/ 745331 h 4048125"/>
                  <a:gd name="connsiteX138" fmla="*/ 426244 w 8801100"/>
                  <a:gd name="connsiteY138" fmla="*/ 757238 h 4048125"/>
                  <a:gd name="connsiteX139" fmla="*/ 381000 w 8801100"/>
                  <a:gd name="connsiteY139" fmla="*/ 728663 h 4048125"/>
                  <a:gd name="connsiteX140" fmla="*/ 357188 w 8801100"/>
                  <a:gd name="connsiteY140" fmla="*/ 747713 h 4048125"/>
                  <a:gd name="connsiteX141" fmla="*/ 333375 w 8801100"/>
                  <a:gd name="connsiteY141" fmla="*/ 807244 h 4048125"/>
                  <a:gd name="connsiteX142" fmla="*/ 261938 w 8801100"/>
                  <a:gd name="connsiteY142" fmla="*/ 845343 h 4048125"/>
                  <a:gd name="connsiteX143" fmla="*/ 209550 w 8801100"/>
                  <a:gd name="connsiteY143" fmla="*/ 816769 h 4048125"/>
                  <a:gd name="connsiteX144" fmla="*/ 119063 w 8801100"/>
                  <a:gd name="connsiteY144" fmla="*/ 826294 h 4048125"/>
                  <a:gd name="connsiteX145" fmla="*/ 71437 w 8801100"/>
                  <a:gd name="connsiteY145" fmla="*/ 792957 h 4048125"/>
                  <a:gd name="connsiteX146" fmla="*/ 0 w 8801100"/>
                  <a:gd name="connsiteY146" fmla="*/ 812006 h 4048125"/>
                  <a:gd name="connsiteX147" fmla="*/ 4762 w 8801100"/>
                  <a:gd name="connsiteY147" fmla="*/ 0 h 4048125"/>
                  <a:gd name="connsiteX148" fmla="*/ 5693569 w 8801100"/>
                  <a:gd name="connsiteY148" fmla="*/ 4031456 h 4048125"/>
                  <a:gd name="connsiteX149" fmla="*/ 5872162 w 8801100"/>
                  <a:gd name="connsiteY149" fmla="*/ 4048125 h 4048125"/>
                  <a:gd name="connsiteX150" fmla="*/ 5929313 w 8801100"/>
                  <a:gd name="connsiteY150" fmla="*/ 4021932 h 4048125"/>
                  <a:gd name="connsiteX151" fmla="*/ 6062662 w 8801100"/>
                  <a:gd name="connsiteY151" fmla="*/ 4019550 h 4048125"/>
                  <a:gd name="connsiteX152" fmla="*/ 6196012 w 8801100"/>
                  <a:gd name="connsiteY152" fmla="*/ 3921919 h 4048125"/>
                  <a:gd name="connsiteX153" fmla="*/ 6262687 w 8801100"/>
                  <a:gd name="connsiteY153" fmla="*/ 3914775 h 4048125"/>
                  <a:gd name="connsiteX154" fmla="*/ 6360319 w 8801100"/>
                  <a:gd name="connsiteY154" fmla="*/ 3840956 h 4048125"/>
                  <a:gd name="connsiteX155" fmla="*/ 6434138 w 8801100"/>
                  <a:gd name="connsiteY155" fmla="*/ 3771900 h 4048125"/>
                  <a:gd name="connsiteX156" fmla="*/ 6443663 w 8801100"/>
                  <a:gd name="connsiteY156" fmla="*/ 3709988 h 4048125"/>
                  <a:gd name="connsiteX157" fmla="*/ 6477000 w 8801100"/>
                  <a:gd name="connsiteY157" fmla="*/ 3640931 h 4048125"/>
                  <a:gd name="connsiteX158" fmla="*/ 6629400 w 8801100"/>
                  <a:gd name="connsiteY158" fmla="*/ 3533775 h 4048125"/>
                  <a:gd name="connsiteX159" fmla="*/ 6662738 w 8801100"/>
                  <a:gd name="connsiteY159" fmla="*/ 3538538 h 4048125"/>
                  <a:gd name="connsiteX160" fmla="*/ 6715125 w 8801100"/>
                  <a:gd name="connsiteY160" fmla="*/ 3459956 h 4048125"/>
                  <a:gd name="connsiteX161" fmla="*/ 6762750 w 8801100"/>
                  <a:gd name="connsiteY161" fmla="*/ 3421856 h 4048125"/>
                  <a:gd name="connsiteX162" fmla="*/ 6748463 w 8801100"/>
                  <a:gd name="connsiteY162" fmla="*/ 3352800 h 4048125"/>
                  <a:gd name="connsiteX163" fmla="*/ 6698456 w 8801100"/>
                  <a:gd name="connsiteY163" fmla="*/ 3321843 h 4048125"/>
                  <a:gd name="connsiteX164" fmla="*/ 6638925 w 8801100"/>
                  <a:gd name="connsiteY164" fmla="*/ 3267075 h 4048125"/>
                  <a:gd name="connsiteX165" fmla="*/ 6619875 w 8801100"/>
                  <a:gd name="connsiteY165" fmla="*/ 3209925 h 4048125"/>
                  <a:gd name="connsiteX166" fmla="*/ 6584156 w 8801100"/>
                  <a:gd name="connsiteY166" fmla="*/ 3176588 h 4048125"/>
                  <a:gd name="connsiteX167" fmla="*/ 6610350 w 8801100"/>
                  <a:gd name="connsiteY167" fmla="*/ 3124200 h 4048125"/>
                  <a:gd name="connsiteX168" fmla="*/ 6650831 w 8801100"/>
                  <a:gd name="connsiteY168" fmla="*/ 2945606 h 4048125"/>
                  <a:gd name="connsiteX169" fmla="*/ 6691313 w 8801100"/>
                  <a:gd name="connsiteY169" fmla="*/ 2878931 h 4048125"/>
                  <a:gd name="connsiteX170" fmla="*/ 6836569 w 8801100"/>
                  <a:gd name="connsiteY170" fmla="*/ 2862262 h 4048125"/>
                  <a:gd name="connsiteX171" fmla="*/ 6905625 w 8801100"/>
                  <a:gd name="connsiteY171" fmla="*/ 2919413 h 4048125"/>
                  <a:gd name="connsiteX172" fmla="*/ 6981825 w 8801100"/>
                  <a:gd name="connsiteY172" fmla="*/ 2943225 h 4048125"/>
                  <a:gd name="connsiteX173" fmla="*/ 7186612 w 8801100"/>
                  <a:gd name="connsiteY173" fmla="*/ 2947988 h 4048125"/>
                  <a:gd name="connsiteX174" fmla="*/ 7362825 w 8801100"/>
                  <a:gd name="connsiteY174" fmla="*/ 2809875 h 4048125"/>
                  <a:gd name="connsiteX175" fmla="*/ 7419975 w 8801100"/>
                  <a:gd name="connsiteY175" fmla="*/ 2719387 h 4048125"/>
                  <a:gd name="connsiteX176" fmla="*/ 7446169 w 8801100"/>
                  <a:gd name="connsiteY176" fmla="*/ 2636044 h 4048125"/>
                  <a:gd name="connsiteX177" fmla="*/ 7577137 w 8801100"/>
                  <a:gd name="connsiteY177" fmla="*/ 2636044 h 4048125"/>
                  <a:gd name="connsiteX178" fmla="*/ 7750969 w 8801100"/>
                  <a:gd name="connsiteY178" fmla="*/ 2578893 h 4048125"/>
                  <a:gd name="connsiteX179" fmla="*/ 7810500 w 8801100"/>
                  <a:gd name="connsiteY179" fmla="*/ 2466975 h 4048125"/>
                  <a:gd name="connsiteX180" fmla="*/ 7874794 w 8801100"/>
                  <a:gd name="connsiteY180" fmla="*/ 2431256 h 4048125"/>
                  <a:gd name="connsiteX181" fmla="*/ 7853363 w 8801100"/>
                  <a:gd name="connsiteY181" fmla="*/ 2386013 h 4048125"/>
                  <a:gd name="connsiteX182" fmla="*/ 7931944 w 8801100"/>
                  <a:gd name="connsiteY182" fmla="*/ 2216943 h 4048125"/>
                  <a:gd name="connsiteX183" fmla="*/ 7986713 w 8801100"/>
                  <a:gd name="connsiteY183" fmla="*/ 2157413 h 4048125"/>
                  <a:gd name="connsiteX184" fmla="*/ 8024813 w 8801100"/>
                  <a:gd name="connsiteY184" fmla="*/ 2152650 h 4048125"/>
                  <a:gd name="connsiteX185" fmla="*/ 8070056 w 8801100"/>
                  <a:gd name="connsiteY185" fmla="*/ 2157413 h 4048125"/>
                  <a:gd name="connsiteX186" fmla="*/ 8134350 w 8801100"/>
                  <a:gd name="connsiteY186" fmla="*/ 2124075 h 4048125"/>
                  <a:gd name="connsiteX187" fmla="*/ 8143875 w 8801100"/>
                  <a:gd name="connsiteY187" fmla="*/ 2059781 h 4048125"/>
                  <a:gd name="connsiteX188" fmla="*/ 8184355 w 8801100"/>
                  <a:gd name="connsiteY188" fmla="*/ 2024063 h 4048125"/>
                  <a:gd name="connsiteX189" fmla="*/ 8243888 w 8801100"/>
                  <a:gd name="connsiteY189" fmla="*/ 2064543 h 4048125"/>
                  <a:gd name="connsiteX190" fmla="*/ 8270082 w 8801100"/>
                  <a:gd name="connsiteY190" fmla="*/ 2014537 h 4048125"/>
                  <a:gd name="connsiteX191" fmla="*/ 8365331 w 8801100"/>
                  <a:gd name="connsiteY191" fmla="*/ 1945481 h 4048125"/>
                  <a:gd name="connsiteX192" fmla="*/ 8427244 w 8801100"/>
                  <a:gd name="connsiteY192" fmla="*/ 1952625 h 4048125"/>
                  <a:gd name="connsiteX193" fmla="*/ 8477250 w 8801100"/>
                  <a:gd name="connsiteY193" fmla="*/ 1933575 h 4048125"/>
                  <a:gd name="connsiteX194" fmla="*/ 8515350 w 8801100"/>
                  <a:gd name="connsiteY194" fmla="*/ 1905000 h 4048125"/>
                  <a:gd name="connsiteX195" fmla="*/ 8548688 w 8801100"/>
                  <a:gd name="connsiteY195" fmla="*/ 1902619 h 4048125"/>
                  <a:gd name="connsiteX196" fmla="*/ 8584406 w 8801100"/>
                  <a:gd name="connsiteY196" fmla="*/ 1933575 h 4048125"/>
                  <a:gd name="connsiteX197" fmla="*/ 8643938 w 8801100"/>
                  <a:gd name="connsiteY197" fmla="*/ 1933575 h 4048125"/>
                  <a:gd name="connsiteX198" fmla="*/ 8682037 w 8801100"/>
                  <a:gd name="connsiteY198" fmla="*/ 1914525 h 4048125"/>
                  <a:gd name="connsiteX199" fmla="*/ 8765381 w 8801100"/>
                  <a:gd name="connsiteY199" fmla="*/ 1916907 h 4048125"/>
                  <a:gd name="connsiteX200" fmla="*/ 8796338 w 8801100"/>
                  <a:gd name="connsiteY200" fmla="*/ 1871663 h 4048125"/>
                  <a:gd name="connsiteX201" fmla="*/ 8801100 w 8801100"/>
                  <a:gd name="connsiteY201" fmla="*/ 1809750 h 4048125"/>
                  <a:gd name="connsiteX202" fmla="*/ 8751093 w 8801100"/>
                  <a:gd name="connsiteY202" fmla="*/ 1769269 h 4048125"/>
                  <a:gd name="connsiteX203" fmla="*/ 8734425 w 8801100"/>
                  <a:gd name="connsiteY203" fmla="*/ 1714500 h 4048125"/>
                  <a:gd name="connsiteX204" fmla="*/ 8643938 w 8801100"/>
                  <a:gd name="connsiteY204" fmla="*/ 1652588 h 4048125"/>
                  <a:gd name="connsiteX205" fmla="*/ 8603456 w 8801100"/>
                  <a:gd name="connsiteY205" fmla="*/ 1631156 h 4048125"/>
                  <a:gd name="connsiteX206" fmla="*/ 8565356 w 8801100"/>
                  <a:gd name="connsiteY206" fmla="*/ 1585913 h 4048125"/>
                  <a:gd name="connsiteX207" fmla="*/ 8534400 w 8801100"/>
                  <a:gd name="connsiteY207" fmla="*/ 1583531 h 4048125"/>
                  <a:gd name="connsiteX208" fmla="*/ 8517731 w 8801100"/>
                  <a:gd name="connsiteY208" fmla="*/ 1531144 h 4048125"/>
                  <a:gd name="connsiteX209" fmla="*/ 8477250 w 8801100"/>
                  <a:gd name="connsiteY209" fmla="*/ 1514475 h 4048125"/>
                  <a:gd name="connsiteX210" fmla="*/ 8477250 w 8801100"/>
                  <a:gd name="connsiteY210" fmla="*/ 1514475 h 4048125"/>
                  <a:gd name="connsiteX211" fmla="*/ 8436769 w 8801100"/>
                  <a:gd name="connsiteY211" fmla="*/ 1519238 h 4048125"/>
                  <a:gd name="connsiteX212" fmla="*/ 8351043 w 8801100"/>
                  <a:gd name="connsiteY212" fmla="*/ 1445419 h 4048125"/>
                  <a:gd name="connsiteX213" fmla="*/ 8170069 w 8801100"/>
                  <a:gd name="connsiteY213" fmla="*/ 1445418 h 4048125"/>
                  <a:gd name="connsiteX214" fmla="*/ 8117681 w 8801100"/>
                  <a:gd name="connsiteY214" fmla="*/ 1483519 h 4048125"/>
                  <a:gd name="connsiteX215" fmla="*/ 8067675 w 8801100"/>
                  <a:gd name="connsiteY215" fmla="*/ 1562100 h 4048125"/>
                  <a:gd name="connsiteX216" fmla="*/ 8084344 w 8801100"/>
                  <a:gd name="connsiteY216" fmla="*/ 1583531 h 4048125"/>
                  <a:gd name="connsiteX217" fmla="*/ 8039100 w 8801100"/>
                  <a:gd name="connsiteY217" fmla="*/ 1633537 h 4048125"/>
                  <a:gd name="connsiteX218" fmla="*/ 7889081 w 8801100"/>
                  <a:gd name="connsiteY218" fmla="*/ 1557337 h 4048125"/>
                  <a:gd name="connsiteX219" fmla="*/ 7798594 w 8801100"/>
                  <a:gd name="connsiteY219" fmla="*/ 1593056 h 4048125"/>
                  <a:gd name="connsiteX220" fmla="*/ 7724775 w 8801100"/>
                  <a:gd name="connsiteY220" fmla="*/ 1590675 h 4048125"/>
                  <a:gd name="connsiteX221" fmla="*/ 7667625 w 8801100"/>
                  <a:gd name="connsiteY221" fmla="*/ 1685925 h 4048125"/>
                  <a:gd name="connsiteX222" fmla="*/ 7529513 w 8801100"/>
                  <a:gd name="connsiteY222" fmla="*/ 1588294 h 4048125"/>
                  <a:gd name="connsiteX0" fmla="*/ 7529513 w 8801100"/>
                  <a:gd name="connsiteY0" fmla="*/ 1588294 h 4048125"/>
                  <a:gd name="connsiteX1" fmla="*/ 7522369 w 8801100"/>
                  <a:gd name="connsiteY1" fmla="*/ 1533525 h 4048125"/>
                  <a:gd name="connsiteX2" fmla="*/ 7589044 w 8801100"/>
                  <a:gd name="connsiteY2" fmla="*/ 1459706 h 4048125"/>
                  <a:gd name="connsiteX3" fmla="*/ 7572375 w 8801100"/>
                  <a:gd name="connsiteY3" fmla="*/ 1388269 h 4048125"/>
                  <a:gd name="connsiteX4" fmla="*/ 7586663 w 8801100"/>
                  <a:gd name="connsiteY4" fmla="*/ 1293019 h 4048125"/>
                  <a:gd name="connsiteX5" fmla="*/ 7624763 w 8801100"/>
                  <a:gd name="connsiteY5" fmla="*/ 1235869 h 4048125"/>
                  <a:gd name="connsiteX6" fmla="*/ 7605712 w 8801100"/>
                  <a:gd name="connsiteY6" fmla="*/ 1202531 h 4048125"/>
                  <a:gd name="connsiteX7" fmla="*/ 7703343 w 8801100"/>
                  <a:gd name="connsiteY7" fmla="*/ 802481 h 4048125"/>
                  <a:gd name="connsiteX8" fmla="*/ 7696200 w 8801100"/>
                  <a:gd name="connsiteY8" fmla="*/ 773906 h 4048125"/>
                  <a:gd name="connsiteX9" fmla="*/ 7567613 w 8801100"/>
                  <a:gd name="connsiteY9" fmla="*/ 752475 h 4048125"/>
                  <a:gd name="connsiteX10" fmla="*/ 7384257 w 8801100"/>
                  <a:gd name="connsiteY10" fmla="*/ 831056 h 4048125"/>
                  <a:gd name="connsiteX11" fmla="*/ 7227093 w 8801100"/>
                  <a:gd name="connsiteY11" fmla="*/ 716756 h 4048125"/>
                  <a:gd name="connsiteX12" fmla="*/ 7150894 w 8801100"/>
                  <a:gd name="connsiteY12" fmla="*/ 723900 h 4048125"/>
                  <a:gd name="connsiteX13" fmla="*/ 7077075 w 8801100"/>
                  <a:gd name="connsiteY13" fmla="*/ 719138 h 4048125"/>
                  <a:gd name="connsiteX14" fmla="*/ 6938963 w 8801100"/>
                  <a:gd name="connsiteY14" fmla="*/ 823913 h 4048125"/>
                  <a:gd name="connsiteX15" fmla="*/ 6831806 w 8801100"/>
                  <a:gd name="connsiteY15" fmla="*/ 931069 h 4048125"/>
                  <a:gd name="connsiteX16" fmla="*/ 6788944 w 8801100"/>
                  <a:gd name="connsiteY16" fmla="*/ 1000125 h 4048125"/>
                  <a:gd name="connsiteX17" fmla="*/ 6796088 w 8801100"/>
                  <a:gd name="connsiteY17" fmla="*/ 1035844 h 4048125"/>
                  <a:gd name="connsiteX18" fmla="*/ 6734175 w 8801100"/>
                  <a:gd name="connsiteY18" fmla="*/ 1047750 h 4048125"/>
                  <a:gd name="connsiteX19" fmla="*/ 6753225 w 8801100"/>
                  <a:gd name="connsiteY19" fmla="*/ 1047750 h 4048125"/>
                  <a:gd name="connsiteX20" fmla="*/ 6719888 w 8801100"/>
                  <a:gd name="connsiteY20" fmla="*/ 1078706 h 4048125"/>
                  <a:gd name="connsiteX21" fmla="*/ 6619875 w 8801100"/>
                  <a:gd name="connsiteY21" fmla="*/ 1078707 h 4048125"/>
                  <a:gd name="connsiteX22" fmla="*/ 6524625 w 8801100"/>
                  <a:gd name="connsiteY22" fmla="*/ 1133475 h 4048125"/>
                  <a:gd name="connsiteX23" fmla="*/ 6443663 w 8801100"/>
                  <a:gd name="connsiteY23" fmla="*/ 1143000 h 4048125"/>
                  <a:gd name="connsiteX24" fmla="*/ 6403181 w 8801100"/>
                  <a:gd name="connsiteY24" fmla="*/ 1176338 h 4048125"/>
                  <a:gd name="connsiteX25" fmla="*/ 6353175 w 8801100"/>
                  <a:gd name="connsiteY25" fmla="*/ 1181100 h 4048125"/>
                  <a:gd name="connsiteX26" fmla="*/ 6231732 w 8801100"/>
                  <a:gd name="connsiteY26" fmla="*/ 1273969 h 4048125"/>
                  <a:gd name="connsiteX27" fmla="*/ 6172200 w 8801100"/>
                  <a:gd name="connsiteY27" fmla="*/ 1278731 h 4048125"/>
                  <a:gd name="connsiteX28" fmla="*/ 6119813 w 8801100"/>
                  <a:gd name="connsiteY28" fmla="*/ 1243013 h 4048125"/>
                  <a:gd name="connsiteX29" fmla="*/ 6093619 w 8801100"/>
                  <a:gd name="connsiteY29" fmla="*/ 1278731 h 4048125"/>
                  <a:gd name="connsiteX30" fmla="*/ 5895975 w 8801100"/>
                  <a:gd name="connsiteY30" fmla="*/ 1271588 h 4048125"/>
                  <a:gd name="connsiteX31" fmla="*/ 5834063 w 8801100"/>
                  <a:gd name="connsiteY31" fmla="*/ 1226344 h 4048125"/>
                  <a:gd name="connsiteX32" fmla="*/ 5636419 w 8801100"/>
                  <a:gd name="connsiteY32" fmla="*/ 1243013 h 4048125"/>
                  <a:gd name="connsiteX33" fmla="*/ 5548313 w 8801100"/>
                  <a:gd name="connsiteY33" fmla="*/ 1159668 h 4048125"/>
                  <a:gd name="connsiteX34" fmla="*/ 5472113 w 8801100"/>
                  <a:gd name="connsiteY34" fmla="*/ 1114425 h 4048125"/>
                  <a:gd name="connsiteX35" fmla="*/ 5474493 w 8801100"/>
                  <a:gd name="connsiteY35" fmla="*/ 1057275 h 4048125"/>
                  <a:gd name="connsiteX36" fmla="*/ 5455444 w 8801100"/>
                  <a:gd name="connsiteY36" fmla="*/ 1014412 h 4048125"/>
                  <a:gd name="connsiteX37" fmla="*/ 5360194 w 8801100"/>
                  <a:gd name="connsiteY37" fmla="*/ 1016794 h 4048125"/>
                  <a:gd name="connsiteX38" fmla="*/ 5264944 w 8801100"/>
                  <a:gd name="connsiteY38" fmla="*/ 995363 h 4048125"/>
                  <a:gd name="connsiteX39" fmla="*/ 5195887 w 8801100"/>
                  <a:gd name="connsiteY39" fmla="*/ 928687 h 4048125"/>
                  <a:gd name="connsiteX40" fmla="*/ 5160169 w 8801100"/>
                  <a:gd name="connsiteY40" fmla="*/ 885825 h 4048125"/>
                  <a:gd name="connsiteX41" fmla="*/ 5079206 w 8801100"/>
                  <a:gd name="connsiteY41" fmla="*/ 862012 h 4048125"/>
                  <a:gd name="connsiteX42" fmla="*/ 5005388 w 8801100"/>
                  <a:gd name="connsiteY42" fmla="*/ 873918 h 4048125"/>
                  <a:gd name="connsiteX43" fmla="*/ 4948237 w 8801100"/>
                  <a:gd name="connsiteY43" fmla="*/ 821531 h 4048125"/>
                  <a:gd name="connsiteX44" fmla="*/ 4852988 w 8801100"/>
                  <a:gd name="connsiteY44" fmla="*/ 833438 h 4048125"/>
                  <a:gd name="connsiteX45" fmla="*/ 4800600 w 8801100"/>
                  <a:gd name="connsiteY45" fmla="*/ 807244 h 4048125"/>
                  <a:gd name="connsiteX46" fmla="*/ 4719638 w 8801100"/>
                  <a:gd name="connsiteY46" fmla="*/ 850106 h 4048125"/>
                  <a:gd name="connsiteX47" fmla="*/ 4581525 w 8801100"/>
                  <a:gd name="connsiteY47" fmla="*/ 873919 h 4048125"/>
                  <a:gd name="connsiteX48" fmla="*/ 4452938 w 8801100"/>
                  <a:gd name="connsiteY48" fmla="*/ 966788 h 4048125"/>
                  <a:gd name="connsiteX49" fmla="*/ 4405312 w 8801100"/>
                  <a:gd name="connsiteY49" fmla="*/ 928688 h 4048125"/>
                  <a:gd name="connsiteX50" fmla="*/ 4383881 w 8801100"/>
                  <a:gd name="connsiteY50" fmla="*/ 959643 h 4048125"/>
                  <a:gd name="connsiteX51" fmla="*/ 4310063 w 8801100"/>
                  <a:gd name="connsiteY51" fmla="*/ 909638 h 4048125"/>
                  <a:gd name="connsiteX52" fmla="*/ 4271963 w 8801100"/>
                  <a:gd name="connsiteY52" fmla="*/ 916781 h 4048125"/>
                  <a:gd name="connsiteX53" fmla="*/ 4250531 w 8801100"/>
                  <a:gd name="connsiteY53" fmla="*/ 878681 h 4048125"/>
                  <a:gd name="connsiteX54" fmla="*/ 4191000 w 8801100"/>
                  <a:gd name="connsiteY54" fmla="*/ 883444 h 4048125"/>
                  <a:gd name="connsiteX55" fmla="*/ 4145756 w 8801100"/>
                  <a:gd name="connsiteY55" fmla="*/ 854869 h 4048125"/>
                  <a:gd name="connsiteX56" fmla="*/ 4107656 w 8801100"/>
                  <a:gd name="connsiteY56" fmla="*/ 852488 h 4048125"/>
                  <a:gd name="connsiteX57" fmla="*/ 4088606 w 8801100"/>
                  <a:gd name="connsiteY57" fmla="*/ 804862 h 4048125"/>
                  <a:gd name="connsiteX58" fmla="*/ 4074319 w 8801100"/>
                  <a:gd name="connsiteY58" fmla="*/ 773906 h 4048125"/>
                  <a:gd name="connsiteX59" fmla="*/ 4029075 w 8801100"/>
                  <a:gd name="connsiteY59" fmla="*/ 783431 h 4048125"/>
                  <a:gd name="connsiteX60" fmla="*/ 4010025 w 8801100"/>
                  <a:gd name="connsiteY60" fmla="*/ 747713 h 4048125"/>
                  <a:gd name="connsiteX61" fmla="*/ 4031457 w 8801100"/>
                  <a:gd name="connsiteY61" fmla="*/ 692944 h 4048125"/>
                  <a:gd name="connsiteX62" fmla="*/ 4000500 w 8801100"/>
                  <a:gd name="connsiteY62" fmla="*/ 666750 h 4048125"/>
                  <a:gd name="connsiteX63" fmla="*/ 4017169 w 8801100"/>
                  <a:gd name="connsiteY63" fmla="*/ 623888 h 4048125"/>
                  <a:gd name="connsiteX64" fmla="*/ 3990975 w 8801100"/>
                  <a:gd name="connsiteY64" fmla="*/ 581025 h 4048125"/>
                  <a:gd name="connsiteX65" fmla="*/ 3986213 w 8801100"/>
                  <a:gd name="connsiteY65" fmla="*/ 519113 h 4048125"/>
                  <a:gd name="connsiteX66" fmla="*/ 4010025 w 8801100"/>
                  <a:gd name="connsiteY66" fmla="*/ 454818 h 4048125"/>
                  <a:gd name="connsiteX67" fmla="*/ 3971925 w 8801100"/>
                  <a:gd name="connsiteY67" fmla="*/ 457200 h 4048125"/>
                  <a:gd name="connsiteX68" fmla="*/ 3852863 w 8801100"/>
                  <a:gd name="connsiteY68" fmla="*/ 400050 h 4048125"/>
                  <a:gd name="connsiteX69" fmla="*/ 3814762 w 8801100"/>
                  <a:gd name="connsiteY69" fmla="*/ 404812 h 4048125"/>
                  <a:gd name="connsiteX70" fmla="*/ 3609975 w 8801100"/>
                  <a:gd name="connsiteY70" fmla="*/ 295275 h 4048125"/>
                  <a:gd name="connsiteX71" fmla="*/ 3505200 w 8801100"/>
                  <a:gd name="connsiteY71" fmla="*/ 264319 h 4048125"/>
                  <a:gd name="connsiteX72" fmla="*/ 3440906 w 8801100"/>
                  <a:gd name="connsiteY72" fmla="*/ 273843 h 4048125"/>
                  <a:gd name="connsiteX73" fmla="*/ 3409950 w 8801100"/>
                  <a:gd name="connsiteY73" fmla="*/ 209550 h 4048125"/>
                  <a:gd name="connsiteX74" fmla="*/ 3352800 w 8801100"/>
                  <a:gd name="connsiteY74" fmla="*/ 209550 h 4048125"/>
                  <a:gd name="connsiteX75" fmla="*/ 3214687 w 8801100"/>
                  <a:gd name="connsiteY75" fmla="*/ 104775 h 4048125"/>
                  <a:gd name="connsiteX76" fmla="*/ 3181350 w 8801100"/>
                  <a:gd name="connsiteY76" fmla="*/ 164307 h 4048125"/>
                  <a:gd name="connsiteX77" fmla="*/ 3126581 w 8801100"/>
                  <a:gd name="connsiteY77" fmla="*/ 233363 h 4048125"/>
                  <a:gd name="connsiteX78" fmla="*/ 3083719 w 8801100"/>
                  <a:gd name="connsiteY78" fmla="*/ 250031 h 4048125"/>
                  <a:gd name="connsiteX79" fmla="*/ 3052763 w 8801100"/>
                  <a:gd name="connsiteY79" fmla="*/ 242888 h 4048125"/>
                  <a:gd name="connsiteX80" fmla="*/ 3028950 w 8801100"/>
                  <a:gd name="connsiteY80" fmla="*/ 271463 h 4048125"/>
                  <a:gd name="connsiteX81" fmla="*/ 3002756 w 8801100"/>
                  <a:gd name="connsiteY81" fmla="*/ 350044 h 4048125"/>
                  <a:gd name="connsiteX82" fmla="*/ 2959894 w 8801100"/>
                  <a:gd name="connsiteY82" fmla="*/ 347663 h 4048125"/>
                  <a:gd name="connsiteX83" fmla="*/ 2928937 w 8801100"/>
                  <a:gd name="connsiteY83" fmla="*/ 409575 h 4048125"/>
                  <a:gd name="connsiteX84" fmla="*/ 2924175 w 8801100"/>
                  <a:gd name="connsiteY84" fmla="*/ 473869 h 4048125"/>
                  <a:gd name="connsiteX85" fmla="*/ 2897982 w 8801100"/>
                  <a:gd name="connsiteY85" fmla="*/ 511969 h 4048125"/>
                  <a:gd name="connsiteX86" fmla="*/ 2924175 w 8801100"/>
                  <a:gd name="connsiteY86" fmla="*/ 571500 h 4048125"/>
                  <a:gd name="connsiteX87" fmla="*/ 2926556 w 8801100"/>
                  <a:gd name="connsiteY87" fmla="*/ 640556 h 4048125"/>
                  <a:gd name="connsiteX88" fmla="*/ 2955131 w 8801100"/>
                  <a:gd name="connsiteY88" fmla="*/ 692944 h 4048125"/>
                  <a:gd name="connsiteX89" fmla="*/ 3002757 w 8801100"/>
                  <a:gd name="connsiteY89" fmla="*/ 747713 h 4048125"/>
                  <a:gd name="connsiteX90" fmla="*/ 2952750 w 8801100"/>
                  <a:gd name="connsiteY90" fmla="*/ 885825 h 4048125"/>
                  <a:gd name="connsiteX91" fmla="*/ 2883694 w 8801100"/>
                  <a:gd name="connsiteY91" fmla="*/ 952500 h 4048125"/>
                  <a:gd name="connsiteX92" fmla="*/ 2812256 w 8801100"/>
                  <a:gd name="connsiteY92" fmla="*/ 947738 h 4048125"/>
                  <a:gd name="connsiteX93" fmla="*/ 2774156 w 8801100"/>
                  <a:gd name="connsiteY93" fmla="*/ 1004888 h 4048125"/>
                  <a:gd name="connsiteX94" fmla="*/ 2714625 w 8801100"/>
                  <a:gd name="connsiteY94" fmla="*/ 1019175 h 4048125"/>
                  <a:gd name="connsiteX95" fmla="*/ 2645569 w 8801100"/>
                  <a:gd name="connsiteY95" fmla="*/ 959644 h 4048125"/>
                  <a:gd name="connsiteX96" fmla="*/ 2590800 w 8801100"/>
                  <a:gd name="connsiteY96" fmla="*/ 931069 h 4048125"/>
                  <a:gd name="connsiteX97" fmla="*/ 2547938 w 8801100"/>
                  <a:gd name="connsiteY97" fmla="*/ 945356 h 4048125"/>
                  <a:gd name="connsiteX98" fmla="*/ 2495550 w 8801100"/>
                  <a:gd name="connsiteY98" fmla="*/ 928688 h 4048125"/>
                  <a:gd name="connsiteX99" fmla="*/ 2428875 w 8801100"/>
                  <a:gd name="connsiteY99" fmla="*/ 873919 h 4048125"/>
                  <a:gd name="connsiteX100" fmla="*/ 2383631 w 8801100"/>
                  <a:gd name="connsiteY100" fmla="*/ 885825 h 4048125"/>
                  <a:gd name="connsiteX101" fmla="*/ 2362200 w 8801100"/>
                  <a:gd name="connsiteY101" fmla="*/ 854869 h 4048125"/>
                  <a:gd name="connsiteX102" fmla="*/ 2305050 w 8801100"/>
                  <a:gd name="connsiteY102" fmla="*/ 895350 h 4048125"/>
                  <a:gd name="connsiteX103" fmla="*/ 2188369 w 8801100"/>
                  <a:gd name="connsiteY103" fmla="*/ 873919 h 4048125"/>
                  <a:gd name="connsiteX104" fmla="*/ 2138363 w 8801100"/>
                  <a:gd name="connsiteY104" fmla="*/ 821531 h 4048125"/>
                  <a:gd name="connsiteX105" fmla="*/ 2095500 w 8801100"/>
                  <a:gd name="connsiteY105" fmla="*/ 807244 h 4048125"/>
                  <a:gd name="connsiteX106" fmla="*/ 2052638 w 8801100"/>
                  <a:gd name="connsiteY106" fmla="*/ 833438 h 4048125"/>
                  <a:gd name="connsiteX107" fmla="*/ 2000250 w 8801100"/>
                  <a:gd name="connsiteY107" fmla="*/ 742950 h 4048125"/>
                  <a:gd name="connsiteX108" fmla="*/ 1990725 w 8801100"/>
                  <a:gd name="connsiteY108" fmla="*/ 595312 h 4048125"/>
                  <a:gd name="connsiteX109" fmla="*/ 1938337 w 8801100"/>
                  <a:gd name="connsiteY109" fmla="*/ 588168 h 4048125"/>
                  <a:gd name="connsiteX110" fmla="*/ 1847850 w 8801100"/>
                  <a:gd name="connsiteY110" fmla="*/ 578644 h 4048125"/>
                  <a:gd name="connsiteX111" fmla="*/ 1793081 w 8801100"/>
                  <a:gd name="connsiteY111" fmla="*/ 540544 h 4048125"/>
                  <a:gd name="connsiteX112" fmla="*/ 1724025 w 8801100"/>
                  <a:gd name="connsiteY112" fmla="*/ 550069 h 4048125"/>
                  <a:gd name="connsiteX113" fmla="*/ 1678781 w 8801100"/>
                  <a:gd name="connsiteY113" fmla="*/ 523875 h 4048125"/>
                  <a:gd name="connsiteX114" fmla="*/ 1669257 w 8801100"/>
                  <a:gd name="connsiteY114" fmla="*/ 452438 h 4048125"/>
                  <a:gd name="connsiteX115" fmla="*/ 1645444 w 8801100"/>
                  <a:gd name="connsiteY115" fmla="*/ 438150 h 4048125"/>
                  <a:gd name="connsiteX116" fmla="*/ 1607344 w 8801100"/>
                  <a:gd name="connsiteY116" fmla="*/ 485774 h 4048125"/>
                  <a:gd name="connsiteX117" fmla="*/ 1528762 w 8801100"/>
                  <a:gd name="connsiteY117" fmla="*/ 411956 h 4048125"/>
                  <a:gd name="connsiteX118" fmla="*/ 1488281 w 8801100"/>
                  <a:gd name="connsiteY118" fmla="*/ 452438 h 4048125"/>
                  <a:gd name="connsiteX119" fmla="*/ 1412081 w 8801100"/>
                  <a:gd name="connsiteY119" fmla="*/ 438150 h 4048125"/>
                  <a:gd name="connsiteX120" fmla="*/ 1333500 w 8801100"/>
                  <a:gd name="connsiteY120" fmla="*/ 464344 h 4048125"/>
                  <a:gd name="connsiteX121" fmla="*/ 1273969 w 8801100"/>
                  <a:gd name="connsiteY121" fmla="*/ 511968 h 4048125"/>
                  <a:gd name="connsiteX122" fmla="*/ 1200150 w 8801100"/>
                  <a:gd name="connsiteY122" fmla="*/ 523875 h 4048125"/>
                  <a:gd name="connsiteX123" fmla="*/ 1164431 w 8801100"/>
                  <a:gd name="connsiteY123" fmla="*/ 516731 h 4048125"/>
                  <a:gd name="connsiteX124" fmla="*/ 1085851 w 8801100"/>
                  <a:gd name="connsiteY124" fmla="*/ 547688 h 4048125"/>
                  <a:gd name="connsiteX125" fmla="*/ 1064419 w 8801100"/>
                  <a:gd name="connsiteY125" fmla="*/ 576263 h 4048125"/>
                  <a:gd name="connsiteX126" fmla="*/ 997744 w 8801100"/>
                  <a:gd name="connsiteY126" fmla="*/ 566738 h 4048125"/>
                  <a:gd name="connsiteX127" fmla="*/ 928688 w 8801100"/>
                  <a:gd name="connsiteY127" fmla="*/ 590550 h 4048125"/>
                  <a:gd name="connsiteX128" fmla="*/ 873919 w 8801100"/>
                  <a:gd name="connsiteY128" fmla="*/ 628650 h 4048125"/>
                  <a:gd name="connsiteX129" fmla="*/ 778669 w 8801100"/>
                  <a:gd name="connsiteY129" fmla="*/ 642937 h 4048125"/>
                  <a:gd name="connsiteX130" fmla="*/ 764381 w 8801100"/>
                  <a:gd name="connsiteY130" fmla="*/ 664369 h 4048125"/>
                  <a:gd name="connsiteX131" fmla="*/ 776287 w 8801100"/>
                  <a:gd name="connsiteY131" fmla="*/ 709613 h 4048125"/>
                  <a:gd name="connsiteX132" fmla="*/ 676276 w 8801100"/>
                  <a:gd name="connsiteY132" fmla="*/ 762000 h 4048125"/>
                  <a:gd name="connsiteX133" fmla="*/ 638175 w 8801100"/>
                  <a:gd name="connsiteY133" fmla="*/ 733424 h 4048125"/>
                  <a:gd name="connsiteX134" fmla="*/ 607219 w 8801100"/>
                  <a:gd name="connsiteY134" fmla="*/ 790575 h 4048125"/>
                  <a:gd name="connsiteX135" fmla="*/ 550069 w 8801100"/>
                  <a:gd name="connsiteY135" fmla="*/ 752475 h 4048125"/>
                  <a:gd name="connsiteX136" fmla="*/ 514350 w 8801100"/>
                  <a:gd name="connsiteY136" fmla="*/ 781050 h 4048125"/>
                  <a:gd name="connsiteX137" fmla="*/ 478631 w 8801100"/>
                  <a:gd name="connsiteY137" fmla="*/ 745331 h 4048125"/>
                  <a:gd name="connsiteX138" fmla="*/ 426244 w 8801100"/>
                  <a:gd name="connsiteY138" fmla="*/ 757238 h 4048125"/>
                  <a:gd name="connsiteX139" fmla="*/ 381000 w 8801100"/>
                  <a:gd name="connsiteY139" fmla="*/ 728663 h 4048125"/>
                  <a:gd name="connsiteX140" fmla="*/ 357188 w 8801100"/>
                  <a:gd name="connsiteY140" fmla="*/ 747713 h 4048125"/>
                  <a:gd name="connsiteX141" fmla="*/ 333375 w 8801100"/>
                  <a:gd name="connsiteY141" fmla="*/ 807244 h 4048125"/>
                  <a:gd name="connsiteX142" fmla="*/ 261938 w 8801100"/>
                  <a:gd name="connsiteY142" fmla="*/ 845343 h 4048125"/>
                  <a:gd name="connsiteX143" fmla="*/ 209550 w 8801100"/>
                  <a:gd name="connsiteY143" fmla="*/ 816769 h 4048125"/>
                  <a:gd name="connsiteX144" fmla="*/ 119063 w 8801100"/>
                  <a:gd name="connsiteY144" fmla="*/ 826294 h 4048125"/>
                  <a:gd name="connsiteX145" fmla="*/ 71437 w 8801100"/>
                  <a:gd name="connsiteY145" fmla="*/ 792957 h 4048125"/>
                  <a:gd name="connsiteX146" fmla="*/ 0 w 8801100"/>
                  <a:gd name="connsiteY146" fmla="*/ 812006 h 4048125"/>
                  <a:gd name="connsiteX147" fmla="*/ 4762 w 8801100"/>
                  <a:gd name="connsiteY147" fmla="*/ 0 h 4048125"/>
                  <a:gd name="connsiteX148" fmla="*/ 5872162 w 8801100"/>
                  <a:gd name="connsiteY148" fmla="*/ 4048125 h 4048125"/>
                  <a:gd name="connsiteX149" fmla="*/ 5929313 w 8801100"/>
                  <a:gd name="connsiteY149" fmla="*/ 4021932 h 4048125"/>
                  <a:gd name="connsiteX150" fmla="*/ 6062662 w 8801100"/>
                  <a:gd name="connsiteY150" fmla="*/ 4019550 h 4048125"/>
                  <a:gd name="connsiteX151" fmla="*/ 6196012 w 8801100"/>
                  <a:gd name="connsiteY151" fmla="*/ 3921919 h 4048125"/>
                  <a:gd name="connsiteX152" fmla="*/ 6262687 w 8801100"/>
                  <a:gd name="connsiteY152" fmla="*/ 3914775 h 4048125"/>
                  <a:gd name="connsiteX153" fmla="*/ 6360319 w 8801100"/>
                  <a:gd name="connsiteY153" fmla="*/ 3840956 h 4048125"/>
                  <a:gd name="connsiteX154" fmla="*/ 6434138 w 8801100"/>
                  <a:gd name="connsiteY154" fmla="*/ 3771900 h 4048125"/>
                  <a:gd name="connsiteX155" fmla="*/ 6443663 w 8801100"/>
                  <a:gd name="connsiteY155" fmla="*/ 3709988 h 4048125"/>
                  <a:gd name="connsiteX156" fmla="*/ 6477000 w 8801100"/>
                  <a:gd name="connsiteY156" fmla="*/ 3640931 h 4048125"/>
                  <a:gd name="connsiteX157" fmla="*/ 6629400 w 8801100"/>
                  <a:gd name="connsiteY157" fmla="*/ 3533775 h 4048125"/>
                  <a:gd name="connsiteX158" fmla="*/ 6662738 w 8801100"/>
                  <a:gd name="connsiteY158" fmla="*/ 3538538 h 4048125"/>
                  <a:gd name="connsiteX159" fmla="*/ 6715125 w 8801100"/>
                  <a:gd name="connsiteY159" fmla="*/ 3459956 h 4048125"/>
                  <a:gd name="connsiteX160" fmla="*/ 6762750 w 8801100"/>
                  <a:gd name="connsiteY160" fmla="*/ 3421856 h 4048125"/>
                  <a:gd name="connsiteX161" fmla="*/ 6748463 w 8801100"/>
                  <a:gd name="connsiteY161" fmla="*/ 3352800 h 4048125"/>
                  <a:gd name="connsiteX162" fmla="*/ 6698456 w 8801100"/>
                  <a:gd name="connsiteY162" fmla="*/ 3321843 h 4048125"/>
                  <a:gd name="connsiteX163" fmla="*/ 6638925 w 8801100"/>
                  <a:gd name="connsiteY163" fmla="*/ 3267075 h 4048125"/>
                  <a:gd name="connsiteX164" fmla="*/ 6619875 w 8801100"/>
                  <a:gd name="connsiteY164" fmla="*/ 3209925 h 4048125"/>
                  <a:gd name="connsiteX165" fmla="*/ 6584156 w 8801100"/>
                  <a:gd name="connsiteY165" fmla="*/ 3176588 h 4048125"/>
                  <a:gd name="connsiteX166" fmla="*/ 6610350 w 8801100"/>
                  <a:gd name="connsiteY166" fmla="*/ 3124200 h 4048125"/>
                  <a:gd name="connsiteX167" fmla="*/ 6650831 w 8801100"/>
                  <a:gd name="connsiteY167" fmla="*/ 2945606 h 4048125"/>
                  <a:gd name="connsiteX168" fmla="*/ 6691313 w 8801100"/>
                  <a:gd name="connsiteY168" fmla="*/ 2878931 h 4048125"/>
                  <a:gd name="connsiteX169" fmla="*/ 6836569 w 8801100"/>
                  <a:gd name="connsiteY169" fmla="*/ 2862262 h 4048125"/>
                  <a:gd name="connsiteX170" fmla="*/ 6905625 w 8801100"/>
                  <a:gd name="connsiteY170" fmla="*/ 2919413 h 4048125"/>
                  <a:gd name="connsiteX171" fmla="*/ 6981825 w 8801100"/>
                  <a:gd name="connsiteY171" fmla="*/ 2943225 h 4048125"/>
                  <a:gd name="connsiteX172" fmla="*/ 7186612 w 8801100"/>
                  <a:gd name="connsiteY172" fmla="*/ 2947988 h 4048125"/>
                  <a:gd name="connsiteX173" fmla="*/ 7362825 w 8801100"/>
                  <a:gd name="connsiteY173" fmla="*/ 2809875 h 4048125"/>
                  <a:gd name="connsiteX174" fmla="*/ 7419975 w 8801100"/>
                  <a:gd name="connsiteY174" fmla="*/ 2719387 h 4048125"/>
                  <a:gd name="connsiteX175" fmla="*/ 7446169 w 8801100"/>
                  <a:gd name="connsiteY175" fmla="*/ 2636044 h 4048125"/>
                  <a:gd name="connsiteX176" fmla="*/ 7577137 w 8801100"/>
                  <a:gd name="connsiteY176" fmla="*/ 2636044 h 4048125"/>
                  <a:gd name="connsiteX177" fmla="*/ 7750969 w 8801100"/>
                  <a:gd name="connsiteY177" fmla="*/ 2578893 h 4048125"/>
                  <a:gd name="connsiteX178" fmla="*/ 7810500 w 8801100"/>
                  <a:gd name="connsiteY178" fmla="*/ 2466975 h 4048125"/>
                  <a:gd name="connsiteX179" fmla="*/ 7874794 w 8801100"/>
                  <a:gd name="connsiteY179" fmla="*/ 2431256 h 4048125"/>
                  <a:gd name="connsiteX180" fmla="*/ 7853363 w 8801100"/>
                  <a:gd name="connsiteY180" fmla="*/ 2386013 h 4048125"/>
                  <a:gd name="connsiteX181" fmla="*/ 7931944 w 8801100"/>
                  <a:gd name="connsiteY181" fmla="*/ 2216943 h 4048125"/>
                  <a:gd name="connsiteX182" fmla="*/ 7986713 w 8801100"/>
                  <a:gd name="connsiteY182" fmla="*/ 2157413 h 4048125"/>
                  <a:gd name="connsiteX183" fmla="*/ 8024813 w 8801100"/>
                  <a:gd name="connsiteY183" fmla="*/ 2152650 h 4048125"/>
                  <a:gd name="connsiteX184" fmla="*/ 8070056 w 8801100"/>
                  <a:gd name="connsiteY184" fmla="*/ 2157413 h 4048125"/>
                  <a:gd name="connsiteX185" fmla="*/ 8134350 w 8801100"/>
                  <a:gd name="connsiteY185" fmla="*/ 2124075 h 4048125"/>
                  <a:gd name="connsiteX186" fmla="*/ 8143875 w 8801100"/>
                  <a:gd name="connsiteY186" fmla="*/ 2059781 h 4048125"/>
                  <a:gd name="connsiteX187" fmla="*/ 8184355 w 8801100"/>
                  <a:gd name="connsiteY187" fmla="*/ 2024063 h 4048125"/>
                  <a:gd name="connsiteX188" fmla="*/ 8243888 w 8801100"/>
                  <a:gd name="connsiteY188" fmla="*/ 2064543 h 4048125"/>
                  <a:gd name="connsiteX189" fmla="*/ 8270082 w 8801100"/>
                  <a:gd name="connsiteY189" fmla="*/ 2014537 h 4048125"/>
                  <a:gd name="connsiteX190" fmla="*/ 8365331 w 8801100"/>
                  <a:gd name="connsiteY190" fmla="*/ 1945481 h 4048125"/>
                  <a:gd name="connsiteX191" fmla="*/ 8427244 w 8801100"/>
                  <a:gd name="connsiteY191" fmla="*/ 1952625 h 4048125"/>
                  <a:gd name="connsiteX192" fmla="*/ 8477250 w 8801100"/>
                  <a:gd name="connsiteY192" fmla="*/ 1933575 h 4048125"/>
                  <a:gd name="connsiteX193" fmla="*/ 8515350 w 8801100"/>
                  <a:gd name="connsiteY193" fmla="*/ 1905000 h 4048125"/>
                  <a:gd name="connsiteX194" fmla="*/ 8548688 w 8801100"/>
                  <a:gd name="connsiteY194" fmla="*/ 1902619 h 4048125"/>
                  <a:gd name="connsiteX195" fmla="*/ 8584406 w 8801100"/>
                  <a:gd name="connsiteY195" fmla="*/ 1933575 h 4048125"/>
                  <a:gd name="connsiteX196" fmla="*/ 8643938 w 8801100"/>
                  <a:gd name="connsiteY196" fmla="*/ 1933575 h 4048125"/>
                  <a:gd name="connsiteX197" fmla="*/ 8682037 w 8801100"/>
                  <a:gd name="connsiteY197" fmla="*/ 1914525 h 4048125"/>
                  <a:gd name="connsiteX198" fmla="*/ 8765381 w 8801100"/>
                  <a:gd name="connsiteY198" fmla="*/ 1916907 h 4048125"/>
                  <a:gd name="connsiteX199" fmla="*/ 8796338 w 8801100"/>
                  <a:gd name="connsiteY199" fmla="*/ 1871663 h 4048125"/>
                  <a:gd name="connsiteX200" fmla="*/ 8801100 w 8801100"/>
                  <a:gd name="connsiteY200" fmla="*/ 1809750 h 4048125"/>
                  <a:gd name="connsiteX201" fmla="*/ 8751093 w 8801100"/>
                  <a:gd name="connsiteY201" fmla="*/ 1769269 h 4048125"/>
                  <a:gd name="connsiteX202" fmla="*/ 8734425 w 8801100"/>
                  <a:gd name="connsiteY202" fmla="*/ 1714500 h 4048125"/>
                  <a:gd name="connsiteX203" fmla="*/ 8643938 w 8801100"/>
                  <a:gd name="connsiteY203" fmla="*/ 1652588 h 4048125"/>
                  <a:gd name="connsiteX204" fmla="*/ 8603456 w 8801100"/>
                  <a:gd name="connsiteY204" fmla="*/ 1631156 h 4048125"/>
                  <a:gd name="connsiteX205" fmla="*/ 8565356 w 8801100"/>
                  <a:gd name="connsiteY205" fmla="*/ 1585913 h 4048125"/>
                  <a:gd name="connsiteX206" fmla="*/ 8534400 w 8801100"/>
                  <a:gd name="connsiteY206" fmla="*/ 1583531 h 4048125"/>
                  <a:gd name="connsiteX207" fmla="*/ 8517731 w 8801100"/>
                  <a:gd name="connsiteY207" fmla="*/ 1531144 h 4048125"/>
                  <a:gd name="connsiteX208" fmla="*/ 8477250 w 8801100"/>
                  <a:gd name="connsiteY208" fmla="*/ 1514475 h 4048125"/>
                  <a:gd name="connsiteX209" fmla="*/ 8477250 w 8801100"/>
                  <a:gd name="connsiteY209" fmla="*/ 1514475 h 4048125"/>
                  <a:gd name="connsiteX210" fmla="*/ 8436769 w 8801100"/>
                  <a:gd name="connsiteY210" fmla="*/ 1519238 h 4048125"/>
                  <a:gd name="connsiteX211" fmla="*/ 8351043 w 8801100"/>
                  <a:gd name="connsiteY211" fmla="*/ 1445419 h 4048125"/>
                  <a:gd name="connsiteX212" fmla="*/ 8170069 w 8801100"/>
                  <a:gd name="connsiteY212" fmla="*/ 1445418 h 4048125"/>
                  <a:gd name="connsiteX213" fmla="*/ 8117681 w 8801100"/>
                  <a:gd name="connsiteY213" fmla="*/ 1483519 h 4048125"/>
                  <a:gd name="connsiteX214" fmla="*/ 8067675 w 8801100"/>
                  <a:gd name="connsiteY214" fmla="*/ 1562100 h 4048125"/>
                  <a:gd name="connsiteX215" fmla="*/ 8084344 w 8801100"/>
                  <a:gd name="connsiteY215" fmla="*/ 1583531 h 4048125"/>
                  <a:gd name="connsiteX216" fmla="*/ 8039100 w 8801100"/>
                  <a:gd name="connsiteY216" fmla="*/ 1633537 h 4048125"/>
                  <a:gd name="connsiteX217" fmla="*/ 7889081 w 8801100"/>
                  <a:gd name="connsiteY217" fmla="*/ 1557337 h 4048125"/>
                  <a:gd name="connsiteX218" fmla="*/ 7798594 w 8801100"/>
                  <a:gd name="connsiteY218" fmla="*/ 1593056 h 4048125"/>
                  <a:gd name="connsiteX219" fmla="*/ 7724775 w 8801100"/>
                  <a:gd name="connsiteY219" fmla="*/ 1590675 h 4048125"/>
                  <a:gd name="connsiteX220" fmla="*/ 7667625 w 8801100"/>
                  <a:gd name="connsiteY220" fmla="*/ 1685925 h 4048125"/>
                  <a:gd name="connsiteX221" fmla="*/ 7529513 w 8801100"/>
                  <a:gd name="connsiteY221" fmla="*/ 1588294 h 4048125"/>
                  <a:gd name="connsiteX0" fmla="*/ 7529513 w 8801100"/>
                  <a:gd name="connsiteY0" fmla="*/ 1588294 h 4021932"/>
                  <a:gd name="connsiteX1" fmla="*/ 7522369 w 8801100"/>
                  <a:gd name="connsiteY1" fmla="*/ 1533525 h 4021932"/>
                  <a:gd name="connsiteX2" fmla="*/ 7589044 w 8801100"/>
                  <a:gd name="connsiteY2" fmla="*/ 1459706 h 4021932"/>
                  <a:gd name="connsiteX3" fmla="*/ 7572375 w 8801100"/>
                  <a:gd name="connsiteY3" fmla="*/ 1388269 h 4021932"/>
                  <a:gd name="connsiteX4" fmla="*/ 7586663 w 8801100"/>
                  <a:gd name="connsiteY4" fmla="*/ 1293019 h 4021932"/>
                  <a:gd name="connsiteX5" fmla="*/ 7624763 w 8801100"/>
                  <a:gd name="connsiteY5" fmla="*/ 1235869 h 4021932"/>
                  <a:gd name="connsiteX6" fmla="*/ 7605712 w 8801100"/>
                  <a:gd name="connsiteY6" fmla="*/ 1202531 h 4021932"/>
                  <a:gd name="connsiteX7" fmla="*/ 7703343 w 8801100"/>
                  <a:gd name="connsiteY7" fmla="*/ 802481 h 4021932"/>
                  <a:gd name="connsiteX8" fmla="*/ 7696200 w 8801100"/>
                  <a:gd name="connsiteY8" fmla="*/ 773906 h 4021932"/>
                  <a:gd name="connsiteX9" fmla="*/ 7567613 w 8801100"/>
                  <a:gd name="connsiteY9" fmla="*/ 752475 h 4021932"/>
                  <a:gd name="connsiteX10" fmla="*/ 7384257 w 8801100"/>
                  <a:gd name="connsiteY10" fmla="*/ 831056 h 4021932"/>
                  <a:gd name="connsiteX11" fmla="*/ 7227093 w 8801100"/>
                  <a:gd name="connsiteY11" fmla="*/ 716756 h 4021932"/>
                  <a:gd name="connsiteX12" fmla="*/ 7150894 w 8801100"/>
                  <a:gd name="connsiteY12" fmla="*/ 723900 h 4021932"/>
                  <a:gd name="connsiteX13" fmla="*/ 7077075 w 8801100"/>
                  <a:gd name="connsiteY13" fmla="*/ 719138 h 4021932"/>
                  <a:gd name="connsiteX14" fmla="*/ 6938963 w 8801100"/>
                  <a:gd name="connsiteY14" fmla="*/ 823913 h 4021932"/>
                  <a:gd name="connsiteX15" fmla="*/ 6831806 w 8801100"/>
                  <a:gd name="connsiteY15" fmla="*/ 931069 h 4021932"/>
                  <a:gd name="connsiteX16" fmla="*/ 6788944 w 8801100"/>
                  <a:gd name="connsiteY16" fmla="*/ 1000125 h 4021932"/>
                  <a:gd name="connsiteX17" fmla="*/ 6796088 w 8801100"/>
                  <a:gd name="connsiteY17" fmla="*/ 1035844 h 4021932"/>
                  <a:gd name="connsiteX18" fmla="*/ 6734175 w 8801100"/>
                  <a:gd name="connsiteY18" fmla="*/ 1047750 h 4021932"/>
                  <a:gd name="connsiteX19" fmla="*/ 6753225 w 8801100"/>
                  <a:gd name="connsiteY19" fmla="*/ 1047750 h 4021932"/>
                  <a:gd name="connsiteX20" fmla="*/ 6719888 w 8801100"/>
                  <a:gd name="connsiteY20" fmla="*/ 1078706 h 4021932"/>
                  <a:gd name="connsiteX21" fmla="*/ 6619875 w 8801100"/>
                  <a:gd name="connsiteY21" fmla="*/ 1078707 h 4021932"/>
                  <a:gd name="connsiteX22" fmla="*/ 6524625 w 8801100"/>
                  <a:gd name="connsiteY22" fmla="*/ 1133475 h 4021932"/>
                  <a:gd name="connsiteX23" fmla="*/ 6443663 w 8801100"/>
                  <a:gd name="connsiteY23" fmla="*/ 1143000 h 4021932"/>
                  <a:gd name="connsiteX24" fmla="*/ 6403181 w 8801100"/>
                  <a:gd name="connsiteY24" fmla="*/ 1176338 h 4021932"/>
                  <a:gd name="connsiteX25" fmla="*/ 6353175 w 8801100"/>
                  <a:gd name="connsiteY25" fmla="*/ 1181100 h 4021932"/>
                  <a:gd name="connsiteX26" fmla="*/ 6231732 w 8801100"/>
                  <a:gd name="connsiteY26" fmla="*/ 1273969 h 4021932"/>
                  <a:gd name="connsiteX27" fmla="*/ 6172200 w 8801100"/>
                  <a:gd name="connsiteY27" fmla="*/ 1278731 h 4021932"/>
                  <a:gd name="connsiteX28" fmla="*/ 6119813 w 8801100"/>
                  <a:gd name="connsiteY28" fmla="*/ 1243013 h 4021932"/>
                  <a:gd name="connsiteX29" fmla="*/ 6093619 w 8801100"/>
                  <a:gd name="connsiteY29" fmla="*/ 1278731 h 4021932"/>
                  <a:gd name="connsiteX30" fmla="*/ 5895975 w 8801100"/>
                  <a:gd name="connsiteY30" fmla="*/ 1271588 h 4021932"/>
                  <a:gd name="connsiteX31" fmla="*/ 5834063 w 8801100"/>
                  <a:gd name="connsiteY31" fmla="*/ 1226344 h 4021932"/>
                  <a:gd name="connsiteX32" fmla="*/ 5636419 w 8801100"/>
                  <a:gd name="connsiteY32" fmla="*/ 1243013 h 4021932"/>
                  <a:gd name="connsiteX33" fmla="*/ 5548313 w 8801100"/>
                  <a:gd name="connsiteY33" fmla="*/ 1159668 h 4021932"/>
                  <a:gd name="connsiteX34" fmla="*/ 5472113 w 8801100"/>
                  <a:gd name="connsiteY34" fmla="*/ 1114425 h 4021932"/>
                  <a:gd name="connsiteX35" fmla="*/ 5474493 w 8801100"/>
                  <a:gd name="connsiteY35" fmla="*/ 1057275 h 4021932"/>
                  <a:gd name="connsiteX36" fmla="*/ 5455444 w 8801100"/>
                  <a:gd name="connsiteY36" fmla="*/ 1014412 h 4021932"/>
                  <a:gd name="connsiteX37" fmla="*/ 5360194 w 8801100"/>
                  <a:gd name="connsiteY37" fmla="*/ 1016794 h 4021932"/>
                  <a:gd name="connsiteX38" fmla="*/ 5264944 w 8801100"/>
                  <a:gd name="connsiteY38" fmla="*/ 995363 h 4021932"/>
                  <a:gd name="connsiteX39" fmla="*/ 5195887 w 8801100"/>
                  <a:gd name="connsiteY39" fmla="*/ 928687 h 4021932"/>
                  <a:gd name="connsiteX40" fmla="*/ 5160169 w 8801100"/>
                  <a:gd name="connsiteY40" fmla="*/ 885825 h 4021932"/>
                  <a:gd name="connsiteX41" fmla="*/ 5079206 w 8801100"/>
                  <a:gd name="connsiteY41" fmla="*/ 862012 h 4021932"/>
                  <a:gd name="connsiteX42" fmla="*/ 5005388 w 8801100"/>
                  <a:gd name="connsiteY42" fmla="*/ 873918 h 4021932"/>
                  <a:gd name="connsiteX43" fmla="*/ 4948237 w 8801100"/>
                  <a:gd name="connsiteY43" fmla="*/ 821531 h 4021932"/>
                  <a:gd name="connsiteX44" fmla="*/ 4852988 w 8801100"/>
                  <a:gd name="connsiteY44" fmla="*/ 833438 h 4021932"/>
                  <a:gd name="connsiteX45" fmla="*/ 4800600 w 8801100"/>
                  <a:gd name="connsiteY45" fmla="*/ 807244 h 4021932"/>
                  <a:gd name="connsiteX46" fmla="*/ 4719638 w 8801100"/>
                  <a:gd name="connsiteY46" fmla="*/ 850106 h 4021932"/>
                  <a:gd name="connsiteX47" fmla="*/ 4581525 w 8801100"/>
                  <a:gd name="connsiteY47" fmla="*/ 873919 h 4021932"/>
                  <a:gd name="connsiteX48" fmla="*/ 4452938 w 8801100"/>
                  <a:gd name="connsiteY48" fmla="*/ 966788 h 4021932"/>
                  <a:gd name="connsiteX49" fmla="*/ 4405312 w 8801100"/>
                  <a:gd name="connsiteY49" fmla="*/ 928688 h 4021932"/>
                  <a:gd name="connsiteX50" fmla="*/ 4383881 w 8801100"/>
                  <a:gd name="connsiteY50" fmla="*/ 959643 h 4021932"/>
                  <a:gd name="connsiteX51" fmla="*/ 4310063 w 8801100"/>
                  <a:gd name="connsiteY51" fmla="*/ 909638 h 4021932"/>
                  <a:gd name="connsiteX52" fmla="*/ 4271963 w 8801100"/>
                  <a:gd name="connsiteY52" fmla="*/ 916781 h 4021932"/>
                  <a:gd name="connsiteX53" fmla="*/ 4250531 w 8801100"/>
                  <a:gd name="connsiteY53" fmla="*/ 878681 h 4021932"/>
                  <a:gd name="connsiteX54" fmla="*/ 4191000 w 8801100"/>
                  <a:gd name="connsiteY54" fmla="*/ 883444 h 4021932"/>
                  <a:gd name="connsiteX55" fmla="*/ 4145756 w 8801100"/>
                  <a:gd name="connsiteY55" fmla="*/ 854869 h 4021932"/>
                  <a:gd name="connsiteX56" fmla="*/ 4107656 w 8801100"/>
                  <a:gd name="connsiteY56" fmla="*/ 852488 h 4021932"/>
                  <a:gd name="connsiteX57" fmla="*/ 4088606 w 8801100"/>
                  <a:gd name="connsiteY57" fmla="*/ 804862 h 4021932"/>
                  <a:gd name="connsiteX58" fmla="*/ 4074319 w 8801100"/>
                  <a:gd name="connsiteY58" fmla="*/ 773906 h 4021932"/>
                  <a:gd name="connsiteX59" fmla="*/ 4029075 w 8801100"/>
                  <a:gd name="connsiteY59" fmla="*/ 783431 h 4021932"/>
                  <a:gd name="connsiteX60" fmla="*/ 4010025 w 8801100"/>
                  <a:gd name="connsiteY60" fmla="*/ 747713 h 4021932"/>
                  <a:gd name="connsiteX61" fmla="*/ 4031457 w 8801100"/>
                  <a:gd name="connsiteY61" fmla="*/ 692944 h 4021932"/>
                  <a:gd name="connsiteX62" fmla="*/ 4000500 w 8801100"/>
                  <a:gd name="connsiteY62" fmla="*/ 666750 h 4021932"/>
                  <a:gd name="connsiteX63" fmla="*/ 4017169 w 8801100"/>
                  <a:gd name="connsiteY63" fmla="*/ 623888 h 4021932"/>
                  <a:gd name="connsiteX64" fmla="*/ 3990975 w 8801100"/>
                  <a:gd name="connsiteY64" fmla="*/ 581025 h 4021932"/>
                  <a:gd name="connsiteX65" fmla="*/ 3986213 w 8801100"/>
                  <a:gd name="connsiteY65" fmla="*/ 519113 h 4021932"/>
                  <a:gd name="connsiteX66" fmla="*/ 4010025 w 8801100"/>
                  <a:gd name="connsiteY66" fmla="*/ 454818 h 4021932"/>
                  <a:gd name="connsiteX67" fmla="*/ 3971925 w 8801100"/>
                  <a:gd name="connsiteY67" fmla="*/ 457200 h 4021932"/>
                  <a:gd name="connsiteX68" fmla="*/ 3852863 w 8801100"/>
                  <a:gd name="connsiteY68" fmla="*/ 400050 h 4021932"/>
                  <a:gd name="connsiteX69" fmla="*/ 3814762 w 8801100"/>
                  <a:gd name="connsiteY69" fmla="*/ 404812 h 4021932"/>
                  <a:gd name="connsiteX70" fmla="*/ 3609975 w 8801100"/>
                  <a:gd name="connsiteY70" fmla="*/ 295275 h 4021932"/>
                  <a:gd name="connsiteX71" fmla="*/ 3505200 w 8801100"/>
                  <a:gd name="connsiteY71" fmla="*/ 264319 h 4021932"/>
                  <a:gd name="connsiteX72" fmla="*/ 3440906 w 8801100"/>
                  <a:gd name="connsiteY72" fmla="*/ 273843 h 4021932"/>
                  <a:gd name="connsiteX73" fmla="*/ 3409950 w 8801100"/>
                  <a:gd name="connsiteY73" fmla="*/ 209550 h 4021932"/>
                  <a:gd name="connsiteX74" fmla="*/ 3352800 w 8801100"/>
                  <a:gd name="connsiteY74" fmla="*/ 209550 h 4021932"/>
                  <a:gd name="connsiteX75" fmla="*/ 3214687 w 8801100"/>
                  <a:gd name="connsiteY75" fmla="*/ 104775 h 4021932"/>
                  <a:gd name="connsiteX76" fmla="*/ 3181350 w 8801100"/>
                  <a:gd name="connsiteY76" fmla="*/ 164307 h 4021932"/>
                  <a:gd name="connsiteX77" fmla="*/ 3126581 w 8801100"/>
                  <a:gd name="connsiteY77" fmla="*/ 233363 h 4021932"/>
                  <a:gd name="connsiteX78" fmla="*/ 3083719 w 8801100"/>
                  <a:gd name="connsiteY78" fmla="*/ 250031 h 4021932"/>
                  <a:gd name="connsiteX79" fmla="*/ 3052763 w 8801100"/>
                  <a:gd name="connsiteY79" fmla="*/ 242888 h 4021932"/>
                  <a:gd name="connsiteX80" fmla="*/ 3028950 w 8801100"/>
                  <a:gd name="connsiteY80" fmla="*/ 271463 h 4021932"/>
                  <a:gd name="connsiteX81" fmla="*/ 3002756 w 8801100"/>
                  <a:gd name="connsiteY81" fmla="*/ 350044 h 4021932"/>
                  <a:gd name="connsiteX82" fmla="*/ 2959894 w 8801100"/>
                  <a:gd name="connsiteY82" fmla="*/ 347663 h 4021932"/>
                  <a:gd name="connsiteX83" fmla="*/ 2928937 w 8801100"/>
                  <a:gd name="connsiteY83" fmla="*/ 409575 h 4021932"/>
                  <a:gd name="connsiteX84" fmla="*/ 2924175 w 8801100"/>
                  <a:gd name="connsiteY84" fmla="*/ 473869 h 4021932"/>
                  <a:gd name="connsiteX85" fmla="*/ 2897982 w 8801100"/>
                  <a:gd name="connsiteY85" fmla="*/ 511969 h 4021932"/>
                  <a:gd name="connsiteX86" fmla="*/ 2924175 w 8801100"/>
                  <a:gd name="connsiteY86" fmla="*/ 571500 h 4021932"/>
                  <a:gd name="connsiteX87" fmla="*/ 2926556 w 8801100"/>
                  <a:gd name="connsiteY87" fmla="*/ 640556 h 4021932"/>
                  <a:gd name="connsiteX88" fmla="*/ 2955131 w 8801100"/>
                  <a:gd name="connsiteY88" fmla="*/ 692944 h 4021932"/>
                  <a:gd name="connsiteX89" fmla="*/ 3002757 w 8801100"/>
                  <a:gd name="connsiteY89" fmla="*/ 747713 h 4021932"/>
                  <a:gd name="connsiteX90" fmla="*/ 2952750 w 8801100"/>
                  <a:gd name="connsiteY90" fmla="*/ 885825 h 4021932"/>
                  <a:gd name="connsiteX91" fmla="*/ 2883694 w 8801100"/>
                  <a:gd name="connsiteY91" fmla="*/ 952500 h 4021932"/>
                  <a:gd name="connsiteX92" fmla="*/ 2812256 w 8801100"/>
                  <a:gd name="connsiteY92" fmla="*/ 947738 h 4021932"/>
                  <a:gd name="connsiteX93" fmla="*/ 2774156 w 8801100"/>
                  <a:gd name="connsiteY93" fmla="*/ 1004888 h 4021932"/>
                  <a:gd name="connsiteX94" fmla="*/ 2714625 w 8801100"/>
                  <a:gd name="connsiteY94" fmla="*/ 1019175 h 4021932"/>
                  <a:gd name="connsiteX95" fmla="*/ 2645569 w 8801100"/>
                  <a:gd name="connsiteY95" fmla="*/ 959644 h 4021932"/>
                  <a:gd name="connsiteX96" fmla="*/ 2590800 w 8801100"/>
                  <a:gd name="connsiteY96" fmla="*/ 931069 h 4021932"/>
                  <a:gd name="connsiteX97" fmla="*/ 2547938 w 8801100"/>
                  <a:gd name="connsiteY97" fmla="*/ 945356 h 4021932"/>
                  <a:gd name="connsiteX98" fmla="*/ 2495550 w 8801100"/>
                  <a:gd name="connsiteY98" fmla="*/ 928688 h 4021932"/>
                  <a:gd name="connsiteX99" fmla="*/ 2428875 w 8801100"/>
                  <a:gd name="connsiteY99" fmla="*/ 873919 h 4021932"/>
                  <a:gd name="connsiteX100" fmla="*/ 2383631 w 8801100"/>
                  <a:gd name="connsiteY100" fmla="*/ 885825 h 4021932"/>
                  <a:gd name="connsiteX101" fmla="*/ 2362200 w 8801100"/>
                  <a:gd name="connsiteY101" fmla="*/ 854869 h 4021932"/>
                  <a:gd name="connsiteX102" fmla="*/ 2305050 w 8801100"/>
                  <a:gd name="connsiteY102" fmla="*/ 895350 h 4021932"/>
                  <a:gd name="connsiteX103" fmla="*/ 2188369 w 8801100"/>
                  <a:gd name="connsiteY103" fmla="*/ 873919 h 4021932"/>
                  <a:gd name="connsiteX104" fmla="*/ 2138363 w 8801100"/>
                  <a:gd name="connsiteY104" fmla="*/ 821531 h 4021932"/>
                  <a:gd name="connsiteX105" fmla="*/ 2095500 w 8801100"/>
                  <a:gd name="connsiteY105" fmla="*/ 807244 h 4021932"/>
                  <a:gd name="connsiteX106" fmla="*/ 2052638 w 8801100"/>
                  <a:gd name="connsiteY106" fmla="*/ 833438 h 4021932"/>
                  <a:gd name="connsiteX107" fmla="*/ 2000250 w 8801100"/>
                  <a:gd name="connsiteY107" fmla="*/ 742950 h 4021932"/>
                  <a:gd name="connsiteX108" fmla="*/ 1990725 w 8801100"/>
                  <a:gd name="connsiteY108" fmla="*/ 595312 h 4021932"/>
                  <a:gd name="connsiteX109" fmla="*/ 1938337 w 8801100"/>
                  <a:gd name="connsiteY109" fmla="*/ 588168 h 4021932"/>
                  <a:gd name="connsiteX110" fmla="*/ 1847850 w 8801100"/>
                  <a:gd name="connsiteY110" fmla="*/ 578644 h 4021932"/>
                  <a:gd name="connsiteX111" fmla="*/ 1793081 w 8801100"/>
                  <a:gd name="connsiteY111" fmla="*/ 540544 h 4021932"/>
                  <a:gd name="connsiteX112" fmla="*/ 1724025 w 8801100"/>
                  <a:gd name="connsiteY112" fmla="*/ 550069 h 4021932"/>
                  <a:gd name="connsiteX113" fmla="*/ 1678781 w 8801100"/>
                  <a:gd name="connsiteY113" fmla="*/ 523875 h 4021932"/>
                  <a:gd name="connsiteX114" fmla="*/ 1669257 w 8801100"/>
                  <a:gd name="connsiteY114" fmla="*/ 452438 h 4021932"/>
                  <a:gd name="connsiteX115" fmla="*/ 1645444 w 8801100"/>
                  <a:gd name="connsiteY115" fmla="*/ 438150 h 4021932"/>
                  <a:gd name="connsiteX116" fmla="*/ 1607344 w 8801100"/>
                  <a:gd name="connsiteY116" fmla="*/ 485774 h 4021932"/>
                  <a:gd name="connsiteX117" fmla="*/ 1528762 w 8801100"/>
                  <a:gd name="connsiteY117" fmla="*/ 411956 h 4021932"/>
                  <a:gd name="connsiteX118" fmla="*/ 1488281 w 8801100"/>
                  <a:gd name="connsiteY118" fmla="*/ 452438 h 4021932"/>
                  <a:gd name="connsiteX119" fmla="*/ 1412081 w 8801100"/>
                  <a:gd name="connsiteY119" fmla="*/ 438150 h 4021932"/>
                  <a:gd name="connsiteX120" fmla="*/ 1333500 w 8801100"/>
                  <a:gd name="connsiteY120" fmla="*/ 464344 h 4021932"/>
                  <a:gd name="connsiteX121" fmla="*/ 1273969 w 8801100"/>
                  <a:gd name="connsiteY121" fmla="*/ 511968 h 4021932"/>
                  <a:gd name="connsiteX122" fmla="*/ 1200150 w 8801100"/>
                  <a:gd name="connsiteY122" fmla="*/ 523875 h 4021932"/>
                  <a:gd name="connsiteX123" fmla="*/ 1164431 w 8801100"/>
                  <a:gd name="connsiteY123" fmla="*/ 516731 h 4021932"/>
                  <a:gd name="connsiteX124" fmla="*/ 1085851 w 8801100"/>
                  <a:gd name="connsiteY124" fmla="*/ 547688 h 4021932"/>
                  <a:gd name="connsiteX125" fmla="*/ 1064419 w 8801100"/>
                  <a:gd name="connsiteY125" fmla="*/ 576263 h 4021932"/>
                  <a:gd name="connsiteX126" fmla="*/ 997744 w 8801100"/>
                  <a:gd name="connsiteY126" fmla="*/ 566738 h 4021932"/>
                  <a:gd name="connsiteX127" fmla="*/ 928688 w 8801100"/>
                  <a:gd name="connsiteY127" fmla="*/ 590550 h 4021932"/>
                  <a:gd name="connsiteX128" fmla="*/ 873919 w 8801100"/>
                  <a:gd name="connsiteY128" fmla="*/ 628650 h 4021932"/>
                  <a:gd name="connsiteX129" fmla="*/ 778669 w 8801100"/>
                  <a:gd name="connsiteY129" fmla="*/ 642937 h 4021932"/>
                  <a:gd name="connsiteX130" fmla="*/ 764381 w 8801100"/>
                  <a:gd name="connsiteY130" fmla="*/ 664369 h 4021932"/>
                  <a:gd name="connsiteX131" fmla="*/ 776287 w 8801100"/>
                  <a:gd name="connsiteY131" fmla="*/ 709613 h 4021932"/>
                  <a:gd name="connsiteX132" fmla="*/ 676276 w 8801100"/>
                  <a:gd name="connsiteY132" fmla="*/ 762000 h 4021932"/>
                  <a:gd name="connsiteX133" fmla="*/ 638175 w 8801100"/>
                  <a:gd name="connsiteY133" fmla="*/ 733424 h 4021932"/>
                  <a:gd name="connsiteX134" fmla="*/ 607219 w 8801100"/>
                  <a:gd name="connsiteY134" fmla="*/ 790575 h 4021932"/>
                  <a:gd name="connsiteX135" fmla="*/ 550069 w 8801100"/>
                  <a:gd name="connsiteY135" fmla="*/ 752475 h 4021932"/>
                  <a:gd name="connsiteX136" fmla="*/ 514350 w 8801100"/>
                  <a:gd name="connsiteY136" fmla="*/ 781050 h 4021932"/>
                  <a:gd name="connsiteX137" fmla="*/ 478631 w 8801100"/>
                  <a:gd name="connsiteY137" fmla="*/ 745331 h 4021932"/>
                  <a:gd name="connsiteX138" fmla="*/ 426244 w 8801100"/>
                  <a:gd name="connsiteY138" fmla="*/ 757238 h 4021932"/>
                  <a:gd name="connsiteX139" fmla="*/ 381000 w 8801100"/>
                  <a:gd name="connsiteY139" fmla="*/ 728663 h 4021932"/>
                  <a:gd name="connsiteX140" fmla="*/ 357188 w 8801100"/>
                  <a:gd name="connsiteY140" fmla="*/ 747713 h 4021932"/>
                  <a:gd name="connsiteX141" fmla="*/ 333375 w 8801100"/>
                  <a:gd name="connsiteY141" fmla="*/ 807244 h 4021932"/>
                  <a:gd name="connsiteX142" fmla="*/ 261938 w 8801100"/>
                  <a:gd name="connsiteY142" fmla="*/ 845343 h 4021932"/>
                  <a:gd name="connsiteX143" fmla="*/ 209550 w 8801100"/>
                  <a:gd name="connsiteY143" fmla="*/ 816769 h 4021932"/>
                  <a:gd name="connsiteX144" fmla="*/ 119063 w 8801100"/>
                  <a:gd name="connsiteY144" fmla="*/ 826294 h 4021932"/>
                  <a:gd name="connsiteX145" fmla="*/ 71437 w 8801100"/>
                  <a:gd name="connsiteY145" fmla="*/ 792957 h 4021932"/>
                  <a:gd name="connsiteX146" fmla="*/ 0 w 8801100"/>
                  <a:gd name="connsiteY146" fmla="*/ 812006 h 4021932"/>
                  <a:gd name="connsiteX147" fmla="*/ 4762 w 8801100"/>
                  <a:gd name="connsiteY147" fmla="*/ 0 h 4021932"/>
                  <a:gd name="connsiteX148" fmla="*/ 5929313 w 8801100"/>
                  <a:gd name="connsiteY148" fmla="*/ 4021932 h 4021932"/>
                  <a:gd name="connsiteX149" fmla="*/ 6062662 w 8801100"/>
                  <a:gd name="connsiteY149" fmla="*/ 4019550 h 4021932"/>
                  <a:gd name="connsiteX150" fmla="*/ 6196012 w 8801100"/>
                  <a:gd name="connsiteY150" fmla="*/ 3921919 h 4021932"/>
                  <a:gd name="connsiteX151" fmla="*/ 6262687 w 8801100"/>
                  <a:gd name="connsiteY151" fmla="*/ 3914775 h 4021932"/>
                  <a:gd name="connsiteX152" fmla="*/ 6360319 w 8801100"/>
                  <a:gd name="connsiteY152" fmla="*/ 3840956 h 4021932"/>
                  <a:gd name="connsiteX153" fmla="*/ 6434138 w 8801100"/>
                  <a:gd name="connsiteY153" fmla="*/ 3771900 h 4021932"/>
                  <a:gd name="connsiteX154" fmla="*/ 6443663 w 8801100"/>
                  <a:gd name="connsiteY154" fmla="*/ 3709988 h 4021932"/>
                  <a:gd name="connsiteX155" fmla="*/ 6477000 w 8801100"/>
                  <a:gd name="connsiteY155" fmla="*/ 3640931 h 4021932"/>
                  <a:gd name="connsiteX156" fmla="*/ 6629400 w 8801100"/>
                  <a:gd name="connsiteY156" fmla="*/ 3533775 h 4021932"/>
                  <a:gd name="connsiteX157" fmla="*/ 6662738 w 8801100"/>
                  <a:gd name="connsiteY157" fmla="*/ 3538538 h 4021932"/>
                  <a:gd name="connsiteX158" fmla="*/ 6715125 w 8801100"/>
                  <a:gd name="connsiteY158" fmla="*/ 3459956 h 4021932"/>
                  <a:gd name="connsiteX159" fmla="*/ 6762750 w 8801100"/>
                  <a:gd name="connsiteY159" fmla="*/ 3421856 h 4021932"/>
                  <a:gd name="connsiteX160" fmla="*/ 6748463 w 8801100"/>
                  <a:gd name="connsiteY160" fmla="*/ 3352800 h 4021932"/>
                  <a:gd name="connsiteX161" fmla="*/ 6698456 w 8801100"/>
                  <a:gd name="connsiteY161" fmla="*/ 3321843 h 4021932"/>
                  <a:gd name="connsiteX162" fmla="*/ 6638925 w 8801100"/>
                  <a:gd name="connsiteY162" fmla="*/ 3267075 h 4021932"/>
                  <a:gd name="connsiteX163" fmla="*/ 6619875 w 8801100"/>
                  <a:gd name="connsiteY163" fmla="*/ 3209925 h 4021932"/>
                  <a:gd name="connsiteX164" fmla="*/ 6584156 w 8801100"/>
                  <a:gd name="connsiteY164" fmla="*/ 3176588 h 4021932"/>
                  <a:gd name="connsiteX165" fmla="*/ 6610350 w 8801100"/>
                  <a:gd name="connsiteY165" fmla="*/ 3124200 h 4021932"/>
                  <a:gd name="connsiteX166" fmla="*/ 6650831 w 8801100"/>
                  <a:gd name="connsiteY166" fmla="*/ 2945606 h 4021932"/>
                  <a:gd name="connsiteX167" fmla="*/ 6691313 w 8801100"/>
                  <a:gd name="connsiteY167" fmla="*/ 2878931 h 4021932"/>
                  <a:gd name="connsiteX168" fmla="*/ 6836569 w 8801100"/>
                  <a:gd name="connsiteY168" fmla="*/ 2862262 h 4021932"/>
                  <a:gd name="connsiteX169" fmla="*/ 6905625 w 8801100"/>
                  <a:gd name="connsiteY169" fmla="*/ 2919413 h 4021932"/>
                  <a:gd name="connsiteX170" fmla="*/ 6981825 w 8801100"/>
                  <a:gd name="connsiteY170" fmla="*/ 2943225 h 4021932"/>
                  <a:gd name="connsiteX171" fmla="*/ 7186612 w 8801100"/>
                  <a:gd name="connsiteY171" fmla="*/ 2947988 h 4021932"/>
                  <a:gd name="connsiteX172" fmla="*/ 7362825 w 8801100"/>
                  <a:gd name="connsiteY172" fmla="*/ 2809875 h 4021932"/>
                  <a:gd name="connsiteX173" fmla="*/ 7419975 w 8801100"/>
                  <a:gd name="connsiteY173" fmla="*/ 2719387 h 4021932"/>
                  <a:gd name="connsiteX174" fmla="*/ 7446169 w 8801100"/>
                  <a:gd name="connsiteY174" fmla="*/ 2636044 h 4021932"/>
                  <a:gd name="connsiteX175" fmla="*/ 7577137 w 8801100"/>
                  <a:gd name="connsiteY175" fmla="*/ 2636044 h 4021932"/>
                  <a:gd name="connsiteX176" fmla="*/ 7750969 w 8801100"/>
                  <a:gd name="connsiteY176" fmla="*/ 2578893 h 4021932"/>
                  <a:gd name="connsiteX177" fmla="*/ 7810500 w 8801100"/>
                  <a:gd name="connsiteY177" fmla="*/ 2466975 h 4021932"/>
                  <a:gd name="connsiteX178" fmla="*/ 7874794 w 8801100"/>
                  <a:gd name="connsiteY178" fmla="*/ 2431256 h 4021932"/>
                  <a:gd name="connsiteX179" fmla="*/ 7853363 w 8801100"/>
                  <a:gd name="connsiteY179" fmla="*/ 2386013 h 4021932"/>
                  <a:gd name="connsiteX180" fmla="*/ 7931944 w 8801100"/>
                  <a:gd name="connsiteY180" fmla="*/ 2216943 h 4021932"/>
                  <a:gd name="connsiteX181" fmla="*/ 7986713 w 8801100"/>
                  <a:gd name="connsiteY181" fmla="*/ 2157413 h 4021932"/>
                  <a:gd name="connsiteX182" fmla="*/ 8024813 w 8801100"/>
                  <a:gd name="connsiteY182" fmla="*/ 2152650 h 4021932"/>
                  <a:gd name="connsiteX183" fmla="*/ 8070056 w 8801100"/>
                  <a:gd name="connsiteY183" fmla="*/ 2157413 h 4021932"/>
                  <a:gd name="connsiteX184" fmla="*/ 8134350 w 8801100"/>
                  <a:gd name="connsiteY184" fmla="*/ 2124075 h 4021932"/>
                  <a:gd name="connsiteX185" fmla="*/ 8143875 w 8801100"/>
                  <a:gd name="connsiteY185" fmla="*/ 2059781 h 4021932"/>
                  <a:gd name="connsiteX186" fmla="*/ 8184355 w 8801100"/>
                  <a:gd name="connsiteY186" fmla="*/ 2024063 h 4021932"/>
                  <a:gd name="connsiteX187" fmla="*/ 8243888 w 8801100"/>
                  <a:gd name="connsiteY187" fmla="*/ 2064543 h 4021932"/>
                  <a:gd name="connsiteX188" fmla="*/ 8270082 w 8801100"/>
                  <a:gd name="connsiteY188" fmla="*/ 2014537 h 4021932"/>
                  <a:gd name="connsiteX189" fmla="*/ 8365331 w 8801100"/>
                  <a:gd name="connsiteY189" fmla="*/ 1945481 h 4021932"/>
                  <a:gd name="connsiteX190" fmla="*/ 8427244 w 8801100"/>
                  <a:gd name="connsiteY190" fmla="*/ 1952625 h 4021932"/>
                  <a:gd name="connsiteX191" fmla="*/ 8477250 w 8801100"/>
                  <a:gd name="connsiteY191" fmla="*/ 1933575 h 4021932"/>
                  <a:gd name="connsiteX192" fmla="*/ 8515350 w 8801100"/>
                  <a:gd name="connsiteY192" fmla="*/ 1905000 h 4021932"/>
                  <a:gd name="connsiteX193" fmla="*/ 8548688 w 8801100"/>
                  <a:gd name="connsiteY193" fmla="*/ 1902619 h 4021932"/>
                  <a:gd name="connsiteX194" fmla="*/ 8584406 w 8801100"/>
                  <a:gd name="connsiteY194" fmla="*/ 1933575 h 4021932"/>
                  <a:gd name="connsiteX195" fmla="*/ 8643938 w 8801100"/>
                  <a:gd name="connsiteY195" fmla="*/ 1933575 h 4021932"/>
                  <a:gd name="connsiteX196" fmla="*/ 8682037 w 8801100"/>
                  <a:gd name="connsiteY196" fmla="*/ 1914525 h 4021932"/>
                  <a:gd name="connsiteX197" fmla="*/ 8765381 w 8801100"/>
                  <a:gd name="connsiteY197" fmla="*/ 1916907 h 4021932"/>
                  <a:gd name="connsiteX198" fmla="*/ 8796338 w 8801100"/>
                  <a:gd name="connsiteY198" fmla="*/ 1871663 h 4021932"/>
                  <a:gd name="connsiteX199" fmla="*/ 8801100 w 8801100"/>
                  <a:gd name="connsiteY199" fmla="*/ 1809750 h 4021932"/>
                  <a:gd name="connsiteX200" fmla="*/ 8751093 w 8801100"/>
                  <a:gd name="connsiteY200" fmla="*/ 1769269 h 4021932"/>
                  <a:gd name="connsiteX201" fmla="*/ 8734425 w 8801100"/>
                  <a:gd name="connsiteY201" fmla="*/ 1714500 h 4021932"/>
                  <a:gd name="connsiteX202" fmla="*/ 8643938 w 8801100"/>
                  <a:gd name="connsiteY202" fmla="*/ 1652588 h 4021932"/>
                  <a:gd name="connsiteX203" fmla="*/ 8603456 w 8801100"/>
                  <a:gd name="connsiteY203" fmla="*/ 1631156 h 4021932"/>
                  <a:gd name="connsiteX204" fmla="*/ 8565356 w 8801100"/>
                  <a:gd name="connsiteY204" fmla="*/ 1585913 h 4021932"/>
                  <a:gd name="connsiteX205" fmla="*/ 8534400 w 8801100"/>
                  <a:gd name="connsiteY205" fmla="*/ 1583531 h 4021932"/>
                  <a:gd name="connsiteX206" fmla="*/ 8517731 w 8801100"/>
                  <a:gd name="connsiteY206" fmla="*/ 1531144 h 4021932"/>
                  <a:gd name="connsiteX207" fmla="*/ 8477250 w 8801100"/>
                  <a:gd name="connsiteY207" fmla="*/ 1514475 h 4021932"/>
                  <a:gd name="connsiteX208" fmla="*/ 8477250 w 8801100"/>
                  <a:gd name="connsiteY208" fmla="*/ 1514475 h 4021932"/>
                  <a:gd name="connsiteX209" fmla="*/ 8436769 w 8801100"/>
                  <a:gd name="connsiteY209" fmla="*/ 1519238 h 4021932"/>
                  <a:gd name="connsiteX210" fmla="*/ 8351043 w 8801100"/>
                  <a:gd name="connsiteY210" fmla="*/ 1445419 h 4021932"/>
                  <a:gd name="connsiteX211" fmla="*/ 8170069 w 8801100"/>
                  <a:gd name="connsiteY211" fmla="*/ 1445418 h 4021932"/>
                  <a:gd name="connsiteX212" fmla="*/ 8117681 w 8801100"/>
                  <a:gd name="connsiteY212" fmla="*/ 1483519 h 4021932"/>
                  <a:gd name="connsiteX213" fmla="*/ 8067675 w 8801100"/>
                  <a:gd name="connsiteY213" fmla="*/ 1562100 h 4021932"/>
                  <a:gd name="connsiteX214" fmla="*/ 8084344 w 8801100"/>
                  <a:gd name="connsiteY214" fmla="*/ 1583531 h 4021932"/>
                  <a:gd name="connsiteX215" fmla="*/ 8039100 w 8801100"/>
                  <a:gd name="connsiteY215" fmla="*/ 1633537 h 4021932"/>
                  <a:gd name="connsiteX216" fmla="*/ 7889081 w 8801100"/>
                  <a:gd name="connsiteY216" fmla="*/ 1557337 h 4021932"/>
                  <a:gd name="connsiteX217" fmla="*/ 7798594 w 8801100"/>
                  <a:gd name="connsiteY217" fmla="*/ 1593056 h 4021932"/>
                  <a:gd name="connsiteX218" fmla="*/ 7724775 w 8801100"/>
                  <a:gd name="connsiteY218" fmla="*/ 1590675 h 4021932"/>
                  <a:gd name="connsiteX219" fmla="*/ 7667625 w 8801100"/>
                  <a:gd name="connsiteY219" fmla="*/ 1685925 h 4021932"/>
                  <a:gd name="connsiteX220" fmla="*/ 7529513 w 8801100"/>
                  <a:gd name="connsiteY220" fmla="*/ 1588294 h 4021932"/>
                  <a:gd name="connsiteX0" fmla="*/ 7529513 w 8801100"/>
                  <a:gd name="connsiteY0" fmla="*/ 1588294 h 4019550"/>
                  <a:gd name="connsiteX1" fmla="*/ 7522369 w 8801100"/>
                  <a:gd name="connsiteY1" fmla="*/ 1533525 h 4019550"/>
                  <a:gd name="connsiteX2" fmla="*/ 7589044 w 8801100"/>
                  <a:gd name="connsiteY2" fmla="*/ 1459706 h 4019550"/>
                  <a:gd name="connsiteX3" fmla="*/ 7572375 w 8801100"/>
                  <a:gd name="connsiteY3" fmla="*/ 1388269 h 4019550"/>
                  <a:gd name="connsiteX4" fmla="*/ 7586663 w 8801100"/>
                  <a:gd name="connsiteY4" fmla="*/ 1293019 h 4019550"/>
                  <a:gd name="connsiteX5" fmla="*/ 7624763 w 8801100"/>
                  <a:gd name="connsiteY5" fmla="*/ 1235869 h 4019550"/>
                  <a:gd name="connsiteX6" fmla="*/ 7605712 w 8801100"/>
                  <a:gd name="connsiteY6" fmla="*/ 1202531 h 4019550"/>
                  <a:gd name="connsiteX7" fmla="*/ 7703343 w 8801100"/>
                  <a:gd name="connsiteY7" fmla="*/ 802481 h 4019550"/>
                  <a:gd name="connsiteX8" fmla="*/ 7696200 w 8801100"/>
                  <a:gd name="connsiteY8" fmla="*/ 773906 h 4019550"/>
                  <a:gd name="connsiteX9" fmla="*/ 7567613 w 8801100"/>
                  <a:gd name="connsiteY9" fmla="*/ 752475 h 4019550"/>
                  <a:gd name="connsiteX10" fmla="*/ 7384257 w 8801100"/>
                  <a:gd name="connsiteY10" fmla="*/ 831056 h 4019550"/>
                  <a:gd name="connsiteX11" fmla="*/ 7227093 w 8801100"/>
                  <a:gd name="connsiteY11" fmla="*/ 716756 h 4019550"/>
                  <a:gd name="connsiteX12" fmla="*/ 7150894 w 8801100"/>
                  <a:gd name="connsiteY12" fmla="*/ 723900 h 4019550"/>
                  <a:gd name="connsiteX13" fmla="*/ 7077075 w 8801100"/>
                  <a:gd name="connsiteY13" fmla="*/ 719138 h 4019550"/>
                  <a:gd name="connsiteX14" fmla="*/ 6938963 w 8801100"/>
                  <a:gd name="connsiteY14" fmla="*/ 823913 h 4019550"/>
                  <a:gd name="connsiteX15" fmla="*/ 6831806 w 8801100"/>
                  <a:gd name="connsiteY15" fmla="*/ 931069 h 4019550"/>
                  <a:gd name="connsiteX16" fmla="*/ 6788944 w 8801100"/>
                  <a:gd name="connsiteY16" fmla="*/ 1000125 h 4019550"/>
                  <a:gd name="connsiteX17" fmla="*/ 6796088 w 8801100"/>
                  <a:gd name="connsiteY17" fmla="*/ 1035844 h 4019550"/>
                  <a:gd name="connsiteX18" fmla="*/ 6734175 w 8801100"/>
                  <a:gd name="connsiteY18" fmla="*/ 1047750 h 4019550"/>
                  <a:gd name="connsiteX19" fmla="*/ 6753225 w 8801100"/>
                  <a:gd name="connsiteY19" fmla="*/ 1047750 h 4019550"/>
                  <a:gd name="connsiteX20" fmla="*/ 6719888 w 8801100"/>
                  <a:gd name="connsiteY20" fmla="*/ 1078706 h 4019550"/>
                  <a:gd name="connsiteX21" fmla="*/ 6619875 w 8801100"/>
                  <a:gd name="connsiteY21" fmla="*/ 1078707 h 4019550"/>
                  <a:gd name="connsiteX22" fmla="*/ 6524625 w 8801100"/>
                  <a:gd name="connsiteY22" fmla="*/ 1133475 h 4019550"/>
                  <a:gd name="connsiteX23" fmla="*/ 6443663 w 8801100"/>
                  <a:gd name="connsiteY23" fmla="*/ 1143000 h 4019550"/>
                  <a:gd name="connsiteX24" fmla="*/ 6403181 w 8801100"/>
                  <a:gd name="connsiteY24" fmla="*/ 1176338 h 4019550"/>
                  <a:gd name="connsiteX25" fmla="*/ 6353175 w 8801100"/>
                  <a:gd name="connsiteY25" fmla="*/ 1181100 h 4019550"/>
                  <a:gd name="connsiteX26" fmla="*/ 6231732 w 8801100"/>
                  <a:gd name="connsiteY26" fmla="*/ 1273969 h 4019550"/>
                  <a:gd name="connsiteX27" fmla="*/ 6172200 w 8801100"/>
                  <a:gd name="connsiteY27" fmla="*/ 1278731 h 4019550"/>
                  <a:gd name="connsiteX28" fmla="*/ 6119813 w 8801100"/>
                  <a:gd name="connsiteY28" fmla="*/ 1243013 h 4019550"/>
                  <a:gd name="connsiteX29" fmla="*/ 6093619 w 8801100"/>
                  <a:gd name="connsiteY29" fmla="*/ 1278731 h 4019550"/>
                  <a:gd name="connsiteX30" fmla="*/ 5895975 w 8801100"/>
                  <a:gd name="connsiteY30" fmla="*/ 1271588 h 4019550"/>
                  <a:gd name="connsiteX31" fmla="*/ 5834063 w 8801100"/>
                  <a:gd name="connsiteY31" fmla="*/ 1226344 h 4019550"/>
                  <a:gd name="connsiteX32" fmla="*/ 5636419 w 8801100"/>
                  <a:gd name="connsiteY32" fmla="*/ 1243013 h 4019550"/>
                  <a:gd name="connsiteX33" fmla="*/ 5548313 w 8801100"/>
                  <a:gd name="connsiteY33" fmla="*/ 1159668 h 4019550"/>
                  <a:gd name="connsiteX34" fmla="*/ 5472113 w 8801100"/>
                  <a:gd name="connsiteY34" fmla="*/ 1114425 h 4019550"/>
                  <a:gd name="connsiteX35" fmla="*/ 5474493 w 8801100"/>
                  <a:gd name="connsiteY35" fmla="*/ 1057275 h 4019550"/>
                  <a:gd name="connsiteX36" fmla="*/ 5455444 w 8801100"/>
                  <a:gd name="connsiteY36" fmla="*/ 1014412 h 4019550"/>
                  <a:gd name="connsiteX37" fmla="*/ 5360194 w 8801100"/>
                  <a:gd name="connsiteY37" fmla="*/ 1016794 h 4019550"/>
                  <a:gd name="connsiteX38" fmla="*/ 5264944 w 8801100"/>
                  <a:gd name="connsiteY38" fmla="*/ 995363 h 4019550"/>
                  <a:gd name="connsiteX39" fmla="*/ 5195887 w 8801100"/>
                  <a:gd name="connsiteY39" fmla="*/ 928687 h 4019550"/>
                  <a:gd name="connsiteX40" fmla="*/ 5160169 w 8801100"/>
                  <a:gd name="connsiteY40" fmla="*/ 885825 h 4019550"/>
                  <a:gd name="connsiteX41" fmla="*/ 5079206 w 8801100"/>
                  <a:gd name="connsiteY41" fmla="*/ 862012 h 4019550"/>
                  <a:gd name="connsiteX42" fmla="*/ 5005388 w 8801100"/>
                  <a:gd name="connsiteY42" fmla="*/ 873918 h 4019550"/>
                  <a:gd name="connsiteX43" fmla="*/ 4948237 w 8801100"/>
                  <a:gd name="connsiteY43" fmla="*/ 821531 h 4019550"/>
                  <a:gd name="connsiteX44" fmla="*/ 4852988 w 8801100"/>
                  <a:gd name="connsiteY44" fmla="*/ 833438 h 4019550"/>
                  <a:gd name="connsiteX45" fmla="*/ 4800600 w 8801100"/>
                  <a:gd name="connsiteY45" fmla="*/ 807244 h 4019550"/>
                  <a:gd name="connsiteX46" fmla="*/ 4719638 w 8801100"/>
                  <a:gd name="connsiteY46" fmla="*/ 850106 h 4019550"/>
                  <a:gd name="connsiteX47" fmla="*/ 4581525 w 8801100"/>
                  <a:gd name="connsiteY47" fmla="*/ 873919 h 4019550"/>
                  <a:gd name="connsiteX48" fmla="*/ 4452938 w 8801100"/>
                  <a:gd name="connsiteY48" fmla="*/ 966788 h 4019550"/>
                  <a:gd name="connsiteX49" fmla="*/ 4405312 w 8801100"/>
                  <a:gd name="connsiteY49" fmla="*/ 928688 h 4019550"/>
                  <a:gd name="connsiteX50" fmla="*/ 4383881 w 8801100"/>
                  <a:gd name="connsiteY50" fmla="*/ 959643 h 4019550"/>
                  <a:gd name="connsiteX51" fmla="*/ 4310063 w 8801100"/>
                  <a:gd name="connsiteY51" fmla="*/ 909638 h 4019550"/>
                  <a:gd name="connsiteX52" fmla="*/ 4271963 w 8801100"/>
                  <a:gd name="connsiteY52" fmla="*/ 916781 h 4019550"/>
                  <a:gd name="connsiteX53" fmla="*/ 4250531 w 8801100"/>
                  <a:gd name="connsiteY53" fmla="*/ 878681 h 4019550"/>
                  <a:gd name="connsiteX54" fmla="*/ 4191000 w 8801100"/>
                  <a:gd name="connsiteY54" fmla="*/ 883444 h 4019550"/>
                  <a:gd name="connsiteX55" fmla="*/ 4145756 w 8801100"/>
                  <a:gd name="connsiteY55" fmla="*/ 854869 h 4019550"/>
                  <a:gd name="connsiteX56" fmla="*/ 4107656 w 8801100"/>
                  <a:gd name="connsiteY56" fmla="*/ 852488 h 4019550"/>
                  <a:gd name="connsiteX57" fmla="*/ 4088606 w 8801100"/>
                  <a:gd name="connsiteY57" fmla="*/ 804862 h 4019550"/>
                  <a:gd name="connsiteX58" fmla="*/ 4074319 w 8801100"/>
                  <a:gd name="connsiteY58" fmla="*/ 773906 h 4019550"/>
                  <a:gd name="connsiteX59" fmla="*/ 4029075 w 8801100"/>
                  <a:gd name="connsiteY59" fmla="*/ 783431 h 4019550"/>
                  <a:gd name="connsiteX60" fmla="*/ 4010025 w 8801100"/>
                  <a:gd name="connsiteY60" fmla="*/ 747713 h 4019550"/>
                  <a:gd name="connsiteX61" fmla="*/ 4031457 w 8801100"/>
                  <a:gd name="connsiteY61" fmla="*/ 692944 h 4019550"/>
                  <a:gd name="connsiteX62" fmla="*/ 4000500 w 8801100"/>
                  <a:gd name="connsiteY62" fmla="*/ 666750 h 4019550"/>
                  <a:gd name="connsiteX63" fmla="*/ 4017169 w 8801100"/>
                  <a:gd name="connsiteY63" fmla="*/ 623888 h 4019550"/>
                  <a:gd name="connsiteX64" fmla="*/ 3990975 w 8801100"/>
                  <a:gd name="connsiteY64" fmla="*/ 581025 h 4019550"/>
                  <a:gd name="connsiteX65" fmla="*/ 3986213 w 8801100"/>
                  <a:gd name="connsiteY65" fmla="*/ 519113 h 4019550"/>
                  <a:gd name="connsiteX66" fmla="*/ 4010025 w 8801100"/>
                  <a:gd name="connsiteY66" fmla="*/ 454818 h 4019550"/>
                  <a:gd name="connsiteX67" fmla="*/ 3971925 w 8801100"/>
                  <a:gd name="connsiteY67" fmla="*/ 457200 h 4019550"/>
                  <a:gd name="connsiteX68" fmla="*/ 3852863 w 8801100"/>
                  <a:gd name="connsiteY68" fmla="*/ 400050 h 4019550"/>
                  <a:gd name="connsiteX69" fmla="*/ 3814762 w 8801100"/>
                  <a:gd name="connsiteY69" fmla="*/ 404812 h 4019550"/>
                  <a:gd name="connsiteX70" fmla="*/ 3609975 w 8801100"/>
                  <a:gd name="connsiteY70" fmla="*/ 295275 h 4019550"/>
                  <a:gd name="connsiteX71" fmla="*/ 3505200 w 8801100"/>
                  <a:gd name="connsiteY71" fmla="*/ 264319 h 4019550"/>
                  <a:gd name="connsiteX72" fmla="*/ 3440906 w 8801100"/>
                  <a:gd name="connsiteY72" fmla="*/ 273843 h 4019550"/>
                  <a:gd name="connsiteX73" fmla="*/ 3409950 w 8801100"/>
                  <a:gd name="connsiteY73" fmla="*/ 209550 h 4019550"/>
                  <a:gd name="connsiteX74" fmla="*/ 3352800 w 8801100"/>
                  <a:gd name="connsiteY74" fmla="*/ 209550 h 4019550"/>
                  <a:gd name="connsiteX75" fmla="*/ 3214687 w 8801100"/>
                  <a:gd name="connsiteY75" fmla="*/ 104775 h 4019550"/>
                  <a:gd name="connsiteX76" fmla="*/ 3181350 w 8801100"/>
                  <a:gd name="connsiteY76" fmla="*/ 164307 h 4019550"/>
                  <a:gd name="connsiteX77" fmla="*/ 3126581 w 8801100"/>
                  <a:gd name="connsiteY77" fmla="*/ 233363 h 4019550"/>
                  <a:gd name="connsiteX78" fmla="*/ 3083719 w 8801100"/>
                  <a:gd name="connsiteY78" fmla="*/ 250031 h 4019550"/>
                  <a:gd name="connsiteX79" fmla="*/ 3052763 w 8801100"/>
                  <a:gd name="connsiteY79" fmla="*/ 242888 h 4019550"/>
                  <a:gd name="connsiteX80" fmla="*/ 3028950 w 8801100"/>
                  <a:gd name="connsiteY80" fmla="*/ 271463 h 4019550"/>
                  <a:gd name="connsiteX81" fmla="*/ 3002756 w 8801100"/>
                  <a:gd name="connsiteY81" fmla="*/ 350044 h 4019550"/>
                  <a:gd name="connsiteX82" fmla="*/ 2959894 w 8801100"/>
                  <a:gd name="connsiteY82" fmla="*/ 347663 h 4019550"/>
                  <a:gd name="connsiteX83" fmla="*/ 2928937 w 8801100"/>
                  <a:gd name="connsiteY83" fmla="*/ 409575 h 4019550"/>
                  <a:gd name="connsiteX84" fmla="*/ 2924175 w 8801100"/>
                  <a:gd name="connsiteY84" fmla="*/ 473869 h 4019550"/>
                  <a:gd name="connsiteX85" fmla="*/ 2897982 w 8801100"/>
                  <a:gd name="connsiteY85" fmla="*/ 511969 h 4019550"/>
                  <a:gd name="connsiteX86" fmla="*/ 2924175 w 8801100"/>
                  <a:gd name="connsiteY86" fmla="*/ 571500 h 4019550"/>
                  <a:gd name="connsiteX87" fmla="*/ 2926556 w 8801100"/>
                  <a:gd name="connsiteY87" fmla="*/ 640556 h 4019550"/>
                  <a:gd name="connsiteX88" fmla="*/ 2955131 w 8801100"/>
                  <a:gd name="connsiteY88" fmla="*/ 692944 h 4019550"/>
                  <a:gd name="connsiteX89" fmla="*/ 3002757 w 8801100"/>
                  <a:gd name="connsiteY89" fmla="*/ 747713 h 4019550"/>
                  <a:gd name="connsiteX90" fmla="*/ 2952750 w 8801100"/>
                  <a:gd name="connsiteY90" fmla="*/ 885825 h 4019550"/>
                  <a:gd name="connsiteX91" fmla="*/ 2883694 w 8801100"/>
                  <a:gd name="connsiteY91" fmla="*/ 952500 h 4019550"/>
                  <a:gd name="connsiteX92" fmla="*/ 2812256 w 8801100"/>
                  <a:gd name="connsiteY92" fmla="*/ 947738 h 4019550"/>
                  <a:gd name="connsiteX93" fmla="*/ 2774156 w 8801100"/>
                  <a:gd name="connsiteY93" fmla="*/ 1004888 h 4019550"/>
                  <a:gd name="connsiteX94" fmla="*/ 2714625 w 8801100"/>
                  <a:gd name="connsiteY94" fmla="*/ 1019175 h 4019550"/>
                  <a:gd name="connsiteX95" fmla="*/ 2645569 w 8801100"/>
                  <a:gd name="connsiteY95" fmla="*/ 959644 h 4019550"/>
                  <a:gd name="connsiteX96" fmla="*/ 2590800 w 8801100"/>
                  <a:gd name="connsiteY96" fmla="*/ 931069 h 4019550"/>
                  <a:gd name="connsiteX97" fmla="*/ 2547938 w 8801100"/>
                  <a:gd name="connsiteY97" fmla="*/ 945356 h 4019550"/>
                  <a:gd name="connsiteX98" fmla="*/ 2495550 w 8801100"/>
                  <a:gd name="connsiteY98" fmla="*/ 928688 h 4019550"/>
                  <a:gd name="connsiteX99" fmla="*/ 2428875 w 8801100"/>
                  <a:gd name="connsiteY99" fmla="*/ 873919 h 4019550"/>
                  <a:gd name="connsiteX100" fmla="*/ 2383631 w 8801100"/>
                  <a:gd name="connsiteY100" fmla="*/ 885825 h 4019550"/>
                  <a:gd name="connsiteX101" fmla="*/ 2362200 w 8801100"/>
                  <a:gd name="connsiteY101" fmla="*/ 854869 h 4019550"/>
                  <a:gd name="connsiteX102" fmla="*/ 2305050 w 8801100"/>
                  <a:gd name="connsiteY102" fmla="*/ 895350 h 4019550"/>
                  <a:gd name="connsiteX103" fmla="*/ 2188369 w 8801100"/>
                  <a:gd name="connsiteY103" fmla="*/ 873919 h 4019550"/>
                  <a:gd name="connsiteX104" fmla="*/ 2138363 w 8801100"/>
                  <a:gd name="connsiteY104" fmla="*/ 821531 h 4019550"/>
                  <a:gd name="connsiteX105" fmla="*/ 2095500 w 8801100"/>
                  <a:gd name="connsiteY105" fmla="*/ 807244 h 4019550"/>
                  <a:gd name="connsiteX106" fmla="*/ 2052638 w 8801100"/>
                  <a:gd name="connsiteY106" fmla="*/ 833438 h 4019550"/>
                  <a:gd name="connsiteX107" fmla="*/ 2000250 w 8801100"/>
                  <a:gd name="connsiteY107" fmla="*/ 742950 h 4019550"/>
                  <a:gd name="connsiteX108" fmla="*/ 1990725 w 8801100"/>
                  <a:gd name="connsiteY108" fmla="*/ 595312 h 4019550"/>
                  <a:gd name="connsiteX109" fmla="*/ 1938337 w 8801100"/>
                  <a:gd name="connsiteY109" fmla="*/ 588168 h 4019550"/>
                  <a:gd name="connsiteX110" fmla="*/ 1847850 w 8801100"/>
                  <a:gd name="connsiteY110" fmla="*/ 578644 h 4019550"/>
                  <a:gd name="connsiteX111" fmla="*/ 1793081 w 8801100"/>
                  <a:gd name="connsiteY111" fmla="*/ 540544 h 4019550"/>
                  <a:gd name="connsiteX112" fmla="*/ 1724025 w 8801100"/>
                  <a:gd name="connsiteY112" fmla="*/ 550069 h 4019550"/>
                  <a:gd name="connsiteX113" fmla="*/ 1678781 w 8801100"/>
                  <a:gd name="connsiteY113" fmla="*/ 523875 h 4019550"/>
                  <a:gd name="connsiteX114" fmla="*/ 1669257 w 8801100"/>
                  <a:gd name="connsiteY114" fmla="*/ 452438 h 4019550"/>
                  <a:gd name="connsiteX115" fmla="*/ 1645444 w 8801100"/>
                  <a:gd name="connsiteY115" fmla="*/ 438150 h 4019550"/>
                  <a:gd name="connsiteX116" fmla="*/ 1607344 w 8801100"/>
                  <a:gd name="connsiteY116" fmla="*/ 485774 h 4019550"/>
                  <a:gd name="connsiteX117" fmla="*/ 1528762 w 8801100"/>
                  <a:gd name="connsiteY117" fmla="*/ 411956 h 4019550"/>
                  <a:gd name="connsiteX118" fmla="*/ 1488281 w 8801100"/>
                  <a:gd name="connsiteY118" fmla="*/ 452438 h 4019550"/>
                  <a:gd name="connsiteX119" fmla="*/ 1412081 w 8801100"/>
                  <a:gd name="connsiteY119" fmla="*/ 438150 h 4019550"/>
                  <a:gd name="connsiteX120" fmla="*/ 1333500 w 8801100"/>
                  <a:gd name="connsiteY120" fmla="*/ 464344 h 4019550"/>
                  <a:gd name="connsiteX121" fmla="*/ 1273969 w 8801100"/>
                  <a:gd name="connsiteY121" fmla="*/ 511968 h 4019550"/>
                  <a:gd name="connsiteX122" fmla="*/ 1200150 w 8801100"/>
                  <a:gd name="connsiteY122" fmla="*/ 523875 h 4019550"/>
                  <a:gd name="connsiteX123" fmla="*/ 1164431 w 8801100"/>
                  <a:gd name="connsiteY123" fmla="*/ 516731 h 4019550"/>
                  <a:gd name="connsiteX124" fmla="*/ 1085851 w 8801100"/>
                  <a:gd name="connsiteY124" fmla="*/ 547688 h 4019550"/>
                  <a:gd name="connsiteX125" fmla="*/ 1064419 w 8801100"/>
                  <a:gd name="connsiteY125" fmla="*/ 576263 h 4019550"/>
                  <a:gd name="connsiteX126" fmla="*/ 997744 w 8801100"/>
                  <a:gd name="connsiteY126" fmla="*/ 566738 h 4019550"/>
                  <a:gd name="connsiteX127" fmla="*/ 928688 w 8801100"/>
                  <a:gd name="connsiteY127" fmla="*/ 590550 h 4019550"/>
                  <a:gd name="connsiteX128" fmla="*/ 873919 w 8801100"/>
                  <a:gd name="connsiteY128" fmla="*/ 628650 h 4019550"/>
                  <a:gd name="connsiteX129" fmla="*/ 778669 w 8801100"/>
                  <a:gd name="connsiteY129" fmla="*/ 642937 h 4019550"/>
                  <a:gd name="connsiteX130" fmla="*/ 764381 w 8801100"/>
                  <a:gd name="connsiteY130" fmla="*/ 664369 h 4019550"/>
                  <a:gd name="connsiteX131" fmla="*/ 776287 w 8801100"/>
                  <a:gd name="connsiteY131" fmla="*/ 709613 h 4019550"/>
                  <a:gd name="connsiteX132" fmla="*/ 676276 w 8801100"/>
                  <a:gd name="connsiteY132" fmla="*/ 762000 h 4019550"/>
                  <a:gd name="connsiteX133" fmla="*/ 638175 w 8801100"/>
                  <a:gd name="connsiteY133" fmla="*/ 733424 h 4019550"/>
                  <a:gd name="connsiteX134" fmla="*/ 607219 w 8801100"/>
                  <a:gd name="connsiteY134" fmla="*/ 790575 h 4019550"/>
                  <a:gd name="connsiteX135" fmla="*/ 550069 w 8801100"/>
                  <a:gd name="connsiteY135" fmla="*/ 752475 h 4019550"/>
                  <a:gd name="connsiteX136" fmla="*/ 514350 w 8801100"/>
                  <a:gd name="connsiteY136" fmla="*/ 781050 h 4019550"/>
                  <a:gd name="connsiteX137" fmla="*/ 478631 w 8801100"/>
                  <a:gd name="connsiteY137" fmla="*/ 745331 h 4019550"/>
                  <a:gd name="connsiteX138" fmla="*/ 426244 w 8801100"/>
                  <a:gd name="connsiteY138" fmla="*/ 757238 h 4019550"/>
                  <a:gd name="connsiteX139" fmla="*/ 381000 w 8801100"/>
                  <a:gd name="connsiteY139" fmla="*/ 728663 h 4019550"/>
                  <a:gd name="connsiteX140" fmla="*/ 357188 w 8801100"/>
                  <a:gd name="connsiteY140" fmla="*/ 747713 h 4019550"/>
                  <a:gd name="connsiteX141" fmla="*/ 333375 w 8801100"/>
                  <a:gd name="connsiteY141" fmla="*/ 807244 h 4019550"/>
                  <a:gd name="connsiteX142" fmla="*/ 261938 w 8801100"/>
                  <a:gd name="connsiteY142" fmla="*/ 845343 h 4019550"/>
                  <a:gd name="connsiteX143" fmla="*/ 209550 w 8801100"/>
                  <a:gd name="connsiteY143" fmla="*/ 816769 h 4019550"/>
                  <a:gd name="connsiteX144" fmla="*/ 119063 w 8801100"/>
                  <a:gd name="connsiteY144" fmla="*/ 826294 h 4019550"/>
                  <a:gd name="connsiteX145" fmla="*/ 71437 w 8801100"/>
                  <a:gd name="connsiteY145" fmla="*/ 792957 h 4019550"/>
                  <a:gd name="connsiteX146" fmla="*/ 0 w 8801100"/>
                  <a:gd name="connsiteY146" fmla="*/ 812006 h 4019550"/>
                  <a:gd name="connsiteX147" fmla="*/ 4762 w 8801100"/>
                  <a:gd name="connsiteY147" fmla="*/ 0 h 4019550"/>
                  <a:gd name="connsiteX148" fmla="*/ 6062662 w 8801100"/>
                  <a:gd name="connsiteY148" fmla="*/ 4019550 h 4019550"/>
                  <a:gd name="connsiteX149" fmla="*/ 6196012 w 8801100"/>
                  <a:gd name="connsiteY149" fmla="*/ 3921919 h 4019550"/>
                  <a:gd name="connsiteX150" fmla="*/ 6262687 w 8801100"/>
                  <a:gd name="connsiteY150" fmla="*/ 3914775 h 4019550"/>
                  <a:gd name="connsiteX151" fmla="*/ 6360319 w 8801100"/>
                  <a:gd name="connsiteY151" fmla="*/ 3840956 h 4019550"/>
                  <a:gd name="connsiteX152" fmla="*/ 6434138 w 8801100"/>
                  <a:gd name="connsiteY152" fmla="*/ 3771900 h 4019550"/>
                  <a:gd name="connsiteX153" fmla="*/ 6443663 w 8801100"/>
                  <a:gd name="connsiteY153" fmla="*/ 3709988 h 4019550"/>
                  <a:gd name="connsiteX154" fmla="*/ 6477000 w 8801100"/>
                  <a:gd name="connsiteY154" fmla="*/ 3640931 h 4019550"/>
                  <a:gd name="connsiteX155" fmla="*/ 6629400 w 8801100"/>
                  <a:gd name="connsiteY155" fmla="*/ 3533775 h 4019550"/>
                  <a:gd name="connsiteX156" fmla="*/ 6662738 w 8801100"/>
                  <a:gd name="connsiteY156" fmla="*/ 3538538 h 4019550"/>
                  <a:gd name="connsiteX157" fmla="*/ 6715125 w 8801100"/>
                  <a:gd name="connsiteY157" fmla="*/ 3459956 h 4019550"/>
                  <a:gd name="connsiteX158" fmla="*/ 6762750 w 8801100"/>
                  <a:gd name="connsiteY158" fmla="*/ 3421856 h 4019550"/>
                  <a:gd name="connsiteX159" fmla="*/ 6748463 w 8801100"/>
                  <a:gd name="connsiteY159" fmla="*/ 3352800 h 4019550"/>
                  <a:gd name="connsiteX160" fmla="*/ 6698456 w 8801100"/>
                  <a:gd name="connsiteY160" fmla="*/ 3321843 h 4019550"/>
                  <a:gd name="connsiteX161" fmla="*/ 6638925 w 8801100"/>
                  <a:gd name="connsiteY161" fmla="*/ 3267075 h 4019550"/>
                  <a:gd name="connsiteX162" fmla="*/ 6619875 w 8801100"/>
                  <a:gd name="connsiteY162" fmla="*/ 3209925 h 4019550"/>
                  <a:gd name="connsiteX163" fmla="*/ 6584156 w 8801100"/>
                  <a:gd name="connsiteY163" fmla="*/ 3176588 h 4019550"/>
                  <a:gd name="connsiteX164" fmla="*/ 6610350 w 8801100"/>
                  <a:gd name="connsiteY164" fmla="*/ 3124200 h 4019550"/>
                  <a:gd name="connsiteX165" fmla="*/ 6650831 w 8801100"/>
                  <a:gd name="connsiteY165" fmla="*/ 2945606 h 4019550"/>
                  <a:gd name="connsiteX166" fmla="*/ 6691313 w 8801100"/>
                  <a:gd name="connsiteY166" fmla="*/ 2878931 h 4019550"/>
                  <a:gd name="connsiteX167" fmla="*/ 6836569 w 8801100"/>
                  <a:gd name="connsiteY167" fmla="*/ 2862262 h 4019550"/>
                  <a:gd name="connsiteX168" fmla="*/ 6905625 w 8801100"/>
                  <a:gd name="connsiteY168" fmla="*/ 2919413 h 4019550"/>
                  <a:gd name="connsiteX169" fmla="*/ 6981825 w 8801100"/>
                  <a:gd name="connsiteY169" fmla="*/ 2943225 h 4019550"/>
                  <a:gd name="connsiteX170" fmla="*/ 7186612 w 8801100"/>
                  <a:gd name="connsiteY170" fmla="*/ 2947988 h 4019550"/>
                  <a:gd name="connsiteX171" fmla="*/ 7362825 w 8801100"/>
                  <a:gd name="connsiteY171" fmla="*/ 2809875 h 4019550"/>
                  <a:gd name="connsiteX172" fmla="*/ 7419975 w 8801100"/>
                  <a:gd name="connsiteY172" fmla="*/ 2719387 h 4019550"/>
                  <a:gd name="connsiteX173" fmla="*/ 7446169 w 8801100"/>
                  <a:gd name="connsiteY173" fmla="*/ 2636044 h 4019550"/>
                  <a:gd name="connsiteX174" fmla="*/ 7577137 w 8801100"/>
                  <a:gd name="connsiteY174" fmla="*/ 2636044 h 4019550"/>
                  <a:gd name="connsiteX175" fmla="*/ 7750969 w 8801100"/>
                  <a:gd name="connsiteY175" fmla="*/ 2578893 h 4019550"/>
                  <a:gd name="connsiteX176" fmla="*/ 7810500 w 8801100"/>
                  <a:gd name="connsiteY176" fmla="*/ 2466975 h 4019550"/>
                  <a:gd name="connsiteX177" fmla="*/ 7874794 w 8801100"/>
                  <a:gd name="connsiteY177" fmla="*/ 2431256 h 4019550"/>
                  <a:gd name="connsiteX178" fmla="*/ 7853363 w 8801100"/>
                  <a:gd name="connsiteY178" fmla="*/ 2386013 h 4019550"/>
                  <a:gd name="connsiteX179" fmla="*/ 7931944 w 8801100"/>
                  <a:gd name="connsiteY179" fmla="*/ 2216943 h 4019550"/>
                  <a:gd name="connsiteX180" fmla="*/ 7986713 w 8801100"/>
                  <a:gd name="connsiteY180" fmla="*/ 2157413 h 4019550"/>
                  <a:gd name="connsiteX181" fmla="*/ 8024813 w 8801100"/>
                  <a:gd name="connsiteY181" fmla="*/ 2152650 h 4019550"/>
                  <a:gd name="connsiteX182" fmla="*/ 8070056 w 8801100"/>
                  <a:gd name="connsiteY182" fmla="*/ 2157413 h 4019550"/>
                  <a:gd name="connsiteX183" fmla="*/ 8134350 w 8801100"/>
                  <a:gd name="connsiteY183" fmla="*/ 2124075 h 4019550"/>
                  <a:gd name="connsiteX184" fmla="*/ 8143875 w 8801100"/>
                  <a:gd name="connsiteY184" fmla="*/ 2059781 h 4019550"/>
                  <a:gd name="connsiteX185" fmla="*/ 8184355 w 8801100"/>
                  <a:gd name="connsiteY185" fmla="*/ 2024063 h 4019550"/>
                  <a:gd name="connsiteX186" fmla="*/ 8243888 w 8801100"/>
                  <a:gd name="connsiteY186" fmla="*/ 2064543 h 4019550"/>
                  <a:gd name="connsiteX187" fmla="*/ 8270082 w 8801100"/>
                  <a:gd name="connsiteY187" fmla="*/ 2014537 h 4019550"/>
                  <a:gd name="connsiteX188" fmla="*/ 8365331 w 8801100"/>
                  <a:gd name="connsiteY188" fmla="*/ 1945481 h 4019550"/>
                  <a:gd name="connsiteX189" fmla="*/ 8427244 w 8801100"/>
                  <a:gd name="connsiteY189" fmla="*/ 1952625 h 4019550"/>
                  <a:gd name="connsiteX190" fmla="*/ 8477250 w 8801100"/>
                  <a:gd name="connsiteY190" fmla="*/ 1933575 h 4019550"/>
                  <a:gd name="connsiteX191" fmla="*/ 8515350 w 8801100"/>
                  <a:gd name="connsiteY191" fmla="*/ 1905000 h 4019550"/>
                  <a:gd name="connsiteX192" fmla="*/ 8548688 w 8801100"/>
                  <a:gd name="connsiteY192" fmla="*/ 1902619 h 4019550"/>
                  <a:gd name="connsiteX193" fmla="*/ 8584406 w 8801100"/>
                  <a:gd name="connsiteY193" fmla="*/ 1933575 h 4019550"/>
                  <a:gd name="connsiteX194" fmla="*/ 8643938 w 8801100"/>
                  <a:gd name="connsiteY194" fmla="*/ 1933575 h 4019550"/>
                  <a:gd name="connsiteX195" fmla="*/ 8682037 w 8801100"/>
                  <a:gd name="connsiteY195" fmla="*/ 1914525 h 4019550"/>
                  <a:gd name="connsiteX196" fmla="*/ 8765381 w 8801100"/>
                  <a:gd name="connsiteY196" fmla="*/ 1916907 h 4019550"/>
                  <a:gd name="connsiteX197" fmla="*/ 8796338 w 8801100"/>
                  <a:gd name="connsiteY197" fmla="*/ 1871663 h 4019550"/>
                  <a:gd name="connsiteX198" fmla="*/ 8801100 w 8801100"/>
                  <a:gd name="connsiteY198" fmla="*/ 1809750 h 4019550"/>
                  <a:gd name="connsiteX199" fmla="*/ 8751093 w 8801100"/>
                  <a:gd name="connsiteY199" fmla="*/ 1769269 h 4019550"/>
                  <a:gd name="connsiteX200" fmla="*/ 8734425 w 8801100"/>
                  <a:gd name="connsiteY200" fmla="*/ 1714500 h 4019550"/>
                  <a:gd name="connsiteX201" fmla="*/ 8643938 w 8801100"/>
                  <a:gd name="connsiteY201" fmla="*/ 1652588 h 4019550"/>
                  <a:gd name="connsiteX202" fmla="*/ 8603456 w 8801100"/>
                  <a:gd name="connsiteY202" fmla="*/ 1631156 h 4019550"/>
                  <a:gd name="connsiteX203" fmla="*/ 8565356 w 8801100"/>
                  <a:gd name="connsiteY203" fmla="*/ 1585913 h 4019550"/>
                  <a:gd name="connsiteX204" fmla="*/ 8534400 w 8801100"/>
                  <a:gd name="connsiteY204" fmla="*/ 1583531 h 4019550"/>
                  <a:gd name="connsiteX205" fmla="*/ 8517731 w 8801100"/>
                  <a:gd name="connsiteY205" fmla="*/ 1531144 h 4019550"/>
                  <a:gd name="connsiteX206" fmla="*/ 8477250 w 8801100"/>
                  <a:gd name="connsiteY206" fmla="*/ 1514475 h 4019550"/>
                  <a:gd name="connsiteX207" fmla="*/ 8477250 w 8801100"/>
                  <a:gd name="connsiteY207" fmla="*/ 1514475 h 4019550"/>
                  <a:gd name="connsiteX208" fmla="*/ 8436769 w 8801100"/>
                  <a:gd name="connsiteY208" fmla="*/ 1519238 h 4019550"/>
                  <a:gd name="connsiteX209" fmla="*/ 8351043 w 8801100"/>
                  <a:gd name="connsiteY209" fmla="*/ 1445419 h 4019550"/>
                  <a:gd name="connsiteX210" fmla="*/ 8170069 w 8801100"/>
                  <a:gd name="connsiteY210" fmla="*/ 1445418 h 4019550"/>
                  <a:gd name="connsiteX211" fmla="*/ 8117681 w 8801100"/>
                  <a:gd name="connsiteY211" fmla="*/ 1483519 h 4019550"/>
                  <a:gd name="connsiteX212" fmla="*/ 8067675 w 8801100"/>
                  <a:gd name="connsiteY212" fmla="*/ 1562100 h 4019550"/>
                  <a:gd name="connsiteX213" fmla="*/ 8084344 w 8801100"/>
                  <a:gd name="connsiteY213" fmla="*/ 1583531 h 4019550"/>
                  <a:gd name="connsiteX214" fmla="*/ 8039100 w 8801100"/>
                  <a:gd name="connsiteY214" fmla="*/ 1633537 h 4019550"/>
                  <a:gd name="connsiteX215" fmla="*/ 7889081 w 8801100"/>
                  <a:gd name="connsiteY215" fmla="*/ 1557337 h 4019550"/>
                  <a:gd name="connsiteX216" fmla="*/ 7798594 w 8801100"/>
                  <a:gd name="connsiteY216" fmla="*/ 1593056 h 4019550"/>
                  <a:gd name="connsiteX217" fmla="*/ 7724775 w 8801100"/>
                  <a:gd name="connsiteY217" fmla="*/ 1590675 h 4019550"/>
                  <a:gd name="connsiteX218" fmla="*/ 7667625 w 8801100"/>
                  <a:gd name="connsiteY218" fmla="*/ 1685925 h 4019550"/>
                  <a:gd name="connsiteX219" fmla="*/ 7529513 w 8801100"/>
                  <a:gd name="connsiteY219" fmla="*/ 1588294 h 4019550"/>
                  <a:gd name="connsiteX0" fmla="*/ 7529513 w 8801100"/>
                  <a:gd name="connsiteY0" fmla="*/ 1588294 h 3921919"/>
                  <a:gd name="connsiteX1" fmla="*/ 7522369 w 8801100"/>
                  <a:gd name="connsiteY1" fmla="*/ 1533525 h 3921919"/>
                  <a:gd name="connsiteX2" fmla="*/ 7589044 w 8801100"/>
                  <a:gd name="connsiteY2" fmla="*/ 1459706 h 3921919"/>
                  <a:gd name="connsiteX3" fmla="*/ 7572375 w 8801100"/>
                  <a:gd name="connsiteY3" fmla="*/ 1388269 h 3921919"/>
                  <a:gd name="connsiteX4" fmla="*/ 7586663 w 8801100"/>
                  <a:gd name="connsiteY4" fmla="*/ 1293019 h 3921919"/>
                  <a:gd name="connsiteX5" fmla="*/ 7624763 w 8801100"/>
                  <a:gd name="connsiteY5" fmla="*/ 1235869 h 3921919"/>
                  <a:gd name="connsiteX6" fmla="*/ 7605712 w 8801100"/>
                  <a:gd name="connsiteY6" fmla="*/ 1202531 h 3921919"/>
                  <a:gd name="connsiteX7" fmla="*/ 7703343 w 8801100"/>
                  <a:gd name="connsiteY7" fmla="*/ 802481 h 3921919"/>
                  <a:gd name="connsiteX8" fmla="*/ 7696200 w 8801100"/>
                  <a:gd name="connsiteY8" fmla="*/ 773906 h 3921919"/>
                  <a:gd name="connsiteX9" fmla="*/ 7567613 w 8801100"/>
                  <a:gd name="connsiteY9" fmla="*/ 752475 h 3921919"/>
                  <a:gd name="connsiteX10" fmla="*/ 7384257 w 8801100"/>
                  <a:gd name="connsiteY10" fmla="*/ 831056 h 3921919"/>
                  <a:gd name="connsiteX11" fmla="*/ 7227093 w 8801100"/>
                  <a:gd name="connsiteY11" fmla="*/ 716756 h 3921919"/>
                  <a:gd name="connsiteX12" fmla="*/ 7150894 w 8801100"/>
                  <a:gd name="connsiteY12" fmla="*/ 723900 h 3921919"/>
                  <a:gd name="connsiteX13" fmla="*/ 7077075 w 8801100"/>
                  <a:gd name="connsiteY13" fmla="*/ 719138 h 3921919"/>
                  <a:gd name="connsiteX14" fmla="*/ 6938963 w 8801100"/>
                  <a:gd name="connsiteY14" fmla="*/ 823913 h 3921919"/>
                  <a:gd name="connsiteX15" fmla="*/ 6831806 w 8801100"/>
                  <a:gd name="connsiteY15" fmla="*/ 931069 h 3921919"/>
                  <a:gd name="connsiteX16" fmla="*/ 6788944 w 8801100"/>
                  <a:gd name="connsiteY16" fmla="*/ 1000125 h 3921919"/>
                  <a:gd name="connsiteX17" fmla="*/ 6796088 w 8801100"/>
                  <a:gd name="connsiteY17" fmla="*/ 1035844 h 3921919"/>
                  <a:gd name="connsiteX18" fmla="*/ 6734175 w 8801100"/>
                  <a:gd name="connsiteY18" fmla="*/ 1047750 h 3921919"/>
                  <a:gd name="connsiteX19" fmla="*/ 6753225 w 8801100"/>
                  <a:gd name="connsiteY19" fmla="*/ 1047750 h 3921919"/>
                  <a:gd name="connsiteX20" fmla="*/ 6719888 w 8801100"/>
                  <a:gd name="connsiteY20" fmla="*/ 1078706 h 3921919"/>
                  <a:gd name="connsiteX21" fmla="*/ 6619875 w 8801100"/>
                  <a:gd name="connsiteY21" fmla="*/ 1078707 h 3921919"/>
                  <a:gd name="connsiteX22" fmla="*/ 6524625 w 8801100"/>
                  <a:gd name="connsiteY22" fmla="*/ 1133475 h 3921919"/>
                  <a:gd name="connsiteX23" fmla="*/ 6443663 w 8801100"/>
                  <a:gd name="connsiteY23" fmla="*/ 1143000 h 3921919"/>
                  <a:gd name="connsiteX24" fmla="*/ 6403181 w 8801100"/>
                  <a:gd name="connsiteY24" fmla="*/ 1176338 h 3921919"/>
                  <a:gd name="connsiteX25" fmla="*/ 6353175 w 8801100"/>
                  <a:gd name="connsiteY25" fmla="*/ 1181100 h 3921919"/>
                  <a:gd name="connsiteX26" fmla="*/ 6231732 w 8801100"/>
                  <a:gd name="connsiteY26" fmla="*/ 1273969 h 3921919"/>
                  <a:gd name="connsiteX27" fmla="*/ 6172200 w 8801100"/>
                  <a:gd name="connsiteY27" fmla="*/ 1278731 h 3921919"/>
                  <a:gd name="connsiteX28" fmla="*/ 6119813 w 8801100"/>
                  <a:gd name="connsiteY28" fmla="*/ 1243013 h 3921919"/>
                  <a:gd name="connsiteX29" fmla="*/ 6093619 w 8801100"/>
                  <a:gd name="connsiteY29" fmla="*/ 1278731 h 3921919"/>
                  <a:gd name="connsiteX30" fmla="*/ 5895975 w 8801100"/>
                  <a:gd name="connsiteY30" fmla="*/ 1271588 h 3921919"/>
                  <a:gd name="connsiteX31" fmla="*/ 5834063 w 8801100"/>
                  <a:gd name="connsiteY31" fmla="*/ 1226344 h 3921919"/>
                  <a:gd name="connsiteX32" fmla="*/ 5636419 w 8801100"/>
                  <a:gd name="connsiteY32" fmla="*/ 1243013 h 3921919"/>
                  <a:gd name="connsiteX33" fmla="*/ 5548313 w 8801100"/>
                  <a:gd name="connsiteY33" fmla="*/ 1159668 h 3921919"/>
                  <a:gd name="connsiteX34" fmla="*/ 5472113 w 8801100"/>
                  <a:gd name="connsiteY34" fmla="*/ 1114425 h 3921919"/>
                  <a:gd name="connsiteX35" fmla="*/ 5474493 w 8801100"/>
                  <a:gd name="connsiteY35" fmla="*/ 1057275 h 3921919"/>
                  <a:gd name="connsiteX36" fmla="*/ 5455444 w 8801100"/>
                  <a:gd name="connsiteY36" fmla="*/ 1014412 h 3921919"/>
                  <a:gd name="connsiteX37" fmla="*/ 5360194 w 8801100"/>
                  <a:gd name="connsiteY37" fmla="*/ 1016794 h 3921919"/>
                  <a:gd name="connsiteX38" fmla="*/ 5264944 w 8801100"/>
                  <a:gd name="connsiteY38" fmla="*/ 995363 h 3921919"/>
                  <a:gd name="connsiteX39" fmla="*/ 5195887 w 8801100"/>
                  <a:gd name="connsiteY39" fmla="*/ 928687 h 3921919"/>
                  <a:gd name="connsiteX40" fmla="*/ 5160169 w 8801100"/>
                  <a:gd name="connsiteY40" fmla="*/ 885825 h 3921919"/>
                  <a:gd name="connsiteX41" fmla="*/ 5079206 w 8801100"/>
                  <a:gd name="connsiteY41" fmla="*/ 862012 h 3921919"/>
                  <a:gd name="connsiteX42" fmla="*/ 5005388 w 8801100"/>
                  <a:gd name="connsiteY42" fmla="*/ 873918 h 3921919"/>
                  <a:gd name="connsiteX43" fmla="*/ 4948237 w 8801100"/>
                  <a:gd name="connsiteY43" fmla="*/ 821531 h 3921919"/>
                  <a:gd name="connsiteX44" fmla="*/ 4852988 w 8801100"/>
                  <a:gd name="connsiteY44" fmla="*/ 833438 h 3921919"/>
                  <a:gd name="connsiteX45" fmla="*/ 4800600 w 8801100"/>
                  <a:gd name="connsiteY45" fmla="*/ 807244 h 3921919"/>
                  <a:gd name="connsiteX46" fmla="*/ 4719638 w 8801100"/>
                  <a:gd name="connsiteY46" fmla="*/ 850106 h 3921919"/>
                  <a:gd name="connsiteX47" fmla="*/ 4581525 w 8801100"/>
                  <a:gd name="connsiteY47" fmla="*/ 873919 h 3921919"/>
                  <a:gd name="connsiteX48" fmla="*/ 4452938 w 8801100"/>
                  <a:gd name="connsiteY48" fmla="*/ 966788 h 3921919"/>
                  <a:gd name="connsiteX49" fmla="*/ 4405312 w 8801100"/>
                  <a:gd name="connsiteY49" fmla="*/ 928688 h 3921919"/>
                  <a:gd name="connsiteX50" fmla="*/ 4383881 w 8801100"/>
                  <a:gd name="connsiteY50" fmla="*/ 959643 h 3921919"/>
                  <a:gd name="connsiteX51" fmla="*/ 4310063 w 8801100"/>
                  <a:gd name="connsiteY51" fmla="*/ 909638 h 3921919"/>
                  <a:gd name="connsiteX52" fmla="*/ 4271963 w 8801100"/>
                  <a:gd name="connsiteY52" fmla="*/ 916781 h 3921919"/>
                  <a:gd name="connsiteX53" fmla="*/ 4250531 w 8801100"/>
                  <a:gd name="connsiteY53" fmla="*/ 878681 h 3921919"/>
                  <a:gd name="connsiteX54" fmla="*/ 4191000 w 8801100"/>
                  <a:gd name="connsiteY54" fmla="*/ 883444 h 3921919"/>
                  <a:gd name="connsiteX55" fmla="*/ 4145756 w 8801100"/>
                  <a:gd name="connsiteY55" fmla="*/ 854869 h 3921919"/>
                  <a:gd name="connsiteX56" fmla="*/ 4107656 w 8801100"/>
                  <a:gd name="connsiteY56" fmla="*/ 852488 h 3921919"/>
                  <a:gd name="connsiteX57" fmla="*/ 4088606 w 8801100"/>
                  <a:gd name="connsiteY57" fmla="*/ 804862 h 3921919"/>
                  <a:gd name="connsiteX58" fmla="*/ 4074319 w 8801100"/>
                  <a:gd name="connsiteY58" fmla="*/ 773906 h 3921919"/>
                  <a:gd name="connsiteX59" fmla="*/ 4029075 w 8801100"/>
                  <a:gd name="connsiteY59" fmla="*/ 783431 h 3921919"/>
                  <a:gd name="connsiteX60" fmla="*/ 4010025 w 8801100"/>
                  <a:gd name="connsiteY60" fmla="*/ 747713 h 3921919"/>
                  <a:gd name="connsiteX61" fmla="*/ 4031457 w 8801100"/>
                  <a:gd name="connsiteY61" fmla="*/ 692944 h 3921919"/>
                  <a:gd name="connsiteX62" fmla="*/ 4000500 w 8801100"/>
                  <a:gd name="connsiteY62" fmla="*/ 666750 h 3921919"/>
                  <a:gd name="connsiteX63" fmla="*/ 4017169 w 8801100"/>
                  <a:gd name="connsiteY63" fmla="*/ 623888 h 3921919"/>
                  <a:gd name="connsiteX64" fmla="*/ 3990975 w 8801100"/>
                  <a:gd name="connsiteY64" fmla="*/ 581025 h 3921919"/>
                  <a:gd name="connsiteX65" fmla="*/ 3986213 w 8801100"/>
                  <a:gd name="connsiteY65" fmla="*/ 519113 h 3921919"/>
                  <a:gd name="connsiteX66" fmla="*/ 4010025 w 8801100"/>
                  <a:gd name="connsiteY66" fmla="*/ 454818 h 3921919"/>
                  <a:gd name="connsiteX67" fmla="*/ 3971925 w 8801100"/>
                  <a:gd name="connsiteY67" fmla="*/ 457200 h 3921919"/>
                  <a:gd name="connsiteX68" fmla="*/ 3852863 w 8801100"/>
                  <a:gd name="connsiteY68" fmla="*/ 400050 h 3921919"/>
                  <a:gd name="connsiteX69" fmla="*/ 3814762 w 8801100"/>
                  <a:gd name="connsiteY69" fmla="*/ 404812 h 3921919"/>
                  <a:gd name="connsiteX70" fmla="*/ 3609975 w 8801100"/>
                  <a:gd name="connsiteY70" fmla="*/ 295275 h 3921919"/>
                  <a:gd name="connsiteX71" fmla="*/ 3505200 w 8801100"/>
                  <a:gd name="connsiteY71" fmla="*/ 264319 h 3921919"/>
                  <a:gd name="connsiteX72" fmla="*/ 3440906 w 8801100"/>
                  <a:gd name="connsiteY72" fmla="*/ 273843 h 3921919"/>
                  <a:gd name="connsiteX73" fmla="*/ 3409950 w 8801100"/>
                  <a:gd name="connsiteY73" fmla="*/ 209550 h 3921919"/>
                  <a:gd name="connsiteX74" fmla="*/ 3352800 w 8801100"/>
                  <a:gd name="connsiteY74" fmla="*/ 209550 h 3921919"/>
                  <a:gd name="connsiteX75" fmla="*/ 3214687 w 8801100"/>
                  <a:gd name="connsiteY75" fmla="*/ 104775 h 3921919"/>
                  <a:gd name="connsiteX76" fmla="*/ 3181350 w 8801100"/>
                  <a:gd name="connsiteY76" fmla="*/ 164307 h 3921919"/>
                  <a:gd name="connsiteX77" fmla="*/ 3126581 w 8801100"/>
                  <a:gd name="connsiteY77" fmla="*/ 233363 h 3921919"/>
                  <a:gd name="connsiteX78" fmla="*/ 3083719 w 8801100"/>
                  <a:gd name="connsiteY78" fmla="*/ 250031 h 3921919"/>
                  <a:gd name="connsiteX79" fmla="*/ 3052763 w 8801100"/>
                  <a:gd name="connsiteY79" fmla="*/ 242888 h 3921919"/>
                  <a:gd name="connsiteX80" fmla="*/ 3028950 w 8801100"/>
                  <a:gd name="connsiteY80" fmla="*/ 271463 h 3921919"/>
                  <a:gd name="connsiteX81" fmla="*/ 3002756 w 8801100"/>
                  <a:gd name="connsiteY81" fmla="*/ 350044 h 3921919"/>
                  <a:gd name="connsiteX82" fmla="*/ 2959894 w 8801100"/>
                  <a:gd name="connsiteY82" fmla="*/ 347663 h 3921919"/>
                  <a:gd name="connsiteX83" fmla="*/ 2928937 w 8801100"/>
                  <a:gd name="connsiteY83" fmla="*/ 409575 h 3921919"/>
                  <a:gd name="connsiteX84" fmla="*/ 2924175 w 8801100"/>
                  <a:gd name="connsiteY84" fmla="*/ 473869 h 3921919"/>
                  <a:gd name="connsiteX85" fmla="*/ 2897982 w 8801100"/>
                  <a:gd name="connsiteY85" fmla="*/ 511969 h 3921919"/>
                  <a:gd name="connsiteX86" fmla="*/ 2924175 w 8801100"/>
                  <a:gd name="connsiteY86" fmla="*/ 571500 h 3921919"/>
                  <a:gd name="connsiteX87" fmla="*/ 2926556 w 8801100"/>
                  <a:gd name="connsiteY87" fmla="*/ 640556 h 3921919"/>
                  <a:gd name="connsiteX88" fmla="*/ 2955131 w 8801100"/>
                  <a:gd name="connsiteY88" fmla="*/ 692944 h 3921919"/>
                  <a:gd name="connsiteX89" fmla="*/ 3002757 w 8801100"/>
                  <a:gd name="connsiteY89" fmla="*/ 747713 h 3921919"/>
                  <a:gd name="connsiteX90" fmla="*/ 2952750 w 8801100"/>
                  <a:gd name="connsiteY90" fmla="*/ 885825 h 3921919"/>
                  <a:gd name="connsiteX91" fmla="*/ 2883694 w 8801100"/>
                  <a:gd name="connsiteY91" fmla="*/ 952500 h 3921919"/>
                  <a:gd name="connsiteX92" fmla="*/ 2812256 w 8801100"/>
                  <a:gd name="connsiteY92" fmla="*/ 947738 h 3921919"/>
                  <a:gd name="connsiteX93" fmla="*/ 2774156 w 8801100"/>
                  <a:gd name="connsiteY93" fmla="*/ 1004888 h 3921919"/>
                  <a:gd name="connsiteX94" fmla="*/ 2714625 w 8801100"/>
                  <a:gd name="connsiteY94" fmla="*/ 1019175 h 3921919"/>
                  <a:gd name="connsiteX95" fmla="*/ 2645569 w 8801100"/>
                  <a:gd name="connsiteY95" fmla="*/ 959644 h 3921919"/>
                  <a:gd name="connsiteX96" fmla="*/ 2590800 w 8801100"/>
                  <a:gd name="connsiteY96" fmla="*/ 931069 h 3921919"/>
                  <a:gd name="connsiteX97" fmla="*/ 2547938 w 8801100"/>
                  <a:gd name="connsiteY97" fmla="*/ 945356 h 3921919"/>
                  <a:gd name="connsiteX98" fmla="*/ 2495550 w 8801100"/>
                  <a:gd name="connsiteY98" fmla="*/ 928688 h 3921919"/>
                  <a:gd name="connsiteX99" fmla="*/ 2428875 w 8801100"/>
                  <a:gd name="connsiteY99" fmla="*/ 873919 h 3921919"/>
                  <a:gd name="connsiteX100" fmla="*/ 2383631 w 8801100"/>
                  <a:gd name="connsiteY100" fmla="*/ 885825 h 3921919"/>
                  <a:gd name="connsiteX101" fmla="*/ 2362200 w 8801100"/>
                  <a:gd name="connsiteY101" fmla="*/ 854869 h 3921919"/>
                  <a:gd name="connsiteX102" fmla="*/ 2305050 w 8801100"/>
                  <a:gd name="connsiteY102" fmla="*/ 895350 h 3921919"/>
                  <a:gd name="connsiteX103" fmla="*/ 2188369 w 8801100"/>
                  <a:gd name="connsiteY103" fmla="*/ 873919 h 3921919"/>
                  <a:gd name="connsiteX104" fmla="*/ 2138363 w 8801100"/>
                  <a:gd name="connsiteY104" fmla="*/ 821531 h 3921919"/>
                  <a:gd name="connsiteX105" fmla="*/ 2095500 w 8801100"/>
                  <a:gd name="connsiteY105" fmla="*/ 807244 h 3921919"/>
                  <a:gd name="connsiteX106" fmla="*/ 2052638 w 8801100"/>
                  <a:gd name="connsiteY106" fmla="*/ 833438 h 3921919"/>
                  <a:gd name="connsiteX107" fmla="*/ 2000250 w 8801100"/>
                  <a:gd name="connsiteY107" fmla="*/ 742950 h 3921919"/>
                  <a:gd name="connsiteX108" fmla="*/ 1990725 w 8801100"/>
                  <a:gd name="connsiteY108" fmla="*/ 595312 h 3921919"/>
                  <a:gd name="connsiteX109" fmla="*/ 1938337 w 8801100"/>
                  <a:gd name="connsiteY109" fmla="*/ 588168 h 3921919"/>
                  <a:gd name="connsiteX110" fmla="*/ 1847850 w 8801100"/>
                  <a:gd name="connsiteY110" fmla="*/ 578644 h 3921919"/>
                  <a:gd name="connsiteX111" fmla="*/ 1793081 w 8801100"/>
                  <a:gd name="connsiteY111" fmla="*/ 540544 h 3921919"/>
                  <a:gd name="connsiteX112" fmla="*/ 1724025 w 8801100"/>
                  <a:gd name="connsiteY112" fmla="*/ 550069 h 3921919"/>
                  <a:gd name="connsiteX113" fmla="*/ 1678781 w 8801100"/>
                  <a:gd name="connsiteY113" fmla="*/ 523875 h 3921919"/>
                  <a:gd name="connsiteX114" fmla="*/ 1669257 w 8801100"/>
                  <a:gd name="connsiteY114" fmla="*/ 452438 h 3921919"/>
                  <a:gd name="connsiteX115" fmla="*/ 1645444 w 8801100"/>
                  <a:gd name="connsiteY115" fmla="*/ 438150 h 3921919"/>
                  <a:gd name="connsiteX116" fmla="*/ 1607344 w 8801100"/>
                  <a:gd name="connsiteY116" fmla="*/ 485774 h 3921919"/>
                  <a:gd name="connsiteX117" fmla="*/ 1528762 w 8801100"/>
                  <a:gd name="connsiteY117" fmla="*/ 411956 h 3921919"/>
                  <a:gd name="connsiteX118" fmla="*/ 1488281 w 8801100"/>
                  <a:gd name="connsiteY118" fmla="*/ 452438 h 3921919"/>
                  <a:gd name="connsiteX119" fmla="*/ 1412081 w 8801100"/>
                  <a:gd name="connsiteY119" fmla="*/ 438150 h 3921919"/>
                  <a:gd name="connsiteX120" fmla="*/ 1333500 w 8801100"/>
                  <a:gd name="connsiteY120" fmla="*/ 464344 h 3921919"/>
                  <a:gd name="connsiteX121" fmla="*/ 1273969 w 8801100"/>
                  <a:gd name="connsiteY121" fmla="*/ 511968 h 3921919"/>
                  <a:gd name="connsiteX122" fmla="*/ 1200150 w 8801100"/>
                  <a:gd name="connsiteY122" fmla="*/ 523875 h 3921919"/>
                  <a:gd name="connsiteX123" fmla="*/ 1164431 w 8801100"/>
                  <a:gd name="connsiteY123" fmla="*/ 516731 h 3921919"/>
                  <a:gd name="connsiteX124" fmla="*/ 1085851 w 8801100"/>
                  <a:gd name="connsiteY124" fmla="*/ 547688 h 3921919"/>
                  <a:gd name="connsiteX125" fmla="*/ 1064419 w 8801100"/>
                  <a:gd name="connsiteY125" fmla="*/ 576263 h 3921919"/>
                  <a:gd name="connsiteX126" fmla="*/ 997744 w 8801100"/>
                  <a:gd name="connsiteY126" fmla="*/ 566738 h 3921919"/>
                  <a:gd name="connsiteX127" fmla="*/ 928688 w 8801100"/>
                  <a:gd name="connsiteY127" fmla="*/ 590550 h 3921919"/>
                  <a:gd name="connsiteX128" fmla="*/ 873919 w 8801100"/>
                  <a:gd name="connsiteY128" fmla="*/ 628650 h 3921919"/>
                  <a:gd name="connsiteX129" fmla="*/ 778669 w 8801100"/>
                  <a:gd name="connsiteY129" fmla="*/ 642937 h 3921919"/>
                  <a:gd name="connsiteX130" fmla="*/ 764381 w 8801100"/>
                  <a:gd name="connsiteY130" fmla="*/ 664369 h 3921919"/>
                  <a:gd name="connsiteX131" fmla="*/ 776287 w 8801100"/>
                  <a:gd name="connsiteY131" fmla="*/ 709613 h 3921919"/>
                  <a:gd name="connsiteX132" fmla="*/ 676276 w 8801100"/>
                  <a:gd name="connsiteY132" fmla="*/ 762000 h 3921919"/>
                  <a:gd name="connsiteX133" fmla="*/ 638175 w 8801100"/>
                  <a:gd name="connsiteY133" fmla="*/ 733424 h 3921919"/>
                  <a:gd name="connsiteX134" fmla="*/ 607219 w 8801100"/>
                  <a:gd name="connsiteY134" fmla="*/ 790575 h 3921919"/>
                  <a:gd name="connsiteX135" fmla="*/ 550069 w 8801100"/>
                  <a:gd name="connsiteY135" fmla="*/ 752475 h 3921919"/>
                  <a:gd name="connsiteX136" fmla="*/ 514350 w 8801100"/>
                  <a:gd name="connsiteY136" fmla="*/ 781050 h 3921919"/>
                  <a:gd name="connsiteX137" fmla="*/ 478631 w 8801100"/>
                  <a:gd name="connsiteY137" fmla="*/ 745331 h 3921919"/>
                  <a:gd name="connsiteX138" fmla="*/ 426244 w 8801100"/>
                  <a:gd name="connsiteY138" fmla="*/ 757238 h 3921919"/>
                  <a:gd name="connsiteX139" fmla="*/ 381000 w 8801100"/>
                  <a:gd name="connsiteY139" fmla="*/ 728663 h 3921919"/>
                  <a:gd name="connsiteX140" fmla="*/ 357188 w 8801100"/>
                  <a:gd name="connsiteY140" fmla="*/ 747713 h 3921919"/>
                  <a:gd name="connsiteX141" fmla="*/ 333375 w 8801100"/>
                  <a:gd name="connsiteY141" fmla="*/ 807244 h 3921919"/>
                  <a:gd name="connsiteX142" fmla="*/ 261938 w 8801100"/>
                  <a:gd name="connsiteY142" fmla="*/ 845343 h 3921919"/>
                  <a:gd name="connsiteX143" fmla="*/ 209550 w 8801100"/>
                  <a:gd name="connsiteY143" fmla="*/ 816769 h 3921919"/>
                  <a:gd name="connsiteX144" fmla="*/ 119063 w 8801100"/>
                  <a:gd name="connsiteY144" fmla="*/ 826294 h 3921919"/>
                  <a:gd name="connsiteX145" fmla="*/ 71437 w 8801100"/>
                  <a:gd name="connsiteY145" fmla="*/ 792957 h 3921919"/>
                  <a:gd name="connsiteX146" fmla="*/ 0 w 8801100"/>
                  <a:gd name="connsiteY146" fmla="*/ 812006 h 3921919"/>
                  <a:gd name="connsiteX147" fmla="*/ 4762 w 8801100"/>
                  <a:gd name="connsiteY147" fmla="*/ 0 h 3921919"/>
                  <a:gd name="connsiteX148" fmla="*/ 6196012 w 8801100"/>
                  <a:gd name="connsiteY148" fmla="*/ 3921919 h 3921919"/>
                  <a:gd name="connsiteX149" fmla="*/ 6262687 w 8801100"/>
                  <a:gd name="connsiteY149" fmla="*/ 3914775 h 3921919"/>
                  <a:gd name="connsiteX150" fmla="*/ 6360319 w 8801100"/>
                  <a:gd name="connsiteY150" fmla="*/ 3840956 h 3921919"/>
                  <a:gd name="connsiteX151" fmla="*/ 6434138 w 8801100"/>
                  <a:gd name="connsiteY151" fmla="*/ 3771900 h 3921919"/>
                  <a:gd name="connsiteX152" fmla="*/ 6443663 w 8801100"/>
                  <a:gd name="connsiteY152" fmla="*/ 3709988 h 3921919"/>
                  <a:gd name="connsiteX153" fmla="*/ 6477000 w 8801100"/>
                  <a:gd name="connsiteY153" fmla="*/ 3640931 h 3921919"/>
                  <a:gd name="connsiteX154" fmla="*/ 6629400 w 8801100"/>
                  <a:gd name="connsiteY154" fmla="*/ 3533775 h 3921919"/>
                  <a:gd name="connsiteX155" fmla="*/ 6662738 w 8801100"/>
                  <a:gd name="connsiteY155" fmla="*/ 3538538 h 3921919"/>
                  <a:gd name="connsiteX156" fmla="*/ 6715125 w 8801100"/>
                  <a:gd name="connsiteY156" fmla="*/ 3459956 h 3921919"/>
                  <a:gd name="connsiteX157" fmla="*/ 6762750 w 8801100"/>
                  <a:gd name="connsiteY157" fmla="*/ 3421856 h 3921919"/>
                  <a:gd name="connsiteX158" fmla="*/ 6748463 w 8801100"/>
                  <a:gd name="connsiteY158" fmla="*/ 3352800 h 3921919"/>
                  <a:gd name="connsiteX159" fmla="*/ 6698456 w 8801100"/>
                  <a:gd name="connsiteY159" fmla="*/ 3321843 h 3921919"/>
                  <a:gd name="connsiteX160" fmla="*/ 6638925 w 8801100"/>
                  <a:gd name="connsiteY160" fmla="*/ 3267075 h 3921919"/>
                  <a:gd name="connsiteX161" fmla="*/ 6619875 w 8801100"/>
                  <a:gd name="connsiteY161" fmla="*/ 3209925 h 3921919"/>
                  <a:gd name="connsiteX162" fmla="*/ 6584156 w 8801100"/>
                  <a:gd name="connsiteY162" fmla="*/ 3176588 h 3921919"/>
                  <a:gd name="connsiteX163" fmla="*/ 6610350 w 8801100"/>
                  <a:gd name="connsiteY163" fmla="*/ 3124200 h 3921919"/>
                  <a:gd name="connsiteX164" fmla="*/ 6650831 w 8801100"/>
                  <a:gd name="connsiteY164" fmla="*/ 2945606 h 3921919"/>
                  <a:gd name="connsiteX165" fmla="*/ 6691313 w 8801100"/>
                  <a:gd name="connsiteY165" fmla="*/ 2878931 h 3921919"/>
                  <a:gd name="connsiteX166" fmla="*/ 6836569 w 8801100"/>
                  <a:gd name="connsiteY166" fmla="*/ 2862262 h 3921919"/>
                  <a:gd name="connsiteX167" fmla="*/ 6905625 w 8801100"/>
                  <a:gd name="connsiteY167" fmla="*/ 2919413 h 3921919"/>
                  <a:gd name="connsiteX168" fmla="*/ 6981825 w 8801100"/>
                  <a:gd name="connsiteY168" fmla="*/ 2943225 h 3921919"/>
                  <a:gd name="connsiteX169" fmla="*/ 7186612 w 8801100"/>
                  <a:gd name="connsiteY169" fmla="*/ 2947988 h 3921919"/>
                  <a:gd name="connsiteX170" fmla="*/ 7362825 w 8801100"/>
                  <a:gd name="connsiteY170" fmla="*/ 2809875 h 3921919"/>
                  <a:gd name="connsiteX171" fmla="*/ 7419975 w 8801100"/>
                  <a:gd name="connsiteY171" fmla="*/ 2719387 h 3921919"/>
                  <a:gd name="connsiteX172" fmla="*/ 7446169 w 8801100"/>
                  <a:gd name="connsiteY172" fmla="*/ 2636044 h 3921919"/>
                  <a:gd name="connsiteX173" fmla="*/ 7577137 w 8801100"/>
                  <a:gd name="connsiteY173" fmla="*/ 2636044 h 3921919"/>
                  <a:gd name="connsiteX174" fmla="*/ 7750969 w 8801100"/>
                  <a:gd name="connsiteY174" fmla="*/ 2578893 h 3921919"/>
                  <a:gd name="connsiteX175" fmla="*/ 7810500 w 8801100"/>
                  <a:gd name="connsiteY175" fmla="*/ 2466975 h 3921919"/>
                  <a:gd name="connsiteX176" fmla="*/ 7874794 w 8801100"/>
                  <a:gd name="connsiteY176" fmla="*/ 2431256 h 3921919"/>
                  <a:gd name="connsiteX177" fmla="*/ 7853363 w 8801100"/>
                  <a:gd name="connsiteY177" fmla="*/ 2386013 h 3921919"/>
                  <a:gd name="connsiteX178" fmla="*/ 7931944 w 8801100"/>
                  <a:gd name="connsiteY178" fmla="*/ 2216943 h 3921919"/>
                  <a:gd name="connsiteX179" fmla="*/ 7986713 w 8801100"/>
                  <a:gd name="connsiteY179" fmla="*/ 2157413 h 3921919"/>
                  <a:gd name="connsiteX180" fmla="*/ 8024813 w 8801100"/>
                  <a:gd name="connsiteY180" fmla="*/ 2152650 h 3921919"/>
                  <a:gd name="connsiteX181" fmla="*/ 8070056 w 8801100"/>
                  <a:gd name="connsiteY181" fmla="*/ 2157413 h 3921919"/>
                  <a:gd name="connsiteX182" fmla="*/ 8134350 w 8801100"/>
                  <a:gd name="connsiteY182" fmla="*/ 2124075 h 3921919"/>
                  <a:gd name="connsiteX183" fmla="*/ 8143875 w 8801100"/>
                  <a:gd name="connsiteY183" fmla="*/ 2059781 h 3921919"/>
                  <a:gd name="connsiteX184" fmla="*/ 8184355 w 8801100"/>
                  <a:gd name="connsiteY184" fmla="*/ 2024063 h 3921919"/>
                  <a:gd name="connsiteX185" fmla="*/ 8243888 w 8801100"/>
                  <a:gd name="connsiteY185" fmla="*/ 2064543 h 3921919"/>
                  <a:gd name="connsiteX186" fmla="*/ 8270082 w 8801100"/>
                  <a:gd name="connsiteY186" fmla="*/ 2014537 h 3921919"/>
                  <a:gd name="connsiteX187" fmla="*/ 8365331 w 8801100"/>
                  <a:gd name="connsiteY187" fmla="*/ 1945481 h 3921919"/>
                  <a:gd name="connsiteX188" fmla="*/ 8427244 w 8801100"/>
                  <a:gd name="connsiteY188" fmla="*/ 1952625 h 3921919"/>
                  <a:gd name="connsiteX189" fmla="*/ 8477250 w 8801100"/>
                  <a:gd name="connsiteY189" fmla="*/ 1933575 h 3921919"/>
                  <a:gd name="connsiteX190" fmla="*/ 8515350 w 8801100"/>
                  <a:gd name="connsiteY190" fmla="*/ 1905000 h 3921919"/>
                  <a:gd name="connsiteX191" fmla="*/ 8548688 w 8801100"/>
                  <a:gd name="connsiteY191" fmla="*/ 1902619 h 3921919"/>
                  <a:gd name="connsiteX192" fmla="*/ 8584406 w 8801100"/>
                  <a:gd name="connsiteY192" fmla="*/ 1933575 h 3921919"/>
                  <a:gd name="connsiteX193" fmla="*/ 8643938 w 8801100"/>
                  <a:gd name="connsiteY193" fmla="*/ 1933575 h 3921919"/>
                  <a:gd name="connsiteX194" fmla="*/ 8682037 w 8801100"/>
                  <a:gd name="connsiteY194" fmla="*/ 1914525 h 3921919"/>
                  <a:gd name="connsiteX195" fmla="*/ 8765381 w 8801100"/>
                  <a:gd name="connsiteY195" fmla="*/ 1916907 h 3921919"/>
                  <a:gd name="connsiteX196" fmla="*/ 8796338 w 8801100"/>
                  <a:gd name="connsiteY196" fmla="*/ 1871663 h 3921919"/>
                  <a:gd name="connsiteX197" fmla="*/ 8801100 w 8801100"/>
                  <a:gd name="connsiteY197" fmla="*/ 1809750 h 3921919"/>
                  <a:gd name="connsiteX198" fmla="*/ 8751093 w 8801100"/>
                  <a:gd name="connsiteY198" fmla="*/ 1769269 h 3921919"/>
                  <a:gd name="connsiteX199" fmla="*/ 8734425 w 8801100"/>
                  <a:gd name="connsiteY199" fmla="*/ 1714500 h 3921919"/>
                  <a:gd name="connsiteX200" fmla="*/ 8643938 w 8801100"/>
                  <a:gd name="connsiteY200" fmla="*/ 1652588 h 3921919"/>
                  <a:gd name="connsiteX201" fmla="*/ 8603456 w 8801100"/>
                  <a:gd name="connsiteY201" fmla="*/ 1631156 h 3921919"/>
                  <a:gd name="connsiteX202" fmla="*/ 8565356 w 8801100"/>
                  <a:gd name="connsiteY202" fmla="*/ 1585913 h 3921919"/>
                  <a:gd name="connsiteX203" fmla="*/ 8534400 w 8801100"/>
                  <a:gd name="connsiteY203" fmla="*/ 1583531 h 3921919"/>
                  <a:gd name="connsiteX204" fmla="*/ 8517731 w 8801100"/>
                  <a:gd name="connsiteY204" fmla="*/ 1531144 h 3921919"/>
                  <a:gd name="connsiteX205" fmla="*/ 8477250 w 8801100"/>
                  <a:gd name="connsiteY205" fmla="*/ 1514475 h 3921919"/>
                  <a:gd name="connsiteX206" fmla="*/ 8477250 w 8801100"/>
                  <a:gd name="connsiteY206" fmla="*/ 1514475 h 3921919"/>
                  <a:gd name="connsiteX207" fmla="*/ 8436769 w 8801100"/>
                  <a:gd name="connsiteY207" fmla="*/ 1519238 h 3921919"/>
                  <a:gd name="connsiteX208" fmla="*/ 8351043 w 8801100"/>
                  <a:gd name="connsiteY208" fmla="*/ 1445419 h 3921919"/>
                  <a:gd name="connsiteX209" fmla="*/ 8170069 w 8801100"/>
                  <a:gd name="connsiteY209" fmla="*/ 1445418 h 3921919"/>
                  <a:gd name="connsiteX210" fmla="*/ 8117681 w 8801100"/>
                  <a:gd name="connsiteY210" fmla="*/ 1483519 h 3921919"/>
                  <a:gd name="connsiteX211" fmla="*/ 8067675 w 8801100"/>
                  <a:gd name="connsiteY211" fmla="*/ 1562100 h 3921919"/>
                  <a:gd name="connsiteX212" fmla="*/ 8084344 w 8801100"/>
                  <a:gd name="connsiteY212" fmla="*/ 1583531 h 3921919"/>
                  <a:gd name="connsiteX213" fmla="*/ 8039100 w 8801100"/>
                  <a:gd name="connsiteY213" fmla="*/ 1633537 h 3921919"/>
                  <a:gd name="connsiteX214" fmla="*/ 7889081 w 8801100"/>
                  <a:gd name="connsiteY214" fmla="*/ 1557337 h 3921919"/>
                  <a:gd name="connsiteX215" fmla="*/ 7798594 w 8801100"/>
                  <a:gd name="connsiteY215" fmla="*/ 1593056 h 3921919"/>
                  <a:gd name="connsiteX216" fmla="*/ 7724775 w 8801100"/>
                  <a:gd name="connsiteY216" fmla="*/ 1590675 h 3921919"/>
                  <a:gd name="connsiteX217" fmla="*/ 7667625 w 8801100"/>
                  <a:gd name="connsiteY217" fmla="*/ 1685925 h 3921919"/>
                  <a:gd name="connsiteX218" fmla="*/ 7529513 w 8801100"/>
                  <a:gd name="connsiteY218" fmla="*/ 1588294 h 3921919"/>
                  <a:gd name="connsiteX0" fmla="*/ 7529513 w 8801100"/>
                  <a:gd name="connsiteY0" fmla="*/ 1588294 h 3914775"/>
                  <a:gd name="connsiteX1" fmla="*/ 7522369 w 8801100"/>
                  <a:gd name="connsiteY1" fmla="*/ 1533525 h 3914775"/>
                  <a:gd name="connsiteX2" fmla="*/ 7589044 w 8801100"/>
                  <a:gd name="connsiteY2" fmla="*/ 1459706 h 3914775"/>
                  <a:gd name="connsiteX3" fmla="*/ 7572375 w 8801100"/>
                  <a:gd name="connsiteY3" fmla="*/ 1388269 h 3914775"/>
                  <a:gd name="connsiteX4" fmla="*/ 7586663 w 8801100"/>
                  <a:gd name="connsiteY4" fmla="*/ 1293019 h 3914775"/>
                  <a:gd name="connsiteX5" fmla="*/ 7624763 w 8801100"/>
                  <a:gd name="connsiteY5" fmla="*/ 1235869 h 3914775"/>
                  <a:gd name="connsiteX6" fmla="*/ 7605712 w 8801100"/>
                  <a:gd name="connsiteY6" fmla="*/ 1202531 h 3914775"/>
                  <a:gd name="connsiteX7" fmla="*/ 7703343 w 8801100"/>
                  <a:gd name="connsiteY7" fmla="*/ 802481 h 3914775"/>
                  <a:gd name="connsiteX8" fmla="*/ 7696200 w 8801100"/>
                  <a:gd name="connsiteY8" fmla="*/ 773906 h 3914775"/>
                  <a:gd name="connsiteX9" fmla="*/ 7567613 w 8801100"/>
                  <a:gd name="connsiteY9" fmla="*/ 752475 h 3914775"/>
                  <a:gd name="connsiteX10" fmla="*/ 7384257 w 8801100"/>
                  <a:gd name="connsiteY10" fmla="*/ 831056 h 3914775"/>
                  <a:gd name="connsiteX11" fmla="*/ 7227093 w 8801100"/>
                  <a:gd name="connsiteY11" fmla="*/ 716756 h 3914775"/>
                  <a:gd name="connsiteX12" fmla="*/ 7150894 w 8801100"/>
                  <a:gd name="connsiteY12" fmla="*/ 723900 h 3914775"/>
                  <a:gd name="connsiteX13" fmla="*/ 7077075 w 8801100"/>
                  <a:gd name="connsiteY13" fmla="*/ 719138 h 3914775"/>
                  <a:gd name="connsiteX14" fmla="*/ 6938963 w 8801100"/>
                  <a:gd name="connsiteY14" fmla="*/ 823913 h 3914775"/>
                  <a:gd name="connsiteX15" fmla="*/ 6831806 w 8801100"/>
                  <a:gd name="connsiteY15" fmla="*/ 931069 h 3914775"/>
                  <a:gd name="connsiteX16" fmla="*/ 6788944 w 8801100"/>
                  <a:gd name="connsiteY16" fmla="*/ 1000125 h 3914775"/>
                  <a:gd name="connsiteX17" fmla="*/ 6796088 w 8801100"/>
                  <a:gd name="connsiteY17" fmla="*/ 1035844 h 3914775"/>
                  <a:gd name="connsiteX18" fmla="*/ 6734175 w 8801100"/>
                  <a:gd name="connsiteY18" fmla="*/ 1047750 h 3914775"/>
                  <a:gd name="connsiteX19" fmla="*/ 6753225 w 8801100"/>
                  <a:gd name="connsiteY19" fmla="*/ 1047750 h 3914775"/>
                  <a:gd name="connsiteX20" fmla="*/ 6719888 w 8801100"/>
                  <a:gd name="connsiteY20" fmla="*/ 1078706 h 3914775"/>
                  <a:gd name="connsiteX21" fmla="*/ 6619875 w 8801100"/>
                  <a:gd name="connsiteY21" fmla="*/ 1078707 h 3914775"/>
                  <a:gd name="connsiteX22" fmla="*/ 6524625 w 8801100"/>
                  <a:gd name="connsiteY22" fmla="*/ 1133475 h 3914775"/>
                  <a:gd name="connsiteX23" fmla="*/ 6443663 w 8801100"/>
                  <a:gd name="connsiteY23" fmla="*/ 1143000 h 3914775"/>
                  <a:gd name="connsiteX24" fmla="*/ 6403181 w 8801100"/>
                  <a:gd name="connsiteY24" fmla="*/ 1176338 h 3914775"/>
                  <a:gd name="connsiteX25" fmla="*/ 6353175 w 8801100"/>
                  <a:gd name="connsiteY25" fmla="*/ 1181100 h 3914775"/>
                  <a:gd name="connsiteX26" fmla="*/ 6231732 w 8801100"/>
                  <a:gd name="connsiteY26" fmla="*/ 1273969 h 3914775"/>
                  <a:gd name="connsiteX27" fmla="*/ 6172200 w 8801100"/>
                  <a:gd name="connsiteY27" fmla="*/ 1278731 h 3914775"/>
                  <a:gd name="connsiteX28" fmla="*/ 6119813 w 8801100"/>
                  <a:gd name="connsiteY28" fmla="*/ 1243013 h 3914775"/>
                  <a:gd name="connsiteX29" fmla="*/ 6093619 w 8801100"/>
                  <a:gd name="connsiteY29" fmla="*/ 1278731 h 3914775"/>
                  <a:gd name="connsiteX30" fmla="*/ 5895975 w 8801100"/>
                  <a:gd name="connsiteY30" fmla="*/ 1271588 h 3914775"/>
                  <a:gd name="connsiteX31" fmla="*/ 5834063 w 8801100"/>
                  <a:gd name="connsiteY31" fmla="*/ 1226344 h 3914775"/>
                  <a:gd name="connsiteX32" fmla="*/ 5636419 w 8801100"/>
                  <a:gd name="connsiteY32" fmla="*/ 1243013 h 3914775"/>
                  <a:gd name="connsiteX33" fmla="*/ 5548313 w 8801100"/>
                  <a:gd name="connsiteY33" fmla="*/ 1159668 h 3914775"/>
                  <a:gd name="connsiteX34" fmla="*/ 5472113 w 8801100"/>
                  <a:gd name="connsiteY34" fmla="*/ 1114425 h 3914775"/>
                  <a:gd name="connsiteX35" fmla="*/ 5474493 w 8801100"/>
                  <a:gd name="connsiteY35" fmla="*/ 1057275 h 3914775"/>
                  <a:gd name="connsiteX36" fmla="*/ 5455444 w 8801100"/>
                  <a:gd name="connsiteY36" fmla="*/ 1014412 h 3914775"/>
                  <a:gd name="connsiteX37" fmla="*/ 5360194 w 8801100"/>
                  <a:gd name="connsiteY37" fmla="*/ 1016794 h 3914775"/>
                  <a:gd name="connsiteX38" fmla="*/ 5264944 w 8801100"/>
                  <a:gd name="connsiteY38" fmla="*/ 995363 h 3914775"/>
                  <a:gd name="connsiteX39" fmla="*/ 5195887 w 8801100"/>
                  <a:gd name="connsiteY39" fmla="*/ 928687 h 3914775"/>
                  <a:gd name="connsiteX40" fmla="*/ 5160169 w 8801100"/>
                  <a:gd name="connsiteY40" fmla="*/ 885825 h 3914775"/>
                  <a:gd name="connsiteX41" fmla="*/ 5079206 w 8801100"/>
                  <a:gd name="connsiteY41" fmla="*/ 862012 h 3914775"/>
                  <a:gd name="connsiteX42" fmla="*/ 5005388 w 8801100"/>
                  <a:gd name="connsiteY42" fmla="*/ 873918 h 3914775"/>
                  <a:gd name="connsiteX43" fmla="*/ 4948237 w 8801100"/>
                  <a:gd name="connsiteY43" fmla="*/ 821531 h 3914775"/>
                  <a:gd name="connsiteX44" fmla="*/ 4852988 w 8801100"/>
                  <a:gd name="connsiteY44" fmla="*/ 833438 h 3914775"/>
                  <a:gd name="connsiteX45" fmla="*/ 4800600 w 8801100"/>
                  <a:gd name="connsiteY45" fmla="*/ 807244 h 3914775"/>
                  <a:gd name="connsiteX46" fmla="*/ 4719638 w 8801100"/>
                  <a:gd name="connsiteY46" fmla="*/ 850106 h 3914775"/>
                  <a:gd name="connsiteX47" fmla="*/ 4581525 w 8801100"/>
                  <a:gd name="connsiteY47" fmla="*/ 873919 h 3914775"/>
                  <a:gd name="connsiteX48" fmla="*/ 4452938 w 8801100"/>
                  <a:gd name="connsiteY48" fmla="*/ 966788 h 3914775"/>
                  <a:gd name="connsiteX49" fmla="*/ 4405312 w 8801100"/>
                  <a:gd name="connsiteY49" fmla="*/ 928688 h 3914775"/>
                  <a:gd name="connsiteX50" fmla="*/ 4383881 w 8801100"/>
                  <a:gd name="connsiteY50" fmla="*/ 959643 h 3914775"/>
                  <a:gd name="connsiteX51" fmla="*/ 4310063 w 8801100"/>
                  <a:gd name="connsiteY51" fmla="*/ 909638 h 3914775"/>
                  <a:gd name="connsiteX52" fmla="*/ 4271963 w 8801100"/>
                  <a:gd name="connsiteY52" fmla="*/ 916781 h 3914775"/>
                  <a:gd name="connsiteX53" fmla="*/ 4250531 w 8801100"/>
                  <a:gd name="connsiteY53" fmla="*/ 878681 h 3914775"/>
                  <a:gd name="connsiteX54" fmla="*/ 4191000 w 8801100"/>
                  <a:gd name="connsiteY54" fmla="*/ 883444 h 3914775"/>
                  <a:gd name="connsiteX55" fmla="*/ 4145756 w 8801100"/>
                  <a:gd name="connsiteY55" fmla="*/ 854869 h 3914775"/>
                  <a:gd name="connsiteX56" fmla="*/ 4107656 w 8801100"/>
                  <a:gd name="connsiteY56" fmla="*/ 852488 h 3914775"/>
                  <a:gd name="connsiteX57" fmla="*/ 4088606 w 8801100"/>
                  <a:gd name="connsiteY57" fmla="*/ 804862 h 3914775"/>
                  <a:gd name="connsiteX58" fmla="*/ 4074319 w 8801100"/>
                  <a:gd name="connsiteY58" fmla="*/ 773906 h 3914775"/>
                  <a:gd name="connsiteX59" fmla="*/ 4029075 w 8801100"/>
                  <a:gd name="connsiteY59" fmla="*/ 783431 h 3914775"/>
                  <a:gd name="connsiteX60" fmla="*/ 4010025 w 8801100"/>
                  <a:gd name="connsiteY60" fmla="*/ 747713 h 3914775"/>
                  <a:gd name="connsiteX61" fmla="*/ 4031457 w 8801100"/>
                  <a:gd name="connsiteY61" fmla="*/ 692944 h 3914775"/>
                  <a:gd name="connsiteX62" fmla="*/ 4000500 w 8801100"/>
                  <a:gd name="connsiteY62" fmla="*/ 666750 h 3914775"/>
                  <a:gd name="connsiteX63" fmla="*/ 4017169 w 8801100"/>
                  <a:gd name="connsiteY63" fmla="*/ 623888 h 3914775"/>
                  <a:gd name="connsiteX64" fmla="*/ 3990975 w 8801100"/>
                  <a:gd name="connsiteY64" fmla="*/ 581025 h 3914775"/>
                  <a:gd name="connsiteX65" fmla="*/ 3986213 w 8801100"/>
                  <a:gd name="connsiteY65" fmla="*/ 519113 h 3914775"/>
                  <a:gd name="connsiteX66" fmla="*/ 4010025 w 8801100"/>
                  <a:gd name="connsiteY66" fmla="*/ 454818 h 3914775"/>
                  <a:gd name="connsiteX67" fmla="*/ 3971925 w 8801100"/>
                  <a:gd name="connsiteY67" fmla="*/ 457200 h 3914775"/>
                  <a:gd name="connsiteX68" fmla="*/ 3852863 w 8801100"/>
                  <a:gd name="connsiteY68" fmla="*/ 400050 h 3914775"/>
                  <a:gd name="connsiteX69" fmla="*/ 3814762 w 8801100"/>
                  <a:gd name="connsiteY69" fmla="*/ 404812 h 3914775"/>
                  <a:gd name="connsiteX70" fmla="*/ 3609975 w 8801100"/>
                  <a:gd name="connsiteY70" fmla="*/ 295275 h 3914775"/>
                  <a:gd name="connsiteX71" fmla="*/ 3505200 w 8801100"/>
                  <a:gd name="connsiteY71" fmla="*/ 264319 h 3914775"/>
                  <a:gd name="connsiteX72" fmla="*/ 3440906 w 8801100"/>
                  <a:gd name="connsiteY72" fmla="*/ 273843 h 3914775"/>
                  <a:gd name="connsiteX73" fmla="*/ 3409950 w 8801100"/>
                  <a:gd name="connsiteY73" fmla="*/ 209550 h 3914775"/>
                  <a:gd name="connsiteX74" fmla="*/ 3352800 w 8801100"/>
                  <a:gd name="connsiteY74" fmla="*/ 209550 h 3914775"/>
                  <a:gd name="connsiteX75" fmla="*/ 3214687 w 8801100"/>
                  <a:gd name="connsiteY75" fmla="*/ 104775 h 3914775"/>
                  <a:gd name="connsiteX76" fmla="*/ 3181350 w 8801100"/>
                  <a:gd name="connsiteY76" fmla="*/ 164307 h 3914775"/>
                  <a:gd name="connsiteX77" fmla="*/ 3126581 w 8801100"/>
                  <a:gd name="connsiteY77" fmla="*/ 233363 h 3914775"/>
                  <a:gd name="connsiteX78" fmla="*/ 3083719 w 8801100"/>
                  <a:gd name="connsiteY78" fmla="*/ 250031 h 3914775"/>
                  <a:gd name="connsiteX79" fmla="*/ 3052763 w 8801100"/>
                  <a:gd name="connsiteY79" fmla="*/ 242888 h 3914775"/>
                  <a:gd name="connsiteX80" fmla="*/ 3028950 w 8801100"/>
                  <a:gd name="connsiteY80" fmla="*/ 271463 h 3914775"/>
                  <a:gd name="connsiteX81" fmla="*/ 3002756 w 8801100"/>
                  <a:gd name="connsiteY81" fmla="*/ 350044 h 3914775"/>
                  <a:gd name="connsiteX82" fmla="*/ 2959894 w 8801100"/>
                  <a:gd name="connsiteY82" fmla="*/ 347663 h 3914775"/>
                  <a:gd name="connsiteX83" fmla="*/ 2928937 w 8801100"/>
                  <a:gd name="connsiteY83" fmla="*/ 409575 h 3914775"/>
                  <a:gd name="connsiteX84" fmla="*/ 2924175 w 8801100"/>
                  <a:gd name="connsiteY84" fmla="*/ 473869 h 3914775"/>
                  <a:gd name="connsiteX85" fmla="*/ 2897982 w 8801100"/>
                  <a:gd name="connsiteY85" fmla="*/ 511969 h 3914775"/>
                  <a:gd name="connsiteX86" fmla="*/ 2924175 w 8801100"/>
                  <a:gd name="connsiteY86" fmla="*/ 571500 h 3914775"/>
                  <a:gd name="connsiteX87" fmla="*/ 2926556 w 8801100"/>
                  <a:gd name="connsiteY87" fmla="*/ 640556 h 3914775"/>
                  <a:gd name="connsiteX88" fmla="*/ 2955131 w 8801100"/>
                  <a:gd name="connsiteY88" fmla="*/ 692944 h 3914775"/>
                  <a:gd name="connsiteX89" fmla="*/ 3002757 w 8801100"/>
                  <a:gd name="connsiteY89" fmla="*/ 747713 h 3914775"/>
                  <a:gd name="connsiteX90" fmla="*/ 2952750 w 8801100"/>
                  <a:gd name="connsiteY90" fmla="*/ 885825 h 3914775"/>
                  <a:gd name="connsiteX91" fmla="*/ 2883694 w 8801100"/>
                  <a:gd name="connsiteY91" fmla="*/ 952500 h 3914775"/>
                  <a:gd name="connsiteX92" fmla="*/ 2812256 w 8801100"/>
                  <a:gd name="connsiteY92" fmla="*/ 947738 h 3914775"/>
                  <a:gd name="connsiteX93" fmla="*/ 2774156 w 8801100"/>
                  <a:gd name="connsiteY93" fmla="*/ 1004888 h 3914775"/>
                  <a:gd name="connsiteX94" fmla="*/ 2714625 w 8801100"/>
                  <a:gd name="connsiteY94" fmla="*/ 1019175 h 3914775"/>
                  <a:gd name="connsiteX95" fmla="*/ 2645569 w 8801100"/>
                  <a:gd name="connsiteY95" fmla="*/ 959644 h 3914775"/>
                  <a:gd name="connsiteX96" fmla="*/ 2590800 w 8801100"/>
                  <a:gd name="connsiteY96" fmla="*/ 931069 h 3914775"/>
                  <a:gd name="connsiteX97" fmla="*/ 2547938 w 8801100"/>
                  <a:gd name="connsiteY97" fmla="*/ 945356 h 3914775"/>
                  <a:gd name="connsiteX98" fmla="*/ 2495550 w 8801100"/>
                  <a:gd name="connsiteY98" fmla="*/ 928688 h 3914775"/>
                  <a:gd name="connsiteX99" fmla="*/ 2428875 w 8801100"/>
                  <a:gd name="connsiteY99" fmla="*/ 873919 h 3914775"/>
                  <a:gd name="connsiteX100" fmla="*/ 2383631 w 8801100"/>
                  <a:gd name="connsiteY100" fmla="*/ 885825 h 3914775"/>
                  <a:gd name="connsiteX101" fmla="*/ 2362200 w 8801100"/>
                  <a:gd name="connsiteY101" fmla="*/ 854869 h 3914775"/>
                  <a:gd name="connsiteX102" fmla="*/ 2305050 w 8801100"/>
                  <a:gd name="connsiteY102" fmla="*/ 895350 h 3914775"/>
                  <a:gd name="connsiteX103" fmla="*/ 2188369 w 8801100"/>
                  <a:gd name="connsiteY103" fmla="*/ 873919 h 3914775"/>
                  <a:gd name="connsiteX104" fmla="*/ 2138363 w 8801100"/>
                  <a:gd name="connsiteY104" fmla="*/ 821531 h 3914775"/>
                  <a:gd name="connsiteX105" fmla="*/ 2095500 w 8801100"/>
                  <a:gd name="connsiteY105" fmla="*/ 807244 h 3914775"/>
                  <a:gd name="connsiteX106" fmla="*/ 2052638 w 8801100"/>
                  <a:gd name="connsiteY106" fmla="*/ 833438 h 3914775"/>
                  <a:gd name="connsiteX107" fmla="*/ 2000250 w 8801100"/>
                  <a:gd name="connsiteY107" fmla="*/ 742950 h 3914775"/>
                  <a:gd name="connsiteX108" fmla="*/ 1990725 w 8801100"/>
                  <a:gd name="connsiteY108" fmla="*/ 595312 h 3914775"/>
                  <a:gd name="connsiteX109" fmla="*/ 1938337 w 8801100"/>
                  <a:gd name="connsiteY109" fmla="*/ 588168 h 3914775"/>
                  <a:gd name="connsiteX110" fmla="*/ 1847850 w 8801100"/>
                  <a:gd name="connsiteY110" fmla="*/ 578644 h 3914775"/>
                  <a:gd name="connsiteX111" fmla="*/ 1793081 w 8801100"/>
                  <a:gd name="connsiteY111" fmla="*/ 540544 h 3914775"/>
                  <a:gd name="connsiteX112" fmla="*/ 1724025 w 8801100"/>
                  <a:gd name="connsiteY112" fmla="*/ 550069 h 3914775"/>
                  <a:gd name="connsiteX113" fmla="*/ 1678781 w 8801100"/>
                  <a:gd name="connsiteY113" fmla="*/ 523875 h 3914775"/>
                  <a:gd name="connsiteX114" fmla="*/ 1669257 w 8801100"/>
                  <a:gd name="connsiteY114" fmla="*/ 452438 h 3914775"/>
                  <a:gd name="connsiteX115" fmla="*/ 1645444 w 8801100"/>
                  <a:gd name="connsiteY115" fmla="*/ 438150 h 3914775"/>
                  <a:gd name="connsiteX116" fmla="*/ 1607344 w 8801100"/>
                  <a:gd name="connsiteY116" fmla="*/ 485774 h 3914775"/>
                  <a:gd name="connsiteX117" fmla="*/ 1528762 w 8801100"/>
                  <a:gd name="connsiteY117" fmla="*/ 411956 h 3914775"/>
                  <a:gd name="connsiteX118" fmla="*/ 1488281 w 8801100"/>
                  <a:gd name="connsiteY118" fmla="*/ 452438 h 3914775"/>
                  <a:gd name="connsiteX119" fmla="*/ 1412081 w 8801100"/>
                  <a:gd name="connsiteY119" fmla="*/ 438150 h 3914775"/>
                  <a:gd name="connsiteX120" fmla="*/ 1333500 w 8801100"/>
                  <a:gd name="connsiteY120" fmla="*/ 464344 h 3914775"/>
                  <a:gd name="connsiteX121" fmla="*/ 1273969 w 8801100"/>
                  <a:gd name="connsiteY121" fmla="*/ 511968 h 3914775"/>
                  <a:gd name="connsiteX122" fmla="*/ 1200150 w 8801100"/>
                  <a:gd name="connsiteY122" fmla="*/ 523875 h 3914775"/>
                  <a:gd name="connsiteX123" fmla="*/ 1164431 w 8801100"/>
                  <a:gd name="connsiteY123" fmla="*/ 516731 h 3914775"/>
                  <a:gd name="connsiteX124" fmla="*/ 1085851 w 8801100"/>
                  <a:gd name="connsiteY124" fmla="*/ 547688 h 3914775"/>
                  <a:gd name="connsiteX125" fmla="*/ 1064419 w 8801100"/>
                  <a:gd name="connsiteY125" fmla="*/ 576263 h 3914775"/>
                  <a:gd name="connsiteX126" fmla="*/ 997744 w 8801100"/>
                  <a:gd name="connsiteY126" fmla="*/ 566738 h 3914775"/>
                  <a:gd name="connsiteX127" fmla="*/ 928688 w 8801100"/>
                  <a:gd name="connsiteY127" fmla="*/ 590550 h 3914775"/>
                  <a:gd name="connsiteX128" fmla="*/ 873919 w 8801100"/>
                  <a:gd name="connsiteY128" fmla="*/ 628650 h 3914775"/>
                  <a:gd name="connsiteX129" fmla="*/ 778669 w 8801100"/>
                  <a:gd name="connsiteY129" fmla="*/ 642937 h 3914775"/>
                  <a:gd name="connsiteX130" fmla="*/ 764381 w 8801100"/>
                  <a:gd name="connsiteY130" fmla="*/ 664369 h 3914775"/>
                  <a:gd name="connsiteX131" fmla="*/ 776287 w 8801100"/>
                  <a:gd name="connsiteY131" fmla="*/ 709613 h 3914775"/>
                  <a:gd name="connsiteX132" fmla="*/ 676276 w 8801100"/>
                  <a:gd name="connsiteY132" fmla="*/ 762000 h 3914775"/>
                  <a:gd name="connsiteX133" fmla="*/ 638175 w 8801100"/>
                  <a:gd name="connsiteY133" fmla="*/ 733424 h 3914775"/>
                  <a:gd name="connsiteX134" fmla="*/ 607219 w 8801100"/>
                  <a:gd name="connsiteY134" fmla="*/ 790575 h 3914775"/>
                  <a:gd name="connsiteX135" fmla="*/ 550069 w 8801100"/>
                  <a:gd name="connsiteY135" fmla="*/ 752475 h 3914775"/>
                  <a:gd name="connsiteX136" fmla="*/ 514350 w 8801100"/>
                  <a:gd name="connsiteY136" fmla="*/ 781050 h 3914775"/>
                  <a:gd name="connsiteX137" fmla="*/ 478631 w 8801100"/>
                  <a:gd name="connsiteY137" fmla="*/ 745331 h 3914775"/>
                  <a:gd name="connsiteX138" fmla="*/ 426244 w 8801100"/>
                  <a:gd name="connsiteY138" fmla="*/ 757238 h 3914775"/>
                  <a:gd name="connsiteX139" fmla="*/ 381000 w 8801100"/>
                  <a:gd name="connsiteY139" fmla="*/ 728663 h 3914775"/>
                  <a:gd name="connsiteX140" fmla="*/ 357188 w 8801100"/>
                  <a:gd name="connsiteY140" fmla="*/ 747713 h 3914775"/>
                  <a:gd name="connsiteX141" fmla="*/ 333375 w 8801100"/>
                  <a:gd name="connsiteY141" fmla="*/ 807244 h 3914775"/>
                  <a:gd name="connsiteX142" fmla="*/ 261938 w 8801100"/>
                  <a:gd name="connsiteY142" fmla="*/ 845343 h 3914775"/>
                  <a:gd name="connsiteX143" fmla="*/ 209550 w 8801100"/>
                  <a:gd name="connsiteY143" fmla="*/ 816769 h 3914775"/>
                  <a:gd name="connsiteX144" fmla="*/ 119063 w 8801100"/>
                  <a:gd name="connsiteY144" fmla="*/ 826294 h 3914775"/>
                  <a:gd name="connsiteX145" fmla="*/ 71437 w 8801100"/>
                  <a:gd name="connsiteY145" fmla="*/ 792957 h 3914775"/>
                  <a:gd name="connsiteX146" fmla="*/ 0 w 8801100"/>
                  <a:gd name="connsiteY146" fmla="*/ 812006 h 3914775"/>
                  <a:gd name="connsiteX147" fmla="*/ 4762 w 8801100"/>
                  <a:gd name="connsiteY147" fmla="*/ 0 h 3914775"/>
                  <a:gd name="connsiteX148" fmla="*/ 6262687 w 8801100"/>
                  <a:gd name="connsiteY148" fmla="*/ 3914775 h 3914775"/>
                  <a:gd name="connsiteX149" fmla="*/ 6360319 w 8801100"/>
                  <a:gd name="connsiteY149" fmla="*/ 3840956 h 3914775"/>
                  <a:gd name="connsiteX150" fmla="*/ 6434138 w 8801100"/>
                  <a:gd name="connsiteY150" fmla="*/ 3771900 h 3914775"/>
                  <a:gd name="connsiteX151" fmla="*/ 6443663 w 8801100"/>
                  <a:gd name="connsiteY151" fmla="*/ 3709988 h 3914775"/>
                  <a:gd name="connsiteX152" fmla="*/ 6477000 w 8801100"/>
                  <a:gd name="connsiteY152" fmla="*/ 3640931 h 3914775"/>
                  <a:gd name="connsiteX153" fmla="*/ 6629400 w 8801100"/>
                  <a:gd name="connsiteY153" fmla="*/ 3533775 h 3914775"/>
                  <a:gd name="connsiteX154" fmla="*/ 6662738 w 8801100"/>
                  <a:gd name="connsiteY154" fmla="*/ 3538538 h 3914775"/>
                  <a:gd name="connsiteX155" fmla="*/ 6715125 w 8801100"/>
                  <a:gd name="connsiteY155" fmla="*/ 3459956 h 3914775"/>
                  <a:gd name="connsiteX156" fmla="*/ 6762750 w 8801100"/>
                  <a:gd name="connsiteY156" fmla="*/ 3421856 h 3914775"/>
                  <a:gd name="connsiteX157" fmla="*/ 6748463 w 8801100"/>
                  <a:gd name="connsiteY157" fmla="*/ 3352800 h 3914775"/>
                  <a:gd name="connsiteX158" fmla="*/ 6698456 w 8801100"/>
                  <a:gd name="connsiteY158" fmla="*/ 3321843 h 3914775"/>
                  <a:gd name="connsiteX159" fmla="*/ 6638925 w 8801100"/>
                  <a:gd name="connsiteY159" fmla="*/ 3267075 h 3914775"/>
                  <a:gd name="connsiteX160" fmla="*/ 6619875 w 8801100"/>
                  <a:gd name="connsiteY160" fmla="*/ 3209925 h 3914775"/>
                  <a:gd name="connsiteX161" fmla="*/ 6584156 w 8801100"/>
                  <a:gd name="connsiteY161" fmla="*/ 3176588 h 3914775"/>
                  <a:gd name="connsiteX162" fmla="*/ 6610350 w 8801100"/>
                  <a:gd name="connsiteY162" fmla="*/ 3124200 h 3914775"/>
                  <a:gd name="connsiteX163" fmla="*/ 6650831 w 8801100"/>
                  <a:gd name="connsiteY163" fmla="*/ 2945606 h 3914775"/>
                  <a:gd name="connsiteX164" fmla="*/ 6691313 w 8801100"/>
                  <a:gd name="connsiteY164" fmla="*/ 2878931 h 3914775"/>
                  <a:gd name="connsiteX165" fmla="*/ 6836569 w 8801100"/>
                  <a:gd name="connsiteY165" fmla="*/ 2862262 h 3914775"/>
                  <a:gd name="connsiteX166" fmla="*/ 6905625 w 8801100"/>
                  <a:gd name="connsiteY166" fmla="*/ 2919413 h 3914775"/>
                  <a:gd name="connsiteX167" fmla="*/ 6981825 w 8801100"/>
                  <a:gd name="connsiteY167" fmla="*/ 2943225 h 3914775"/>
                  <a:gd name="connsiteX168" fmla="*/ 7186612 w 8801100"/>
                  <a:gd name="connsiteY168" fmla="*/ 2947988 h 3914775"/>
                  <a:gd name="connsiteX169" fmla="*/ 7362825 w 8801100"/>
                  <a:gd name="connsiteY169" fmla="*/ 2809875 h 3914775"/>
                  <a:gd name="connsiteX170" fmla="*/ 7419975 w 8801100"/>
                  <a:gd name="connsiteY170" fmla="*/ 2719387 h 3914775"/>
                  <a:gd name="connsiteX171" fmla="*/ 7446169 w 8801100"/>
                  <a:gd name="connsiteY171" fmla="*/ 2636044 h 3914775"/>
                  <a:gd name="connsiteX172" fmla="*/ 7577137 w 8801100"/>
                  <a:gd name="connsiteY172" fmla="*/ 2636044 h 3914775"/>
                  <a:gd name="connsiteX173" fmla="*/ 7750969 w 8801100"/>
                  <a:gd name="connsiteY173" fmla="*/ 2578893 h 3914775"/>
                  <a:gd name="connsiteX174" fmla="*/ 7810500 w 8801100"/>
                  <a:gd name="connsiteY174" fmla="*/ 2466975 h 3914775"/>
                  <a:gd name="connsiteX175" fmla="*/ 7874794 w 8801100"/>
                  <a:gd name="connsiteY175" fmla="*/ 2431256 h 3914775"/>
                  <a:gd name="connsiteX176" fmla="*/ 7853363 w 8801100"/>
                  <a:gd name="connsiteY176" fmla="*/ 2386013 h 3914775"/>
                  <a:gd name="connsiteX177" fmla="*/ 7931944 w 8801100"/>
                  <a:gd name="connsiteY177" fmla="*/ 2216943 h 3914775"/>
                  <a:gd name="connsiteX178" fmla="*/ 7986713 w 8801100"/>
                  <a:gd name="connsiteY178" fmla="*/ 2157413 h 3914775"/>
                  <a:gd name="connsiteX179" fmla="*/ 8024813 w 8801100"/>
                  <a:gd name="connsiteY179" fmla="*/ 2152650 h 3914775"/>
                  <a:gd name="connsiteX180" fmla="*/ 8070056 w 8801100"/>
                  <a:gd name="connsiteY180" fmla="*/ 2157413 h 3914775"/>
                  <a:gd name="connsiteX181" fmla="*/ 8134350 w 8801100"/>
                  <a:gd name="connsiteY181" fmla="*/ 2124075 h 3914775"/>
                  <a:gd name="connsiteX182" fmla="*/ 8143875 w 8801100"/>
                  <a:gd name="connsiteY182" fmla="*/ 2059781 h 3914775"/>
                  <a:gd name="connsiteX183" fmla="*/ 8184355 w 8801100"/>
                  <a:gd name="connsiteY183" fmla="*/ 2024063 h 3914775"/>
                  <a:gd name="connsiteX184" fmla="*/ 8243888 w 8801100"/>
                  <a:gd name="connsiteY184" fmla="*/ 2064543 h 3914775"/>
                  <a:gd name="connsiteX185" fmla="*/ 8270082 w 8801100"/>
                  <a:gd name="connsiteY185" fmla="*/ 2014537 h 3914775"/>
                  <a:gd name="connsiteX186" fmla="*/ 8365331 w 8801100"/>
                  <a:gd name="connsiteY186" fmla="*/ 1945481 h 3914775"/>
                  <a:gd name="connsiteX187" fmla="*/ 8427244 w 8801100"/>
                  <a:gd name="connsiteY187" fmla="*/ 1952625 h 3914775"/>
                  <a:gd name="connsiteX188" fmla="*/ 8477250 w 8801100"/>
                  <a:gd name="connsiteY188" fmla="*/ 1933575 h 3914775"/>
                  <a:gd name="connsiteX189" fmla="*/ 8515350 w 8801100"/>
                  <a:gd name="connsiteY189" fmla="*/ 1905000 h 3914775"/>
                  <a:gd name="connsiteX190" fmla="*/ 8548688 w 8801100"/>
                  <a:gd name="connsiteY190" fmla="*/ 1902619 h 3914775"/>
                  <a:gd name="connsiteX191" fmla="*/ 8584406 w 8801100"/>
                  <a:gd name="connsiteY191" fmla="*/ 1933575 h 3914775"/>
                  <a:gd name="connsiteX192" fmla="*/ 8643938 w 8801100"/>
                  <a:gd name="connsiteY192" fmla="*/ 1933575 h 3914775"/>
                  <a:gd name="connsiteX193" fmla="*/ 8682037 w 8801100"/>
                  <a:gd name="connsiteY193" fmla="*/ 1914525 h 3914775"/>
                  <a:gd name="connsiteX194" fmla="*/ 8765381 w 8801100"/>
                  <a:gd name="connsiteY194" fmla="*/ 1916907 h 3914775"/>
                  <a:gd name="connsiteX195" fmla="*/ 8796338 w 8801100"/>
                  <a:gd name="connsiteY195" fmla="*/ 1871663 h 3914775"/>
                  <a:gd name="connsiteX196" fmla="*/ 8801100 w 8801100"/>
                  <a:gd name="connsiteY196" fmla="*/ 1809750 h 3914775"/>
                  <a:gd name="connsiteX197" fmla="*/ 8751093 w 8801100"/>
                  <a:gd name="connsiteY197" fmla="*/ 1769269 h 3914775"/>
                  <a:gd name="connsiteX198" fmla="*/ 8734425 w 8801100"/>
                  <a:gd name="connsiteY198" fmla="*/ 1714500 h 3914775"/>
                  <a:gd name="connsiteX199" fmla="*/ 8643938 w 8801100"/>
                  <a:gd name="connsiteY199" fmla="*/ 1652588 h 3914775"/>
                  <a:gd name="connsiteX200" fmla="*/ 8603456 w 8801100"/>
                  <a:gd name="connsiteY200" fmla="*/ 1631156 h 3914775"/>
                  <a:gd name="connsiteX201" fmla="*/ 8565356 w 8801100"/>
                  <a:gd name="connsiteY201" fmla="*/ 1585913 h 3914775"/>
                  <a:gd name="connsiteX202" fmla="*/ 8534400 w 8801100"/>
                  <a:gd name="connsiteY202" fmla="*/ 1583531 h 3914775"/>
                  <a:gd name="connsiteX203" fmla="*/ 8517731 w 8801100"/>
                  <a:gd name="connsiteY203" fmla="*/ 1531144 h 3914775"/>
                  <a:gd name="connsiteX204" fmla="*/ 8477250 w 8801100"/>
                  <a:gd name="connsiteY204" fmla="*/ 1514475 h 3914775"/>
                  <a:gd name="connsiteX205" fmla="*/ 8477250 w 8801100"/>
                  <a:gd name="connsiteY205" fmla="*/ 1514475 h 3914775"/>
                  <a:gd name="connsiteX206" fmla="*/ 8436769 w 8801100"/>
                  <a:gd name="connsiteY206" fmla="*/ 1519238 h 3914775"/>
                  <a:gd name="connsiteX207" fmla="*/ 8351043 w 8801100"/>
                  <a:gd name="connsiteY207" fmla="*/ 1445419 h 3914775"/>
                  <a:gd name="connsiteX208" fmla="*/ 8170069 w 8801100"/>
                  <a:gd name="connsiteY208" fmla="*/ 1445418 h 3914775"/>
                  <a:gd name="connsiteX209" fmla="*/ 8117681 w 8801100"/>
                  <a:gd name="connsiteY209" fmla="*/ 1483519 h 3914775"/>
                  <a:gd name="connsiteX210" fmla="*/ 8067675 w 8801100"/>
                  <a:gd name="connsiteY210" fmla="*/ 1562100 h 3914775"/>
                  <a:gd name="connsiteX211" fmla="*/ 8084344 w 8801100"/>
                  <a:gd name="connsiteY211" fmla="*/ 1583531 h 3914775"/>
                  <a:gd name="connsiteX212" fmla="*/ 8039100 w 8801100"/>
                  <a:gd name="connsiteY212" fmla="*/ 1633537 h 3914775"/>
                  <a:gd name="connsiteX213" fmla="*/ 7889081 w 8801100"/>
                  <a:gd name="connsiteY213" fmla="*/ 1557337 h 3914775"/>
                  <a:gd name="connsiteX214" fmla="*/ 7798594 w 8801100"/>
                  <a:gd name="connsiteY214" fmla="*/ 1593056 h 3914775"/>
                  <a:gd name="connsiteX215" fmla="*/ 7724775 w 8801100"/>
                  <a:gd name="connsiteY215" fmla="*/ 1590675 h 3914775"/>
                  <a:gd name="connsiteX216" fmla="*/ 7667625 w 8801100"/>
                  <a:gd name="connsiteY216" fmla="*/ 1685925 h 3914775"/>
                  <a:gd name="connsiteX217" fmla="*/ 7529513 w 8801100"/>
                  <a:gd name="connsiteY217" fmla="*/ 1588294 h 3914775"/>
                  <a:gd name="connsiteX0" fmla="*/ 7529513 w 8801100"/>
                  <a:gd name="connsiteY0" fmla="*/ 1588294 h 3840956"/>
                  <a:gd name="connsiteX1" fmla="*/ 7522369 w 8801100"/>
                  <a:gd name="connsiteY1" fmla="*/ 1533525 h 3840956"/>
                  <a:gd name="connsiteX2" fmla="*/ 7589044 w 8801100"/>
                  <a:gd name="connsiteY2" fmla="*/ 1459706 h 3840956"/>
                  <a:gd name="connsiteX3" fmla="*/ 7572375 w 8801100"/>
                  <a:gd name="connsiteY3" fmla="*/ 1388269 h 3840956"/>
                  <a:gd name="connsiteX4" fmla="*/ 7586663 w 8801100"/>
                  <a:gd name="connsiteY4" fmla="*/ 1293019 h 3840956"/>
                  <a:gd name="connsiteX5" fmla="*/ 7624763 w 8801100"/>
                  <a:gd name="connsiteY5" fmla="*/ 1235869 h 3840956"/>
                  <a:gd name="connsiteX6" fmla="*/ 7605712 w 8801100"/>
                  <a:gd name="connsiteY6" fmla="*/ 1202531 h 3840956"/>
                  <a:gd name="connsiteX7" fmla="*/ 7703343 w 8801100"/>
                  <a:gd name="connsiteY7" fmla="*/ 802481 h 3840956"/>
                  <a:gd name="connsiteX8" fmla="*/ 7696200 w 8801100"/>
                  <a:gd name="connsiteY8" fmla="*/ 773906 h 3840956"/>
                  <a:gd name="connsiteX9" fmla="*/ 7567613 w 8801100"/>
                  <a:gd name="connsiteY9" fmla="*/ 752475 h 3840956"/>
                  <a:gd name="connsiteX10" fmla="*/ 7384257 w 8801100"/>
                  <a:gd name="connsiteY10" fmla="*/ 831056 h 3840956"/>
                  <a:gd name="connsiteX11" fmla="*/ 7227093 w 8801100"/>
                  <a:gd name="connsiteY11" fmla="*/ 716756 h 3840956"/>
                  <a:gd name="connsiteX12" fmla="*/ 7150894 w 8801100"/>
                  <a:gd name="connsiteY12" fmla="*/ 723900 h 3840956"/>
                  <a:gd name="connsiteX13" fmla="*/ 7077075 w 8801100"/>
                  <a:gd name="connsiteY13" fmla="*/ 719138 h 3840956"/>
                  <a:gd name="connsiteX14" fmla="*/ 6938963 w 8801100"/>
                  <a:gd name="connsiteY14" fmla="*/ 823913 h 3840956"/>
                  <a:gd name="connsiteX15" fmla="*/ 6831806 w 8801100"/>
                  <a:gd name="connsiteY15" fmla="*/ 931069 h 3840956"/>
                  <a:gd name="connsiteX16" fmla="*/ 6788944 w 8801100"/>
                  <a:gd name="connsiteY16" fmla="*/ 1000125 h 3840956"/>
                  <a:gd name="connsiteX17" fmla="*/ 6796088 w 8801100"/>
                  <a:gd name="connsiteY17" fmla="*/ 1035844 h 3840956"/>
                  <a:gd name="connsiteX18" fmla="*/ 6734175 w 8801100"/>
                  <a:gd name="connsiteY18" fmla="*/ 1047750 h 3840956"/>
                  <a:gd name="connsiteX19" fmla="*/ 6753225 w 8801100"/>
                  <a:gd name="connsiteY19" fmla="*/ 1047750 h 3840956"/>
                  <a:gd name="connsiteX20" fmla="*/ 6719888 w 8801100"/>
                  <a:gd name="connsiteY20" fmla="*/ 1078706 h 3840956"/>
                  <a:gd name="connsiteX21" fmla="*/ 6619875 w 8801100"/>
                  <a:gd name="connsiteY21" fmla="*/ 1078707 h 3840956"/>
                  <a:gd name="connsiteX22" fmla="*/ 6524625 w 8801100"/>
                  <a:gd name="connsiteY22" fmla="*/ 1133475 h 3840956"/>
                  <a:gd name="connsiteX23" fmla="*/ 6443663 w 8801100"/>
                  <a:gd name="connsiteY23" fmla="*/ 1143000 h 3840956"/>
                  <a:gd name="connsiteX24" fmla="*/ 6403181 w 8801100"/>
                  <a:gd name="connsiteY24" fmla="*/ 1176338 h 3840956"/>
                  <a:gd name="connsiteX25" fmla="*/ 6353175 w 8801100"/>
                  <a:gd name="connsiteY25" fmla="*/ 1181100 h 3840956"/>
                  <a:gd name="connsiteX26" fmla="*/ 6231732 w 8801100"/>
                  <a:gd name="connsiteY26" fmla="*/ 1273969 h 3840956"/>
                  <a:gd name="connsiteX27" fmla="*/ 6172200 w 8801100"/>
                  <a:gd name="connsiteY27" fmla="*/ 1278731 h 3840956"/>
                  <a:gd name="connsiteX28" fmla="*/ 6119813 w 8801100"/>
                  <a:gd name="connsiteY28" fmla="*/ 1243013 h 3840956"/>
                  <a:gd name="connsiteX29" fmla="*/ 6093619 w 8801100"/>
                  <a:gd name="connsiteY29" fmla="*/ 1278731 h 3840956"/>
                  <a:gd name="connsiteX30" fmla="*/ 5895975 w 8801100"/>
                  <a:gd name="connsiteY30" fmla="*/ 1271588 h 3840956"/>
                  <a:gd name="connsiteX31" fmla="*/ 5834063 w 8801100"/>
                  <a:gd name="connsiteY31" fmla="*/ 1226344 h 3840956"/>
                  <a:gd name="connsiteX32" fmla="*/ 5636419 w 8801100"/>
                  <a:gd name="connsiteY32" fmla="*/ 1243013 h 3840956"/>
                  <a:gd name="connsiteX33" fmla="*/ 5548313 w 8801100"/>
                  <a:gd name="connsiteY33" fmla="*/ 1159668 h 3840956"/>
                  <a:gd name="connsiteX34" fmla="*/ 5472113 w 8801100"/>
                  <a:gd name="connsiteY34" fmla="*/ 1114425 h 3840956"/>
                  <a:gd name="connsiteX35" fmla="*/ 5474493 w 8801100"/>
                  <a:gd name="connsiteY35" fmla="*/ 1057275 h 3840956"/>
                  <a:gd name="connsiteX36" fmla="*/ 5455444 w 8801100"/>
                  <a:gd name="connsiteY36" fmla="*/ 1014412 h 3840956"/>
                  <a:gd name="connsiteX37" fmla="*/ 5360194 w 8801100"/>
                  <a:gd name="connsiteY37" fmla="*/ 1016794 h 3840956"/>
                  <a:gd name="connsiteX38" fmla="*/ 5264944 w 8801100"/>
                  <a:gd name="connsiteY38" fmla="*/ 995363 h 3840956"/>
                  <a:gd name="connsiteX39" fmla="*/ 5195887 w 8801100"/>
                  <a:gd name="connsiteY39" fmla="*/ 928687 h 3840956"/>
                  <a:gd name="connsiteX40" fmla="*/ 5160169 w 8801100"/>
                  <a:gd name="connsiteY40" fmla="*/ 885825 h 3840956"/>
                  <a:gd name="connsiteX41" fmla="*/ 5079206 w 8801100"/>
                  <a:gd name="connsiteY41" fmla="*/ 862012 h 3840956"/>
                  <a:gd name="connsiteX42" fmla="*/ 5005388 w 8801100"/>
                  <a:gd name="connsiteY42" fmla="*/ 873918 h 3840956"/>
                  <a:gd name="connsiteX43" fmla="*/ 4948237 w 8801100"/>
                  <a:gd name="connsiteY43" fmla="*/ 821531 h 3840956"/>
                  <a:gd name="connsiteX44" fmla="*/ 4852988 w 8801100"/>
                  <a:gd name="connsiteY44" fmla="*/ 833438 h 3840956"/>
                  <a:gd name="connsiteX45" fmla="*/ 4800600 w 8801100"/>
                  <a:gd name="connsiteY45" fmla="*/ 807244 h 3840956"/>
                  <a:gd name="connsiteX46" fmla="*/ 4719638 w 8801100"/>
                  <a:gd name="connsiteY46" fmla="*/ 850106 h 3840956"/>
                  <a:gd name="connsiteX47" fmla="*/ 4581525 w 8801100"/>
                  <a:gd name="connsiteY47" fmla="*/ 873919 h 3840956"/>
                  <a:gd name="connsiteX48" fmla="*/ 4452938 w 8801100"/>
                  <a:gd name="connsiteY48" fmla="*/ 966788 h 3840956"/>
                  <a:gd name="connsiteX49" fmla="*/ 4405312 w 8801100"/>
                  <a:gd name="connsiteY49" fmla="*/ 928688 h 3840956"/>
                  <a:gd name="connsiteX50" fmla="*/ 4383881 w 8801100"/>
                  <a:gd name="connsiteY50" fmla="*/ 959643 h 3840956"/>
                  <a:gd name="connsiteX51" fmla="*/ 4310063 w 8801100"/>
                  <a:gd name="connsiteY51" fmla="*/ 909638 h 3840956"/>
                  <a:gd name="connsiteX52" fmla="*/ 4271963 w 8801100"/>
                  <a:gd name="connsiteY52" fmla="*/ 916781 h 3840956"/>
                  <a:gd name="connsiteX53" fmla="*/ 4250531 w 8801100"/>
                  <a:gd name="connsiteY53" fmla="*/ 878681 h 3840956"/>
                  <a:gd name="connsiteX54" fmla="*/ 4191000 w 8801100"/>
                  <a:gd name="connsiteY54" fmla="*/ 883444 h 3840956"/>
                  <a:gd name="connsiteX55" fmla="*/ 4145756 w 8801100"/>
                  <a:gd name="connsiteY55" fmla="*/ 854869 h 3840956"/>
                  <a:gd name="connsiteX56" fmla="*/ 4107656 w 8801100"/>
                  <a:gd name="connsiteY56" fmla="*/ 852488 h 3840956"/>
                  <a:gd name="connsiteX57" fmla="*/ 4088606 w 8801100"/>
                  <a:gd name="connsiteY57" fmla="*/ 804862 h 3840956"/>
                  <a:gd name="connsiteX58" fmla="*/ 4074319 w 8801100"/>
                  <a:gd name="connsiteY58" fmla="*/ 773906 h 3840956"/>
                  <a:gd name="connsiteX59" fmla="*/ 4029075 w 8801100"/>
                  <a:gd name="connsiteY59" fmla="*/ 783431 h 3840956"/>
                  <a:gd name="connsiteX60" fmla="*/ 4010025 w 8801100"/>
                  <a:gd name="connsiteY60" fmla="*/ 747713 h 3840956"/>
                  <a:gd name="connsiteX61" fmla="*/ 4031457 w 8801100"/>
                  <a:gd name="connsiteY61" fmla="*/ 692944 h 3840956"/>
                  <a:gd name="connsiteX62" fmla="*/ 4000500 w 8801100"/>
                  <a:gd name="connsiteY62" fmla="*/ 666750 h 3840956"/>
                  <a:gd name="connsiteX63" fmla="*/ 4017169 w 8801100"/>
                  <a:gd name="connsiteY63" fmla="*/ 623888 h 3840956"/>
                  <a:gd name="connsiteX64" fmla="*/ 3990975 w 8801100"/>
                  <a:gd name="connsiteY64" fmla="*/ 581025 h 3840956"/>
                  <a:gd name="connsiteX65" fmla="*/ 3986213 w 8801100"/>
                  <a:gd name="connsiteY65" fmla="*/ 519113 h 3840956"/>
                  <a:gd name="connsiteX66" fmla="*/ 4010025 w 8801100"/>
                  <a:gd name="connsiteY66" fmla="*/ 454818 h 3840956"/>
                  <a:gd name="connsiteX67" fmla="*/ 3971925 w 8801100"/>
                  <a:gd name="connsiteY67" fmla="*/ 457200 h 3840956"/>
                  <a:gd name="connsiteX68" fmla="*/ 3852863 w 8801100"/>
                  <a:gd name="connsiteY68" fmla="*/ 400050 h 3840956"/>
                  <a:gd name="connsiteX69" fmla="*/ 3814762 w 8801100"/>
                  <a:gd name="connsiteY69" fmla="*/ 404812 h 3840956"/>
                  <a:gd name="connsiteX70" fmla="*/ 3609975 w 8801100"/>
                  <a:gd name="connsiteY70" fmla="*/ 295275 h 3840956"/>
                  <a:gd name="connsiteX71" fmla="*/ 3505200 w 8801100"/>
                  <a:gd name="connsiteY71" fmla="*/ 264319 h 3840956"/>
                  <a:gd name="connsiteX72" fmla="*/ 3440906 w 8801100"/>
                  <a:gd name="connsiteY72" fmla="*/ 273843 h 3840956"/>
                  <a:gd name="connsiteX73" fmla="*/ 3409950 w 8801100"/>
                  <a:gd name="connsiteY73" fmla="*/ 209550 h 3840956"/>
                  <a:gd name="connsiteX74" fmla="*/ 3352800 w 8801100"/>
                  <a:gd name="connsiteY74" fmla="*/ 209550 h 3840956"/>
                  <a:gd name="connsiteX75" fmla="*/ 3214687 w 8801100"/>
                  <a:gd name="connsiteY75" fmla="*/ 104775 h 3840956"/>
                  <a:gd name="connsiteX76" fmla="*/ 3181350 w 8801100"/>
                  <a:gd name="connsiteY76" fmla="*/ 164307 h 3840956"/>
                  <a:gd name="connsiteX77" fmla="*/ 3126581 w 8801100"/>
                  <a:gd name="connsiteY77" fmla="*/ 233363 h 3840956"/>
                  <a:gd name="connsiteX78" fmla="*/ 3083719 w 8801100"/>
                  <a:gd name="connsiteY78" fmla="*/ 250031 h 3840956"/>
                  <a:gd name="connsiteX79" fmla="*/ 3052763 w 8801100"/>
                  <a:gd name="connsiteY79" fmla="*/ 242888 h 3840956"/>
                  <a:gd name="connsiteX80" fmla="*/ 3028950 w 8801100"/>
                  <a:gd name="connsiteY80" fmla="*/ 271463 h 3840956"/>
                  <a:gd name="connsiteX81" fmla="*/ 3002756 w 8801100"/>
                  <a:gd name="connsiteY81" fmla="*/ 350044 h 3840956"/>
                  <a:gd name="connsiteX82" fmla="*/ 2959894 w 8801100"/>
                  <a:gd name="connsiteY82" fmla="*/ 347663 h 3840956"/>
                  <a:gd name="connsiteX83" fmla="*/ 2928937 w 8801100"/>
                  <a:gd name="connsiteY83" fmla="*/ 409575 h 3840956"/>
                  <a:gd name="connsiteX84" fmla="*/ 2924175 w 8801100"/>
                  <a:gd name="connsiteY84" fmla="*/ 473869 h 3840956"/>
                  <a:gd name="connsiteX85" fmla="*/ 2897982 w 8801100"/>
                  <a:gd name="connsiteY85" fmla="*/ 511969 h 3840956"/>
                  <a:gd name="connsiteX86" fmla="*/ 2924175 w 8801100"/>
                  <a:gd name="connsiteY86" fmla="*/ 571500 h 3840956"/>
                  <a:gd name="connsiteX87" fmla="*/ 2926556 w 8801100"/>
                  <a:gd name="connsiteY87" fmla="*/ 640556 h 3840956"/>
                  <a:gd name="connsiteX88" fmla="*/ 2955131 w 8801100"/>
                  <a:gd name="connsiteY88" fmla="*/ 692944 h 3840956"/>
                  <a:gd name="connsiteX89" fmla="*/ 3002757 w 8801100"/>
                  <a:gd name="connsiteY89" fmla="*/ 747713 h 3840956"/>
                  <a:gd name="connsiteX90" fmla="*/ 2952750 w 8801100"/>
                  <a:gd name="connsiteY90" fmla="*/ 885825 h 3840956"/>
                  <a:gd name="connsiteX91" fmla="*/ 2883694 w 8801100"/>
                  <a:gd name="connsiteY91" fmla="*/ 952500 h 3840956"/>
                  <a:gd name="connsiteX92" fmla="*/ 2812256 w 8801100"/>
                  <a:gd name="connsiteY92" fmla="*/ 947738 h 3840956"/>
                  <a:gd name="connsiteX93" fmla="*/ 2774156 w 8801100"/>
                  <a:gd name="connsiteY93" fmla="*/ 1004888 h 3840956"/>
                  <a:gd name="connsiteX94" fmla="*/ 2714625 w 8801100"/>
                  <a:gd name="connsiteY94" fmla="*/ 1019175 h 3840956"/>
                  <a:gd name="connsiteX95" fmla="*/ 2645569 w 8801100"/>
                  <a:gd name="connsiteY95" fmla="*/ 959644 h 3840956"/>
                  <a:gd name="connsiteX96" fmla="*/ 2590800 w 8801100"/>
                  <a:gd name="connsiteY96" fmla="*/ 931069 h 3840956"/>
                  <a:gd name="connsiteX97" fmla="*/ 2547938 w 8801100"/>
                  <a:gd name="connsiteY97" fmla="*/ 945356 h 3840956"/>
                  <a:gd name="connsiteX98" fmla="*/ 2495550 w 8801100"/>
                  <a:gd name="connsiteY98" fmla="*/ 928688 h 3840956"/>
                  <a:gd name="connsiteX99" fmla="*/ 2428875 w 8801100"/>
                  <a:gd name="connsiteY99" fmla="*/ 873919 h 3840956"/>
                  <a:gd name="connsiteX100" fmla="*/ 2383631 w 8801100"/>
                  <a:gd name="connsiteY100" fmla="*/ 885825 h 3840956"/>
                  <a:gd name="connsiteX101" fmla="*/ 2362200 w 8801100"/>
                  <a:gd name="connsiteY101" fmla="*/ 854869 h 3840956"/>
                  <a:gd name="connsiteX102" fmla="*/ 2305050 w 8801100"/>
                  <a:gd name="connsiteY102" fmla="*/ 895350 h 3840956"/>
                  <a:gd name="connsiteX103" fmla="*/ 2188369 w 8801100"/>
                  <a:gd name="connsiteY103" fmla="*/ 873919 h 3840956"/>
                  <a:gd name="connsiteX104" fmla="*/ 2138363 w 8801100"/>
                  <a:gd name="connsiteY104" fmla="*/ 821531 h 3840956"/>
                  <a:gd name="connsiteX105" fmla="*/ 2095500 w 8801100"/>
                  <a:gd name="connsiteY105" fmla="*/ 807244 h 3840956"/>
                  <a:gd name="connsiteX106" fmla="*/ 2052638 w 8801100"/>
                  <a:gd name="connsiteY106" fmla="*/ 833438 h 3840956"/>
                  <a:gd name="connsiteX107" fmla="*/ 2000250 w 8801100"/>
                  <a:gd name="connsiteY107" fmla="*/ 742950 h 3840956"/>
                  <a:gd name="connsiteX108" fmla="*/ 1990725 w 8801100"/>
                  <a:gd name="connsiteY108" fmla="*/ 595312 h 3840956"/>
                  <a:gd name="connsiteX109" fmla="*/ 1938337 w 8801100"/>
                  <a:gd name="connsiteY109" fmla="*/ 588168 h 3840956"/>
                  <a:gd name="connsiteX110" fmla="*/ 1847850 w 8801100"/>
                  <a:gd name="connsiteY110" fmla="*/ 578644 h 3840956"/>
                  <a:gd name="connsiteX111" fmla="*/ 1793081 w 8801100"/>
                  <a:gd name="connsiteY111" fmla="*/ 540544 h 3840956"/>
                  <a:gd name="connsiteX112" fmla="*/ 1724025 w 8801100"/>
                  <a:gd name="connsiteY112" fmla="*/ 550069 h 3840956"/>
                  <a:gd name="connsiteX113" fmla="*/ 1678781 w 8801100"/>
                  <a:gd name="connsiteY113" fmla="*/ 523875 h 3840956"/>
                  <a:gd name="connsiteX114" fmla="*/ 1669257 w 8801100"/>
                  <a:gd name="connsiteY114" fmla="*/ 452438 h 3840956"/>
                  <a:gd name="connsiteX115" fmla="*/ 1645444 w 8801100"/>
                  <a:gd name="connsiteY115" fmla="*/ 438150 h 3840956"/>
                  <a:gd name="connsiteX116" fmla="*/ 1607344 w 8801100"/>
                  <a:gd name="connsiteY116" fmla="*/ 485774 h 3840956"/>
                  <a:gd name="connsiteX117" fmla="*/ 1528762 w 8801100"/>
                  <a:gd name="connsiteY117" fmla="*/ 411956 h 3840956"/>
                  <a:gd name="connsiteX118" fmla="*/ 1488281 w 8801100"/>
                  <a:gd name="connsiteY118" fmla="*/ 452438 h 3840956"/>
                  <a:gd name="connsiteX119" fmla="*/ 1412081 w 8801100"/>
                  <a:gd name="connsiteY119" fmla="*/ 438150 h 3840956"/>
                  <a:gd name="connsiteX120" fmla="*/ 1333500 w 8801100"/>
                  <a:gd name="connsiteY120" fmla="*/ 464344 h 3840956"/>
                  <a:gd name="connsiteX121" fmla="*/ 1273969 w 8801100"/>
                  <a:gd name="connsiteY121" fmla="*/ 511968 h 3840956"/>
                  <a:gd name="connsiteX122" fmla="*/ 1200150 w 8801100"/>
                  <a:gd name="connsiteY122" fmla="*/ 523875 h 3840956"/>
                  <a:gd name="connsiteX123" fmla="*/ 1164431 w 8801100"/>
                  <a:gd name="connsiteY123" fmla="*/ 516731 h 3840956"/>
                  <a:gd name="connsiteX124" fmla="*/ 1085851 w 8801100"/>
                  <a:gd name="connsiteY124" fmla="*/ 547688 h 3840956"/>
                  <a:gd name="connsiteX125" fmla="*/ 1064419 w 8801100"/>
                  <a:gd name="connsiteY125" fmla="*/ 576263 h 3840956"/>
                  <a:gd name="connsiteX126" fmla="*/ 997744 w 8801100"/>
                  <a:gd name="connsiteY126" fmla="*/ 566738 h 3840956"/>
                  <a:gd name="connsiteX127" fmla="*/ 928688 w 8801100"/>
                  <a:gd name="connsiteY127" fmla="*/ 590550 h 3840956"/>
                  <a:gd name="connsiteX128" fmla="*/ 873919 w 8801100"/>
                  <a:gd name="connsiteY128" fmla="*/ 628650 h 3840956"/>
                  <a:gd name="connsiteX129" fmla="*/ 778669 w 8801100"/>
                  <a:gd name="connsiteY129" fmla="*/ 642937 h 3840956"/>
                  <a:gd name="connsiteX130" fmla="*/ 764381 w 8801100"/>
                  <a:gd name="connsiteY130" fmla="*/ 664369 h 3840956"/>
                  <a:gd name="connsiteX131" fmla="*/ 776287 w 8801100"/>
                  <a:gd name="connsiteY131" fmla="*/ 709613 h 3840956"/>
                  <a:gd name="connsiteX132" fmla="*/ 676276 w 8801100"/>
                  <a:gd name="connsiteY132" fmla="*/ 762000 h 3840956"/>
                  <a:gd name="connsiteX133" fmla="*/ 638175 w 8801100"/>
                  <a:gd name="connsiteY133" fmla="*/ 733424 h 3840956"/>
                  <a:gd name="connsiteX134" fmla="*/ 607219 w 8801100"/>
                  <a:gd name="connsiteY134" fmla="*/ 790575 h 3840956"/>
                  <a:gd name="connsiteX135" fmla="*/ 550069 w 8801100"/>
                  <a:gd name="connsiteY135" fmla="*/ 752475 h 3840956"/>
                  <a:gd name="connsiteX136" fmla="*/ 514350 w 8801100"/>
                  <a:gd name="connsiteY136" fmla="*/ 781050 h 3840956"/>
                  <a:gd name="connsiteX137" fmla="*/ 478631 w 8801100"/>
                  <a:gd name="connsiteY137" fmla="*/ 745331 h 3840956"/>
                  <a:gd name="connsiteX138" fmla="*/ 426244 w 8801100"/>
                  <a:gd name="connsiteY138" fmla="*/ 757238 h 3840956"/>
                  <a:gd name="connsiteX139" fmla="*/ 381000 w 8801100"/>
                  <a:gd name="connsiteY139" fmla="*/ 728663 h 3840956"/>
                  <a:gd name="connsiteX140" fmla="*/ 357188 w 8801100"/>
                  <a:gd name="connsiteY140" fmla="*/ 747713 h 3840956"/>
                  <a:gd name="connsiteX141" fmla="*/ 333375 w 8801100"/>
                  <a:gd name="connsiteY141" fmla="*/ 807244 h 3840956"/>
                  <a:gd name="connsiteX142" fmla="*/ 261938 w 8801100"/>
                  <a:gd name="connsiteY142" fmla="*/ 845343 h 3840956"/>
                  <a:gd name="connsiteX143" fmla="*/ 209550 w 8801100"/>
                  <a:gd name="connsiteY143" fmla="*/ 816769 h 3840956"/>
                  <a:gd name="connsiteX144" fmla="*/ 119063 w 8801100"/>
                  <a:gd name="connsiteY144" fmla="*/ 826294 h 3840956"/>
                  <a:gd name="connsiteX145" fmla="*/ 71437 w 8801100"/>
                  <a:gd name="connsiteY145" fmla="*/ 792957 h 3840956"/>
                  <a:gd name="connsiteX146" fmla="*/ 0 w 8801100"/>
                  <a:gd name="connsiteY146" fmla="*/ 812006 h 3840956"/>
                  <a:gd name="connsiteX147" fmla="*/ 4762 w 8801100"/>
                  <a:gd name="connsiteY147" fmla="*/ 0 h 3840956"/>
                  <a:gd name="connsiteX148" fmla="*/ 6360319 w 8801100"/>
                  <a:gd name="connsiteY148" fmla="*/ 3840956 h 3840956"/>
                  <a:gd name="connsiteX149" fmla="*/ 6434138 w 8801100"/>
                  <a:gd name="connsiteY149" fmla="*/ 3771900 h 3840956"/>
                  <a:gd name="connsiteX150" fmla="*/ 6443663 w 8801100"/>
                  <a:gd name="connsiteY150" fmla="*/ 3709988 h 3840956"/>
                  <a:gd name="connsiteX151" fmla="*/ 6477000 w 8801100"/>
                  <a:gd name="connsiteY151" fmla="*/ 3640931 h 3840956"/>
                  <a:gd name="connsiteX152" fmla="*/ 6629400 w 8801100"/>
                  <a:gd name="connsiteY152" fmla="*/ 3533775 h 3840956"/>
                  <a:gd name="connsiteX153" fmla="*/ 6662738 w 8801100"/>
                  <a:gd name="connsiteY153" fmla="*/ 3538538 h 3840956"/>
                  <a:gd name="connsiteX154" fmla="*/ 6715125 w 8801100"/>
                  <a:gd name="connsiteY154" fmla="*/ 3459956 h 3840956"/>
                  <a:gd name="connsiteX155" fmla="*/ 6762750 w 8801100"/>
                  <a:gd name="connsiteY155" fmla="*/ 3421856 h 3840956"/>
                  <a:gd name="connsiteX156" fmla="*/ 6748463 w 8801100"/>
                  <a:gd name="connsiteY156" fmla="*/ 3352800 h 3840956"/>
                  <a:gd name="connsiteX157" fmla="*/ 6698456 w 8801100"/>
                  <a:gd name="connsiteY157" fmla="*/ 3321843 h 3840956"/>
                  <a:gd name="connsiteX158" fmla="*/ 6638925 w 8801100"/>
                  <a:gd name="connsiteY158" fmla="*/ 3267075 h 3840956"/>
                  <a:gd name="connsiteX159" fmla="*/ 6619875 w 8801100"/>
                  <a:gd name="connsiteY159" fmla="*/ 3209925 h 3840956"/>
                  <a:gd name="connsiteX160" fmla="*/ 6584156 w 8801100"/>
                  <a:gd name="connsiteY160" fmla="*/ 3176588 h 3840956"/>
                  <a:gd name="connsiteX161" fmla="*/ 6610350 w 8801100"/>
                  <a:gd name="connsiteY161" fmla="*/ 3124200 h 3840956"/>
                  <a:gd name="connsiteX162" fmla="*/ 6650831 w 8801100"/>
                  <a:gd name="connsiteY162" fmla="*/ 2945606 h 3840956"/>
                  <a:gd name="connsiteX163" fmla="*/ 6691313 w 8801100"/>
                  <a:gd name="connsiteY163" fmla="*/ 2878931 h 3840956"/>
                  <a:gd name="connsiteX164" fmla="*/ 6836569 w 8801100"/>
                  <a:gd name="connsiteY164" fmla="*/ 2862262 h 3840956"/>
                  <a:gd name="connsiteX165" fmla="*/ 6905625 w 8801100"/>
                  <a:gd name="connsiteY165" fmla="*/ 2919413 h 3840956"/>
                  <a:gd name="connsiteX166" fmla="*/ 6981825 w 8801100"/>
                  <a:gd name="connsiteY166" fmla="*/ 2943225 h 3840956"/>
                  <a:gd name="connsiteX167" fmla="*/ 7186612 w 8801100"/>
                  <a:gd name="connsiteY167" fmla="*/ 2947988 h 3840956"/>
                  <a:gd name="connsiteX168" fmla="*/ 7362825 w 8801100"/>
                  <a:gd name="connsiteY168" fmla="*/ 2809875 h 3840956"/>
                  <a:gd name="connsiteX169" fmla="*/ 7419975 w 8801100"/>
                  <a:gd name="connsiteY169" fmla="*/ 2719387 h 3840956"/>
                  <a:gd name="connsiteX170" fmla="*/ 7446169 w 8801100"/>
                  <a:gd name="connsiteY170" fmla="*/ 2636044 h 3840956"/>
                  <a:gd name="connsiteX171" fmla="*/ 7577137 w 8801100"/>
                  <a:gd name="connsiteY171" fmla="*/ 2636044 h 3840956"/>
                  <a:gd name="connsiteX172" fmla="*/ 7750969 w 8801100"/>
                  <a:gd name="connsiteY172" fmla="*/ 2578893 h 3840956"/>
                  <a:gd name="connsiteX173" fmla="*/ 7810500 w 8801100"/>
                  <a:gd name="connsiteY173" fmla="*/ 2466975 h 3840956"/>
                  <a:gd name="connsiteX174" fmla="*/ 7874794 w 8801100"/>
                  <a:gd name="connsiteY174" fmla="*/ 2431256 h 3840956"/>
                  <a:gd name="connsiteX175" fmla="*/ 7853363 w 8801100"/>
                  <a:gd name="connsiteY175" fmla="*/ 2386013 h 3840956"/>
                  <a:gd name="connsiteX176" fmla="*/ 7931944 w 8801100"/>
                  <a:gd name="connsiteY176" fmla="*/ 2216943 h 3840956"/>
                  <a:gd name="connsiteX177" fmla="*/ 7986713 w 8801100"/>
                  <a:gd name="connsiteY177" fmla="*/ 2157413 h 3840956"/>
                  <a:gd name="connsiteX178" fmla="*/ 8024813 w 8801100"/>
                  <a:gd name="connsiteY178" fmla="*/ 2152650 h 3840956"/>
                  <a:gd name="connsiteX179" fmla="*/ 8070056 w 8801100"/>
                  <a:gd name="connsiteY179" fmla="*/ 2157413 h 3840956"/>
                  <a:gd name="connsiteX180" fmla="*/ 8134350 w 8801100"/>
                  <a:gd name="connsiteY180" fmla="*/ 2124075 h 3840956"/>
                  <a:gd name="connsiteX181" fmla="*/ 8143875 w 8801100"/>
                  <a:gd name="connsiteY181" fmla="*/ 2059781 h 3840956"/>
                  <a:gd name="connsiteX182" fmla="*/ 8184355 w 8801100"/>
                  <a:gd name="connsiteY182" fmla="*/ 2024063 h 3840956"/>
                  <a:gd name="connsiteX183" fmla="*/ 8243888 w 8801100"/>
                  <a:gd name="connsiteY183" fmla="*/ 2064543 h 3840956"/>
                  <a:gd name="connsiteX184" fmla="*/ 8270082 w 8801100"/>
                  <a:gd name="connsiteY184" fmla="*/ 2014537 h 3840956"/>
                  <a:gd name="connsiteX185" fmla="*/ 8365331 w 8801100"/>
                  <a:gd name="connsiteY185" fmla="*/ 1945481 h 3840956"/>
                  <a:gd name="connsiteX186" fmla="*/ 8427244 w 8801100"/>
                  <a:gd name="connsiteY186" fmla="*/ 1952625 h 3840956"/>
                  <a:gd name="connsiteX187" fmla="*/ 8477250 w 8801100"/>
                  <a:gd name="connsiteY187" fmla="*/ 1933575 h 3840956"/>
                  <a:gd name="connsiteX188" fmla="*/ 8515350 w 8801100"/>
                  <a:gd name="connsiteY188" fmla="*/ 1905000 h 3840956"/>
                  <a:gd name="connsiteX189" fmla="*/ 8548688 w 8801100"/>
                  <a:gd name="connsiteY189" fmla="*/ 1902619 h 3840956"/>
                  <a:gd name="connsiteX190" fmla="*/ 8584406 w 8801100"/>
                  <a:gd name="connsiteY190" fmla="*/ 1933575 h 3840956"/>
                  <a:gd name="connsiteX191" fmla="*/ 8643938 w 8801100"/>
                  <a:gd name="connsiteY191" fmla="*/ 1933575 h 3840956"/>
                  <a:gd name="connsiteX192" fmla="*/ 8682037 w 8801100"/>
                  <a:gd name="connsiteY192" fmla="*/ 1914525 h 3840956"/>
                  <a:gd name="connsiteX193" fmla="*/ 8765381 w 8801100"/>
                  <a:gd name="connsiteY193" fmla="*/ 1916907 h 3840956"/>
                  <a:gd name="connsiteX194" fmla="*/ 8796338 w 8801100"/>
                  <a:gd name="connsiteY194" fmla="*/ 1871663 h 3840956"/>
                  <a:gd name="connsiteX195" fmla="*/ 8801100 w 8801100"/>
                  <a:gd name="connsiteY195" fmla="*/ 1809750 h 3840956"/>
                  <a:gd name="connsiteX196" fmla="*/ 8751093 w 8801100"/>
                  <a:gd name="connsiteY196" fmla="*/ 1769269 h 3840956"/>
                  <a:gd name="connsiteX197" fmla="*/ 8734425 w 8801100"/>
                  <a:gd name="connsiteY197" fmla="*/ 1714500 h 3840956"/>
                  <a:gd name="connsiteX198" fmla="*/ 8643938 w 8801100"/>
                  <a:gd name="connsiteY198" fmla="*/ 1652588 h 3840956"/>
                  <a:gd name="connsiteX199" fmla="*/ 8603456 w 8801100"/>
                  <a:gd name="connsiteY199" fmla="*/ 1631156 h 3840956"/>
                  <a:gd name="connsiteX200" fmla="*/ 8565356 w 8801100"/>
                  <a:gd name="connsiteY200" fmla="*/ 1585913 h 3840956"/>
                  <a:gd name="connsiteX201" fmla="*/ 8534400 w 8801100"/>
                  <a:gd name="connsiteY201" fmla="*/ 1583531 h 3840956"/>
                  <a:gd name="connsiteX202" fmla="*/ 8517731 w 8801100"/>
                  <a:gd name="connsiteY202" fmla="*/ 1531144 h 3840956"/>
                  <a:gd name="connsiteX203" fmla="*/ 8477250 w 8801100"/>
                  <a:gd name="connsiteY203" fmla="*/ 1514475 h 3840956"/>
                  <a:gd name="connsiteX204" fmla="*/ 8477250 w 8801100"/>
                  <a:gd name="connsiteY204" fmla="*/ 1514475 h 3840956"/>
                  <a:gd name="connsiteX205" fmla="*/ 8436769 w 8801100"/>
                  <a:gd name="connsiteY205" fmla="*/ 1519238 h 3840956"/>
                  <a:gd name="connsiteX206" fmla="*/ 8351043 w 8801100"/>
                  <a:gd name="connsiteY206" fmla="*/ 1445419 h 3840956"/>
                  <a:gd name="connsiteX207" fmla="*/ 8170069 w 8801100"/>
                  <a:gd name="connsiteY207" fmla="*/ 1445418 h 3840956"/>
                  <a:gd name="connsiteX208" fmla="*/ 8117681 w 8801100"/>
                  <a:gd name="connsiteY208" fmla="*/ 1483519 h 3840956"/>
                  <a:gd name="connsiteX209" fmla="*/ 8067675 w 8801100"/>
                  <a:gd name="connsiteY209" fmla="*/ 1562100 h 3840956"/>
                  <a:gd name="connsiteX210" fmla="*/ 8084344 w 8801100"/>
                  <a:gd name="connsiteY210" fmla="*/ 1583531 h 3840956"/>
                  <a:gd name="connsiteX211" fmla="*/ 8039100 w 8801100"/>
                  <a:gd name="connsiteY211" fmla="*/ 1633537 h 3840956"/>
                  <a:gd name="connsiteX212" fmla="*/ 7889081 w 8801100"/>
                  <a:gd name="connsiteY212" fmla="*/ 1557337 h 3840956"/>
                  <a:gd name="connsiteX213" fmla="*/ 7798594 w 8801100"/>
                  <a:gd name="connsiteY213" fmla="*/ 1593056 h 3840956"/>
                  <a:gd name="connsiteX214" fmla="*/ 7724775 w 8801100"/>
                  <a:gd name="connsiteY214" fmla="*/ 1590675 h 3840956"/>
                  <a:gd name="connsiteX215" fmla="*/ 7667625 w 8801100"/>
                  <a:gd name="connsiteY215" fmla="*/ 1685925 h 3840956"/>
                  <a:gd name="connsiteX216" fmla="*/ 7529513 w 8801100"/>
                  <a:gd name="connsiteY216" fmla="*/ 1588294 h 3840956"/>
                  <a:gd name="connsiteX0" fmla="*/ 7529513 w 8801100"/>
                  <a:gd name="connsiteY0" fmla="*/ 1588294 h 3771900"/>
                  <a:gd name="connsiteX1" fmla="*/ 7522369 w 8801100"/>
                  <a:gd name="connsiteY1" fmla="*/ 1533525 h 3771900"/>
                  <a:gd name="connsiteX2" fmla="*/ 7589044 w 8801100"/>
                  <a:gd name="connsiteY2" fmla="*/ 1459706 h 3771900"/>
                  <a:gd name="connsiteX3" fmla="*/ 7572375 w 8801100"/>
                  <a:gd name="connsiteY3" fmla="*/ 1388269 h 3771900"/>
                  <a:gd name="connsiteX4" fmla="*/ 7586663 w 8801100"/>
                  <a:gd name="connsiteY4" fmla="*/ 1293019 h 3771900"/>
                  <a:gd name="connsiteX5" fmla="*/ 7624763 w 8801100"/>
                  <a:gd name="connsiteY5" fmla="*/ 1235869 h 3771900"/>
                  <a:gd name="connsiteX6" fmla="*/ 7605712 w 8801100"/>
                  <a:gd name="connsiteY6" fmla="*/ 1202531 h 3771900"/>
                  <a:gd name="connsiteX7" fmla="*/ 7703343 w 8801100"/>
                  <a:gd name="connsiteY7" fmla="*/ 802481 h 3771900"/>
                  <a:gd name="connsiteX8" fmla="*/ 7696200 w 8801100"/>
                  <a:gd name="connsiteY8" fmla="*/ 773906 h 3771900"/>
                  <a:gd name="connsiteX9" fmla="*/ 7567613 w 8801100"/>
                  <a:gd name="connsiteY9" fmla="*/ 752475 h 3771900"/>
                  <a:gd name="connsiteX10" fmla="*/ 7384257 w 8801100"/>
                  <a:gd name="connsiteY10" fmla="*/ 831056 h 3771900"/>
                  <a:gd name="connsiteX11" fmla="*/ 7227093 w 8801100"/>
                  <a:gd name="connsiteY11" fmla="*/ 716756 h 3771900"/>
                  <a:gd name="connsiteX12" fmla="*/ 7150894 w 8801100"/>
                  <a:gd name="connsiteY12" fmla="*/ 723900 h 3771900"/>
                  <a:gd name="connsiteX13" fmla="*/ 7077075 w 8801100"/>
                  <a:gd name="connsiteY13" fmla="*/ 719138 h 3771900"/>
                  <a:gd name="connsiteX14" fmla="*/ 6938963 w 8801100"/>
                  <a:gd name="connsiteY14" fmla="*/ 823913 h 3771900"/>
                  <a:gd name="connsiteX15" fmla="*/ 6831806 w 8801100"/>
                  <a:gd name="connsiteY15" fmla="*/ 931069 h 3771900"/>
                  <a:gd name="connsiteX16" fmla="*/ 6788944 w 8801100"/>
                  <a:gd name="connsiteY16" fmla="*/ 1000125 h 3771900"/>
                  <a:gd name="connsiteX17" fmla="*/ 6796088 w 8801100"/>
                  <a:gd name="connsiteY17" fmla="*/ 1035844 h 3771900"/>
                  <a:gd name="connsiteX18" fmla="*/ 6734175 w 8801100"/>
                  <a:gd name="connsiteY18" fmla="*/ 1047750 h 3771900"/>
                  <a:gd name="connsiteX19" fmla="*/ 6753225 w 8801100"/>
                  <a:gd name="connsiteY19" fmla="*/ 1047750 h 3771900"/>
                  <a:gd name="connsiteX20" fmla="*/ 6719888 w 8801100"/>
                  <a:gd name="connsiteY20" fmla="*/ 1078706 h 3771900"/>
                  <a:gd name="connsiteX21" fmla="*/ 6619875 w 8801100"/>
                  <a:gd name="connsiteY21" fmla="*/ 1078707 h 3771900"/>
                  <a:gd name="connsiteX22" fmla="*/ 6524625 w 8801100"/>
                  <a:gd name="connsiteY22" fmla="*/ 1133475 h 3771900"/>
                  <a:gd name="connsiteX23" fmla="*/ 6443663 w 8801100"/>
                  <a:gd name="connsiteY23" fmla="*/ 1143000 h 3771900"/>
                  <a:gd name="connsiteX24" fmla="*/ 6403181 w 8801100"/>
                  <a:gd name="connsiteY24" fmla="*/ 1176338 h 3771900"/>
                  <a:gd name="connsiteX25" fmla="*/ 6353175 w 8801100"/>
                  <a:gd name="connsiteY25" fmla="*/ 1181100 h 3771900"/>
                  <a:gd name="connsiteX26" fmla="*/ 6231732 w 8801100"/>
                  <a:gd name="connsiteY26" fmla="*/ 1273969 h 3771900"/>
                  <a:gd name="connsiteX27" fmla="*/ 6172200 w 8801100"/>
                  <a:gd name="connsiteY27" fmla="*/ 1278731 h 3771900"/>
                  <a:gd name="connsiteX28" fmla="*/ 6119813 w 8801100"/>
                  <a:gd name="connsiteY28" fmla="*/ 1243013 h 3771900"/>
                  <a:gd name="connsiteX29" fmla="*/ 6093619 w 8801100"/>
                  <a:gd name="connsiteY29" fmla="*/ 1278731 h 3771900"/>
                  <a:gd name="connsiteX30" fmla="*/ 5895975 w 8801100"/>
                  <a:gd name="connsiteY30" fmla="*/ 1271588 h 3771900"/>
                  <a:gd name="connsiteX31" fmla="*/ 5834063 w 8801100"/>
                  <a:gd name="connsiteY31" fmla="*/ 1226344 h 3771900"/>
                  <a:gd name="connsiteX32" fmla="*/ 5636419 w 8801100"/>
                  <a:gd name="connsiteY32" fmla="*/ 1243013 h 3771900"/>
                  <a:gd name="connsiteX33" fmla="*/ 5548313 w 8801100"/>
                  <a:gd name="connsiteY33" fmla="*/ 1159668 h 3771900"/>
                  <a:gd name="connsiteX34" fmla="*/ 5472113 w 8801100"/>
                  <a:gd name="connsiteY34" fmla="*/ 1114425 h 3771900"/>
                  <a:gd name="connsiteX35" fmla="*/ 5474493 w 8801100"/>
                  <a:gd name="connsiteY35" fmla="*/ 1057275 h 3771900"/>
                  <a:gd name="connsiteX36" fmla="*/ 5455444 w 8801100"/>
                  <a:gd name="connsiteY36" fmla="*/ 1014412 h 3771900"/>
                  <a:gd name="connsiteX37" fmla="*/ 5360194 w 8801100"/>
                  <a:gd name="connsiteY37" fmla="*/ 1016794 h 3771900"/>
                  <a:gd name="connsiteX38" fmla="*/ 5264944 w 8801100"/>
                  <a:gd name="connsiteY38" fmla="*/ 995363 h 3771900"/>
                  <a:gd name="connsiteX39" fmla="*/ 5195887 w 8801100"/>
                  <a:gd name="connsiteY39" fmla="*/ 928687 h 3771900"/>
                  <a:gd name="connsiteX40" fmla="*/ 5160169 w 8801100"/>
                  <a:gd name="connsiteY40" fmla="*/ 885825 h 3771900"/>
                  <a:gd name="connsiteX41" fmla="*/ 5079206 w 8801100"/>
                  <a:gd name="connsiteY41" fmla="*/ 862012 h 3771900"/>
                  <a:gd name="connsiteX42" fmla="*/ 5005388 w 8801100"/>
                  <a:gd name="connsiteY42" fmla="*/ 873918 h 3771900"/>
                  <a:gd name="connsiteX43" fmla="*/ 4948237 w 8801100"/>
                  <a:gd name="connsiteY43" fmla="*/ 821531 h 3771900"/>
                  <a:gd name="connsiteX44" fmla="*/ 4852988 w 8801100"/>
                  <a:gd name="connsiteY44" fmla="*/ 833438 h 3771900"/>
                  <a:gd name="connsiteX45" fmla="*/ 4800600 w 8801100"/>
                  <a:gd name="connsiteY45" fmla="*/ 807244 h 3771900"/>
                  <a:gd name="connsiteX46" fmla="*/ 4719638 w 8801100"/>
                  <a:gd name="connsiteY46" fmla="*/ 850106 h 3771900"/>
                  <a:gd name="connsiteX47" fmla="*/ 4581525 w 8801100"/>
                  <a:gd name="connsiteY47" fmla="*/ 873919 h 3771900"/>
                  <a:gd name="connsiteX48" fmla="*/ 4452938 w 8801100"/>
                  <a:gd name="connsiteY48" fmla="*/ 966788 h 3771900"/>
                  <a:gd name="connsiteX49" fmla="*/ 4405312 w 8801100"/>
                  <a:gd name="connsiteY49" fmla="*/ 928688 h 3771900"/>
                  <a:gd name="connsiteX50" fmla="*/ 4383881 w 8801100"/>
                  <a:gd name="connsiteY50" fmla="*/ 959643 h 3771900"/>
                  <a:gd name="connsiteX51" fmla="*/ 4310063 w 8801100"/>
                  <a:gd name="connsiteY51" fmla="*/ 909638 h 3771900"/>
                  <a:gd name="connsiteX52" fmla="*/ 4271963 w 8801100"/>
                  <a:gd name="connsiteY52" fmla="*/ 916781 h 3771900"/>
                  <a:gd name="connsiteX53" fmla="*/ 4250531 w 8801100"/>
                  <a:gd name="connsiteY53" fmla="*/ 878681 h 3771900"/>
                  <a:gd name="connsiteX54" fmla="*/ 4191000 w 8801100"/>
                  <a:gd name="connsiteY54" fmla="*/ 883444 h 3771900"/>
                  <a:gd name="connsiteX55" fmla="*/ 4145756 w 8801100"/>
                  <a:gd name="connsiteY55" fmla="*/ 854869 h 3771900"/>
                  <a:gd name="connsiteX56" fmla="*/ 4107656 w 8801100"/>
                  <a:gd name="connsiteY56" fmla="*/ 852488 h 3771900"/>
                  <a:gd name="connsiteX57" fmla="*/ 4088606 w 8801100"/>
                  <a:gd name="connsiteY57" fmla="*/ 804862 h 3771900"/>
                  <a:gd name="connsiteX58" fmla="*/ 4074319 w 8801100"/>
                  <a:gd name="connsiteY58" fmla="*/ 773906 h 3771900"/>
                  <a:gd name="connsiteX59" fmla="*/ 4029075 w 8801100"/>
                  <a:gd name="connsiteY59" fmla="*/ 783431 h 3771900"/>
                  <a:gd name="connsiteX60" fmla="*/ 4010025 w 8801100"/>
                  <a:gd name="connsiteY60" fmla="*/ 747713 h 3771900"/>
                  <a:gd name="connsiteX61" fmla="*/ 4031457 w 8801100"/>
                  <a:gd name="connsiteY61" fmla="*/ 692944 h 3771900"/>
                  <a:gd name="connsiteX62" fmla="*/ 4000500 w 8801100"/>
                  <a:gd name="connsiteY62" fmla="*/ 666750 h 3771900"/>
                  <a:gd name="connsiteX63" fmla="*/ 4017169 w 8801100"/>
                  <a:gd name="connsiteY63" fmla="*/ 623888 h 3771900"/>
                  <a:gd name="connsiteX64" fmla="*/ 3990975 w 8801100"/>
                  <a:gd name="connsiteY64" fmla="*/ 581025 h 3771900"/>
                  <a:gd name="connsiteX65" fmla="*/ 3986213 w 8801100"/>
                  <a:gd name="connsiteY65" fmla="*/ 519113 h 3771900"/>
                  <a:gd name="connsiteX66" fmla="*/ 4010025 w 8801100"/>
                  <a:gd name="connsiteY66" fmla="*/ 454818 h 3771900"/>
                  <a:gd name="connsiteX67" fmla="*/ 3971925 w 8801100"/>
                  <a:gd name="connsiteY67" fmla="*/ 457200 h 3771900"/>
                  <a:gd name="connsiteX68" fmla="*/ 3852863 w 8801100"/>
                  <a:gd name="connsiteY68" fmla="*/ 400050 h 3771900"/>
                  <a:gd name="connsiteX69" fmla="*/ 3814762 w 8801100"/>
                  <a:gd name="connsiteY69" fmla="*/ 404812 h 3771900"/>
                  <a:gd name="connsiteX70" fmla="*/ 3609975 w 8801100"/>
                  <a:gd name="connsiteY70" fmla="*/ 295275 h 3771900"/>
                  <a:gd name="connsiteX71" fmla="*/ 3505200 w 8801100"/>
                  <a:gd name="connsiteY71" fmla="*/ 264319 h 3771900"/>
                  <a:gd name="connsiteX72" fmla="*/ 3440906 w 8801100"/>
                  <a:gd name="connsiteY72" fmla="*/ 273843 h 3771900"/>
                  <a:gd name="connsiteX73" fmla="*/ 3409950 w 8801100"/>
                  <a:gd name="connsiteY73" fmla="*/ 209550 h 3771900"/>
                  <a:gd name="connsiteX74" fmla="*/ 3352800 w 8801100"/>
                  <a:gd name="connsiteY74" fmla="*/ 209550 h 3771900"/>
                  <a:gd name="connsiteX75" fmla="*/ 3214687 w 8801100"/>
                  <a:gd name="connsiteY75" fmla="*/ 104775 h 3771900"/>
                  <a:gd name="connsiteX76" fmla="*/ 3181350 w 8801100"/>
                  <a:gd name="connsiteY76" fmla="*/ 164307 h 3771900"/>
                  <a:gd name="connsiteX77" fmla="*/ 3126581 w 8801100"/>
                  <a:gd name="connsiteY77" fmla="*/ 233363 h 3771900"/>
                  <a:gd name="connsiteX78" fmla="*/ 3083719 w 8801100"/>
                  <a:gd name="connsiteY78" fmla="*/ 250031 h 3771900"/>
                  <a:gd name="connsiteX79" fmla="*/ 3052763 w 8801100"/>
                  <a:gd name="connsiteY79" fmla="*/ 242888 h 3771900"/>
                  <a:gd name="connsiteX80" fmla="*/ 3028950 w 8801100"/>
                  <a:gd name="connsiteY80" fmla="*/ 271463 h 3771900"/>
                  <a:gd name="connsiteX81" fmla="*/ 3002756 w 8801100"/>
                  <a:gd name="connsiteY81" fmla="*/ 350044 h 3771900"/>
                  <a:gd name="connsiteX82" fmla="*/ 2959894 w 8801100"/>
                  <a:gd name="connsiteY82" fmla="*/ 347663 h 3771900"/>
                  <a:gd name="connsiteX83" fmla="*/ 2928937 w 8801100"/>
                  <a:gd name="connsiteY83" fmla="*/ 409575 h 3771900"/>
                  <a:gd name="connsiteX84" fmla="*/ 2924175 w 8801100"/>
                  <a:gd name="connsiteY84" fmla="*/ 473869 h 3771900"/>
                  <a:gd name="connsiteX85" fmla="*/ 2897982 w 8801100"/>
                  <a:gd name="connsiteY85" fmla="*/ 511969 h 3771900"/>
                  <a:gd name="connsiteX86" fmla="*/ 2924175 w 8801100"/>
                  <a:gd name="connsiteY86" fmla="*/ 571500 h 3771900"/>
                  <a:gd name="connsiteX87" fmla="*/ 2926556 w 8801100"/>
                  <a:gd name="connsiteY87" fmla="*/ 640556 h 3771900"/>
                  <a:gd name="connsiteX88" fmla="*/ 2955131 w 8801100"/>
                  <a:gd name="connsiteY88" fmla="*/ 692944 h 3771900"/>
                  <a:gd name="connsiteX89" fmla="*/ 3002757 w 8801100"/>
                  <a:gd name="connsiteY89" fmla="*/ 747713 h 3771900"/>
                  <a:gd name="connsiteX90" fmla="*/ 2952750 w 8801100"/>
                  <a:gd name="connsiteY90" fmla="*/ 885825 h 3771900"/>
                  <a:gd name="connsiteX91" fmla="*/ 2883694 w 8801100"/>
                  <a:gd name="connsiteY91" fmla="*/ 952500 h 3771900"/>
                  <a:gd name="connsiteX92" fmla="*/ 2812256 w 8801100"/>
                  <a:gd name="connsiteY92" fmla="*/ 947738 h 3771900"/>
                  <a:gd name="connsiteX93" fmla="*/ 2774156 w 8801100"/>
                  <a:gd name="connsiteY93" fmla="*/ 1004888 h 3771900"/>
                  <a:gd name="connsiteX94" fmla="*/ 2714625 w 8801100"/>
                  <a:gd name="connsiteY94" fmla="*/ 1019175 h 3771900"/>
                  <a:gd name="connsiteX95" fmla="*/ 2645569 w 8801100"/>
                  <a:gd name="connsiteY95" fmla="*/ 959644 h 3771900"/>
                  <a:gd name="connsiteX96" fmla="*/ 2590800 w 8801100"/>
                  <a:gd name="connsiteY96" fmla="*/ 931069 h 3771900"/>
                  <a:gd name="connsiteX97" fmla="*/ 2547938 w 8801100"/>
                  <a:gd name="connsiteY97" fmla="*/ 945356 h 3771900"/>
                  <a:gd name="connsiteX98" fmla="*/ 2495550 w 8801100"/>
                  <a:gd name="connsiteY98" fmla="*/ 928688 h 3771900"/>
                  <a:gd name="connsiteX99" fmla="*/ 2428875 w 8801100"/>
                  <a:gd name="connsiteY99" fmla="*/ 873919 h 3771900"/>
                  <a:gd name="connsiteX100" fmla="*/ 2383631 w 8801100"/>
                  <a:gd name="connsiteY100" fmla="*/ 885825 h 3771900"/>
                  <a:gd name="connsiteX101" fmla="*/ 2362200 w 8801100"/>
                  <a:gd name="connsiteY101" fmla="*/ 854869 h 3771900"/>
                  <a:gd name="connsiteX102" fmla="*/ 2305050 w 8801100"/>
                  <a:gd name="connsiteY102" fmla="*/ 895350 h 3771900"/>
                  <a:gd name="connsiteX103" fmla="*/ 2188369 w 8801100"/>
                  <a:gd name="connsiteY103" fmla="*/ 873919 h 3771900"/>
                  <a:gd name="connsiteX104" fmla="*/ 2138363 w 8801100"/>
                  <a:gd name="connsiteY104" fmla="*/ 821531 h 3771900"/>
                  <a:gd name="connsiteX105" fmla="*/ 2095500 w 8801100"/>
                  <a:gd name="connsiteY105" fmla="*/ 807244 h 3771900"/>
                  <a:gd name="connsiteX106" fmla="*/ 2052638 w 8801100"/>
                  <a:gd name="connsiteY106" fmla="*/ 833438 h 3771900"/>
                  <a:gd name="connsiteX107" fmla="*/ 2000250 w 8801100"/>
                  <a:gd name="connsiteY107" fmla="*/ 742950 h 3771900"/>
                  <a:gd name="connsiteX108" fmla="*/ 1990725 w 8801100"/>
                  <a:gd name="connsiteY108" fmla="*/ 595312 h 3771900"/>
                  <a:gd name="connsiteX109" fmla="*/ 1938337 w 8801100"/>
                  <a:gd name="connsiteY109" fmla="*/ 588168 h 3771900"/>
                  <a:gd name="connsiteX110" fmla="*/ 1847850 w 8801100"/>
                  <a:gd name="connsiteY110" fmla="*/ 578644 h 3771900"/>
                  <a:gd name="connsiteX111" fmla="*/ 1793081 w 8801100"/>
                  <a:gd name="connsiteY111" fmla="*/ 540544 h 3771900"/>
                  <a:gd name="connsiteX112" fmla="*/ 1724025 w 8801100"/>
                  <a:gd name="connsiteY112" fmla="*/ 550069 h 3771900"/>
                  <a:gd name="connsiteX113" fmla="*/ 1678781 w 8801100"/>
                  <a:gd name="connsiteY113" fmla="*/ 523875 h 3771900"/>
                  <a:gd name="connsiteX114" fmla="*/ 1669257 w 8801100"/>
                  <a:gd name="connsiteY114" fmla="*/ 452438 h 3771900"/>
                  <a:gd name="connsiteX115" fmla="*/ 1645444 w 8801100"/>
                  <a:gd name="connsiteY115" fmla="*/ 438150 h 3771900"/>
                  <a:gd name="connsiteX116" fmla="*/ 1607344 w 8801100"/>
                  <a:gd name="connsiteY116" fmla="*/ 485774 h 3771900"/>
                  <a:gd name="connsiteX117" fmla="*/ 1528762 w 8801100"/>
                  <a:gd name="connsiteY117" fmla="*/ 411956 h 3771900"/>
                  <a:gd name="connsiteX118" fmla="*/ 1488281 w 8801100"/>
                  <a:gd name="connsiteY118" fmla="*/ 452438 h 3771900"/>
                  <a:gd name="connsiteX119" fmla="*/ 1412081 w 8801100"/>
                  <a:gd name="connsiteY119" fmla="*/ 438150 h 3771900"/>
                  <a:gd name="connsiteX120" fmla="*/ 1333500 w 8801100"/>
                  <a:gd name="connsiteY120" fmla="*/ 464344 h 3771900"/>
                  <a:gd name="connsiteX121" fmla="*/ 1273969 w 8801100"/>
                  <a:gd name="connsiteY121" fmla="*/ 511968 h 3771900"/>
                  <a:gd name="connsiteX122" fmla="*/ 1200150 w 8801100"/>
                  <a:gd name="connsiteY122" fmla="*/ 523875 h 3771900"/>
                  <a:gd name="connsiteX123" fmla="*/ 1164431 w 8801100"/>
                  <a:gd name="connsiteY123" fmla="*/ 516731 h 3771900"/>
                  <a:gd name="connsiteX124" fmla="*/ 1085851 w 8801100"/>
                  <a:gd name="connsiteY124" fmla="*/ 547688 h 3771900"/>
                  <a:gd name="connsiteX125" fmla="*/ 1064419 w 8801100"/>
                  <a:gd name="connsiteY125" fmla="*/ 576263 h 3771900"/>
                  <a:gd name="connsiteX126" fmla="*/ 997744 w 8801100"/>
                  <a:gd name="connsiteY126" fmla="*/ 566738 h 3771900"/>
                  <a:gd name="connsiteX127" fmla="*/ 928688 w 8801100"/>
                  <a:gd name="connsiteY127" fmla="*/ 590550 h 3771900"/>
                  <a:gd name="connsiteX128" fmla="*/ 873919 w 8801100"/>
                  <a:gd name="connsiteY128" fmla="*/ 628650 h 3771900"/>
                  <a:gd name="connsiteX129" fmla="*/ 778669 w 8801100"/>
                  <a:gd name="connsiteY129" fmla="*/ 642937 h 3771900"/>
                  <a:gd name="connsiteX130" fmla="*/ 764381 w 8801100"/>
                  <a:gd name="connsiteY130" fmla="*/ 664369 h 3771900"/>
                  <a:gd name="connsiteX131" fmla="*/ 776287 w 8801100"/>
                  <a:gd name="connsiteY131" fmla="*/ 709613 h 3771900"/>
                  <a:gd name="connsiteX132" fmla="*/ 676276 w 8801100"/>
                  <a:gd name="connsiteY132" fmla="*/ 762000 h 3771900"/>
                  <a:gd name="connsiteX133" fmla="*/ 638175 w 8801100"/>
                  <a:gd name="connsiteY133" fmla="*/ 733424 h 3771900"/>
                  <a:gd name="connsiteX134" fmla="*/ 607219 w 8801100"/>
                  <a:gd name="connsiteY134" fmla="*/ 790575 h 3771900"/>
                  <a:gd name="connsiteX135" fmla="*/ 550069 w 8801100"/>
                  <a:gd name="connsiteY135" fmla="*/ 752475 h 3771900"/>
                  <a:gd name="connsiteX136" fmla="*/ 514350 w 8801100"/>
                  <a:gd name="connsiteY136" fmla="*/ 781050 h 3771900"/>
                  <a:gd name="connsiteX137" fmla="*/ 478631 w 8801100"/>
                  <a:gd name="connsiteY137" fmla="*/ 745331 h 3771900"/>
                  <a:gd name="connsiteX138" fmla="*/ 426244 w 8801100"/>
                  <a:gd name="connsiteY138" fmla="*/ 757238 h 3771900"/>
                  <a:gd name="connsiteX139" fmla="*/ 381000 w 8801100"/>
                  <a:gd name="connsiteY139" fmla="*/ 728663 h 3771900"/>
                  <a:gd name="connsiteX140" fmla="*/ 357188 w 8801100"/>
                  <a:gd name="connsiteY140" fmla="*/ 747713 h 3771900"/>
                  <a:gd name="connsiteX141" fmla="*/ 333375 w 8801100"/>
                  <a:gd name="connsiteY141" fmla="*/ 807244 h 3771900"/>
                  <a:gd name="connsiteX142" fmla="*/ 261938 w 8801100"/>
                  <a:gd name="connsiteY142" fmla="*/ 845343 h 3771900"/>
                  <a:gd name="connsiteX143" fmla="*/ 209550 w 8801100"/>
                  <a:gd name="connsiteY143" fmla="*/ 816769 h 3771900"/>
                  <a:gd name="connsiteX144" fmla="*/ 119063 w 8801100"/>
                  <a:gd name="connsiteY144" fmla="*/ 826294 h 3771900"/>
                  <a:gd name="connsiteX145" fmla="*/ 71437 w 8801100"/>
                  <a:gd name="connsiteY145" fmla="*/ 792957 h 3771900"/>
                  <a:gd name="connsiteX146" fmla="*/ 0 w 8801100"/>
                  <a:gd name="connsiteY146" fmla="*/ 812006 h 3771900"/>
                  <a:gd name="connsiteX147" fmla="*/ 4762 w 8801100"/>
                  <a:gd name="connsiteY147" fmla="*/ 0 h 3771900"/>
                  <a:gd name="connsiteX148" fmla="*/ 6434138 w 8801100"/>
                  <a:gd name="connsiteY148" fmla="*/ 3771900 h 3771900"/>
                  <a:gd name="connsiteX149" fmla="*/ 6443663 w 8801100"/>
                  <a:gd name="connsiteY149" fmla="*/ 3709988 h 3771900"/>
                  <a:gd name="connsiteX150" fmla="*/ 6477000 w 8801100"/>
                  <a:gd name="connsiteY150" fmla="*/ 3640931 h 3771900"/>
                  <a:gd name="connsiteX151" fmla="*/ 6629400 w 8801100"/>
                  <a:gd name="connsiteY151" fmla="*/ 3533775 h 3771900"/>
                  <a:gd name="connsiteX152" fmla="*/ 6662738 w 8801100"/>
                  <a:gd name="connsiteY152" fmla="*/ 3538538 h 3771900"/>
                  <a:gd name="connsiteX153" fmla="*/ 6715125 w 8801100"/>
                  <a:gd name="connsiteY153" fmla="*/ 3459956 h 3771900"/>
                  <a:gd name="connsiteX154" fmla="*/ 6762750 w 8801100"/>
                  <a:gd name="connsiteY154" fmla="*/ 3421856 h 3771900"/>
                  <a:gd name="connsiteX155" fmla="*/ 6748463 w 8801100"/>
                  <a:gd name="connsiteY155" fmla="*/ 3352800 h 3771900"/>
                  <a:gd name="connsiteX156" fmla="*/ 6698456 w 8801100"/>
                  <a:gd name="connsiteY156" fmla="*/ 3321843 h 3771900"/>
                  <a:gd name="connsiteX157" fmla="*/ 6638925 w 8801100"/>
                  <a:gd name="connsiteY157" fmla="*/ 3267075 h 3771900"/>
                  <a:gd name="connsiteX158" fmla="*/ 6619875 w 8801100"/>
                  <a:gd name="connsiteY158" fmla="*/ 3209925 h 3771900"/>
                  <a:gd name="connsiteX159" fmla="*/ 6584156 w 8801100"/>
                  <a:gd name="connsiteY159" fmla="*/ 3176588 h 3771900"/>
                  <a:gd name="connsiteX160" fmla="*/ 6610350 w 8801100"/>
                  <a:gd name="connsiteY160" fmla="*/ 3124200 h 3771900"/>
                  <a:gd name="connsiteX161" fmla="*/ 6650831 w 8801100"/>
                  <a:gd name="connsiteY161" fmla="*/ 2945606 h 3771900"/>
                  <a:gd name="connsiteX162" fmla="*/ 6691313 w 8801100"/>
                  <a:gd name="connsiteY162" fmla="*/ 2878931 h 3771900"/>
                  <a:gd name="connsiteX163" fmla="*/ 6836569 w 8801100"/>
                  <a:gd name="connsiteY163" fmla="*/ 2862262 h 3771900"/>
                  <a:gd name="connsiteX164" fmla="*/ 6905625 w 8801100"/>
                  <a:gd name="connsiteY164" fmla="*/ 2919413 h 3771900"/>
                  <a:gd name="connsiteX165" fmla="*/ 6981825 w 8801100"/>
                  <a:gd name="connsiteY165" fmla="*/ 2943225 h 3771900"/>
                  <a:gd name="connsiteX166" fmla="*/ 7186612 w 8801100"/>
                  <a:gd name="connsiteY166" fmla="*/ 2947988 h 3771900"/>
                  <a:gd name="connsiteX167" fmla="*/ 7362825 w 8801100"/>
                  <a:gd name="connsiteY167" fmla="*/ 2809875 h 3771900"/>
                  <a:gd name="connsiteX168" fmla="*/ 7419975 w 8801100"/>
                  <a:gd name="connsiteY168" fmla="*/ 2719387 h 3771900"/>
                  <a:gd name="connsiteX169" fmla="*/ 7446169 w 8801100"/>
                  <a:gd name="connsiteY169" fmla="*/ 2636044 h 3771900"/>
                  <a:gd name="connsiteX170" fmla="*/ 7577137 w 8801100"/>
                  <a:gd name="connsiteY170" fmla="*/ 2636044 h 3771900"/>
                  <a:gd name="connsiteX171" fmla="*/ 7750969 w 8801100"/>
                  <a:gd name="connsiteY171" fmla="*/ 2578893 h 3771900"/>
                  <a:gd name="connsiteX172" fmla="*/ 7810500 w 8801100"/>
                  <a:gd name="connsiteY172" fmla="*/ 2466975 h 3771900"/>
                  <a:gd name="connsiteX173" fmla="*/ 7874794 w 8801100"/>
                  <a:gd name="connsiteY173" fmla="*/ 2431256 h 3771900"/>
                  <a:gd name="connsiteX174" fmla="*/ 7853363 w 8801100"/>
                  <a:gd name="connsiteY174" fmla="*/ 2386013 h 3771900"/>
                  <a:gd name="connsiteX175" fmla="*/ 7931944 w 8801100"/>
                  <a:gd name="connsiteY175" fmla="*/ 2216943 h 3771900"/>
                  <a:gd name="connsiteX176" fmla="*/ 7986713 w 8801100"/>
                  <a:gd name="connsiteY176" fmla="*/ 2157413 h 3771900"/>
                  <a:gd name="connsiteX177" fmla="*/ 8024813 w 8801100"/>
                  <a:gd name="connsiteY177" fmla="*/ 2152650 h 3771900"/>
                  <a:gd name="connsiteX178" fmla="*/ 8070056 w 8801100"/>
                  <a:gd name="connsiteY178" fmla="*/ 2157413 h 3771900"/>
                  <a:gd name="connsiteX179" fmla="*/ 8134350 w 8801100"/>
                  <a:gd name="connsiteY179" fmla="*/ 2124075 h 3771900"/>
                  <a:gd name="connsiteX180" fmla="*/ 8143875 w 8801100"/>
                  <a:gd name="connsiteY180" fmla="*/ 2059781 h 3771900"/>
                  <a:gd name="connsiteX181" fmla="*/ 8184355 w 8801100"/>
                  <a:gd name="connsiteY181" fmla="*/ 2024063 h 3771900"/>
                  <a:gd name="connsiteX182" fmla="*/ 8243888 w 8801100"/>
                  <a:gd name="connsiteY182" fmla="*/ 2064543 h 3771900"/>
                  <a:gd name="connsiteX183" fmla="*/ 8270082 w 8801100"/>
                  <a:gd name="connsiteY183" fmla="*/ 2014537 h 3771900"/>
                  <a:gd name="connsiteX184" fmla="*/ 8365331 w 8801100"/>
                  <a:gd name="connsiteY184" fmla="*/ 1945481 h 3771900"/>
                  <a:gd name="connsiteX185" fmla="*/ 8427244 w 8801100"/>
                  <a:gd name="connsiteY185" fmla="*/ 1952625 h 3771900"/>
                  <a:gd name="connsiteX186" fmla="*/ 8477250 w 8801100"/>
                  <a:gd name="connsiteY186" fmla="*/ 1933575 h 3771900"/>
                  <a:gd name="connsiteX187" fmla="*/ 8515350 w 8801100"/>
                  <a:gd name="connsiteY187" fmla="*/ 1905000 h 3771900"/>
                  <a:gd name="connsiteX188" fmla="*/ 8548688 w 8801100"/>
                  <a:gd name="connsiteY188" fmla="*/ 1902619 h 3771900"/>
                  <a:gd name="connsiteX189" fmla="*/ 8584406 w 8801100"/>
                  <a:gd name="connsiteY189" fmla="*/ 1933575 h 3771900"/>
                  <a:gd name="connsiteX190" fmla="*/ 8643938 w 8801100"/>
                  <a:gd name="connsiteY190" fmla="*/ 1933575 h 3771900"/>
                  <a:gd name="connsiteX191" fmla="*/ 8682037 w 8801100"/>
                  <a:gd name="connsiteY191" fmla="*/ 1914525 h 3771900"/>
                  <a:gd name="connsiteX192" fmla="*/ 8765381 w 8801100"/>
                  <a:gd name="connsiteY192" fmla="*/ 1916907 h 3771900"/>
                  <a:gd name="connsiteX193" fmla="*/ 8796338 w 8801100"/>
                  <a:gd name="connsiteY193" fmla="*/ 1871663 h 3771900"/>
                  <a:gd name="connsiteX194" fmla="*/ 8801100 w 8801100"/>
                  <a:gd name="connsiteY194" fmla="*/ 1809750 h 3771900"/>
                  <a:gd name="connsiteX195" fmla="*/ 8751093 w 8801100"/>
                  <a:gd name="connsiteY195" fmla="*/ 1769269 h 3771900"/>
                  <a:gd name="connsiteX196" fmla="*/ 8734425 w 8801100"/>
                  <a:gd name="connsiteY196" fmla="*/ 1714500 h 3771900"/>
                  <a:gd name="connsiteX197" fmla="*/ 8643938 w 8801100"/>
                  <a:gd name="connsiteY197" fmla="*/ 1652588 h 3771900"/>
                  <a:gd name="connsiteX198" fmla="*/ 8603456 w 8801100"/>
                  <a:gd name="connsiteY198" fmla="*/ 1631156 h 3771900"/>
                  <a:gd name="connsiteX199" fmla="*/ 8565356 w 8801100"/>
                  <a:gd name="connsiteY199" fmla="*/ 1585913 h 3771900"/>
                  <a:gd name="connsiteX200" fmla="*/ 8534400 w 8801100"/>
                  <a:gd name="connsiteY200" fmla="*/ 1583531 h 3771900"/>
                  <a:gd name="connsiteX201" fmla="*/ 8517731 w 8801100"/>
                  <a:gd name="connsiteY201" fmla="*/ 1531144 h 3771900"/>
                  <a:gd name="connsiteX202" fmla="*/ 8477250 w 8801100"/>
                  <a:gd name="connsiteY202" fmla="*/ 1514475 h 3771900"/>
                  <a:gd name="connsiteX203" fmla="*/ 8477250 w 8801100"/>
                  <a:gd name="connsiteY203" fmla="*/ 1514475 h 3771900"/>
                  <a:gd name="connsiteX204" fmla="*/ 8436769 w 8801100"/>
                  <a:gd name="connsiteY204" fmla="*/ 1519238 h 3771900"/>
                  <a:gd name="connsiteX205" fmla="*/ 8351043 w 8801100"/>
                  <a:gd name="connsiteY205" fmla="*/ 1445419 h 3771900"/>
                  <a:gd name="connsiteX206" fmla="*/ 8170069 w 8801100"/>
                  <a:gd name="connsiteY206" fmla="*/ 1445418 h 3771900"/>
                  <a:gd name="connsiteX207" fmla="*/ 8117681 w 8801100"/>
                  <a:gd name="connsiteY207" fmla="*/ 1483519 h 3771900"/>
                  <a:gd name="connsiteX208" fmla="*/ 8067675 w 8801100"/>
                  <a:gd name="connsiteY208" fmla="*/ 1562100 h 3771900"/>
                  <a:gd name="connsiteX209" fmla="*/ 8084344 w 8801100"/>
                  <a:gd name="connsiteY209" fmla="*/ 1583531 h 3771900"/>
                  <a:gd name="connsiteX210" fmla="*/ 8039100 w 8801100"/>
                  <a:gd name="connsiteY210" fmla="*/ 1633537 h 3771900"/>
                  <a:gd name="connsiteX211" fmla="*/ 7889081 w 8801100"/>
                  <a:gd name="connsiteY211" fmla="*/ 1557337 h 3771900"/>
                  <a:gd name="connsiteX212" fmla="*/ 7798594 w 8801100"/>
                  <a:gd name="connsiteY212" fmla="*/ 1593056 h 3771900"/>
                  <a:gd name="connsiteX213" fmla="*/ 7724775 w 8801100"/>
                  <a:gd name="connsiteY213" fmla="*/ 1590675 h 3771900"/>
                  <a:gd name="connsiteX214" fmla="*/ 7667625 w 8801100"/>
                  <a:gd name="connsiteY214" fmla="*/ 1685925 h 3771900"/>
                  <a:gd name="connsiteX215" fmla="*/ 7529513 w 8801100"/>
                  <a:gd name="connsiteY215" fmla="*/ 1588294 h 3771900"/>
                  <a:gd name="connsiteX0" fmla="*/ 7529513 w 8801100"/>
                  <a:gd name="connsiteY0" fmla="*/ 1588294 h 3771900"/>
                  <a:gd name="connsiteX1" fmla="*/ 7522369 w 8801100"/>
                  <a:gd name="connsiteY1" fmla="*/ 1533525 h 3771900"/>
                  <a:gd name="connsiteX2" fmla="*/ 7589044 w 8801100"/>
                  <a:gd name="connsiteY2" fmla="*/ 1459706 h 3771900"/>
                  <a:gd name="connsiteX3" fmla="*/ 7572375 w 8801100"/>
                  <a:gd name="connsiteY3" fmla="*/ 1388269 h 3771900"/>
                  <a:gd name="connsiteX4" fmla="*/ 7586663 w 8801100"/>
                  <a:gd name="connsiteY4" fmla="*/ 1293019 h 3771900"/>
                  <a:gd name="connsiteX5" fmla="*/ 7624763 w 8801100"/>
                  <a:gd name="connsiteY5" fmla="*/ 1235869 h 3771900"/>
                  <a:gd name="connsiteX6" fmla="*/ 7605712 w 8801100"/>
                  <a:gd name="connsiteY6" fmla="*/ 1202531 h 3771900"/>
                  <a:gd name="connsiteX7" fmla="*/ 7703343 w 8801100"/>
                  <a:gd name="connsiteY7" fmla="*/ 802481 h 3771900"/>
                  <a:gd name="connsiteX8" fmla="*/ 7696200 w 8801100"/>
                  <a:gd name="connsiteY8" fmla="*/ 773906 h 3771900"/>
                  <a:gd name="connsiteX9" fmla="*/ 7567613 w 8801100"/>
                  <a:gd name="connsiteY9" fmla="*/ 752475 h 3771900"/>
                  <a:gd name="connsiteX10" fmla="*/ 7384257 w 8801100"/>
                  <a:gd name="connsiteY10" fmla="*/ 831056 h 3771900"/>
                  <a:gd name="connsiteX11" fmla="*/ 7227093 w 8801100"/>
                  <a:gd name="connsiteY11" fmla="*/ 716756 h 3771900"/>
                  <a:gd name="connsiteX12" fmla="*/ 7150894 w 8801100"/>
                  <a:gd name="connsiteY12" fmla="*/ 723900 h 3771900"/>
                  <a:gd name="connsiteX13" fmla="*/ 7077075 w 8801100"/>
                  <a:gd name="connsiteY13" fmla="*/ 719138 h 3771900"/>
                  <a:gd name="connsiteX14" fmla="*/ 6938963 w 8801100"/>
                  <a:gd name="connsiteY14" fmla="*/ 823913 h 3771900"/>
                  <a:gd name="connsiteX15" fmla="*/ 6831806 w 8801100"/>
                  <a:gd name="connsiteY15" fmla="*/ 931069 h 3771900"/>
                  <a:gd name="connsiteX16" fmla="*/ 6788944 w 8801100"/>
                  <a:gd name="connsiteY16" fmla="*/ 1000125 h 3771900"/>
                  <a:gd name="connsiteX17" fmla="*/ 6796088 w 8801100"/>
                  <a:gd name="connsiteY17" fmla="*/ 1035844 h 3771900"/>
                  <a:gd name="connsiteX18" fmla="*/ 6734175 w 8801100"/>
                  <a:gd name="connsiteY18" fmla="*/ 1047750 h 3771900"/>
                  <a:gd name="connsiteX19" fmla="*/ 6753225 w 8801100"/>
                  <a:gd name="connsiteY19" fmla="*/ 1047750 h 3771900"/>
                  <a:gd name="connsiteX20" fmla="*/ 6719888 w 8801100"/>
                  <a:gd name="connsiteY20" fmla="*/ 1078706 h 3771900"/>
                  <a:gd name="connsiteX21" fmla="*/ 6619875 w 8801100"/>
                  <a:gd name="connsiteY21" fmla="*/ 1078707 h 3771900"/>
                  <a:gd name="connsiteX22" fmla="*/ 6524625 w 8801100"/>
                  <a:gd name="connsiteY22" fmla="*/ 1133475 h 3771900"/>
                  <a:gd name="connsiteX23" fmla="*/ 6443663 w 8801100"/>
                  <a:gd name="connsiteY23" fmla="*/ 1143000 h 3771900"/>
                  <a:gd name="connsiteX24" fmla="*/ 6403181 w 8801100"/>
                  <a:gd name="connsiteY24" fmla="*/ 1176338 h 3771900"/>
                  <a:gd name="connsiteX25" fmla="*/ 6353175 w 8801100"/>
                  <a:gd name="connsiteY25" fmla="*/ 1181100 h 3771900"/>
                  <a:gd name="connsiteX26" fmla="*/ 6231732 w 8801100"/>
                  <a:gd name="connsiteY26" fmla="*/ 1273969 h 3771900"/>
                  <a:gd name="connsiteX27" fmla="*/ 6172200 w 8801100"/>
                  <a:gd name="connsiteY27" fmla="*/ 1278731 h 3771900"/>
                  <a:gd name="connsiteX28" fmla="*/ 6119813 w 8801100"/>
                  <a:gd name="connsiteY28" fmla="*/ 1243013 h 3771900"/>
                  <a:gd name="connsiteX29" fmla="*/ 6093619 w 8801100"/>
                  <a:gd name="connsiteY29" fmla="*/ 1278731 h 3771900"/>
                  <a:gd name="connsiteX30" fmla="*/ 5895975 w 8801100"/>
                  <a:gd name="connsiteY30" fmla="*/ 1271588 h 3771900"/>
                  <a:gd name="connsiteX31" fmla="*/ 5834063 w 8801100"/>
                  <a:gd name="connsiteY31" fmla="*/ 1226344 h 3771900"/>
                  <a:gd name="connsiteX32" fmla="*/ 5636419 w 8801100"/>
                  <a:gd name="connsiteY32" fmla="*/ 1243013 h 3771900"/>
                  <a:gd name="connsiteX33" fmla="*/ 5548313 w 8801100"/>
                  <a:gd name="connsiteY33" fmla="*/ 1159668 h 3771900"/>
                  <a:gd name="connsiteX34" fmla="*/ 5472113 w 8801100"/>
                  <a:gd name="connsiteY34" fmla="*/ 1114425 h 3771900"/>
                  <a:gd name="connsiteX35" fmla="*/ 5474493 w 8801100"/>
                  <a:gd name="connsiteY35" fmla="*/ 1057275 h 3771900"/>
                  <a:gd name="connsiteX36" fmla="*/ 5455444 w 8801100"/>
                  <a:gd name="connsiteY36" fmla="*/ 1014412 h 3771900"/>
                  <a:gd name="connsiteX37" fmla="*/ 5360194 w 8801100"/>
                  <a:gd name="connsiteY37" fmla="*/ 1016794 h 3771900"/>
                  <a:gd name="connsiteX38" fmla="*/ 5264944 w 8801100"/>
                  <a:gd name="connsiteY38" fmla="*/ 995363 h 3771900"/>
                  <a:gd name="connsiteX39" fmla="*/ 5195887 w 8801100"/>
                  <a:gd name="connsiteY39" fmla="*/ 928687 h 3771900"/>
                  <a:gd name="connsiteX40" fmla="*/ 5160169 w 8801100"/>
                  <a:gd name="connsiteY40" fmla="*/ 885825 h 3771900"/>
                  <a:gd name="connsiteX41" fmla="*/ 5079206 w 8801100"/>
                  <a:gd name="connsiteY41" fmla="*/ 862012 h 3771900"/>
                  <a:gd name="connsiteX42" fmla="*/ 5005388 w 8801100"/>
                  <a:gd name="connsiteY42" fmla="*/ 873918 h 3771900"/>
                  <a:gd name="connsiteX43" fmla="*/ 4948237 w 8801100"/>
                  <a:gd name="connsiteY43" fmla="*/ 821531 h 3771900"/>
                  <a:gd name="connsiteX44" fmla="*/ 4852988 w 8801100"/>
                  <a:gd name="connsiteY44" fmla="*/ 833438 h 3771900"/>
                  <a:gd name="connsiteX45" fmla="*/ 4800600 w 8801100"/>
                  <a:gd name="connsiteY45" fmla="*/ 807244 h 3771900"/>
                  <a:gd name="connsiteX46" fmla="*/ 4719638 w 8801100"/>
                  <a:gd name="connsiteY46" fmla="*/ 850106 h 3771900"/>
                  <a:gd name="connsiteX47" fmla="*/ 4581525 w 8801100"/>
                  <a:gd name="connsiteY47" fmla="*/ 873919 h 3771900"/>
                  <a:gd name="connsiteX48" fmla="*/ 4452938 w 8801100"/>
                  <a:gd name="connsiteY48" fmla="*/ 966788 h 3771900"/>
                  <a:gd name="connsiteX49" fmla="*/ 4405312 w 8801100"/>
                  <a:gd name="connsiteY49" fmla="*/ 928688 h 3771900"/>
                  <a:gd name="connsiteX50" fmla="*/ 4383881 w 8801100"/>
                  <a:gd name="connsiteY50" fmla="*/ 959643 h 3771900"/>
                  <a:gd name="connsiteX51" fmla="*/ 4310063 w 8801100"/>
                  <a:gd name="connsiteY51" fmla="*/ 909638 h 3771900"/>
                  <a:gd name="connsiteX52" fmla="*/ 4271963 w 8801100"/>
                  <a:gd name="connsiteY52" fmla="*/ 916781 h 3771900"/>
                  <a:gd name="connsiteX53" fmla="*/ 4250531 w 8801100"/>
                  <a:gd name="connsiteY53" fmla="*/ 878681 h 3771900"/>
                  <a:gd name="connsiteX54" fmla="*/ 4191000 w 8801100"/>
                  <a:gd name="connsiteY54" fmla="*/ 883444 h 3771900"/>
                  <a:gd name="connsiteX55" fmla="*/ 4145756 w 8801100"/>
                  <a:gd name="connsiteY55" fmla="*/ 854869 h 3771900"/>
                  <a:gd name="connsiteX56" fmla="*/ 4107656 w 8801100"/>
                  <a:gd name="connsiteY56" fmla="*/ 852488 h 3771900"/>
                  <a:gd name="connsiteX57" fmla="*/ 4088606 w 8801100"/>
                  <a:gd name="connsiteY57" fmla="*/ 804862 h 3771900"/>
                  <a:gd name="connsiteX58" fmla="*/ 4074319 w 8801100"/>
                  <a:gd name="connsiteY58" fmla="*/ 773906 h 3771900"/>
                  <a:gd name="connsiteX59" fmla="*/ 4029075 w 8801100"/>
                  <a:gd name="connsiteY59" fmla="*/ 783431 h 3771900"/>
                  <a:gd name="connsiteX60" fmla="*/ 4010025 w 8801100"/>
                  <a:gd name="connsiteY60" fmla="*/ 747713 h 3771900"/>
                  <a:gd name="connsiteX61" fmla="*/ 4031457 w 8801100"/>
                  <a:gd name="connsiteY61" fmla="*/ 692944 h 3771900"/>
                  <a:gd name="connsiteX62" fmla="*/ 4000500 w 8801100"/>
                  <a:gd name="connsiteY62" fmla="*/ 666750 h 3771900"/>
                  <a:gd name="connsiteX63" fmla="*/ 4017169 w 8801100"/>
                  <a:gd name="connsiteY63" fmla="*/ 623888 h 3771900"/>
                  <a:gd name="connsiteX64" fmla="*/ 3990975 w 8801100"/>
                  <a:gd name="connsiteY64" fmla="*/ 581025 h 3771900"/>
                  <a:gd name="connsiteX65" fmla="*/ 3986213 w 8801100"/>
                  <a:gd name="connsiteY65" fmla="*/ 519113 h 3771900"/>
                  <a:gd name="connsiteX66" fmla="*/ 4010025 w 8801100"/>
                  <a:gd name="connsiteY66" fmla="*/ 454818 h 3771900"/>
                  <a:gd name="connsiteX67" fmla="*/ 3971925 w 8801100"/>
                  <a:gd name="connsiteY67" fmla="*/ 457200 h 3771900"/>
                  <a:gd name="connsiteX68" fmla="*/ 3852863 w 8801100"/>
                  <a:gd name="connsiteY68" fmla="*/ 400050 h 3771900"/>
                  <a:gd name="connsiteX69" fmla="*/ 3814762 w 8801100"/>
                  <a:gd name="connsiteY69" fmla="*/ 404812 h 3771900"/>
                  <a:gd name="connsiteX70" fmla="*/ 3609975 w 8801100"/>
                  <a:gd name="connsiteY70" fmla="*/ 295275 h 3771900"/>
                  <a:gd name="connsiteX71" fmla="*/ 3505200 w 8801100"/>
                  <a:gd name="connsiteY71" fmla="*/ 264319 h 3771900"/>
                  <a:gd name="connsiteX72" fmla="*/ 3440906 w 8801100"/>
                  <a:gd name="connsiteY72" fmla="*/ 273843 h 3771900"/>
                  <a:gd name="connsiteX73" fmla="*/ 3409950 w 8801100"/>
                  <a:gd name="connsiteY73" fmla="*/ 209550 h 3771900"/>
                  <a:gd name="connsiteX74" fmla="*/ 3352800 w 8801100"/>
                  <a:gd name="connsiteY74" fmla="*/ 209550 h 3771900"/>
                  <a:gd name="connsiteX75" fmla="*/ 3214687 w 8801100"/>
                  <a:gd name="connsiteY75" fmla="*/ 104775 h 3771900"/>
                  <a:gd name="connsiteX76" fmla="*/ 3181350 w 8801100"/>
                  <a:gd name="connsiteY76" fmla="*/ 164307 h 3771900"/>
                  <a:gd name="connsiteX77" fmla="*/ 3126581 w 8801100"/>
                  <a:gd name="connsiteY77" fmla="*/ 233363 h 3771900"/>
                  <a:gd name="connsiteX78" fmla="*/ 3083719 w 8801100"/>
                  <a:gd name="connsiteY78" fmla="*/ 250031 h 3771900"/>
                  <a:gd name="connsiteX79" fmla="*/ 3052763 w 8801100"/>
                  <a:gd name="connsiteY79" fmla="*/ 242888 h 3771900"/>
                  <a:gd name="connsiteX80" fmla="*/ 3028950 w 8801100"/>
                  <a:gd name="connsiteY80" fmla="*/ 271463 h 3771900"/>
                  <a:gd name="connsiteX81" fmla="*/ 3002756 w 8801100"/>
                  <a:gd name="connsiteY81" fmla="*/ 350044 h 3771900"/>
                  <a:gd name="connsiteX82" fmla="*/ 2959894 w 8801100"/>
                  <a:gd name="connsiteY82" fmla="*/ 347663 h 3771900"/>
                  <a:gd name="connsiteX83" fmla="*/ 2928937 w 8801100"/>
                  <a:gd name="connsiteY83" fmla="*/ 409575 h 3771900"/>
                  <a:gd name="connsiteX84" fmla="*/ 2924175 w 8801100"/>
                  <a:gd name="connsiteY84" fmla="*/ 473869 h 3771900"/>
                  <a:gd name="connsiteX85" fmla="*/ 2897982 w 8801100"/>
                  <a:gd name="connsiteY85" fmla="*/ 511969 h 3771900"/>
                  <a:gd name="connsiteX86" fmla="*/ 2924175 w 8801100"/>
                  <a:gd name="connsiteY86" fmla="*/ 571500 h 3771900"/>
                  <a:gd name="connsiteX87" fmla="*/ 2926556 w 8801100"/>
                  <a:gd name="connsiteY87" fmla="*/ 640556 h 3771900"/>
                  <a:gd name="connsiteX88" fmla="*/ 2955131 w 8801100"/>
                  <a:gd name="connsiteY88" fmla="*/ 692944 h 3771900"/>
                  <a:gd name="connsiteX89" fmla="*/ 3002757 w 8801100"/>
                  <a:gd name="connsiteY89" fmla="*/ 747713 h 3771900"/>
                  <a:gd name="connsiteX90" fmla="*/ 2952750 w 8801100"/>
                  <a:gd name="connsiteY90" fmla="*/ 885825 h 3771900"/>
                  <a:gd name="connsiteX91" fmla="*/ 2883694 w 8801100"/>
                  <a:gd name="connsiteY91" fmla="*/ 952500 h 3771900"/>
                  <a:gd name="connsiteX92" fmla="*/ 2812256 w 8801100"/>
                  <a:gd name="connsiteY92" fmla="*/ 947738 h 3771900"/>
                  <a:gd name="connsiteX93" fmla="*/ 2774156 w 8801100"/>
                  <a:gd name="connsiteY93" fmla="*/ 1004888 h 3771900"/>
                  <a:gd name="connsiteX94" fmla="*/ 2714625 w 8801100"/>
                  <a:gd name="connsiteY94" fmla="*/ 1019175 h 3771900"/>
                  <a:gd name="connsiteX95" fmla="*/ 2645569 w 8801100"/>
                  <a:gd name="connsiteY95" fmla="*/ 959644 h 3771900"/>
                  <a:gd name="connsiteX96" fmla="*/ 2590800 w 8801100"/>
                  <a:gd name="connsiteY96" fmla="*/ 931069 h 3771900"/>
                  <a:gd name="connsiteX97" fmla="*/ 2547938 w 8801100"/>
                  <a:gd name="connsiteY97" fmla="*/ 945356 h 3771900"/>
                  <a:gd name="connsiteX98" fmla="*/ 2495550 w 8801100"/>
                  <a:gd name="connsiteY98" fmla="*/ 928688 h 3771900"/>
                  <a:gd name="connsiteX99" fmla="*/ 2428875 w 8801100"/>
                  <a:gd name="connsiteY99" fmla="*/ 873919 h 3771900"/>
                  <a:gd name="connsiteX100" fmla="*/ 2383631 w 8801100"/>
                  <a:gd name="connsiteY100" fmla="*/ 885825 h 3771900"/>
                  <a:gd name="connsiteX101" fmla="*/ 2362200 w 8801100"/>
                  <a:gd name="connsiteY101" fmla="*/ 854869 h 3771900"/>
                  <a:gd name="connsiteX102" fmla="*/ 2305050 w 8801100"/>
                  <a:gd name="connsiteY102" fmla="*/ 895350 h 3771900"/>
                  <a:gd name="connsiteX103" fmla="*/ 2188369 w 8801100"/>
                  <a:gd name="connsiteY103" fmla="*/ 873919 h 3771900"/>
                  <a:gd name="connsiteX104" fmla="*/ 2138363 w 8801100"/>
                  <a:gd name="connsiteY104" fmla="*/ 821531 h 3771900"/>
                  <a:gd name="connsiteX105" fmla="*/ 2095500 w 8801100"/>
                  <a:gd name="connsiteY105" fmla="*/ 807244 h 3771900"/>
                  <a:gd name="connsiteX106" fmla="*/ 2052638 w 8801100"/>
                  <a:gd name="connsiteY106" fmla="*/ 833438 h 3771900"/>
                  <a:gd name="connsiteX107" fmla="*/ 2000250 w 8801100"/>
                  <a:gd name="connsiteY107" fmla="*/ 742950 h 3771900"/>
                  <a:gd name="connsiteX108" fmla="*/ 1990725 w 8801100"/>
                  <a:gd name="connsiteY108" fmla="*/ 595312 h 3771900"/>
                  <a:gd name="connsiteX109" fmla="*/ 1938337 w 8801100"/>
                  <a:gd name="connsiteY109" fmla="*/ 588168 h 3771900"/>
                  <a:gd name="connsiteX110" fmla="*/ 1847850 w 8801100"/>
                  <a:gd name="connsiteY110" fmla="*/ 578644 h 3771900"/>
                  <a:gd name="connsiteX111" fmla="*/ 1793081 w 8801100"/>
                  <a:gd name="connsiteY111" fmla="*/ 540544 h 3771900"/>
                  <a:gd name="connsiteX112" fmla="*/ 1724025 w 8801100"/>
                  <a:gd name="connsiteY112" fmla="*/ 550069 h 3771900"/>
                  <a:gd name="connsiteX113" fmla="*/ 1678781 w 8801100"/>
                  <a:gd name="connsiteY113" fmla="*/ 523875 h 3771900"/>
                  <a:gd name="connsiteX114" fmla="*/ 1669257 w 8801100"/>
                  <a:gd name="connsiteY114" fmla="*/ 452438 h 3771900"/>
                  <a:gd name="connsiteX115" fmla="*/ 1645444 w 8801100"/>
                  <a:gd name="connsiteY115" fmla="*/ 438150 h 3771900"/>
                  <a:gd name="connsiteX116" fmla="*/ 1607344 w 8801100"/>
                  <a:gd name="connsiteY116" fmla="*/ 485774 h 3771900"/>
                  <a:gd name="connsiteX117" fmla="*/ 1528762 w 8801100"/>
                  <a:gd name="connsiteY117" fmla="*/ 411956 h 3771900"/>
                  <a:gd name="connsiteX118" fmla="*/ 1488281 w 8801100"/>
                  <a:gd name="connsiteY118" fmla="*/ 452438 h 3771900"/>
                  <a:gd name="connsiteX119" fmla="*/ 1412081 w 8801100"/>
                  <a:gd name="connsiteY119" fmla="*/ 438150 h 3771900"/>
                  <a:gd name="connsiteX120" fmla="*/ 1333500 w 8801100"/>
                  <a:gd name="connsiteY120" fmla="*/ 464344 h 3771900"/>
                  <a:gd name="connsiteX121" fmla="*/ 1273969 w 8801100"/>
                  <a:gd name="connsiteY121" fmla="*/ 511968 h 3771900"/>
                  <a:gd name="connsiteX122" fmla="*/ 1200150 w 8801100"/>
                  <a:gd name="connsiteY122" fmla="*/ 523875 h 3771900"/>
                  <a:gd name="connsiteX123" fmla="*/ 1164431 w 8801100"/>
                  <a:gd name="connsiteY123" fmla="*/ 516731 h 3771900"/>
                  <a:gd name="connsiteX124" fmla="*/ 1085851 w 8801100"/>
                  <a:gd name="connsiteY124" fmla="*/ 547688 h 3771900"/>
                  <a:gd name="connsiteX125" fmla="*/ 1064419 w 8801100"/>
                  <a:gd name="connsiteY125" fmla="*/ 576263 h 3771900"/>
                  <a:gd name="connsiteX126" fmla="*/ 997744 w 8801100"/>
                  <a:gd name="connsiteY126" fmla="*/ 566738 h 3771900"/>
                  <a:gd name="connsiteX127" fmla="*/ 928688 w 8801100"/>
                  <a:gd name="connsiteY127" fmla="*/ 590550 h 3771900"/>
                  <a:gd name="connsiteX128" fmla="*/ 873919 w 8801100"/>
                  <a:gd name="connsiteY128" fmla="*/ 628650 h 3771900"/>
                  <a:gd name="connsiteX129" fmla="*/ 778669 w 8801100"/>
                  <a:gd name="connsiteY129" fmla="*/ 642937 h 3771900"/>
                  <a:gd name="connsiteX130" fmla="*/ 764381 w 8801100"/>
                  <a:gd name="connsiteY130" fmla="*/ 664369 h 3771900"/>
                  <a:gd name="connsiteX131" fmla="*/ 776287 w 8801100"/>
                  <a:gd name="connsiteY131" fmla="*/ 709613 h 3771900"/>
                  <a:gd name="connsiteX132" fmla="*/ 676276 w 8801100"/>
                  <a:gd name="connsiteY132" fmla="*/ 762000 h 3771900"/>
                  <a:gd name="connsiteX133" fmla="*/ 638175 w 8801100"/>
                  <a:gd name="connsiteY133" fmla="*/ 733424 h 3771900"/>
                  <a:gd name="connsiteX134" fmla="*/ 607219 w 8801100"/>
                  <a:gd name="connsiteY134" fmla="*/ 790575 h 3771900"/>
                  <a:gd name="connsiteX135" fmla="*/ 550069 w 8801100"/>
                  <a:gd name="connsiteY135" fmla="*/ 752475 h 3771900"/>
                  <a:gd name="connsiteX136" fmla="*/ 514350 w 8801100"/>
                  <a:gd name="connsiteY136" fmla="*/ 781050 h 3771900"/>
                  <a:gd name="connsiteX137" fmla="*/ 478631 w 8801100"/>
                  <a:gd name="connsiteY137" fmla="*/ 745331 h 3771900"/>
                  <a:gd name="connsiteX138" fmla="*/ 426244 w 8801100"/>
                  <a:gd name="connsiteY138" fmla="*/ 757238 h 3771900"/>
                  <a:gd name="connsiteX139" fmla="*/ 381000 w 8801100"/>
                  <a:gd name="connsiteY139" fmla="*/ 728663 h 3771900"/>
                  <a:gd name="connsiteX140" fmla="*/ 357188 w 8801100"/>
                  <a:gd name="connsiteY140" fmla="*/ 747713 h 3771900"/>
                  <a:gd name="connsiteX141" fmla="*/ 333375 w 8801100"/>
                  <a:gd name="connsiteY141" fmla="*/ 807244 h 3771900"/>
                  <a:gd name="connsiteX142" fmla="*/ 261938 w 8801100"/>
                  <a:gd name="connsiteY142" fmla="*/ 845343 h 3771900"/>
                  <a:gd name="connsiteX143" fmla="*/ 209550 w 8801100"/>
                  <a:gd name="connsiteY143" fmla="*/ 816769 h 3771900"/>
                  <a:gd name="connsiteX144" fmla="*/ 119063 w 8801100"/>
                  <a:gd name="connsiteY144" fmla="*/ 826294 h 3771900"/>
                  <a:gd name="connsiteX145" fmla="*/ 71437 w 8801100"/>
                  <a:gd name="connsiteY145" fmla="*/ 792957 h 3771900"/>
                  <a:gd name="connsiteX146" fmla="*/ 0 w 8801100"/>
                  <a:gd name="connsiteY146" fmla="*/ 812006 h 3771900"/>
                  <a:gd name="connsiteX147" fmla="*/ 4762 w 8801100"/>
                  <a:gd name="connsiteY147" fmla="*/ 0 h 3771900"/>
                  <a:gd name="connsiteX148" fmla="*/ 6434138 w 8801100"/>
                  <a:gd name="connsiteY148" fmla="*/ 3771900 h 3771900"/>
                  <a:gd name="connsiteX149" fmla="*/ 6477000 w 8801100"/>
                  <a:gd name="connsiteY149" fmla="*/ 3640931 h 3771900"/>
                  <a:gd name="connsiteX150" fmla="*/ 6629400 w 8801100"/>
                  <a:gd name="connsiteY150" fmla="*/ 3533775 h 3771900"/>
                  <a:gd name="connsiteX151" fmla="*/ 6662738 w 8801100"/>
                  <a:gd name="connsiteY151" fmla="*/ 3538538 h 3771900"/>
                  <a:gd name="connsiteX152" fmla="*/ 6715125 w 8801100"/>
                  <a:gd name="connsiteY152" fmla="*/ 3459956 h 3771900"/>
                  <a:gd name="connsiteX153" fmla="*/ 6762750 w 8801100"/>
                  <a:gd name="connsiteY153" fmla="*/ 3421856 h 3771900"/>
                  <a:gd name="connsiteX154" fmla="*/ 6748463 w 8801100"/>
                  <a:gd name="connsiteY154" fmla="*/ 3352800 h 3771900"/>
                  <a:gd name="connsiteX155" fmla="*/ 6698456 w 8801100"/>
                  <a:gd name="connsiteY155" fmla="*/ 3321843 h 3771900"/>
                  <a:gd name="connsiteX156" fmla="*/ 6638925 w 8801100"/>
                  <a:gd name="connsiteY156" fmla="*/ 3267075 h 3771900"/>
                  <a:gd name="connsiteX157" fmla="*/ 6619875 w 8801100"/>
                  <a:gd name="connsiteY157" fmla="*/ 3209925 h 3771900"/>
                  <a:gd name="connsiteX158" fmla="*/ 6584156 w 8801100"/>
                  <a:gd name="connsiteY158" fmla="*/ 3176588 h 3771900"/>
                  <a:gd name="connsiteX159" fmla="*/ 6610350 w 8801100"/>
                  <a:gd name="connsiteY159" fmla="*/ 3124200 h 3771900"/>
                  <a:gd name="connsiteX160" fmla="*/ 6650831 w 8801100"/>
                  <a:gd name="connsiteY160" fmla="*/ 2945606 h 3771900"/>
                  <a:gd name="connsiteX161" fmla="*/ 6691313 w 8801100"/>
                  <a:gd name="connsiteY161" fmla="*/ 2878931 h 3771900"/>
                  <a:gd name="connsiteX162" fmla="*/ 6836569 w 8801100"/>
                  <a:gd name="connsiteY162" fmla="*/ 2862262 h 3771900"/>
                  <a:gd name="connsiteX163" fmla="*/ 6905625 w 8801100"/>
                  <a:gd name="connsiteY163" fmla="*/ 2919413 h 3771900"/>
                  <a:gd name="connsiteX164" fmla="*/ 6981825 w 8801100"/>
                  <a:gd name="connsiteY164" fmla="*/ 2943225 h 3771900"/>
                  <a:gd name="connsiteX165" fmla="*/ 7186612 w 8801100"/>
                  <a:gd name="connsiteY165" fmla="*/ 2947988 h 3771900"/>
                  <a:gd name="connsiteX166" fmla="*/ 7362825 w 8801100"/>
                  <a:gd name="connsiteY166" fmla="*/ 2809875 h 3771900"/>
                  <a:gd name="connsiteX167" fmla="*/ 7419975 w 8801100"/>
                  <a:gd name="connsiteY167" fmla="*/ 2719387 h 3771900"/>
                  <a:gd name="connsiteX168" fmla="*/ 7446169 w 8801100"/>
                  <a:gd name="connsiteY168" fmla="*/ 2636044 h 3771900"/>
                  <a:gd name="connsiteX169" fmla="*/ 7577137 w 8801100"/>
                  <a:gd name="connsiteY169" fmla="*/ 2636044 h 3771900"/>
                  <a:gd name="connsiteX170" fmla="*/ 7750969 w 8801100"/>
                  <a:gd name="connsiteY170" fmla="*/ 2578893 h 3771900"/>
                  <a:gd name="connsiteX171" fmla="*/ 7810500 w 8801100"/>
                  <a:gd name="connsiteY171" fmla="*/ 2466975 h 3771900"/>
                  <a:gd name="connsiteX172" fmla="*/ 7874794 w 8801100"/>
                  <a:gd name="connsiteY172" fmla="*/ 2431256 h 3771900"/>
                  <a:gd name="connsiteX173" fmla="*/ 7853363 w 8801100"/>
                  <a:gd name="connsiteY173" fmla="*/ 2386013 h 3771900"/>
                  <a:gd name="connsiteX174" fmla="*/ 7931944 w 8801100"/>
                  <a:gd name="connsiteY174" fmla="*/ 2216943 h 3771900"/>
                  <a:gd name="connsiteX175" fmla="*/ 7986713 w 8801100"/>
                  <a:gd name="connsiteY175" fmla="*/ 2157413 h 3771900"/>
                  <a:gd name="connsiteX176" fmla="*/ 8024813 w 8801100"/>
                  <a:gd name="connsiteY176" fmla="*/ 2152650 h 3771900"/>
                  <a:gd name="connsiteX177" fmla="*/ 8070056 w 8801100"/>
                  <a:gd name="connsiteY177" fmla="*/ 2157413 h 3771900"/>
                  <a:gd name="connsiteX178" fmla="*/ 8134350 w 8801100"/>
                  <a:gd name="connsiteY178" fmla="*/ 2124075 h 3771900"/>
                  <a:gd name="connsiteX179" fmla="*/ 8143875 w 8801100"/>
                  <a:gd name="connsiteY179" fmla="*/ 2059781 h 3771900"/>
                  <a:gd name="connsiteX180" fmla="*/ 8184355 w 8801100"/>
                  <a:gd name="connsiteY180" fmla="*/ 2024063 h 3771900"/>
                  <a:gd name="connsiteX181" fmla="*/ 8243888 w 8801100"/>
                  <a:gd name="connsiteY181" fmla="*/ 2064543 h 3771900"/>
                  <a:gd name="connsiteX182" fmla="*/ 8270082 w 8801100"/>
                  <a:gd name="connsiteY182" fmla="*/ 2014537 h 3771900"/>
                  <a:gd name="connsiteX183" fmla="*/ 8365331 w 8801100"/>
                  <a:gd name="connsiteY183" fmla="*/ 1945481 h 3771900"/>
                  <a:gd name="connsiteX184" fmla="*/ 8427244 w 8801100"/>
                  <a:gd name="connsiteY184" fmla="*/ 1952625 h 3771900"/>
                  <a:gd name="connsiteX185" fmla="*/ 8477250 w 8801100"/>
                  <a:gd name="connsiteY185" fmla="*/ 1933575 h 3771900"/>
                  <a:gd name="connsiteX186" fmla="*/ 8515350 w 8801100"/>
                  <a:gd name="connsiteY186" fmla="*/ 1905000 h 3771900"/>
                  <a:gd name="connsiteX187" fmla="*/ 8548688 w 8801100"/>
                  <a:gd name="connsiteY187" fmla="*/ 1902619 h 3771900"/>
                  <a:gd name="connsiteX188" fmla="*/ 8584406 w 8801100"/>
                  <a:gd name="connsiteY188" fmla="*/ 1933575 h 3771900"/>
                  <a:gd name="connsiteX189" fmla="*/ 8643938 w 8801100"/>
                  <a:gd name="connsiteY189" fmla="*/ 1933575 h 3771900"/>
                  <a:gd name="connsiteX190" fmla="*/ 8682037 w 8801100"/>
                  <a:gd name="connsiteY190" fmla="*/ 1914525 h 3771900"/>
                  <a:gd name="connsiteX191" fmla="*/ 8765381 w 8801100"/>
                  <a:gd name="connsiteY191" fmla="*/ 1916907 h 3771900"/>
                  <a:gd name="connsiteX192" fmla="*/ 8796338 w 8801100"/>
                  <a:gd name="connsiteY192" fmla="*/ 1871663 h 3771900"/>
                  <a:gd name="connsiteX193" fmla="*/ 8801100 w 8801100"/>
                  <a:gd name="connsiteY193" fmla="*/ 1809750 h 3771900"/>
                  <a:gd name="connsiteX194" fmla="*/ 8751093 w 8801100"/>
                  <a:gd name="connsiteY194" fmla="*/ 1769269 h 3771900"/>
                  <a:gd name="connsiteX195" fmla="*/ 8734425 w 8801100"/>
                  <a:gd name="connsiteY195" fmla="*/ 1714500 h 3771900"/>
                  <a:gd name="connsiteX196" fmla="*/ 8643938 w 8801100"/>
                  <a:gd name="connsiteY196" fmla="*/ 1652588 h 3771900"/>
                  <a:gd name="connsiteX197" fmla="*/ 8603456 w 8801100"/>
                  <a:gd name="connsiteY197" fmla="*/ 1631156 h 3771900"/>
                  <a:gd name="connsiteX198" fmla="*/ 8565356 w 8801100"/>
                  <a:gd name="connsiteY198" fmla="*/ 1585913 h 3771900"/>
                  <a:gd name="connsiteX199" fmla="*/ 8534400 w 8801100"/>
                  <a:gd name="connsiteY199" fmla="*/ 1583531 h 3771900"/>
                  <a:gd name="connsiteX200" fmla="*/ 8517731 w 8801100"/>
                  <a:gd name="connsiteY200" fmla="*/ 1531144 h 3771900"/>
                  <a:gd name="connsiteX201" fmla="*/ 8477250 w 8801100"/>
                  <a:gd name="connsiteY201" fmla="*/ 1514475 h 3771900"/>
                  <a:gd name="connsiteX202" fmla="*/ 8477250 w 8801100"/>
                  <a:gd name="connsiteY202" fmla="*/ 1514475 h 3771900"/>
                  <a:gd name="connsiteX203" fmla="*/ 8436769 w 8801100"/>
                  <a:gd name="connsiteY203" fmla="*/ 1519238 h 3771900"/>
                  <a:gd name="connsiteX204" fmla="*/ 8351043 w 8801100"/>
                  <a:gd name="connsiteY204" fmla="*/ 1445419 h 3771900"/>
                  <a:gd name="connsiteX205" fmla="*/ 8170069 w 8801100"/>
                  <a:gd name="connsiteY205" fmla="*/ 1445418 h 3771900"/>
                  <a:gd name="connsiteX206" fmla="*/ 8117681 w 8801100"/>
                  <a:gd name="connsiteY206" fmla="*/ 1483519 h 3771900"/>
                  <a:gd name="connsiteX207" fmla="*/ 8067675 w 8801100"/>
                  <a:gd name="connsiteY207" fmla="*/ 1562100 h 3771900"/>
                  <a:gd name="connsiteX208" fmla="*/ 8084344 w 8801100"/>
                  <a:gd name="connsiteY208" fmla="*/ 1583531 h 3771900"/>
                  <a:gd name="connsiteX209" fmla="*/ 8039100 w 8801100"/>
                  <a:gd name="connsiteY209" fmla="*/ 1633537 h 3771900"/>
                  <a:gd name="connsiteX210" fmla="*/ 7889081 w 8801100"/>
                  <a:gd name="connsiteY210" fmla="*/ 1557337 h 3771900"/>
                  <a:gd name="connsiteX211" fmla="*/ 7798594 w 8801100"/>
                  <a:gd name="connsiteY211" fmla="*/ 1593056 h 3771900"/>
                  <a:gd name="connsiteX212" fmla="*/ 7724775 w 8801100"/>
                  <a:gd name="connsiteY212" fmla="*/ 1590675 h 3771900"/>
                  <a:gd name="connsiteX213" fmla="*/ 7667625 w 8801100"/>
                  <a:gd name="connsiteY213" fmla="*/ 1685925 h 3771900"/>
                  <a:gd name="connsiteX214" fmla="*/ 7529513 w 8801100"/>
                  <a:gd name="connsiteY214" fmla="*/ 1588294 h 3771900"/>
                  <a:gd name="connsiteX0" fmla="*/ 7529513 w 8801100"/>
                  <a:gd name="connsiteY0" fmla="*/ 1588294 h 3771900"/>
                  <a:gd name="connsiteX1" fmla="*/ 7522369 w 8801100"/>
                  <a:gd name="connsiteY1" fmla="*/ 1533525 h 3771900"/>
                  <a:gd name="connsiteX2" fmla="*/ 7589044 w 8801100"/>
                  <a:gd name="connsiteY2" fmla="*/ 1459706 h 3771900"/>
                  <a:gd name="connsiteX3" fmla="*/ 7572375 w 8801100"/>
                  <a:gd name="connsiteY3" fmla="*/ 1388269 h 3771900"/>
                  <a:gd name="connsiteX4" fmla="*/ 7586663 w 8801100"/>
                  <a:gd name="connsiteY4" fmla="*/ 1293019 h 3771900"/>
                  <a:gd name="connsiteX5" fmla="*/ 7624763 w 8801100"/>
                  <a:gd name="connsiteY5" fmla="*/ 1235869 h 3771900"/>
                  <a:gd name="connsiteX6" fmla="*/ 7605712 w 8801100"/>
                  <a:gd name="connsiteY6" fmla="*/ 1202531 h 3771900"/>
                  <a:gd name="connsiteX7" fmla="*/ 7703343 w 8801100"/>
                  <a:gd name="connsiteY7" fmla="*/ 802481 h 3771900"/>
                  <a:gd name="connsiteX8" fmla="*/ 7696200 w 8801100"/>
                  <a:gd name="connsiteY8" fmla="*/ 773906 h 3771900"/>
                  <a:gd name="connsiteX9" fmla="*/ 7567613 w 8801100"/>
                  <a:gd name="connsiteY9" fmla="*/ 752475 h 3771900"/>
                  <a:gd name="connsiteX10" fmla="*/ 7384257 w 8801100"/>
                  <a:gd name="connsiteY10" fmla="*/ 831056 h 3771900"/>
                  <a:gd name="connsiteX11" fmla="*/ 7227093 w 8801100"/>
                  <a:gd name="connsiteY11" fmla="*/ 716756 h 3771900"/>
                  <a:gd name="connsiteX12" fmla="*/ 7150894 w 8801100"/>
                  <a:gd name="connsiteY12" fmla="*/ 723900 h 3771900"/>
                  <a:gd name="connsiteX13" fmla="*/ 7077075 w 8801100"/>
                  <a:gd name="connsiteY13" fmla="*/ 719138 h 3771900"/>
                  <a:gd name="connsiteX14" fmla="*/ 6938963 w 8801100"/>
                  <a:gd name="connsiteY14" fmla="*/ 823913 h 3771900"/>
                  <a:gd name="connsiteX15" fmla="*/ 6831806 w 8801100"/>
                  <a:gd name="connsiteY15" fmla="*/ 931069 h 3771900"/>
                  <a:gd name="connsiteX16" fmla="*/ 6788944 w 8801100"/>
                  <a:gd name="connsiteY16" fmla="*/ 1000125 h 3771900"/>
                  <a:gd name="connsiteX17" fmla="*/ 6796088 w 8801100"/>
                  <a:gd name="connsiteY17" fmla="*/ 1035844 h 3771900"/>
                  <a:gd name="connsiteX18" fmla="*/ 6734175 w 8801100"/>
                  <a:gd name="connsiteY18" fmla="*/ 1047750 h 3771900"/>
                  <a:gd name="connsiteX19" fmla="*/ 6753225 w 8801100"/>
                  <a:gd name="connsiteY19" fmla="*/ 1047750 h 3771900"/>
                  <a:gd name="connsiteX20" fmla="*/ 6719888 w 8801100"/>
                  <a:gd name="connsiteY20" fmla="*/ 1078706 h 3771900"/>
                  <a:gd name="connsiteX21" fmla="*/ 6619875 w 8801100"/>
                  <a:gd name="connsiteY21" fmla="*/ 1078707 h 3771900"/>
                  <a:gd name="connsiteX22" fmla="*/ 6524625 w 8801100"/>
                  <a:gd name="connsiteY22" fmla="*/ 1133475 h 3771900"/>
                  <a:gd name="connsiteX23" fmla="*/ 6443663 w 8801100"/>
                  <a:gd name="connsiteY23" fmla="*/ 1143000 h 3771900"/>
                  <a:gd name="connsiteX24" fmla="*/ 6403181 w 8801100"/>
                  <a:gd name="connsiteY24" fmla="*/ 1176338 h 3771900"/>
                  <a:gd name="connsiteX25" fmla="*/ 6353175 w 8801100"/>
                  <a:gd name="connsiteY25" fmla="*/ 1181100 h 3771900"/>
                  <a:gd name="connsiteX26" fmla="*/ 6231732 w 8801100"/>
                  <a:gd name="connsiteY26" fmla="*/ 1273969 h 3771900"/>
                  <a:gd name="connsiteX27" fmla="*/ 6172200 w 8801100"/>
                  <a:gd name="connsiteY27" fmla="*/ 1278731 h 3771900"/>
                  <a:gd name="connsiteX28" fmla="*/ 6119813 w 8801100"/>
                  <a:gd name="connsiteY28" fmla="*/ 1243013 h 3771900"/>
                  <a:gd name="connsiteX29" fmla="*/ 6093619 w 8801100"/>
                  <a:gd name="connsiteY29" fmla="*/ 1278731 h 3771900"/>
                  <a:gd name="connsiteX30" fmla="*/ 5895975 w 8801100"/>
                  <a:gd name="connsiteY30" fmla="*/ 1271588 h 3771900"/>
                  <a:gd name="connsiteX31" fmla="*/ 5834063 w 8801100"/>
                  <a:gd name="connsiteY31" fmla="*/ 1226344 h 3771900"/>
                  <a:gd name="connsiteX32" fmla="*/ 5636419 w 8801100"/>
                  <a:gd name="connsiteY32" fmla="*/ 1243013 h 3771900"/>
                  <a:gd name="connsiteX33" fmla="*/ 5548313 w 8801100"/>
                  <a:gd name="connsiteY33" fmla="*/ 1159668 h 3771900"/>
                  <a:gd name="connsiteX34" fmla="*/ 5472113 w 8801100"/>
                  <a:gd name="connsiteY34" fmla="*/ 1114425 h 3771900"/>
                  <a:gd name="connsiteX35" fmla="*/ 5474493 w 8801100"/>
                  <a:gd name="connsiteY35" fmla="*/ 1057275 h 3771900"/>
                  <a:gd name="connsiteX36" fmla="*/ 5455444 w 8801100"/>
                  <a:gd name="connsiteY36" fmla="*/ 1014412 h 3771900"/>
                  <a:gd name="connsiteX37" fmla="*/ 5360194 w 8801100"/>
                  <a:gd name="connsiteY37" fmla="*/ 1016794 h 3771900"/>
                  <a:gd name="connsiteX38" fmla="*/ 5264944 w 8801100"/>
                  <a:gd name="connsiteY38" fmla="*/ 995363 h 3771900"/>
                  <a:gd name="connsiteX39" fmla="*/ 5195887 w 8801100"/>
                  <a:gd name="connsiteY39" fmla="*/ 928687 h 3771900"/>
                  <a:gd name="connsiteX40" fmla="*/ 5160169 w 8801100"/>
                  <a:gd name="connsiteY40" fmla="*/ 885825 h 3771900"/>
                  <a:gd name="connsiteX41" fmla="*/ 5079206 w 8801100"/>
                  <a:gd name="connsiteY41" fmla="*/ 862012 h 3771900"/>
                  <a:gd name="connsiteX42" fmla="*/ 5005388 w 8801100"/>
                  <a:gd name="connsiteY42" fmla="*/ 873918 h 3771900"/>
                  <a:gd name="connsiteX43" fmla="*/ 4948237 w 8801100"/>
                  <a:gd name="connsiteY43" fmla="*/ 821531 h 3771900"/>
                  <a:gd name="connsiteX44" fmla="*/ 4852988 w 8801100"/>
                  <a:gd name="connsiteY44" fmla="*/ 833438 h 3771900"/>
                  <a:gd name="connsiteX45" fmla="*/ 4800600 w 8801100"/>
                  <a:gd name="connsiteY45" fmla="*/ 807244 h 3771900"/>
                  <a:gd name="connsiteX46" fmla="*/ 4719638 w 8801100"/>
                  <a:gd name="connsiteY46" fmla="*/ 850106 h 3771900"/>
                  <a:gd name="connsiteX47" fmla="*/ 4581525 w 8801100"/>
                  <a:gd name="connsiteY47" fmla="*/ 873919 h 3771900"/>
                  <a:gd name="connsiteX48" fmla="*/ 4452938 w 8801100"/>
                  <a:gd name="connsiteY48" fmla="*/ 966788 h 3771900"/>
                  <a:gd name="connsiteX49" fmla="*/ 4405312 w 8801100"/>
                  <a:gd name="connsiteY49" fmla="*/ 928688 h 3771900"/>
                  <a:gd name="connsiteX50" fmla="*/ 4383881 w 8801100"/>
                  <a:gd name="connsiteY50" fmla="*/ 959643 h 3771900"/>
                  <a:gd name="connsiteX51" fmla="*/ 4310063 w 8801100"/>
                  <a:gd name="connsiteY51" fmla="*/ 909638 h 3771900"/>
                  <a:gd name="connsiteX52" fmla="*/ 4271963 w 8801100"/>
                  <a:gd name="connsiteY52" fmla="*/ 916781 h 3771900"/>
                  <a:gd name="connsiteX53" fmla="*/ 4250531 w 8801100"/>
                  <a:gd name="connsiteY53" fmla="*/ 878681 h 3771900"/>
                  <a:gd name="connsiteX54" fmla="*/ 4191000 w 8801100"/>
                  <a:gd name="connsiteY54" fmla="*/ 883444 h 3771900"/>
                  <a:gd name="connsiteX55" fmla="*/ 4145756 w 8801100"/>
                  <a:gd name="connsiteY55" fmla="*/ 854869 h 3771900"/>
                  <a:gd name="connsiteX56" fmla="*/ 4107656 w 8801100"/>
                  <a:gd name="connsiteY56" fmla="*/ 852488 h 3771900"/>
                  <a:gd name="connsiteX57" fmla="*/ 4088606 w 8801100"/>
                  <a:gd name="connsiteY57" fmla="*/ 804862 h 3771900"/>
                  <a:gd name="connsiteX58" fmla="*/ 4074319 w 8801100"/>
                  <a:gd name="connsiteY58" fmla="*/ 773906 h 3771900"/>
                  <a:gd name="connsiteX59" fmla="*/ 4029075 w 8801100"/>
                  <a:gd name="connsiteY59" fmla="*/ 783431 h 3771900"/>
                  <a:gd name="connsiteX60" fmla="*/ 4010025 w 8801100"/>
                  <a:gd name="connsiteY60" fmla="*/ 747713 h 3771900"/>
                  <a:gd name="connsiteX61" fmla="*/ 4031457 w 8801100"/>
                  <a:gd name="connsiteY61" fmla="*/ 692944 h 3771900"/>
                  <a:gd name="connsiteX62" fmla="*/ 4000500 w 8801100"/>
                  <a:gd name="connsiteY62" fmla="*/ 666750 h 3771900"/>
                  <a:gd name="connsiteX63" fmla="*/ 4017169 w 8801100"/>
                  <a:gd name="connsiteY63" fmla="*/ 623888 h 3771900"/>
                  <a:gd name="connsiteX64" fmla="*/ 3990975 w 8801100"/>
                  <a:gd name="connsiteY64" fmla="*/ 581025 h 3771900"/>
                  <a:gd name="connsiteX65" fmla="*/ 3986213 w 8801100"/>
                  <a:gd name="connsiteY65" fmla="*/ 519113 h 3771900"/>
                  <a:gd name="connsiteX66" fmla="*/ 4010025 w 8801100"/>
                  <a:gd name="connsiteY66" fmla="*/ 454818 h 3771900"/>
                  <a:gd name="connsiteX67" fmla="*/ 3971925 w 8801100"/>
                  <a:gd name="connsiteY67" fmla="*/ 457200 h 3771900"/>
                  <a:gd name="connsiteX68" fmla="*/ 3852863 w 8801100"/>
                  <a:gd name="connsiteY68" fmla="*/ 400050 h 3771900"/>
                  <a:gd name="connsiteX69" fmla="*/ 3814762 w 8801100"/>
                  <a:gd name="connsiteY69" fmla="*/ 404812 h 3771900"/>
                  <a:gd name="connsiteX70" fmla="*/ 3609975 w 8801100"/>
                  <a:gd name="connsiteY70" fmla="*/ 295275 h 3771900"/>
                  <a:gd name="connsiteX71" fmla="*/ 3505200 w 8801100"/>
                  <a:gd name="connsiteY71" fmla="*/ 264319 h 3771900"/>
                  <a:gd name="connsiteX72" fmla="*/ 3440906 w 8801100"/>
                  <a:gd name="connsiteY72" fmla="*/ 273843 h 3771900"/>
                  <a:gd name="connsiteX73" fmla="*/ 3409950 w 8801100"/>
                  <a:gd name="connsiteY73" fmla="*/ 209550 h 3771900"/>
                  <a:gd name="connsiteX74" fmla="*/ 3352800 w 8801100"/>
                  <a:gd name="connsiteY74" fmla="*/ 209550 h 3771900"/>
                  <a:gd name="connsiteX75" fmla="*/ 3214687 w 8801100"/>
                  <a:gd name="connsiteY75" fmla="*/ 104775 h 3771900"/>
                  <a:gd name="connsiteX76" fmla="*/ 3181350 w 8801100"/>
                  <a:gd name="connsiteY76" fmla="*/ 164307 h 3771900"/>
                  <a:gd name="connsiteX77" fmla="*/ 3126581 w 8801100"/>
                  <a:gd name="connsiteY77" fmla="*/ 233363 h 3771900"/>
                  <a:gd name="connsiteX78" fmla="*/ 3083719 w 8801100"/>
                  <a:gd name="connsiteY78" fmla="*/ 250031 h 3771900"/>
                  <a:gd name="connsiteX79" fmla="*/ 3052763 w 8801100"/>
                  <a:gd name="connsiteY79" fmla="*/ 242888 h 3771900"/>
                  <a:gd name="connsiteX80" fmla="*/ 3028950 w 8801100"/>
                  <a:gd name="connsiteY80" fmla="*/ 271463 h 3771900"/>
                  <a:gd name="connsiteX81" fmla="*/ 3002756 w 8801100"/>
                  <a:gd name="connsiteY81" fmla="*/ 350044 h 3771900"/>
                  <a:gd name="connsiteX82" fmla="*/ 2959894 w 8801100"/>
                  <a:gd name="connsiteY82" fmla="*/ 347663 h 3771900"/>
                  <a:gd name="connsiteX83" fmla="*/ 2928937 w 8801100"/>
                  <a:gd name="connsiteY83" fmla="*/ 409575 h 3771900"/>
                  <a:gd name="connsiteX84" fmla="*/ 2924175 w 8801100"/>
                  <a:gd name="connsiteY84" fmla="*/ 473869 h 3771900"/>
                  <a:gd name="connsiteX85" fmla="*/ 2897982 w 8801100"/>
                  <a:gd name="connsiteY85" fmla="*/ 511969 h 3771900"/>
                  <a:gd name="connsiteX86" fmla="*/ 2924175 w 8801100"/>
                  <a:gd name="connsiteY86" fmla="*/ 571500 h 3771900"/>
                  <a:gd name="connsiteX87" fmla="*/ 2926556 w 8801100"/>
                  <a:gd name="connsiteY87" fmla="*/ 640556 h 3771900"/>
                  <a:gd name="connsiteX88" fmla="*/ 2955131 w 8801100"/>
                  <a:gd name="connsiteY88" fmla="*/ 692944 h 3771900"/>
                  <a:gd name="connsiteX89" fmla="*/ 3002757 w 8801100"/>
                  <a:gd name="connsiteY89" fmla="*/ 747713 h 3771900"/>
                  <a:gd name="connsiteX90" fmla="*/ 2952750 w 8801100"/>
                  <a:gd name="connsiteY90" fmla="*/ 885825 h 3771900"/>
                  <a:gd name="connsiteX91" fmla="*/ 2883694 w 8801100"/>
                  <a:gd name="connsiteY91" fmla="*/ 952500 h 3771900"/>
                  <a:gd name="connsiteX92" fmla="*/ 2812256 w 8801100"/>
                  <a:gd name="connsiteY92" fmla="*/ 947738 h 3771900"/>
                  <a:gd name="connsiteX93" fmla="*/ 2774156 w 8801100"/>
                  <a:gd name="connsiteY93" fmla="*/ 1004888 h 3771900"/>
                  <a:gd name="connsiteX94" fmla="*/ 2714625 w 8801100"/>
                  <a:gd name="connsiteY94" fmla="*/ 1019175 h 3771900"/>
                  <a:gd name="connsiteX95" fmla="*/ 2645569 w 8801100"/>
                  <a:gd name="connsiteY95" fmla="*/ 959644 h 3771900"/>
                  <a:gd name="connsiteX96" fmla="*/ 2590800 w 8801100"/>
                  <a:gd name="connsiteY96" fmla="*/ 931069 h 3771900"/>
                  <a:gd name="connsiteX97" fmla="*/ 2547938 w 8801100"/>
                  <a:gd name="connsiteY97" fmla="*/ 945356 h 3771900"/>
                  <a:gd name="connsiteX98" fmla="*/ 2495550 w 8801100"/>
                  <a:gd name="connsiteY98" fmla="*/ 928688 h 3771900"/>
                  <a:gd name="connsiteX99" fmla="*/ 2428875 w 8801100"/>
                  <a:gd name="connsiteY99" fmla="*/ 873919 h 3771900"/>
                  <a:gd name="connsiteX100" fmla="*/ 2383631 w 8801100"/>
                  <a:gd name="connsiteY100" fmla="*/ 885825 h 3771900"/>
                  <a:gd name="connsiteX101" fmla="*/ 2362200 w 8801100"/>
                  <a:gd name="connsiteY101" fmla="*/ 854869 h 3771900"/>
                  <a:gd name="connsiteX102" fmla="*/ 2305050 w 8801100"/>
                  <a:gd name="connsiteY102" fmla="*/ 895350 h 3771900"/>
                  <a:gd name="connsiteX103" fmla="*/ 2188369 w 8801100"/>
                  <a:gd name="connsiteY103" fmla="*/ 873919 h 3771900"/>
                  <a:gd name="connsiteX104" fmla="*/ 2138363 w 8801100"/>
                  <a:gd name="connsiteY104" fmla="*/ 821531 h 3771900"/>
                  <a:gd name="connsiteX105" fmla="*/ 2095500 w 8801100"/>
                  <a:gd name="connsiteY105" fmla="*/ 807244 h 3771900"/>
                  <a:gd name="connsiteX106" fmla="*/ 2052638 w 8801100"/>
                  <a:gd name="connsiteY106" fmla="*/ 833438 h 3771900"/>
                  <a:gd name="connsiteX107" fmla="*/ 2000250 w 8801100"/>
                  <a:gd name="connsiteY107" fmla="*/ 742950 h 3771900"/>
                  <a:gd name="connsiteX108" fmla="*/ 1990725 w 8801100"/>
                  <a:gd name="connsiteY108" fmla="*/ 595312 h 3771900"/>
                  <a:gd name="connsiteX109" fmla="*/ 1938337 w 8801100"/>
                  <a:gd name="connsiteY109" fmla="*/ 588168 h 3771900"/>
                  <a:gd name="connsiteX110" fmla="*/ 1847850 w 8801100"/>
                  <a:gd name="connsiteY110" fmla="*/ 578644 h 3771900"/>
                  <a:gd name="connsiteX111" fmla="*/ 1793081 w 8801100"/>
                  <a:gd name="connsiteY111" fmla="*/ 540544 h 3771900"/>
                  <a:gd name="connsiteX112" fmla="*/ 1724025 w 8801100"/>
                  <a:gd name="connsiteY112" fmla="*/ 550069 h 3771900"/>
                  <a:gd name="connsiteX113" fmla="*/ 1678781 w 8801100"/>
                  <a:gd name="connsiteY113" fmla="*/ 523875 h 3771900"/>
                  <a:gd name="connsiteX114" fmla="*/ 1669257 w 8801100"/>
                  <a:gd name="connsiteY114" fmla="*/ 452438 h 3771900"/>
                  <a:gd name="connsiteX115" fmla="*/ 1645444 w 8801100"/>
                  <a:gd name="connsiteY115" fmla="*/ 438150 h 3771900"/>
                  <a:gd name="connsiteX116" fmla="*/ 1607344 w 8801100"/>
                  <a:gd name="connsiteY116" fmla="*/ 485774 h 3771900"/>
                  <a:gd name="connsiteX117" fmla="*/ 1528762 w 8801100"/>
                  <a:gd name="connsiteY117" fmla="*/ 411956 h 3771900"/>
                  <a:gd name="connsiteX118" fmla="*/ 1488281 w 8801100"/>
                  <a:gd name="connsiteY118" fmla="*/ 452438 h 3771900"/>
                  <a:gd name="connsiteX119" fmla="*/ 1412081 w 8801100"/>
                  <a:gd name="connsiteY119" fmla="*/ 438150 h 3771900"/>
                  <a:gd name="connsiteX120" fmla="*/ 1333500 w 8801100"/>
                  <a:gd name="connsiteY120" fmla="*/ 464344 h 3771900"/>
                  <a:gd name="connsiteX121" fmla="*/ 1273969 w 8801100"/>
                  <a:gd name="connsiteY121" fmla="*/ 511968 h 3771900"/>
                  <a:gd name="connsiteX122" fmla="*/ 1200150 w 8801100"/>
                  <a:gd name="connsiteY122" fmla="*/ 523875 h 3771900"/>
                  <a:gd name="connsiteX123" fmla="*/ 1164431 w 8801100"/>
                  <a:gd name="connsiteY123" fmla="*/ 516731 h 3771900"/>
                  <a:gd name="connsiteX124" fmla="*/ 1085851 w 8801100"/>
                  <a:gd name="connsiteY124" fmla="*/ 547688 h 3771900"/>
                  <a:gd name="connsiteX125" fmla="*/ 1064419 w 8801100"/>
                  <a:gd name="connsiteY125" fmla="*/ 576263 h 3771900"/>
                  <a:gd name="connsiteX126" fmla="*/ 997744 w 8801100"/>
                  <a:gd name="connsiteY126" fmla="*/ 566738 h 3771900"/>
                  <a:gd name="connsiteX127" fmla="*/ 928688 w 8801100"/>
                  <a:gd name="connsiteY127" fmla="*/ 590550 h 3771900"/>
                  <a:gd name="connsiteX128" fmla="*/ 873919 w 8801100"/>
                  <a:gd name="connsiteY128" fmla="*/ 628650 h 3771900"/>
                  <a:gd name="connsiteX129" fmla="*/ 778669 w 8801100"/>
                  <a:gd name="connsiteY129" fmla="*/ 642937 h 3771900"/>
                  <a:gd name="connsiteX130" fmla="*/ 764381 w 8801100"/>
                  <a:gd name="connsiteY130" fmla="*/ 664369 h 3771900"/>
                  <a:gd name="connsiteX131" fmla="*/ 776287 w 8801100"/>
                  <a:gd name="connsiteY131" fmla="*/ 709613 h 3771900"/>
                  <a:gd name="connsiteX132" fmla="*/ 676276 w 8801100"/>
                  <a:gd name="connsiteY132" fmla="*/ 762000 h 3771900"/>
                  <a:gd name="connsiteX133" fmla="*/ 638175 w 8801100"/>
                  <a:gd name="connsiteY133" fmla="*/ 733424 h 3771900"/>
                  <a:gd name="connsiteX134" fmla="*/ 607219 w 8801100"/>
                  <a:gd name="connsiteY134" fmla="*/ 790575 h 3771900"/>
                  <a:gd name="connsiteX135" fmla="*/ 550069 w 8801100"/>
                  <a:gd name="connsiteY135" fmla="*/ 752475 h 3771900"/>
                  <a:gd name="connsiteX136" fmla="*/ 514350 w 8801100"/>
                  <a:gd name="connsiteY136" fmla="*/ 781050 h 3771900"/>
                  <a:gd name="connsiteX137" fmla="*/ 478631 w 8801100"/>
                  <a:gd name="connsiteY137" fmla="*/ 745331 h 3771900"/>
                  <a:gd name="connsiteX138" fmla="*/ 426244 w 8801100"/>
                  <a:gd name="connsiteY138" fmla="*/ 757238 h 3771900"/>
                  <a:gd name="connsiteX139" fmla="*/ 381000 w 8801100"/>
                  <a:gd name="connsiteY139" fmla="*/ 728663 h 3771900"/>
                  <a:gd name="connsiteX140" fmla="*/ 357188 w 8801100"/>
                  <a:gd name="connsiteY140" fmla="*/ 747713 h 3771900"/>
                  <a:gd name="connsiteX141" fmla="*/ 333375 w 8801100"/>
                  <a:gd name="connsiteY141" fmla="*/ 807244 h 3771900"/>
                  <a:gd name="connsiteX142" fmla="*/ 261938 w 8801100"/>
                  <a:gd name="connsiteY142" fmla="*/ 845343 h 3771900"/>
                  <a:gd name="connsiteX143" fmla="*/ 209550 w 8801100"/>
                  <a:gd name="connsiteY143" fmla="*/ 816769 h 3771900"/>
                  <a:gd name="connsiteX144" fmla="*/ 119063 w 8801100"/>
                  <a:gd name="connsiteY144" fmla="*/ 826294 h 3771900"/>
                  <a:gd name="connsiteX145" fmla="*/ 71437 w 8801100"/>
                  <a:gd name="connsiteY145" fmla="*/ 792957 h 3771900"/>
                  <a:gd name="connsiteX146" fmla="*/ 0 w 8801100"/>
                  <a:gd name="connsiteY146" fmla="*/ 812006 h 3771900"/>
                  <a:gd name="connsiteX147" fmla="*/ 4762 w 8801100"/>
                  <a:gd name="connsiteY147" fmla="*/ 0 h 3771900"/>
                  <a:gd name="connsiteX148" fmla="*/ 6434138 w 8801100"/>
                  <a:gd name="connsiteY148" fmla="*/ 3771900 h 3771900"/>
                  <a:gd name="connsiteX149" fmla="*/ 6477000 w 8801100"/>
                  <a:gd name="connsiteY149" fmla="*/ 3640931 h 3771900"/>
                  <a:gd name="connsiteX150" fmla="*/ 6662738 w 8801100"/>
                  <a:gd name="connsiteY150" fmla="*/ 3538538 h 3771900"/>
                  <a:gd name="connsiteX151" fmla="*/ 6715125 w 8801100"/>
                  <a:gd name="connsiteY151" fmla="*/ 3459956 h 3771900"/>
                  <a:gd name="connsiteX152" fmla="*/ 6762750 w 8801100"/>
                  <a:gd name="connsiteY152" fmla="*/ 3421856 h 3771900"/>
                  <a:gd name="connsiteX153" fmla="*/ 6748463 w 8801100"/>
                  <a:gd name="connsiteY153" fmla="*/ 3352800 h 3771900"/>
                  <a:gd name="connsiteX154" fmla="*/ 6698456 w 8801100"/>
                  <a:gd name="connsiteY154" fmla="*/ 3321843 h 3771900"/>
                  <a:gd name="connsiteX155" fmla="*/ 6638925 w 8801100"/>
                  <a:gd name="connsiteY155" fmla="*/ 3267075 h 3771900"/>
                  <a:gd name="connsiteX156" fmla="*/ 6619875 w 8801100"/>
                  <a:gd name="connsiteY156" fmla="*/ 3209925 h 3771900"/>
                  <a:gd name="connsiteX157" fmla="*/ 6584156 w 8801100"/>
                  <a:gd name="connsiteY157" fmla="*/ 3176588 h 3771900"/>
                  <a:gd name="connsiteX158" fmla="*/ 6610350 w 8801100"/>
                  <a:gd name="connsiteY158" fmla="*/ 3124200 h 3771900"/>
                  <a:gd name="connsiteX159" fmla="*/ 6650831 w 8801100"/>
                  <a:gd name="connsiteY159" fmla="*/ 2945606 h 3771900"/>
                  <a:gd name="connsiteX160" fmla="*/ 6691313 w 8801100"/>
                  <a:gd name="connsiteY160" fmla="*/ 2878931 h 3771900"/>
                  <a:gd name="connsiteX161" fmla="*/ 6836569 w 8801100"/>
                  <a:gd name="connsiteY161" fmla="*/ 2862262 h 3771900"/>
                  <a:gd name="connsiteX162" fmla="*/ 6905625 w 8801100"/>
                  <a:gd name="connsiteY162" fmla="*/ 2919413 h 3771900"/>
                  <a:gd name="connsiteX163" fmla="*/ 6981825 w 8801100"/>
                  <a:gd name="connsiteY163" fmla="*/ 2943225 h 3771900"/>
                  <a:gd name="connsiteX164" fmla="*/ 7186612 w 8801100"/>
                  <a:gd name="connsiteY164" fmla="*/ 2947988 h 3771900"/>
                  <a:gd name="connsiteX165" fmla="*/ 7362825 w 8801100"/>
                  <a:gd name="connsiteY165" fmla="*/ 2809875 h 3771900"/>
                  <a:gd name="connsiteX166" fmla="*/ 7419975 w 8801100"/>
                  <a:gd name="connsiteY166" fmla="*/ 2719387 h 3771900"/>
                  <a:gd name="connsiteX167" fmla="*/ 7446169 w 8801100"/>
                  <a:gd name="connsiteY167" fmla="*/ 2636044 h 3771900"/>
                  <a:gd name="connsiteX168" fmla="*/ 7577137 w 8801100"/>
                  <a:gd name="connsiteY168" fmla="*/ 2636044 h 3771900"/>
                  <a:gd name="connsiteX169" fmla="*/ 7750969 w 8801100"/>
                  <a:gd name="connsiteY169" fmla="*/ 2578893 h 3771900"/>
                  <a:gd name="connsiteX170" fmla="*/ 7810500 w 8801100"/>
                  <a:gd name="connsiteY170" fmla="*/ 2466975 h 3771900"/>
                  <a:gd name="connsiteX171" fmla="*/ 7874794 w 8801100"/>
                  <a:gd name="connsiteY171" fmla="*/ 2431256 h 3771900"/>
                  <a:gd name="connsiteX172" fmla="*/ 7853363 w 8801100"/>
                  <a:gd name="connsiteY172" fmla="*/ 2386013 h 3771900"/>
                  <a:gd name="connsiteX173" fmla="*/ 7931944 w 8801100"/>
                  <a:gd name="connsiteY173" fmla="*/ 2216943 h 3771900"/>
                  <a:gd name="connsiteX174" fmla="*/ 7986713 w 8801100"/>
                  <a:gd name="connsiteY174" fmla="*/ 2157413 h 3771900"/>
                  <a:gd name="connsiteX175" fmla="*/ 8024813 w 8801100"/>
                  <a:gd name="connsiteY175" fmla="*/ 2152650 h 3771900"/>
                  <a:gd name="connsiteX176" fmla="*/ 8070056 w 8801100"/>
                  <a:gd name="connsiteY176" fmla="*/ 2157413 h 3771900"/>
                  <a:gd name="connsiteX177" fmla="*/ 8134350 w 8801100"/>
                  <a:gd name="connsiteY177" fmla="*/ 2124075 h 3771900"/>
                  <a:gd name="connsiteX178" fmla="*/ 8143875 w 8801100"/>
                  <a:gd name="connsiteY178" fmla="*/ 2059781 h 3771900"/>
                  <a:gd name="connsiteX179" fmla="*/ 8184355 w 8801100"/>
                  <a:gd name="connsiteY179" fmla="*/ 2024063 h 3771900"/>
                  <a:gd name="connsiteX180" fmla="*/ 8243888 w 8801100"/>
                  <a:gd name="connsiteY180" fmla="*/ 2064543 h 3771900"/>
                  <a:gd name="connsiteX181" fmla="*/ 8270082 w 8801100"/>
                  <a:gd name="connsiteY181" fmla="*/ 2014537 h 3771900"/>
                  <a:gd name="connsiteX182" fmla="*/ 8365331 w 8801100"/>
                  <a:gd name="connsiteY182" fmla="*/ 1945481 h 3771900"/>
                  <a:gd name="connsiteX183" fmla="*/ 8427244 w 8801100"/>
                  <a:gd name="connsiteY183" fmla="*/ 1952625 h 3771900"/>
                  <a:gd name="connsiteX184" fmla="*/ 8477250 w 8801100"/>
                  <a:gd name="connsiteY184" fmla="*/ 1933575 h 3771900"/>
                  <a:gd name="connsiteX185" fmla="*/ 8515350 w 8801100"/>
                  <a:gd name="connsiteY185" fmla="*/ 1905000 h 3771900"/>
                  <a:gd name="connsiteX186" fmla="*/ 8548688 w 8801100"/>
                  <a:gd name="connsiteY186" fmla="*/ 1902619 h 3771900"/>
                  <a:gd name="connsiteX187" fmla="*/ 8584406 w 8801100"/>
                  <a:gd name="connsiteY187" fmla="*/ 1933575 h 3771900"/>
                  <a:gd name="connsiteX188" fmla="*/ 8643938 w 8801100"/>
                  <a:gd name="connsiteY188" fmla="*/ 1933575 h 3771900"/>
                  <a:gd name="connsiteX189" fmla="*/ 8682037 w 8801100"/>
                  <a:gd name="connsiteY189" fmla="*/ 1914525 h 3771900"/>
                  <a:gd name="connsiteX190" fmla="*/ 8765381 w 8801100"/>
                  <a:gd name="connsiteY190" fmla="*/ 1916907 h 3771900"/>
                  <a:gd name="connsiteX191" fmla="*/ 8796338 w 8801100"/>
                  <a:gd name="connsiteY191" fmla="*/ 1871663 h 3771900"/>
                  <a:gd name="connsiteX192" fmla="*/ 8801100 w 8801100"/>
                  <a:gd name="connsiteY192" fmla="*/ 1809750 h 3771900"/>
                  <a:gd name="connsiteX193" fmla="*/ 8751093 w 8801100"/>
                  <a:gd name="connsiteY193" fmla="*/ 1769269 h 3771900"/>
                  <a:gd name="connsiteX194" fmla="*/ 8734425 w 8801100"/>
                  <a:gd name="connsiteY194" fmla="*/ 1714500 h 3771900"/>
                  <a:gd name="connsiteX195" fmla="*/ 8643938 w 8801100"/>
                  <a:gd name="connsiteY195" fmla="*/ 1652588 h 3771900"/>
                  <a:gd name="connsiteX196" fmla="*/ 8603456 w 8801100"/>
                  <a:gd name="connsiteY196" fmla="*/ 1631156 h 3771900"/>
                  <a:gd name="connsiteX197" fmla="*/ 8565356 w 8801100"/>
                  <a:gd name="connsiteY197" fmla="*/ 1585913 h 3771900"/>
                  <a:gd name="connsiteX198" fmla="*/ 8534400 w 8801100"/>
                  <a:gd name="connsiteY198" fmla="*/ 1583531 h 3771900"/>
                  <a:gd name="connsiteX199" fmla="*/ 8517731 w 8801100"/>
                  <a:gd name="connsiteY199" fmla="*/ 1531144 h 3771900"/>
                  <a:gd name="connsiteX200" fmla="*/ 8477250 w 8801100"/>
                  <a:gd name="connsiteY200" fmla="*/ 1514475 h 3771900"/>
                  <a:gd name="connsiteX201" fmla="*/ 8477250 w 8801100"/>
                  <a:gd name="connsiteY201" fmla="*/ 1514475 h 3771900"/>
                  <a:gd name="connsiteX202" fmla="*/ 8436769 w 8801100"/>
                  <a:gd name="connsiteY202" fmla="*/ 1519238 h 3771900"/>
                  <a:gd name="connsiteX203" fmla="*/ 8351043 w 8801100"/>
                  <a:gd name="connsiteY203" fmla="*/ 1445419 h 3771900"/>
                  <a:gd name="connsiteX204" fmla="*/ 8170069 w 8801100"/>
                  <a:gd name="connsiteY204" fmla="*/ 1445418 h 3771900"/>
                  <a:gd name="connsiteX205" fmla="*/ 8117681 w 8801100"/>
                  <a:gd name="connsiteY205" fmla="*/ 1483519 h 3771900"/>
                  <a:gd name="connsiteX206" fmla="*/ 8067675 w 8801100"/>
                  <a:gd name="connsiteY206" fmla="*/ 1562100 h 3771900"/>
                  <a:gd name="connsiteX207" fmla="*/ 8084344 w 8801100"/>
                  <a:gd name="connsiteY207" fmla="*/ 1583531 h 3771900"/>
                  <a:gd name="connsiteX208" fmla="*/ 8039100 w 8801100"/>
                  <a:gd name="connsiteY208" fmla="*/ 1633537 h 3771900"/>
                  <a:gd name="connsiteX209" fmla="*/ 7889081 w 8801100"/>
                  <a:gd name="connsiteY209" fmla="*/ 1557337 h 3771900"/>
                  <a:gd name="connsiteX210" fmla="*/ 7798594 w 8801100"/>
                  <a:gd name="connsiteY210" fmla="*/ 1593056 h 3771900"/>
                  <a:gd name="connsiteX211" fmla="*/ 7724775 w 8801100"/>
                  <a:gd name="connsiteY211" fmla="*/ 1590675 h 3771900"/>
                  <a:gd name="connsiteX212" fmla="*/ 7667625 w 8801100"/>
                  <a:gd name="connsiteY212" fmla="*/ 1685925 h 3771900"/>
                  <a:gd name="connsiteX213" fmla="*/ 7529513 w 8801100"/>
                  <a:gd name="connsiteY213" fmla="*/ 1588294 h 3771900"/>
                  <a:gd name="connsiteX0" fmla="*/ 7529513 w 8801100"/>
                  <a:gd name="connsiteY0" fmla="*/ 1588294 h 3771900"/>
                  <a:gd name="connsiteX1" fmla="*/ 7522369 w 8801100"/>
                  <a:gd name="connsiteY1" fmla="*/ 1533525 h 3771900"/>
                  <a:gd name="connsiteX2" fmla="*/ 7589044 w 8801100"/>
                  <a:gd name="connsiteY2" fmla="*/ 1459706 h 3771900"/>
                  <a:gd name="connsiteX3" fmla="*/ 7572375 w 8801100"/>
                  <a:gd name="connsiteY3" fmla="*/ 1388269 h 3771900"/>
                  <a:gd name="connsiteX4" fmla="*/ 7586663 w 8801100"/>
                  <a:gd name="connsiteY4" fmla="*/ 1293019 h 3771900"/>
                  <a:gd name="connsiteX5" fmla="*/ 7624763 w 8801100"/>
                  <a:gd name="connsiteY5" fmla="*/ 1235869 h 3771900"/>
                  <a:gd name="connsiteX6" fmla="*/ 7605712 w 8801100"/>
                  <a:gd name="connsiteY6" fmla="*/ 1202531 h 3771900"/>
                  <a:gd name="connsiteX7" fmla="*/ 7703343 w 8801100"/>
                  <a:gd name="connsiteY7" fmla="*/ 802481 h 3771900"/>
                  <a:gd name="connsiteX8" fmla="*/ 7696200 w 8801100"/>
                  <a:gd name="connsiteY8" fmla="*/ 773906 h 3771900"/>
                  <a:gd name="connsiteX9" fmla="*/ 7567613 w 8801100"/>
                  <a:gd name="connsiteY9" fmla="*/ 752475 h 3771900"/>
                  <a:gd name="connsiteX10" fmla="*/ 7384257 w 8801100"/>
                  <a:gd name="connsiteY10" fmla="*/ 831056 h 3771900"/>
                  <a:gd name="connsiteX11" fmla="*/ 7227093 w 8801100"/>
                  <a:gd name="connsiteY11" fmla="*/ 716756 h 3771900"/>
                  <a:gd name="connsiteX12" fmla="*/ 7150894 w 8801100"/>
                  <a:gd name="connsiteY12" fmla="*/ 723900 h 3771900"/>
                  <a:gd name="connsiteX13" fmla="*/ 7077075 w 8801100"/>
                  <a:gd name="connsiteY13" fmla="*/ 719138 h 3771900"/>
                  <a:gd name="connsiteX14" fmla="*/ 6938963 w 8801100"/>
                  <a:gd name="connsiteY14" fmla="*/ 823913 h 3771900"/>
                  <a:gd name="connsiteX15" fmla="*/ 6831806 w 8801100"/>
                  <a:gd name="connsiteY15" fmla="*/ 931069 h 3771900"/>
                  <a:gd name="connsiteX16" fmla="*/ 6788944 w 8801100"/>
                  <a:gd name="connsiteY16" fmla="*/ 1000125 h 3771900"/>
                  <a:gd name="connsiteX17" fmla="*/ 6796088 w 8801100"/>
                  <a:gd name="connsiteY17" fmla="*/ 1035844 h 3771900"/>
                  <a:gd name="connsiteX18" fmla="*/ 6734175 w 8801100"/>
                  <a:gd name="connsiteY18" fmla="*/ 1047750 h 3771900"/>
                  <a:gd name="connsiteX19" fmla="*/ 6753225 w 8801100"/>
                  <a:gd name="connsiteY19" fmla="*/ 1047750 h 3771900"/>
                  <a:gd name="connsiteX20" fmla="*/ 6719888 w 8801100"/>
                  <a:gd name="connsiteY20" fmla="*/ 1078706 h 3771900"/>
                  <a:gd name="connsiteX21" fmla="*/ 6619875 w 8801100"/>
                  <a:gd name="connsiteY21" fmla="*/ 1078707 h 3771900"/>
                  <a:gd name="connsiteX22" fmla="*/ 6524625 w 8801100"/>
                  <a:gd name="connsiteY22" fmla="*/ 1133475 h 3771900"/>
                  <a:gd name="connsiteX23" fmla="*/ 6443663 w 8801100"/>
                  <a:gd name="connsiteY23" fmla="*/ 1143000 h 3771900"/>
                  <a:gd name="connsiteX24" fmla="*/ 6403181 w 8801100"/>
                  <a:gd name="connsiteY24" fmla="*/ 1176338 h 3771900"/>
                  <a:gd name="connsiteX25" fmla="*/ 6353175 w 8801100"/>
                  <a:gd name="connsiteY25" fmla="*/ 1181100 h 3771900"/>
                  <a:gd name="connsiteX26" fmla="*/ 6231732 w 8801100"/>
                  <a:gd name="connsiteY26" fmla="*/ 1273969 h 3771900"/>
                  <a:gd name="connsiteX27" fmla="*/ 6172200 w 8801100"/>
                  <a:gd name="connsiteY27" fmla="*/ 1278731 h 3771900"/>
                  <a:gd name="connsiteX28" fmla="*/ 6119813 w 8801100"/>
                  <a:gd name="connsiteY28" fmla="*/ 1243013 h 3771900"/>
                  <a:gd name="connsiteX29" fmla="*/ 6093619 w 8801100"/>
                  <a:gd name="connsiteY29" fmla="*/ 1278731 h 3771900"/>
                  <a:gd name="connsiteX30" fmla="*/ 5895975 w 8801100"/>
                  <a:gd name="connsiteY30" fmla="*/ 1271588 h 3771900"/>
                  <a:gd name="connsiteX31" fmla="*/ 5834063 w 8801100"/>
                  <a:gd name="connsiteY31" fmla="*/ 1226344 h 3771900"/>
                  <a:gd name="connsiteX32" fmla="*/ 5636419 w 8801100"/>
                  <a:gd name="connsiteY32" fmla="*/ 1243013 h 3771900"/>
                  <a:gd name="connsiteX33" fmla="*/ 5548313 w 8801100"/>
                  <a:gd name="connsiteY33" fmla="*/ 1159668 h 3771900"/>
                  <a:gd name="connsiteX34" fmla="*/ 5472113 w 8801100"/>
                  <a:gd name="connsiteY34" fmla="*/ 1114425 h 3771900"/>
                  <a:gd name="connsiteX35" fmla="*/ 5474493 w 8801100"/>
                  <a:gd name="connsiteY35" fmla="*/ 1057275 h 3771900"/>
                  <a:gd name="connsiteX36" fmla="*/ 5455444 w 8801100"/>
                  <a:gd name="connsiteY36" fmla="*/ 1014412 h 3771900"/>
                  <a:gd name="connsiteX37" fmla="*/ 5360194 w 8801100"/>
                  <a:gd name="connsiteY37" fmla="*/ 1016794 h 3771900"/>
                  <a:gd name="connsiteX38" fmla="*/ 5264944 w 8801100"/>
                  <a:gd name="connsiteY38" fmla="*/ 995363 h 3771900"/>
                  <a:gd name="connsiteX39" fmla="*/ 5195887 w 8801100"/>
                  <a:gd name="connsiteY39" fmla="*/ 928687 h 3771900"/>
                  <a:gd name="connsiteX40" fmla="*/ 5160169 w 8801100"/>
                  <a:gd name="connsiteY40" fmla="*/ 885825 h 3771900"/>
                  <a:gd name="connsiteX41" fmla="*/ 5079206 w 8801100"/>
                  <a:gd name="connsiteY41" fmla="*/ 862012 h 3771900"/>
                  <a:gd name="connsiteX42" fmla="*/ 5005388 w 8801100"/>
                  <a:gd name="connsiteY42" fmla="*/ 873918 h 3771900"/>
                  <a:gd name="connsiteX43" fmla="*/ 4948237 w 8801100"/>
                  <a:gd name="connsiteY43" fmla="*/ 821531 h 3771900"/>
                  <a:gd name="connsiteX44" fmla="*/ 4852988 w 8801100"/>
                  <a:gd name="connsiteY44" fmla="*/ 833438 h 3771900"/>
                  <a:gd name="connsiteX45" fmla="*/ 4800600 w 8801100"/>
                  <a:gd name="connsiteY45" fmla="*/ 807244 h 3771900"/>
                  <a:gd name="connsiteX46" fmla="*/ 4719638 w 8801100"/>
                  <a:gd name="connsiteY46" fmla="*/ 850106 h 3771900"/>
                  <a:gd name="connsiteX47" fmla="*/ 4581525 w 8801100"/>
                  <a:gd name="connsiteY47" fmla="*/ 873919 h 3771900"/>
                  <a:gd name="connsiteX48" fmla="*/ 4452938 w 8801100"/>
                  <a:gd name="connsiteY48" fmla="*/ 966788 h 3771900"/>
                  <a:gd name="connsiteX49" fmla="*/ 4405312 w 8801100"/>
                  <a:gd name="connsiteY49" fmla="*/ 928688 h 3771900"/>
                  <a:gd name="connsiteX50" fmla="*/ 4383881 w 8801100"/>
                  <a:gd name="connsiteY50" fmla="*/ 959643 h 3771900"/>
                  <a:gd name="connsiteX51" fmla="*/ 4310063 w 8801100"/>
                  <a:gd name="connsiteY51" fmla="*/ 909638 h 3771900"/>
                  <a:gd name="connsiteX52" fmla="*/ 4271963 w 8801100"/>
                  <a:gd name="connsiteY52" fmla="*/ 916781 h 3771900"/>
                  <a:gd name="connsiteX53" fmla="*/ 4250531 w 8801100"/>
                  <a:gd name="connsiteY53" fmla="*/ 878681 h 3771900"/>
                  <a:gd name="connsiteX54" fmla="*/ 4191000 w 8801100"/>
                  <a:gd name="connsiteY54" fmla="*/ 883444 h 3771900"/>
                  <a:gd name="connsiteX55" fmla="*/ 4145756 w 8801100"/>
                  <a:gd name="connsiteY55" fmla="*/ 854869 h 3771900"/>
                  <a:gd name="connsiteX56" fmla="*/ 4107656 w 8801100"/>
                  <a:gd name="connsiteY56" fmla="*/ 852488 h 3771900"/>
                  <a:gd name="connsiteX57" fmla="*/ 4088606 w 8801100"/>
                  <a:gd name="connsiteY57" fmla="*/ 804862 h 3771900"/>
                  <a:gd name="connsiteX58" fmla="*/ 4074319 w 8801100"/>
                  <a:gd name="connsiteY58" fmla="*/ 773906 h 3771900"/>
                  <a:gd name="connsiteX59" fmla="*/ 4029075 w 8801100"/>
                  <a:gd name="connsiteY59" fmla="*/ 783431 h 3771900"/>
                  <a:gd name="connsiteX60" fmla="*/ 4010025 w 8801100"/>
                  <a:gd name="connsiteY60" fmla="*/ 747713 h 3771900"/>
                  <a:gd name="connsiteX61" fmla="*/ 4031457 w 8801100"/>
                  <a:gd name="connsiteY61" fmla="*/ 692944 h 3771900"/>
                  <a:gd name="connsiteX62" fmla="*/ 4000500 w 8801100"/>
                  <a:gd name="connsiteY62" fmla="*/ 666750 h 3771900"/>
                  <a:gd name="connsiteX63" fmla="*/ 4017169 w 8801100"/>
                  <a:gd name="connsiteY63" fmla="*/ 623888 h 3771900"/>
                  <a:gd name="connsiteX64" fmla="*/ 3990975 w 8801100"/>
                  <a:gd name="connsiteY64" fmla="*/ 581025 h 3771900"/>
                  <a:gd name="connsiteX65" fmla="*/ 3986213 w 8801100"/>
                  <a:gd name="connsiteY65" fmla="*/ 519113 h 3771900"/>
                  <a:gd name="connsiteX66" fmla="*/ 4010025 w 8801100"/>
                  <a:gd name="connsiteY66" fmla="*/ 454818 h 3771900"/>
                  <a:gd name="connsiteX67" fmla="*/ 3971925 w 8801100"/>
                  <a:gd name="connsiteY67" fmla="*/ 457200 h 3771900"/>
                  <a:gd name="connsiteX68" fmla="*/ 3852863 w 8801100"/>
                  <a:gd name="connsiteY68" fmla="*/ 400050 h 3771900"/>
                  <a:gd name="connsiteX69" fmla="*/ 3814762 w 8801100"/>
                  <a:gd name="connsiteY69" fmla="*/ 404812 h 3771900"/>
                  <a:gd name="connsiteX70" fmla="*/ 3609975 w 8801100"/>
                  <a:gd name="connsiteY70" fmla="*/ 295275 h 3771900"/>
                  <a:gd name="connsiteX71" fmla="*/ 3505200 w 8801100"/>
                  <a:gd name="connsiteY71" fmla="*/ 264319 h 3771900"/>
                  <a:gd name="connsiteX72" fmla="*/ 3440906 w 8801100"/>
                  <a:gd name="connsiteY72" fmla="*/ 273843 h 3771900"/>
                  <a:gd name="connsiteX73" fmla="*/ 3409950 w 8801100"/>
                  <a:gd name="connsiteY73" fmla="*/ 209550 h 3771900"/>
                  <a:gd name="connsiteX74" fmla="*/ 3352800 w 8801100"/>
                  <a:gd name="connsiteY74" fmla="*/ 209550 h 3771900"/>
                  <a:gd name="connsiteX75" fmla="*/ 3214687 w 8801100"/>
                  <a:gd name="connsiteY75" fmla="*/ 104775 h 3771900"/>
                  <a:gd name="connsiteX76" fmla="*/ 3181350 w 8801100"/>
                  <a:gd name="connsiteY76" fmla="*/ 164307 h 3771900"/>
                  <a:gd name="connsiteX77" fmla="*/ 3126581 w 8801100"/>
                  <a:gd name="connsiteY77" fmla="*/ 233363 h 3771900"/>
                  <a:gd name="connsiteX78" fmla="*/ 3083719 w 8801100"/>
                  <a:gd name="connsiteY78" fmla="*/ 250031 h 3771900"/>
                  <a:gd name="connsiteX79" fmla="*/ 3052763 w 8801100"/>
                  <a:gd name="connsiteY79" fmla="*/ 242888 h 3771900"/>
                  <a:gd name="connsiteX80" fmla="*/ 3028950 w 8801100"/>
                  <a:gd name="connsiteY80" fmla="*/ 271463 h 3771900"/>
                  <a:gd name="connsiteX81" fmla="*/ 3002756 w 8801100"/>
                  <a:gd name="connsiteY81" fmla="*/ 350044 h 3771900"/>
                  <a:gd name="connsiteX82" fmla="*/ 2959894 w 8801100"/>
                  <a:gd name="connsiteY82" fmla="*/ 347663 h 3771900"/>
                  <a:gd name="connsiteX83" fmla="*/ 2928937 w 8801100"/>
                  <a:gd name="connsiteY83" fmla="*/ 409575 h 3771900"/>
                  <a:gd name="connsiteX84" fmla="*/ 2924175 w 8801100"/>
                  <a:gd name="connsiteY84" fmla="*/ 473869 h 3771900"/>
                  <a:gd name="connsiteX85" fmla="*/ 2897982 w 8801100"/>
                  <a:gd name="connsiteY85" fmla="*/ 511969 h 3771900"/>
                  <a:gd name="connsiteX86" fmla="*/ 2924175 w 8801100"/>
                  <a:gd name="connsiteY86" fmla="*/ 571500 h 3771900"/>
                  <a:gd name="connsiteX87" fmla="*/ 2926556 w 8801100"/>
                  <a:gd name="connsiteY87" fmla="*/ 640556 h 3771900"/>
                  <a:gd name="connsiteX88" fmla="*/ 2955131 w 8801100"/>
                  <a:gd name="connsiteY88" fmla="*/ 692944 h 3771900"/>
                  <a:gd name="connsiteX89" fmla="*/ 3002757 w 8801100"/>
                  <a:gd name="connsiteY89" fmla="*/ 747713 h 3771900"/>
                  <a:gd name="connsiteX90" fmla="*/ 2952750 w 8801100"/>
                  <a:gd name="connsiteY90" fmla="*/ 885825 h 3771900"/>
                  <a:gd name="connsiteX91" fmla="*/ 2883694 w 8801100"/>
                  <a:gd name="connsiteY91" fmla="*/ 952500 h 3771900"/>
                  <a:gd name="connsiteX92" fmla="*/ 2812256 w 8801100"/>
                  <a:gd name="connsiteY92" fmla="*/ 947738 h 3771900"/>
                  <a:gd name="connsiteX93" fmla="*/ 2774156 w 8801100"/>
                  <a:gd name="connsiteY93" fmla="*/ 1004888 h 3771900"/>
                  <a:gd name="connsiteX94" fmla="*/ 2714625 w 8801100"/>
                  <a:gd name="connsiteY94" fmla="*/ 1019175 h 3771900"/>
                  <a:gd name="connsiteX95" fmla="*/ 2645569 w 8801100"/>
                  <a:gd name="connsiteY95" fmla="*/ 959644 h 3771900"/>
                  <a:gd name="connsiteX96" fmla="*/ 2590800 w 8801100"/>
                  <a:gd name="connsiteY96" fmla="*/ 931069 h 3771900"/>
                  <a:gd name="connsiteX97" fmla="*/ 2547938 w 8801100"/>
                  <a:gd name="connsiteY97" fmla="*/ 945356 h 3771900"/>
                  <a:gd name="connsiteX98" fmla="*/ 2495550 w 8801100"/>
                  <a:gd name="connsiteY98" fmla="*/ 928688 h 3771900"/>
                  <a:gd name="connsiteX99" fmla="*/ 2428875 w 8801100"/>
                  <a:gd name="connsiteY99" fmla="*/ 873919 h 3771900"/>
                  <a:gd name="connsiteX100" fmla="*/ 2383631 w 8801100"/>
                  <a:gd name="connsiteY100" fmla="*/ 885825 h 3771900"/>
                  <a:gd name="connsiteX101" fmla="*/ 2362200 w 8801100"/>
                  <a:gd name="connsiteY101" fmla="*/ 854869 h 3771900"/>
                  <a:gd name="connsiteX102" fmla="*/ 2305050 w 8801100"/>
                  <a:gd name="connsiteY102" fmla="*/ 895350 h 3771900"/>
                  <a:gd name="connsiteX103" fmla="*/ 2188369 w 8801100"/>
                  <a:gd name="connsiteY103" fmla="*/ 873919 h 3771900"/>
                  <a:gd name="connsiteX104" fmla="*/ 2138363 w 8801100"/>
                  <a:gd name="connsiteY104" fmla="*/ 821531 h 3771900"/>
                  <a:gd name="connsiteX105" fmla="*/ 2095500 w 8801100"/>
                  <a:gd name="connsiteY105" fmla="*/ 807244 h 3771900"/>
                  <a:gd name="connsiteX106" fmla="*/ 2052638 w 8801100"/>
                  <a:gd name="connsiteY106" fmla="*/ 833438 h 3771900"/>
                  <a:gd name="connsiteX107" fmla="*/ 2000250 w 8801100"/>
                  <a:gd name="connsiteY107" fmla="*/ 742950 h 3771900"/>
                  <a:gd name="connsiteX108" fmla="*/ 1990725 w 8801100"/>
                  <a:gd name="connsiteY108" fmla="*/ 595312 h 3771900"/>
                  <a:gd name="connsiteX109" fmla="*/ 1938337 w 8801100"/>
                  <a:gd name="connsiteY109" fmla="*/ 588168 h 3771900"/>
                  <a:gd name="connsiteX110" fmla="*/ 1847850 w 8801100"/>
                  <a:gd name="connsiteY110" fmla="*/ 578644 h 3771900"/>
                  <a:gd name="connsiteX111" fmla="*/ 1793081 w 8801100"/>
                  <a:gd name="connsiteY111" fmla="*/ 540544 h 3771900"/>
                  <a:gd name="connsiteX112" fmla="*/ 1724025 w 8801100"/>
                  <a:gd name="connsiteY112" fmla="*/ 550069 h 3771900"/>
                  <a:gd name="connsiteX113" fmla="*/ 1678781 w 8801100"/>
                  <a:gd name="connsiteY113" fmla="*/ 523875 h 3771900"/>
                  <a:gd name="connsiteX114" fmla="*/ 1669257 w 8801100"/>
                  <a:gd name="connsiteY114" fmla="*/ 452438 h 3771900"/>
                  <a:gd name="connsiteX115" fmla="*/ 1645444 w 8801100"/>
                  <a:gd name="connsiteY115" fmla="*/ 438150 h 3771900"/>
                  <a:gd name="connsiteX116" fmla="*/ 1607344 w 8801100"/>
                  <a:gd name="connsiteY116" fmla="*/ 485774 h 3771900"/>
                  <a:gd name="connsiteX117" fmla="*/ 1528762 w 8801100"/>
                  <a:gd name="connsiteY117" fmla="*/ 411956 h 3771900"/>
                  <a:gd name="connsiteX118" fmla="*/ 1488281 w 8801100"/>
                  <a:gd name="connsiteY118" fmla="*/ 452438 h 3771900"/>
                  <a:gd name="connsiteX119" fmla="*/ 1412081 w 8801100"/>
                  <a:gd name="connsiteY119" fmla="*/ 438150 h 3771900"/>
                  <a:gd name="connsiteX120" fmla="*/ 1333500 w 8801100"/>
                  <a:gd name="connsiteY120" fmla="*/ 464344 h 3771900"/>
                  <a:gd name="connsiteX121" fmla="*/ 1273969 w 8801100"/>
                  <a:gd name="connsiteY121" fmla="*/ 511968 h 3771900"/>
                  <a:gd name="connsiteX122" fmla="*/ 1200150 w 8801100"/>
                  <a:gd name="connsiteY122" fmla="*/ 523875 h 3771900"/>
                  <a:gd name="connsiteX123" fmla="*/ 1164431 w 8801100"/>
                  <a:gd name="connsiteY123" fmla="*/ 516731 h 3771900"/>
                  <a:gd name="connsiteX124" fmla="*/ 1085851 w 8801100"/>
                  <a:gd name="connsiteY124" fmla="*/ 547688 h 3771900"/>
                  <a:gd name="connsiteX125" fmla="*/ 1064419 w 8801100"/>
                  <a:gd name="connsiteY125" fmla="*/ 576263 h 3771900"/>
                  <a:gd name="connsiteX126" fmla="*/ 997744 w 8801100"/>
                  <a:gd name="connsiteY126" fmla="*/ 566738 h 3771900"/>
                  <a:gd name="connsiteX127" fmla="*/ 928688 w 8801100"/>
                  <a:gd name="connsiteY127" fmla="*/ 590550 h 3771900"/>
                  <a:gd name="connsiteX128" fmla="*/ 873919 w 8801100"/>
                  <a:gd name="connsiteY128" fmla="*/ 628650 h 3771900"/>
                  <a:gd name="connsiteX129" fmla="*/ 778669 w 8801100"/>
                  <a:gd name="connsiteY129" fmla="*/ 642937 h 3771900"/>
                  <a:gd name="connsiteX130" fmla="*/ 764381 w 8801100"/>
                  <a:gd name="connsiteY130" fmla="*/ 664369 h 3771900"/>
                  <a:gd name="connsiteX131" fmla="*/ 776287 w 8801100"/>
                  <a:gd name="connsiteY131" fmla="*/ 709613 h 3771900"/>
                  <a:gd name="connsiteX132" fmla="*/ 676276 w 8801100"/>
                  <a:gd name="connsiteY132" fmla="*/ 762000 h 3771900"/>
                  <a:gd name="connsiteX133" fmla="*/ 638175 w 8801100"/>
                  <a:gd name="connsiteY133" fmla="*/ 733424 h 3771900"/>
                  <a:gd name="connsiteX134" fmla="*/ 607219 w 8801100"/>
                  <a:gd name="connsiteY134" fmla="*/ 790575 h 3771900"/>
                  <a:gd name="connsiteX135" fmla="*/ 550069 w 8801100"/>
                  <a:gd name="connsiteY135" fmla="*/ 752475 h 3771900"/>
                  <a:gd name="connsiteX136" fmla="*/ 514350 w 8801100"/>
                  <a:gd name="connsiteY136" fmla="*/ 781050 h 3771900"/>
                  <a:gd name="connsiteX137" fmla="*/ 478631 w 8801100"/>
                  <a:gd name="connsiteY137" fmla="*/ 745331 h 3771900"/>
                  <a:gd name="connsiteX138" fmla="*/ 426244 w 8801100"/>
                  <a:gd name="connsiteY138" fmla="*/ 757238 h 3771900"/>
                  <a:gd name="connsiteX139" fmla="*/ 381000 w 8801100"/>
                  <a:gd name="connsiteY139" fmla="*/ 728663 h 3771900"/>
                  <a:gd name="connsiteX140" fmla="*/ 357188 w 8801100"/>
                  <a:gd name="connsiteY140" fmla="*/ 747713 h 3771900"/>
                  <a:gd name="connsiteX141" fmla="*/ 333375 w 8801100"/>
                  <a:gd name="connsiteY141" fmla="*/ 807244 h 3771900"/>
                  <a:gd name="connsiteX142" fmla="*/ 261938 w 8801100"/>
                  <a:gd name="connsiteY142" fmla="*/ 845343 h 3771900"/>
                  <a:gd name="connsiteX143" fmla="*/ 209550 w 8801100"/>
                  <a:gd name="connsiteY143" fmla="*/ 816769 h 3771900"/>
                  <a:gd name="connsiteX144" fmla="*/ 119063 w 8801100"/>
                  <a:gd name="connsiteY144" fmla="*/ 826294 h 3771900"/>
                  <a:gd name="connsiteX145" fmla="*/ 71437 w 8801100"/>
                  <a:gd name="connsiteY145" fmla="*/ 792957 h 3771900"/>
                  <a:gd name="connsiteX146" fmla="*/ 0 w 8801100"/>
                  <a:gd name="connsiteY146" fmla="*/ 812006 h 3771900"/>
                  <a:gd name="connsiteX147" fmla="*/ 4762 w 8801100"/>
                  <a:gd name="connsiteY147" fmla="*/ 0 h 3771900"/>
                  <a:gd name="connsiteX148" fmla="*/ 6434138 w 8801100"/>
                  <a:gd name="connsiteY148" fmla="*/ 3771900 h 3771900"/>
                  <a:gd name="connsiteX149" fmla="*/ 6662738 w 8801100"/>
                  <a:gd name="connsiteY149" fmla="*/ 3538538 h 3771900"/>
                  <a:gd name="connsiteX150" fmla="*/ 6715125 w 8801100"/>
                  <a:gd name="connsiteY150" fmla="*/ 3459956 h 3771900"/>
                  <a:gd name="connsiteX151" fmla="*/ 6762750 w 8801100"/>
                  <a:gd name="connsiteY151" fmla="*/ 3421856 h 3771900"/>
                  <a:gd name="connsiteX152" fmla="*/ 6748463 w 8801100"/>
                  <a:gd name="connsiteY152" fmla="*/ 3352800 h 3771900"/>
                  <a:gd name="connsiteX153" fmla="*/ 6698456 w 8801100"/>
                  <a:gd name="connsiteY153" fmla="*/ 3321843 h 3771900"/>
                  <a:gd name="connsiteX154" fmla="*/ 6638925 w 8801100"/>
                  <a:gd name="connsiteY154" fmla="*/ 3267075 h 3771900"/>
                  <a:gd name="connsiteX155" fmla="*/ 6619875 w 8801100"/>
                  <a:gd name="connsiteY155" fmla="*/ 3209925 h 3771900"/>
                  <a:gd name="connsiteX156" fmla="*/ 6584156 w 8801100"/>
                  <a:gd name="connsiteY156" fmla="*/ 3176588 h 3771900"/>
                  <a:gd name="connsiteX157" fmla="*/ 6610350 w 8801100"/>
                  <a:gd name="connsiteY157" fmla="*/ 3124200 h 3771900"/>
                  <a:gd name="connsiteX158" fmla="*/ 6650831 w 8801100"/>
                  <a:gd name="connsiteY158" fmla="*/ 2945606 h 3771900"/>
                  <a:gd name="connsiteX159" fmla="*/ 6691313 w 8801100"/>
                  <a:gd name="connsiteY159" fmla="*/ 2878931 h 3771900"/>
                  <a:gd name="connsiteX160" fmla="*/ 6836569 w 8801100"/>
                  <a:gd name="connsiteY160" fmla="*/ 2862262 h 3771900"/>
                  <a:gd name="connsiteX161" fmla="*/ 6905625 w 8801100"/>
                  <a:gd name="connsiteY161" fmla="*/ 2919413 h 3771900"/>
                  <a:gd name="connsiteX162" fmla="*/ 6981825 w 8801100"/>
                  <a:gd name="connsiteY162" fmla="*/ 2943225 h 3771900"/>
                  <a:gd name="connsiteX163" fmla="*/ 7186612 w 8801100"/>
                  <a:gd name="connsiteY163" fmla="*/ 2947988 h 3771900"/>
                  <a:gd name="connsiteX164" fmla="*/ 7362825 w 8801100"/>
                  <a:gd name="connsiteY164" fmla="*/ 2809875 h 3771900"/>
                  <a:gd name="connsiteX165" fmla="*/ 7419975 w 8801100"/>
                  <a:gd name="connsiteY165" fmla="*/ 2719387 h 3771900"/>
                  <a:gd name="connsiteX166" fmla="*/ 7446169 w 8801100"/>
                  <a:gd name="connsiteY166" fmla="*/ 2636044 h 3771900"/>
                  <a:gd name="connsiteX167" fmla="*/ 7577137 w 8801100"/>
                  <a:gd name="connsiteY167" fmla="*/ 2636044 h 3771900"/>
                  <a:gd name="connsiteX168" fmla="*/ 7750969 w 8801100"/>
                  <a:gd name="connsiteY168" fmla="*/ 2578893 h 3771900"/>
                  <a:gd name="connsiteX169" fmla="*/ 7810500 w 8801100"/>
                  <a:gd name="connsiteY169" fmla="*/ 2466975 h 3771900"/>
                  <a:gd name="connsiteX170" fmla="*/ 7874794 w 8801100"/>
                  <a:gd name="connsiteY170" fmla="*/ 2431256 h 3771900"/>
                  <a:gd name="connsiteX171" fmla="*/ 7853363 w 8801100"/>
                  <a:gd name="connsiteY171" fmla="*/ 2386013 h 3771900"/>
                  <a:gd name="connsiteX172" fmla="*/ 7931944 w 8801100"/>
                  <a:gd name="connsiteY172" fmla="*/ 2216943 h 3771900"/>
                  <a:gd name="connsiteX173" fmla="*/ 7986713 w 8801100"/>
                  <a:gd name="connsiteY173" fmla="*/ 2157413 h 3771900"/>
                  <a:gd name="connsiteX174" fmla="*/ 8024813 w 8801100"/>
                  <a:gd name="connsiteY174" fmla="*/ 2152650 h 3771900"/>
                  <a:gd name="connsiteX175" fmla="*/ 8070056 w 8801100"/>
                  <a:gd name="connsiteY175" fmla="*/ 2157413 h 3771900"/>
                  <a:gd name="connsiteX176" fmla="*/ 8134350 w 8801100"/>
                  <a:gd name="connsiteY176" fmla="*/ 2124075 h 3771900"/>
                  <a:gd name="connsiteX177" fmla="*/ 8143875 w 8801100"/>
                  <a:gd name="connsiteY177" fmla="*/ 2059781 h 3771900"/>
                  <a:gd name="connsiteX178" fmla="*/ 8184355 w 8801100"/>
                  <a:gd name="connsiteY178" fmla="*/ 2024063 h 3771900"/>
                  <a:gd name="connsiteX179" fmla="*/ 8243888 w 8801100"/>
                  <a:gd name="connsiteY179" fmla="*/ 2064543 h 3771900"/>
                  <a:gd name="connsiteX180" fmla="*/ 8270082 w 8801100"/>
                  <a:gd name="connsiteY180" fmla="*/ 2014537 h 3771900"/>
                  <a:gd name="connsiteX181" fmla="*/ 8365331 w 8801100"/>
                  <a:gd name="connsiteY181" fmla="*/ 1945481 h 3771900"/>
                  <a:gd name="connsiteX182" fmla="*/ 8427244 w 8801100"/>
                  <a:gd name="connsiteY182" fmla="*/ 1952625 h 3771900"/>
                  <a:gd name="connsiteX183" fmla="*/ 8477250 w 8801100"/>
                  <a:gd name="connsiteY183" fmla="*/ 1933575 h 3771900"/>
                  <a:gd name="connsiteX184" fmla="*/ 8515350 w 8801100"/>
                  <a:gd name="connsiteY184" fmla="*/ 1905000 h 3771900"/>
                  <a:gd name="connsiteX185" fmla="*/ 8548688 w 8801100"/>
                  <a:gd name="connsiteY185" fmla="*/ 1902619 h 3771900"/>
                  <a:gd name="connsiteX186" fmla="*/ 8584406 w 8801100"/>
                  <a:gd name="connsiteY186" fmla="*/ 1933575 h 3771900"/>
                  <a:gd name="connsiteX187" fmla="*/ 8643938 w 8801100"/>
                  <a:gd name="connsiteY187" fmla="*/ 1933575 h 3771900"/>
                  <a:gd name="connsiteX188" fmla="*/ 8682037 w 8801100"/>
                  <a:gd name="connsiteY188" fmla="*/ 1914525 h 3771900"/>
                  <a:gd name="connsiteX189" fmla="*/ 8765381 w 8801100"/>
                  <a:gd name="connsiteY189" fmla="*/ 1916907 h 3771900"/>
                  <a:gd name="connsiteX190" fmla="*/ 8796338 w 8801100"/>
                  <a:gd name="connsiteY190" fmla="*/ 1871663 h 3771900"/>
                  <a:gd name="connsiteX191" fmla="*/ 8801100 w 8801100"/>
                  <a:gd name="connsiteY191" fmla="*/ 1809750 h 3771900"/>
                  <a:gd name="connsiteX192" fmla="*/ 8751093 w 8801100"/>
                  <a:gd name="connsiteY192" fmla="*/ 1769269 h 3771900"/>
                  <a:gd name="connsiteX193" fmla="*/ 8734425 w 8801100"/>
                  <a:gd name="connsiteY193" fmla="*/ 1714500 h 3771900"/>
                  <a:gd name="connsiteX194" fmla="*/ 8643938 w 8801100"/>
                  <a:gd name="connsiteY194" fmla="*/ 1652588 h 3771900"/>
                  <a:gd name="connsiteX195" fmla="*/ 8603456 w 8801100"/>
                  <a:gd name="connsiteY195" fmla="*/ 1631156 h 3771900"/>
                  <a:gd name="connsiteX196" fmla="*/ 8565356 w 8801100"/>
                  <a:gd name="connsiteY196" fmla="*/ 1585913 h 3771900"/>
                  <a:gd name="connsiteX197" fmla="*/ 8534400 w 8801100"/>
                  <a:gd name="connsiteY197" fmla="*/ 1583531 h 3771900"/>
                  <a:gd name="connsiteX198" fmla="*/ 8517731 w 8801100"/>
                  <a:gd name="connsiteY198" fmla="*/ 1531144 h 3771900"/>
                  <a:gd name="connsiteX199" fmla="*/ 8477250 w 8801100"/>
                  <a:gd name="connsiteY199" fmla="*/ 1514475 h 3771900"/>
                  <a:gd name="connsiteX200" fmla="*/ 8477250 w 8801100"/>
                  <a:gd name="connsiteY200" fmla="*/ 1514475 h 3771900"/>
                  <a:gd name="connsiteX201" fmla="*/ 8436769 w 8801100"/>
                  <a:gd name="connsiteY201" fmla="*/ 1519238 h 3771900"/>
                  <a:gd name="connsiteX202" fmla="*/ 8351043 w 8801100"/>
                  <a:gd name="connsiteY202" fmla="*/ 1445419 h 3771900"/>
                  <a:gd name="connsiteX203" fmla="*/ 8170069 w 8801100"/>
                  <a:gd name="connsiteY203" fmla="*/ 1445418 h 3771900"/>
                  <a:gd name="connsiteX204" fmla="*/ 8117681 w 8801100"/>
                  <a:gd name="connsiteY204" fmla="*/ 1483519 h 3771900"/>
                  <a:gd name="connsiteX205" fmla="*/ 8067675 w 8801100"/>
                  <a:gd name="connsiteY205" fmla="*/ 1562100 h 3771900"/>
                  <a:gd name="connsiteX206" fmla="*/ 8084344 w 8801100"/>
                  <a:gd name="connsiteY206" fmla="*/ 1583531 h 3771900"/>
                  <a:gd name="connsiteX207" fmla="*/ 8039100 w 8801100"/>
                  <a:gd name="connsiteY207" fmla="*/ 1633537 h 3771900"/>
                  <a:gd name="connsiteX208" fmla="*/ 7889081 w 8801100"/>
                  <a:gd name="connsiteY208" fmla="*/ 1557337 h 3771900"/>
                  <a:gd name="connsiteX209" fmla="*/ 7798594 w 8801100"/>
                  <a:gd name="connsiteY209" fmla="*/ 1593056 h 3771900"/>
                  <a:gd name="connsiteX210" fmla="*/ 7724775 w 8801100"/>
                  <a:gd name="connsiteY210" fmla="*/ 1590675 h 3771900"/>
                  <a:gd name="connsiteX211" fmla="*/ 7667625 w 8801100"/>
                  <a:gd name="connsiteY211" fmla="*/ 1685925 h 3771900"/>
                  <a:gd name="connsiteX212" fmla="*/ 7529513 w 8801100"/>
                  <a:gd name="connsiteY212" fmla="*/ 1588294 h 3771900"/>
                  <a:gd name="connsiteX0" fmla="*/ 7529513 w 8801100"/>
                  <a:gd name="connsiteY0" fmla="*/ 1588294 h 3538538"/>
                  <a:gd name="connsiteX1" fmla="*/ 7522369 w 8801100"/>
                  <a:gd name="connsiteY1" fmla="*/ 1533525 h 3538538"/>
                  <a:gd name="connsiteX2" fmla="*/ 7589044 w 8801100"/>
                  <a:gd name="connsiteY2" fmla="*/ 1459706 h 3538538"/>
                  <a:gd name="connsiteX3" fmla="*/ 7572375 w 8801100"/>
                  <a:gd name="connsiteY3" fmla="*/ 1388269 h 3538538"/>
                  <a:gd name="connsiteX4" fmla="*/ 7586663 w 8801100"/>
                  <a:gd name="connsiteY4" fmla="*/ 1293019 h 3538538"/>
                  <a:gd name="connsiteX5" fmla="*/ 7624763 w 8801100"/>
                  <a:gd name="connsiteY5" fmla="*/ 1235869 h 3538538"/>
                  <a:gd name="connsiteX6" fmla="*/ 7605712 w 8801100"/>
                  <a:gd name="connsiteY6" fmla="*/ 1202531 h 3538538"/>
                  <a:gd name="connsiteX7" fmla="*/ 7703343 w 8801100"/>
                  <a:gd name="connsiteY7" fmla="*/ 802481 h 3538538"/>
                  <a:gd name="connsiteX8" fmla="*/ 7696200 w 8801100"/>
                  <a:gd name="connsiteY8" fmla="*/ 773906 h 3538538"/>
                  <a:gd name="connsiteX9" fmla="*/ 7567613 w 8801100"/>
                  <a:gd name="connsiteY9" fmla="*/ 752475 h 3538538"/>
                  <a:gd name="connsiteX10" fmla="*/ 7384257 w 8801100"/>
                  <a:gd name="connsiteY10" fmla="*/ 831056 h 3538538"/>
                  <a:gd name="connsiteX11" fmla="*/ 7227093 w 8801100"/>
                  <a:gd name="connsiteY11" fmla="*/ 716756 h 3538538"/>
                  <a:gd name="connsiteX12" fmla="*/ 7150894 w 8801100"/>
                  <a:gd name="connsiteY12" fmla="*/ 723900 h 3538538"/>
                  <a:gd name="connsiteX13" fmla="*/ 7077075 w 8801100"/>
                  <a:gd name="connsiteY13" fmla="*/ 719138 h 3538538"/>
                  <a:gd name="connsiteX14" fmla="*/ 6938963 w 8801100"/>
                  <a:gd name="connsiteY14" fmla="*/ 823913 h 3538538"/>
                  <a:gd name="connsiteX15" fmla="*/ 6831806 w 8801100"/>
                  <a:gd name="connsiteY15" fmla="*/ 931069 h 3538538"/>
                  <a:gd name="connsiteX16" fmla="*/ 6788944 w 8801100"/>
                  <a:gd name="connsiteY16" fmla="*/ 1000125 h 3538538"/>
                  <a:gd name="connsiteX17" fmla="*/ 6796088 w 8801100"/>
                  <a:gd name="connsiteY17" fmla="*/ 1035844 h 3538538"/>
                  <a:gd name="connsiteX18" fmla="*/ 6734175 w 8801100"/>
                  <a:gd name="connsiteY18" fmla="*/ 1047750 h 3538538"/>
                  <a:gd name="connsiteX19" fmla="*/ 6753225 w 8801100"/>
                  <a:gd name="connsiteY19" fmla="*/ 1047750 h 3538538"/>
                  <a:gd name="connsiteX20" fmla="*/ 6719888 w 8801100"/>
                  <a:gd name="connsiteY20" fmla="*/ 1078706 h 3538538"/>
                  <a:gd name="connsiteX21" fmla="*/ 6619875 w 8801100"/>
                  <a:gd name="connsiteY21" fmla="*/ 1078707 h 3538538"/>
                  <a:gd name="connsiteX22" fmla="*/ 6524625 w 8801100"/>
                  <a:gd name="connsiteY22" fmla="*/ 1133475 h 3538538"/>
                  <a:gd name="connsiteX23" fmla="*/ 6443663 w 8801100"/>
                  <a:gd name="connsiteY23" fmla="*/ 1143000 h 3538538"/>
                  <a:gd name="connsiteX24" fmla="*/ 6403181 w 8801100"/>
                  <a:gd name="connsiteY24" fmla="*/ 1176338 h 3538538"/>
                  <a:gd name="connsiteX25" fmla="*/ 6353175 w 8801100"/>
                  <a:gd name="connsiteY25" fmla="*/ 1181100 h 3538538"/>
                  <a:gd name="connsiteX26" fmla="*/ 6231732 w 8801100"/>
                  <a:gd name="connsiteY26" fmla="*/ 1273969 h 3538538"/>
                  <a:gd name="connsiteX27" fmla="*/ 6172200 w 8801100"/>
                  <a:gd name="connsiteY27" fmla="*/ 1278731 h 3538538"/>
                  <a:gd name="connsiteX28" fmla="*/ 6119813 w 8801100"/>
                  <a:gd name="connsiteY28" fmla="*/ 1243013 h 3538538"/>
                  <a:gd name="connsiteX29" fmla="*/ 6093619 w 8801100"/>
                  <a:gd name="connsiteY29" fmla="*/ 1278731 h 3538538"/>
                  <a:gd name="connsiteX30" fmla="*/ 5895975 w 8801100"/>
                  <a:gd name="connsiteY30" fmla="*/ 1271588 h 3538538"/>
                  <a:gd name="connsiteX31" fmla="*/ 5834063 w 8801100"/>
                  <a:gd name="connsiteY31" fmla="*/ 1226344 h 3538538"/>
                  <a:gd name="connsiteX32" fmla="*/ 5636419 w 8801100"/>
                  <a:gd name="connsiteY32" fmla="*/ 1243013 h 3538538"/>
                  <a:gd name="connsiteX33" fmla="*/ 5548313 w 8801100"/>
                  <a:gd name="connsiteY33" fmla="*/ 1159668 h 3538538"/>
                  <a:gd name="connsiteX34" fmla="*/ 5472113 w 8801100"/>
                  <a:gd name="connsiteY34" fmla="*/ 1114425 h 3538538"/>
                  <a:gd name="connsiteX35" fmla="*/ 5474493 w 8801100"/>
                  <a:gd name="connsiteY35" fmla="*/ 1057275 h 3538538"/>
                  <a:gd name="connsiteX36" fmla="*/ 5455444 w 8801100"/>
                  <a:gd name="connsiteY36" fmla="*/ 1014412 h 3538538"/>
                  <a:gd name="connsiteX37" fmla="*/ 5360194 w 8801100"/>
                  <a:gd name="connsiteY37" fmla="*/ 1016794 h 3538538"/>
                  <a:gd name="connsiteX38" fmla="*/ 5264944 w 8801100"/>
                  <a:gd name="connsiteY38" fmla="*/ 995363 h 3538538"/>
                  <a:gd name="connsiteX39" fmla="*/ 5195887 w 8801100"/>
                  <a:gd name="connsiteY39" fmla="*/ 928687 h 3538538"/>
                  <a:gd name="connsiteX40" fmla="*/ 5160169 w 8801100"/>
                  <a:gd name="connsiteY40" fmla="*/ 885825 h 3538538"/>
                  <a:gd name="connsiteX41" fmla="*/ 5079206 w 8801100"/>
                  <a:gd name="connsiteY41" fmla="*/ 862012 h 3538538"/>
                  <a:gd name="connsiteX42" fmla="*/ 5005388 w 8801100"/>
                  <a:gd name="connsiteY42" fmla="*/ 873918 h 3538538"/>
                  <a:gd name="connsiteX43" fmla="*/ 4948237 w 8801100"/>
                  <a:gd name="connsiteY43" fmla="*/ 821531 h 3538538"/>
                  <a:gd name="connsiteX44" fmla="*/ 4852988 w 8801100"/>
                  <a:gd name="connsiteY44" fmla="*/ 833438 h 3538538"/>
                  <a:gd name="connsiteX45" fmla="*/ 4800600 w 8801100"/>
                  <a:gd name="connsiteY45" fmla="*/ 807244 h 3538538"/>
                  <a:gd name="connsiteX46" fmla="*/ 4719638 w 8801100"/>
                  <a:gd name="connsiteY46" fmla="*/ 850106 h 3538538"/>
                  <a:gd name="connsiteX47" fmla="*/ 4581525 w 8801100"/>
                  <a:gd name="connsiteY47" fmla="*/ 873919 h 3538538"/>
                  <a:gd name="connsiteX48" fmla="*/ 4452938 w 8801100"/>
                  <a:gd name="connsiteY48" fmla="*/ 966788 h 3538538"/>
                  <a:gd name="connsiteX49" fmla="*/ 4405312 w 8801100"/>
                  <a:gd name="connsiteY49" fmla="*/ 928688 h 3538538"/>
                  <a:gd name="connsiteX50" fmla="*/ 4383881 w 8801100"/>
                  <a:gd name="connsiteY50" fmla="*/ 959643 h 3538538"/>
                  <a:gd name="connsiteX51" fmla="*/ 4310063 w 8801100"/>
                  <a:gd name="connsiteY51" fmla="*/ 909638 h 3538538"/>
                  <a:gd name="connsiteX52" fmla="*/ 4271963 w 8801100"/>
                  <a:gd name="connsiteY52" fmla="*/ 916781 h 3538538"/>
                  <a:gd name="connsiteX53" fmla="*/ 4250531 w 8801100"/>
                  <a:gd name="connsiteY53" fmla="*/ 878681 h 3538538"/>
                  <a:gd name="connsiteX54" fmla="*/ 4191000 w 8801100"/>
                  <a:gd name="connsiteY54" fmla="*/ 883444 h 3538538"/>
                  <a:gd name="connsiteX55" fmla="*/ 4145756 w 8801100"/>
                  <a:gd name="connsiteY55" fmla="*/ 854869 h 3538538"/>
                  <a:gd name="connsiteX56" fmla="*/ 4107656 w 8801100"/>
                  <a:gd name="connsiteY56" fmla="*/ 852488 h 3538538"/>
                  <a:gd name="connsiteX57" fmla="*/ 4088606 w 8801100"/>
                  <a:gd name="connsiteY57" fmla="*/ 804862 h 3538538"/>
                  <a:gd name="connsiteX58" fmla="*/ 4074319 w 8801100"/>
                  <a:gd name="connsiteY58" fmla="*/ 773906 h 3538538"/>
                  <a:gd name="connsiteX59" fmla="*/ 4029075 w 8801100"/>
                  <a:gd name="connsiteY59" fmla="*/ 783431 h 3538538"/>
                  <a:gd name="connsiteX60" fmla="*/ 4010025 w 8801100"/>
                  <a:gd name="connsiteY60" fmla="*/ 747713 h 3538538"/>
                  <a:gd name="connsiteX61" fmla="*/ 4031457 w 8801100"/>
                  <a:gd name="connsiteY61" fmla="*/ 692944 h 3538538"/>
                  <a:gd name="connsiteX62" fmla="*/ 4000500 w 8801100"/>
                  <a:gd name="connsiteY62" fmla="*/ 666750 h 3538538"/>
                  <a:gd name="connsiteX63" fmla="*/ 4017169 w 8801100"/>
                  <a:gd name="connsiteY63" fmla="*/ 623888 h 3538538"/>
                  <a:gd name="connsiteX64" fmla="*/ 3990975 w 8801100"/>
                  <a:gd name="connsiteY64" fmla="*/ 581025 h 3538538"/>
                  <a:gd name="connsiteX65" fmla="*/ 3986213 w 8801100"/>
                  <a:gd name="connsiteY65" fmla="*/ 519113 h 3538538"/>
                  <a:gd name="connsiteX66" fmla="*/ 4010025 w 8801100"/>
                  <a:gd name="connsiteY66" fmla="*/ 454818 h 3538538"/>
                  <a:gd name="connsiteX67" fmla="*/ 3971925 w 8801100"/>
                  <a:gd name="connsiteY67" fmla="*/ 457200 h 3538538"/>
                  <a:gd name="connsiteX68" fmla="*/ 3852863 w 8801100"/>
                  <a:gd name="connsiteY68" fmla="*/ 400050 h 3538538"/>
                  <a:gd name="connsiteX69" fmla="*/ 3814762 w 8801100"/>
                  <a:gd name="connsiteY69" fmla="*/ 404812 h 3538538"/>
                  <a:gd name="connsiteX70" fmla="*/ 3609975 w 8801100"/>
                  <a:gd name="connsiteY70" fmla="*/ 295275 h 3538538"/>
                  <a:gd name="connsiteX71" fmla="*/ 3505200 w 8801100"/>
                  <a:gd name="connsiteY71" fmla="*/ 264319 h 3538538"/>
                  <a:gd name="connsiteX72" fmla="*/ 3440906 w 8801100"/>
                  <a:gd name="connsiteY72" fmla="*/ 273843 h 3538538"/>
                  <a:gd name="connsiteX73" fmla="*/ 3409950 w 8801100"/>
                  <a:gd name="connsiteY73" fmla="*/ 209550 h 3538538"/>
                  <a:gd name="connsiteX74" fmla="*/ 3352800 w 8801100"/>
                  <a:gd name="connsiteY74" fmla="*/ 209550 h 3538538"/>
                  <a:gd name="connsiteX75" fmla="*/ 3214687 w 8801100"/>
                  <a:gd name="connsiteY75" fmla="*/ 104775 h 3538538"/>
                  <a:gd name="connsiteX76" fmla="*/ 3181350 w 8801100"/>
                  <a:gd name="connsiteY76" fmla="*/ 164307 h 3538538"/>
                  <a:gd name="connsiteX77" fmla="*/ 3126581 w 8801100"/>
                  <a:gd name="connsiteY77" fmla="*/ 233363 h 3538538"/>
                  <a:gd name="connsiteX78" fmla="*/ 3083719 w 8801100"/>
                  <a:gd name="connsiteY78" fmla="*/ 250031 h 3538538"/>
                  <a:gd name="connsiteX79" fmla="*/ 3052763 w 8801100"/>
                  <a:gd name="connsiteY79" fmla="*/ 242888 h 3538538"/>
                  <a:gd name="connsiteX80" fmla="*/ 3028950 w 8801100"/>
                  <a:gd name="connsiteY80" fmla="*/ 271463 h 3538538"/>
                  <a:gd name="connsiteX81" fmla="*/ 3002756 w 8801100"/>
                  <a:gd name="connsiteY81" fmla="*/ 350044 h 3538538"/>
                  <a:gd name="connsiteX82" fmla="*/ 2959894 w 8801100"/>
                  <a:gd name="connsiteY82" fmla="*/ 347663 h 3538538"/>
                  <a:gd name="connsiteX83" fmla="*/ 2928937 w 8801100"/>
                  <a:gd name="connsiteY83" fmla="*/ 409575 h 3538538"/>
                  <a:gd name="connsiteX84" fmla="*/ 2924175 w 8801100"/>
                  <a:gd name="connsiteY84" fmla="*/ 473869 h 3538538"/>
                  <a:gd name="connsiteX85" fmla="*/ 2897982 w 8801100"/>
                  <a:gd name="connsiteY85" fmla="*/ 511969 h 3538538"/>
                  <a:gd name="connsiteX86" fmla="*/ 2924175 w 8801100"/>
                  <a:gd name="connsiteY86" fmla="*/ 571500 h 3538538"/>
                  <a:gd name="connsiteX87" fmla="*/ 2926556 w 8801100"/>
                  <a:gd name="connsiteY87" fmla="*/ 640556 h 3538538"/>
                  <a:gd name="connsiteX88" fmla="*/ 2955131 w 8801100"/>
                  <a:gd name="connsiteY88" fmla="*/ 692944 h 3538538"/>
                  <a:gd name="connsiteX89" fmla="*/ 3002757 w 8801100"/>
                  <a:gd name="connsiteY89" fmla="*/ 747713 h 3538538"/>
                  <a:gd name="connsiteX90" fmla="*/ 2952750 w 8801100"/>
                  <a:gd name="connsiteY90" fmla="*/ 885825 h 3538538"/>
                  <a:gd name="connsiteX91" fmla="*/ 2883694 w 8801100"/>
                  <a:gd name="connsiteY91" fmla="*/ 952500 h 3538538"/>
                  <a:gd name="connsiteX92" fmla="*/ 2812256 w 8801100"/>
                  <a:gd name="connsiteY92" fmla="*/ 947738 h 3538538"/>
                  <a:gd name="connsiteX93" fmla="*/ 2774156 w 8801100"/>
                  <a:gd name="connsiteY93" fmla="*/ 1004888 h 3538538"/>
                  <a:gd name="connsiteX94" fmla="*/ 2714625 w 8801100"/>
                  <a:gd name="connsiteY94" fmla="*/ 1019175 h 3538538"/>
                  <a:gd name="connsiteX95" fmla="*/ 2645569 w 8801100"/>
                  <a:gd name="connsiteY95" fmla="*/ 959644 h 3538538"/>
                  <a:gd name="connsiteX96" fmla="*/ 2590800 w 8801100"/>
                  <a:gd name="connsiteY96" fmla="*/ 931069 h 3538538"/>
                  <a:gd name="connsiteX97" fmla="*/ 2547938 w 8801100"/>
                  <a:gd name="connsiteY97" fmla="*/ 945356 h 3538538"/>
                  <a:gd name="connsiteX98" fmla="*/ 2495550 w 8801100"/>
                  <a:gd name="connsiteY98" fmla="*/ 928688 h 3538538"/>
                  <a:gd name="connsiteX99" fmla="*/ 2428875 w 8801100"/>
                  <a:gd name="connsiteY99" fmla="*/ 873919 h 3538538"/>
                  <a:gd name="connsiteX100" fmla="*/ 2383631 w 8801100"/>
                  <a:gd name="connsiteY100" fmla="*/ 885825 h 3538538"/>
                  <a:gd name="connsiteX101" fmla="*/ 2362200 w 8801100"/>
                  <a:gd name="connsiteY101" fmla="*/ 854869 h 3538538"/>
                  <a:gd name="connsiteX102" fmla="*/ 2305050 w 8801100"/>
                  <a:gd name="connsiteY102" fmla="*/ 895350 h 3538538"/>
                  <a:gd name="connsiteX103" fmla="*/ 2188369 w 8801100"/>
                  <a:gd name="connsiteY103" fmla="*/ 873919 h 3538538"/>
                  <a:gd name="connsiteX104" fmla="*/ 2138363 w 8801100"/>
                  <a:gd name="connsiteY104" fmla="*/ 821531 h 3538538"/>
                  <a:gd name="connsiteX105" fmla="*/ 2095500 w 8801100"/>
                  <a:gd name="connsiteY105" fmla="*/ 807244 h 3538538"/>
                  <a:gd name="connsiteX106" fmla="*/ 2052638 w 8801100"/>
                  <a:gd name="connsiteY106" fmla="*/ 833438 h 3538538"/>
                  <a:gd name="connsiteX107" fmla="*/ 2000250 w 8801100"/>
                  <a:gd name="connsiteY107" fmla="*/ 742950 h 3538538"/>
                  <a:gd name="connsiteX108" fmla="*/ 1990725 w 8801100"/>
                  <a:gd name="connsiteY108" fmla="*/ 595312 h 3538538"/>
                  <a:gd name="connsiteX109" fmla="*/ 1938337 w 8801100"/>
                  <a:gd name="connsiteY109" fmla="*/ 588168 h 3538538"/>
                  <a:gd name="connsiteX110" fmla="*/ 1847850 w 8801100"/>
                  <a:gd name="connsiteY110" fmla="*/ 578644 h 3538538"/>
                  <a:gd name="connsiteX111" fmla="*/ 1793081 w 8801100"/>
                  <a:gd name="connsiteY111" fmla="*/ 540544 h 3538538"/>
                  <a:gd name="connsiteX112" fmla="*/ 1724025 w 8801100"/>
                  <a:gd name="connsiteY112" fmla="*/ 550069 h 3538538"/>
                  <a:gd name="connsiteX113" fmla="*/ 1678781 w 8801100"/>
                  <a:gd name="connsiteY113" fmla="*/ 523875 h 3538538"/>
                  <a:gd name="connsiteX114" fmla="*/ 1669257 w 8801100"/>
                  <a:gd name="connsiteY114" fmla="*/ 452438 h 3538538"/>
                  <a:gd name="connsiteX115" fmla="*/ 1645444 w 8801100"/>
                  <a:gd name="connsiteY115" fmla="*/ 438150 h 3538538"/>
                  <a:gd name="connsiteX116" fmla="*/ 1607344 w 8801100"/>
                  <a:gd name="connsiteY116" fmla="*/ 485774 h 3538538"/>
                  <a:gd name="connsiteX117" fmla="*/ 1528762 w 8801100"/>
                  <a:gd name="connsiteY117" fmla="*/ 411956 h 3538538"/>
                  <a:gd name="connsiteX118" fmla="*/ 1488281 w 8801100"/>
                  <a:gd name="connsiteY118" fmla="*/ 452438 h 3538538"/>
                  <a:gd name="connsiteX119" fmla="*/ 1412081 w 8801100"/>
                  <a:gd name="connsiteY119" fmla="*/ 438150 h 3538538"/>
                  <a:gd name="connsiteX120" fmla="*/ 1333500 w 8801100"/>
                  <a:gd name="connsiteY120" fmla="*/ 464344 h 3538538"/>
                  <a:gd name="connsiteX121" fmla="*/ 1273969 w 8801100"/>
                  <a:gd name="connsiteY121" fmla="*/ 511968 h 3538538"/>
                  <a:gd name="connsiteX122" fmla="*/ 1200150 w 8801100"/>
                  <a:gd name="connsiteY122" fmla="*/ 523875 h 3538538"/>
                  <a:gd name="connsiteX123" fmla="*/ 1164431 w 8801100"/>
                  <a:gd name="connsiteY123" fmla="*/ 516731 h 3538538"/>
                  <a:gd name="connsiteX124" fmla="*/ 1085851 w 8801100"/>
                  <a:gd name="connsiteY124" fmla="*/ 547688 h 3538538"/>
                  <a:gd name="connsiteX125" fmla="*/ 1064419 w 8801100"/>
                  <a:gd name="connsiteY125" fmla="*/ 576263 h 3538538"/>
                  <a:gd name="connsiteX126" fmla="*/ 997744 w 8801100"/>
                  <a:gd name="connsiteY126" fmla="*/ 566738 h 3538538"/>
                  <a:gd name="connsiteX127" fmla="*/ 928688 w 8801100"/>
                  <a:gd name="connsiteY127" fmla="*/ 590550 h 3538538"/>
                  <a:gd name="connsiteX128" fmla="*/ 873919 w 8801100"/>
                  <a:gd name="connsiteY128" fmla="*/ 628650 h 3538538"/>
                  <a:gd name="connsiteX129" fmla="*/ 778669 w 8801100"/>
                  <a:gd name="connsiteY129" fmla="*/ 642937 h 3538538"/>
                  <a:gd name="connsiteX130" fmla="*/ 764381 w 8801100"/>
                  <a:gd name="connsiteY130" fmla="*/ 664369 h 3538538"/>
                  <a:gd name="connsiteX131" fmla="*/ 776287 w 8801100"/>
                  <a:gd name="connsiteY131" fmla="*/ 709613 h 3538538"/>
                  <a:gd name="connsiteX132" fmla="*/ 676276 w 8801100"/>
                  <a:gd name="connsiteY132" fmla="*/ 762000 h 3538538"/>
                  <a:gd name="connsiteX133" fmla="*/ 638175 w 8801100"/>
                  <a:gd name="connsiteY133" fmla="*/ 733424 h 3538538"/>
                  <a:gd name="connsiteX134" fmla="*/ 607219 w 8801100"/>
                  <a:gd name="connsiteY134" fmla="*/ 790575 h 3538538"/>
                  <a:gd name="connsiteX135" fmla="*/ 550069 w 8801100"/>
                  <a:gd name="connsiteY135" fmla="*/ 752475 h 3538538"/>
                  <a:gd name="connsiteX136" fmla="*/ 514350 w 8801100"/>
                  <a:gd name="connsiteY136" fmla="*/ 781050 h 3538538"/>
                  <a:gd name="connsiteX137" fmla="*/ 478631 w 8801100"/>
                  <a:gd name="connsiteY137" fmla="*/ 745331 h 3538538"/>
                  <a:gd name="connsiteX138" fmla="*/ 426244 w 8801100"/>
                  <a:gd name="connsiteY138" fmla="*/ 757238 h 3538538"/>
                  <a:gd name="connsiteX139" fmla="*/ 381000 w 8801100"/>
                  <a:gd name="connsiteY139" fmla="*/ 728663 h 3538538"/>
                  <a:gd name="connsiteX140" fmla="*/ 357188 w 8801100"/>
                  <a:gd name="connsiteY140" fmla="*/ 747713 h 3538538"/>
                  <a:gd name="connsiteX141" fmla="*/ 333375 w 8801100"/>
                  <a:gd name="connsiteY141" fmla="*/ 807244 h 3538538"/>
                  <a:gd name="connsiteX142" fmla="*/ 261938 w 8801100"/>
                  <a:gd name="connsiteY142" fmla="*/ 845343 h 3538538"/>
                  <a:gd name="connsiteX143" fmla="*/ 209550 w 8801100"/>
                  <a:gd name="connsiteY143" fmla="*/ 816769 h 3538538"/>
                  <a:gd name="connsiteX144" fmla="*/ 119063 w 8801100"/>
                  <a:gd name="connsiteY144" fmla="*/ 826294 h 3538538"/>
                  <a:gd name="connsiteX145" fmla="*/ 71437 w 8801100"/>
                  <a:gd name="connsiteY145" fmla="*/ 792957 h 3538538"/>
                  <a:gd name="connsiteX146" fmla="*/ 0 w 8801100"/>
                  <a:gd name="connsiteY146" fmla="*/ 812006 h 3538538"/>
                  <a:gd name="connsiteX147" fmla="*/ 4762 w 8801100"/>
                  <a:gd name="connsiteY147" fmla="*/ 0 h 3538538"/>
                  <a:gd name="connsiteX148" fmla="*/ 6662738 w 8801100"/>
                  <a:gd name="connsiteY148" fmla="*/ 3538538 h 3538538"/>
                  <a:gd name="connsiteX149" fmla="*/ 6715125 w 8801100"/>
                  <a:gd name="connsiteY149" fmla="*/ 3459956 h 3538538"/>
                  <a:gd name="connsiteX150" fmla="*/ 6762750 w 8801100"/>
                  <a:gd name="connsiteY150" fmla="*/ 3421856 h 3538538"/>
                  <a:gd name="connsiteX151" fmla="*/ 6748463 w 8801100"/>
                  <a:gd name="connsiteY151" fmla="*/ 3352800 h 3538538"/>
                  <a:gd name="connsiteX152" fmla="*/ 6698456 w 8801100"/>
                  <a:gd name="connsiteY152" fmla="*/ 3321843 h 3538538"/>
                  <a:gd name="connsiteX153" fmla="*/ 6638925 w 8801100"/>
                  <a:gd name="connsiteY153" fmla="*/ 3267075 h 3538538"/>
                  <a:gd name="connsiteX154" fmla="*/ 6619875 w 8801100"/>
                  <a:gd name="connsiteY154" fmla="*/ 3209925 h 3538538"/>
                  <a:gd name="connsiteX155" fmla="*/ 6584156 w 8801100"/>
                  <a:gd name="connsiteY155" fmla="*/ 3176588 h 3538538"/>
                  <a:gd name="connsiteX156" fmla="*/ 6610350 w 8801100"/>
                  <a:gd name="connsiteY156" fmla="*/ 3124200 h 3538538"/>
                  <a:gd name="connsiteX157" fmla="*/ 6650831 w 8801100"/>
                  <a:gd name="connsiteY157" fmla="*/ 2945606 h 3538538"/>
                  <a:gd name="connsiteX158" fmla="*/ 6691313 w 8801100"/>
                  <a:gd name="connsiteY158" fmla="*/ 2878931 h 3538538"/>
                  <a:gd name="connsiteX159" fmla="*/ 6836569 w 8801100"/>
                  <a:gd name="connsiteY159" fmla="*/ 2862262 h 3538538"/>
                  <a:gd name="connsiteX160" fmla="*/ 6905625 w 8801100"/>
                  <a:gd name="connsiteY160" fmla="*/ 2919413 h 3538538"/>
                  <a:gd name="connsiteX161" fmla="*/ 6981825 w 8801100"/>
                  <a:gd name="connsiteY161" fmla="*/ 2943225 h 3538538"/>
                  <a:gd name="connsiteX162" fmla="*/ 7186612 w 8801100"/>
                  <a:gd name="connsiteY162" fmla="*/ 2947988 h 3538538"/>
                  <a:gd name="connsiteX163" fmla="*/ 7362825 w 8801100"/>
                  <a:gd name="connsiteY163" fmla="*/ 2809875 h 3538538"/>
                  <a:gd name="connsiteX164" fmla="*/ 7419975 w 8801100"/>
                  <a:gd name="connsiteY164" fmla="*/ 2719387 h 3538538"/>
                  <a:gd name="connsiteX165" fmla="*/ 7446169 w 8801100"/>
                  <a:gd name="connsiteY165" fmla="*/ 2636044 h 3538538"/>
                  <a:gd name="connsiteX166" fmla="*/ 7577137 w 8801100"/>
                  <a:gd name="connsiteY166" fmla="*/ 2636044 h 3538538"/>
                  <a:gd name="connsiteX167" fmla="*/ 7750969 w 8801100"/>
                  <a:gd name="connsiteY167" fmla="*/ 2578893 h 3538538"/>
                  <a:gd name="connsiteX168" fmla="*/ 7810500 w 8801100"/>
                  <a:gd name="connsiteY168" fmla="*/ 2466975 h 3538538"/>
                  <a:gd name="connsiteX169" fmla="*/ 7874794 w 8801100"/>
                  <a:gd name="connsiteY169" fmla="*/ 2431256 h 3538538"/>
                  <a:gd name="connsiteX170" fmla="*/ 7853363 w 8801100"/>
                  <a:gd name="connsiteY170" fmla="*/ 2386013 h 3538538"/>
                  <a:gd name="connsiteX171" fmla="*/ 7931944 w 8801100"/>
                  <a:gd name="connsiteY171" fmla="*/ 2216943 h 3538538"/>
                  <a:gd name="connsiteX172" fmla="*/ 7986713 w 8801100"/>
                  <a:gd name="connsiteY172" fmla="*/ 2157413 h 3538538"/>
                  <a:gd name="connsiteX173" fmla="*/ 8024813 w 8801100"/>
                  <a:gd name="connsiteY173" fmla="*/ 2152650 h 3538538"/>
                  <a:gd name="connsiteX174" fmla="*/ 8070056 w 8801100"/>
                  <a:gd name="connsiteY174" fmla="*/ 2157413 h 3538538"/>
                  <a:gd name="connsiteX175" fmla="*/ 8134350 w 8801100"/>
                  <a:gd name="connsiteY175" fmla="*/ 2124075 h 3538538"/>
                  <a:gd name="connsiteX176" fmla="*/ 8143875 w 8801100"/>
                  <a:gd name="connsiteY176" fmla="*/ 2059781 h 3538538"/>
                  <a:gd name="connsiteX177" fmla="*/ 8184355 w 8801100"/>
                  <a:gd name="connsiteY177" fmla="*/ 2024063 h 3538538"/>
                  <a:gd name="connsiteX178" fmla="*/ 8243888 w 8801100"/>
                  <a:gd name="connsiteY178" fmla="*/ 2064543 h 3538538"/>
                  <a:gd name="connsiteX179" fmla="*/ 8270082 w 8801100"/>
                  <a:gd name="connsiteY179" fmla="*/ 2014537 h 3538538"/>
                  <a:gd name="connsiteX180" fmla="*/ 8365331 w 8801100"/>
                  <a:gd name="connsiteY180" fmla="*/ 1945481 h 3538538"/>
                  <a:gd name="connsiteX181" fmla="*/ 8427244 w 8801100"/>
                  <a:gd name="connsiteY181" fmla="*/ 1952625 h 3538538"/>
                  <a:gd name="connsiteX182" fmla="*/ 8477250 w 8801100"/>
                  <a:gd name="connsiteY182" fmla="*/ 1933575 h 3538538"/>
                  <a:gd name="connsiteX183" fmla="*/ 8515350 w 8801100"/>
                  <a:gd name="connsiteY183" fmla="*/ 1905000 h 3538538"/>
                  <a:gd name="connsiteX184" fmla="*/ 8548688 w 8801100"/>
                  <a:gd name="connsiteY184" fmla="*/ 1902619 h 3538538"/>
                  <a:gd name="connsiteX185" fmla="*/ 8584406 w 8801100"/>
                  <a:gd name="connsiteY185" fmla="*/ 1933575 h 3538538"/>
                  <a:gd name="connsiteX186" fmla="*/ 8643938 w 8801100"/>
                  <a:gd name="connsiteY186" fmla="*/ 1933575 h 3538538"/>
                  <a:gd name="connsiteX187" fmla="*/ 8682037 w 8801100"/>
                  <a:gd name="connsiteY187" fmla="*/ 1914525 h 3538538"/>
                  <a:gd name="connsiteX188" fmla="*/ 8765381 w 8801100"/>
                  <a:gd name="connsiteY188" fmla="*/ 1916907 h 3538538"/>
                  <a:gd name="connsiteX189" fmla="*/ 8796338 w 8801100"/>
                  <a:gd name="connsiteY189" fmla="*/ 1871663 h 3538538"/>
                  <a:gd name="connsiteX190" fmla="*/ 8801100 w 8801100"/>
                  <a:gd name="connsiteY190" fmla="*/ 1809750 h 3538538"/>
                  <a:gd name="connsiteX191" fmla="*/ 8751093 w 8801100"/>
                  <a:gd name="connsiteY191" fmla="*/ 1769269 h 3538538"/>
                  <a:gd name="connsiteX192" fmla="*/ 8734425 w 8801100"/>
                  <a:gd name="connsiteY192" fmla="*/ 1714500 h 3538538"/>
                  <a:gd name="connsiteX193" fmla="*/ 8643938 w 8801100"/>
                  <a:gd name="connsiteY193" fmla="*/ 1652588 h 3538538"/>
                  <a:gd name="connsiteX194" fmla="*/ 8603456 w 8801100"/>
                  <a:gd name="connsiteY194" fmla="*/ 1631156 h 3538538"/>
                  <a:gd name="connsiteX195" fmla="*/ 8565356 w 8801100"/>
                  <a:gd name="connsiteY195" fmla="*/ 1585913 h 3538538"/>
                  <a:gd name="connsiteX196" fmla="*/ 8534400 w 8801100"/>
                  <a:gd name="connsiteY196" fmla="*/ 1583531 h 3538538"/>
                  <a:gd name="connsiteX197" fmla="*/ 8517731 w 8801100"/>
                  <a:gd name="connsiteY197" fmla="*/ 1531144 h 3538538"/>
                  <a:gd name="connsiteX198" fmla="*/ 8477250 w 8801100"/>
                  <a:gd name="connsiteY198" fmla="*/ 1514475 h 3538538"/>
                  <a:gd name="connsiteX199" fmla="*/ 8477250 w 8801100"/>
                  <a:gd name="connsiteY199" fmla="*/ 1514475 h 3538538"/>
                  <a:gd name="connsiteX200" fmla="*/ 8436769 w 8801100"/>
                  <a:gd name="connsiteY200" fmla="*/ 1519238 h 3538538"/>
                  <a:gd name="connsiteX201" fmla="*/ 8351043 w 8801100"/>
                  <a:gd name="connsiteY201" fmla="*/ 1445419 h 3538538"/>
                  <a:gd name="connsiteX202" fmla="*/ 8170069 w 8801100"/>
                  <a:gd name="connsiteY202" fmla="*/ 1445418 h 3538538"/>
                  <a:gd name="connsiteX203" fmla="*/ 8117681 w 8801100"/>
                  <a:gd name="connsiteY203" fmla="*/ 1483519 h 3538538"/>
                  <a:gd name="connsiteX204" fmla="*/ 8067675 w 8801100"/>
                  <a:gd name="connsiteY204" fmla="*/ 1562100 h 3538538"/>
                  <a:gd name="connsiteX205" fmla="*/ 8084344 w 8801100"/>
                  <a:gd name="connsiteY205" fmla="*/ 1583531 h 3538538"/>
                  <a:gd name="connsiteX206" fmla="*/ 8039100 w 8801100"/>
                  <a:gd name="connsiteY206" fmla="*/ 1633537 h 3538538"/>
                  <a:gd name="connsiteX207" fmla="*/ 7889081 w 8801100"/>
                  <a:gd name="connsiteY207" fmla="*/ 1557337 h 3538538"/>
                  <a:gd name="connsiteX208" fmla="*/ 7798594 w 8801100"/>
                  <a:gd name="connsiteY208" fmla="*/ 1593056 h 3538538"/>
                  <a:gd name="connsiteX209" fmla="*/ 7724775 w 8801100"/>
                  <a:gd name="connsiteY209" fmla="*/ 1590675 h 3538538"/>
                  <a:gd name="connsiteX210" fmla="*/ 7667625 w 8801100"/>
                  <a:gd name="connsiteY210" fmla="*/ 1685925 h 3538538"/>
                  <a:gd name="connsiteX211" fmla="*/ 7529513 w 8801100"/>
                  <a:gd name="connsiteY211" fmla="*/ 1588294 h 3538538"/>
                  <a:gd name="connsiteX0" fmla="*/ 7529513 w 8801100"/>
                  <a:gd name="connsiteY0" fmla="*/ 1588294 h 3459956"/>
                  <a:gd name="connsiteX1" fmla="*/ 7522369 w 8801100"/>
                  <a:gd name="connsiteY1" fmla="*/ 1533525 h 3459956"/>
                  <a:gd name="connsiteX2" fmla="*/ 7589044 w 8801100"/>
                  <a:gd name="connsiteY2" fmla="*/ 1459706 h 3459956"/>
                  <a:gd name="connsiteX3" fmla="*/ 7572375 w 8801100"/>
                  <a:gd name="connsiteY3" fmla="*/ 1388269 h 3459956"/>
                  <a:gd name="connsiteX4" fmla="*/ 7586663 w 8801100"/>
                  <a:gd name="connsiteY4" fmla="*/ 1293019 h 3459956"/>
                  <a:gd name="connsiteX5" fmla="*/ 7624763 w 8801100"/>
                  <a:gd name="connsiteY5" fmla="*/ 1235869 h 3459956"/>
                  <a:gd name="connsiteX6" fmla="*/ 7605712 w 8801100"/>
                  <a:gd name="connsiteY6" fmla="*/ 1202531 h 3459956"/>
                  <a:gd name="connsiteX7" fmla="*/ 7703343 w 8801100"/>
                  <a:gd name="connsiteY7" fmla="*/ 802481 h 3459956"/>
                  <a:gd name="connsiteX8" fmla="*/ 7696200 w 8801100"/>
                  <a:gd name="connsiteY8" fmla="*/ 773906 h 3459956"/>
                  <a:gd name="connsiteX9" fmla="*/ 7567613 w 8801100"/>
                  <a:gd name="connsiteY9" fmla="*/ 752475 h 3459956"/>
                  <a:gd name="connsiteX10" fmla="*/ 7384257 w 8801100"/>
                  <a:gd name="connsiteY10" fmla="*/ 831056 h 3459956"/>
                  <a:gd name="connsiteX11" fmla="*/ 7227093 w 8801100"/>
                  <a:gd name="connsiteY11" fmla="*/ 716756 h 3459956"/>
                  <a:gd name="connsiteX12" fmla="*/ 7150894 w 8801100"/>
                  <a:gd name="connsiteY12" fmla="*/ 723900 h 3459956"/>
                  <a:gd name="connsiteX13" fmla="*/ 7077075 w 8801100"/>
                  <a:gd name="connsiteY13" fmla="*/ 719138 h 3459956"/>
                  <a:gd name="connsiteX14" fmla="*/ 6938963 w 8801100"/>
                  <a:gd name="connsiteY14" fmla="*/ 823913 h 3459956"/>
                  <a:gd name="connsiteX15" fmla="*/ 6831806 w 8801100"/>
                  <a:gd name="connsiteY15" fmla="*/ 931069 h 3459956"/>
                  <a:gd name="connsiteX16" fmla="*/ 6788944 w 8801100"/>
                  <a:gd name="connsiteY16" fmla="*/ 1000125 h 3459956"/>
                  <a:gd name="connsiteX17" fmla="*/ 6796088 w 8801100"/>
                  <a:gd name="connsiteY17" fmla="*/ 1035844 h 3459956"/>
                  <a:gd name="connsiteX18" fmla="*/ 6734175 w 8801100"/>
                  <a:gd name="connsiteY18" fmla="*/ 1047750 h 3459956"/>
                  <a:gd name="connsiteX19" fmla="*/ 6753225 w 8801100"/>
                  <a:gd name="connsiteY19" fmla="*/ 1047750 h 3459956"/>
                  <a:gd name="connsiteX20" fmla="*/ 6719888 w 8801100"/>
                  <a:gd name="connsiteY20" fmla="*/ 1078706 h 3459956"/>
                  <a:gd name="connsiteX21" fmla="*/ 6619875 w 8801100"/>
                  <a:gd name="connsiteY21" fmla="*/ 1078707 h 3459956"/>
                  <a:gd name="connsiteX22" fmla="*/ 6524625 w 8801100"/>
                  <a:gd name="connsiteY22" fmla="*/ 1133475 h 3459956"/>
                  <a:gd name="connsiteX23" fmla="*/ 6443663 w 8801100"/>
                  <a:gd name="connsiteY23" fmla="*/ 1143000 h 3459956"/>
                  <a:gd name="connsiteX24" fmla="*/ 6403181 w 8801100"/>
                  <a:gd name="connsiteY24" fmla="*/ 1176338 h 3459956"/>
                  <a:gd name="connsiteX25" fmla="*/ 6353175 w 8801100"/>
                  <a:gd name="connsiteY25" fmla="*/ 1181100 h 3459956"/>
                  <a:gd name="connsiteX26" fmla="*/ 6231732 w 8801100"/>
                  <a:gd name="connsiteY26" fmla="*/ 1273969 h 3459956"/>
                  <a:gd name="connsiteX27" fmla="*/ 6172200 w 8801100"/>
                  <a:gd name="connsiteY27" fmla="*/ 1278731 h 3459956"/>
                  <a:gd name="connsiteX28" fmla="*/ 6119813 w 8801100"/>
                  <a:gd name="connsiteY28" fmla="*/ 1243013 h 3459956"/>
                  <a:gd name="connsiteX29" fmla="*/ 6093619 w 8801100"/>
                  <a:gd name="connsiteY29" fmla="*/ 1278731 h 3459956"/>
                  <a:gd name="connsiteX30" fmla="*/ 5895975 w 8801100"/>
                  <a:gd name="connsiteY30" fmla="*/ 1271588 h 3459956"/>
                  <a:gd name="connsiteX31" fmla="*/ 5834063 w 8801100"/>
                  <a:gd name="connsiteY31" fmla="*/ 1226344 h 3459956"/>
                  <a:gd name="connsiteX32" fmla="*/ 5636419 w 8801100"/>
                  <a:gd name="connsiteY32" fmla="*/ 1243013 h 3459956"/>
                  <a:gd name="connsiteX33" fmla="*/ 5548313 w 8801100"/>
                  <a:gd name="connsiteY33" fmla="*/ 1159668 h 3459956"/>
                  <a:gd name="connsiteX34" fmla="*/ 5472113 w 8801100"/>
                  <a:gd name="connsiteY34" fmla="*/ 1114425 h 3459956"/>
                  <a:gd name="connsiteX35" fmla="*/ 5474493 w 8801100"/>
                  <a:gd name="connsiteY35" fmla="*/ 1057275 h 3459956"/>
                  <a:gd name="connsiteX36" fmla="*/ 5455444 w 8801100"/>
                  <a:gd name="connsiteY36" fmla="*/ 1014412 h 3459956"/>
                  <a:gd name="connsiteX37" fmla="*/ 5360194 w 8801100"/>
                  <a:gd name="connsiteY37" fmla="*/ 1016794 h 3459956"/>
                  <a:gd name="connsiteX38" fmla="*/ 5264944 w 8801100"/>
                  <a:gd name="connsiteY38" fmla="*/ 995363 h 3459956"/>
                  <a:gd name="connsiteX39" fmla="*/ 5195887 w 8801100"/>
                  <a:gd name="connsiteY39" fmla="*/ 928687 h 3459956"/>
                  <a:gd name="connsiteX40" fmla="*/ 5160169 w 8801100"/>
                  <a:gd name="connsiteY40" fmla="*/ 885825 h 3459956"/>
                  <a:gd name="connsiteX41" fmla="*/ 5079206 w 8801100"/>
                  <a:gd name="connsiteY41" fmla="*/ 862012 h 3459956"/>
                  <a:gd name="connsiteX42" fmla="*/ 5005388 w 8801100"/>
                  <a:gd name="connsiteY42" fmla="*/ 873918 h 3459956"/>
                  <a:gd name="connsiteX43" fmla="*/ 4948237 w 8801100"/>
                  <a:gd name="connsiteY43" fmla="*/ 821531 h 3459956"/>
                  <a:gd name="connsiteX44" fmla="*/ 4852988 w 8801100"/>
                  <a:gd name="connsiteY44" fmla="*/ 833438 h 3459956"/>
                  <a:gd name="connsiteX45" fmla="*/ 4800600 w 8801100"/>
                  <a:gd name="connsiteY45" fmla="*/ 807244 h 3459956"/>
                  <a:gd name="connsiteX46" fmla="*/ 4719638 w 8801100"/>
                  <a:gd name="connsiteY46" fmla="*/ 850106 h 3459956"/>
                  <a:gd name="connsiteX47" fmla="*/ 4581525 w 8801100"/>
                  <a:gd name="connsiteY47" fmla="*/ 873919 h 3459956"/>
                  <a:gd name="connsiteX48" fmla="*/ 4452938 w 8801100"/>
                  <a:gd name="connsiteY48" fmla="*/ 966788 h 3459956"/>
                  <a:gd name="connsiteX49" fmla="*/ 4405312 w 8801100"/>
                  <a:gd name="connsiteY49" fmla="*/ 928688 h 3459956"/>
                  <a:gd name="connsiteX50" fmla="*/ 4383881 w 8801100"/>
                  <a:gd name="connsiteY50" fmla="*/ 959643 h 3459956"/>
                  <a:gd name="connsiteX51" fmla="*/ 4310063 w 8801100"/>
                  <a:gd name="connsiteY51" fmla="*/ 909638 h 3459956"/>
                  <a:gd name="connsiteX52" fmla="*/ 4271963 w 8801100"/>
                  <a:gd name="connsiteY52" fmla="*/ 916781 h 3459956"/>
                  <a:gd name="connsiteX53" fmla="*/ 4250531 w 8801100"/>
                  <a:gd name="connsiteY53" fmla="*/ 878681 h 3459956"/>
                  <a:gd name="connsiteX54" fmla="*/ 4191000 w 8801100"/>
                  <a:gd name="connsiteY54" fmla="*/ 883444 h 3459956"/>
                  <a:gd name="connsiteX55" fmla="*/ 4145756 w 8801100"/>
                  <a:gd name="connsiteY55" fmla="*/ 854869 h 3459956"/>
                  <a:gd name="connsiteX56" fmla="*/ 4107656 w 8801100"/>
                  <a:gd name="connsiteY56" fmla="*/ 852488 h 3459956"/>
                  <a:gd name="connsiteX57" fmla="*/ 4088606 w 8801100"/>
                  <a:gd name="connsiteY57" fmla="*/ 804862 h 3459956"/>
                  <a:gd name="connsiteX58" fmla="*/ 4074319 w 8801100"/>
                  <a:gd name="connsiteY58" fmla="*/ 773906 h 3459956"/>
                  <a:gd name="connsiteX59" fmla="*/ 4029075 w 8801100"/>
                  <a:gd name="connsiteY59" fmla="*/ 783431 h 3459956"/>
                  <a:gd name="connsiteX60" fmla="*/ 4010025 w 8801100"/>
                  <a:gd name="connsiteY60" fmla="*/ 747713 h 3459956"/>
                  <a:gd name="connsiteX61" fmla="*/ 4031457 w 8801100"/>
                  <a:gd name="connsiteY61" fmla="*/ 692944 h 3459956"/>
                  <a:gd name="connsiteX62" fmla="*/ 4000500 w 8801100"/>
                  <a:gd name="connsiteY62" fmla="*/ 666750 h 3459956"/>
                  <a:gd name="connsiteX63" fmla="*/ 4017169 w 8801100"/>
                  <a:gd name="connsiteY63" fmla="*/ 623888 h 3459956"/>
                  <a:gd name="connsiteX64" fmla="*/ 3990975 w 8801100"/>
                  <a:gd name="connsiteY64" fmla="*/ 581025 h 3459956"/>
                  <a:gd name="connsiteX65" fmla="*/ 3986213 w 8801100"/>
                  <a:gd name="connsiteY65" fmla="*/ 519113 h 3459956"/>
                  <a:gd name="connsiteX66" fmla="*/ 4010025 w 8801100"/>
                  <a:gd name="connsiteY66" fmla="*/ 454818 h 3459956"/>
                  <a:gd name="connsiteX67" fmla="*/ 3971925 w 8801100"/>
                  <a:gd name="connsiteY67" fmla="*/ 457200 h 3459956"/>
                  <a:gd name="connsiteX68" fmla="*/ 3852863 w 8801100"/>
                  <a:gd name="connsiteY68" fmla="*/ 400050 h 3459956"/>
                  <a:gd name="connsiteX69" fmla="*/ 3814762 w 8801100"/>
                  <a:gd name="connsiteY69" fmla="*/ 404812 h 3459956"/>
                  <a:gd name="connsiteX70" fmla="*/ 3609975 w 8801100"/>
                  <a:gd name="connsiteY70" fmla="*/ 295275 h 3459956"/>
                  <a:gd name="connsiteX71" fmla="*/ 3505200 w 8801100"/>
                  <a:gd name="connsiteY71" fmla="*/ 264319 h 3459956"/>
                  <a:gd name="connsiteX72" fmla="*/ 3440906 w 8801100"/>
                  <a:gd name="connsiteY72" fmla="*/ 273843 h 3459956"/>
                  <a:gd name="connsiteX73" fmla="*/ 3409950 w 8801100"/>
                  <a:gd name="connsiteY73" fmla="*/ 209550 h 3459956"/>
                  <a:gd name="connsiteX74" fmla="*/ 3352800 w 8801100"/>
                  <a:gd name="connsiteY74" fmla="*/ 209550 h 3459956"/>
                  <a:gd name="connsiteX75" fmla="*/ 3214687 w 8801100"/>
                  <a:gd name="connsiteY75" fmla="*/ 104775 h 3459956"/>
                  <a:gd name="connsiteX76" fmla="*/ 3181350 w 8801100"/>
                  <a:gd name="connsiteY76" fmla="*/ 164307 h 3459956"/>
                  <a:gd name="connsiteX77" fmla="*/ 3126581 w 8801100"/>
                  <a:gd name="connsiteY77" fmla="*/ 233363 h 3459956"/>
                  <a:gd name="connsiteX78" fmla="*/ 3083719 w 8801100"/>
                  <a:gd name="connsiteY78" fmla="*/ 250031 h 3459956"/>
                  <a:gd name="connsiteX79" fmla="*/ 3052763 w 8801100"/>
                  <a:gd name="connsiteY79" fmla="*/ 242888 h 3459956"/>
                  <a:gd name="connsiteX80" fmla="*/ 3028950 w 8801100"/>
                  <a:gd name="connsiteY80" fmla="*/ 271463 h 3459956"/>
                  <a:gd name="connsiteX81" fmla="*/ 3002756 w 8801100"/>
                  <a:gd name="connsiteY81" fmla="*/ 350044 h 3459956"/>
                  <a:gd name="connsiteX82" fmla="*/ 2959894 w 8801100"/>
                  <a:gd name="connsiteY82" fmla="*/ 347663 h 3459956"/>
                  <a:gd name="connsiteX83" fmla="*/ 2928937 w 8801100"/>
                  <a:gd name="connsiteY83" fmla="*/ 409575 h 3459956"/>
                  <a:gd name="connsiteX84" fmla="*/ 2924175 w 8801100"/>
                  <a:gd name="connsiteY84" fmla="*/ 473869 h 3459956"/>
                  <a:gd name="connsiteX85" fmla="*/ 2897982 w 8801100"/>
                  <a:gd name="connsiteY85" fmla="*/ 511969 h 3459956"/>
                  <a:gd name="connsiteX86" fmla="*/ 2924175 w 8801100"/>
                  <a:gd name="connsiteY86" fmla="*/ 571500 h 3459956"/>
                  <a:gd name="connsiteX87" fmla="*/ 2926556 w 8801100"/>
                  <a:gd name="connsiteY87" fmla="*/ 640556 h 3459956"/>
                  <a:gd name="connsiteX88" fmla="*/ 2955131 w 8801100"/>
                  <a:gd name="connsiteY88" fmla="*/ 692944 h 3459956"/>
                  <a:gd name="connsiteX89" fmla="*/ 3002757 w 8801100"/>
                  <a:gd name="connsiteY89" fmla="*/ 747713 h 3459956"/>
                  <a:gd name="connsiteX90" fmla="*/ 2952750 w 8801100"/>
                  <a:gd name="connsiteY90" fmla="*/ 885825 h 3459956"/>
                  <a:gd name="connsiteX91" fmla="*/ 2883694 w 8801100"/>
                  <a:gd name="connsiteY91" fmla="*/ 952500 h 3459956"/>
                  <a:gd name="connsiteX92" fmla="*/ 2812256 w 8801100"/>
                  <a:gd name="connsiteY92" fmla="*/ 947738 h 3459956"/>
                  <a:gd name="connsiteX93" fmla="*/ 2774156 w 8801100"/>
                  <a:gd name="connsiteY93" fmla="*/ 1004888 h 3459956"/>
                  <a:gd name="connsiteX94" fmla="*/ 2714625 w 8801100"/>
                  <a:gd name="connsiteY94" fmla="*/ 1019175 h 3459956"/>
                  <a:gd name="connsiteX95" fmla="*/ 2645569 w 8801100"/>
                  <a:gd name="connsiteY95" fmla="*/ 959644 h 3459956"/>
                  <a:gd name="connsiteX96" fmla="*/ 2590800 w 8801100"/>
                  <a:gd name="connsiteY96" fmla="*/ 931069 h 3459956"/>
                  <a:gd name="connsiteX97" fmla="*/ 2547938 w 8801100"/>
                  <a:gd name="connsiteY97" fmla="*/ 945356 h 3459956"/>
                  <a:gd name="connsiteX98" fmla="*/ 2495550 w 8801100"/>
                  <a:gd name="connsiteY98" fmla="*/ 928688 h 3459956"/>
                  <a:gd name="connsiteX99" fmla="*/ 2428875 w 8801100"/>
                  <a:gd name="connsiteY99" fmla="*/ 873919 h 3459956"/>
                  <a:gd name="connsiteX100" fmla="*/ 2383631 w 8801100"/>
                  <a:gd name="connsiteY100" fmla="*/ 885825 h 3459956"/>
                  <a:gd name="connsiteX101" fmla="*/ 2362200 w 8801100"/>
                  <a:gd name="connsiteY101" fmla="*/ 854869 h 3459956"/>
                  <a:gd name="connsiteX102" fmla="*/ 2305050 w 8801100"/>
                  <a:gd name="connsiteY102" fmla="*/ 895350 h 3459956"/>
                  <a:gd name="connsiteX103" fmla="*/ 2188369 w 8801100"/>
                  <a:gd name="connsiteY103" fmla="*/ 873919 h 3459956"/>
                  <a:gd name="connsiteX104" fmla="*/ 2138363 w 8801100"/>
                  <a:gd name="connsiteY104" fmla="*/ 821531 h 3459956"/>
                  <a:gd name="connsiteX105" fmla="*/ 2095500 w 8801100"/>
                  <a:gd name="connsiteY105" fmla="*/ 807244 h 3459956"/>
                  <a:gd name="connsiteX106" fmla="*/ 2052638 w 8801100"/>
                  <a:gd name="connsiteY106" fmla="*/ 833438 h 3459956"/>
                  <a:gd name="connsiteX107" fmla="*/ 2000250 w 8801100"/>
                  <a:gd name="connsiteY107" fmla="*/ 742950 h 3459956"/>
                  <a:gd name="connsiteX108" fmla="*/ 1990725 w 8801100"/>
                  <a:gd name="connsiteY108" fmla="*/ 595312 h 3459956"/>
                  <a:gd name="connsiteX109" fmla="*/ 1938337 w 8801100"/>
                  <a:gd name="connsiteY109" fmla="*/ 588168 h 3459956"/>
                  <a:gd name="connsiteX110" fmla="*/ 1847850 w 8801100"/>
                  <a:gd name="connsiteY110" fmla="*/ 578644 h 3459956"/>
                  <a:gd name="connsiteX111" fmla="*/ 1793081 w 8801100"/>
                  <a:gd name="connsiteY111" fmla="*/ 540544 h 3459956"/>
                  <a:gd name="connsiteX112" fmla="*/ 1724025 w 8801100"/>
                  <a:gd name="connsiteY112" fmla="*/ 550069 h 3459956"/>
                  <a:gd name="connsiteX113" fmla="*/ 1678781 w 8801100"/>
                  <a:gd name="connsiteY113" fmla="*/ 523875 h 3459956"/>
                  <a:gd name="connsiteX114" fmla="*/ 1669257 w 8801100"/>
                  <a:gd name="connsiteY114" fmla="*/ 452438 h 3459956"/>
                  <a:gd name="connsiteX115" fmla="*/ 1645444 w 8801100"/>
                  <a:gd name="connsiteY115" fmla="*/ 438150 h 3459956"/>
                  <a:gd name="connsiteX116" fmla="*/ 1607344 w 8801100"/>
                  <a:gd name="connsiteY116" fmla="*/ 485774 h 3459956"/>
                  <a:gd name="connsiteX117" fmla="*/ 1528762 w 8801100"/>
                  <a:gd name="connsiteY117" fmla="*/ 411956 h 3459956"/>
                  <a:gd name="connsiteX118" fmla="*/ 1488281 w 8801100"/>
                  <a:gd name="connsiteY118" fmla="*/ 452438 h 3459956"/>
                  <a:gd name="connsiteX119" fmla="*/ 1412081 w 8801100"/>
                  <a:gd name="connsiteY119" fmla="*/ 438150 h 3459956"/>
                  <a:gd name="connsiteX120" fmla="*/ 1333500 w 8801100"/>
                  <a:gd name="connsiteY120" fmla="*/ 464344 h 3459956"/>
                  <a:gd name="connsiteX121" fmla="*/ 1273969 w 8801100"/>
                  <a:gd name="connsiteY121" fmla="*/ 511968 h 3459956"/>
                  <a:gd name="connsiteX122" fmla="*/ 1200150 w 8801100"/>
                  <a:gd name="connsiteY122" fmla="*/ 523875 h 3459956"/>
                  <a:gd name="connsiteX123" fmla="*/ 1164431 w 8801100"/>
                  <a:gd name="connsiteY123" fmla="*/ 516731 h 3459956"/>
                  <a:gd name="connsiteX124" fmla="*/ 1085851 w 8801100"/>
                  <a:gd name="connsiteY124" fmla="*/ 547688 h 3459956"/>
                  <a:gd name="connsiteX125" fmla="*/ 1064419 w 8801100"/>
                  <a:gd name="connsiteY125" fmla="*/ 576263 h 3459956"/>
                  <a:gd name="connsiteX126" fmla="*/ 997744 w 8801100"/>
                  <a:gd name="connsiteY126" fmla="*/ 566738 h 3459956"/>
                  <a:gd name="connsiteX127" fmla="*/ 928688 w 8801100"/>
                  <a:gd name="connsiteY127" fmla="*/ 590550 h 3459956"/>
                  <a:gd name="connsiteX128" fmla="*/ 873919 w 8801100"/>
                  <a:gd name="connsiteY128" fmla="*/ 628650 h 3459956"/>
                  <a:gd name="connsiteX129" fmla="*/ 778669 w 8801100"/>
                  <a:gd name="connsiteY129" fmla="*/ 642937 h 3459956"/>
                  <a:gd name="connsiteX130" fmla="*/ 764381 w 8801100"/>
                  <a:gd name="connsiteY130" fmla="*/ 664369 h 3459956"/>
                  <a:gd name="connsiteX131" fmla="*/ 776287 w 8801100"/>
                  <a:gd name="connsiteY131" fmla="*/ 709613 h 3459956"/>
                  <a:gd name="connsiteX132" fmla="*/ 676276 w 8801100"/>
                  <a:gd name="connsiteY132" fmla="*/ 762000 h 3459956"/>
                  <a:gd name="connsiteX133" fmla="*/ 638175 w 8801100"/>
                  <a:gd name="connsiteY133" fmla="*/ 733424 h 3459956"/>
                  <a:gd name="connsiteX134" fmla="*/ 607219 w 8801100"/>
                  <a:gd name="connsiteY134" fmla="*/ 790575 h 3459956"/>
                  <a:gd name="connsiteX135" fmla="*/ 550069 w 8801100"/>
                  <a:gd name="connsiteY135" fmla="*/ 752475 h 3459956"/>
                  <a:gd name="connsiteX136" fmla="*/ 514350 w 8801100"/>
                  <a:gd name="connsiteY136" fmla="*/ 781050 h 3459956"/>
                  <a:gd name="connsiteX137" fmla="*/ 478631 w 8801100"/>
                  <a:gd name="connsiteY137" fmla="*/ 745331 h 3459956"/>
                  <a:gd name="connsiteX138" fmla="*/ 426244 w 8801100"/>
                  <a:gd name="connsiteY138" fmla="*/ 757238 h 3459956"/>
                  <a:gd name="connsiteX139" fmla="*/ 381000 w 8801100"/>
                  <a:gd name="connsiteY139" fmla="*/ 728663 h 3459956"/>
                  <a:gd name="connsiteX140" fmla="*/ 357188 w 8801100"/>
                  <a:gd name="connsiteY140" fmla="*/ 747713 h 3459956"/>
                  <a:gd name="connsiteX141" fmla="*/ 333375 w 8801100"/>
                  <a:gd name="connsiteY141" fmla="*/ 807244 h 3459956"/>
                  <a:gd name="connsiteX142" fmla="*/ 261938 w 8801100"/>
                  <a:gd name="connsiteY142" fmla="*/ 845343 h 3459956"/>
                  <a:gd name="connsiteX143" fmla="*/ 209550 w 8801100"/>
                  <a:gd name="connsiteY143" fmla="*/ 816769 h 3459956"/>
                  <a:gd name="connsiteX144" fmla="*/ 119063 w 8801100"/>
                  <a:gd name="connsiteY144" fmla="*/ 826294 h 3459956"/>
                  <a:gd name="connsiteX145" fmla="*/ 71437 w 8801100"/>
                  <a:gd name="connsiteY145" fmla="*/ 792957 h 3459956"/>
                  <a:gd name="connsiteX146" fmla="*/ 0 w 8801100"/>
                  <a:gd name="connsiteY146" fmla="*/ 812006 h 3459956"/>
                  <a:gd name="connsiteX147" fmla="*/ 4762 w 8801100"/>
                  <a:gd name="connsiteY147" fmla="*/ 0 h 3459956"/>
                  <a:gd name="connsiteX148" fmla="*/ 6715125 w 8801100"/>
                  <a:gd name="connsiteY148" fmla="*/ 3459956 h 3459956"/>
                  <a:gd name="connsiteX149" fmla="*/ 6762750 w 8801100"/>
                  <a:gd name="connsiteY149" fmla="*/ 3421856 h 3459956"/>
                  <a:gd name="connsiteX150" fmla="*/ 6748463 w 8801100"/>
                  <a:gd name="connsiteY150" fmla="*/ 3352800 h 3459956"/>
                  <a:gd name="connsiteX151" fmla="*/ 6698456 w 8801100"/>
                  <a:gd name="connsiteY151" fmla="*/ 3321843 h 3459956"/>
                  <a:gd name="connsiteX152" fmla="*/ 6638925 w 8801100"/>
                  <a:gd name="connsiteY152" fmla="*/ 3267075 h 3459956"/>
                  <a:gd name="connsiteX153" fmla="*/ 6619875 w 8801100"/>
                  <a:gd name="connsiteY153" fmla="*/ 3209925 h 3459956"/>
                  <a:gd name="connsiteX154" fmla="*/ 6584156 w 8801100"/>
                  <a:gd name="connsiteY154" fmla="*/ 3176588 h 3459956"/>
                  <a:gd name="connsiteX155" fmla="*/ 6610350 w 8801100"/>
                  <a:gd name="connsiteY155" fmla="*/ 3124200 h 3459956"/>
                  <a:gd name="connsiteX156" fmla="*/ 6650831 w 8801100"/>
                  <a:gd name="connsiteY156" fmla="*/ 2945606 h 3459956"/>
                  <a:gd name="connsiteX157" fmla="*/ 6691313 w 8801100"/>
                  <a:gd name="connsiteY157" fmla="*/ 2878931 h 3459956"/>
                  <a:gd name="connsiteX158" fmla="*/ 6836569 w 8801100"/>
                  <a:gd name="connsiteY158" fmla="*/ 2862262 h 3459956"/>
                  <a:gd name="connsiteX159" fmla="*/ 6905625 w 8801100"/>
                  <a:gd name="connsiteY159" fmla="*/ 2919413 h 3459956"/>
                  <a:gd name="connsiteX160" fmla="*/ 6981825 w 8801100"/>
                  <a:gd name="connsiteY160" fmla="*/ 2943225 h 3459956"/>
                  <a:gd name="connsiteX161" fmla="*/ 7186612 w 8801100"/>
                  <a:gd name="connsiteY161" fmla="*/ 2947988 h 3459956"/>
                  <a:gd name="connsiteX162" fmla="*/ 7362825 w 8801100"/>
                  <a:gd name="connsiteY162" fmla="*/ 2809875 h 3459956"/>
                  <a:gd name="connsiteX163" fmla="*/ 7419975 w 8801100"/>
                  <a:gd name="connsiteY163" fmla="*/ 2719387 h 3459956"/>
                  <a:gd name="connsiteX164" fmla="*/ 7446169 w 8801100"/>
                  <a:gd name="connsiteY164" fmla="*/ 2636044 h 3459956"/>
                  <a:gd name="connsiteX165" fmla="*/ 7577137 w 8801100"/>
                  <a:gd name="connsiteY165" fmla="*/ 2636044 h 3459956"/>
                  <a:gd name="connsiteX166" fmla="*/ 7750969 w 8801100"/>
                  <a:gd name="connsiteY166" fmla="*/ 2578893 h 3459956"/>
                  <a:gd name="connsiteX167" fmla="*/ 7810500 w 8801100"/>
                  <a:gd name="connsiteY167" fmla="*/ 2466975 h 3459956"/>
                  <a:gd name="connsiteX168" fmla="*/ 7874794 w 8801100"/>
                  <a:gd name="connsiteY168" fmla="*/ 2431256 h 3459956"/>
                  <a:gd name="connsiteX169" fmla="*/ 7853363 w 8801100"/>
                  <a:gd name="connsiteY169" fmla="*/ 2386013 h 3459956"/>
                  <a:gd name="connsiteX170" fmla="*/ 7931944 w 8801100"/>
                  <a:gd name="connsiteY170" fmla="*/ 2216943 h 3459956"/>
                  <a:gd name="connsiteX171" fmla="*/ 7986713 w 8801100"/>
                  <a:gd name="connsiteY171" fmla="*/ 2157413 h 3459956"/>
                  <a:gd name="connsiteX172" fmla="*/ 8024813 w 8801100"/>
                  <a:gd name="connsiteY172" fmla="*/ 2152650 h 3459956"/>
                  <a:gd name="connsiteX173" fmla="*/ 8070056 w 8801100"/>
                  <a:gd name="connsiteY173" fmla="*/ 2157413 h 3459956"/>
                  <a:gd name="connsiteX174" fmla="*/ 8134350 w 8801100"/>
                  <a:gd name="connsiteY174" fmla="*/ 2124075 h 3459956"/>
                  <a:gd name="connsiteX175" fmla="*/ 8143875 w 8801100"/>
                  <a:gd name="connsiteY175" fmla="*/ 2059781 h 3459956"/>
                  <a:gd name="connsiteX176" fmla="*/ 8184355 w 8801100"/>
                  <a:gd name="connsiteY176" fmla="*/ 2024063 h 3459956"/>
                  <a:gd name="connsiteX177" fmla="*/ 8243888 w 8801100"/>
                  <a:gd name="connsiteY177" fmla="*/ 2064543 h 3459956"/>
                  <a:gd name="connsiteX178" fmla="*/ 8270082 w 8801100"/>
                  <a:gd name="connsiteY178" fmla="*/ 2014537 h 3459956"/>
                  <a:gd name="connsiteX179" fmla="*/ 8365331 w 8801100"/>
                  <a:gd name="connsiteY179" fmla="*/ 1945481 h 3459956"/>
                  <a:gd name="connsiteX180" fmla="*/ 8427244 w 8801100"/>
                  <a:gd name="connsiteY180" fmla="*/ 1952625 h 3459956"/>
                  <a:gd name="connsiteX181" fmla="*/ 8477250 w 8801100"/>
                  <a:gd name="connsiteY181" fmla="*/ 1933575 h 3459956"/>
                  <a:gd name="connsiteX182" fmla="*/ 8515350 w 8801100"/>
                  <a:gd name="connsiteY182" fmla="*/ 1905000 h 3459956"/>
                  <a:gd name="connsiteX183" fmla="*/ 8548688 w 8801100"/>
                  <a:gd name="connsiteY183" fmla="*/ 1902619 h 3459956"/>
                  <a:gd name="connsiteX184" fmla="*/ 8584406 w 8801100"/>
                  <a:gd name="connsiteY184" fmla="*/ 1933575 h 3459956"/>
                  <a:gd name="connsiteX185" fmla="*/ 8643938 w 8801100"/>
                  <a:gd name="connsiteY185" fmla="*/ 1933575 h 3459956"/>
                  <a:gd name="connsiteX186" fmla="*/ 8682037 w 8801100"/>
                  <a:gd name="connsiteY186" fmla="*/ 1914525 h 3459956"/>
                  <a:gd name="connsiteX187" fmla="*/ 8765381 w 8801100"/>
                  <a:gd name="connsiteY187" fmla="*/ 1916907 h 3459956"/>
                  <a:gd name="connsiteX188" fmla="*/ 8796338 w 8801100"/>
                  <a:gd name="connsiteY188" fmla="*/ 1871663 h 3459956"/>
                  <a:gd name="connsiteX189" fmla="*/ 8801100 w 8801100"/>
                  <a:gd name="connsiteY189" fmla="*/ 1809750 h 3459956"/>
                  <a:gd name="connsiteX190" fmla="*/ 8751093 w 8801100"/>
                  <a:gd name="connsiteY190" fmla="*/ 1769269 h 3459956"/>
                  <a:gd name="connsiteX191" fmla="*/ 8734425 w 8801100"/>
                  <a:gd name="connsiteY191" fmla="*/ 1714500 h 3459956"/>
                  <a:gd name="connsiteX192" fmla="*/ 8643938 w 8801100"/>
                  <a:gd name="connsiteY192" fmla="*/ 1652588 h 3459956"/>
                  <a:gd name="connsiteX193" fmla="*/ 8603456 w 8801100"/>
                  <a:gd name="connsiteY193" fmla="*/ 1631156 h 3459956"/>
                  <a:gd name="connsiteX194" fmla="*/ 8565356 w 8801100"/>
                  <a:gd name="connsiteY194" fmla="*/ 1585913 h 3459956"/>
                  <a:gd name="connsiteX195" fmla="*/ 8534400 w 8801100"/>
                  <a:gd name="connsiteY195" fmla="*/ 1583531 h 3459956"/>
                  <a:gd name="connsiteX196" fmla="*/ 8517731 w 8801100"/>
                  <a:gd name="connsiteY196" fmla="*/ 1531144 h 3459956"/>
                  <a:gd name="connsiteX197" fmla="*/ 8477250 w 8801100"/>
                  <a:gd name="connsiteY197" fmla="*/ 1514475 h 3459956"/>
                  <a:gd name="connsiteX198" fmla="*/ 8477250 w 8801100"/>
                  <a:gd name="connsiteY198" fmla="*/ 1514475 h 3459956"/>
                  <a:gd name="connsiteX199" fmla="*/ 8436769 w 8801100"/>
                  <a:gd name="connsiteY199" fmla="*/ 1519238 h 3459956"/>
                  <a:gd name="connsiteX200" fmla="*/ 8351043 w 8801100"/>
                  <a:gd name="connsiteY200" fmla="*/ 1445419 h 3459956"/>
                  <a:gd name="connsiteX201" fmla="*/ 8170069 w 8801100"/>
                  <a:gd name="connsiteY201" fmla="*/ 1445418 h 3459956"/>
                  <a:gd name="connsiteX202" fmla="*/ 8117681 w 8801100"/>
                  <a:gd name="connsiteY202" fmla="*/ 1483519 h 3459956"/>
                  <a:gd name="connsiteX203" fmla="*/ 8067675 w 8801100"/>
                  <a:gd name="connsiteY203" fmla="*/ 1562100 h 3459956"/>
                  <a:gd name="connsiteX204" fmla="*/ 8084344 w 8801100"/>
                  <a:gd name="connsiteY204" fmla="*/ 1583531 h 3459956"/>
                  <a:gd name="connsiteX205" fmla="*/ 8039100 w 8801100"/>
                  <a:gd name="connsiteY205" fmla="*/ 1633537 h 3459956"/>
                  <a:gd name="connsiteX206" fmla="*/ 7889081 w 8801100"/>
                  <a:gd name="connsiteY206" fmla="*/ 1557337 h 3459956"/>
                  <a:gd name="connsiteX207" fmla="*/ 7798594 w 8801100"/>
                  <a:gd name="connsiteY207" fmla="*/ 1593056 h 3459956"/>
                  <a:gd name="connsiteX208" fmla="*/ 7724775 w 8801100"/>
                  <a:gd name="connsiteY208" fmla="*/ 1590675 h 3459956"/>
                  <a:gd name="connsiteX209" fmla="*/ 7667625 w 8801100"/>
                  <a:gd name="connsiteY209" fmla="*/ 1685925 h 3459956"/>
                  <a:gd name="connsiteX210" fmla="*/ 7529513 w 8801100"/>
                  <a:gd name="connsiteY210" fmla="*/ 1588294 h 3459956"/>
                  <a:gd name="connsiteX0" fmla="*/ 7529513 w 8801100"/>
                  <a:gd name="connsiteY0" fmla="*/ 1588294 h 3421856"/>
                  <a:gd name="connsiteX1" fmla="*/ 7522369 w 8801100"/>
                  <a:gd name="connsiteY1" fmla="*/ 1533525 h 3421856"/>
                  <a:gd name="connsiteX2" fmla="*/ 7589044 w 8801100"/>
                  <a:gd name="connsiteY2" fmla="*/ 1459706 h 3421856"/>
                  <a:gd name="connsiteX3" fmla="*/ 7572375 w 8801100"/>
                  <a:gd name="connsiteY3" fmla="*/ 1388269 h 3421856"/>
                  <a:gd name="connsiteX4" fmla="*/ 7586663 w 8801100"/>
                  <a:gd name="connsiteY4" fmla="*/ 1293019 h 3421856"/>
                  <a:gd name="connsiteX5" fmla="*/ 7624763 w 8801100"/>
                  <a:gd name="connsiteY5" fmla="*/ 1235869 h 3421856"/>
                  <a:gd name="connsiteX6" fmla="*/ 7605712 w 8801100"/>
                  <a:gd name="connsiteY6" fmla="*/ 1202531 h 3421856"/>
                  <a:gd name="connsiteX7" fmla="*/ 7703343 w 8801100"/>
                  <a:gd name="connsiteY7" fmla="*/ 802481 h 3421856"/>
                  <a:gd name="connsiteX8" fmla="*/ 7696200 w 8801100"/>
                  <a:gd name="connsiteY8" fmla="*/ 773906 h 3421856"/>
                  <a:gd name="connsiteX9" fmla="*/ 7567613 w 8801100"/>
                  <a:gd name="connsiteY9" fmla="*/ 752475 h 3421856"/>
                  <a:gd name="connsiteX10" fmla="*/ 7384257 w 8801100"/>
                  <a:gd name="connsiteY10" fmla="*/ 831056 h 3421856"/>
                  <a:gd name="connsiteX11" fmla="*/ 7227093 w 8801100"/>
                  <a:gd name="connsiteY11" fmla="*/ 716756 h 3421856"/>
                  <a:gd name="connsiteX12" fmla="*/ 7150894 w 8801100"/>
                  <a:gd name="connsiteY12" fmla="*/ 723900 h 3421856"/>
                  <a:gd name="connsiteX13" fmla="*/ 7077075 w 8801100"/>
                  <a:gd name="connsiteY13" fmla="*/ 719138 h 3421856"/>
                  <a:gd name="connsiteX14" fmla="*/ 6938963 w 8801100"/>
                  <a:gd name="connsiteY14" fmla="*/ 823913 h 3421856"/>
                  <a:gd name="connsiteX15" fmla="*/ 6831806 w 8801100"/>
                  <a:gd name="connsiteY15" fmla="*/ 931069 h 3421856"/>
                  <a:gd name="connsiteX16" fmla="*/ 6788944 w 8801100"/>
                  <a:gd name="connsiteY16" fmla="*/ 1000125 h 3421856"/>
                  <a:gd name="connsiteX17" fmla="*/ 6796088 w 8801100"/>
                  <a:gd name="connsiteY17" fmla="*/ 1035844 h 3421856"/>
                  <a:gd name="connsiteX18" fmla="*/ 6734175 w 8801100"/>
                  <a:gd name="connsiteY18" fmla="*/ 1047750 h 3421856"/>
                  <a:gd name="connsiteX19" fmla="*/ 6753225 w 8801100"/>
                  <a:gd name="connsiteY19" fmla="*/ 1047750 h 3421856"/>
                  <a:gd name="connsiteX20" fmla="*/ 6719888 w 8801100"/>
                  <a:gd name="connsiteY20" fmla="*/ 1078706 h 3421856"/>
                  <a:gd name="connsiteX21" fmla="*/ 6619875 w 8801100"/>
                  <a:gd name="connsiteY21" fmla="*/ 1078707 h 3421856"/>
                  <a:gd name="connsiteX22" fmla="*/ 6524625 w 8801100"/>
                  <a:gd name="connsiteY22" fmla="*/ 1133475 h 3421856"/>
                  <a:gd name="connsiteX23" fmla="*/ 6443663 w 8801100"/>
                  <a:gd name="connsiteY23" fmla="*/ 1143000 h 3421856"/>
                  <a:gd name="connsiteX24" fmla="*/ 6403181 w 8801100"/>
                  <a:gd name="connsiteY24" fmla="*/ 1176338 h 3421856"/>
                  <a:gd name="connsiteX25" fmla="*/ 6353175 w 8801100"/>
                  <a:gd name="connsiteY25" fmla="*/ 1181100 h 3421856"/>
                  <a:gd name="connsiteX26" fmla="*/ 6231732 w 8801100"/>
                  <a:gd name="connsiteY26" fmla="*/ 1273969 h 3421856"/>
                  <a:gd name="connsiteX27" fmla="*/ 6172200 w 8801100"/>
                  <a:gd name="connsiteY27" fmla="*/ 1278731 h 3421856"/>
                  <a:gd name="connsiteX28" fmla="*/ 6119813 w 8801100"/>
                  <a:gd name="connsiteY28" fmla="*/ 1243013 h 3421856"/>
                  <a:gd name="connsiteX29" fmla="*/ 6093619 w 8801100"/>
                  <a:gd name="connsiteY29" fmla="*/ 1278731 h 3421856"/>
                  <a:gd name="connsiteX30" fmla="*/ 5895975 w 8801100"/>
                  <a:gd name="connsiteY30" fmla="*/ 1271588 h 3421856"/>
                  <a:gd name="connsiteX31" fmla="*/ 5834063 w 8801100"/>
                  <a:gd name="connsiteY31" fmla="*/ 1226344 h 3421856"/>
                  <a:gd name="connsiteX32" fmla="*/ 5636419 w 8801100"/>
                  <a:gd name="connsiteY32" fmla="*/ 1243013 h 3421856"/>
                  <a:gd name="connsiteX33" fmla="*/ 5548313 w 8801100"/>
                  <a:gd name="connsiteY33" fmla="*/ 1159668 h 3421856"/>
                  <a:gd name="connsiteX34" fmla="*/ 5472113 w 8801100"/>
                  <a:gd name="connsiteY34" fmla="*/ 1114425 h 3421856"/>
                  <a:gd name="connsiteX35" fmla="*/ 5474493 w 8801100"/>
                  <a:gd name="connsiteY35" fmla="*/ 1057275 h 3421856"/>
                  <a:gd name="connsiteX36" fmla="*/ 5455444 w 8801100"/>
                  <a:gd name="connsiteY36" fmla="*/ 1014412 h 3421856"/>
                  <a:gd name="connsiteX37" fmla="*/ 5360194 w 8801100"/>
                  <a:gd name="connsiteY37" fmla="*/ 1016794 h 3421856"/>
                  <a:gd name="connsiteX38" fmla="*/ 5264944 w 8801100"/>
                  <a:gd name="connsiteY38" fmla="*/ 995363 h 3421856"/>
                  <a:gd name="connsiteX39" fmla="*/ 5195887 w 8801100"/>
                  <a:gd name="connsiteY39" fmla="*/ 928687 h 3421856"/>
                  <a:gd name="connsiteX40" fmla="*/ 5160169 w 8801100"/>
                  <a:gd name="connsiteY40" fmla="*/ 885825 h 3421856"/>
                  <a:gd name="connsiteX41" fmla="*/ 5079206 w 8801100"/>
                  <a:gd name="connsiteY41" fmla="*/ 862012 h 3421856"/>
                  <a:gd name="connsiteX42" fmla="*/ 5005388 w 8801100"/>
                  <a:gd name="connsiteY42" fmla="*/ 873918 h 3421856"/>
                  <a:gd name="connsiteX43" fmla="*/ 4948237 w 8801100"/>
                  <a:gd name="connsiteY43" fmla="*/ 821531 h 3421856"/>
                  <a:gd name="connsiteX44" fmla="*/ 4852988 w 8801100"/>
                  <a:gd name="connsiteY44" fmla="*/ 833438 h 3421856"/>
                  <a:gd name="connsiteX45" fmla="*/ 4800600 w 8801100"/>
                  <a:gd name="connsiteY45" fmla="*/ 807244 h 3421856"/>
                  <a:gd name="connsiteX46" fmla="*/ 4719638 w 8801100"/>
                  <a:gd name="connsiteY46" fmla="*/ 850106 h 3421856"/>
                  <a:gd name="connsiteX47" fmla="*/ 4581525 w 8801100"/>
                  <a:gd name="connsiteY47" fmla="*/ 873919 h 3421856"/>
                  <a:gd name="connsiteX48" fmla="*/ 4452938 w 8801100"/>
                  <a:gd name="connsiteY48" fmla="*/ 966788 h 3421856"/>
                  <a:gd name="connsiteX49" fmla="*/ 4405312 w 8801100"/>
                  <a:gd name="connsiteY49" fmla="*/ 928688 h 3421856"/>
                  <a:gd name="connsiteX50" fmla="*/ 4383881 w 8801100"/>
                  <a:gd name="connsiteY50" fmla="*/ 959643 h 3421856"/>
                  <a:gd name="connsiteX51" fmla="*/ 4310063 w 8801100"/>
                  <a:gd name="connsiteY51" fmla="*/ 909638 h 3421856"/>
                  <a:gd name="connsiteX52" fmla="*/ 4271963 w 8801100"/>
                  <a:gd name="connsiteY52" fmla="*/ 916781 h 3421856"/>
                  <a:gd name="connsiteX53" fmla="*/ 4250531 w 8801100"/>
                  <a:gd name="connsiteY53" fmla="*/ 878681 h 3421856"/>
                  <a:gd name="connsiteX54" fmla="*/ 4191000 w 8801100"/>
                  <a:gd name="connsiteY54" fmla="*/ 883444 h 3421856"/>
                  <a:gd name="connsiteX55" fmla="*/ 4145756 w 8801100"/>
                  <a:gd name="connsiteY55" fmla="*/ 854869 h 3421856"/>
                  <a:gd name="connsiteX56" fmla="*/ 4107656 w 8801100"/>
                  <a:gd name="connsiteY56" fmla="*/ 852488 h 3421856"/>
                  <a:gd name="connsiteX57" fmla="*/ 4088606 w 8801100"/>
                  <a:gd name="connsiteY57" fmla="*/ 804862 h 3421856"/>
                  <a:gd name="connsiteX58" fmla="*/ 4074319 w 8801100"/>
                  <a:gd name="connsiteY58" fmla="*/ 773906 h 3421856"/>
                  <a:gd name="connsiteX59" fmla="*/ 4029075 w 8801100"/>
                  <a:gd name="connsiteY59" fmla="*/ 783431 h 3421856"/>
                  <a:gd name="connsiteX60" fmla="*/ 4010025 w 8801100"/>
                  <a:gd name="connsiteY60" fmla="*/ 747713 h 3421856"/>
                  <a:gd name="connsiteX61" fmla="*/ 4031457 w 8801100"/>
                  <a:gd name="connsiteY61" fmla="*/ 692944 h 3421856"/>
                  <a:gd name="connsiteX62" fmla="*/ 4000500 w 8801100"/>
                  <a:gd name="connsiteY62" fmla="*/ 666750 h 3421856"/>
                  <a:gd name="connsiteX63" fmla="*/ 4017169 w 8801100"/>
                  <a:gd name="connsiteY63" fmla="*/ 623888 h 3421856"/>
                  <a:gd name="connsiteX64" fmla="*/ 3990975 w 8801100"/>
                  <a:gd name="connsiteY64" fmla="*/ 581025 h 3421856"/>
                  <a:gd name="connsiteX65" fmla="*/ 3986213 w 8801100"/>
                  <a:gd name="connsiteY65" fmla="*/ 519113 h 3421856"/>
                  <a:gd name="connsiteX66" fmla="*/ 4010025 w 8801100"/>
                  <a:gd name="connsiteY66" fmla="*/ 454818 h 3421856"/>
                  <a:gd name="connsiteX67" fmla="*/ 3971925 w 8801100"/>
                  <a:gd name="connsiteY67" fmla="*/ 457200 h 3421856"/>
                  <a:gd name="connsiteX68" fmla="*/ 3852863 w 8801100"/>
                  <a:gd name="connsiteY68" fmla="*/ 400050 h 3421856"/>
                  <a:gd name="connsiteX69" fmla="*/ 3814762 w 8801100"/>
                  <a:gd name="connsiteY69" fmla="*/ 404812 h 3421856"/>
                  <a:gd name="connsiteX70" fmla="*/ 3609975 w 8801100"/>
                  <a:gd name="connsiteY70" fmla="*/ 295275 h 3421856"/>
                  <a:gd name="connsiteX71" fmla="*/ 3505200 w 8801100"/>
                  <a:gd name="connsiteY71" fmla="*/ 264319 h 3421856"/>
                  <a:gd name="connsiteX72" fmla="*/ 3440906 w 8801100"/>
                  <a:gd name="connsiteY72" fmla="*/ 273843 h 3421856"/>
                  <a:gd name="connsiteX73" fmla="*/ 3409950 w 8801100"/>
                  <a:gd name="connsiteY73" fmla="*/ 209550 h 3421856"/>
                  <a:gd name="connsiteX74" fmla="*/ 3352800 w 8801100"/>
                  <a:gd name="connsiteY74" fmla="*/ 209550 h 3421856"/>
                  <a:gd name="connsiteX75" fmla="*/ 3214687 w 8801100"/>
                  <a:gd name="connsiteY75" fmla="*/ 104775 h 3421856"/>
                  <a:gd name="connsiteX76" fmla="*/ 3181350 w 8801100"/>
                  <a:gd name="connsiteY76" fmla="*/ 164307 h 3421856"/>
                  <a:gd name="connsiteX77" fmla="*/ 3126581 w 8801100"/>
                  <a:gd name="connsiteY77" fmla="*/ 233363 h 3421856"/>
                  <a:gd name="connsiteX78" fmla="*/ 3083719 w 8801100"/>
                  <a:gd name="connsiteY78" fmla="*/ 250031 h 3421856"/>
                  <a:gd name="connsiteX79" fmla="*/ 3052763 w 8801100"/>
                  <a:gd name="connsiteY79" fmla="*/ 242888 h 3421856"/>
                  <a:gd name="connsiteX80" fmla="*/ 3028950 w 8801100"/>
                  <a:gd name="connsiteY80" fmla="*/ 271463 h 3421856"/>
                  <a:gd name="connsiteX81" fmla="*/ 3002756 w 8801100"/>
                  <a:gd name="connsiteY81" fmla="*/ 350044 h 3421856"/>
                  <a:gd name="connsiteX82" fmla="*/ 2959894 w 8801100"/>
                  <a:gd name="connsiteY82" fmla="*/ 347663 h 3421856"/>
                  <a:gd name="connsiteX83" fmla="*/ 2928937 w 8801100"/>
                  <a:gd name="connsiteY83" fmla="*/ 409575 h 3421856"/>
                  <a:gd name="connsiteX84" fmla="*/ 2924175 w 8801100"/>
                  <a:gd name="connsiteY84" fmla="*/ 473869 h 3421856"/>
                  <a:gd name="connsiteX85" fmla="*/ 2897982 w 8801100"/>
                  <a:gd name="connsiteY85" fmla="*/ 511969 h 3421856"/>
                  <a:gd name="connsiteX86" fmla="*/ 2924175 w 8801100"/>
                  <a:gd name="connsiteY86" fmla="*/ 571500 h 3421856"/>
                  <a:gd name="connsiteX87" fmla="*/ 2926556 w 8801100"/>
                  <a:gd name="connsiteY87" fmla="*/ 640556 h 3421856"/>
                  <a:gd name="connsiteX88" fmla="*/ 2955131 w 8801100"/>
                  <a:gd name="connsiteY88" fmla="*/ 692944 h 3421856"/>
                  <a:gd name="connsiteX89" fmla="*/ 3002757 w 8801100"/>
                  <a:gd name="connsiteY89" fmla="*/ 747713 h 3421856"/>
                  <a:gd name="connsiteX90" fmla="*/ 2952750 w 8801100"/>
                  <a:gd name="connsiteY90" fmla="*/ 885825 h 3421856"/>
                  <a:gd name="connsiteX91" fmla="*/ 2883694 w 8801100"/>
                  <a:gd name="connsiteY91" fmla="*/ 952500 h 3421856"/>
                  <a:gd name="connsiteX92" fmla="*/ 2812256 w 8801100"/>
                  <a:gd name="connsiteY92" fmla="*/ 947738 h 3421856"/>
                  <a:gd name="connsiteX93" fmla="*/ 2774156 w 8801100"/>
                  <a:gd name="connsiteY93" fmla="*/ 1004888 h 3421856"/>
                  <a:gd name="connsiteX94" fmla="*/ 2714625 w 8801100"/>
                  <a:gd name="connsiteY94" fmla="*/ 1019175 h 3421856"/>
                  <a:gd name="connsiteX95" fmla="*/ 2645569 w 8801100"/>
                  <a:gd name="connsiteY95" fmla="*/ 959644 h 3421856"/>
                  <a:gd name="connsiteX96" fmla="*/ 2590800 w 8801100"/>
                  <a:gd name="connsiteY96" fmla="*/ 931069 h 3421856"/>
                  <a:gd name="connsiteX97" fmla="*/ 2547938 w 8801100"/>
                  <a:gd name="connsiteY97" fmla="*/ 945356 h 3421856"/>
                  <a:gd name="connsiteX98" fmla="*/ 2495550 w 8801100"/>
                  <a:gd name="connsiteY98" fmla="*/ 928688 h 3421856"/>
                  <a:gd name="connsiteX99" fmla="*/ 2428875 w 8801100"/>
                  <a:gd name="connsiteY99" fmla="*/ 873919 h 3421856"/>
                  <a:gd name="connsiteX100" fmla="*/ 2383631 w 8801100"/>
                  <a:gd name="connsiteY100" fmla="*/ 885825 h 3421856"/>
                  <a:gd name="connsiteX101" fmla="*/ 2362200 w 8801100"/>
                  <a:gd name="connsiteY101" fmla="*/ 854869 h 3421856"/>
                  <a:gd name="connsiteX102" fmla="*/ 2305050 w 8801100"/>
                  <a:gd name="connsiteY102" fmla="*/ 895350 h 3421856"/>
                  <a:gd name="connsiteX103" fmla="*/ 2188369 w 8801100"/>
                  <a:gd name="connsiteY103" fmla="*/ 873919 h 3421856"/>
                  <a:gd name="connsiteX104" fmla="*/ 2138363 w 8801100"/>
                  <a:gd name="connsiteY104" fmla="*/ 821531 h 3421856"/>
                  <a:gd name="connsiteX105" fmla="*/ 2095500 w 8801100"/>
                  <a:gd name="connsiteY105" fmla="*/ 807244 h 3421856"/>
                  <a:gd name="connsiteX106" fmla="*/ 2052638 w 8801100"/>
                  <a:gd name="connsiteY106" fmla="*/ 833438 h 3421856"/>
                  <a:gd name="connsiteX107" fmla="*/ 2000250 w 8801100"/>
                  <a:gd name="connsiteY107" fmla="*/ 742950 h 3421856"/>
                  <a:gd name="connsiteX108" fmla="*/ 1990725 w 8801100"/>
                  <a:gd name="connsiteY108" fmla="*/ 595312 h 3421856"/>
                  <a:gd name="connsiteX109" fmla="*/ 1938337 w 8801100"/>
                  <a:gd name="connsiteY109" fmla="*/ 588168 h 3421856"/>
                  <a:gd name="connsiteX110" fmla="*/ 1847850 w 8801100"/>
                  <a:gd name="connsiteY110" fmla="*/ 578644 h 3421856"/>
                  <a:gd name="connsiteX111" fmla="*/ 1793081 w 8801100"/>
                  <a:gd name="connsiteY111" fmla="*/ 540544 h 3421856"/>
                  <a:gd name="connsiteX112" fmla="*/ 1724025 w 8801100"/>
                  <a:gd name="connsiteY112" fmla="*/ 550069 h 3421856"/>
                  <a:gd name="connsiteX113" fmla="*/ 1678781 w 8801100"/>
                  <a:gd name="connsiteY113" fmla="*/ 523875 h 3421856"/>
                  <a:gd name="connsiteX114" fmla="*/ 1669257 w 8801100"/>
                  <a:gd name="connsiteY114" fmla="*/ 452438 h 3421856"/>
                  <a:gd name="connsiteX115" fmla="*/ 1645444 w 8801100"/>
                  <a:gd name="connsiteY115" fmla="*/ 438150 h 3421856"/>
                  <a:gd name="connsiteX116" fmla="*/ 1607344 w 8801100"/>
                  <a:gd name="connsiteY116" fmla="*/ 485774 h 3421856"/>
                  <a:gd name="connsiteX117" fmla="*/ 1528762 w 8801100"/>
                  <a:gd name="connsiteY117" fmla="*/ 411956 h 3421856"/>
                  <a:gd name="connsiteX118" fmla="*/ 1488281 w 8801100"/>
                  <a:gd name="connsiteY118" fmla="*/ 452438 h 3421856"/>
                  <a:gd name="connsiteX119" fmla="*/ 1412081 w 8801100"/>
                  <a:gd name="connsiteY119" fmla="*/ 438150 h 3421856"/>
                  <a:gd name="connsiteX120" fmla="*/ 1333500 w 8801100"/>
                  <a:gd name="connsiteY120" fmla="*/ 464344 h 3421856"/>
                  <a:gd name="connsiteX121" fmla="*/ 1273969 w 8801100"/>
                  <a:gd name="connsiteY121" fmla="*/ 511968 h 3421856"/>
                  <a:gd name="connsiteX122" fmla="*/ 1200150 w 8801100"/>
                  <a:gd name="connsiteY122" fmla="*/ 523875 h 3421856"/>
                  <a:gd name="connsiteX123" fmla="*/ 1164431 w 8801100"/>
                  <a:gd name="connsiteY123" fmla="*/ 516731 h 3421856"/>
                  <a:gd name="connsiteX124" fmla="*/ 1085851 w 8801100"/>
                  <a:gd name="connsiteY124" fmla="*/ 547688 h 3421856"/>
                  <a:gd name="connsiteX125" fmla="*/ 1064419 w 8801100"/>
                  <a:gd name="connsiteY125" fmla="*/ 576263 h 3421856"/>
                  <a:gd name="connsiteX126" fmla="*/ 997744 w 8801100"/>
                  <a:gd name="connsiteY126" fmla="*/ 566738 h 3421856"/>
                  <a:gd name="connsiteX127" fmla="*/ 928688 w 8801100"/>
                  <a:gd name="connsiteY127" fmla="*/ 590550 h 3421856"/>
                  <a:gd name="connsiteX128" fmla="*/ 873919 w 8801100"/>
                  <a:gd name="connsiteY128" fmla="*/ 628650 h 3421856"/>
                  <a:gd name="connsiteX129" fmla="*/ 778669 w 8801100"/>
                  <a:gd name="connsiteY129" fmla="*/ 642937 h 3421856"/>
                  <a:gd name="connsiteX130" fmla="*/ 764381 w 8801100"/>
                  <a:gd name="connsiteY130" fmla="*/ 664369 h 3421856"/>
                  <a:gd name="connsiteX131" fmla="*/ 776287 w 8801100"/>
                  <a:gd name="connsiteY131" fmla="*/ 709613 h 3421856"/>
                  <a:gd name="connsiteX132" fmla="*/ 676276 w 8801100"/>
                  <a:gd name="connsiteY132" fmla="*/ 762000 h 3421856"/>
                  <a:gd name="connsiteX133" fmla="*/ 638175 w 8801100"/>
                  <a:gd name="connsiteY133" fmla="*/ 733424 h 3421856"/>
                  <a:gd name="connsiteX134" fmla="*/ 607219 w 8801100"/>
                  <a:gd name="connsiteY134" fmla="*/ 790575 h 3421856"/>
                  <a:gd name="connsiteX135" fmla="*/ 550069 w 8801100"/>
                  <a:gd name="connsiteY135" fmla="*/ 752475 h 3421856"/>
                  <a:gd name="connsiteX136" fmla="*/ 514350 w 8801100"/>
                  <a:gd name="connsiteY136" fmla="*/ 781050 h 3421856"/>
                  <a:gd name="connsiteX137" fmla="*/ 478631 w 8801100"/>
                  <a:gd name="connsiteY137" fmla="*/ 745331 h 3421856"/>
                  <a:gd name="connsiteX138" fmla="*/ 426244 w 8801100"/>
                  <a:gd name="connsiteY138" fmla="*/ 757238 h 3421856"/>
                  <a:gd name="connsiteX139" fmla="*/ 381000 w 8801100"/>
                  <a:gd name="connsiteY139" fmla="*/ 728663 h 3421856"/>
                  <a:gd name="connsiteX140" fmla="*/ 357188 w 8801100"/>
                  <a:gd name="connsiteY140" fmla="*/ 747713 h 3421856"/>
                  <a:gd name="connsiteX141" fmla="*/ 333375 w 8801100"/>
                  <a:gd name="connsiteY141" fmla="*/ 807244 h 3421856"/>
                  <a:gd name="connsiteX142" fmla="*/ 261938 w 8801100"/>
                  <a:gd name="connsiteY142" fmla="*/ 845343 h 3421856"/>
                  <a:gd name="connsiteX143" fmla="*/ 209550 w 8801100"/>
                  <a:gd name="connsiteY143" fmla="*/ 816769 h 3421856"/>
                  <a:gd name="connsiteX144" fmla="*/ 119063 w 8801100"/>
                  <a:gd name="connsiteY144" fmla="*/ 826294 h 3421856"/>
                  <a:gd name="connsiteX145" fmla="*/ 71437 w 8801100"/>
                  <a:gd name="connsiteY145" fmla="*/ 792957 h 3421856"/>
                  <a:gd name="connsiteX146" fmla="*/ 0 w 8801100"/>
                  <a:gd name="connsiteY146" fmla="*/ 812006 h 3421856"/>
                  <a:gd name="connsiteX147" fmla="*/ 4762 w 8801100"/>
                  <a:gd name="connsiteY147" fmla="*/ 0 h 3421856"/>
                  <a:gd name="connsiteX148" fmla="*/ 6762750 w 8801100"/>
                  <a:gd name="connsiteY148" fmla="*/ 3421856 h 3421856"/>
                  <a:gd name="connsiteX149" fmla="*/ 6748463 w 8801100"/>
                  <a:gd name="connsiteY149" fmla="*/ 3352800 h 3421856"/>
                  <a:gd name="connsiteX150" fmla="*/ 6698456 w 8801100"/>
                  <a:gd name="connsiteY150" fmla="*/ 3321843 h 3421856"/>
                  <a:gd name="connsiteX151" fmla="*/ 6638925 w 8801100"/>
                  <a:gd name="connsiteY151" fmla="*/ 3267075 h 3421856"/>
                  <a:gd name="connsiteX152" fmla="*/ 6619875 w 8801100"/>
                  <a:gd name="connsiteY152" fmla="*/ 3209925 h 3421856"/>
                  <a:gd name="connsiteX153" fmla="*/ 6584156 w 8801100"/>
                  <a:gd name="connsiteY153" fmla="*/ 3176588 h 3421856"/>
                  <a:gd name="connsiteX154" fmla="*/ 6610350 w 8801100"/>
                  <a:gd name="connsiteY154" fmla="*/ 3124200 h 3421856"/>
                  <a:gd name="connsiteX155" fmla="*/ 6650831 w 8801100"/>
                  <a:gd name="connsiteY155" fmla="*/ 2945606 h 3421856"/>
                  <a:gd name="connsiteX156" fmla="*/ 6691313 w 8801100"/>
                  <a:gd name="connsiteY156" fmla="*/ 2878931 h 3421856"/>
                  <a:gd name="connsiteX157" fmla="*/ 6836569 w 8801100"/>
                  <a:gd name="connsiteY157" fmla="*/ 2862262 h 3421856"/>
                  <a:gd name="connsiteX158" fmla="*/ 6905625 w 8801100"/>
                  <a:gd name="connsiteY158" fmla="*/ 2919413 h 3421856"/>
                  <a:gd name="connsiteX159" fmla="*/ 6981825 w 8801100"/>
                  <a:gd name="connsiteY159" fmla="*/ 2943225 h 3421856"/>
                  <a:gd name="connsiteX160" fmla="*/ 7186612 w 8801100"/>
                  <a:gd name="connsiteY160" fmla="*/ 2947988 h 3421856"/>
                  <a:gd name="connsiteX161" fmla="*/ 7362825 w 8801100"/>
                  <a:gd name="connsiteY161" fmla="*/ 2809875 h 3421856"/>
                  <a:gd name="connsiteX162" fmla="*/ 7419975 w 8801100"/>
                  <a:gd name="connsiteY162" fmla="*/ 2719387 h 3421856"/>
                  <a:gd name="connsiteX163" fmla="*/ 7446169 w 8801100"/>
                  <a:gd name="connsiteY163" fmla="*/ 2636044 h 3421856"/>
                  <a:gd name="connsiteX164" fmla="*/ 7577137 w 8801100"/>
                  <a:gd name="connsiteY164" fmla="*/ 2636044 h 3421856"/>
                  <a:gd name="connsiteX165" fmla="*/ 7750969 w 8801100"/>
                  <a:gd name="connsiteY165" fmla="*/ 2578893 h 3421856"/>
                  <a:gd name="connsiteX166" fmla="*/ 7810500 w 8801100"/>
                  <a:gd name="connsiteY166" fmla="*/ 2466975 h 3421856"/>
                  <a:gd name="connsiteX167" fmla="*/ 7874794 w 8801100"/>
                  <a:gd name="connsiteY167" fmla="*/ 2431256 h 3421856"/>
                  <a:gd name="connsiteX168" fmla="*/ 7853363 w 8801100"/>
                  <a:gd name="connsiteY168" fmla="*/ 2386013 h 3421856"/>
                  <a:gd name="connsiteX169" fmla="*/ 7931944 w 8801100"/>
                  <a:gd name="connsiteY169" fmla="*/ 2216943 h 3421856"/>
                  <a:gd name="connsiteX170" fmla="*/ 7986713 w 8801100"/>
                  <a:gd name="connsiteY170" fmla="*/ 2157413 h 3421856"/>
                  <a:gd name="connsiteX171" fmla="*/ 8024813 w 8801100"/>
                  <a:gd name="connsiteY171" fmla="*/ 2152650 h 3421856"/>
                  <a:gd name="connsiteX172" fmla="*/ 8070056 w 8801100"/>
                  <a:gd name="connsiteY172" fmla="*/ 2157413 h 3421856"/>
                  <a:gd name="connsiteX173" fmla="*/ 8134350 w 8801100"/>
                  <a:gd name="connsiteY173" fmla="*/ 2124075 h 3421856"/>
                  <a:gd name="connsiteX174" fmla="*/ 8143875 w 8801100"/>
                  <a:gd name="connsiteY174" fmla="*/ 2059781 h 3421856"/>
                  <a:gd name="connsiteX175" fmla="*/ 8184355 w 8801100"/>
                  <a:gd name="connsiteY175" fmla="*/ 2024063 h 3421856"/>
                  <a:gd name="connsiteX176" fmla="*/ 8243888 w 8801100"/>
                  <a:gd name="connsiteY176" fmla="*/ 2064543 h 3421856"/>
                  <a:gd name="connsiteX177" fmla="*/ 8270082 w 8801100"/>
                  <a:gd name="connsiteY177" fmla="*/ 2014537 h 3421856"/>
                  <a:gd name="connsiteX178" fmla="*/ 8365331 w 8801100"/>
                  <a:gd name="connsiteY178" fmla="*/ 1945481 h 3421856"/>
                  <a:gd name="connsiteX179" fmla="*/ 8427244 w 8801100"/>
                  <a:gd name="connsiteY179" fmla="*/ 1952625 h 3421856"/>
                  <a:gd name="connsiteX180" fmla="*/ 8477250 w 8801100"/>
                  <a:gd name="connsiteY180" fmla="*/ 1933575 h 3421856"/>
                  <a:gd name="connsiteX181" fmla="*/ 8515350 w 8801100"/>
                  <a:gd name="connsiteY181" fmla="*/ 1905000 h 3421856"/>
                  <a:gd name="connsiteX182" fmla="*/ 8548688 w 8801100"/>
                  <a:gd name="connsiteY182" fmla="*/ 1902619 h 3421856"/>
                  <a:gd name="connsiteX183" fmla="*/ 8584406 w 8801100"/>
                  <a:gd name="connsiteY183" fmla="*/ 1933575 h 3421856"/>
                  <a:gd name="connsiteX184" fmla="*/ 8643938 w 8801100"/>
                  <a:gd name="connsiteY184" fmla="*/ 1933575 h 3421856"/>
                  <a:gd name="connsiteX185" fmla="*/ 8682037 w 8801100"/>
                  <a:gd name="connsiteY185" fmla="*/ 1914525 h 3421856"/>
                  <a:gd name="connsiteX186" fmla="*/ 8765381 w 8801100"/>
                  <a:gd name="connsiteY186" fmla="*/ 1916907 h 3421856"/>
                  <a:gd name="connsiteX187" fmla="*/ 8796338 w 8801100"/>
                  <a:gd name="connsiteY187" fmla="*/ 1871663 h 3421856"/>
                  <a:gd name="connsiteX188" fmla="*/ 8801100 w 8801100"/>
                  <a:gd name="connsiteY188" fmla="*/ 1809750 h 3421856"/>
                  <a:gd name="connsiteX189" fmla="*/ 8751093 w 8801100"/>
                  <a:gd name="connsiteY189" fmla="*/ 1769269 h 3421856"/>
                  <a:gd name="connsiteX190" fmla="*/ 8734425 w 8801100"/>
                  <a:gd name="connsiteY190" fmla="*/ 1714500 h 3421856"/>
                  <a:gd name="connsiteX191" fmla="*/ 8643938 w 8801100"/>
                  <a:gd name="connsiteY191" fmla="*/ 1652588 h 3421856"/>
                  <a:gd name="connsiteX192" fmla="*/ 8603456 w 8801100"/>
                  <a:gd name="connsiteY192" fmla="*/ 1631156 h 3421856"/>
                  <a:gd name="connsiteX193" fmla="*/ 8565356 w 8801100"/>
                  <a:gd name="connsiteY193" fmla="*/ 1585913 h 3421856"/>
                  <a:gd name="connsiteX194" fmla="*/ 8534400 w 8801100"/>
                  <a:gd name="connsiteY194" fmla="*/ 1583531 h 3421856"/>
                  <a:gd name="connsiteX195" fmla="*/ 8517731 w 8801100"/>
                  <a:gd name="connsiteY195" fmla="*/ 1531144 h 3421856"/>
                  <a:gd name="connsiteX196" fmla="*/ 8477250 w 8801100"/>
                  <a:gd name="connsiteY196" fmla="*/ 1514475 h 3421856"/>
                  <a:gd name="connsiteX197" fmla="*/ 8477250 w 8801100"/>
                  <a:gd name="connsiteY197" fmla="*/ 1514475 h 3421856"/>
                  <a:gd name="connsiteX198" fmla="*/ 8436769 w 8801100"/>
                  <a:gd name="connsiteY198" fmla="*/ 1519238 h 3421856"/>
                  <a:gd name="connsiteX199" fmla="*/ 8351043 w 8801100"/>
                  <a:gd name="connsiteY199" fmla="*/ 1445419 h 3421856"/>
                  <a:gd name="connsiteX200" fmla="*/ 8170069 w 8801100"/>
                  <a:gd name="connsiteY200" fmla="*/ 1445418 h 3421856"/>
                  <a:gd name="connsiteX201" fmla="*/ 8117681 w 8801100"/>
                  <a:gd name="connsiteY201" fmla="*/ 1483519 h 3421856"/>
                  <a:gd name="connsiteX202" fmla="*/ 8067675 w 8801100"/>
                  <a:gd name="connsiteY202" fmla="*/ 1562100 h 3421856"/>
                  <a:gd name="connsiteX203" fmla="*/ 8084344 w 8801100"/>
                  <a:gd name="connsiteY203" fmla="*/ 1583531 h 3421856"/>
                  <a:gd name="connsiteX204" fmla="*/ 8039100 w 8801100"/>
                  <a:gd name="connsiteY204" fmla="*/ 1633537 h 3421856"/>
                  <a:gd name="connsiteX205" fmla="*/ 7889081 w 8801100"/>
                  <a:gd name="connsiteY205" fmla="*/ 1557337 h 3421856"/>
                  <a:gd name="connsiteX206" fmla="*/ 7798594 w 8801100"/>
                  <a:gd name="connsiteY206" fmla="*/ 1593056 h 3421856"/>
                  <a:gd name="connsiteX207" fmla="*/ 7724775 w 8801100"/>
                  <a:gd name="connsiteY207" fmla="*/ 1590675 h 3421856"/>
                  <a:gd name="connsiteX208" fmla="*/ 7667625 w 8801100"/>
                  <a:gd name="connsiteY208" fmla="*/ 1685925 h 3421856"/>
                  <a:gd name="connsiteX209" fmla="*/ 7529513 w 8801100"/>
                  <a:gd name="connsiteY209" fmla="*/ 1588294 h 3421856"/>
                  <a:gd name="connsiteX0" fmla="*/ 7529513 w 8801100"/>
                  <a:gd name="connsiteY0" fmla="*/ 1588294 h 3352800"/>
                  <a:gd name="connsiteX1" fmla="*/ 7522369 w 8801100"/>
                  <a:gd name="connsiteY1" fmla="*/ 1533525 h 3352800"/>
                  <a:gd name="connsiteX2" fmla="*/ 7589044 w 8801100"/>
                  <a:gd name="connsiteY2" fmla="*/ 1459706 h 3352800"/>
                  <a:gd name="connsiteX3" fmla="*/ 7572375 w 8801100"/>
                  <a:gd name="connsiteY3" fmla="*/ 1388269 h 3352800"/>
                  <a:gd name="connsiteX4" fmla="*/ 7586663 w 8801100"/>
                  <a:gd name="connsiteY4" fmla="*/ 1293019 h 3352800"/>
                  <a:gd name="connsiteX5" fmla="*/ 7624763 w 8801100"/>
                  <a:gd name="connsiteY5" fmla="*/ 1235869 h 3352800"/>
                  <a:gd name="connsiteX6" fmla="*/ 7605712 w 8801100"/>
                  <a:gd name="connsiteY6" fmla="*/ 1202531 h 3352800"/>
                  <a:gd name="connsiteX7" fmla="*/ 7703343 w 8801100"/>
                  <a:gd name="connsiteY7" fmla="*/ 802481 h 3352800"/>
                  <a:gd name="connsiteX8" fmla="*/ 7696200 w 8801100"/>
                  <a:gd name="connsiteY8" fmla="*/ 773906 h 3352800"/>
                  <a:gd name="connsiteX9" fmla="*/ 7567613 w 8801100"/>
                  <a:gd name="connsiteY9" fmla="*/ 752475 h 3352800"/>
                  <a:gd name="connsiteX10" fmla="*/ 7384257 w 8801100"/>
                  <a:gd name="connsiteY10" fmla="*/ 831056 h 3352800"/>
                  <a:gd name="connsiteX11" fmla="*/ 7227093 w 8801100"/>
                  <a:gd name="connsiteY11" fmla="*/ 716756 h 3352800"/>
                  <a:gd name="connsiteX12" fmla="*/ 7150894 w 8801100"/>
                  <a:gd name="connsiteY12" fmla="*/ 723900 h 3352800"/>
                  <a:gd name="connsiteX13" fmla="*/ 7077075 w 8801100"/>
                  <a:gd name="connsiteY13" fmla="*/ 719138 h 3352800"/>
                  <a:gd name="connsiteX14" fmla="*/ 6938963 w 8801100"/>
                  <a:gd name="connsiteY14" fmla="*/ 823913 h 3352800"/>
                  <a:gd name="connsiteX15" fmla="*/ 6831806 w 8801100"/>
                  <a:gd name="connsiteY15" fmla="*/ 931069 h 3352800"/>
                  <a:gd name="connsiteX16" fmla="*/ 6788944 w 8801100"/>
                  <a:gd name="connsiteY16" fmla="*/ 1000125 h 3352800"/>
                  <a:gd name="connsiteX17" fmla="*/ 6796088 w 8801100"/>
                  <a:gd name="connsiteY17" fmla="*/ 1035844 h 3352800"/>
                  <a:gd name="connsiteX18" fmla="*/ 6734175 w 8801100"/>
                  <a:gd name="connsiteY18" fmla="*/ 1047750 h 3352800"/>
                  <a:gd name="connsiteX19" fmla="*/ 6753225 w 8801100"/>
                  <a:gd name="connsiteY19" fmla="*/ 1047750 h 3352800"/>
                  <a:gd name="connsiteX20" fmla="*/ 6719888 w 8801100"/>
                  <a:gd name="connsiteY20" fmla="*/ 1078706 h 3352800"/>
                  <a:gd name="connsiteX21" fmla="*/ 6619875 w 8801100"/>
                  <a:gd name="connsiteY21" fmla="*/ 1078707 h 3352800"/>
                  <a:gd name="connsiteX22" fmla="*/ 6524625 w 8801100"/>
                  <a:gd name="connsiteY22" fmla="*/ 1133475 h 3352800"/>
                  <a:gd name="connsiteX23" fmla="*/ 6443663 w 8801100"/>
                  <a:gd name="connsiteY23" fmla="*/ 1143000 h 3352800"/>
                  <a:gd name="connsiteX24" fmla="*/ 6403181 w 8801100"/>
                  <a:gd name="connsiteY24" fmla="*/ 1176338 h 3352800"/>
                  <a:gd name="connsiteX25" fmla="*/ 6353175 w 8801100"/>
                  <a:gd name="connsiteY25" fmla="*/ 1181100 h 3352800"/>
                  <a:gd name="connsiteX26" fmla="*/ 6231732 w 8801100"/>
                  <a:gd name="connsiteY26" fmla="*/ 1273969 h 3352800"/>
                  <a:gd name="connsiteX27" fmla="*/ 6172200 w 8801100"/>
                  <a:gd name="connsiteY27" fmla="*/ 1278731 h 3352800"/>
                  <a:gd name="connsiteX28" fmla="*/ 6119813 w 8801100"/>
                  <a:gd name="connsiteY28" fmla="*/ 1243013 h 3352800"/>
                  <a:gd name="connsiteX29" fmla="*/ 6093619 w 8801100"/>
                  <a:gd name="connsiteY29" fmla="*/ 1278731 h 3352800"/>
                  <a:gd name="connsiteX30" fmla="*/ 5895975 w 8801100"/>
                  <a:gd name="connsiteY30" fmla="*/ 1271588 h 3352800"/>
                  <a:gd name="connsiteX31" fmla="*/ 5834063 w 8801100"/>
                  <a:gd name="connsiteY31" fmla="*/ 1226344 h 3352800"/>
                  <a:gd name="connsiteX32" fmla="*/ 5636419 w 8801100"/>
                  <a:gd name="connsiteY32" fmla="*/ 1243013 h 3352800"/>
                  <a:gd name="connsiteX33" fmla="*/ 5548313 w 8801100"/>
                  <a:gd name="connsiteY33" fmla="*/ 1159668 h 3352800"/>
                  <a:gd name="connsiteX34" fmla="*/ 5472113 w 8801100"/>
                  <a:gd name="connsiteY34" fmla="*/ 1114425 h 3352800"/>
                  <a:gd name="connsiteX35" fmla="*/ 5474493 w 8801100"/>
                  <a:gd name="connsiteY35" fmla="*/ 1057275 h 3352800"/>
                  <a:gd name="connsiteX36" fmla="*/ 5455444 w 8801100"/>
                  <a:gd name="connsiteY36" fmla="*/ 1014412 h 3352800"/>
                  <a:gd name="connsiteX37" fmla="*/ 5360194 w 8801100"/>
                  <a:gd name="connsiteY37" fmla="*/ 1016794 h 3352800"/>
                  <a:gd name="connsiteX38" fmla="*/ 5264944 w 8801100"/>
                  <a:gd name="connsiteY38" fmla="*/ 995363 h 3352800"/>
                  <a:gd name="connsiteX39" fmla="*/ 5195887 w 8801100"/>
                  <a:gd name="connsiteY39" fmla="*/ 928687 h 3352800"/>
                  <a:gd name="connsiteX40" fmla="*/ 5160169 w 8801100"/>
                  <a:gd name="connsiteY40" fmla="*/ 885825 h 3352800"/>
                  <a:gd name="connsiteX41" fmla="*/ 5079206 w 8801100"/>
                  <a:gd name="connsiteY41" fmla="*/ 862012 h 3352800"/>
                  <a:gd name="connsiteX42" fmla="*/ 5005388 w 8801100"/>
                  <a:gd name="connsiteY42" fmla="*/ 873918 h 3352800"/>
                  <a:gd name="connsiteX43" fmla="*/ 4948237 w 8801100"/>
                  <a:gd name="connsiteY43" fmla="*/ 821531 h 3352800"/>
                  <a:gd name="connsiteX44" fmla="*/ 4852988 w 8801100"/>
                  <a:gd name="connsiteY44" fmla="*/ 833438 h 3352800"/>
                  <a:gd name="connsiteX45" fmla="*/ 4800600 w 8801100"/>
                  <a:gd name="connsiteY45" fmla="*/ 807244 h 3352800"/>
                  <a:gd name="connsiteX46" fmla="*/ 4719638 w 8801100"/>
                  <a:gd name="connsiteY46" fmla="*/ 850106 h 3352800"/>
                  <a:gd name="connsiteX47" fmla="*/ 4581525 w 8801100"/>
                  <a:gd name="connsiteY47" fmla="*/ 873919 h 3352800"/>
                  <a:gd name="connsiteX48" fmla="*/ 4452938 w 8801100"/>
                  <a:gd name="connsiteY48" fmla="*/ 966788 h 3352800"/>
                  <a:gd name="connsiteX49" fmla="*/ 4405312 w 8801100"/>
                  <a:gd name="connsiteY49" fmla="*/ 928688 h 3352800"/>
                  <a:gd name="connsiteX50" fmla="*/ 4383881 w 8801100"/>
                  <a:gd name="connsiteY50" fmla="*/ 959643 h 3352800"/>
                  <a:gd name="connsiteX51" fmla="*/ 4310063 w 8801100"/>
                  <a:gd name="connsiteY51" fmla="*/ 909638 h 3352800"/>
                  <a:gd name="connsiteX52" fmla="*/ 4271963 w 8801100"/>
                  <a:gd name="connsiteY52" fmla="*/ 916781 h 3352800"/>
                  <a:gd name="connsiteX53" fmla="*/ 4250531 w 8801100"/>
                  <a:gd name="connsiteY53" fmla="*/ 878681 h 3352800"/>
                  <a:gd name="connsiteX54" fmla="*/ 4191000 w 8801100"/>
                  <a:gd name="connsiteY54" fmla="*/ 883444 h 3352800"/>
                  <a:gd name="connsiteX55" fmla="*/ 4145756 w 8801100"/>
                  <a:gd name="connsiteY55" fmla="*/ 854869 h 3352800"/>
                  <a:gd name="connsiteX56" fmla="*/ 4107656 w 8801100"/>
                  <a:gd name="connsiteY56" fmla="*/ 852488 h 3352800"/>
                  <a:gd name="connsiteX57" fmla="*/ 4088606 w 8801100"/>
                  <a:gd name="connsiteY57" fmla="*/ 804862 h 3352800"/>
                  <a:gd name="connsiteX58" fmla="*/ 4074319 w 8801100"/>
                  <a:gd name="connsiteY58" fmla="*/ 773906 h 3352800"/>
                  <a:gd name="connsiteX59" fmla="*/ 4029075 w 8801100"/>
                  <a:gd name="connsiteY59" fmla="*/ 783431 h 3352800"/>
                  <a:gd name="connsiteX60" fmla="*/ 4010025 w 8801100"/>
                  <a:gd name="connsiteY60" fmla="*/ 747713 h 3352800"/>
                  <a:gd name="connsiteX61" fmla="*/ 4031457 w 8801100"/>
                  <a:gd name="connsiteY61" fmla="*/ 692944 h 3352800"/>
                  <a:gd name="connsiteX62" fmla="*/ 4000500 w 8801100"/>
                  <a:gd name="connsiteY62" fmla="*/ 666750 h 3352800"/>
                  <a:gd name="connsiteX63" fmla="*/ 4017169 w 8801100"/>
                  <a:gd name="connsiteY63" fmla="*/ 623888 h 3352800"/>
                  <a:gd name="connsiteX64" fmla="*/ 3990975 w 8801100"/>
                  <a:gd name="connsiteY64" fmla="*/ 581025 h 3352800"/>
                  <a:gd name="connsiteX65" fmla="*/ 3986213 w 8801100"/>
                  <a:gd name="connsiteY65" fmla="*/ 519113 h 3352800"/>
                  <a:gd name="connsiteX66" fmla="*/ 4010025 w 8801100"/>
                  <a:gd name="connsiteY66" fmla="*/ 454818 h 3352800"/>
                  <a:gd name="connsiteX67" fmla="*/ 3971925 w 8801100"/>
                  <a:gd name="connsiteY67" fmla="*/ 457200 h 3352800"/>
                  <a:gd name="connsiteX68" fmla="*/ 3852863 w 8801100"/>
                  <a:gd name="connsiteY68" fmla="*/ 400050 h 3352800"/>
                  <a:gd name="connsiteX69" fmla="*/ 3814762 w 8801100"/>
                  <a:gd name="connsiteY69" fmla="*/ 404812 h 3352800"/>
                  <a:gd name="connsiteX70" fmla="*/ 3609975 w 8801100"/>
                  <a:gd name="connsiteY70" fmla="*/ 295275 h 3352800"/>
                  <a:gd name="connsiteX71" fmla="*/ 3505200 w 8801100"/>
                  <a:gd name="connsiteY71" fmla="*/ 264319 h 3352800"/>
                  <a:gd name="connsiteX72" fmla="*/ 3440906 w 8801100"/>
                  <a:gd name="connsiteY72" fmla="*/ 273843 h 3352800"/>
                  <a:gd name="connsiteX73" fmla="*/ 3409950 w 8801100"/>
                  <a:gd name="connsiteY73" fmla="*/ 209550 h 3352800"/>
                  <a:gd name="connsiteX74" fmla="*/ 3352800 w 8801100"/>
                  <a:gd name="connsiteY74" fmla="*/ 209550 h 3352800"/>
                  <a:gd name="connsiteX75" fmla="*/ 3214687 w 8801100"/>
                  <a:gd name="connsiteY75" fmla="*/ 104775 h 3352800"/>
                  <a:gd name="connsiteX76" fmla="*/ 3181350 w 8801100"/>
                  <a:gd name="connsiteY76" fmla="*/ 164307 h 3352800"/>
                  <a:gd name="connsiteX77" fmla="*/ 3126581 w 8801100"/>
                  <a:gd name="connsiteY77" fmla="*/ 233363 h 3352800"/>
                  <a:gd name="connsiteX78" fmla="*/ 3083719 w 8801100"/>
                  <a:gd name="connsiteY78" fmla="*/ 250031 h 3352800"/>
                  <a:gd name="connsiteX79" fmla="*/ 3052763 w 8801100"/>
                  <a:gd name="connsiteY79" fmla="*/ 242888 h 3352800"/>
                  <a:gd name="connsiteX80" fmla="*/ 3028950 w 8801100"/>
                  <a:gd name="connsiteY80" fmla="*/ 271463 h 3352800"/>
                  <a:gd name="connsiteX81" fmla="*/ 3002756 w 8801100"/>
                  <a:gd name="connsiteY81" fmla="*/ 350044 h 3352800"/>
                  <a:gd name="connsiteX82" fmla="*/ 2959894 w 8801100"/>
                  <a:gd name="connsiteY82" fmla="*/ 347663 h 3352800"/>
                  <a:gd name="connsiteX83" fmla="*/ 2928937 w 8801100"/>
                  <a:gd name="connsiteY83" fmla="*/ 409575 h 3352800"/>
                  <a:gd name="connsiteX84" fmla="*/ 2924175 w 8801100"/>
                  <a:gd name="connsiteY84" fmla="*/ 473869 h 3352800"/>
                  <a:gd name="connsiteX85" fmla="*/ 2897982 w 8801100"/>
                  <a:gd name="connsiteY85" fmla="*/ 511969 h 3352800"/>
                  <a:gd name="connsiteX86" fmla="*/ 2924175 w 8801100"/>
                  <a:gd name="connsiteY86" fmla="*/ 571500 h 3352800"/>
                  <a:gd name="connsiteX87" fmla="*/ 2926556 w 8801100"/>
                  <a:gd name="connsiteY87" fmla="*/ 640556 h 3352800"/>
                  <a:gd name="connsiteX88" fmla="*/ 2955131 w 8801100"/>
                  <a:gd name="connsiteY88" fmla="*/ 692944 h 3352800"/>
                  <a:gd name="connsiteX89" fmla="*/ 3002757 w 8801100"/>
                  <a:gd name="connsiteY89" fmla="*/ 747713 h 3352800"/>
                  <a:gd name="connsiteX90" fmla="*/ 2952750 w 8801100"/>
                  <a:gd name="connsiteY90" fmla="*/ 885825 h 3352800"/>
                  <a:gd name="connsiteX91" fmla="*/ 2883694 w 8801100"/>
                  <a:gd name="connsiteY91" fmla="*/ 952500 h 3352800"/>
                  <a:gd name="connsiteX92" fmla="*/ 2812256 w 8801100"/>
                  <a:gd name="connsiteY92" fmla="*/ 947738 h 3352800"/>
                  <a:gd name="connsiteX93" fmla="*/ 2774156 w 8801100"/>
                  <a:gd name="connsiteY93" fmla="*/ 1004888 h 3352800"/>
                  <a:gd name="connsiteX94" fmla="*/ 2714625 w 8801100"/>
                  <a:gd name="connsiteY94" fmla="*/ 1019175 h 3352800"/>
                  <a:gd name="connsiteX95" fmla="*/ 2645569 w 8801100"/>
                  <a:gd name="connsiteY95" fmla="*/ 959644 h 3352800"/>
                  <a:gd name="connsiteX96" fmla="*/ 2590800 w 8801100"/>
                  <a:gd name="connsiteY96" fmla="*/ 931069 h 3352800"/>
                  <a:gd name="connsiteX97" fmla="*/ 2547938 w 8801100"/>
                  <a:gd name="connsiteY97" fmla="*/ 945356 h 3352800"/>
                  <a:gd name="connsiteX98" fmla="*/ 2495550 w 8801100"/>
                  <a:gd name="connsiteY98" fmla="*/ 928688 h 3352800"/>
                  <a:gd name="connsiteX99" fmla="*/ 2428875 w 8801100"/>
                  <a:gd name="connsiteY99" fmla="*/ 873919 h 3352800"/>
                  <a:gd name="connsiteX100" fmla="*/ 2383631 w 8801100"/>
                  <a:gd name="connsiteY100" fmla="*/ 885825 h 3352800"/>
                  <a:gd name="connsiteX101" fmla="*/ 2362200 w 8801100"/>
                  <a:gd name="connsiteY101" fmla="*/ 854869 h 3352800"/>
                  <a:gd name="connsiteX102" fmla="*/ 2305050 w 8801100"/>
                  <a:gd name="connsiteY102" fmla="*/ 895350 h 3352800"/>
                  <a:gd name="connsiteX103" fmla="*/ 2188369 w 8801100"/>
                  <a:gd name="connsiteY103" fmla="*/ 873919 h 3352800"/>
                  <a:gd name="connsiteX104" fmla="*/ 2138363 w 8801100"/>
                  <a:gd name="connsiteY104" fmla="*/ 821531 h 3352800"/>
                  <a:gd name="connsiteX105" fmla="*/ 2095500 w 8801100"/>
                  <a:gd name="connsiteY105" fmla="*/ 807244 h 3352800"/>
                  <a:gd name="connsiteX106" fmla="*/ 2052638 w 8801100"/>
                  <a:gd name="connsiteY106" fmla="*/ 833438 h 3352800"/>
                  <a:gd name="connsiteX107" fmla="*/ 2000250 w 8801100"/>
                  <a:gd name="connsiteY107" fmla="*/ 742950 h 3352800"/>
                  <a:gd name="connsiteX108" fmla="*/ 1990725 w 8801100"/>
                  <a:gd name="connsiteY108" fmla="*/ 595312 h 3352800"/>
                  <a:gd name="connsiteX109" fmla="*/ 1938337 w 8801100"/>
                  <a:gd name="connsiteY109" fmla="*/ 588168 h 3352800"/>
                  <a:gd name="connsiteX110" fmla="*/ 1847850 w 8801100"/>
                  <a:gd name="connsiteY110" fmla="*/ 578644 h 3352800"/>
                  <a:gd name="connsiteX111" fmla="*/ 1793081 w 8801100"/>
                  <a:gd name="connsiteY111" fmla="*/ 540544 h 3352800"/>
                  <a:gd name="connsiteX112" fmla="*/ 1724025 w 8801100"/>
                  <a:gd name="connsiteY112" fmla="*/ 550069 h 3352800"/>
                  <a:gd name="connsiteX113" fmla="*/ 1678781 w 8801100"/>
                  <a:gd name="connsiteY113" fmla="*/ 523875 h 3352800"/>
                  <a:gd name="connsiteX114" fmla="*/ 1669257 w 8801100"/>
                  <a:gd name="connsiteY114" fmla="*/ 452438 h 3352800"/>
                  <a:gd name="connsiteX115" fmla="*/ 1645444 w 8801100"/>
                  <a:gd name="connsiteY115" fmla="*/ 438150 h 3352800"/>
                  <a:gd name="connsiteX116" fmla="*/ 1607344 w 8801100"/>
                  <a:gd name="connsiteY116" fmla="*/ 485774 h 3352800"/>
                  <a:gd name="connsiteX117" fmla="*/ 1528762 w 8801100"/>
                  <a:gd name="connsiteY117" fmla="*/ 411956 h 3352800"/>
                  <a:gd name="connsiteX118" fmla="*/ 1488281 w 8801100"/>
                  <a:gd name="connsiteY118" fmla="*/ 452438 h 3352800"/>
                  <a:gd name="connsiteX119" fmla="*/ 1412081 w 8801100"/>
                  <a:gd name="connsiteY119" fmla="*/ 438150 h 3352800"/>
                  <a:gd name="connsiteX120" fmla="*/ 1333500 w 8801100"/>
                  <a:gd name="connsiteY120" fmla="*/ 464344 h 3352800"/>
                  <a:gd name="connsiteX121" fmla="*/ 1273969 w 8801100"/>
                  <a:gd name="connsiteY121" fmla="*/ 511968 h 3352800"/>
                  <a:gd name="connsiteX122" fmla="*/ 1200150 w 8801100"/>
                  <a:gd name="connsiteY122" fmla="*/ 523875 h 3352800"/>
                  <a:gd name="connsiteX123" fmla="*/ 1164431 w 8801100"/>
                  <a:gd name="connsiteY123" fmla="*/ 516731 h 3352800"/>
                  <a:gd name="connsiteX124" fmla="*/ 1085851 w 8801100"/>
                  <a:gd name="connsiteY124" fmla="*/ 547688 h 3352800"/>
                  <a:gd name="connsiteX125" fmla="*/ 1064419 w 8801100"/>
                  <a:gd name="connsiteY125" fmla="*/ 576263 h 3352800"/>
                  <a:gd name="connsiteX126" fmla="*/ 997744 w 8801100"/>
                  <a:gd name="connsiteY126" fmla="*/ 566738 h 3352800"/>
                  <a:gd name="connsiteX127" fmla="*/ 928688 w 8801100"/>
                  <a:gd name="connsiteY127" fmla="*/ 590550 h 3352800"/>
                  <a:gd name="connsiteX128" fmla="*/ 873919 w 8801100"/>
                  <a:gd name="connsiteY128" fmla="*/ 628650 h 3352800"/>
                  <a:gd name="connsiteX129" fmla="*/ 778669 w 8801100"/>
                  <a:gd name="connsiteY129" fmla="*/ 642937 h 3352800"/>
                  <a:gd name="connsiteX130" fmla="*/ 764381 w 8801100"/>
                  <a:gd name="connsiteY130" fmla="*/ 664369 h 3352800"/>
                  <a:gd name="connsiteX131" fmla="*/ 776287 w 8801100"/>
                  <a:gd name="connsiteY131" fmla="*/ 709613 h 3352800"/>
                  <a:gd name="connsiteX132" fmla="*/ 676276 w 8801100"/>
                  <a:gd name="connsiteY132" fmla="*/ 762000 h 3352800"/>
                  <a:gd name="connsiteX133" fmla="*/ 638175 w 8801100"/>
                  <a:gd name="connsiteY133" fmla="*/ 733424 h 3352800"/>
                  <a:gd name="connsiteX134" fmla="*/ 607219 w 8801100"/>
                  <a:gd name="connsiteY134" fmla="*/ 790575 h 3352800"/>
                  <a:gd name="connsiteX135" fmla="*/ 550069 w 8801100"/>
                  <a:gd name="connsiteY135" fmla="*/ 752475 h 3352800"/>
                  <a:gd name="connsiteX136" fmla="*/ 514350 w 8801100"/>
                  <a:gd name="connsiteY136" fmla="*/ 781050 h 3352800"/>
                  <a:gd name="connsiteX137" fmla="*/ 478631 w 8801100"/>
                  <a:gd name="connsiteY137" fmla="*/ 745331 h 3352800"/>
                  <a:gd name="connsiteX138" fmla="*/ 426244 w 8801100"/>
                  <a:gd name="connsiteY138" fmla="*/ 757238 h 3352800"/>
                  <a:gd name="connsiteX139" fmla="*/ 381000 w 8801100"/>
                  <a:gd name="connsiteY139" fmla="*/ 728663 h 3352800"/>
                  <a:gd name="connsiteX140" fmla="*/ 357188 w 8801100"/>
                  <a:gd name="connsiteY140" fmla="*/ 747713 h 3352800"/>
                  <a:gd name="connsiteX141" fmla="*/ 333375 w 8801100"/>
                  <a:gd name="connsiteY141" fmla="*/ 807244 h 3352800"/>
                  <a:gd name="connsiteX142" fmla="*/ 261938 w 8801100"/>
                  <a:gd name="connsiteY142" fmla="*/ 845343 h 3352800"/>
                  <a:gd name="connsiteX143" fmla="*/ 209550 w 8801100"/>
                  <a:gd name="connsiteY143" fmla="*/ 816769 h 3352800"/>
                  <a:gd name="connsiteX144" fmla="*/ 119063 w 8801100"/>
                  <a:gd name="connsiteY144" fmla="*/ 826294 h 3352800"/>
                  <a:gd name="connsiteX145" fmla="*/ 71437 w 8801100"/>
                  <a:gd name="connsiteY145" fmla="*/ 792957 h 3352800"/>
                  <a:gd name="connsiteX146" fmla="*/ 0 w 8801100"/>
                  <a:gd name="connsiteY146" fmla="*/ 812006 h 3352800"/>
                  <a:gd name="connsiteX147" fmla="*/ 4762 w 8801100"/>
                  <a:gd name="connsiteY147" fmla="*/ 0 h 3352800"/>
                  <a:gd name="connsiteX148" fmla="*/ 6748463 w 8801100"/>
                  <a:gd name="connsiteY148" fmla="*/ 3352800 h 3352800"/>
                  <a:gd name="connsiteX149" fmla="*/ 6698456 w 8801100"/>
                  <a:gd name="connsiteY149" fmla="*/ 3321843 h 3352800"/>
                  <a:gd name="connsiteX150" fmla="*/ 6638925 w 8801100"/>
                  <a:gd name="connsiteY150" fmla="*/ 3267075 h 3352800"/>
                  <a:gd name="connsiteX151" fmla="*/ 6619875 w 8801100"/>
                  <a:gd name="connsiteY151" fmla="*/ 3209925 h 3352800"/>
                  <a:gd name="connsiteX152" fmla="*/ 6584156 w 8801100"/>
                  <a:gd name="connsiteY152" fmla="*/ 3176588 h 3352800"/>
                  <a:gd name="connsiteX153" fmla="*/ 6610350 w 8801100"/>
                  <a:gd name="connsiteY153" fmla="*/ 3124200 h 3352800"/>
                  <a:gd name="connsiteX154" fmla="*/ 6650831 w 8801100"/>
                  <a:gd name="connsiteY154" fmla="*/ 2945606 h 3352800"/>
                  <a:gd name="connsiteX155" fmla="*/ 6691313 w 8801100"/>
                  <a:gd name="connsiteY155" fmla="*/ 2878931 h 3352800"/>
                  <a:gd name="connsiteX156" fmla="*/ 6836569 w 8801100"/>
                  <a:gd name="connsiteY156" fmla="*/ 2862262 h 3352800"/>
                  <a:gd name="connsiteX157" fmla="*/ 6905625 w 8801100"/>
                  <a:gd name="connsiteY157" fmla="*/ 2919413 h 3352800"/>
                  <a:gd name="connsiteX158" fmla="*/ 6981825 w 8801100"/>
                  <a:gd name="connsiteY158" fmla="*/ 2943225 h 3352800"/>
                  <a:gd name="connsiteX159" fmla="*/ 7186612 w 8801100"/>
                  <a:gd name="connsiteY159" fmla="*/ 2947988 h 3352800"/>
                  <a:gd name="connsiteX160" fmla="*/ 7362825 w 8801100"/>
                  <a:gd name="connsiteY160" fmla="*/ 2809875 h 3352800"/>
                  <a:gd name="connsiteX161" fmla="*/ 7419975 w 8801100"/>
                  <a:gd name="connsiteY161" fmla="*/ 2719387 h 3352800"/>
                  <a:gd name="connsiteX162" fmla="*/ 7446169 w 8801100"/>
                  <a:gd name="connsiteY162" fmla="*/ 2636044 h 3352800"/>
                  <a:gd name="connsiteX163" fmla="*/ 7577137 w 8801100"/>
                  <a:gd name="connsiteY163" fmla="*/ 2636044 h 3352800"/>
                  <a:gd name="connsiteX164" fmla="*/ 7750969 w 8801100"/>
                  <a:gd name="connsiteY164" fmla="*/ 2578893 h 3352800"/>
                  <a:gd name="connsiteX165" fmla="*/ 7810500 w 8801100"/>
                  <a:gd name="connsiteY165" fmla="*/ 2466975 h 3352800"/>
                  <a:gd name="connsiteX166" fmla="*/ 7874794 w 8801100"/>
                  <a:gd name="connsiteY166" fmla="*/ 2431256 h 3352800"/>
                  <a:gd name="connsiteX167" fmla="*/ 7853363 w 8801100"/>
                  <a:gd name="connsiteY167" fmla="*/ 2386013 h 3352800"/>
                  <a:gd name="connsiteX168" fmla="*/ 7931944 w 8801100"/>
                  <a:gd name="connsiteY168" fmla="*/ 2216943 h 3352800"/>
                  <a:gd name="connsiteX169" fmla="*/ 7986713 w 8801100"/>
                  <a:gd name="connsiteY169" fmla="*/ 2157413 h 3352800"/>
                  <a:gd name="connsiteX170" fmla="*/ 8024813 w 8801100"/>
                  <a:gd name="connsiteY170" fmla="*/ 2152650 h 3352800"/>
                  <a:gd name="connsiteX171" fmla="*/ 8070056 w 8801100"/>
                  <a:gd name="connsiteY171" fmla="*/ 2157413 h 3352800"/>
                  <a:gd name="connsiteX172" fmla="*/ 8134350 w 8801100"/>
                  <a:gd name="connsiteY172" fmla="*/ 2124075 h 3352800"/>
                  <a:gd name="connsiteX173" fmla="*/ 8143875 w 8801100"/>
                  <a:gd name="connsiteY173" fmla="*/ 2059781 h 3352800"/>
                  <a:gd name="connsiteX174" fmla="*/ 8184355 w 8801100"/>
                  <a:gd name="connsiteY174" fmla="*/ 2024063 h 3352800"/>
                  <a:gd name="connsiteX175" fmla="*/ 8243888 w 8801100"/>
                  <a:gd name="connsiteY175" fmla="*/ 2064543 h 3352800"/>
                  <a:gd name="connsiteX176" fmla="*/ 8270082 w 8801100"/>
                  <a:gd name="connsiteY176" fmla="*/ 2014537 h 3352800"/>
                  <a:gd name="connsiteX177" fmla="*/ 8365331 w 8801100"/>
                  <a:gd name="connsiteY177" fmla="*/ 1945481 h 3352800"/>
                  <a:gd name="connsiteX178" fmla="*/ 8427244 w 8801100"/>
                  <a:gd name="connsiteY178" fmla="*/ 1952625 h 3352800"/>
                  <a:gd name="connsiteX179" fmla="*/ 8477250 w 8801100"/>
                  <a:gd name="connsiteY179" fmla="*/ 1933575 h 3352800"/>
                  <a:gd name="connsiteX180" fmla="*/ 8515350 w 8801100"/>
                  <a:gd name="connsiteY180" fmla="*/ 1905000 h 3352800"/>
                  <a:gd name="connsiteX181" fmla="*/ 8548688 w 8801100"/>
                  <a:gd name="connsiteY181" fmla="*/ 1902619 h 3352800"/>
                  <a:gd name="connsiteX182" fmla="*/ 8584406 w 8801100"/>
                  <a:gd name="connsiteY182" fmla="*/ 1933575 h 3352800"/>
                  <a:gd name="connsiteX183" fmla="*/ 8643938 w 8801100"/>
                  <a:gd name="connsiteY183" fmla="*/ 1933575 h 3352800"/>
                  <a:gd name="connsiteX184" fmla="*/ 8682037 w 8801100"/>
                  <a:gd name="connsiteY184" fmla="*/ 1914525 h 3352800"/>
                  <a:gd name="connsiteX185" fmla="*/ 8765381 w 8801100"/>
                  <a:gd name="connsiteY185" fmla="*/ 1916907 h 3352800"/>
                  <a:gd name="connsiteX186" fmla="*/ 8796338 w 8801100"/>
                  <a:gd name="connsiteY186" fmla="*/ 1871663 h 3352800"/>
                  <a:gd name="connsiteX187" fmla="*/ 8801100 w 8801100"/>
                  <a:gd name="connsiteY187" fmla="*/ 1809750 h 3352800"/>
                  <a:gd name="connsiteX188" fmla="*/ 8751093 w 8801100"/>
                  <a:gd name="connsiteY188" fmla="*/ 1769269 h 3352800"/>
                  <a:gd name="connsiteX189" fmla="*/ 8734425 w 8801100"/>
                  <a:gd name="connsiteY189" fmla="*/ 1714500 h 3352800"/>
                  <a:gd name="connsiteX190" fmla="*/ 8643938 w 8801100"/>
                  <a:gd name="connsiteY190" fmla="*/ 1652588 h 3352800"/>
                  <a:gd name="connsiteX191" fmla="*/ 8603456 w 8801100"/>
                  <a:gd name="connsiteY191" fmla="*/ 1631156 h 3352800"/>
                  <a:gd name="connsiteX192" fmla="*/ 8565356 w 8801100"/>
                  <a:gd name="connsiteY192" fmla="*/ 1585913 h 3352800"/>
                  <a:gd name="connsiteX193" fmla="*/ 8534400 w 8801100"/>
                  <a:gd name="connsiteY193" fmla="*/ 1583531 h 3352800"/>
                  <a:gd name="connsiteX194" fmla="*/ 8517731 w 8801100"/>
                  <a:gd name="connsiteY194" fmla="*/ 1531144 h 3352800"/>
                  <a:gd name="connsiteX195" fmla="*/ 8477250 w 8801100"/>
                  <a:gd name="connsiteY195" fmla="*/ 1514475 h 3352800"/>
                  <a:gd name="connsiteX196" fmla="*/ 8477250 w 8801100"/>
                  <a:gd name="connsiteY196" fmla="*/ 1514475 h 3352800"/>
                  <a:gd name="connsiteX197" fmla="*/ 8436769 w 8801100"/>
                  <a:gd name="connsiteY197" fmla="*/ 1519238 h 3352800"/>
                  <a:gd name="connsiteX198" fmla="*/ 8351043 w 8801100"/>
                  <a:gd name="connsiteY198" fmla="*/ 1445419 h 3352800"/>
                  <a:gd name="connsiteX199" fmla="*/ 8170069 w 8801100"/>
                  <a:gd name="connsiteY199" fmla="*/ 1445418 h 3352800"/>
                  <a:gd name="connsiteX200" fmla="*/ 8117681 w 8801100"/>
                  <a:gd name="connsiteY200" fmla="*/ 1483519 h 3352800"/>
                  <a:gd name="connsiteX201" fmla="*/ 8067675 w 8801100"/>
                  <a:gd name="connsiteY201" fmla="*/ 1562100 h 3352800"/>
                  <a:gd name="connsiteX202" fmla="*/ 8084344 w 8801100"/>
                  <a:gd name="connsiteY202" fmla="*/ 1583531 h 3352800"/>
                  <a:gd name="connsiteX203" fmla="*/ 8039100 w 8801100"/>
                  <a:gd name="connsiteY203" fmla="*/ 1633537 h 3352800"/>
                  <a:gd name="connsiteX204" fmla="*/ 7889081 w 8801100"/>
                  <a:gd name="connsiteY204" fmla="*/ 1557337 h 3352800"/>
                  <a:gd name="connsiteX205" fmla="*/ 7798594 w 8801100"/>
                  <a:gd name="connsiteY205" fmla="*/ 1593056 h 3352800"/>
                  <a:gd name="connsiteX206" fmla="*/ 7724775 w 8801100"/>
                  <a:gd name="connsiteY206" fmla="*/ 1590675 h 3352800"/>
                  <a:gd name="connsiteX207" fmla="*/ 7667625 w 8801100"/>
                  <a:gd name="connsiteY207" fmla="*/ 1685925 h 3352800"/>
                  <a:gd name="connsiteX208" fmla="*/ 7529513 w 8801100"/>
                  <a:gd name="connsiteY208" fmla="*/ 1588294 h 3352800"/>
                  <a:gd name="connsiteX0" fmla="*/ 7529513 w 8801100"/>
                  <a:gd name="connsiteY0" fmla="*/ 1588294 h 3321843"/>
                  <a:gd name="connsiteX1" fmla="*/ 7522369 w 8801100"/>
                  <a:gd name="connsiteY1" fmla="*/ 1533525 h 3321843"/>
                  <a:gd name="connsiteX2" fmla="*/ 7589044 w 8801100"/>
                  <a:gd name="connsiteY2" fmla="*/ 1459706 h 3321843"/>
                  <a:gd name="connsiteX3" fmla="*/ 7572375 w 8801100"/>
                  <a:gd name="connsiteY3" fmla="*/ 1388269 h 3321843"/>
                  <a:gd name="connsiteX4" fmla="*/ 7586663 w 8801100"/>
                  <a:gd name="connsiteY4" fmla="*/ 1293019 h 3321843"/>
                  <a:gd name="connsiteX5" fmla="*/ 7624763 w 8801100"/>
                  <a:gd name="connsiteY5" fmla="*/ 1235869 h 3321843"/>
                  <a:gd name="connsiteX6" fmla="*/ 7605712 w 8801100"/>
                  <a:gd name="connsiteY6" fmla="*/ 1202531 h 3321843"/>
                  <a:gd name="connsiteX7" fmla="*/ 7703343 w 8801100"/>
                  <a:gd name="connsiteY7" fmla="*/ 802481 h 3321843"/>
                  <a:gd name="connsiteX8" fmla="*/ 7696200 w 8801100"/>
                  <a:gd name="connsiteY8" fmla="*/ 773906 h 3321843"/>
                  <a:gd name="connsiteX9" fmla="*/ 7567613 w 8801100"/>
                  <a:gd name="connsiteY9" fmla="*/ 752475 h 3321843"/>
                  <a:gd name="connsiteX10" fmla="*/ 7384257 w 8801100"/>
                  <a:gd name="connsiteY10" fmla="*/ 831056 h 3321843"/>
                  <a:gd name="connsiteX11" fmla="*/ 7227093 w 8801100"/>
                  <a:gd name="connsiteY11" fmla="*/ 716756 h 3321843"/>
                  <a:gd name="connsiteX12" fmla="*/ 7150894 w 8801100"/>
                  <a:gd name="connsiteY12" fmla="*/ 723900 h 3321843"/>
                  <a:gd name="connsiteX13" fmla="*/ 7077075 w 8801100"/>
                  <a:gd name="connsiteY13" fmla="*/ 719138 h 3321843"/>
                  <a:gd name="connsiteX14" fmla="*/ 6938963 w 8801100"/>
                  <a:gd name="connsiteY14" fmla="*/ 823913 h 3321843"/>
                  <a:gd name="connsiteX15" fmla="*/ 6831806 w 8801100"/>
                  <a:gd name="connsiteY15" fmla="*/ 931069 h 3321843"/>
                  <a:gd name="connsiteX16" fmla="*/ 6788944 w 8801100"/>
                  <a:gd name="connsiteY16" fmla="*/ 1000125 h 3321843"/>
                  <a:gd name="connsiteX17" fmla="*/ 6796088 w 8801100"/>
                  <a:gd name="connsiteY17" fmla="*/ 1035844 h 3321843"/>
                  <a:gd name="connsiteX18" fmla="*/ 6734175 w 8801100"/>
                  <a:gd name="connsiteY18" fmla="*/ 1047750 h 3321843"/>
                  <a:gd name="connsiteX19" fmla="*/ 6753225 w 8801100"/>
                  <a:gd name="connsiteY19" fmla="*/ 1047750 h 3321843"/>
                  <a:gd name="connsiteX20" fmla="*/ 6719888 w 8801100"/>
                  <a:gd name="connsiteY20" fmla="*/ 1078706 h 3321843"/>
                  <a:gd name="connsiteX21" fmla="*/ 6619875 w 8801100"/>
                  <a:gd name="connsiteY21" fmla="*/ 1078707 h 3321843"/>
                  <a:gd name="connsiteX22" fmla="*/ 6524625 w 8801100"/>
                  <a:gd name="connsiteY22" fmla="*/ 1133475 h 3321843"/>
                  <a:gd name="connsiteX23" fmla="*/ 6443663 w 8801100"/>
                  <a:gd name="connsiteY23" fmla="*/ 1143000 h 3321843"/>
                  <a:gd name="connsiteX24" fmla="*/ 6403181 w 8801100"/>
                  <a:gd name="connsiteY24" fmla="*/ 1176338 h 3321843"/>
                  <a:gd name="connsiteX25" fmla="*/ 6353175 w 8801100"/>
                  <a:gd name="connsiteY25" fmla="*/ 1181100 h 3321843"/>
                  <a:gd name="connsiteX26" fmla="*/ 6231732 w 8801100"/>
                  <a:gd name="connsiteY26" fmla="*/ 1273969 h 3321843"/>
                  <a:gd name="connsiteX27" fmla="*/ 6172200 w 8801100"/>
                  <a:gd name="connsiteY27" fmla="*/ 1278731 h 3321843"/>
                  <a:gd name="connsiteX28" fmla="*/ 6119813 w 8801100"/>
                  <a:gd name="connsiteY28" fmla="*/ 1243013 h 3321843"/>
                  <a:gd name="connsiteX29" fmla="*/ 6093619 w 8801100"/>
                  <a:gd name="connsiteY29" fmla="*/ 1278731 h 3321843"/>
                  <a:gd name="connsiteX30" fmla="*/ 5895975 w 8801100"/>
                  <a:gd name="connsiteY30" fmla="*/ 1271588 h 3321843"/>
                  <a:gd name="connsiteX31" fmla="*/ 5834063 w 8801100"/>
                  <a:gd name="connsiteY31" fmla="*/ 1226344 h 3321843"/>
                  <a:gd name="connsiteX32" fmla="*/ 5636419 w 8801100"/>
                  <a:gd name="connsiteY32" fmla="*/ 1243013 h 3321843"/>
                  <a:gd name="connsiteX33" fmla="*/ 5548313 w 8801100"/>
                  <a:gd name="connsiteY33" fmla="*/ 1159668 h 3321843"/>
                  <a:gd name="connsiteX34" fmla="*/ 5472113 w 8801100"/>
                  <a:gd name="connsiteY34" fmla="*/ 1114425 h 3321843"/>
                  <a:gd name="connsiteX35" fmla="*/ 5474493 w 8801100"/>
                  <a:gd name="connsiteY35" fmla="*/ 1057275 h 3321843"/>
                  <a:gd name="connsiteX36" fmla="*/ 5455444 w 8801100"/>
                  <a:gd name="connsiteY36" fmla="*/ 1014412 h 3321843"/>
                  <a:gd name="connsiteX37" fmla="*/ 5360194 w 8801100"/>
                  <a:gd name="connsiteY37" fmla="*/ 1016794 h 3321843"/>
                  <a:gd name="connsiteX38" fmla="*/ 5264944 w 8801100"/>
                  <a:gd name="connsiteY38" fmla="*/ 995363 h 3321843"/>
                  <a:gd name="connsiteX39" fmla="*/ 5195887 w 8801100"/>
                  <a:gd name="connsiteY39" fmla="*/ 928687 h 3321843"/>
                  <a:gd name="connsiteX40" fmla="*/ 5160169 w 8801100"/>
                  <a:gd name="connsiteY40" fmla="*/ 885825 h 3321843"/>
                  <a:gd name="connsiteX41" fmla="*/ 5079206 w 8801100"/>
                  <a:gd name="connsiteY41" fmla="*/ 862012 h 3321843"/>
                  <a:gd name="connsiteX42" fmla="*/ 5005388 w 8801100"/>
                  <a:gd name="connsiteY42" fmla="*/ 873918 h 3321843"/>
                  <a:gd name="connsiteX43" fmla="*/ 4948237 w 8801100"/>
                  <a:gd name="connsiteY43" fmla="*/ 821531 h 3321843"/>
                  <a:gd name="connsiteX44" fmla="*/ 4852988 w 8801100"/>
                  <a:gd name="connsiteY44" fmla="*/ 833438 h 3321843"/>
                  <a:gd name="connsiteX45" fmla="*/ 4800600 w 8801100"/>
                  <a:gd name="connsiteY45" fmla="*/ 807244 h 3321843"/>
                  <a:gd name="connsiteX46" fmla="*/ 4719638 w 8801100"/>
                  <a:gd name="connsiteY46" fmla="*/ 850106 h 3321843"/>
                  <a:gd name="connsiteX47" fmla="*/ 4581525 w 8801100"/>
                  <a:gd name="connsiteY47" fmla="*/ 873919 h 3321843"/>
                  <a:gd name="connsiteX48" fmla="*/ 4452938 w 8801100"/>
                  <a:gd name="connsiteY48" fmla="*/ 966788 h 3321843"/>
                  <a:gd name="connsiteX49" fmla="*/ 4405312 w 8801100"/>
                  <a:gd name="connsiteY49" fmla="*/ 928688 h 3321843"/>
                  <a:gd name="connsiteX50" fmla="*/ 4383881 w 8801100"/>
                  <a:gd name="connsiteY50" fmla="*/ 959643 h 3321843"/>
                  <a:gd name="connsiteX51" fmla="*/ 4310063 w 8801100"/>
                  <a:gd name="connsiteY51" fmla="*/ 909638 h 3321843"/>
                  <a:gd name="connsiteX52" fmla="*/ 4271963 w 8801100"/>
                  <a:gd name="connsiteY52" fmla="*/ 916781 h 3321843"/>
                  <a:gd name="connsiteX53" fmla="*/ 4250531 w 8801100"/>
                  <a:gd name="connsiteY53" fmla="*/ 878681 h 3321843"/>
                  <a:gd name="connsiteX54" fmla="*/ 4191000 w 8801100"/>
                  <a:gd name="connsiteY54" fmla="*/ 883444 h 3321843"/>
                  <a:gd name="connsiteX55" fmla="*/ 4145756 w 8801100"/>
                  <a:gd name="connsiteY55" fmla="*/ 854869 h 3321843"/>
                  <a:gd name="connsiteX56" fmla="*/ 4107656 w 8801100"/>
                  <a:gd name="connsiteY56" fmla="*/ 852488 h 3321843"/>
                  <a:gd name="connsiteX57" fmla="*/ 4088606 w 8801100"/>
                  <a:gd name="connsiteY57" fmla="*/ 804862 h 3321843"/>
                  <a:gd name="connsiteX58" fmla="*/ 4074319 w 8801100"/>
                  <a:gd name="connsiteY58" fmla="*/ 773906 h 3321843"/>
                  <a:gd name="connsiteX59" fmla="*/ 4029075 w 8801100"/>
                  <a:gd name="connsiteY59" fmla="*/ 783431 h 3321843"/>
                  <a:gd name="connsiteX60" fmla="*/ 4010025 w 8801100"/>
                  <a:gd name="connsiteY60" fmla="*/ 747713 h 3321843"/>
                  <a:gd name="connsiteX61" fmla="*/ 4031457 w 8801100"/>
                  <a:gd name="connsiteY61" fmla="*/ 692944 h 3321843"/>
                  <a:gd name="connsiteX62" fmla="*/ 4000500 w 8801100"/>
                  <a:gd name="connsiteY62" fmla="*/ 666750 h 3321843"/>
                  <a:gd name="connsiteX63" fmla="*/ 4017169 w 8801100"/>
                  <a:gd name="connsiteY63" fmla="*/ 623888 h 3321843"/>
                  <a:gd name="connsiteX64" fmla="*/ 3990975 w 8801100"/>
                  <a:gd name="connsiteY64" fmla="*/ 581025 h 3321843"/>
                  <a:gd name="connsiteX65" fmla="*/ 3986213 w 8801100"/>
                  <a:gd name="connsiteY65" fmla="*/ 519113 h 3321843"/>
                  <a:gd name="connsiteX66" fmla="*/ 4010025 w 8801100"/>
                  <a:gd name="connsiteY66" fmla="*/ 454818 h 3321843"/>
                  <a:gd name="connsiteX67" fmla="*/ 3971925 w 8801100"/>
                  <a:gd name="connsiteY67" fmla="*/ 457200 h 3321843"/>
                  <a:gd name="connsiteX68" fmla="*/ 3852863 w 8801100"/>
                  <a:gd name="connsiteY68" fmla="*/ 400050 h 3321843"/>
                  <a:gd name="connsiteX69" fmla="*/ 3814762 w 8801100"/>
                  <a:gd name="connsiteY69" fmla="*/ 404812 h 3321843"/>
                  <a:gd name="connsiteX70" fmla="*/ 3609975 w 8801100"/>
                  <a:gd name="connsiteY70" fmla="*/ 295275 h 3321843"/>
                  <a:gd name="connsiteX71" fmla="*/ 3505200 w 8801100"/>
                  <a:gd name="connsiteY71" fmla="*/ 264319 h 3321843"/>
                  <a:gd name="connsiteX72" fmla="*/ 3440906 w 8801100"/>
                  <a:gd name="connsiteY72" fmla="*/ 273843 h 3321843"/>
                  <a:gd name="connsiteX73" fmla="*/ 3409950 w 8801100"/>
                  <a:gd name="connsiteY73" fmla="*/ 209550 h 3321843"/>
                  <a:gd name="connsiteX74" fmla="*/ 3352800 w 8801100"/>
                  <a:gd name="connsiteY74" fmla="*/ 209550 h 3321843"/>
                  <a:gd name="connsiteX75" fmla="*/ 3214687 w 8801100"/>
                  <a:gd name="connsiteY75" fmla="*/ 104775 h 3321843"/>
                  <a:gd name="connsiteX76" fmla="*/ 3181350 w 8801100"/>
                  <a:gd name="connsiteY76" fmla="*/ 164307 h 3321843"/>
                  <a:gd name="connsiteX77" fmla="*/ 3126581 w 8801100"/>
                  <a:gd name="connsiteY77" fmla="*/ 233363 h 3321843"/>
                  <a:gd name="connsiteX78" fmla="*/ 3083719 w 8801100"/>
                  <a:gd name="connsiteY78" fmla="*/ 250031 h 3321843"/>
                  <a:gd name="connsiteX79" fmla="*/ 3052763 w 8801100"/>
                  <a:gd name="connsiteY79" fmla="*/ 242888 h 3321843"/>
                  <a:gd name="connsiteX80" fmla="*/ 3028950 w 8801100"/>
                  <a:gd name="connsiteY80" fmla="*/ 271463 h 3321843"/>
                  <a:gd name="connsiteX81" fmla="*/ 3002756 w 8801100"/>
                  <a:gd name="connsiteY81" fmla="*/ 350044 h 3321843"/>
                  <a:gd name="connsiteX82" fmla="*/ 2959894 w 8801100"/>
                  <a:gd name="connsiteY82" fmla="*/ 347663 h 3321843"/>
                  <a:gd name="connsiteX83" fmla="*/ 2928937 w 8801100"/>
                  <a:gd name="connsiteY83" fmla="*/ 409575 h 3321843"/>
                  <a:gd name="connsiteX84" fmla="*/ 2924175 w 8801100"/>
                  <a:gd name="connsiteY84" fmla="*/ 473869 h 3321843"/>
                  <a:gd name="connsiteX85" fmla="*/ 2897982 w 8801100"/>
                  <a:gd name="connsiteY85" fmla="*/ 511969 h 3321843"/>
                  <a:gd name="connsiteX86" fmla="*/ 2924175 w 8801100"/>
                  <a:gd name="connsiteY86" fmla="*/ 571500 h 3321843"/>
                  <a:gd name="connsiteX87" fmla="*/ 2926556 w 8801100"/>
                  <a:gd name="connsiteY87" fmla="*/ 640556 h 3321843"/>
                  <a:gd name="connsiteX88" fmla="*/ 2955131 w 8801100"/>
                  <a:gd name="connsiteY88" fmla="*/ 692944 h 3321843"/>
                  <a:gd name="connsiteX89" fmla="*/ 3002757 w 8801100"/>
                  <a:gd name="connsiteY89" fmla="*/ 747713 h 3321843"/>
                  <a:gd name="connsiteX90" fmla="*/ 2952750 w 8801100"/>
                  <a:gd name="connsiteY90" fmla="*/ 885825 h 3321843"/>
                  <a:gd name="connsiteX91" fmla="*/ 2883694 w 8801100"/>
                  <a:gd name="connsiteY91" fmla="*/ 952500 h 3321843"/>
                  <a:gd name="connsiteX92" fmla="*/ 2812256 w 8801100"/>
                  <a:gd name="connsiteY92" fmla="*/ 947738 h 3321843"/>
                  <a:gd name="connsiteX93" fmla="*/ 2774156 w 8801100"/>
                  <a:gd name="connsiteY93" fmla="*/ 1004888 h 3321843"/>
                  <a:gd name="connsiteX94" fmla="*/ 2714625 w 8801100"/>
                  <a:gd name="connsiteY94" fmla="*/ 1019175 h 3321843"/>
                  <a:gd name="connsiteX95" fmla="*/ 2645569 w 8801100"/>
                  <a:gd name="connsiteY95" fmla="*/ 959644 h 3321843"/>
                  <a:gd name="connsiteX96" fmla="*/ 2590800 w 8801100"/>
                  <a:gd name="connsiteY96" fmla="*/ 931069 h 3321843"/>
                  <a:gd name="connsiteX97" fmla="*/ 2547938 w 8801100"/>
                  <a:gd name="connsiteY97" fmla="*/ 945356 h 3321843"/>
                  <a:gd name="connsiteX98" fmla="*/ 2495550 w 8801100"/>
                  <a:gd name="connsiteY98" fmla="*/ 928688 h 3321843"/>
                  <a:gd name="connsiteX99" fmla="*/ 2428875 w 8801100"/>
                  <a:gd name="connsiteY99" fmla="*/ 873919 h 3321843"/>
                  <a:gd name="connsiteX100" fmla="*/ 2383631 w 8801100"/>
                  <a:gd name="connsiteY100" fmla="*/ 885825 h 3321843"/>
                  <a:gd name="connsiteX101" fmla="*/ 2362200 w 8801100"/>
                  <a:gd name="connsiteY101" fmla="*/ 854869 h 3321843"/>
                  <a:gd name="connsiteX102" fmla="*/ 2305050 w 8801100"/>
                  <a:gd name="connsiteY102" fmla="*/ 895350 h 3321843"/>
                  <a:gd name="connsiteX103" fmla="*/ 2188369 w 8801100"/>
                  <a:gd name="connsiteY103" fmla="*/ 873919 h 3321843"/>
                  <a:gd name="connsiteX104" fmla="*/ 2138363 w 8801100"/>
                  <a:gd name="connsiteY104" fmla="*/ 821531 h 3321843"/>
                  <a:gd name="connsiteX105" fmla="*/ 2095500 w 8801100"/>
                  <a:gd name="connsiteY105" fmla="*/ 807244 h 3321843"/>
                  <a:gd name="connsiteX106" fmla="*/ 2052638 w 8801100"/>
                  <a:gd name="connsiteY106" fmla="*/ 833438 h 3321843"/>
                  <a:gd name="connsiteX107" fmla="*/ 2000250 w 8801100"/>
                  <a:gd name="connsiteY107" fmla="*/ 742950 h 3321843"/>
                  <a:gd name="connsiteX108" fmla="*/ 1990725 w 8801100"/>
                  <a:gd name="connsiteY108" fmla="*/ 595312 h 3321843"/>
                  <a:gd name="connsiteX109" fmla="*/ 1938337 w 8801100"/>
                  <a:gd name="connsiteY109" fmla="*/ 588168 h 3321843"/>
                  <a:gd name="connsiteX110" fmla="*/ 1847850 w 8801100"/>
                  <a:gd name="connsiteY110" fmla="*/ 578644 h 3321843"/>
                  <a:gd name="connsiteX111" fmla="*/ 1793081 w 8801100"/>
                  <a:gd name="connsiteY111" fmla="*/ 540544 h 3321843"/>
                  <a:gd name="connsiteX112" fmla="*/ 1724025 w 8801100"/>
                  <a:gd name="connsiteY112" fmla="*/ 550069 h 3321843"/>
                  <a:gd name="connsiteX113" fmla="*/ 1678781 w 8801100"/>
                  <a:gd name="connsiteY113" fmla="*/ 523875 h 3321843"/>
                  <a:gd name="connsiteX114" fmla="*/ 1669257 w 8801100"/>
                  <a:gd name="connsiteY114" fmla="*/ 452438 h 3321843"/>
                  <a:gd name="connsiteX115" fmla="*/ 1645444 w 8801100"/>
                  <a:gd name="connsiteY115" fmla="*/ 438150 h 3321843"/>
                  <a:gd name="connsiteX116" fmla="*/ 1607344 w 8801100"/>
                  <a:gd name="connsiteY116" fmla="*/ 485774 h 3321843"/>
                  <a:gd name="connsiteX117" fmla="*/ 1528762 w 8801100"/>
                  <a:gd name="connsiteY117" fmla="*/ 411956 h 3321843"/>
                  <a:gd name="connsiteX118" fmla="*/ 1488281 w 8801100"/>
                  <a:gd name="connsiteY118" fmla="*/ 452438 h 3321843"/>
                  <a:gd name="connsiteX119" fmla="*/ 1412081 w 8801100"/>
                  <a:gd name="connsiteY119" fmla="*/ 438150 h 3321843"/>
                  <a:gd name="connsiteX120" fmla="*/ 1333500 w 8801100"/>
                  <a:gd name="connsiteY120" fmla="*/ 464344 h 3321843"/>
                  <a:gd name="connsiteX121" fmla="*/ 1273969 w 8801100"/>
                  <a:gd name="connsiteY121" fmla="*/ 511968 h 3321843"/>
                  <a:gd name="connsiteX122" fmla="*/ 1200150 w 8801100"/>
                  <a:gd name="connsiteY122" fmla="*/ 523875 h 3321843"/>
                  <a:gd name="connsiteX123" fmla="*/ 1164431 w 8801100"/>
                  <a:gd name="connsiteY123" fmla="*/ 516731 h 3321843"/>
                  <a:gd name="connsiteX124" fmla="*/ 1085851 w 8801100"/>
                  <a:gd name="connsiteY124" fmla="*/ 547688 h 3321843"/>
                  <a:gd name="connsiteX125" fmla="*/ 1064419 w 8801100"/>
                  <a:gd name="connsiteY125" fmla="*/ 576263 h 3321843"/>
                  <a:gd name="connsiteX126" fmla="*/ 997744 w 8801100"/>
                  <a:gd name="connsiteY126" fmla="*/ 566738 h 3321843"/>
                  <a:gd name="connsiteX127" fmla="*/ 928688 w 8801100"/>
                  <a:gd name="connsiteY127" fmla="*/ 590550 h 3321843"/>
                  <a:gd name="connsiteX128" fmla="*/ 873919 w 8801100"/>
                  <a:gd name="connsiteY128" fmla="*/ 628650 h 3321843"/>
                  <a:gd name="connsiteX129" fmla="*/ 778669 w 8801100"/>
                  <a:gd name="connsiteY129" fmla="*/ 642937 h 3321843"/>
                  <a:gd name="connsiteX130" fmla="*/ 764381 w 8801100"/>
                  <a:gd name="connsiteY130" fmla="*/ 664369 h 3321843"/>
                  <a:gd name="connsiteX131" fmla="*/ 776287 w 8801100"/>
                  <a:gd name="connsiteY131" fmla="*/ 709613 h 3321843"/>
                  <a:gd name="connsiteX132" fmla="*/ 676276 w 8801100"/>
                  <a:gd name="connsiteY132" fmla="*/ 762000 h 3321843"/>
                  <a:gd name="connsiteX133" fmla="*/ 638175 w 8801100"/>
                  <a:gd name="connsiteY133" fmla="*/ 733424 h 3321843"/>
                  <a:gd name="connsiteX134" fmla="*/ 607219 w 8801100"/>
                  <a:gd name="connsiteY134" fmla="*/ 790575 h 3321843"/>
                  <a:gd name="connsiteX135" fmla="*/ 550069 w 8801100"/>
                  <a:gd name="connsiteY135" fmla="*/ 752475 h 3321843"/>
                  <a:gd name="connsiteX136" fmla="*/ 514350 w 8801100"/>
                  <a:gd name="connsiteY136" fmla="*/ 781050 h 3321843"/>
                  <a:gd name="connsiteX137" fmla="*/ 478631 w 8801100"/>
                  <a:gd name="connsiteY137" fmla="*/ 745331 h 3321843"/>
                  <a:gd name="connsiteX138" fmla="*/ 426244 w 8801100"/>
                  <a:gd name="connsiteY138" fmla="*/ 757238 h 3321843"/>
                  <a:gd name="connsiteX139" fmla="*/ 381000 w 8801100"/>
                  <a:gd name="connsiteY139" fmla="*/ 728663 h 3321843"/>
                  <a:gd name="connsiteX140" fmla="*/ 357188 w 8801100"/>
                  <a:gd name="connsiteY140" fmla="*/ 747713 h 3321843"/>
                  <a:gd name="connsiteX141" fmla="*/ 333375 w 8801100"/>
                  <a:gd name="connsiteY141" fmla="*/ 807244 h 3321843"/>
                  <a:gd name="connsiteX142" fmla="*/ 261938 w 8801100"/>
                  <a:gd name="connsiteY142" fmla="*/ 845343 h 3321843"/>
                  <a:gd name="connsiteX143" fmla="*/ 209550 w 8801100"/>
                  <a:gd name="connsiteY143" fmla="*/ 816769 h 3321843"/>
                  <a:gd name="connsiteX144" fmla="*/ 119063 w 8801100"/>
                  <a:gd name="connsiteY144" fmla="*/ 826294 h 3321843"/>
                  <a:gd name="connsiteX145" fmla="*/ 71437 w 8801100"/>
                  <a:gd name="connsiteY145" fmla="*/ 792957 h 3321843"/>
                  <a:gd name="connsiteX146" fmla="*/ 0 w 8801100"/>
                  <a:gd name="connsiteY146" fmla="*/ 812006 h 3321843"/>
                  <a:gd name="connsiteX147" fmla="*/ 4762 w 8801100"/>
                  <a:gd name="connsiteY147" fmla="*/ 0 h 3321843"/>
                  <a:gd name="connsiteX148" fmla="*/ 6698456 w 8801100"/>
                  <a:gd name="connsiteY148" fmla="*/ 3321843 h 3321843"/>
                  <a:gd name="connsiteX149" fmla="*/ 6638925 w 8801100"/>
                  <a:gd name="connsiteY149" fmla="*/ 3267075 h 3321843"/>
                  <a:gd name="connsiteX150" fmla="*/ 6619875 w 8801100"/>
                  <a:gd name="connsiteY150" fmla="*/ 3209925 h 3321843"/>
                  <a:gd name="connsiteX151" fmla="*/ 6584156 w 8801100"/>
                  <a:gd name="connsiteY151" fmla="*/ 3176588 h 3321843"/>
                  <a:gd name="connsiteX152" fmla="*/ 6610350 w 8801100"/>
                  <a:gd name="connsiteY152" fmla="*/ 3124200 h 3321843"/>
                  <a:gd name="connsiteX153" fmla="*/ 6650831 w 8801100"/>
                  <a:gd name="connsiteY153" fmla="*/ 2945606 h 3321843"/>
                  <a:gd name="connsiteX154" fmla="*/ 6691313 w 8801100"/>
                  <a:gd name="connsiteY154" fmla="*/ 2878931 h 3321843"/>
                  <a:gd name="connsiteX155" fmla="*/ 6836569 w 8801100"/>
                  <a:gd name="connsiteY155" fmla="*/ 2862262 h 3321843"/>
                  <a:gd name="connsiteX156" fmla="*/ 6905625 w 8801100"/>
                  <a:gd name="connsiteY156" fmla="*/ 2919413 h 3321843"/>
                  <a:gd name="connsiteX157" fmla="*/ 6981825 w 8801100"/>
                  <a:gd name="connsiteY157" fmla="*/ 2943225 h 3321843"/>
                  <a:gd name="connsiteX158" fmla="*/ 7186612 w 8801100"/>
                  <a:gd name="connsiteY158" fmla="*/ 2947988 h 3321843"/>
                  <a:gd name="connsiteX159" fmla="*/ 7362825 w 8801100"/>
                  <a:gd name="connsiteY159" fmla="*/ 2809875 h 3321843"/>
                  <a:gd name="connsiteX160" fmla="*/ 7419975 w 8801100"/>
                  <a:gd name="connsiteY160" fmla="*/ 2719387 h 3321843"/>
                  <a:gd name="connsiteX161" fmla="*/ 7446169 w 8801100"/>
                  <a:gd name="connsiteY161" fmla="*/ 2636044 h 3321843"/>
                  <a:gd name="connsiteX162" fmla="*/ 7577137 w 8801100"/>
                  <a:gd name="connsiteY162" fmla="*/ 2636044 h 3321843"/>
                  <a:gd name="connsiteX163" fmla="*/ 7750969 w 8801100"/>
                  <a:gd name="connsiteY163" fmla="*/ 2578893 h 3321843"/>
                  <a:gd name="connsiteX164" fmla="*/ 7810500 w 8801100"/>
                  <a:gd name="connsiteY164" fmla="*/ 2466975 h 3321843"/>
                  <a:gd name="connsiteX165" fmla="*/ 7874794 w 8801100"/>
                  <a:gd name="connsiteY165" fmla="*/ 2431256 h 3321843"/>
                  <a:gd name="connsiteX166" fmla="*/ 7853363 w 8801100"/>
                  <a:gd name="connsiteY166" fmla="*/ 2386013 h 3321843"/>
                  <a:gd name="connsiteX167" fmla="*/ 7931944 w 8801100"/>
                  <a:gd name="connsiteY167" fmla="*/ 2216943 h 3321843"/>
                  <a:gd name="connsiteX168" fmla="*/ 7986713 w 8801100"/>
                  <a:gd name="connsiteY168" fmla="*/ 2157413 h 3321843"/>
                  <a:gd name="connsiteX169" fmla="*/ 8024813 w 8801100"/>
                  <a:gd name="connsiteY169" fmla="*/ 2152650 h 3321843"/>
                  <a:gd name="connsiteX170" fmla="*/ 8070056 w 8801100"/>
                  <a:gd name="connsiteY170" fmla="*/ 2157413 h 3321843"/>
                  <a:gd name="connsiteX171" fmla="*/ 8134350 w 8801100"/>
                  <a:gd name="connsiteY171" fmla="*/ 2124075 h 3321843"/>
                  <a:gd name="connsiteX172" fmla="*/ 8143875 w 8801100"/>
                  <a:gd name="connsiteY172" fmla="*/ 2059781 h 3321843"/>
                  <a:gd name="connsiteX173" fmla="*/ 8184355 w 8801100"/>
                  <a:gd name="connsiteY173" fmla="*/ 2024063 h 3321843"/>
                  <a:gd name="connsiteX174" fmla="*/ 8243888 w 8801100"/>
                  <a:gd name="connsiteY174" fmla="*/ 2064543 h 3321843"/>
                  <a:gd name="connsiteX175" fmla="*/ 8270082 w 8801100"/>
                  <a:gd name="connsiteY175" fmla="*/ 2014537 h 3321843"/>
                  <a:gd name="connsiteX176" fmla="*/ 8365331 w 8801100"/>
                  <a:gd name="connsiteY176" fmla="*/ 1945481 h 3321843"/>
                  <a:gd name="connsiteX177" fmla="*/ 8427244 w 8801100"/>
                  <a:gd name="connsiteY177" fmla="*/ 1952625 h 3321843"/>
                  <a:gd name="connsiteX178" fmla="*/ 8477250 w 8801100"/>
                  <a:gd name="connsiteY178" fmla="*/ 1933575 h 3321843"/>
                  <a:gd name="connsiteX179" fmla="*/ 8515350 w 8801100"/>
                  <a:gd name="connsiteY179" fmla="*/ 1905000 h 3321843"/>
                  <a:gd name="connsiteX180" fmla="*/ 8548688 w 8801100"/>
                  <a:gd name="connsiteY180" fmla="*/ 1902619 h 3321843"/>
                  <a:gd name="connsiteX181" fmla="*/ 8584406 w 8801100"/>
                  <a:gd name="connsiteY181" fmla="*/ 1933575 h 3321843"/>
                  <a:gd name="connsiteX182" fmla="*/ 8643938 w 8801100"/>
                  <a:gd name="connsiteY182" fmla="*/ 1933575 h 3321843"/>
                  <a:gd name="connsiteX183" fmla="*/ 8682037 w 8801100"/>
                  <a:gd name="connsiteY183" fmla="*/ 1914525 h 3321843"/>
                  <a:gd name="connsiteX184" fmla="*/ 8765381 w 8801100"/>
                  <a:gd name="connsiteY184" fmla="*/ 1916907 h 3321843"/>
                  <a:gd name="connsiteX185" fmla="*/ 8796338 w 8801100"/>
                  <a:gd name="connsiteY185" fmla="*/ 1871663 h 3321843"/>
                  <a:gd name="connsiteX186" fmla="*/ 8801100 w 8801100"/>
                  <a:gd name="connsiteY186" fmla="*/ 1809750 h 3321843"/>
                  <a:gd name="connsiteX187" fmla="*/ 8751093 w 8801100"/>
                  <a:gd name="connsiteY187" fmla="*/ 1769269 h 3321843"/>
                  <a:gd name="connsiteX188" fmla="*/ 8734425 w 8801100"/>
                  <a:gd name="connsiteY188" fmla="*/ 1714500 h 3321843"/>
                  <a:gd name="connsiteX189" fmla="*/ 8643938 w 8801100"/>
                  <a:gd name="connsiteY189" fmla="*/ 1652588 h 3321843"/>
                  <a:gd name="connsiteX190" fmla="*/ 8603456 w 8801100"/>
                  <a:gd name="connsiteY190" fmla="*/ 1631156 h 3321843"/>
                  <a:gd name="connsiteX191" fmla="*/ 8565356 w 8801100"/>
                  <a:gd name="connsiteY191" fmla="*/ 1585913 h 3321843"/>
                  <a:gd name="connsiteX192" fmla="*/ 8534400 w 8801100"/>
                  <a:gd name="connsiteY192" fmla="*/ 1583531 h 3321843"/>
                  <a:gd name="connsiteX193" fmla="*/ 8517731 w 8801100"/>
                  <a:gd name="connsiteY193" fmla="*/ 1531144 h 3321843"/>
                  <a:gd name="connsiteX194" fmla="*/ 8477250 w 8801100"/>
                  <a:gd name="connsiteY194" fmla="*/ 1514475 h 3321843"/>
                  <a:gd name="connsiteX195" fmla="*/ 8477250 w 8801100"/>
                  <a:gd name="connsiteY195" fmla="*/ 1514475 h 3321843"/>
                  <a:gd name="connsiteX196" fmla="*/ 8436769 w 8801100"/>
                  <a:gd name="connsiteY196" fmla="*/ 1519238 h 3321843"/>
                  <a:gd name="connsiteX197" fmla="*/ 8351043 w 8801100"/>
                  <a:gd name="connsiteY197" fmla="*/ 1445419 h 3321843"/>
                  <a:gd name="connsiteX198" fmla="*/ 8170069 w 8801100"/>
                  <a:gd name="connsiteY198" fmla="*/ 1445418 h 3321843"/>
                  <a:gd name="connsiteX199" fmla="*/ 8117681 w 8801100"/>
                  <a:gd name="connsiteY199" fmla="*/ 1483519 h 3321843"/>
                  <a:gd name="connsiteX200" fmla="*/ 8067675 w 8801100"/>
                  <a:gd name="connsiteY200" fmla="*/ 1562100 h 3321843"/>
                  <a:gd name="connsiteX201" fmla="*/ 8084344 w 8801100"/>
                  <a:gd name="connsiteY201" fmla="*/ 1583531 h 3321843"/>
                  <a:gd name="connsiteX202" fmla="*/ 8039100 w 8801100"/>
                  <a:gd name="connsiteY202" fmla="*/ 1633537 h 3321843"/>
                  <a:gd name="connsiteX203" fmla="*/ 7889081 w 8801100"/>
                  <a:gd name="connsiteY203" fmla="*/ 1557337 h 3321843"/>
                  <a:gd name="connsiteX204" fmla="*/ 7798594 w 8801100"/>
                  <a:gd name="connsiteY204" fmla="*/ 1593056 h 3321843"/>
                  <a:gd name="connsiteX205" fmla="*/ 7724775 w 8801100"/>
                  <a:gd name="connsiteY205" fmla="*/ 1590675 h 3321843"/>
                  <a:gd name="connsiteX206" fmla="*/ 7667625 w 8801100"/>
                  <a:gd name="connsiteY206" fmla="*/ 1685925 h 3321843"/>
                  <a:gd name="connsiteX207" fmla="*/ 7529513 w 8801100"/>
                  <a:gd name="connsiteY207" fmla="*/ 1588294 h 3321843"/>
                  <a:gd name="connsiteX0" fmla="*/ 7529513 w 8801100"/>
                  <a:gd name="connsiteY0" fmla="*/ 1588294 h 3267075"/>
                  <a:gd name="connsiteX1" fmla="*/ 7522369 w 8801100"/>
                  <a:gd name="connsiteY1" fmla="*/ 1533525 h 3267075"/>
                  <a:gd name="connsiteX2" fmla="*/ 7589044 w 8801100"/>
                  <a:gd name="connsiteY2" fmla="*/ 1459706 h 3267075"/>
                  <a:gd name="connsiteX3" fmla="*/ 7572375 w 8801100"/>
                  <a:gd name="connsiteY3" fmla="*/ 1388269 h 3267075"/>
                  <a:gd name="connsiteX4" fmla="*/ 7586663 w 8801100"/>
                  <a:gd name="connsiteY4" fmla="*/ 1293019 h 3267075"/>
                  <a:gd name="connsiteX5" fmla="*/ 7624763 w 8801100"/>
                  <a:gd name="connsiteY5" fmla="*/ 1235869 h 3267075"/>
                  <a:gd name="connsiteX6" fmla="*/ 7605712 w 8801100"/>
                  <a:gd name="connsiteY6" fmla="*/ 1202531 h 3267075"/>
                  <a:gd name="connsiteX7" fmla="*/ 7703343 w 8801100"/>
                  <a:gd name="connsiteY7" fmla="*/ 802481 h 3267075"/>
                  <a:gd name="connsiteX8" fmla="*/ 7696200 w 8801100"/>
                  <a:gd name="connsiteY8" fmla="*/ 773906 h 3267075"/>
                  <a:gd name="connsiteX9" fmla="*/ 7567613 w 8801100"/>
                  <a:gd name="connsiteY9" fmla="*/ 752475 h 3267075"/>
                  <a:gd name="connsiteX10" fmla="*/ 7384257 w 8801100"/>
                  <a:gd name="connsiteY10" fmla="*/ 831056 h 3267075"/>
                  <a:gd name="connsiteX11" fmla="*/ 7227093 w 8801100"/>
                  <a:gd name="connsiteY11" fmla="*/ 716756 h 3267075"/>
                  <a:gd name="connsiteX12" fmla="*/ 7150894 w 8801100"/>
                  <a:gd name="connsiteY12" fmla="*/ 723900 h 3267075"/>
                  <a:gd name="connsiteX13" fmla="*/ 7077075 w 8801100"/>
                  <a:gd name="connsiteY13" fmla="*/ 719138 h 3267075"/>
                  <a:gd name="connsiteX14" fmla="*/ 6938963 w 8801100"/>
                  <a:gd name="connsiteY14" fmla="*/ 823913 h 3267075"/>
                  <a:gd name="connsiteX15" fmla="*/ 6831806 w 8801100"/>
                  <a:gd name="connsiteY15" fmla="*/ 931069 h 3267075"/>
                  <a:gd name="connsiteX16" fmla="*/ 6788944 w 8801100"/>
                  <a:gd name="connsiteY16" fmla="*/ 1000125 h 3267075"/>
                  <a:gd name="connsiteX17" fmla="*/ 6796088 w 8801100"/>
                  <a:gd name="connsiteY17" fmla="*/ 1035844 h 3267075"/>
                  <a:gd name="connsiteX18" fmla="*/ 6734175 w 8801100"/>
                  <a:gd name="connsiteY18" fmla="*/ 1047750 h 3267075"/>
                  <a:gd name="connsiteX19" fmla="*/ 6753225 w 8801100"/>
                  <a:gd name="connsiteY19" fmla="*/ 1047750 h 3267075"/>
                  <a:gd name="connsiteX20" fmla="*/ 6719888 w 8801100"/>
                  <a:gd name="connsiteY20" fmla="*/ 1078706 h 3267075"/>
                  <a:gd name="connsiteX21" fmla="*/ 6619875 w 8801100"/>
                  <a:gd name="connsiteY21" fmla="*/ 1078707 h 3267075"/>
                  <a:gd name="connsiteX22" fmla="*/ 6524625 w 8801100"/>
                  <a:gd name="connsiteY22" fmla="*/ 1133475 h 3267075"/>
                  <a:gd name="connsiteX23" fmla="*/ 6443663 w 8801100"/>
                  <a:gd name="connsiteY23" fmla="*/ 1143000 h 3267075"/>
                  <a:gd name="connsiteX24" fmla="*/ 6403181 w 8801100"/>
                  <a:gd name="connsiteY24" fmla="*/ 1176338 h 3267075"/>
                  <a:gd name="connsiteX25" fmla="*/ 6353175 w 8801100"/>
                  <a:gd name="connsiteY25" fmla="*/ 1181100 h 3267075"/>
                  <a:gd name="connsiteX26" fmla="*/ 6231732 w 8801100"/>
                  <a:gd name="connsiteY26" fmla="*/ 1273969 h 3267075"/>
                  <a:gd name="connsiteX27" fmla="*/ 6172200 w 8801100"/>
                  <a:gd name="connsiteY27" fmla="*/ 1278731 h 3267075"/>
                  <a:gd name="connsiteX28" fmla="*/ 6119813 w 8801100"/>
                  <a:gd name="connsiteY28" fmla="*/ 1243013 h 3267075"/>
                  <a:gd name="connsiteX29" fmla="*/ 6093619 w 8801100"/>
                  <a:gd name="connsiteY29" fmla="*/ 1278731 h 3267075"/>
                  <a:gd name="connsiteX30" fmla="*/ 5895975 w 8801100"/>
                  <a:gd name="connsiteY30" fmla="*/ 1271588 h 3267075"/>
                  <a:gd name="connsiteX31" fmla="*/ 5834063 w 8801100"/>
                  <a:gd name="connsiteY31" fmla="*/ 1226344 h 3267075"/>
                  <a:gd name="connsiteX32" fmla="*/ 5636419 w 8801100"/>
                  <a:gd name="connsiteY32" fmla="*/ 1243013 h 3267075"/>
                  <a:gd name="connsiteX33" fmla="*/ 5548313 w 8801100"/>
                  <a:gd name="connsiteY33" fmla="*/ 1159668 h 3267075"/>
                  <a:gd name="connsiteX34" fmla="*/ 5472113 w 8801100"/>
                  <a:gd name="connsiteY34" fmla="*/ 1114425 h 3267075"/>
                  <a:gd name="connsiteX35" fmla="*/ 5474493 w 8801100"/>
                  <a:gd name="connsiteY35" fmla="*/ 1057275 h 3267075"/>
                  <a:gd name="connsiteX36" fmla="*/ 5455444 w 8801100"/>
                  <a:gd name="connsiteY36" fmla="*/ 1014412 h 3267075"/>
                  <a:gd name="connsiteX37" fmla="*/ 5360194 w 8801100"/>
                  <a:gd name="connsiteY37" fmla="*/ 1016794 h 3267075"/>
                  <a:gd name="connsiteX38" fmla="*/ 5264944 w 8801100"/>
                  <a:gd name="connsiteY38" fmla="*/ 995363 h 3267075"/>
                  <a:gd name="connsiteX39" fmla="*/ 5195887 w 8801100"/>
                  <a:gd name="connsiteY39" fmla="*/ 928687 h 3267075"/>
                  <a:gd name="connsiteX40" fmla="*/ 5160169 w 8801100"/>
                  <a:gd name="connsiteY40" fmla="*/ 885825 h 3267075"/>
                  <a:gd name="connsiteX41" fmla="*/ 5079206 w 8801100"/>
                  <a:gd name="connsiteY41" fmla="*/ 862012 h 3267075"/>
                  <a:gd name="connsiteX42" fmla="*/ 5005388 w 8801100"/>
                  <a:gd name="connsiteY42" fmla="*/ 873918 h 3267075"/>
                  <a:gd name="connsiteX43" fmla="*/ 4948237 w 8801100"/>
                  <a:gd name="connsiteY43" fmla="*/ 821531 h 3267075"/>
                  <a:gd name="connsiteX44" fmla="*/ 4852988 w 8801100"/>
                  <a:gd name="connsiteY44" fmla="*/ 833438 h 3267075"/>
                  <a:gd name="connsiteX45" fmla="*/ 4800600 w 8801100"/>
                  <a:gd name="connsiteY45" fmla="*/ 807244 h 3267075"/>
                  <a:gd name="connsiteX46" fmla="*/ 4719638 w 8801100"/>
                  <a:gd name="connsiteY46" fmla="*/ 850106 h 3267075"/>
                  <a:gd name="connsiteX47" fmla="*/ 4581525 w 8801100"/>
                  <a:gd name="connsiteY47" fmla="*/ 873919 h 3267075"/>
                  <a:gd name="connsiteX48" fmla="*/ 4452938 w 8801100"/>
                  <a:gd name="connsiteY48" fmla="*/ 966788 h 3267075"/>
                  <a:gd name="connsiteX49" fmla="*/ 4405312 w 8801100"/>
                  <a:gd name="connsiteY49" fmla="*/ 928688 h 3267075"/>
                  <a:gd name="connsiteX50" fmla="*/ 4383881 w 8801100"/>
                  <a:gd name="connsiteY50" fmla="*/ 959643 h 3267075"/>
                  <a:gd name="connsiteX51" fmla="*/ 4310063 w 8801100"/>
                  <a:gd name="connsiteY51" fmla="*/ 909638 h 3267075"/>
                  <a:gd name="connsiteX52" fmla="*/ 4271963 w 8801100"/>
                  <a:gd name="connsiteY52" fmla="*/ 916781 h 3267075"/>
                  <a:gd name="connsiteX53" fmla="*/ 4250531 w 8801100"/>
                  <a:gd name="connsiteY53" fmla="*/ 878681 h 3267075"/>
                  <a:gd name="connsiteX54" fmla="*/ 4191000 w 8801100"/>
                  <a:gd name="connsiteY54" fmla="*/ 883444 h 3267075"/>
                  <a:gd name="connsiteX55" fmla="*/ 4145756 w 8801100"/>
                  <a:gd name="connsiteY55" fmla="*/ 854869 h 3267075"/>
                  <a:gd name="connsiteX56" fmla="*/ 4107656 w 8801100"/>
                  <a:gd name="connsiteY56" fmla="*/ 852488 h 3267075"/>
                  <a:gd name="connsiteX57" fmla="*/ 4088606 w 8801100"/>
                  <a:gd name="connsiteY57" fmla="*/ 804862 h 3267075"/>
                  <a:gd name="connsiteX58" fmla="*/ 4074319 w 8801100"/>
                  <a:gd name="connsiteY58" fmla="*/ 773906 h 3267075"/>
                  <a:gd name="connsiteX59" fmla="*/ 4029075 w 8801100"/>
                  <a:gd name="connsiteY59" fmla="*/ 783431 h 3267075"/>
                  <a:gd name="connsiteX60" fmla="*/ 4010025 w 8801100"/>
                  <a:gd name="connsiteY60" fmla="*/ 747713 h 3267075"/>
                  <a:gd name="connsiteX61" fmla="*/ 4031457 w 8801100"/>
                  <a:gd name="connsiteY61" fmla="*/ 692944 h 3267075"/>
                  <a:gd name="connsiteX62" fmla="*/ 4000500 w 8801100"/>
                  <a:gd name="connsiteY62" fmla="*/ 666750 h 3267075"/>
                  <a:gd name="connsiteX63" fmla="*/ 4017169 w 8801100"/>
                  <a:gd name="connsiteY63" fmla="*/ 623888 h 3267075"/>
                  <a:gd name="connsiteX64" fmla="*/ 3990975 w 8801100"/>
                  <a:gd name="connsiteY64" fmla="*/ 581025 h 3267075"/>
                  <a:gd name="connsiteX65" fmla="*/ 3986213 w 8801100"/>
                  <a:gd name="connsiteY65" fmla="*/ 519113 h 3267075"/>
                  <a:gd name="connsiteX66" fmla="*/ 4010025 w 8801100"/>
                  <a:gd name="connsiteY66" fmla="*/ 454818 h 3267075"/>
                  <a:gd name="connsiteX67" fmla="*/ 3971925 w 8801100"/>
                  <a:gd name="connsiteY67" fmla="*/ 457200 h 3267075"/>
                  <a:gd name="connsiteX68" fmla="*/ 3852863 w 8801100"/>
                  <a:gd name="connsiteY68" fmla="*/ 400050 h 3267075"/>
                  <a:gd name="connsiteX69" fmla="*/ 3814762 w 8801100"/>
                  <a:gd name="connsiteY69" fmla="*/ 404812 h 3267075"/>
                  <a:gd name="connsiteX70" fmla="*/ 3609975 w 8801100"/>
                  <a:gd name="connsiteY70" fmla="*/ 295275 h 3267075"/>
                  <a:gd name="connsiteX71" fmla="*/ 3505200 w 8801100"/>
                  <a:gd name="connsiteY71" fmla="*/ 264319 h 3267075"/>
                  <a:gd name="connsiteX72" fmla="*/ 3440906 w 8801100"/>
                  <a:gd name="connsiteY72" fmla="*/ 273843 h 3267075"/>
                  <a:gd name="connsiteX73" fmla="*/ 3409950 w 8801100"/>
                  <a:gd name="connsiteY73" fmla="*/ 209550 h 3267075"/>
                  <a:gd name="connsiteX74" fmla="*/ 3352800 w 8801100"/>
                  <a:gd name="connsiteY74" fmla="*/ 209550 h 3267075"/>
                  <a:gd name="connsiteX75" fmla="*/ 3214687 w 8801100"/>
                  <a:gd name="connsiteY75" fmla="*/ 104775 h 3267075"/>
                  <a:gd name="connsiteX76" fmla="*/ 3181350 w 8801100"/>
                  <a:gd name="connsiteY76" fmla="*/ 164307 h 3267075"/>
                  <a:gd name="connsiteX77" fmla="*/ 3126581 w 8801100"/>
                  <a:gd name="connsiteY77" fmla="*/ 233363 h 3267075"/>
                  <a:gd name="connsiteX78" fmla="*/ 3083719 w 8801100"/>
                  <a:gd name="connsiteY78" fmla="*/ 250031 h 3267075"/>
                  <a:gd name="connsiteX79" fmla="*/ 3052763 w 8801100"/>
                  <a:gd name="connsiteY79" fmla="*/ 242888 h 3267075"/>
                  <a:gd name="connsiteX80" fmla="*/ 3028950 w 8801100"/>
                  <a:gd name="connsiteY80" fmla="*/ 271463 h 3267075"/>
                  <a:gd name="connsiteX81" fmla="*/ 3002756 w 8801100"/>
                  <a:gd name="connsiteY81" fmla="*/ 350044 h 3267075"/>
                  <a:gd name="connsiteX82" fmla="*/ 2959894 w 8801100"/>
                  <a:gd name="connsiteY82" fmla="*/ 347663 h 3267075"/>
                  <a:gd name="connsiteX83" fmla="*/ 2928937 w 8801100"/>
                  <a:gd name="connsiteY83" fmla="*/ 409575 h 3267075"/>
                  <a:gd name="connsiteX84" fmla="*/ 2924175 w 8801100"/>
                  <a:gd name="connsiteY84" fmla="*/ 473869 h 3267075"/>
                  <a:gd name="connsiteX85" fmla="*/ 2897982 w 8801100"/>
                  <a:gd name="connsiteY85" fmla="*/ 511969 h 3267075"/>
                  <a:gd name="connsiteX86" fmla="*/ 2924175 w 8801100"/>
                  <a:gd name="connsiteY86" fmla="*/ 571500 h 3267075"/>
                  <a:gd name="connsiteX87" fmla="*/ 2926556 w 8801100"/>
                  <a:gd name="connsiteY87" fmla="*/ 640556 h 3267075"/>
                  <a:gd name="connsiteX88" fmla="*/ 2955131 w 8801100"/>
                  <a:gd name="connsiteY88" fmla="*/ 692944 h 3267075"/>
                  <a:gd name="connsiteX89" fmla="*/ 3002757 w 8801100"/>
                  <a:gd name="connsiteY89" fmla="*/ 747713 h 3267075"/>
                  <a:gd name="connsiteX90" fmla="*/ 2952750 w 8801100"/>
                  <a:gd name="connsiteY90" fmla="*/ 885825 h 3267075"/>
                  <a:gd name="connsiteX91" fmla="*/ 2883694 w 8801100"/>
                  <a:gd name="connsiteY91" fmla="*/ 952500 h 3267075"/>
                  <a:gd name="connsiteX92" fmla="*/ 2812256 w 8801100"/>
                  <a:gd name="connsiteY92" fmla="*/ 947738 h 3267075"/>
                  <a:gd name="connsiteX93" fmla="*/ 2774156 w 8801100"/>
                  <a:gd name="connsiteY93" fmla="*/ 1004888 h 3267075"/>
                  <a:gd name="connsiteX94" fmla="*/ 2714625 w 8801100"/>
                  <a:gd name="connsiteY94" fmla="*/ 1019175 h 3267075"/>
                  <a:gd name="connsiteX95" fmla="*/ 2645569 w 8801100"/>
                  <a:gd name="connsiteY95" fmla="*/ 959644 h 3267075"/>
                  <a:gd name="connsiteX96" fmla="*/ 2590800 w 8801100"/>
                  <a:gd name="connsiteY96" fmla="*/ 931069 h 3267075"/>
                  <a:gd name="connsiteX97" fmla="*/ 2547938 w 8801100"/>
                  <a:gd name="connsiteY97" fmla="*/ 945356 h 3267075"/>
                  <a:gd name="connsiteX98" fmla="*/ 2495550 w 8801100"/>
                  <a:gd name="connsiteY98" fmla="*/ 928688 h 3267075"/>
                  <a:gd name="connsiteX99" fmla="*/ 2428875 w 8801100"/>
                  <a:gd name="connsiteY99" fmla="*/ 873919 h 3267075"/>
                  <a:gd name="connsiteX100" fmla="*/ 2383631 w 8801100"/>
                  <a:gd name="connsiteY100" fmla="*/ 885825 h 3267075"/>
                  <a:gd name="connsiteX101" fmla="*/ 2362200 w 8801100"/>
                  <a:gd name="connsiteY101" fmla="*/ 854869 h 3267075"/>
                  <a:gd name="connsiteX102" fmla="*/ 2305050 w 8801100"/>
                  <a:gd name="connsiteY102" fmla="*/ 895350 h 3267075"/>
                  <a:gd name="connsiteX103" fmla="*/ 2188369 w 8801100"/>
                  <a:gd name="connsiteY103" fmla="*/ 873919 h 3267075"/>
                  <a:gd name="connsiteX104" fmla="*/ 2138363 w 8801100"/>
                  <a:gd name="connsiteY104" fmla="*/ 821531 h 3267075"/>
                  <a:gd name="connsiteX105" fmla="*/ 2095500 w 8801100"/>
                  <a:gd name="connsiteY105" fmla="*/ 807244 h 3267075"/>
                  <a:gd name="connsiteX106" fmla="*/ 2052638 w 8801100"/>
                  <a:gd name="connsiteY106" fmla="*/ 833438 h 3267075"/>
                  <a:gd name="connsiteX107" fmla="*/ 2000250 w 8801100"/>
                  <a:gd name="connsiteY107" fmla="*/ 742950 h 3267075"/>
                  <a:gd name="connsiteX108" fmla="*/ 1990725 w 8801100"/>
                  <a:gd name="connsiteY108" fmla="*/ 595312 h 3267075"/>
                  <a:gd name="connsiteX109" fmla="*/ 1938337 w 8801100"/>
                  <a:gd name="connsiteY109" fmla="*/ 588168 h 3267075"/>
                  <a:gd name="connsiteX110" fmla="*/ 1847850 w 8801100"/>
                  <a:gd name="connsiteY110" fmla="*/ 578644 h 3267075"/>
                  <a:gd name="connsiteX111" fmla="*/ 1793081 w 8801100"/>
                  <a:gd name="connsiteY111" fmla="*/ 540544 h 3267075"/>
                  <a:gd name="connsiteX112" fmla="*/ 1724025 w 8801100"/>
                  <a:gd name="connsiteY112" fmla="*/ 550069 h 3267075"/>
                  <a:gd name="connsiteX113" fmla="*/ 1678781 w 8801100"/>
                  <a:gd name="connsiteY113" fmla="*/ 523875 h 3267075"/>
                  <a:gd name="connsiteX114" fmla="*/ 1669257 w 8801100"/>
                  <a:gd name="connsiteY114" fmla="*/ 452438 h 3267075"/>
                  <a:gd name="connsiteX115" fmla="*/ 1645444 w 8801100"/>
                  <a:gd name="connsiteY115" fmla="*/ 438150 h 3267075"/>
                  <a:gd name="connsiteX116" fmla="*/ 1607344 w 8801100"/>
                  <a:gd name="connsiteY116" fmla="*/ 485774 h 3267075"/>
                  <a:gd name="connsiteX117" fmla="*/ 1528762 w 8801100"/>
                  <a:gd name="connsiteY117" fmla="*/ 411956 h 3267075"/>
                  <a:gd name="connsiteX118" fmla="*/ 1488281 w 8801100"/>
                  <a:gd name="connsiteY118" fmla="*/ 452438 h 3267075"/>
                  <a:gd name="connsiteX119" fmla="*/ 1412081 w 8801100"/>
                  <a:gd name="connsiteY119" fmla="*/ 438150 h 3267075"/>
                  <a:gd name="connsiteX120" fmla="*/ 1333500 w 8801100"/>
                  <a:gd name="connsiteY120" fmla="*/ 464344 h 3267075"/>
                  <a:gd name="connsiteX121" fmla="*/ 1273969 w 8801100"/>
                  <a:gd name="connsiteY121" fmla="*/ 511968 h 3267075"/>
                  <a:gd name="connsiteX122" fmla="*/ 1200150 w 8801100"/>
                  <a:gd name="connsiteY122" fmla="*/ 523875 h 3267075"/>
                  <a:gd name="connsiteX123" fmla="*/ 1164431 w 8801100"/>
                  <a:gd name="connsiteY123" fmla="*/ 516731 h 3267075"/>
                  <a:gd name="connsiteX124" fmla="*/ 1085851 w 8801100"/>
                  <a:gd name="connsiteY124" fmla="*/ 547688 h 3267075"/>
                  <a:gd name="connsiteX125" fmla="*/ 1064419 w 8801100"/>
                  <a:gd name="connsiteY125" fmla="*/ 576263 h 3267075"/>
                  <a:gd name="connsiteX126" fmla="*/ 997744 w 8801100"/>
                  <a:gd name="connsiteY126" fmla="*/ 566738 h 3267075"/>
                  <a:gd name="connsiteX127" fmla="*/ 928688 w 8801100"/>
                  <a:gd name="connsiteY127" fmla="*/ 590550 h 3267075"/>
                  <a:gd name="connsiteX128" fmla="*/ 873919 w 8801100"/>
                  <a:gd name="connsiteY128" fmla="*/ 628650 h 3267075"/>
                  <a:gd name="connsiteX129" fmla="*/ 778669 w 8801100"/>
                  <a:gd name="connsiteY129" fmla="*/ 642937 h 3267075"/>
                  <a:gd name="connsiteX130" fmla="*/ 764381 w 8801100"/>
                  <a:gd name="connsiteY130" fmla="*/ 664369 h 3267075"/>
                  <a:gd name="connsiteX131" fmla="*/ 776287 w 8801100"/>
                  <a:gd name="connsiteY131" fmla="*/ 709613 h 3267075"/>
                  <a:gd name="connsiteX132" fmla="*/ 676276 w 8801100"/>
                  <a:gd name="connsiteY132" fmla="*/ 762000 h 3267075"/>
                  <a:gd name="connsiteX133" fmla="*/ 638175 w 8801100"/>
                  <a:gd name="connsiteY133" fmla="*/ 733424 h 3267075"/>
                  <a:gd name="connsiteX134" fmla="*/ 607219 w 8801100"/>
                  <a:gd name="connsiteY134" fmla="*/ 790575 h 3267075"/>
                  <a:gd name="connsiteX135" fmla="*/ 550069 w 8801100"/>
                  <a:gd name="connsiteY135" fmla="*/ 752475 h 3267075"/>
                  <a:gd name="connsiteX136" fmla="*/ 514350 w 8801100"/>
                  <a:gd name="connsiteY136" fmla="*/ 781050 h 3267075"/>
                  <a:gd name="connsiteX137" fmla="*/ 478631 w 8801100"/>
                  <a:gd name="connsiteY137" fmla="*/ 745331 h 3267075"/>
                  <a:gd name="connsiteX138" fmla="*/ 426244 w 8801100"/>
                  <a:gd name="connsiteY138" fmla="*/ 757238 h 3267075"/>
                  <a:gd name="connsiteX139" fmla="*/ 381000 w 8801100"/>
                  <a:gd name="connsiteY139" fmla="*/ 728663 h 3267075"/>
                  <a:gd name="connsiteX140" fmla="*/ 357188 w 8801100"/>
                  <a:gd name="connsiteY140" fmla="*/ 747713 h 3267075"/>
                  <a:gd name="connsiteX141" fmla="*/ 333375 w 8801100"/>
                  <a:gd name="connsiteY141" fmla="*/ 807244 h 3267075"/>
                  <a:gd name="connsiteX142" fmla="*/ 261938 w 8801100"/>
                  <a:gd name="connsiteY142" fmla="*/ 845343 h 3267075"/>
                  <a:gd name="connsiteX143" fmla="*/ 209550 w 8801100"/>
                  <a:gd name="connsiteY143" fmla="*/ 816769 h 3267075"/>
                  <a:gd name="connsiteX144" fmla="*/ 119063 w 8801100"/>
                  <a:gd name="connsiteY144" fmla="*/ 826294 h 3267075"/>
                  <a:gd name="connsiteX145" fmla="*/ 71437 w 8801100"/>
                  <a:gd name="connsiteY145" fmla="*/ 792957 h 3267075"/>
                  <a:gd name="connsiteX146" fmla="*/ 0 w 8801100"/>
                  <a:gd name="connsiteY146" fmla="*/ 812006 h 3267075"/>
                  <a:gd name="connsiteX147" fmla="*/ 4762 w 8801100"/>
                  <a:gd name="connsiteY147" fmla="*/ 0 h 3267075"/>
                  <a:gd name="connsiteX148" fmla="*/ 6638925 w 8801100"/>
                  <a:gd name="connsiteY148" fmla="*/ 3267075 h 3267075"/>
                  <a:gd name="connsiteX149" fmla="*/ 6619875 w 8801100"/>
                  <a:gd name="connsiteY149" fmla="*/ 3209925 h 3267075"/>
                  <a:gd name="connsiteX150" fmla="*/ 6584156 w 8801100"/>
                  <a:gd name="connsiteY150" fmla="*/ 3176588 h 3267075"/>
                  <a:gd name="connsiteX151" fmla="*/ 6610350 w 8801100"/>
                  <a:gd name="connsiteY151" fmla="*/ 3124200 h 3267075"/>
                  <a:gd name="connsiteX152" fmla="*/ 6650831 w 8801100"/>
                  <a:gd name="connsiteY152" fmla="*/ 2945606 h 3267075"/>
                  <a:gd name="connsiteX153" fmla="*/ 6691313 w 8801100"/>
                  <a:gd name="connsiteY153" fmla="*/ 2878931 h 3267075"/>
                  <a:gd name="connsiteX154" fmla="*/ 6836569 w 8801100"/>
                  <a:gd name="connsiteY154" fmla="*/ 2862262 h 3267075"/>
                  <a:gd name="connsiteX155" fmla="*/ 6905625 w 8801100"/>
                  <a:gd name="connsiteY155" fmla="*/ 2919413 h 3267075"/>
                  <a:gd name="connsiteX156" fmla="*/ 6981825 w 8801100"/>
                  <a:gd name="connsiteY156" fmla="*/ 2943225 h 3267075"/>
                  <a:gd name="connsiteX157" fmla="*/ 7186612 w 8801100"/>
                  <a:gd name="connsiteY157" fmla="*/ 2947988 h 3267075"/>
                  <a:gd name="connsiteX158" fmla="*/ 7362825 w 8801100"/>
                  <a:gd name="connsiteY158" fmla="*/ 2809875 h 3267075"/>
                  <a:gd name="connsiteX159" fmla="*/ 7419975 w 8801100"/>
                  <a:gd name="connsiteY159" fmla="*/ 2719387 h 3267075"/>
                  <a:gd name="connsiteX160" fmla="*/ 7446169 w 8801100"/>
                  <a:gd name="connsiteY160" fmla="*/ 2636044 h 3267075"/>
                  <a:gd name="connsiteX161" fmla="*/ 7577137 w 8801100"/>
                  <a:gd name="connsiteY161" fmla="*/ 2636044 h 3267075"/>
                  <a:gd name="connsiteX162" fmla="*/ 7750969 w 8801100"/>
                  <a:gd name="connsiteY162" fmla="*/ 2578893 h 3267075"/>
                  <a:gd name="connsiteX163" fmla="*/ 7810500 w 8801100"/>
                  <a:gd name="connsiteY163" fmla="*/ 2466975 h 3267075"/>
                  <a:gd name="connsiteX164" fmla="*/ 7874794 w 8801100"/>
                  <a:gd name="connsiteY164" fmla="*/ 2431256 h 3267075"/>
                  <a:gd name="connsiteX165" fmla="*/ 7853363 w 8801100"/>
                  <a:gd name="connsiteY165" fmla="*/ 2386013 h 3267075"/>
                  <a:gd name="connsiteX166" fmla="*/ 7931944 w 8801100"/>
                  <a:gd name="connsiteY166" fmla="*/ 2216943 h 3267075"/>
                  <a:gd name="connsiteX167" fmla="*/ 7986713 w 8801100"/>
                  <a:gd name="connsiteY167" fmla="*/ 2157413 h 3267075"/>
                  <a:gd name="connsiteX168" fmla="*/ 8024813 w 8801100"/>
                  <a:gd name="connsiteY168" fmla="*/ 2152650 h 3267075"/>
                  <a:gd name="connsiteX169" fmla="*/ 8070056 w 8801100"/>
                  <a:gd name="connsiteY169" fmla="*/ 2157413 h 3267075"/>
                  <a:gd name="connsiteX170" fmla="*/ 8134350 w 8801100"/>
                  <a:gd name="connsiteY170" fmla="*/ 2124075 h 3267075"/>
                  <a:gd name="connsiteX171" fmla="*/ 8143875 w 8801100"/>
                  <a:gd name="connsiteY171" fmla="*/ 2059781 h 3267075"/>
                  <a:gd name="connsiteX172" fmla="*/ 8184355 w 8801100"/>
                  <a:gd name="connsiteY172" fmla="*/ 2024063 h 3267075"/>
                  <a:gd name="connsiteX173" fmla="*/ 8243888 w 8801100"/>
                  <a:gd name="connsiteY173" fmla="*/ 2064543 h 3267075"/>
                  <a:gd name="connsiteX174" fmla="*/ 8270082 w 8801100"/>
                  <a:gd name="connsiteY174" fmla="*/ 2014537 h 3267075"/>
                  <a:gd name="connsiteX175" fmla="*/ 8365331 w 8801100"/>
                  <a:gd name="connsiteY175" fmla="*/ 1945481 h 3267075"/>
                  <a:gd name="connsiteX176" fmla="*/ 8427244 w 8801100"/>
                  <a:gd name="connsiteY176" fmla="*/ 1952625 h 3267075"/>
                  <a:gd name="connsiteX177" fmla="*/ 8477250 w 8801100"/>
                  <a:gd name="connsiteY177" fmla="*/ 1933575 h 3267075"/>
                  <a:gd name="connsiteX178" fmla="*/ 8515350 w 8801100"/>
                  <a:gd name="connsiteY178" fmla="*/ 1905000 h 3267075"/>
                  <a:gd name="connsiteX179" fmla="*/ 8548688 w 8801100"/>
                  <a:gd name="connsiteY179" fmla="*/ 1902619 h 3267075"/>
                  <a:gd name="connsiteX180" fmla="*/ 8584406 w 8801100"/>
                  <a:gd name="connsiteY180" fmla="*/ 1933575 h 3267075"/>
                  <a:gd name="connsiteX181" fmla="*/ 8643938 w 8801100"/>
                  <a:gd name="connsiteY181" fmla="*/ 1933575 h 3267075"/>
                  <a:gd name="connsiteX182" fmla="*/ 8682037 w 8801100"/>
                  <a:gd name="connsiteY182" fmla="*/ 1914525 h 3267075"/>
                  <a:gd name="connsiteX183" fmla="*/ 8765381 w 8801100"/>
                  <a:gd name="connsiteY183" fmla="*/ 1916907 h 3267075"/>
                  <a:gd name="connsiteX184" fmla="*/ 8796338 w 8801100"/>
                  <a:gd name="connsiteY184" fmla="*/ 1871663 h 3267075"/>
                  <a:gd name="connsiteX185" fmla="*/ 8801100 w 8801100"/>
                  <a:gd name="connsiteY185" fmla="*/ 1809750 h 3267075"/>
                  <a:gd name="connsiteX186" fmla="*/ 8751093 w 8801100"/>
                  <a:gd name="connsiteY186" fmla="*/ 1769269 h 3267075"/>
                  <a:gd name="connsiteX187" fmla="*/ 8734425 w 8801100"/>
                  <a:gd name="connsiteY187" fmla="*/ 1714500 h 3267075"/>
                  <a:gd name="connsiteX188" fmla="*/ 8643938 w 8801100"/>
                  <a:gd name="connsiteY188" fmla="*/ 1652588 h 3267075"/>
                  <a:gd name="connsiteX189" fmla="*/ 8603456 w 8801100"/>
                  <a:gd name="connsiteY189" fmla="*/ 1631156 h 3267075"/>
                  <a:gd name="connsiteX190" fmla="*/ 8565356 w 8801100"/>
                  <a:gd name="connsiteY190" fmla="*/ 1585913 h 3267075"/>
                  <a:gd name="connsiteX191" fmla="*/ 8534400 w 8801100"/>
                  <a:gd name="connsiteY191" fmla="*/ 1583531 h 3267075"/>
                  <a:gd name="connsiteX192" fmla="*/ 8517731 w 8801100"/>
                  <a:gd name="connsiteY192" fmla="*/ 1531144 h 3267075"/>
                  <a:gd name="connsiteX193" fmla="*/ 8477250 w 8801100"/>
                  <a:gd name="connsiteY193" fmla="*/ 1514475 h 3267075"/>
                  <a:gd name="connsiteX194" fmla="*/ 8477250 w 8801100"/>
                  <a:gd name="connsiteY194" fmla="*/ 1514475 h 3267075"/>
                  <a:gd name="connsiteX195" fmla="*/ 8436769 w 8801100"/>
                  <a:gd name="connsiteY195" fmla="*/ 1519238 h 3267075"/>
                  <a:gd name="connsiteX196" fmla="*/ 8351043 w 8801100"/>
                  <a:gd name="connsiteY196" fmla="*/ 1445419 h 3267075"/>
                  <a:gd name="connsiteX197" fmla="*/ 8170069 w 8801100"/>
                  <a:gd name="connsiteY197" fmla="*/ 1445418 h 3267075"/>
                  <a:gd name="connsiteX198" fmla="*/ 8117681 w 8801100"/>
                  <a:gd name="connsiteY198" fmla="*/ 1483519 h 3267075"/>
                  <a:gd name="connsiteX199" fmla="*/ 8067675 w 8801100"/>
                  <a:gd name="connsiteY199" fmla="*/ 1562100 h 3267075"/>
                  <a:gd name="connsiteX200" fmla="*/ 8084344 w 8801100"/>
                  <a:gd name="connsiteY200" fmla="*/ 1583531 h 3267075"/>
                  <a:gd name="connsiteX201" fmla="*/ 8039100 w 8801100"/>
                  <a:gd name="connsiteY201" fmla="*/ 1633537 h 3267075"/>
                  <a:gd name="connsiteX202" fmla="*/ 7889081 w 8801100"/>
                  <a:gd name="connsiteY202" fmla="*/ 1557337 h 3267075"/>
                  <a:gd name="connsiteX203" fmla="*/ 7798594 w 8801100"/>
                  <a:gd name="connsiteY203" fmla="*/ 1593056 h 3267075"/>
                  <a:gd name="connsiteX204" fmla="*/ 7724775 w 8801100"/>
                  <a:gd name="connsiteY204" fmla="*/ 1590675 h 3267075"/>
                  <a:gd name="connsiteX205" fmla="*/ 7667625 w 8801100"/>
                  <a:gd name="connsiteY205" fmla="*/ 1685925 h 3267075"/>
                  <a:gd name="connsiteX206" fmla="*/ 7529513 w 8801100"/>
                  <a:gd name="connsiteY206" fmla="*/ 1588294 h 3267075"/>
                  <a:gd name="connsiteX0" fmla="*/ 7529513 w 8801100"/>
                  <a:gd name="connsiteY0" fmla="*/ 1588294 h 3209925"/>
                  <a:gd name="connsiteX1" fmla="*/ 7522369 w 8801100"/>
                  <a:gd name="connsiteY1" fmla="*/ 1533525 h 3209925"/>
                  <a:gd name="connsiteX2" fmla="*/ 7589044 w 8801100"/>
                  <a:gd name="connsiteY2" fmla="*/ 1459706 h 3209925"/>
                  <a:gd name="connsiteX3" fmla="*/ 7572375 w 8801100"/>
                  <a:gd name="connsiteY3" fmla="*/ 1388269 h 3209925"/>
                  <a:gd name="connsiteX4" fmla="*/ 7586663 w 8801100"/>
                  <a:gd name="connsiteY4" fmla="*/ 1293019 h 3209925"/>
                  <a:gd name="connsiteX5" fmla="*/ 7624763 w 8801100"/>
                  <a:gd name="connsiteY5" fmla="*/ 1235869 h 3209925"/>
                  <a:gd name="connsiteX6" fmla="*/ 7605712 w 8801100"/>
                  <a:gd name="connsiteY6" fmla="*/ 1202531 h 3209925"/>
                  <a:gd name="connsiteX7" fmla="*/ 7703343 w 8801100"/>
                  <a:gd name="connsiteY7" fmla="*/ 802481 h 3209925"/>
                  <a:gd name="connsiteX8" fmla="*/ 7696200 w 8801100"/>
                  <a:gd name="connsiteY8" fmla="*/ 773906 h 3209925"/>
                  <a:gd name="connsiteX9" fmla="*/ 7567613 w 8801100"/>
                  <a:gd name="connsiteY9" fmla="*/ 752475 h 3209925"/>
                  <a:gd name="connsiteX10" fmla="*/ 7384257 w 8801100"/>
                  <a:gd name="connsiteY10" fmla="*/ 831056 h 3209925"/>
                  <a:gd name="connsiteX11" fmla="*/ 7227093 w 8801100"/>
                  <a:gd name="connsiteY11" fmla="*/ 716756 h 3209925"/>
                  <a:gd name="connsiteX12" fmla="*/ 7150894 w 8801100"/>
                  <a:gd name="connsiteY12" fmla="*/ 723900 h 3209925"/>
                  <a:gd name="connsiteX13" fmla="*/ 7077075 w 8801100"/>
                  <a:gd name="connsiteY13" fmla="*/ 719138 h 3209925"/>
                  <a:gd name="connsiteX14" fmla="*/ 6938963 w 8801100"/>
                  <a:gd name="connsiteY14" fmla="*/ 823913 h 3209925"/>
                  <a:gd name="connsiteX15" fmla="*/ 6831806 w 8801100"/>
                  <a:gd name="connsiteY15" fmla="*/ 931069 h 3209925"/>
                  <a:gd name="connsiteX16" fmla="*/ 6788944 w 8801100"/>
                  <a:gd name="connsiteY16" fmla="*/ 1000125 h 3209925"/>
                  <a:gd name="connsiteX17" fmla="*/ 6796088 w 8801100"/>
                  <a:gd name="connsiteY17" fmla="*/ 1035844 h 3209925"/>
                  <a:gd name="connsiteX18" fmla="*/ 6734175 w 8801100"/>
                  <a:gd name="connsiteY18" fmla="*/ 1047750 h 3209925"/>
                  <a:gd name="connsiteX19" fmla="*/ 6753225 w 8801100"/>
                  <a:gd name="connsiteY19" fmla="*/ 1047750 h 3209925"/>
                  <a:gd name="connsiteX20" fmla="*/ 6719888 w 8801100"/>
                  <a:gd name="connsiteY20" fmla="*/ 1078706 h 3209925"/>
                  <a:gd name="connsiteX21" fmla="*/ 6619875 w 8801100"/>
                  <a:gd name="connsiteY21" fmla="*/ 1078707 h 3209925"/>
                  <a:gd name="connsiteX22" fmla="*/ 6524625 w 8801100"/>
                  <a:gd name="connsiteY22" fmla="*/ 1133475 h 3209925"/>
                  <a:gd name="connsiteX23" fmla="*/ 6443663 w 8801100"/>
                  <a:gd name="connsiteY23" fmla="*/ 1143000 h 3209925"/>
                  <a:gd name="connsiteX24" fmla="*/ 6403181 w 8801100"/>
                  <a:gd name="connsiteY24" fmla="*/ 1176338 h 3209925"/>
                  <a:gd name="connsiteX25" fmla="*/ 6353175 w 8801100"/>
                  <a:gd name="connsiteY25" fmla="*/ 1181100 h 3209925"/>
                  <a:gd name="connsiteX26" fmla="*/ 6231732 w 8801100"/>
                  <a:gd name="connsiteY26" fmla="*/ 1273969 h 3209925"/>
                  <a:gd name="connsiteX27" fmla="*/ 6172200 w 8801100"/>
                  <a:gd name="connsiteY27" fmla="*/ 1278731 h 3209925"/>
                  <a:gd name="connsiteX28" fmla="*/ 6119813 w 8801100"/>
                  <a:gd name="connsiteY28" fmla="*/ 1243013 h 3209925"/>
                  <a:gd name="connsiteX29" fmla="*/ 6093619 w 8801100"/>
                  <a:gd name="connsiteY29" fmla="*/ 1278731 h 3209925"/>
                  <a:gd name="connsiteX30" fmla="*/ 5895975 w 8801100"/>
                  <a:gd name="connsiteY30" fmla="*/ 1271588 h 3209925"/>
                  <a:gd name="connsiteX31" fmla="*/ 5834063 w 8801100"/>
                  <a:gd name="connsiteY31" fmla="*/ 1226344 h 3209925"/>
                  <a:gd name="connsiteX32" fmla="*/ 5636419 w 8801100"/>
                  <a:gd name="connsiteY32" fmla="*/ 1243013 h 3209925"/>
                  <a:gd name="connsiteX33" fmla="*/ 5548313 w 8801100"/>
                  <a:gd name="connsiteY33" fmla="*/ 1159668 h 3209925"/>
                  <a:gd name="connsiteX34" fmla="*/ 5472113 w 8801100"/>
                  <a:gd name="connsiteY34" fmla="*/ 1114425 h 3209925"/>
                  <a:gd name="connsiteX35" fmla="*/ 5474493 w 8801100"/>
                  <a:gd name="connsiteY35" fmla="*/ 1057275 h 3209925"/>
                  <a:gd name="connsiteX36" fmla="*/ 5455444 w 8801100"/>
                  <a:gd name="connsiteY36" fmla="*/ 1014412 h 3209925"/>
                  <a:gd name="connsiteX37" fmla="*/ 5360194 w 8801100"/>
                  <a:gd name="connsiteY37" fmla="*/ 1016794 h 3209925"/>
                  <a:gd name="connsiteX38" fmla="*/ 5264944 w 8801100"/>
                  <a:gd name="connsiteY38" fmla="*/ 995363 h 3209925"/>
                  <a:gd name="connsiteX39" fmla="*/ 5195887 w 8801100"/>
                  <a:gd name="connsiteY39" fmla="*/ 928687 h 3209925"/>
                  <a:gd name="connsiteX40" fmla="*/ 5160169 w 8801100"/>
                  <a:gd name="connsiteY40" fmla="*/ 885825 h 3209925"/>
                  <a:gd name="connsiteX41" fmla="*/ 5079206 w 8801100"/>
                  <a:gd name="connsiteY41" fmla="*/ 862012 h 3209925"/>
                  <a:gd name="connsiteX42" fmla="*/ 5005388 w 8801100"/>
                  <a:gd name="connsiteY42" fmla="*/ 873918 h 3209925"/>
                  <a:gd name="connsiteX43" fmla="*/ 4948237 w 8801100"/>
                  <a:gd name="connsiteY43" fmla="*/ 821531 h 3209925"/>
                  <a:gd name="connsiteX44" fmla="*/ 4852988 w 8801100"/>
                  <a:gd name="connsiteY44" fmla="*/ 833438 h 3209925"/>
                  <a:gd name="connsiteX45" fmla="*/ 4800600 w 8801100"/>
                  <a:gd name="connsiteY45" fmla="*/ 807244 h 3209925"/>
                  <a:gd name="connsiteX46" fmla="*/ 4719638 w 8801100"/>
                  <a:gd name="connsiteY46" fmla="*/ 850106 h 3209925"/>
                  <a:gd name="connsiteX47" fmla="*/ 4581525 w 8801100"/>
                  <a:gd name="connsiteY47" fmla="*/ 873919 h 3209925"/>
                  <a:gd name="connsiteX48" fmla="*/ 4452938 w 8801100"/>
                  <a:gd name="connsiteY48" fmla="*/ 966788 h 3209925"/>
                  <a:gd name="connsiteX49" fmla="*/ 4405312 w 8801100"/>
                  <a:gd name="connsiteY49" fmla="*/ 928688 h 3209925"/>
                  <a:gd name="connsiteX50" fmla="*/ 4383881 w 8801100"/>
                  <a:gd name="connsiteY50" fmla="*/ 959643 h 3209925"/>
                  <a:gd name="connsiteX51" fmla="*/ 4310063 w 8801100"/>
                  <a:gd name="connsiteY51" fmla="*/ 909638 h 3209925"/>
                  <a:gd name="connsiteX52" fmla="*/ 4271963 w 8801100"/>
                  <a:gd name="connsiteY52" fmla="*/ 916781 h 3209925"/>
                  <a:gd name="connsiteX53" fmla="*/ 4250531 w 8801100"/>
                  <a:gd name="connsiteY53" fmla="*/ 878681 h 3209925"/>
                  <a:gd name="connsiteX54" fmla="*/ 4191000 w 8801100"/>
                  <a:gd name="connsiteY54" fmla="*/ 883444 h 3209925"/>
                  <a:gd name="connsiteX55" fmla="*/ 4145756 w 8801100"/>
                  <a:gd name="connsiteY55" fmla="*/ 854869 h 3209925"/>
                  <a:gd name="connsiteX56" fmla="*/ 4107656 w 8801100"/>
                  <a:gd name="connsiteY56" fmla="*/ 852488 h 3209925"/>
                  <a:gd name="connsiteX57" fmla="*/ 4088606 w 8801100"/>
                  <a:gd name="connsiteY57" fmla="*/ 804862 h 3209925"/>
                  <a:gd name="connsiteX58" fmla="*/ 4074319 w 8801100"/>
                  <a:gd name="connsiteY58" fmla="*/ 773906 h 3209925"/>
                  <a:gd name="connsiteX59" fmla="*/ 4029075 w 8801100"/>
                  <a:gd name="connsiteY59" fmla="*/ 783431 h 3209925"/>
                  <a:gd name="connsiteX60" fmla="*/ 4010025 w 8801100"/>
                  <a:gd name="connsiteY60" fmla="*/ 747713 h 3209925"/>
                  <a:gd name="connsiteX61" fmla="*/ 4031457 w 8801100"/>
                  <a:gd name="connsiteY61" fmla="*/ 692944 h 3209925"/>
                  <a:gd name="connsiteX62" fmla="*/ 4000500 w 8801100"/>
                  <a:gd name="connsiteY62" fmla="*/ 666750 h 3209925"/>
                  <a:gd name="connsiteX63" fmla="*/ 4017169 w 8801100"/>
                  <a:gd name="connsiteY63" fmla="*/ 623888 h 3209925"/>
                  <a:gd name="connsiteX64" fmla="*/ 3990975 w 8801100"/>
                  <a:gd name="connsiteY64" fmla="*/ 581025 h 3209925"/>
                  <a:gd name="connsiteX65" fmla="*/ 3986213 w 8801100"/>
                  <a:gd name="connsiteY65" fmla="*/ 519113 h 3209925"/>
                  <a:gd name="connsiteX66" fmla="*/ 4010025 w 8801100"/>
                  <a:gd name="connsiteY66" fmla="*/ 454818 h 3209925"/>
                  <a:gd name="connsiteX67" fmla="*/ 3971925 w 8801100"/>
                  <a:gd name="connsiteY67" fmla="*/ 457200 h 3209925"/>
                  <a:gd name="connsiteX68" fmla="*/ 3852863 w 8801100"/>
                  <a:gd name="connsiteY68" fmla="*/ 400050 h 3209925"/>
                  <a:gd name="connsiteX69" fmla="*/ 3814762 w 8801100"/>
                  <a:gd name="connsiteY69" fmla="*/ 404812 h 3209925"/>
                  <a:gd name="connsiteX70" fmla="*/ 3609975 w 8801100"/>
                  <a:gd name="connsiteY70" fmla="*/ 295275 h 3209925"/>
                  <a:gd name="connsiteX71" fmla="*/ 3505200 w 8801100"/>
                  <a:gd name="connsiteY71" fmla="*/ 264319 h 3209925"/>
                  <a:gd name="connsiteX72" fmla="*/ 3440906 w 8801100"/>
                  <a:gd name="connsiteY72" fmla="*/ 273843 h 3209925"/>
                  <a:gd name="connsiteX73" fmla="*/ 3409950 w 8801100"/>
                  <a:gd name="connsiteY73" fmla="*/ 209550 h 3209925"/>
                  <a:gd name="connsiteX74" fmla="*/ 3352800 w 8801100"/>
                  <a:gd name="connsiteY74" fmla="*/ 209550 h 3209925"/>
                  <a:gd name="connsiteX75" fmla="*/ 3214687 w 8801100"/>
                  <a:gd name="connsiteY75" fmla="*/ 104775 h 3209925"/>
                  <a:gd name="connsiteX76" fmla="*/ 3181350 w 8801100"/>
                  <a:gd name="connsiteY76" fmla="*/ 164307 h 3209925"/>
                  <a:gd name="connsiteX77" fmla="*/ 3126581 w 8801100"/>
                  <a:gd name="connsiteY77" fmla="*/ 233363 h 3209925"/>
                  <a:gd name="connsiteX78" fmla="*/ 3083719 w 8801100"/>
                  <a:gd name="connsiteY78" fmla="*/ 250031 h 3209925"/>
                  <a:gd name="connsiteX79" fmla="*/ 3052763 w 8801100"/>
                  <a:gd name="connsiteY79" fmla="*/ 242888 h 3209925"/>
                  <a:gd name="connsiteX80" fmla="*/ 3028950 w 8801100"/>
                  <a:gd name="connsiteY80" fmla="*/ 271463 h 3209925"/>
                  <a:gd name="connsiteX81" fmla="*/ 3002756 w 8801100"/>
                  <a:gd name="connsiteY81" fmla="*/ 350044 h 3209925"/>
                  <a:gd name="connsiteX82" fmla="*/ 2959894 w 8801100"/>
                  <a:gd name="connsiteY82" fmla="*/ 347663 h 3209925"/>
                  <a:gd name="connsiteX83" fmla="*/ 2928937 w 8801100"/>
                  <a:gd name="connsiteY83" fmla="*/ 409575 h 3209925"/>
                  <a:gd name="connsiteX84" fmla="*/ 2924175 w 8801100"/>
                  <a:gd name="connsiteY84" fmla="*/ 473869 h 3209925"/>
                  <a:gd name="connsiteX85" fmla="*/ 2897982 w 8801100"/>
                  <a:gd name="connsiteY85" fmla="*/ 511969 h 3209925"/>
                  <a:gd name="connsiteX86" fmla="*/ 2924175 w 8801100"/>
                  <a:gd name="connsiteY86" fmla="*/ 571500 h 3209925"/>
                  <a:gd name="connsiteX87" fmla="*/ 2926556 w 8801100"/>
                  <a:gd name="connsiteY87" fmla="*/ 640556 h 3209925"/>
                  <a:gd name="connsiteX88" fmla="*/ 2955131 w 8801100"/>
                  <a:gd name="connsiteY88" fmla="*/ 692944 h 3209925"/>
                  <a:gd name="connsiteX89" fmla="*/ 3002757 w 8801100"/>
                  <a:gd name="connsiteY89" fmla="*/ 747713 h 3209925"/>
                  <a:gd name="connsiteX90" fmla="*/ 2952750 w 8801100"/>
                  <a:gd name="connsiteY90" fmla="*/ 885825 h 3209925"/>
                  <a:gd name="connsiteX91" fmla="*/ 2883694 w 8801100"/>
                  <a:gd name="connsiteY91" fmla="*/ 952500 h 3209925"/>
                  <a:gd name="connsiteX92" fmla="*/ 2812256 w 8801100"/>
                  <a:gd name="connsiteY92" fmla="*/ 947738 h 3209925"/>
                  <a:gd name="connsiteX93" fmla="*/ 2774156 w 8801100"/>
                  <a:gd name="connsiteY93" fmla="*/ 1004888 h 3209925"/>
                  <a:gd name="connsiteX94" fmla="*/ 2714625 w 8801100"/>
                  <a:gd name="connsiteY94" fmla="*/ 1019175 h 3209925"/>
                  <a:gd name="connsiteX95" fmla="*/ 2645569 w 8801100"/>
                  <a:gd name="connsiteY95" fmla="*/ 959644 h 3209925"/>
                  <a:gd name="connsiteX96" fmla="*/ 2590800 w 8801100"/>
                  <a:gd name="connsiteY96" fmla="*/ 931069 h 3209925"/>
                  <a:gd name="connsiteX97" fmla="*/ 2547938 w 8801100"/>
                  <a:gd name="connsiteY97" fmla="*/ 945356 h 3209925"/>
                  <a:gd name="connsiteX98" fmla="*/ 2495550 w 8801100"/>
                  <a:gd name="connsiteY98" fmla="*/ 928688 h 3209925"/>
                  <a:gd name="connsiteX99" fmla="*/ 2428875 w 8801100"/>
                  <a:gd name="connsiteY99" fmla="*/ 873919 h 3209925"/>
                  <a:gd name="connsiteX100" fmla="*/ 2383631 w 8801100"/>
                  <a:gd name="connsiteY100" fmla="*/ 885825 h 3209925"/>
                  <a:gd name="connsiteX101" fmla="*/ 2362200 w 8801100"/>
                  <a:gd name="connsiteY101" fmla="*/ 854869 h 3209925"/>
                  <a:gd name="connsiteX102" fmla="*/ 2305050 w 8801100"/>
                  <a:gd name="connsiteY102" fmla="*/ 895350 h 3209925"/>
                  <a:gd name="connsiteX103" fmla="*/ 2188369 w 8801100"/>
                  <a:gd name="connsiteY103" fmla="*/ 873919 h 3209925"/>
                  <a:gd name="connsiteX104" fmla="*/ 2138363 w 8801100"/>
                  <a:gd name="connsiteY104" fmla="*/ 821531 h 3209925"/>
                  <a:gd name="connsiteX105" fmla="*/ 2095500 w 8801100"/>
                  <a:gd name="connsiteY105" fmla="*/ 807244 h 3209925"/>
                  <a:gd name="connsiteX106" fmla="*/ 2052638 w 8801100"/>
                  <a:gd name="connsiteY106" fmla="*/ 833438 h 3209925"/>
                  <a:gd name="connsiteX107" fmla="*/ 2000250 w 8801100"/>
                  <a:gd name="connsiteY107" fmla="*/ 742950 h 3209925"/>
                  <a:gd name="connsiteX108" fmla="*/ 1990725 w 8801100"/>
                  <a:gd name="connsiteY108" fmla="*/ 595312 h 3209925"/>
                  <a:gd name="connsiteX109" fmla="*/ 1938337 w 8801100"/>
                  <a:gd name="connsiteY109" fmla="*/ 588168 h 3209925"/>
                  <a:gd name="connsiteX110" fmla="*/ 1847850 w 8801100"/>
                  <a:gd name="connsiteY110" fmla="*/ 578644 h 3209925"/>
                  <a:gd name="connsiteX111" fmla="*/ 1793081 w 8801100"/>
                  <a:gd name="connsiteY111" fmla="*/ 540544 h 3209925"/>
                  <a:gd name="connsiteX112" fmla="*/ 1724025 w 8801100"/>
                  <a:gd name="connsiteY112" fmla="*/ 550069 h 3209925"/>
                  <a:gd name="connsiteX113" fmla="*/ 1678781 w 8801100"/>
                  <a:gd name="connsiteY113" fmla="*/ 523875 h 3209925"/>
                  <a:gd name="connsiteX114" fmla="*/ 1669257 w 8801100"/>
                  <a:gd name="connsiteY114" fmla="*/ 452438 h 3209925"/>
                  <a:gd name="connsiteX115" fmla="*/ 1645444 w 8801100"/>
                  <a:gd name="connsiteY115" fmla="*/ 438150 h 3209925"/>
                  <a:gd name="connsiteX116" fmla="*/ 1607344 w 8801100"/>
                  <a:gd name="connsiteY116" fmla="*/ 485774 h 3209925"/>
                  <a:gd name="connsiteX117" fmla="*/ 1528762 w 8801100"/>
                  <a:gd name="connsiteY117" fmla="*/ 411956 h 3209925"/>
                  <a:gd name="connsiteX118" fmla="*/ 1488281 w 8801100"/>
                  <a:gd name="connsiteY118" fmla="*/ 452438 h 3209925"/>
                  <a:gd name="connsiteX119" fmla="*/ 1412081 w 8801100"/>
                  <a:gd name="connsiteY119" fmla="*/ 438150 h 3209925"/>
                  <a:gd name="connsiteX120" fmla="*/ 1333500 w 8801100"/>
                  <a:gd name="connsiteY120" fmla="*/ 464344 h 3209925"/>
                  <a:gd name="connsiteX121" fmla="*/ 1273969 w 8801100"/>
                  <a:gd name="connsiteY121" fmla="*/ 511968 h 3209925"/>
                  <a:gd name="connsiteX122" fmla="*/ 1200150 w 8801100"/>
                  <a:gd name="connsiteY122" fmla="*/ 523875 h 3209925"/>
                  <a:gd name="connsiteX123" fmla="*/ 1164431 w 8801100"/>
                  <a:gd name="connsiteY123" fmla="*/ 516731 h 3209925"/>
                  <a:gd name="connsiteX124" fmla="*/ 1085851 w 8801100"/>
                  <a:gd name="connsiteY124" fmla="*/ 547688 h 3209925"/>
                  <a:gd name="connsiteX125" fmla="*/ 1064419 w 8801100"/>
                  <a:gd name="connsiteY125" fmla="*/ 576263 h 3209925"/>
                  <a:gd name="connsiteX126" fmla="*/ 997744 w 8801100"/>
                  <a:gd name="connsiteY126" fmla="*/ 566738 h 3209925"/>
                  <a:gd name="connsiteX127" fmla="*/ 928688 w 8801100"/>
                  <a:gd name="connsiteY127" fmla="*/ 590550 h 3209925"/>
                  <a:gd name="connsiteX128" fmla="*/ 873919 w 8801100"/>
                  <a:gd name="connsiteY128" fmla="*/ 628650 h 3209925"/>
                  <a:gd name="connsiteX129" fmla="*/ 778669 w 8801100"/>
                  <a:gd name="connsiteY129" fmla="*/ 642937 h 3209925"/>
                  <a:gd name="connsiteX130" fmla="*/ 764381 w 8801100"/>
                  <a:gd name="connsiteY130" fmla="*/ 664369 h 3209925"/>
                  <a:gd name="connsiteX131" fmla="*/ 776287 w 8801100"/>
                  <a:gd name="connsiteY131" fmla="*/ 709613 h 3209925"/>
                  <a:gd name="connsiteX132" fmla="*/ 676276 w 8801100"/>
                  <a:gd name="connsiteY132" fmla="*/ 762000 h 3209925"/>
                  <a:gd name="connsiteX133" fmla="*/ 638175 w 8801100"/>
                  <a:gd name="connsiteY133" fmla="*/ 733424 h 3209925"/>
                  <a:gd name="connsiteX134" fmla="*/ 607219 w 8801100"/>
                  <a:gd name="connsiteY134" fmla="*/ 790575 h 3209925"/>
                  <a:gd name="connsiteX135" fmla="*/ 550069 w 8801100"/>
                  <a:gd name="connsiteY135" fmla="*/ 752475 h 3209925"/>
                  <a:gd name="connsiteX136" fmla="*/ 514350 w 8801100"/>
                  <a:gd name="connsiteY136" fmla="*/ 781050 h 3209925"/>
                  <a:gd name="connsiteX137" fmla="*/ 478631 w 8801100"/>
                  <a:gd name="connsiteY137" fmla="*/ 745331 h 3209925"/>
                  <a:gd name="connsiteX138" fmla="*/ 426244 w 8801100"/>
                  <a:gd name="connsiteY138" fmla="*/ 757238 h 3209925"/>
                  <a:gd name="connsiteX139" fmla="*/ 381000 w 8801100"/>
                  <a:gd name="connsiteY139" fmla="*/ 728663 h 3209925"/>
                  <a:gd name="connsiteX140" fmla="*/ 357188 w 8801100"/>
                  <a:gd name="connsiteY140" fmla="*/ 747713 h 3209925"/>
                  <a:gd name="connsiteX141" fmla="*/ 333375 w 8801100"/>
                  <a:gd name="connsiteY141" fmla="*/ 807244 h 3209925"/>
                  <a:gd name="connsiteX142" fmla="*/ 261938 w 8801100"/>
                  <a:gd name="connsiteY142" fmla="*/ 845343 h 3209925"/>
                  <a:gd name="connsiteX143" fmla="*/ 209550 w 8801100"/>
                  <a:gd name="connsiteY143" fmla="*/ 816769 h 3209925"/>
                  <a:gd name="connsiteX144" fmla="*/ 119063 w 8801100"/>
                  <a:gd name="connsiteY144" fmla="*/ 826294 h 3209925"/>
                  <a:gd name="connsiteX145" fmla="*/ 71437 w 8801100"/>
                  <a:gd name="connsiteY145" fmla="*/ 792957 h 3209925"/>
                  <a:gd name="connsiteX146" fmla="*/ 0 w 8801100"/>
                  <a:gd name="connsiteY146" fmla="*/ 812006 h 3209925"/>
                  <a:gd name="connsiteX147" fmla="*/ 4762 w 8801100"/>
                  <a:gd name="connsiteY147" fmla="*/ 0 h 3209925"/>
                  <a:gd name="connsiteX148" fmla="*/ 6619875 w 8801100"/>
                  <a:gd name="connsiteY148" fmla="*/ 3209925 h 3209925"/>
                  <a:gd name="connsiteX149" fmla="*/ 6584156 w 8801100"/>
                  <a:gd name="connsiteY149" fmla="*/ 3176588 h 3209925"/>
                  <a:gd name="connsiteX150" fmla="*/ 6610350 w 8801100"/>
                  <a:gd name="connsiteY150" fmla="*/ 3124200 h 3209925"/>
                  <a:gd name="connsiteX151" fmla="*/ 6650831 w 8801100"/>
                  <a:gd name="connsiteY151" fmla="*/ 2945606 h 3209925"/>
                  <a:gd name="connsiteX152" fmla="*/ 6691313 w 8801100"/>
                  <a:gd name="connsiteY152" fmla="*/ 2878931 h 3209925"/>
                  <a:gd name="connsiteX153" fmla="*/ 6836569 w 8801100"/>
                  <a:gd name="connsiteY153" fmla="*/ 2862262 h 3209925"/>
                  <a:gd name="connsiteX154" fmla="*/ 6905625 w 8801100"/>
                  <a:gd name="connsiteY154" fmla="*/ 2919413 h 3209925"/>
                  <a:gd name="connsiteX155" fmla="*/ 6981825 w 8801100"/>
                  <a:gd name="connsiteY155" fmla="*/ 2943225 h 3209925"/>
                  <a:gd name="connsiteX156" fmla="*/ 7186612 w 8801100"/>
                  <a:gd name="connsiteY156" fmla="*/ 2947988 h 3209925"/>
                  <a:gd name="connsiteX157" fmla="*/ 7362825 w 8801100"/>
                  <a:gd name="connsiteY157" fmla="*/ 2809875 h 3209925"/>
                  <a:gd name="connsiteX158" fmla="*/ 7419975 w 8801100"/>
                  <a:gd name="connsiteY158" fmla="*/ 2719387 h 3209925"/>
                  <a:gd name="connsiteX159" fmla="*/ 7446169 w 8801100"/>
                  <a:gd name="connsiteY159" fmla="*/ 2636044 h 3209925"/>
                  <a:gd name="connsiteX160" fmla="*/ 7577137 w 8801100"/>
                  <a:gd name="connsiteY160" fmla="*/ 2636044 h 3209925"/>
                  <a:gd name="connsiteX161" fmla="*/ 7750969 w 8801100"/>
                  <a:gd name="connsiteY161" fmla="*/ 2578893 h 3209925"/>
                  <a:gd name="connsiteX162" fmla="*/ 7810500 w 8801100"/>
                  <a:gd name="connsiteY162" fmla="*/ 2466975 h 3209925"/>
                  <a:gd name="connsiteX163" fmla="*/ 7874794 w 8801100"/>
                  <a:gd name="connsiteY163" fmla="*/ 2431256 h 3209925"/>
                  <a:gd name="connsiteX164" fmla="*/ 7853363 w 8801100"/>
                  <a:gd name="connsiteY164" fmla="*/ 2386013 h 3209925"/>
                  <a:gd name="connsiteX165" fmla="*/ 7931944 w 8801100"/>
                  <a:gd name="connsiteY165" fmla="*/ 2216943 h 3209925"/>
                  <a:gd name="connsiteX166" fmla="*/ 7986713 w 8801100"/>
                  <a:gd name="connsiteY166" fmla="*/ 2157413 h 3209925"/>
                  <a:gd name="connsiteX167" fmla="*/ 8024813 w 8801100"/>
                  <a:gd name="connsiteY167" fmla="*/ 2152650 h 3209925"/>
                  <a:gd name="connsiteX168" fmla="*/ 8070056 w 8801100"/>
                  <a:gd name="connsiteY168" fmla="*/ 2157413 h 3209925"/>
                  <a:gd name="connsiteX169" fmla="*/ 8134350 w 8801100"/>
                  <a:gd name="connsiteY169" fmla="*/ 2124075 h 3209925"/>
                  <a:gd name="connsiteX170" fmla="*/ 8143875 w 8801100"/>
                  <a:gd name="connsiteY170" fmla="*/ 2059781 h 3209925"/>
                  <a:gd name="connsiteX171" fmla="*/ 8184355 w 8801100"/>
                  <a:gd name="connsiteY171" fmla="*/ 2024063 h 3209925"/>
                  <a:gd name="connsiteX172" fmla="*/ 8243888 w 8801100"/>
                  <a:gd name="connsiteY172" fmla="*/ 2064543 h 3209925"/>
                  <a:gd name="connsiteX173" fmla="*/ 8270082 w 8801100"/>
                  <a:gd name="connsiteY173" fmla="*/ 2014537 h 3209925"/>
                  <a:gd name="connsiteX174" fmla="*/ 8365331 w 8801100"/>
                  <a:gd name="connsiteY174" fmla="*/ 1945481 h 3209925"/>
                  <a:gd name="connsiteX175" fmla="*/ 8427244 w 8801100"/>
                  <a:gd name="connsiteY175" fmla="*/ 1952625 h 3209925"/>
                  <a:gd name="connsiteX176" fmla="*/ 8477250 w 8801100"/>
                  <a:gd name="connsiteY176" fmla="*/ 1933575 h 3209925"/>
                  <a:gd name="connsiteX177" fmla="*/ 8515350 w 8801100"/>
                  <a:gd name="connsiteY177" fmla="*/ 1905000 h 3209925"/>
                  <a:gd name="connsiteX178" fmla="*/ 8548688 w 8801100"/>
                  <a:gd name="connsiteY178" fmla="*/ 1902619 h 3209925"/>
                  <a:gd name="connsiteX179" fmla="*/ 8584406 w 8801100"/>
                  <a:gd name="connsiteY179" fmla="*/ 1933575 h 3209925"/>
                  <a:gd name="connsiteX180" fmla="*/ 8643938 w 8801100"/>
                  <a:gd name="connsiteY180" fmla="*/ 1933575 h 3209925"/>
                  <a:gd name="connsiteX181" fmla="*/ 8682037 w 8801100"/>
                  <a:gd name="connsiteY181" fmla="*/ 1914525 h 3209925"/>
                  <a:gd name="connsiteX182" fmla="*/ 8765381 w 8801100"/>
                  <a:gd name="connsiteY182" fmla="*/ 1916907 h 3209925"/>
                  <a:gd name="connsiteX183" fmla="*/ 8796338 w 8801100"/>
                  <a:gd name="connsiteY183" fmla="*/ 1871663 h 3209925"/>
                  <a:gd name="connsiteX184" fmla="*/ 8801100 w 8801100"/>
                  <a:gd name="connsiteY184" fmla="*/ 1809750 h 3209925"/>
                  <a:gd name="connsiteX185" fmla="*/ 8751093 w 8801100"/>
                  <a:gd name="connsiteY185" fmla="*/ 1769269 h 3209925"/>
                  <a:gd name="connsiteX186" fmla="*/ 8734425 w 8801100"/>
                  <a:gd name="connsiteY186" fmla="*/ 1714500 h 3209925"/>
                  <a:gd name="connsiteX187" fmla="*/ 8643938 w 8801100"/>
                  <a:gd name="connsiteY187" fmla="*/ 1652588 h 3209925"/>
                  <a:gd name="connsiteX188" fmla="*/ 8603456 w 8801100"/>
                  <a:gd name="connsiteY188" fmla="*/ 1631156 h 3209925"/>
                  <a:gd name="connsiteX189" fmla="*/ 8565356 w 8801100"/>
                  <a:gd name="connsiteY189" fmla="*/ 1585913 h 3209925"/>
                  <a:gd name="connsiteX190" fmla="*/ 8534400 w 8801100"/>
                  <a:gd name="connsiteY190" fmla="*/ 1583531 h 3209925"/>
                  <a:gd name="connsiteX191" fmla="*/ 8517731 w 8801100"/>
                  <a:gd name="connsiteY191" fmla="*/ 1531144 h 3209925"/>
                  <a:gd name="connsiteX192" fmla="*/ 8477250 w 8801100"/>
                  <a:gd name="connsiteY192" fmla="*/ 1514475 h 3209925"/>
                  <a:gd name="connsiteX193" fmla="*/ 8477250 w 8801100"/>
                  <a:gd name="connsiteY193" fmla="*/ 1514475 h 3209925"/>
                  <a:gd name="connsiteX194" fmla="*/ 8436769 w 8801100"/>
                  <a:gd name="connsiteY194" fmla="*/ 1519238 h 3209925"/>
                  <a:gd name="connsiteX195" fmla="*/ 8351043 w 8801100"/>
                  <a:gd name="connsiteY195" fmla="*/ 1445419 h 3209925"/>
                  <a:gd name="connsiteX196" fmla="*/ 8170069 w 8801100"/>
                  <a:gd name="connsiteY196" fmla="*/ 1445418 h 3209925"/>
                  <a:gd name="connsiteX197" fmla="*/ 8117681 w 8801100"/>
                  <a:gd name="connsiteY197" fmla="*/ 1483519 h 3209925"/>
                  <a:gd name="connsiteX198" fmla="*/ 8067675 w 8801100"/>
                  <a:gd name="connsiteY198" fmla="*/ 1562100 h 3209925"/>
                  <a:gd name="connsiteX199" fmla="*/ 8084344 w 8801100"/>
                  <a:gd name="connsiteY199" fmla="*/ 1583531 h 3209925"/>
                  <a:gd name="connsiteX200" fmla="*/ 8039100 w 8801100"/>
                  <a:gd name="connsiteY200" fmla="*/ 1633537 h 3209925"/>
                  <a:gd name="connsiteX201" fmla="*/ 7889081 w 8801100"/>
                  <a:gd name="connsiteY201" fmla="*/ 1557337 h 3209925"/>
                  <a:gd name="connsiteX202" fmla="*/ 7798594 w 8801100"/>
                  <a:gd name="connsiteY202" fmla="*/ 1593056 h 3209925"/>
                  <a:gd name="connsiteX203" fmla="*/ 7724775 w 8801100"/>
                  <a:gd name="connsiteY203" fmla="*/ 1590675 h 3209925"/>
                  <a:gd name="connsiteX204" fmla="*/ 7667625 w 8801100"/>
                  <a:gd name="connsiteY204" fmla="*/ 1685925 h 3209925"/>
                  <a:gd name="connsiteX205" fmla="*/ 7529513 w 8801100"/>
                  <a:gd name="connsiteY205" fmla="*/ 1588294 h 3209925"/>
                  <a:gd name="connsiteX0" fmla="*/ 7529513 w 8801100"/>
                  <a:gd name="connsiteY0" fmla="*/ 1588294 h 3176588"/>
                  <a:gd name="connsiteX1" fmla="*/ 7522369 w 8801100"/>
                  <a:gd name="connsiteY1" fmla="*/ 1533525 h 3176588"/>
                  <a:gd name="connsiteX2" fmla="*/ 7589044 w 8801100"/>
                  <a:gd name="connsiteY2" fmla="*/ 1459706 h 3176588"/>
                  <a:gd name="connsiteX3" fmla="*/ 7572375 w 8801100"/>
                  <a:gd name="connsiteY3" fmla="*/ 1388269 h 3176588"/>
                  <a:gd name="connsiteX4" fmla="*/ 7586663 w 8801100"/>
                  <a:gd name="connsiteY4" fmla="*/ 1293019 h 3176588"/>
                  <a:gd name="connsiteX5" fmla="*/ 7624763 w 8801100"/>
                  <a:gd name="connsiteY5" fmla="*/ 1235869 h 3176588"/>
                  <a:gd name="connsiteX6" fmla="*/ 7605712 w 8801100"/>
                  <a:gd name="connsiteY6" fmla="*/ 1202531 h 3176588"/>
                  <a:gd name="connsiteX7" fmla="*/ 7703343 w 8801100"/>
                  <a:gd name="connsiteY7" fmla="*/ 802481 h 3176588"/>
                  <a:gd name="connsiteX8" fmla="*/ 7696200 w 8801100"/>
                  <a:gd name="connsiteY8" fmla="*/ 773906 h 3176588"/>
                  <a:gd name="connsiteX9" fmla="*/ 7567613 w 8801100"/>
                  <a:gd name="connsiteY9" fmla="*/ 752475 h 3176588"/>
                  <a:gd name="connsiteX10" fmla="*/ 7384257 w 8801100"/>
                  <a:gd name="connsiteY10" fmla="*/ 831056 h 3176588"/>
                  <a:gd name="connsiteX11" fmla="*/ 7227093 w 8801100"/>
                  <a:gd name="connsiteY11" fmla="*/ 716756 h 3176588"/>
                  <a:gd name="connsiteX12" fmla="*/ 7150894 w 8801100"/>
                  <a:gd name="connsiteY12" fmla="*/ 723900 h 3176588"/>
                  <a:gd name="connsiteX13" fmla="*/ 7077075 w 8801100"/>
                  <a:gd name="connsiteY13" fmla="*/ 719138 h 3176588"/>
                  <a:gd name="connsiteX14" fmla="*/ 6938963 w 8801100"/>
                  <a:gd name="connsiteY14" fmla="*/ 823913 h 3176588"/>
                  <a:gd name="connsiteX15" fmla="*/ 6831806 w 8801100"/>
                  <a:gd name="connsiteY15" fmla="*/ 931069 h 3176588"/>
                  <a:gd name="connsiteX16" fmla="*/ 6788944 w 8801100"/>
                  <a:gd name="connsiteY16" fmla="*/ 1000125 h 3176588"/>
                  <a:gd name="connsiteX17" fmla="*/ 6796088 w 8801100"/>
                  <a:gd name="connsiteY17" fmla="*/ 1035844 h 3176588"/>
                  <a:gd name="connsiteX18" fmla="*/ 6734175 w 8801100"/>
                  <a:gd name="connsiteY18" fmla="*/ 1047750 h 3176588"/>
                  <a:gd name="connsiteX19" fmla="*/ 6753225 w 8801100"/>
                  <a:gd name="connsiteY19" fmla="*/ 1047750 h 3176588"/>
                  <a:gd name="connsiteX20" fmla="*/ 6719888 w 8801100"/>
                  <a:gd name="connsiteY20" fmla="*/ 1078706 h 3176588"/>
                  <a:gd name="connsiteX21" fmla="*/ 6619875 w 8801100"/>
                  <a:gd name="connsiteY21" fmla="*/ 1078707 h 3176588"/>
                  <a:gd name="connsiteX22" fmla="*/ 6524625 w 8801100"/>
                  <a:gd name="connsiteY22" fmla="*/ 1133475 h 3176588"/>
                  <a:gd name="connsiteX23" fmla="*/ 6443663 w 8801100"/>
                  <a:gd name="connsiteY23" fmla="*/ 1143000 h 3176588"/>
                  <a:gd name="connsiteX24" fmla="*/ 6403181 w 8801100"/>
                  <a:gd name="connsiteY24" fmla="*/ 1176338 h 3176588"/>
                  <a:gd name="connsiteX25" fmla="*/ 6353175 w 8801100"/>
                  <a:gd name="connsiteY25" fmla="*/ 1181100 h 3176588"/>
                  <a:gd name="connsiteX26" fmla="*/ 6231732 w 8801100"/>
                  <a:gd name="connsiteY26" fmla="*/ 1273969 h 3176588"/>
                  <a:gd name="connsiteX27" fmla="*/ 6172200 w 8801100"/>
                  <a:gd name="connsiteY27" fmla="*/ 1278731 h 3176588"/>
                  <a:gd name="connsiteX28" fmla="*/ 6119813 w 8801100"/>
                  <a:gd name="connsiteY28" fmla="*/ 1243013 h 3176588"/>
                  <a:gd name="connsiteX29" fmla="*/ 6093619 w 8801100"/>
                  <a:gd name="connsiteY29" fmla="*/ 1278731 h 3176588"/>
                  <a:gd name="connsiteX30" fmla="*/ 5895975 w 8801100"/>
                  <a:gd name="connsiteY30" fmla="*/ 1271588 h 3176588"/>
                  <a:gd name="connsiteX31" fmla="*/ 5834063 w 8801100"/>
                  <a:gd name="connsiteY31" fmla="*/ 1226344 h 3176588"/>
                  <a:gd name="connsiteX32" fmla="*/ 5636419 w 8801100"/>
                  <a:gd name="connsiteY32" fmla="*/ 1243013 h 3176588"/>
                  <a:gd name="connsiteX33" fmla="*/ 5548313 w 8801100"/>
                  <a:gd name="connsiteY33" fmla="*/ 1159668 h 3176588"/>
                  <a:gd name="connsiteX34" fmla="*/ 5472113 w 8801100"/>
                  <a:gd name="connsiteY34" fmla="*/ 1114425 h 3176588"/>
                  <a:gd name="connsiteX35" fmla="*/ 5474493 w 8801100"/>
                  <a:gd name="connsiteY35" fmla="*/ 1057275 h 3176588"/>
                  <a:gd name="connsiteX36" fmla="*/ 5455444 w 8801100"/>
                  <a:gd name="connsiteY36" fmla="*/ 1014412 h 3176588"/>
                  <a:gd name="connsiteX37" fmla="*/ 5360194 w 8801100"/>
                  <a:gd name="connsiteY37" fmla="*/ 1016794 h 3176588"/>
                  <a:gd name="connsiteX38" fmla="*/ 5264944 w 8801100"/>
                  <a:gd name="connsiteY38" fmla="*/ 995363 h 3176588"/>
                  <a:gd name="connsiteX39" fmla="*/ 5195887 w 8801100"/>
                  <a:gd name="connsiteY39" fmla="*/ 928687 h 3176588"/>
                  <a:gd name="connsiteX40" fmla="*/ 5160169 w 8801100"/>
                  <a:gd name="connsiteY40" fmla="*/ 885825 h 3176588"/>
                  <a:gd name="connsiteX41" fmla="*/ 5079206 w 8801100"/>
                  <a:gd name="connsiteY41" fmla="*/ 862012 h 3176588"/>
                  <a:gd name="connsiteX42" fmla="*/ 5005388 w 8801100"/>
                  <a:gd name="connsiteY42" fmla="*/ 873918 h 3176588"/>
                  <a:gd name="connsiteX43" fmla="*/ 4948237 w 8801100"/>
                  <a:gd name="connsiteY43" fmla="*/ 821531 h 3176588"/>
                  <a:gd name="connsiteX44" fmla="*/ 4852988 w 8801100"/>
                  <a:gd name="connsiteY44" fmla="*/ 833438 h 3176588"/>
                  <a:gd name="connsiteX45" fmla="*/ 4800600 w 8801100"/>
                  <a:gd name="connsiteY45" fmla="*/ 807244 h 3176588"/>
                  <a:gd name="connsiteX46" fmla="*/ 4719638 w 8801100"/>
                  <a:gd name="connsiteY46" fmla="*/ 850106 h 3176588"/>
                  <a:gd name="connsiteX47" fmla="*/ 4581525 w 8801100"/>
                  <a:gd name="connsiteY47" fmla="*/ 873919 h 3176588"/>
                  <a:gd name="connsiteX48" fmla="*/ 4452938 w 8801100"/>
                  <a:gd name="connsiteY48" fmla="*/ 966788 h 3176588"/>
                  <a:gd name="connsiteX49" fmla="*/ 4405312 w 8801100"/>
                  <a:gd name="connsiteY49" fmla="*/ 928688 h 3176588"/>
                  <a:gd name="connsiteX50" fmla="*/ 4383881 w 8801100"/>
                  <a:gd name="connsiteY50" fmla="*/ 959643 h 3176588"/>
                  <a:gd name="connsiteX51" fmla="*/ 4310063 w 8801100"/>
                  <a:gd name="connsiteY51" fmla="*/ 909638 h 3176588"/>
                  <a:gd name="connsiteX52" fmla="*/ 4271963 w 8801100"/>
                  <a:gd name="connsiteY52" fmla="*/ 916781 h 3176588"/>
                  <a:gd name="connsiteX53" fmla="*/ 4250531 w 8801100"/>
                  <a:gd name="connsiteY53" fmla="*/ 878681 h 3176588"/>
                  <a:gd name="connsiteX54" fmla="*/ 4191000 w 8801100"/>
                  <a:gd name="connsiteY54" fmla="*/ 883444 h 3176588"/>
                  <a:gd name="connsiteX55" fmla="*/ 4145756 w 8801100"/>
                  <a:gd name="connsiteY55" fmla="*/ 854869 h 3176588"/>
                  <a:gd name="connsiteX56" fmla="*/ 4107656 w 8801100"/>
                  <a:gd name="connsiteY56" fmla="*/ 852488 h 3176588"/>
                  <a:gd name="connsiteX57" fmla="*/ 4088606 w 8801100"/>
                  <a:gd name="connsiteY57" fmla="*/ 804862 h 3176588"/>
                  <a:gd name="connsiteX58" fmla="*/ 4074319 w 8801100"/>
                  <a:gd name="connsiteY58" fmla="*/ 773906 h 3176588"/>
                  <a:gd name="connsiteX59" fmla="*/ 4029075 w 8801100"/>
                  <a:gd name="connsiteY59" fmla="*/ 783431 h 3176588"/>
                  <a:gd name="connsiteX60" fmla="*/ 4010025 w 8801100"/>
                  <a:gd name="connsiteY60" fmla="*/ 747713 h 3176588"/>
                  <a:gd name="connsiteX61" fmla="*/ 4031457 w 8801100"/>
                  <a:gd name="connsiteY61" fmla="*/ 692944 h 3176588"/>
                  <a:gd name="connsiteX62" fmla="*/ 4000500 w 8801100"/>
                  <a:gd name="connsiteY62" fmla="*/ 666750 h 3176588"/>
                  <a:gd name="connsiteX63" fmla="*/ 4017169 w 8801100"/>
                  <a:gd name="connsiteY63" fmla="*/ 623888 h 3176588"/>
                  <a:gd name="connsiteX64" fmla="*/ 3990975 w 8801100"/>
                  <a:gd name="connsiteY64" fmla="*/ 581025 h 3176588"/>
                  <a:gd name="connsiteX65" fmla="*/ 3986213 w 8801100"/>
                  <a:gd name="connsiteY65" fmla="*/ 519113 h 3176588"/>
                  <a:gd name="connsiteX66" fmla="*/ 4010025 w 8801100"/>
                  <a:gd name="connsiteY66" fmla="*/ 454818 h 3176588"/>
                  <a:gd name="connsiteX67" fmla="*/ 3971925 w 8801100"/>
                  <a:gd name="connsiteY67" fmla="*/ 457200 h 3176588"/>
                  <a:gd name="connsiteX68" fmla="*/ 3852863 w 8801100"/>
                  <a:gd name="connsiteY68" fmla="*/ 400050 h 3176588"/>
                  <a:gd name="connsiteX69" fmla="*/ 3814762 w 8801100"/>
                  <a:gd name="connsiteY69" fmla="*/ 404812 h 3176588"/>
                  <a:gd name="connsiteX70" fmla="*/ 3609975 w 8801100"/>
                  <a:gd name="connsiteY70" fmla="*/ 295275 h 3176588"/>
                  <a:gd name="connsiteX71" fmla="*/ 3505200 w 8801100"/>
                  <a:gd name="connsiteY71" fmla="*/ 264319 h 3176588"/>
                  <a:gd name="connsiteX72" fmla="*/ 3440906 w 8801100"/>
                  <a:gd name="connsiteY72" fmla="*/ 273843 h 3176588"/>
                  <a:gd name="connsiteX73" fmla="*/ 3409950 w 8801100"/>
                  <a:gd name="connsiteY73" fmla="*/ 209550 h 3176588"/>
                  <a:gd name="connsiteX74" fmla="*/ 3352800 w 8801100"/>
                  <a:gd name="connsiteY74" fmla="*/ 209550 h 3176588"/>
                  <a:gd name="connsiteX75" fmla="*/ 3214687 w 8801100"/>
                  <a:gd name="connsiteY75" fmla="*/ 104775 h 3176588"/>
                  <a:gd name="connsiteX76" fmla="*/ 3181350 w 8801100"/>
                  <a:gd name="connsiteY76" fmla="*/ 164307 h 3176588"/>
                  <a:gd name="connsiteX77" fmla="*/ 3126581 w 8801100"/>
                  <a:gd name="connsiteY77" fmla="*/ 233363 h 3176588"/>
                  <a:gd name="connsiteX78" fmla="*/ 3083719 w 8801100"/>
                  <a:gd name="connsiteY78" fmla="*/ 250031 h 3176588"/>
                  <a:gd name="connsiteX79" fmla="*/ 3052763 w 8801100"/>
                  <a:gd name="connsiteY79" fmla="*/ 242888 h 3176588"/>
                  <a:gd name="connsiteX80" fmla="*/ 3028950 w 8801100"/>
                  <a:gd name="connsiteY80" fmla="*/ 271463 h 3176588"/>
                  <a:gd name="connsiteX81" fmla="*/ 3002756 w 8801100"/>
                  <a:gd name="connsiteY81" fmla="*/ 350044 h 3176588"/>
                  <a:gd name="connsiteX82" fmla="*/ 2959894 w 8801100"/>
                  <a:gd name="connsiteY82" fmla="*/ 347663 h 3176588"/>
                  <a:gd name="connsiteX83" fmla="*/ 2928937 w 8801100"/>
                  <a:gd name="connsiteY83" fmla="*/ 409575 h 3176588"/>
                  <a:gd name="connsiteX84" fmla="*/ 2924175 w 8801100"/>
                  <a:gd name="connsiteY84" fmla="*/ 473869 h 3176588"/>
                  <a:gd name="connsiteX85" fmla="*/ 2897982 w 8801100"/>
                  <a:gd name="connsiteY85" fmla="*/ 511969 h 3176588"/>
                  <a:gd name="connsiteX86" fmla="*/ 2924175 w 8801100"/>
                  <a:gd name="connsiteY86" fmla="*/ 571500 h 3176588"/>
                  <a:gd name="connsiteX87" fmla="*/ 2926556 w 8801100"/>
                  <a:gd name="connsiteY87" fmla="*/ 640556 h 3176588"/>
                  <a:gd name="connsiteX88" fmla="*/ 2955131 w 8801100"/>
                  <a:gd name="connsiteY88" fmla="*/ 692944 h 3176588"/>
                  <a:gd name="connsiteX89" fmla="*/ 3002757 w 8801100"/>
                  <a:gd name="connsiteY89" fmla="*/ 747713 h 3176588"/>
                  <a:gd name="connsiteX90" fmla="*/ 2952750 w 8801100"/>
                  <a:gd name="connsiteY90" fmla="*/ 885825 h 3176588"/>
                  <a:gd name="connsiteX91" fmla="*/ 2883694 w 8801100"/>
                  <a:gd name="connsiteY91" fmla="*/ 952500 h 3176588"/>
                  <a:gd name="connsiteX92" fmla="*/ 2812256 w 8801100"/>
                  <a:gd name="connsiteY92" fmla="*/ 947738 h 3176588"/>
                  <a:gd name="connsiteX93" fmla="*/ 2774156 w 8801100"/>
                  <a:gd name="connsiteY93" fmla="*/ 1004888 h 3176588"/>
                  <a:gd name="connsiteX94" fmla="*/ 2714625 w 8801100"/>
                  <a:gd name="connsiteY94" fmla="*/ 1019175 h 3176588"/>
                  <a:gd name="connsiteX95" fmla="*/ 2645569 w 8801100"/>
                  <a:gd name="connsiteY95" fmla="*/ 959644 h 3176588"/>
                  <a:gd name="connsiteX96" fmla="*/ 2590800 w 8801100"/>
                  <a:gd name="connsiteY96" fmla="*/ 931069 h 3176588"/>
                  <a:gd name="connsiteX97" fmla="*/ 2547938 w 8801100"/>
                  <a:gd name="connsiteY97" fmla="*/ 945356 h 3176588"/>
                  <a:gd name="connsiteX98" fmla="*/ 2495550 w 8801100"/>
                  <a:gd name="connsiteY98" fmla="*/ 928688 h 3176588"/>
                  <a:gd name="connsiteX99" fmla="*/ 2428875 w 8801100"/>
                  <a:gd name="connsiteY99" fmla="*/ 873919 h 3176588"/>
                  <a:gd name="connsiteX100" fmla="*/ 2383631 w 8801100"/>
                  <a:gd name="connsiteY100" fmla="*/ 885825 h 3176588"/>
                  <a:gd name="connsiteX101" fmla="*/ 2362200 w 8801100"/>
                  <a:gd name="connsiteY101" fmla="*/ 854869 h 3176588"/>
                  <a:gd name="connsiteX102" fmla="*/ 2305050 w 8801100"/>
                  <a:gd name="connsiteY102" fmla="*/ 895350 h 3176588"/>
                  <a:gd name="connsiteX103" fmla="*/ 2188369 w 8801100"/>
                  <a:gd name="connsiteY103" fmla="*/ 873919 h 3176588"/>
                  <a:gd name="connsiteX104" fmla="*/ 2138363 w 8801100"/>
                  <a:gd name="connsiteY104" fmla="*/ 821531 h 3176588"/>
                  <a:gd name="connsiteX105" fmla="*/ 2095500 w 8801100"/>
                  <a:gd name="connsiteY105" fmla="*/ 807244 h 3176588"/>
                  <a:gd name="connsiteX106" fmla="*/ 2052638 w 8801100"/>
                  <a:gd name="connsiteY106" fmla="*/ 833438 h 3176588"/>
                  <a:gd name="connsiteX107" fmla="*/ 2000250 w 8801100"/>
                  <a:gd name="connsiteY107" fmla="*/ 742950 h 3176588"/>
                  <a:gd name="connsiteX108" fmla="*/ 1990725 w 8801100"/>
                  <a:gd name="connsiteY108" fmla="*/ 595312 h 3176588"/>
                  <a:gd name="connsiteX109" fmla="*/ 1938337 w 8801100"/>
                  <a:gd name="connsiteY109" fmla="*/ 588168 h 3176588"/>
                  <a:gd name="connsiteX110" fmla="*/ 1847850 w 8801100"/>
                  <a:gd name="connsiteY110" fmla="*/ 578644 h 3176588"/>
                  <a:gd name="connsiteX111" fmla="*/ 1793081 w 8801100"/>
                  <a:gd name="connsiteY111" fmla="*/ 540544 h 3176588"/>
                  <a:gd name="connsiteX112" fmla="*/ 1724025 w 8801100"/>
                  <a:gd name="connsiteY112" fmla="*/ 550069 h 3176588"/>
                  <a:gd name="connsiteX113" fmla="*/ 1678781 w 8801100"/>
                  <a:gd name="connsiteY113" fmla="*/ 523875 h 3176588"/>
                  <a:gd name="connsiteX114" fmla="*/ 1669257 w 8801100"/>
                  <a:gd name="connsiteY114" fmla="*/ 452438 h 3176588"/>
                  <a:gd name="connsiteX115" fmla="*/ 1645444 w 8801100"/>
                  <a:gd name="connsiteY115" fmla="*/ 438150 h 3176588"/>
                  <a:gd name="connsiteX116" fmla="*/ 1607344 w 8801100"/>
                  <a:gd name="connsiteY116" fmla="*/ 485774 h 3176588"/>
                  <a:gd name="connsiteX117" fmla="*/ 1528762 w 8801100"/>
                  <a:gd name="connsiteY117" fmla="*/ 411956 h 3176588"/>
                  <a:gd name="connsiteX118" fmla="*/ 1488281 w 8801100"/>
                  <a:gd name="connsiteY118" fmla="*/ 452438 h 3176588"/>
                  <a:gd name="connsiteX119" fmla="*/ 1412081 w 8801100"/>
                  <a:gd name="connsiteY119" fmla="*/ 438150 h 3176588"/>
                  <a:gd name="connsiteX120" fmla="*/ 1333500 w 8801100"/>
                  <a:gd name="connsiteY120" fmla="*/ 464344 h 3176588"/>
                  <a:gd name="connsiteX121" fmla="*/ 1273969 w 8801100"/>
                  <a:gd name="connsiteY121" fmla="*/ 511968 h 3176588"/>
                  <a:gd name="connsiteX122" fmla="*/ 1200150 w 8801100"/>
                  <a:gd name="connsiteY122" fmla="*/ 523875 h 3176588"/>
                  <a:gd name="connsiteX123" fmla="*/ 1164431 w 8801100"/>
                  <a:gd name="connsiteY123" fmla="*/ 516731 h 3176588"/>
                  <a:gd name="connsiteX124" fmla="*/ 1085851 w 8801100"/>
                  <a:gd name="connsiteY124" fmla="*/ 547688 h 3176588"/>
                  <a:gd name="connsiteX125" fmla="*/ 1064419 w 8801100"/>
                  <a:gd name="connsiteY125" fmla="*/ 576263 h 3176588"/>
                  <a:gd name="connsiteX126" fmla="*/ 997744 w 8801100"/>
                  <a:gd name="connsiteY126" fmla="*/ 566738 h 3176588"/>
                  <a:gd name="connsiteX127" fmla="*/ 928688 w 8801100"/>
                  <a:gd name="connsiteY127" fmla="*/ 590550 h 3176588"/>
                  <a:gd name="connsiteX128" fmla="*/ 873919 w 8801100"/>
                  <a:gd name="connsiteY128" fmla="*/ 628650 h 3176588"/>
                  <a:gd name="connsiteX129" fmla="*/ 778669 w 8801100"/>
                  <a:gd name="connsiteY129" fmla="*/ 642937 h 3176588"/>
                  <a:gd name="connsiteX130" fmla="*/ 764381 w 8801100"/>
                  <a:gd name="connsiteY130" fmla="*/ 664369 h 3176588"/>
                  <a:gd name="connsiteX131" fmla="*/ 776287 w 8801100"/>
                  <a:gd name="connsiteY131" fmla="*/ 709613 h 3176588"/>
                  <a:gd name="connsiteX132" fmla="*/ 676276 w 8801100"/>
                  <a:gd name="connsiteY132" fmla="*/ 762000 h 3176588"/>
                  <a:gd name="connsiteX133" fmla="*/ 638175 w 8801100"/>
                  <a:gd name="connsiteY133" fmla="*/ 733424 h 3176588"/>
                  <a:gd name="connsiteX134" fmla="*/ 607219 w 8801100"/>
                  <a:gd name="connsiteY134" fmla="*/ 790575 h 3176588"/>
                  <a:gd name="connsiteX135" fmla="*/ 550069 w 8801100"/>
                  <a:gd name="connsiteY135" fmla="*/ 752475 h 3176588"/>
                  <a:gd name="connsiteX136" fmla="*/ 514350 w 8801100"/>
                  <a:gd name="connsiteY136" fmla="*/ 781050 h 3176588"/>
                  <a:gd name="connsiteX137" fmla="*/ 478631 w 8801100"/>
                  <a:gd name="connsiteY137" fmla="*/ 745331 h 3176588"/>
                  <a:gd name="connsiteX138" fmla="*/ 426244 w 8801100"/>
                  <a:gd name="connsiteY138" fmla="*/ 757238 h 3176588"/>
                  <a:gd name="connsiteX139" fmla="*/ 381000 w 8801100"/>
                  <a:gd name="connsiteY139" fmla="*/ 728663 h 3176588"/>
                  <a:gd name="connsiteX140" fmla="*/ 357188 w 8801100"/>
                  <a:gd name="connsiteY140" fmla="*/ 747713 h 3176588"/>
                  <a:gd name="connsiteX141" fmla="*/ 333375 w 8801100"/>
                  <a:gd name="connsiteY141" fmla="*/ 807244 h 3176588"/>
                  <a:gd name="connsiteX142" fmla="*/ 261938 w 8801100"/>
                  <a:gd name="connsiteY142" fmla="*/ 845343 h 3176588"/>
                  <a:gd name="connsiteX143" fmla="*/ 209550 w 8801100"/>
                  <a:gd name="connsiteY143" fmla="*/ 816769 h 3176588"/>
                  <a:gd name="connsiteX144" fmla="*/ 119063 w 8801100"/>
                  <a:gd name="connsiteY144" fmla="*/ 826294 h 3176588"/>
                  <a:gd name="connsiteX145" fmla="*/ 71437 w 8801100"/>
                  <a:gd name="connsiteY145" fmla="*/ 792957 h 3176588"/>
                  <a:gd name="connsiteX146" fmla="*/ 0 w 8801100"/>
                  <a:gd name="connsiteY146" fmla="*/ 812006 h 3176588"/>
                  <a:gd name="connsiteX147" fmla="*/ 4762 w 8801100"/>
                  <a:gd name="connsiteY147" fmla="*/ 0 h 3176588"/>
                  <a:gd name="connsiteX148" fmla="*/ 6584156 w 8801100"/>
                  <a:gd name="connsiteY148" fmla="*/ 3176588 h 3176588"/>
                  <a:gd name="connsiteX149" fmla="*/ 6610350 w 8801100"/>
                  <a:gd name="connsiteY149" fmla="*/ 3124200 h 3176588"/>
                  <a:gd name="connsiteX150" fmla="*/ 6650831 w 8801100"/>
                  <a:gd name="connsiteY150" fmla="*/ 2945606 h 3176588"/>
                  <a:gd name="connsiteX151" fmla="*/ 6691313 w 8801100"/>
                  <a:gd name="connsiteY151" fmla="*/ 2878931 h 3176588"/>
                  <a:gd name="connsiteX152" fmla="*/ 6836569 w 8801100"/>
                  <a:gd name="connsiteY152" fmla="*/ 2862262 h 3176588"/>
                  <a:gd name="connsiteX153" fmla="*/ 6905625 w 8801100"/>
                  <a:gd name="connsiteY153" fmla="*/ 2919413 h 3176588"/>
                  <a:gd name="connsiteX154" fmla="*/ 6981825 w 8801100"/>
                  <a:gd name="connsiteY154" fmla="*/ 2943225 h 3176588"/>
                  <a:gd name="connsiteX155" fmla="*/ 7186612 w 8801100"/>
                  <a:gd name="connsiteY155" fmla="*/ 2947988 h 3176588"/>
                  <a:gd name="connsiteX156" fmla="*/ 7362825 w 8801100"/>
                  <a:gd name="connsiteY156" fmla="*/ 2809875 h 3176588"/>
                  <a:gd name="connsiteX157" fmla="*/ 7419975 w 8801100"/>
                  <a:gd name="connsiteY157" fmla="*/ 2719387 h 3176588"/>
                  <a:gd name="connsiteX158" fmla="*/ 7446169 w 8801100"/>
                  <a:gd name="connsiteY158" fmla="*/ 2636044 h 3176588"/>
                  <a:gd name="connsiteX159" fmla="*/ 7577137 w 8801100"/>
                  <a:gd name="connsiteY159" fmla="*/ 2636044 h 3176588"/>
                  <a:gd name="connsiteX160" fmla="*/ 7750969 w 8801100"/>
                  <a:gd name="connsiteY160" fmla="*/ 2578893 h 3176588"/>
                  <a:gd name="connsiteX161" fmla="*/ 7810500 w 8801100"/>
                  <a:gd name="connsiteY161" fmla="*/ 2466975 h 3176588"/>
                  <a:gd name="connsiteX162" fmla="*/ 7874794 w 8801100"/>
                  <a:gd name="connsiteY162" fmla="*/ 2431256 h 3176588"/>
                  <a:gd name="connsiteX163" fmla="*/ 7853363 w 8801100"/>
                  <a:gd name="connsiteY163" fmla="*/ 2386013 h 3176588"/>
                  <a:gd name="connsiteX164" fmla="*/ 7931944 w 8801100"/>
                  <a:gd name="connsiteY164" fmla="*/ 2216943 h 3176588"/>
                  <a:gd name="connsiteX165" fmla="*/ 7986713 w 8801100"/>
                  <a:gd name="connsiteY165" fmla="*/ 2157413 h 3176588"/>
                  <a:gd name="connsiteX166" fmla="*/ 8024813 w 8801100"/>
                  <a:gd name="connsiteY166" fmla="*/ 2152650 h 3176588"/>
                  <a:gd name="connsiteX167" fmla="*/ 8070056 w 8801100"/>
                  <a:gd name="connsiteY167" fmla="*/ 2157413 h 3176588"/>
                  <a:gd name="connsiteX168" fmla="*/ 8134350 w 8801100"/>
                  <a:gd name="connsiteY168" fmla="*/ 2124075 h 3176588"/>
                  <a:gd name="connsiteX169" fmla="*/ 8143875 w 8801100"/>
                  <a:gd name="connsiteY169" fmla="*/ 2059781 h 3176588"/>
                  <a:gd name="connsiteX170" fmla="*/ 8184355 w 8801100"/>
                  <a:gd name="connsiteY170" fmla="*/ 2024063 h 3176588"/>
                  <a:gd name="connsiteX171" fmla="*/ 8243888 w 8801100"/>
                  <a:gd name="connsiteY171" fmla="*/ 2064543 h 3176588"/>
                  <a:gd name="connsiteX172" fmla="*/ 8270082 w 8801100"/>
                  <a:gd name="connsiteY172" fmla="*/ 2014537 h 3176588"/>
                  <a:gd name="connsiteX173" fmla="*/ 8365331 w 8801100"/>
                  <a:gd name="connsiteY173" fmla="*/ 1945481 h 3176588"/>
                  <a:gd name="connsiteX174" fmla="*/ 8427244 w 8801100"/>
                  <a:gd name="connsiteY174" fmla="*/ 1952625 h 3176588"/>
                  <a:gd name="connsiteX175" fmla="*/ 8477250 w 8801100"/>
                  <a:gd name="connsiteY175" fmla="*/ 1933575 h 3176588"/>
                  <a:gd name="connsiteX176" fmla="*/ 8515350 w 8801100"/>
                  <a:gd name="connsiteY176" fmla="*/ 1905000 h 3176588"/>
                  <a:gd name="connsiteX177" fmla="*/ 8548688 w 8801100"/>
                  <a:gd name="connsiteY177" fmla="*/ 1902619 h 3176588"/>
                  <a:gd name="connsiteX178" fmla="*/ 8584406 w 8801100"/>
                  <a:gd name="connsiteY178" fmla="*/ 1933575 h 3176588"/>
                  <a:gd name="connsiteX179" fmla="*/ 8643938 w 8801100"/>
                  <a:gd name="connsiteY179" fmla="*/ 1933575 h 3176588"/>
                  <a:gd name="connsiteX180" fmla="*/ 8682037 w 8801100"/>
                  <a:gd name="connsiteY180" fmla="*/ 1914525 h 3176588"/>
                  <a:gd name="connsiteX181" fmla="*/ 8765381 w 8801100"/>
                  <a:gd name="connsiteY181" fmla="*/ 1916907 h 3176588"/>
                  <a:gd name="connsiteX182" fmla="*/ 8796338 w 8801100"/>
                  <a:gd name="connsiteY182" fmla="*/ 1871663 h 3176588"/>
                  <a:gd name="connsiteX183" fmla="*/ 8801100 w 8801100"/>
                  <a:gd name="connsiteY183" fmla="*/ 1809750 h 3176588"/>
                  <a:gd name="connsiteX184" fmla="*/ 8751093 w 8801100"/>
                  <a:gd name="connsiteY184" fmla="*/ 1769269 h 3176588"/>
                  <a:gd name="connsiteX185" fmla="*/ 8734425 w 8801100"/>
                  <a:gd name="connsiteY185" fmla="*/ 1714500 h 3176588"/>
                  <a:gd name="connsiteX186" fmla="*/ 8643938 w 8801100"/>
                  <a:gd name="connsiteY186" fmla="*/ 1652588 h 3176588"/>
                  <a:gd name="connsiteX187" fmla="*/ 8603456 w 8801100"/>
                  <a:gd name="connsiteY187" fmla="*/ 1631156 h 3176588"/>
                  <a:gd name="connsiteX188" fmla="*/ 8565356 w 8801100"/>
                  <a:gd name="connsiteY188" fmla="*/ 1585913 h 3176588"/>
                  <a:gd name="connsiteX189" fmla="*/ 8534400 w 8801100"/>
                  <a:gd name="connsiteY189" fmla="*/ 1583531 h 3176588"/>
                  <a:gd name="connsiteX190" fmla="*/ 8517731 w 8801100"/>
                  <a:gd name="connsiteY190" fmla="*/ 1531144 h 3176588"/>
                  <a:gd name="connsiteX191" fmla="*/ 8477250 w 8801100"/>
                  <a:gd name="connsiteY191" fmla="*/ 1514475 h 3176588"/>
                  <a:gd name="connsiteX192" fmla="*/ 8477250 w 8801100"/>
                  <a:gd name="connsiteY192" fmla="*/ 1514475 h 3176588"/>
                  <a:gd name="connsiteX193" fmla="*/ 8436769 w 8801100"/>
                  <a:gd name="connsiteY193" fmla="*/ 1519238 h 3176588"/>
                  <a:gd name="connsiteX194" fmla="*/ 8351043 w 8801100"/>
                  <a:gd name="connsiteY194" fmla="*/ 1445419 h 3176588"/>
                  <a:gd name="connsiteX195" fmla="*/ 8170069 w 8801100"/>
                  <a:gd name="connsiteY195" fmla="*/ 1445418 h 3176588"/>
                  <a:gd name="connsiteX196" fmla="*/ 8117681 w 8801100"/>
                  <a:gd name="connsiteY196" fmla="*/ 1483519 h 3176588"/>
                  <a:gd name="connsiteX197" fmla="*/ 8067675 w 8801100"/>
                  <a:gd name="connsiteY197" fmla="*/ 1562100 h 3176588"/>
                  <a:gd name="connsiteX198" fmla="*/ 8084344 w 8801100"/>
                  <a:gd name="connsiteY198" fmla="*/ 1583531 h 3176588"/>
                  <a:gd name="connsiteX199" fmla="*/ 8039100 w 8801100"/>
                  <a:gd name="connsiteY199" fmla="*/ 1633537 h 3176588"/>
                  <a:gd name="connsiteX200" fmla="*/ 7889081 w 8801100"/>
                  <a:gd name="connsiteY200" fmla="*/ 1557337 h 3176588"/>
                  <a:gd name="connsiteX201" fmla="*/ 7798594 w 8801100"/>
                  <a:gd name="connsiteY201" fmla="*/ 1593056 h 3176588"/>
                  <a:gd name="connsiteX202" fmla="*/ 7724775 w 8801100"/>
                  <a:gd name="connsiteY202" fmla="*/ 1590675 h 3176588"/>
                  <a:gd name="connsiteX203" fmla="*/ 7667625 w 8801100"/>
                  <a:gd name="connsiteY203" fmla="*/ 1685925 h 3176588"/>
                  <a:gd name="connsiteX204" fmla="*/ 7529513 w 8801100"/>
                  <a:gd name="connsiteY204" fmla="*/ 1588294 h 3176588"/>
                  <a:gd name="connsiteX0" fmla="*/ 7529513 w 8801100"/>
                  <a:gd name="connsiteY0" fmla="*/ 1588294 h 3176588"/>
                  <a:gd name="connsiteX1" fmla="*/ 7522369 w 8801100"/>
                  <a:gd name="connsiteY1" fmla="*/ 1533525 h 3176588"/>
                  <a:gd name="connsiteX2" fmla="*/ 7589044 w 8801100"/>
                  <a:gd name="connsiteY2" fmla="*/ 1459706 h 3176588"/>
                  <a:gd name="connsiteX3" fmla="*/ 7572375 w 8801100"/>
                  <a:gd name="connsiteY3" fmla="*/ 1388269 h 3176588"/>
                  <a:gd name="connsiteX4" fmla="*/ 7586663 w 8801100"/>
                  <a:gd name="connsiteY4" fmla="*/ 1293019 h 3176588"/>
                  <a:gd name="connsiteX5" fmla="*/ 7624763 w 8801100"/>
                  <a:gd name="connsiteY5" fmla="*/ 1235869 h 3176588"/>
                  <a:gd name="connsiteX6" fmla="*/ 7605712 w 8801100"/>
                  <a:gd name="connsiteY6" fmla="*/ 1202531 h 3176588"/>
                  <a:gd name="connsiteX7" fmla="*/ 7703343 w 8801100"/>
                  <a:gd name="connsiteY7" fmla="*/ 802481 h 3176588"/>
                  <a:gd name="connsiteX8" fmla="*/ 7696200 w 8801100"/>
                  <a:gd name="connsiteY8" fmla="*/ 773906 h 3176588"/>
                  <a:gd name="connsiteX9" fmla="*/ 7567613 w 8801100"/>
                  <a:gd name="connsiteY9" fmla="*/ 752475 h 3176588"/>
                  <a:gd name="connsiteX10" fmla="*/ 7384257 w 8801100"/>
                  <a:gd name="connsiteY10" fmla="*/ 831056 h 3176588"/>
                  <a:gd name="connsiteX11" fmla="*/ 7227093 w 8801100"/>
                  <a:gd name="connsiteY11" fmla="*/ 716756 h 3176588"/>
                  <a:gd name="connsiteX12" fmla="*/ 7150894 w 8801100"/>
                  <a:gd name="connsiteY12" fmla="*/ 723900 h 3176588"/>
                  <a:gd name="connsiteX13" fmla="*/ 7077075 w 8801100"/>
                  <a:gd name="connsiteY13" fmla="*/ 719138 h 3176588"/>
                  <a:gd name="connsiteX14" fmla="*/ 6938963 w 8801100"/>
                  <a:gd name="connsiteY14" fmla="*/ 823913 h 3176588"/>
                  <a:gd name="connsiteX15" fmla="*/ 6831806 w 8801100"/>
                  <a:gd name="connsiteY15" fmla="*/ 931069 h 3176588"/>
                  <a:gd name="connsiteX16" fmla="*/ 6788944 w 8801100"/>
                  <a:gd name="connsiteY16" fmla="*/ 1000125 h 3176588"/>
                  <a:gd name="connsiteX17" fmla="*/ 6796088 w 8801100"/>
                  <a:gd name="connsiteY17" fmla="*/ 1035844 h 3176588"/>
                  <a:gd name="connsiteX18" fmla="*/ 6734175 w 8801100"/>
                  <a:gd name="connsiteY18" fmla="*/ 1047750 h 3176588"/>
                  <a:gd name="connsiteX19" fmla="*/ 6753225 w 8801100"/>
                  <a:gd name="connsiteY19" fmla="*/ 1047750 h 3176588"/>
                  <a:gd name="connsiteX20" fmla="*/ 6719888 w 8801100"/>
                  <a:gd name="connsiteY20" fmla="*/ 1078706 h 3176588"/>
                  <a:gd name="connsiteX21" fmla="*/ 6619875 w 8801100"/>
                  <a:gd name="connsiteY21" fmla="*/ 1078707 h 3176588"/>
                  <a:gd name="connsiteX22" fmla="*/ 6524625 w 8801100"/>
                  <a:gd name="connsiteY22" fmla="*/ 1133475 h 3176588"/>
                  <a:gd name="connsiteX23" fmla="*/ 6443663 w 8801100"/>
                  <a:gd name="connsiteY23" fmla="*/ 1143000 h 3176588"/>
                  <a:gd name="connsiteX24" fmla="*/ 6403181 w 8801100"/>
                  <a:gd name="connsiteY24" fmla="*/ 1176338 h 3176588"/>
                  <a:gd name="connsiteX25" fmla="*/ 6353175 w 8801100"/>
                  <a:gd name="connsiteY25" fmla="*/ 1181100 h 3176588"/>
                  <a:gd name="connsiteX26" fmla="*/ 6231732 w 8801100"/>
                  <a:gd name="connsiteY26" fmla="*/ 1273969 h 3176588"/>
                  <a:gd name="connsiteX27" fmla="*/ 6172200 w 8801100"/>
                  <a:gd name="connsiteY27" fmla="*/ 1278731 h 3176588"/>
                  <a:gd name="connsiteX28" fmla="*/ 6119813 w 8801100"/>
                  <a:gd name="connsiteY28" fmla="*/ 1243013 h 3176588"/>
                  <a:gd name="connsiteX29" fmla="*/ 6093619 w 8801100"/>
                  <a:gd name="connsiteY29" fmla="*/ 1278731 h 3176588"/>
                  <a:gd name="connsiteX30" fmla="*/ 5895975 w 8801100"/>
                  <a:gd name="connsiteY30" fmla="*/ 1271588 h 3176588"/>
                  <a:gd name="connsiteX31" fmla="*/ 5834063 w 8801100"/>
                  <a:gd name="connsiteY31" fmla="*/ 1226344 h 3176588"/>
                  <a:gd name="connsiteX32" fmla="*/ 5636419 w 8801100"/>
                  <a:gd name="connsiteY32" fmla="*/ 1243013 h 3176588"/>
                  <a:gd name="connsiteX33" fmla="*/ 5548313 w 8801100"/>
                  <a:gd name="connsiteY33" fmla="*/ 1159668 h 3176588"/>
                  <a:gd name="connsiteX34" fmla="*/ 5472113 w 8801100"/>
                  <a:gd name="connsiteY34" fmla="*/ 1114425 h 3176588"/>
                  <a:gd name="connsiteX35" fmla="*/ 5474493 w 8801100"/>
                  <a:gd name="connsiteY35" fmla="*/ 1057275 h 3176588"/>
                  <a:gd name="connsiteX36" fmla="*/ 5455444 w 8801100"/>
                  <a:gd name="connsiteY36" fmla="*/ 1014412 h 3176588"/>
                  <a:gd name="connsiteX37" fmla="*/ 5360194 w 8801100"/>
                  <a:gd name="connsiteY37" fmla="*/ 1016794 h 3176588"/>
                  <a:gd name="connsiteX38" fmla="*/ 5264944 w 8801100"/>
                  <a:gd name="connsiteY38" fmla="*/ 995363 h 3176588"/>
                  <a:gd name="connsiteX39" fmla="*/ 5195887 w 8801100"/>
                  <a:gd name="connsiteY39" fmla="*/ 928687 h 3176588"/>
                  <a:gd name="connsiteX40" fmla="*/ 5160169 w 8801100"/>
                  <a:gd name="connsiteY40" fmla="*/ 885825 h 3176588"/>
                  <a:gd name="connsiteX41" fmla="*/ 5079206 w 8801100"/>
                  <a:gd name="connsiteY41" fmla="*/ 862012 h 3176588"/>
                  <a:gd name="connsiteX42" fmla="*/ 5005388 w 8801100"/>
                  <a:gd name="connsiteY42" fmla="*/ 873918 h 3176588"/>
                  <a:gd name="connsiteX43" fmla="*/ 4948237 w 8801100"/>
                  <a:gd name="connsiteY43" fmla="*/ 821531 h 3176588"/>
                  <a:gd name="connsiteX44" fmla="*/ 4852988 w 8801100"/>
                  <a:gd name="connsiteY44" fmla="*/ 833438 h 3176588"/>
                  <a:gd name="connsiteX45" fmla="*/ 4800600 w 8801100"/>
                  <a:gd name="connsiteY45" fmla="*/ 807244 h 3176588"/>
                  <a:gd name="connsiteX46" fmla="*/ 4719638 w 8801100"/>
                  <a:gd name="connsiteY46" fmla="*/ 850106 h 3176588"/>
                  <a:gd name="connsiteX47" fmla="*/ 4581525 w 8801100"/>
                  <a:gd name="connsiteY47" fmla="*/ 873919 h 3176588"/>
                  <a:gd name="connsiteX48" fmla="*/ 4452938 w 8801100"/>
                  <a:gd name="connsiteY48" fmla="*/ 966788 h 3176588"/>
                  <a:gd name="connsiteX49" fmla="*/ 4405312 w 8801100"/>
                  <a:gd name="connsiteY49" fmla="*/ 928688 h 3176588"/>
                  <a:gd name="connsiteX50" fmla="*/ 4383881 w 8801100"/>
                  <a:gd name="connsiteY50" fmla="*/ 959643 h 3176588"/>
                  <a:gd name="connsiteX51" fmla="*/ 4310063 w 8801100"/>
                  <a:gd name="connsiteY51" fmla="*/ 909638 h 3176588"/>
                  <a:gd name="connsiteX52" fmla="*/ 4271963 w 8801100"/>
                  <a:gd name="connsiteY52" fmla="*/ 916781 h 3176588"/>
                  <a:gd name="connsiteX53" fmla="*/ 4250531 w 8801100"/>
                  <a:gd name="connsiteY53" fmla="*/ 878681 h 3176588"/>
                  <a:gd name="connsiteX54" fmla="*/ 4191000 w 8801100"/>
                  <a:gd name="connsiteY54" fmla="*/ 883444 h 3176588"/>
                  <a:gd name="connsiteX55" fmla="*/ 4145756 w 8801100"/>
                  <a:gd name="connsiteY55" fmla="*/ 854869 h 3176588"/>
                  <a:gd name="connsiteX56" fmla="*/ 4107656 w 8801100"/>
                  <a:gd name="connsiteY56" fmla="*/ 852488 h 3176588"/>
                  <a:gd name="connsiteX57" fmla="*/ 4088606 w 8801100"/>
                  <a:gd name="connsiteY57" fmla="*/ 804862 h 3176588"/>
                  <a:gd name="connsiteX58" fmla="*/ 4074319 w 8801100"/>
                  <a:gd name="connsiteY58" fmla="*/ 773906 h 3176588"/>
                  <a:gd name="connsiteX59" fmla="*/ 4029075 w 8801100"/>
                  <a:gd name="connsiteY59" fmla="*/ 783431 h 3176588"/>
                  <a:gd name="connsiteX60" fmla="*/ 4010025 w 8801100"/>
                  <a:gd name="connsiteY60" fmla="*/ 747713 h 3176588"/>
                  <a:gd name="connsiteX61" fmla="*/ 4031457 w 8801100"/>
                  <a:gd name="connsiteY61" fmla="*/ 692944 h 3176588"/>
                  <a:gd name="connsiteX62" fmla="*/ 4000500 w 8801100"/>
                  <a:gd name="connsiteY62" fmla="*/ 666750 h 3176588"/>
                  <a:gd name="connsiteX63" fmla="*/ 4017169 w 8801100"/>
                  <a:gd name="connsiteY63" fmla="*/ 623888 h 3176588"/>
                  <a:gd name="connsiteX64" fmla="*/ 3990975 w 8801100"/>
                  <a:gd name="connsiteY64" fmla="*/ 581025 h 3176588"/>
                  <a:gd name="connsiteX65" fmla="*/ 3986213 w 8801100"/>
                  <a:gd name="connsiteY65" fmla="*/ 519113 h 3176588"/>
                  <a:gd name="connsiteX66" fmla="*/ 4010025 w 8801100"/>
                  <a:gd name="connsiteY66" fmla="*/ 454818 h 3176588"/>
                  <a:gd name="connsiteX67" fmla="*/ 3971925 w 8801100"/>
                  <a:gd name="connsiteY67" fmla="*/ 457200 h 3176588"/>
                  <a:gd name="connsiteX68" fmla="*/ 3852863 w 8801100"/>
                  <a:gd name="connsiteY68" fmla="*/ 400050 h 3176588"/>
                  <a:gd name="connsiteX69" fmla="*/ 3814762 w 8801100"/>
                  <a:gd name="connsiteY69" fmla="*/ 404812 h 3176588"/>
                  <a:gd name="connsiteX70" fmla="*/ 3609975 w 8801100"/>
                  <a:gd name="connsiteY70" fmla="*/ 295275 h 3176588"/>
                  <a:gd name="connsiteX71" fmla="*/ 3505200 w 8801100"/>
                  <a:gd name="connsiteY71" fmla="*/ 264319 h 3176588"/>
                  <a:gd name="connsiteX72" fmla="*/ 3440906 w 8801100"/>
                  <a:gd name="connsiteY72" fmla="*/ 273843 h 3176588"/>
                  <a:gd name="connsiteX73" fmla="*/ 3409950 w 8801100"/>
                  <a:gd name="connsiteY73" fmla="*/ 209550 h 3176588"/>
                  <a:gd name="connsiteX74" fmla="*/ 3352800 w 8801100"/>
                  <a:gd name="connsiteY74" fmla="*/ 209550 h 3176588"/>
                  <a:gd name="connsiteX75" fmla="*/ 3214687 w 8801100"/>
                  <a:gd name="connsiteY75" fmla="*/ 104775 h 3176588"/>
                  <a:gd name="connsiteX76" fmla="*/ 3181350 w 8801100"/>
                  <a:gd name="connsiteY76" fmla="*/ 164307 h 3176588"/>
                  <a:gd name="connsiteX77" fmla="*/ 3126581 w 8801100"/>
                  <a:gd name="connsiteY77" fmla="*/ 233363 h 3176588"/>
                  <a:gd name="connsiteX78" fmla="*/ 3083719 w 8801100"/>
                  <a:gd name="connsiteY78" fmla="*/ 250031 h 3176588"/>
                  <a:gd name="connsiteX79" fmla="*/ 3052763 w 8801100"/>
                  <a:gd name="connsiteY79" fmla="*/ 242888 h 3176588"/>
                  <a:gd name="connsiteX80" fmla="*/ 3028950 w 8801100"/>
                  <a:gd name="connsiteY80" fmla="*/ 271463 h 3176588"/>
                  <a:gd name="connsiteX81" fmla="*/ 3002756 w 8801100"/>
                  <a:gd name="connsiteY81" fmla="*/ 350044 h 3176588"/>
                  <a:gd name="connsiteX82" fmla="*/ 2959894 w 8801100"/>
                  <a:gd name="connsiteY82" fmla="*/ 347663 h 3176588"/>
                  <a:gd name="connsiteX83" fmla="*/ 2928937 w 8801100"/>
                  <a:gd name="connsiteY83" fmla="*/ 409575 h 3176588"/>
                  <a:gd name="connsiteX84" fmla="*/ 2924175 w 8801100"/>
                  <a:gd name="connsiteY84" fmla="*/ 473869 h 3176588"/>
                  <a:gd name="connsiteX85" fmla="*/ 2897982 w 8801100"/>
                  <a:gd name="connsiteY85" fmla="*/ 511969 h 3176588"/>
                  <a:gd name="connsiteX86" fmla="*/ 2924175 w 8801100"/>
                  <a:gd name="connsiteY86" fmla="*/ 571500 h 3176588"/>
                  <a:gd name="connsiteX87" fmla="*/ 2926556 w 8801100"/>
                  <a:gd name="connsiteY87" fmla="*/ 640556 h 3176588"/>
                  <a:gd name="connsiteX88" fmla="*/ 2955131 w 8801100"/>
                  <a:gd name="connsiteY88" fmla="*/ 692944 h 3176588"/>
                  <a:gd name="connsiteX89" fmla="*/ 3002757 w 8801100"/>
                  <a:gd name="connsiteY89" fmla="*/ 747713 h 3176588"/>
                  <a:gd name="connsiteX90" fmla="*/ 2952750 w 8801100"/>
                  <a:gd name="connsiteY90" fmla="*/ 885825 h 3176588"/>
                  <a:gd name="connsiteX91" fmla="*/ 2883694 w 8801100"/>
                  <a:gd name="connsiteY91" fmla="*/ 952500 h 3176588"/>
                  <a:gd name="connsiteX92" fmla="*/ 2812256 w 8801100"/>
                  <a:gd name="connsiteY92" fmla="*/ 947738 h 3176588"/>
                  <a:gd name="connsiteX93" fmla="*/ 2774156 w 8801100"/>
                  <a:gd name="connsiteY93" fmla="*/ 1004888 h 3176588"/>
                  <a:gd name="connsiteX94" fmla="*/ 2714625 w 8801100"/>
                  <a:gd name="connsiteY94" fmla="*/ 1019175 h 3176588"/>
                  <a:gd name="connsiteX95" fmla="*/ 2645569 w 8801100"/>
                  <a:gd name="connsiteY95" fmla="*/ 959644 h 3176588"/>
                  <a:gd name="connsiteX96" fmla="*/ 2590800 w 8801100"/>
                  <a:gd name="connsiteY96" fmla="*/ 931069 h 3176588"/>
                  <a:gd name="connsiteX97" fmla="*/ 2547938 w 8801100"/>
                  <a:gd name="connsiteY97" fmla="*/ 945356 h 3176588"/>
                  <a:gd name="connsiteX98" fmla="*/ 2495550 w 8801100"/>
                  <a:gd name="connsiteY98" fmla="*/ 928688 h 3176588"/>
                  <a:gd name="connsiteX99" fmla="*/ 2428875 w 8801100"/>
                  <a:gd name="connsiteY99" fmla="*/ 873919 h 3176588"/>
                  <a:gd name="connsiteX100" fmla="*/ 2383631 w 8801100"/>
                  <a:gd name="connsiteY100" fmla="*/ 885825 h 3176588"/>
                  <a:gd name="connsiteX101" fmla="*/ 2362200 w 8801100"/>
                  <a:gd name="connsiteY101" fmla="*/ 854869 h 3176588"/>
                  <a:gd name="connsiteX102" fmla="*/ 2305050 w 8801100"/>
                  <a:gd name="connsiteY102" fmla="*/ 895350 h 3176588"/>
                  <a:gd name="connsiteX103" fmla="*/ 2188369 w 8801100"/>
                  <a:gd name="connsiteY103" fmla="*/ 873919 h 3176588"/>
                  <a:gd name="connsiteX104" fmla="*/ 2138363 w 8801100"/>
                  <a:gd name="connsiteY104" fmla="*/ 821531 h 3176588"/>
                  <a:gd name="connsiteX105" fmla="*/ 2095500 w 8801100"/>
                  <a:gd name="connsiteY105" fmla="*/ 807244 h 3176588"/>
                  <a:gd name="connsiteX106" fmla="*/ 2052638 w 8801100"/>
                  <a:gd name="connsiteY106" fmla="*/ 833438 h 3176588"/>
                  <a:gd name="connsiteX107" fmla="*/ 2000250 w 8801100"/>
                  <a:gd name="connsiteY107" fmla="*/ 742950 h 3176588"/>
                  <a:gd name="connsiteX108" fmla="*/ 1990725 w 8801100"/>
                  <a:gd name="connsiteY108" fmla="*/ 595312 h 3176588"/>
                  <a:gd name="connsiteX109" fmla="*/ 1938337 w 8801100"/>
                  <a:gd name="connsiteY109" fmla="*/ 588168 h 3176588"/>
                  <a:gd name="connsiteX110" fmla="*/ 1847850 w 8801100"/>
                  <a:gd name="connsiteY110" fmla="*/ 578644 h 3176588"/>
                  <a:gd name="connsiteX111" fmla="*/ 1793081 w 8801100"/>
                  <a:gd name="connsiteY111" fmla="*/ 540544 h 3176588"/>
                  <a:gd name="connsiteX112" fmla="*/ 1724025 w 8801100"/>
                  <a:gd name="connsiteY112" fmla="*/ 550069 h 3176588"/>
                  <a:gd name="connsiteX113" fmla="*/ 1678781 w 8801100"/>
                  <a:gd name="connsiteY113" fmla="*/ 523875 h 3176588"/>
                  <a:gd name="connsiteX114" fmla="*/ 1669257 w 8801100"/>
                  <a:gd name="connsiteY114" fmla="*/ 452438 h 3176588"/>
                  <a:gd name="connsiteX115" fmla="*/ 1645444 w 8801100"/>
                  <a:gd name="connsiteY115" fmla="*/ 438150 h 3176588"/>
                  <a:gd name="connsiteX116" fmla="*/ 1607344 w 8801100"/>
                  <a:gd name="connsiteY116" fmla="*/ 485774 h 3176588"/>
                  <a:gd name="connsiteX117" fmla="*/ 1528762 w 8801100"/>
                  <a:gd name="connsiteY117" fmla="*/ 411956 h 3176588"/>
                  <a:gd name="connsiteX118" fmla="*/ 1488281 w 8801100"/>
                  <a:gd name="connsiteY118" fmla="*/ 452438 h 3176588"/>
                  <a:gd name="connsiteX119" fmla="*/ 1412081 w 8801100"/>
                  <a:gd name="connsiteY119" fmla="*/ 438150 h 3176588"/>
                  <a:gd name="connsiteX120" fmla="*/ 1333500 w 8801100"/>
                  <a:gd name="connsiteY120" fmla="*/ 464344 h 3176588"/>
                  <a:gd name="connsiteX121" fmla="*/ 1273969 w 8801100"/>
                  <a:gd name="connsiteY121" fmla="*/ 511968 h 3176588"/>
                  <a:gd name="connsiteX122" fmla="*/ 1200150 w 8801100"/>
                  <a:gd name="connsiteY122" fmla="*/ 523875 h 3176588"/>
                  <a:gd name="connsiteX123" fmla="*/ 1164431 w 8801100"/>
                  <a:gd name="connsiteY123" fmla="*/ 516731 h 3176588"/>
                  <a:gd name="connsiteX124" fmla="*/ 1085851 w 8801100"/>
                  <a:gd name="connsiteY124" fmla="*/ 547688 h 3176588"/>
                  <a:gd name="connsiteX125" fmla="*/ 1064419 w 8801100"/>
                  <a:gd name="connsiteY125" fmla="*/ 576263 h 3176588"/>
                  <a:gd name="connsiteX126" fmla="*/ 997744 w 8801100"/>
                  <a:gd name="connsiteY126" fmla="*/ 566738 h 3176588"/>
                  <a:gd name="connsiteX127" fmla="*/ 928688 w 8801100"/>
                  <a:gd name="connsiteY127" fmla="*/ 590550 h 3176588"/>
                  <a:gd name="connsiteX128" fmla="*/ 873919 w 8801100"/>
                  <a:gd name="connsiteY128" fmla="*/ 628650 h 3176588"/>
                  <a:gd name="connsiteX129" fmla="*/ 778669 w 8801100"/>
                  <a:gd name="connsiteY129" fmla="*/ 642937 h 3176588"/>
                  <a:gd name="connsiteX130" fmla="*/ 764381 w 8801100"/>
                  <a:gd name="connsiteY130" fmla="*/ 664369 h 3176588"/>
                  <a:gd name="connsiteX131" fmla="*/ 776287 w 8801100"/>
                  <a:gd name="connsiteY131" fmla="*/ 709613 h 3176588"/>
                  <a:gd name="connsiteX132" fmla="*/ 676276 w 8801100"/>
                  <a:gd name="connsiteY132" fmla="*/ 762000 h 3176588"/>
                  <a:gd name="connsiteX133" fmla="*/ 638175 w 8801100"/>
                  <a:gd name="connsiteY133" fmla="*/ 733424 h 3176588"/>
                  <a:gd name="connsiteX134" fmla="*/ 607219 w 8801100"/>
                  <a:gd name="connsiteY134" fmla="*/ 790575 h 3176588"/>
                  <a:gd name="connsiteX135" fmla="*/ 550069 w 8801100"/>
                  <a:gd name="connsiteY135" fmla="*/ 752475 h 3176588"/>
                  <a:gd name="connsiteX136" fmla="*/ 514350 w 8801100"/>
                  <a:gd name="connsiteY136" fmla="*/ 781050 h 3176588"/>
                  <a:gd name="connsiteX137" fmla="*/ 478631 w 8801100"/>
                  <a:gd name="connsiteY137" fmla="*/ 745331 h 3176588"/>
                  <a:gd name="connsiteX138" fmla="*/ 426244 w 8801100"/>
                  <a:gd name="connsiteY138" fmla="*/ 757238 h 3176588"/>
                  <a:gd name="connsiteX139" fmla="*/ 381000 w 8801100"/>
                  <a:gd name="connsiteY139" fmla="*/ 728663 h 3176588"/>
                  <a:gd name="connsiteX140" fmla="*/ 357188 w 8801100"/>
                  <a:gd name="connsiteY140" fmla="*/ 747713 h 3176588"/>
                  <a:gd name="connsiteX141" fmla="*/ 333375 w 8801100"/>
                  <a:gd name="connsiteY141" fmla="*/ 807244 h 3176588"/>
                  <a:gd name="connsiteX142" fmla="*/ 261938 w 8801100"/>
                  <a:gd name="connsiteY142" fmla="*/ 845343 h 3176588"/>
                  <a:gd name="connsiteX143" fmla="*/ 209550 w 8801100"/>
                  <a:gd name="connsiteY143" fmla="*/ 816769 h 3176588"/>
                  <a:gd name="connsiteX144" fmla="*/ 119063 w 8801100"/>
                  <a:gd name="connsiteY144" fmla="*/ 826294 h 3176588"/>
                  <a:gd name="connsiteX145" fmla="*/ 71437 w 8801100"/>
                  <a:gd name="connsiteY145" fmla="*/ 792957 h 3176588"/>
                  <a:gd name="connsiteX146" fmla="*/ 0 w 8801100"/>
                  <a:gd name="connsiteY146" fmla="*/ 812006 h 3176588"/>
                  <a:gd name="connsiteX147" fmla="*/ 4762 w 8801100"/>
                  <a:gd name="connsiteY147" fmla="*/ 0 h 3176588"/>
                  <a:gd name="connsiteX148" fmla="*/ 6584156 w 8801100"/>
                  <a:gd name="connsiteY148" fmla="*/ 3176588 h 3176588"/>
                  <a:gd name="connsiteX149" fmla="*/ 6650831 w 8801100"/>
                  <a:gd name="connsiteY149" fmla="*/ 2945606 h 3176588"/>
                  <a:gd name="connsiteX150" fmla="*/ 6691313 w 8801100"/>
                  <a:gd name="connsiteY150" fmla="*/ 2878931 h 3176588"/>
                  <a:gd name="connsiteX151" fmla="*/ 6836569 w 8801100"/>
                  <a:gd name="connsiteY151" fmla="*/ 2862262 h 3176588"/>
                  <a:gd name="connsiteX152" fmla="*/ 6905625 w 8801100"/>
                  <a:gd name="connsiteY152" fmla="*/ 2919413 h 3176588"/>
                  <a:gd name="connsiteX153" fmla="*/ 6981825 w 8801100"/>
                  <a:gd name="connsiteY153" fmla="*/ 2943225 h 3176588"/>
                  <a:gd name="connsiteX154" fmla="*/ 7186612 w 8801100"/>
                  <a:gd name="connsiteY154" fmla="*/ 2947988 h 3176588"/>
                  <a:gd name="connsiteX155" fmla="*/ 7362825 w 8801100"/>
                  <a:gd name="connsiteY155" fmla="*/ 2809875 h 3176588"/>
                  <a:gd name="connsiteX156" fmla="*/ 7419975 w 8801100"/>
                  <a:gd name="connsiteY156" fmla="*/ 2719387 h 3176588"/>
                  <a:gd name="connsiteX157" fmla="*/ 7446169 w 8801100"/>
                  <a:gd name="connsiteY157" fmla="*/ 2636044 h 3176588"/>
                  <a:gd name="connsiteX158" fmla="*/ 7577137 w 8801100"/>
                  <a:gd name="connsiteY158" fmla="*/ 2636044 h 3176588"/>
                  <a:gd name="connsiteX159" fmla="*/ 7750969 w 8801100"/>
                  <a:gd name="connsiteY159" fmla="*/ 2578893 h 3176588"/>
                  <a:gd name="connsiteX160" fmla="*/ 7810500 w 8801100"/>
                  <a:gd name="connsiteY160" fmla="*/ 2466975 h 3176588"/>
                  <a:gd name="connsiteX161" fmla="*/ 7874794 w 8801100"/>
                  <a:gd name="connsiteY161" fmla="*/ 2431256 h 3176588"/>
                  <a:gd name="connsiteX162" fmla="*/ 7853363 w 8801100"/>
                  <a:gd name="connsiteY162" fmla="*/ 2386013 h 3176588"/>
                  <a:gd name="connsiteX163" fmla="*/ 7931944 w 8801100"/>
                  <a:gd name="connsiteY163" fmla="*/ 2216943 h 3176588"/>
                  <a:gd name="connsiteX164" fmla="*/ 7986713 w 8801100"/>
                  <a:gd name="connsiteY164" fmla="*/ 2157413 h 3176588"/>
                  <a:gd name="connsiteX165" fmla="*/ 8024813 w 8801100"/>
                  <a:gd name="connsiteY165" fmla="*/ 2152650 h 3176588"/>
                  <a:gd name="connsiteX166" fmla="*/ 8070056 w 8801100"/>
                  <a:gd name="connsiteY166" fmla="*/ 2157413 h 3176588"/>
                  <a:gd name="connsiteX167" fmla="*/ 8134350 w 8801100"/>
                  <a:gd name="connsiteY167" fmla="*/ 2124075 h 3176588"/>
                  <a:gd name="connsiteX168" fmla="*/ 8143875 w 8801100"/>
                  <a:gd name="connsiteY168" fmla="*/ 2059781 h 3176588"/>
                  <a:gd name="connsiteX169" fmla="*/ 8184355 w 8801100"/>
                  <a:gd name="connsiteY169" fmla="*/ 2024063 h 3176588"/>
                  <a:gd name="connsiteX170" fmla="*/ 8243888 w 8801100"/>
                  <a:gd name="connsiteY170" fmla="*/ 2064543 h 3176588"/>
                  <a:gd name="connsiteX171" fmla="*/ 8270082 w 8801100"/>
                  <a:gd name="connsiteY171" fmla="*/ 2014537 h 3176588"/>
                  <a:gd name="connsiteX172" fmla="*/ 8365331 w 8801100"/>
                  <a:gd name="connsiteY172" fmla="*/ 1945481 h 3176588"/>
                  <a:gd name="connsiteX173" fmla="*/ 8427244 w 8801100"/>
                  <a:gd name="connsiteY173" fmla="*/ 1952625 h 3176588"/>
                  <a:gd name="connsiteX174" fmla="*/ 8477250 w 8801100"/>
                  <a:gd name="connsiteY174" fmla="*/ 1933575 h 3176588"/>
                  <a:gd name="connsiteX175" fmla="*/ 8515350 w 8801100"/>
                  <a:gd name="connsiteY175" fmla="*/ 1905000 h 3176588"/>
                  <a:gd name="connsiteX176" fmla="*/ 8548688 w 8801100"/>
                  <a:gd name="connsiteY176" fmla="*/ 1902619 h 3176588"/>
                  <a:gd name="connsiteX177" fmla="*/ 8584406 w 8801100"/>
                  <a:gd name="connsiteY177" fmla="*/ 1933575 h 3176588"/>
                  <a:gd name="connsiteX178" fmla="*/ 8643938 w 8801100"/>
                  <a:gd name="connsiteY178" fmla="*/ 1933575 h 3176588"/>
                  <a:gd name="connsiteX179" fmla="*/ 8682037 w 8801100"/>
                  <a:gd name="connsiteY179" fmla="*/ 1914525 h 3176588"/>
                  <a:gd name="connsiteX180" fmla="*/ 8765381 w 8801100"/>
                  <a:gd name="connsiteY180" fmla="*/ 1916907 h 3176588"/>
                  <a:gd name="connsiteX181" fmla="*/ 8796338 w 8801100"/>
                  <a:gd name="connsiteY181" fmla="*/ 1871663 h 3176588"/>
                  <a:gd name="connsiteX182" fmla="*/ 8801100 w 8801100"/>
                  <a:gd name="connsiteY182" fmla="*/ 1809750 h 3176588"/>
                  <a:gd name="connsiteX183" fmla="*/ 8751093 w 8801100"/>
                  <a:gd name="connsiteY183" fmla="*/ 1769269 h 3176588"/>
                  <a:gd name="connsiteX184" fmla="*/ 8734425 w 8801100"/>
                  <a:gd name="connsiteY184" fmla="*/ 1714500 h 3176588"/>
                  <a:gd name="connsiteX185" fmla="*/ 8643938 w 8801100"/>
                  <a:gd name="connsiteY185" fmla="*/ 1652588 h 3176588"/>
                  <a:gd name="connsiteX186" fmla="*/ 8603456 w 8801100"/>
                  <a:gd name="connsiteY186" fmla="*/ 1631156 h 3176588"/>
                  <a:gd name="connsiteX187" fmla="*/ 8565356 w 8801100"/>
                  <a:gd name="connsiteY187" fmla="*/ 1585913 h 3176588"/>
                  <a:gd name="connsiteX188" fmla="*/ 8534400 w 8801100"/>
                  <a:gd name="connsiteY188" fmla="*/ 1583531 h 3176588"/>
                  <a:gd name="connsiteX189" fmla="*/ 8517731 w 8801100"/>
                  <a:gd name="connsiteY189" fmla="*/ 1531144 h 3176588"/>
                  <a:gd name="connsiteX190" fmla="*/ 8477250 w 8801100"/>
                  <a:gd name="connsiteY190" fmla="*/ 1514475 h 3176588"/>
                  <a:gd name="connsiteX191" fmla="*/ 8477250 w 8801100"/>
                  <a:gd name="connsiteY191" fmla="*/ 1514475 h 3176588"/>
                  <a:gd name="connsiteX192" fmla="*/ 8436769 w 8801100"/>
                  <a:gd name="connsiteY192" fmla="*/ 1519238 h 3176588"/>
                  <a:gd name="connsiteX193" fmla="*/ 8351043 w 8801100"/>
                  <a:gd name="connsiteY193" fmla="*/ 1445419 h 3176588"/>
                  <a:gd name="connsiteX194" fmla="*/ 8170069 w 8801100"/>
                  <a:gd name="connsiteY194" fmla="*/ 1445418 h 3176588"/>
                  <a:gd name="connsiteX195" fmla="*/ 8117681 w 8801100"/>
                  <a:gd name="connsiteY195" fmla="*/ 1483519 h 3176588"/>
                  <a:gd name="connsiteX196" fmla="*/ 8067675 w 8801100"/>
                  <a:gd name="connsiteY196" fmla="*/ 1562100 h 3176588"/>
                  <a:gd name="connsiteX197" fmla="*/ 8084344 w 8801100"/>
                  <a:gd name="connsiteY197" fmla="*/ 1583531 h 3176588"/>
                  <a:gd name="connsiteX198" fmla="*/ 8039100 w 8801100"/>
                  <a:gd name="connsiteY198" fmla="*/ 1633537 h 3176588"/>
                  <a:gd name="connsiteX199" fmla="*/ 7889081 w 8801100"/>
                  <a:gd name="connsiteY199" fmla="*/ 1557337 h 3176588"/>
                  <a:gd name="connsiteX200" fmla="*/ 7798594 w 8801100"/>
                  <a:gd name="connsiteY200" fmla="*/ 1593056 h 3176588"/>
                  <a:gd name="connsiteX201" fmla="*/ 7724775 w 8801100"/>
                  <a:gd name="connsiteY201" fmla="*/ 1590675 h 3176588"/>
                  <a:gd name="connsiteX202" fmla="*/ 7667625 w 8801100"/>
                  <a:gd name="connsiteY202" fmla="*/ 1685925 h 3176588"/>
                  <a:gd name="connsiteX203" fmla="*/ 7529513 w 8801100"/>
                  <a:gd name="connsiteY203" fmla="*/ 1588294 h 3176588"/>
                  <a:gd name="connsiteX0" fmla="*/ 7529513 w 8801100"/>
                  <a:gd name="connsiteY0" fmla="*/ 1588294 h 2947988"/>
                  <a:gd name="connsiteX1" fmla="*/ 7522369 w 8801100"/>
                  <a:gd name="connsiteY1" fmla="*/ 1533525 h 2947988"/>
                  <a:gd name="connsiteX2" fmla="*/ 7589044 w 8801100"/>
                  <a:gd name="connsiteY2" fmla="*/ 1459706 h 2947988"/>
                  <a:gd name="connsiteX3" fmla="*/ 7572375 w 8801100"/>
                  <a:gd name="connsiteY3" fmla="*/ 1388269 h 2947988"/>
                  <a:gd name="connsiteX4" fmla="*/ 7586663 w 8801100"/>
                  <a:gd name="connsiteY4" fmla="*/ 1293019 h 2947988"/>
                  <a:gd name="connsiteX5" fmla="*/ 7624763 w 8801100"/>
                  <a:gd name="connsiteY5" fmla="*/ 1235869 h 2947988"/>
                  <a:gd name="connsiteX6" fmla="*/ 7605712 w 8801100"/>
                  <a:gd name="connsiteY6" fmla="*/ 1202531 h 2947988"/>
                  <a:gd name="connsiteX7" fmla="*/ 7703343 w 8801100"/>
                  <a:gd name="connsiteY7" fmla="*/ 802481 h 2947988"/>
                  <a:gd name="connsiteX8" fmla="*/ 7696200 w 8801100"/>
                  <a:gd name="connsiteY8" fmla="*/ 773906 h 2947988"/>
                  <a:gd name="connsiteX9" fmla="*/ 7567613 w 8801100"/>
                  <a:gd name="connsiteY9" fmla="*/ 752475 h 2947988"/>
                  <a:gd name="connsiteX10" fmla="*/ 7384257 w 8801100"/>
                  <a:gd name="connsiteY10" fmla="*/ 831056 h 2947988"/>
                  <a:gd name="connsiteX11" fmla="*/ 7227093 w 8801100"/>
                  <a:gd name="connsiteY11" fmla="*/ 716756 h 2947988"/>
                  <a:gd name="connsiteX12" fmla="*/ 7150894 w 8801100"/>
                  <a:gd name="connsiteY12" fmla="*/ 723900 h 2947988"/>
                  <a:gd name="connsiteX13" fmla="*/ 7077075 w 8801100"/>
                  <a:gd name="connsiteY13" fmla="*/ 719138 h 2947988"/>
                  <a:gd name="connsiteX14" fmla="*/ 6938963 w 8801100"/>
                  <a:gd name="connsiteY14" fmla="*/ 823913 h 2947988"/>
                  <a:gd name="connsiteX15" fmla="*/ 6831806 w 8801100"/>
                  <a:gd name="connsiteY15" fmla="*/ 931069 h 2947988"/>
                  <a:gd name="connsiteX16" fmla="*/ 6788944 w 8801100"/>
                  <a:gd name="connsiteY16" fmla="*/ 1000125 h 2947988"/>
                  <a:gd name="connsiteX17" fmla="*/ 6796088 w 8801100"/>
                  <a:gd name="connsiteY17" fmla="*/ 1035844 h 2947988"/>
                  <a:gd name="connsiteX18" fmla="*/ 6734175 w 8801100"/>
                  <a:gd name="connsiteY18" fmla="*/ 1047750 h 2947988"/>
                  <a:gd name="connsiteX19" fmla="*/ 6753225 w 8801100"/>
                  <a:gd name="connsiteY19" fmla="*/ 1047750 h 2947988"/>
                  <a:gd name="connsiteX20" fmla="*/ 6719888 w 8801100"/>
                  <a:gd name="connsiteY20" fmla="*/ 1078706 h 2947988"/>
                  <a:gd name="connsiteX21" fmla="*/ 6619875 w 8801100"/>
                  <a:gd name="connsiteY21" fmla="*/ 1078707 h 2947988"/>
                  <a:gd name="connsiteX22" fmla="*/ 6524625 w 8801100"/>
                  <a:gd name="connsiteY22" fmla="*/ 1133475 h 2947988"/>
                  <a:gd name="connsiteX23" fmla="*/ 6443663 w 8801100"/>
                  <a:gd name="connsiteY23" fmla="*/ 1143000 h 2947988"/>
                  <a:gd name="connsiteX24" fmla="*/ 6403181 w 8801100"/>
                  <a:gd name="connsiteY24" fmla="*/ 1176338 h 2947988"/>
                  <a:gd name="connsiteX25" fmla="*/ 6353175 w 8801100"/>
                  <a:gd name="connsiteY25" fmla="*/ 1181100 h 2947988"/>
                  <a:gd name="connsiteX26" fmla="*/ 6231732 w 8801100"/>
                  <a:gd name="connsiteY26" fmla="*/ 1273969 h 2947988"/>
                  <a:gd name="connsiteX27" fmla="*/ 6172200 w 8801100"/>
                  <a:gd name="connsiteY27" fmla="*/ 1278731 h 2947988"/>
                  <a:gd name="connsiteX28" fmla="*/ 6119813 w 8801100"/>
                  <a:gd name="connsiteY28" fmla="*/ 1243013 h 2947988"/>
                  <a:gd name="connsiteX29" fmla="*/ 6093619 w 8801100"/>
                  <a:gd name="connsiteY29" fmla="*/ 1278731 h 2947988"/>
                  <a:gd name="connsiteX30" fmla="*/ 5895975 w 8801100"/>
                  <a:gd name="connsiteY30" fmla="*/ 1271588 h 2947988"/>
                  <a:gd name="connsiteX31" fmla="*/ 5834063 w 8801100"/>
                  <a:gd name="connsiteY31" fmla="*/ 1226344 h 2947988"/>
                  <a:gd name="connsiteX32" fmla="*/ 5636419 w 8801100"/>
                  <a:gd name="connsiteY32" fmla="*/ 1243013 h 2947988"/>
                  <a:gd name="connsiteX33" fmla="*/ 5548313 w 8801100"/>
                  <a:gd name="connsiteY33" fmla="*/ 1159668 h 2947988"/>
                  <a:gd name="connsiteX34" fmla="*/ 5472113 w 8801100"/>
                  <a:gd name="connsiteY34" fmla="*/ 1114425 h 2947988"/>
                  <a:gd name="connsiteX35" fmla="*/ 5474493 w 8801100"/>
                  <a:gd name="connsiteY35" fmla="*/ 1057275 h 2947988"/>
                  <a:gd name="connsiteX36" fmla="*/ 5455444 w 8801100"/>
                  <a:gd name="connsiteY36" fmla="*/ 1014412 h 2947988"/>
                  <a:gd name="connsiteX37" fmla="*/ 5360194 w 8801100"/>
                  <a:gd name="connsiteY37" fmla="*/ 1016794 h 2947988"/>
                  <a:gd name="connsiteX38" fmla="*/ 5264944 w 8801100"/>
                  <a:gd name="connsiteY38" fmla="*/ 995363 h 2947988"/>
                  <a:gd name="connsiteX39" fmla="*/ 5195887 w 8801100"/>
                  <a:gd name="connsiteY39" fmla="*/ 928687 h 2947988"/>
                  <a:gd name="connsiteX40" fmla="*/ 5160169 w 8801100"/>
                  <a:gd name="connsiteY40" fmla="*/ 885825 h 2947988"/>
                  <a:gd name="connsiteX41" fmla="*/ 5079206 w 8801100"/>
                  <a:gd name="connsiteY41" fmla="*/ 862012 h 2947988"/>
                  <a:gd name="connsiteX42" fmla="*/ 5005388 w 8801100"/>
                  <a:gd name="connsiteY42" fmla="*/ 873918 h 2947988"/>
                  <a:gd name="connsiteX43" fmla="*/ 4948237 w 8801100"/>
                  <a:gd name="connsiteY43" fmla="*/ 821531 h 2947988"/>
                  <a:gd name="connsiteX44" fmla="*/ 4852988 w 8801100"/>
                  <a:gd name="connsiteY44" fmla="*/ 833438 h 2947988"/>
                  <a:gd name="connsiteX45" fmla="*/ 4800600 w 8801100"/>
                  <a:gd name="connsiteY45" fmla="*/ 807244 h 2947988"/>
                  <a:gd name="connsiteX46" fmla="*/ 4719638 w 8801100"/>
                  <a:gd name="connsiteY46" fmla="*/ 850106 h 2947988"/>
                  <a:gd name="connsiteX47" fmla="*/ 4581525 w 8801100"/>
                  <a:gd name="connsiteY47" fmla="*/ 873919 h 2947988"/>
                  <a:gd name="connsiteX48" fmla="*/ 4452938 w 8801100"/>
                  <a:gd name="connsiteY48" fmla="*/ 966788 h 2947988"/>
                  <a:gd name="connsiteX49" fmla="*/ 4405312 w 8801100"/>
                  <a:gd name="connsiteY49" fmla="*/ 928688 h 2947988"/>
                  <a:gd name="connsiteX50" fmla="*/ 4383881 w 8801100"/>
                  <a:gd name="connsiteY50" fmla="*/ 959643 h 2947988"/>
                  <a:gd name="connsiteX51" fmla="*/ 4310063 w 8801100"/>
                  <a:gd name="connsiteY51" fmla="*/ 909638 h 2947988"/>
                  <a:gd name="connsiteX52" fmla="*/ 4271963 w 8801100"/>
                  <a:gd name="connsiteY52" fmla="*/ 916781 h 2947988"/>
                  <a:gd name="connsiteX53" fmla="*/ 4250531 w 8801100"/>
                  <a:gd name="connsiteY53" fmla="*/ 878681 h 2947988"/>
                  <a:gd name="connsiteX54" fmla="*/ 4191000 w 8801100"/>
                  <a:gd name="connsiteY54" fmla="*/ 883444 h 2947988"/>
                  <a:gd name="connsiteX55" fmla="*/ 4145756 w 8801100"/>
                  <a:gd name="connsiteY55" fmla="*/ 854869 h 2947988"/>
                  <a:gd name="connsiteX56" fmla="*/ 4107656 w 8801100"/>
                  <a:gd name="connsiteY56" fmla="*/ 852488 h 2947988"/>
                  <a:gd name="connsiteX57" fmla="*/ 4088606 w 8801100"/>
                  <a:gd name="connsiteY57" fmla="*/ 804862 h 2947988"/>
                  <a:gd name="connsiteX58" fmla="*/ 4074319 w 8801100"/>
                  <a:gd name="connsiteY58" fmla="*/ 773906 h 2947988"/>
                  <a:gd name="connsiteX59" fmla="*/ 4029075 w 8801100"/>
                  <a:gd name="connsiteY59" fmla="*/ 783431 h 2947988"/>
                  <a:gd name="connsiteX60" fmla="*/ 4010025 w 8801100"/>
                  <a:gd name="connsiteY60" fmla="*/ 747713 h 2947988"/>
                  <a:gd name="connsiteX61" fmla="*/ 4031457 w 8801100"/>
                  <a:gd name="connsiteY61" fmla="*/ 692944 h 2947988"/>
                  <a:gd name="connsiteX62" fmla="*/ 4000500 w 8801100"/>
                  <a:gd name="connsiteY62" fmla="*/ 666750 h 2947988"/>
                  <a:gd name="connsiteX63" fmla="*/ 4017169 w 8801100"/>
                  <a:gd name="connsiteY63" fmla="*/ 623888 h 2947988"/>
                  <a:gd name="connsiteX64" fmla="*/ 3990975 w 8801100"/>
                  <a:gd name="connsiteY64" fmla="*/ 581025 h 2947988"/>
                  <a:gd name="connsiteX65" fmla="*/ 3986213 w 8801100"/>
                  <a:gd name="connsiteY65" fmla="*/ 519113 h 2947988"/>
                  <a:gd name="connsiteX66" fmla="*/ 4010025 w 8801100"/>
                  <a:gd name="connsiteY66" fmla="*/ 454818 h 2947988"/>
                  <a:gd name="connsiteX67" fmla="*/ 3971925 w 8801100"/>
                  <a:gd name="connsiteY67" fmla="*/ 457200 h 2947988"/>
                  <a:gd name="connsiteX68" fmla="*/ 3852863 w 8801100"/>
                  <a:gd name="connsiteY68" fmla="*/ 400050 h 2947988"/>
                  <a:gd name="connsiteX69" fmla="*/ 3814762 w 8801100"/>
                  <a:gd name="connsiteY69" fmla="*/ 404812 h 2947988"/>
                  <a:gd name="connsiteX70" fmla="*/ 3609975 w 8801100"/>
                  <a:gd name="connsiteY70" fmla="*/ 295275 h 2947988"/>
                  <a:gd name="connsiteX71" fmla="*/ 3505200 w 8801100"/>
                  <a:gd name="connsiteY71" fmla="*/ 264319 h 2947988"/>
                  <a:gd name="connsiteX72" fmla="*/ 3440906 w 8801100"/>
                  <a:gd name="connsiteY72" fmla="*/ 273843 h 2947988"/>
                  <a:gd name="connsiteX73" fmla="*/ 3409950 w 8801100"/>
                  <a:gd name="connsiteY73" fmla="*/ 209550 h 2947988"/>
                  <a:gd name="connsiteX74" fmla="*/ 3352800 w 8801100"/>
                  <a:gd name="connsiteY74" fmla="*/ 209550 h 2947988"/>
                  <a:gd name="connsiteX75" fmla="*/ 3214687 w 8801100"/>
                  <a:gd name="connsiteY75" fmla="*/ 104775 h 2947988"/>
                  <a:gd name="connsiteX76" fmla="*/ 3181350 w 8801100"/>
                  <a:gd name="connsiteY76" fmla="*/ 164307 h 2947988"/>
                  <a:gd name="connsiteX77" fmla="*/ 3126581 w 8801100"/>
                  <a:gd name="connsiteY77" fmla="*/ 233363 h 2947988"/>
                  <a:gd name="connsiteX78" fmla="*/ 3083719 w 8801100"/>
                  <a:gd name="connsiteY78" fmla="*/ 250031 h 2947988"/>
                  <a:gd name="connsiteX79" fmla="*/ 3052763 w 8801100"/>
                  <a:gd name="connsiteY79" fmla="*/ 242888 h 2947988"/>
                  <a:gd name="connsiteX80" fmla="*/ 3028950 w 8801100"/>
                  <a:gd name="connsiteY80" fmla="*/ 271463 h 2947988"/>
                  <a:gd name="connsiteX81" fmla="*/ 3002756 w 8801100"/>
                  <a:gd name="connsiteY81" fmla="*/ 350044 h 2947988"/>
                  <a:gd name="connsiteX82" fmla="*/ 2959894 w 8801100"/>
                  <a:gd name="connsiteY82" fmla="*/ 347663 h 2947988"/>
                  <a:gd name="connsiteX83" fmla="*/ 2928937 w 8801100"/>
                  <a:gd name="connsiteY83" fmla="*/ 409575 h 2947988"/>
                  <a:gd name="connsiteX84" fmla="*/ 2924175 w 8801100"/>
                  <a:gd name="connsiteY84" fmla="*/ 473869 h 2947988"/>
                  <a:gd name="connsiteX85" fmla="*/ 2897982 w 8801100"/>
                  <a:gd name="connsiteY85" fmla="*/ 511969 h 2947988"/>
                  <a:gd name="connsiteX86" fmla="*/ 2924175 w 8801100"/>
                  <a:gd name="connsiteY86" fmla="*/ 571500 h 2947988"/>
                  <a:gd name="connsiteX87" fmla="*/ 2926556 w 8801100"/>
                  <a:gd name="connsiteY87" fmla="*/ 640556 h 2947988"/>
                  <a:gd name="connsiteX88" fmla="*/ 2955131 w 8801100"/>
                  <a:gd name="connsiteY88" fmla="*/ 692944 h 2947988"/>
                  <a:gd name="connsiteX89" fmla="*/ 3002757 w 8801100"/>
                  <a:gd name="connsiteY89" fmla="*/ 747713 h 2947988"/>
                  <a:gd name="connsiteX90" fmla="*/ 2952750 w 8801100"/>
                  <a:gd name="connsiteY90" fmla="*/ 885825 h 2947988"/>
                  <a:gd name="connsiteX91" fmla="*/ 2883694 w 8801100"/>
                  <a:gd name="connsiteY91" fmla="*/ 952500 h 2947988"/>
                  <a:gd name="connsiteX92" fmla="*/ 2812256 w 8801100"/>
                  <a:gd name="connsiteY92" fmla="*/ 947738 h 2947988"/>
                  <a:gd name="connsiteX93" fmla="*/ 2774156 w 8801100"/>
                  <a:gd name="connsiteY93" fmla="*/ 1004888 h 2947988"/>
                  <a:gd name="connsiteX94" fmla="*/ 2714625 w 8801100"/>
                  <a:gd name="connsiteY94" fmla="*/ 1019175 h 2947988"/>
                  <a:gd name="connsiteX95" fmla="*/ 2645569 w 8801100"/>
                  <a:gd name="connsiteY95" fmla="*/ 959644 h 2947988"/>
                  <a:gd name="connsiteX96" fmla="*/ 2590800 w 8801100"/>
                  <a:gd name="connsiteY96" fmla="*/ 931069 h 2947988"/>
                  <a:gd name="connsiteX97" fmla="*/ 2547938 w 8801100"/>
                  <a:gd name="connsiteY97" fmla="*/ 945356 h 2947988"/>
                  <a:gd name="connsiteX98" fmla="*/ 2495550 w 8801100"/>
                  <a:gd name="connsiteY98" fmla="*/ 928688 h 2947988"/>
                  <a:gd name="connsiteX99" fmla="*/ 2428875 w 8801100"/>
                  <a:gd name="connsiteY99" fmla="*/ 873919 h 2947988"/>
                  <a:gd name="connsiteX100" fmla="*/ 2383631 w 8801100"/>
                  <a:gd name="connsiteY100" fmla="*/ 885825 h 2947988"/>
                  <a:gd name="connsiteX101" fmla="*/ 2362200 w 8801100"/>
                  <a:gd name="connsiteY101" fmla="*/ 854869 h 2947988"/>
                  <a:gd name="connsiteX102" fmla="*/ 2305050 w 8801100"/>
                  <a:gd name="connsiteY102" fmla="*/ 895350 h 2947988"/>
                  <a:gd name="connsiteX103" fmla="*/ 2188369 w 8801100"/>
                  <a:gd name="connsiteY103" fmla="*/ 873919 h 2947988"/>
                  <a:gd name="connsiteX104" fmla="*/ 2138363 w 8801100"/>
                  <a:gd name="connsiteY104" fmla="*/ 821531 h 2947988"/>
                  <a:gd name="connsiteX105" fmla="*/ 2095500 w 8801100"/>
                  <a:gd name="connsiteY105" fmla="*/ 807244 h 2947988"/>
                  <a:gd name="connsiteX106" fmla="*/ 2052638 w 8801100"/>
                  <a:gd name="connsiteY106" fmla="*/ 833438 h 2947988"/>
                  <a:gd name="connsiteX107" fmla="*/ 2000250 w 8801100"/>
                  <a:gd name="connsiteY107" fmla="*/ 742950 h 2947988"/>
                  <a:gd name="connsiteX108" fmla="*/ 1990725 w 8801100"/>
                  <a:gd name="connsiteY108" fmla="*/ 595312 h 2947988"/>
                  <a:gd name="connsiteX109" fmla="*/ 1938337 w 8801100"/>
                  <a:gd name="connsiteY109" fmla="*/ 588168 h 2947988"/>
                  <a:gd name="connsiteX110" fmla="*/ 1847850 w 8801100"/>
                  <a:gd name="connsiteY110" fmla="*/ 578644 h 2947988"/>
                  <a:gd name="connsiteX111" fmla="*/ 1793081 w 8801100"/>
                  <a:gd name="connsiteY111" fmla="*/ 540544 h 2947988"/>
                  <a:gd name="connsiteX112" fmla="*/ 1724025 w 8801100"/>
                  <a:gd name="connsiteY112" fmla="*/ 550069 h 2947988"/>
                  <a:gd name="connsiteX113" fmla="*/ 1678781 w 8801100"/>
                  <a:gd name="connsiteY113" fmla="*/ 523875 h 2947988"/>
                  <a:gd name="connsiteX114" fmla="*/ 1669257 w 8801100"/>
                  <a:gd name="connsiteY114" fmla="*/ 452438 h 2947988"/>
                  <a:gd name="connsiteX115" fmla="*/ 1645444 w 8801100"/>
                  <a:gd name="connsiteY115" fmla="*/ 438150 h 2947988"/>
                  <a:gd name="connsiteX116" fmla="*/ 1607344 w 8801100"/>
                  <a:gd name="connsiteY116" fmla="*/ 485774 h 2947988"/>
                  <a:gd name="connsiteX117" fmla="*/ 1528762 w 8801100"/>
                  <a:gd name="connsiteY117" fmla="*/ 411956 h 2947988"/>
                  <a:gd name="connsiteX118" fmla="*/ 1488281 w 8801100"/>
                  <a:gd name="connsiteY118" fmla="*/ 452438 h 2947988"/>
                  <a:gd name="connsiteX119" fmla="*/ 1412081 w 8801100"/>
                  <a:gd name="connsiteY119" fmla="*/ 438150 h 2947988"/>
                  <a:gd name="connsiteX120" fmla="*/ 1333500 w 8801100"/>
                  <a:gd name="connsiteY120" fmla="*/ 464344 h 2947988"/>
                  <a:gd name="connsiteX121" fmla="*/ 1273969 w 8801100"/>
                  <a:gd name="connsiteY121" fmla="*/ 511968 h 2947988"/>
                  <a:gd name="connsiteX122" fmla="*/ 1200150 w 8801100"/>
                  <a:gd name="connsiteY122" fmla="*/ 523875 h 2947988"/>
                  <a:gd name="connsiteX123" fmla="*/ 1164431 w 8801100"/>
                  <a:gd name="connsiteY123" fmla="*/ 516731 h 2947988"/>
                  <a:gd name="connsiteX124" fmla="*/ 1085851 w 8801100"/>
                  <a:gd name="connsiteY124" fmla="*/ 547688 h 2947988"/>
                  <a:gd name="connsiteX125" fmla="*/ 1064419 w 8801100"/>
                  <a:gd name="connsiteY125" fmla="*/ 576263 h 2947988"/>
                  <a:gd name="connsiteX126" fmla="*/ 997744 w 8801100"/>
                  <a:gd name="connsiteY126" fmla="*/ 566738 h 2947988"/>
                  <a:gd name="connsiteX127" fmla="*/ 928688 w 8801100"/>
                  <a:gd name="connsiteY127" fmla="*/ 590550 h 2947988"/>
                  <a:gd name="connsiteX128" fmla="*/ 873919 w 8801100"/>
                  <a:gd name="connsiteY128" fmla="*/ 628650 h 2947988"/>
                  <a:gd name="connsiteX129" fmla="*/ 778669 w 8801100"/>
                  <a:gd name="connsiteY129" fmla="*/ 642937 h 2947988"/>
                  <a:gd name="connsiteX130" fmla="*/ 764381 w 8801100"/>
                  <a:gd name="connsiteY130" fmla="*/ 664369 h 2947988"/>
                  <a:gd name="connsiteX131" fmla="*/ 776287 w 8801100"/>
                  <a:gd name="connsiteY131" fmla="*/ 709613 h 2947988"/>
                  <a:gd name="connsiteX132" fmla="*/ 676276 w 8801100"/>
                  <a:gd name="connsiteY132" fmla="*/ 762000 h 2947988"/>
                  <a:gd name="connsiteX133" fmla="*/ 638175 w 8801100"/>
                  <a:gd name="connsiteY133" fmla="*/ 733424 h 2947988"/>
                  <a:gd name="connsiteX134" fmla="*/ 607219 w 8801100"/>
                  <a:gd name="connsiteY134" fmla="*/ 790575 h 2947988"/>
                  <a:gd name="connsiteX135" fmla="*/ 550069 w 8801100"/>
                  <a:gd name="connsiteY135" fmla="*/ 752475 h 2947988"/>
                  <a:gd name="connsiteX136" fmla="*/ 514350 w 8801100"/>
                  <a:gd name="connsiteY136" fmla="*/ 781050 h 2947988"/>
                  <a:gd name="connsiteX137" fmla="*/ 478631 w 8801100"/>
                  <a:gd name="connsiteY137" fmla="*/ 745331 h 2947988"/>
                  <a:gd name="connsiteX138" fmla="*/ 426244 w 8801100"/>
                  <a:gd name="connsiteY138" fmla="*/ 757238 h 2947988"/>
                  <a:gd name="connsiteX139" fmla="*/ 381000 w 8801100"/>
                  <a:gd name="connsiteY139" fmla="*/ 728663 h 2947988"/>
                  <a:gd name="connsiteX140" fmla="*/ 357188 w 8801100"/>
                  <a:gd name="connsiteY140" fmla="*/ 747713 h 2947988"/>
                  <a:gd name="connsiteX141" fmla="*/ 333375 w 8801100"/>
                  <a:gd name="connsiteY141" fmla="*/ 807244 h 2947988"/>
                  <a:gd name="connsiteX142" fmla="*/ 261938 w 8801100"/>
                  <a:gd name="connsiteY142" fmla="*/ 845343 h 2947988"/>
                  <a:gd name="connsiteX143" fmla="*/ 209550 w 8801100"/>
                  <a:gd name="connsiteY143" fmla="*/ 816769 h 2947988"/>
                  <a:gd name="connsiteX144" fmla="*/ 119063 w 8801100"/>
                  <a:gd name="connsiteY144" fmla="*/ 826294 h 2947988"/>
                  <a:gd name="connsiteX145" fmla="*/ 71437 w 8801100"/>
                  <a:gd name="connsiteY145" fmla="*/ 792957 h 2947988"/>
                  <a:gd name="connsiteX146" fmla="*/ 0 w 8801100"/>
                  <a:gd name="connsiteY146" fmla="*/ 812006 h 2947988"/>
                  <a:gd name="connsiteX147" fmla="*/ 4762 w 8801100"/>
                  <a:gd name="connsiteY147" fmla="*/ 0 h 2947988"/>
                  <a:gd name="connsiteX148" fmla="*/ 6650831 w 8801100"/>
                  <a:gd name="connsiteY148" fmla="*/ 2945606 h 2947988"/>
                  <a:gd name="connsiteX149" fmla="*/ 6691313 w 8801100"/>
                  <a:gd name="connsiteY149" fmla="*/ 2878931 h 2947988"/>
                  <a:gd name="connsiteX150" fmla="*/ 6836569 w 8801100"/>
                  <a:gd name="connsiteY150" fmla="*/ 2862262 h 2947988"/>
                  <a:gd name="connsiteX151" fmla="*/ 6905625 w 8801100"/>
                  <a:gd name="connsiteY151" fmla="*/ 2919413 h 2947988"/>
                  <a:gd name="connsiteX152" fmla="*/ 6981825 w 8801100"/>
                  <a:gd name="connsiteY152" fmla="*/ 2943225 h 2947988"/>
                  <a:gd name="connsiteX153" fmla="*/ 7186612 w 8801100"/>
                  <a:gd name="connsiteY153" fmla="*/ 2947988 h 2947988"/>
                  <a:gd name="connsiteX154" fmla="*/ 7362825 w 8801100"/>
                  <a:gd name="connsiteY154" fmla="*/ 2809875 h 2947988"/>
                  <a:gd name="connsiteX155" fmla="*/ 7419975 w 8801100"/>
                  <a:gd name="connsiteY155" fmla="*/ 2719387 h 2947988"/>
                  <a:gd name="connsiteX156" fmla="*/ 7446169 w 8801100"/>
                  <a:gd name="connsiteY156" fmla="*/ 2636044 h 2947988"/>
                  <a:gd name="connsiteX157" fmla="*/ 7577137 w 8801100"/>
                  <a:gd name="connsiteY157" fmla="*/ 2636044 h 2947988"/>
                  <a:gd name="connsiteX158" fmla="*/ 7750969 w 8801100"/>
                  <a:gd name="connsiteY158" fmla="*/ 2578893 h 2947988"/>
                  <a:gd name="connsiteX159" fmla="*/ 7810500 w 8801100"/>
                  <a:gd name="connsiteY159" fmla="*/ 2466975 h 2947988"/>
                  <a:gd name="connsiteX160" fmla="*/ 7874794 w 8801100"/>
                  <a:gd name="connsiteY160" fmla="*/ 2431256 h 2947988"/>
                  <a:gd name="connsiteX161" fmla="*/ 7853363 w 8801100"/>
                  <a:gd name="connsiteY161" fmla="*/ 2386013 h 2947988"/>
                  <a:gd name="connsiteX162" fmla="*/ 7931944 w 8801100"/>
                  <a:gd name="connsiteY162" fmla="*/ 2216943 h 2947988"/>
                  <a:gd name="connsiteX163" fmla="*/ 7986713 w 8801100"/>
                  <a:gd name="connsiteY163" fmla="*/ 2157413 h 2947988"/>
                  <a:gd name="connsiteX164" fmla="*/ 8024813 w 8801100"/>
                  <a:gd name="connsiteY164" fmla="*/ 2152650 h 2947988"/>
                  <a:gd name="connsiteX165" fmla="*/ 8070056 w 8801100"/>
                  <a:gd name="connsiteY165" fmla="*/ 2157413 h 2947988"/>
                  <a:gd name="connsiteX166" fmla="*/ 8134350 w 8801100"/>
                  <a:gd name="connsiteY166" fmla="*/ 2124075 h 2947988"/>
                  <a:gd name="connsiteX167" fmla="*/ 8143875 w 8801100"/>
                  <a:gd name="connsiteY167" fmla="*/ 2059781 h 2947988"/>
                  <a:gd name="connsiteX168" fmla="*/ 8184355 w 8801100"/>
                  <a:gd name="connsiteY168" fmla="*/ 2024063 h 2947988"/>
                  <a:gd name="connsiteX169" fmla="*/ 8243888 w 8801100"/>
                  <a:gd name="connsiteY169" fmla="*/ 2064543 h 2947988"/>
                  <a:gd name="connsiteX170" fmla="*/ 8270082 w 8801100"/>
                  <a:gd name="connsiteY170" fmla="*/ 2014537 h 2947988"/>
                  <a:gd name="connsiteX171" fmla="*/ 8365331 w 8801100"/>
                  <a:gd name="connsiteY171" fmla="*/ 1945481 h 2947988"/>
                  <a:gd name="connsiteX172" fmla="*/ 8427244 w 8801100"/>
                  <a:gd name="connsiteY172" fmla="*/ 1952625 h 2947988"/>
                  <a:gd name="connsiteX173" fmla="*/ 8477250 w 8801100"/>
                  <a:gd name="connsiteY173" fmla="*/ 1933575 h 2947988"/>
                  <a:gd name="connsiteX174" fmla="*/ 8515350 w 8801100"/>
                  <a:gd name="connsiteY174" fmla="*/ 1905000 h 2947988"/>
                  <a:gd name="connsiteX175" fmla="*/ 8548688 w 8801100"/>
                  <a:gd name="connsiteY175" fmla="*/ 1902619 h 2947988"/>
                  <a:gd name="connsiteX176" fmla="*/ 8584406 w 8801100"/>
                  <a:gd name="connsiteY176" fmla="*/ 1933575 h 2947988"/>
                  <a:gd name="connsiteX177" fmla="*/ 8643938 w 8801100"/>
                  <a:gd name="connsiteY177" fmla="*/ 1933575 h 2947988"/>
                  <a:gd name="connsiteX178" fmla="*/ 8682037 w 8801100"/>
                  <a:gd name="connsiteY178" fmla="*/ 1914525 h 2947988"/>
                  <a:gd name="connsiteX179" fmla="*/ 8765381 w 8801100"/>
                  <a:gd name="connsiteY179" fmla="*/ 1916907 h 2947988"/>
                  <a:gd name="connsiteX180" fmla="*/ 8796338 w 8801100"/>
                  <a:gd name="connsiteY180" fmla="*/ 1871663 h 2947988"/>
                  <a:gd name="connsiteX181" fmla="*/ 8801100 w 8801100"/>
                  <a:gd name="connsiteY181" fmla="*/ 1809750 h 2947988"/>
                  <a:gd name="connsiteX182" fmla="*/ 8751093 w 8801100"/>
                  <a:gd name="connsiteY182" fmla="*/ 1769269 h 2947988"/>
                  <a:gd name="connsiteX183" fmla="*/ 8734425 w 8801100"/>
                  <a:gd name="connsiteY183" fmla="*/ 1714500 h 2947988"/>
                  <a:gd name="connsiteX184" fmla="*/ 8643938 w 8801100"/>
                  <a:gd name="connsiteY184" fmla="*/ 1652588 h 2947988"/>
                  <a:gd name="connsiteX185" fmla="*/ 8603456 w 8801100"/>
                  <a:gd name="connsiteY185" fmla="*/ 1631156 h 2947988"/>
                  <a:gd name="connsiteX186" fmla="*/ 8565356 w 8801100"/>
                  <a:gd name="connsiteY186" fmla="*/ 1585913 h 2947988"/>
                  <a:gd name="connsiteX187" fmla="*/ 8534400 w 8801100"/>
                  <a:gd name="connsiteY187" fmla="*/ 1583531 h 2947988"/>
                  <a:gd name="connsiteX188" fmla="*/ 8517731 w 8801100"/>
                  <a:gd name="connsiteY188" fmla="*/ 1531144 h 2947988"/>
                  <a:gd name="connsiteX189" fmla="*/ 8477250 w 8801100"/>
                  <a:gd name="connsiteY189" fmla="*/ 1514475 h 2947988"/>
                  <a:gd name="connsiteX190" fmla="*/ 8477250 w 8801100"/>
                  <a:gd name="connsiteY190" fmla="*/ 1514475 h 2947988"/>
                  <a:gd name="connsiteX191" fmla="*/ 8436769 w 8801100"/>
                  <a:gd name="connsiteY191" fmla="*/ 1519238 h 2947988"/>
                  <a:gd name="connsiteX192" fmla="*/ 8351043 w 8801100"/>
                  <a:gd name="connsiteY192" fmla="*/ 1445419 h 2947988"/>
                  <a:gd name="connsiteX193" fmla="*/ 8170069 w 8801100"/>
                  <a:gd name="connsiteY193" fmla="*/ 1445418 h 2947988"/>
                  <a:gd name="connsiteX194" fmla="*/ 8117681 w 8801100"/>
                  <a:gd name="connsiteY194" fmla="*/ 1483519 h 2947988"/>
                  <a:gd name="connsiteX195" fmla="*/ 8067675 w 8801100"/>
                  <a:gd name="connsiteY195" fmla="*/ 1562100 h 2947988"/>
                  <a:gd name="connsiteX196" fmla="*/ 8084344 w 8801100"/>
                  <a:gd name="connsiteY196" fmla="*/ 1583531 h 2947988"/>
                  <a:gd name="connsiteX197" fmla="*/ 8039100 w 8801100"/>
                  <a:gd name="connsiteY197" fmla="*/ 1633537 h 2947988"/>
                  <a:gd name="connsiteX198" fmla="*/ 7889081 w 8801100"/>
                  <a:gd name="connsiteY198" fmla="*/ 1557337 h 2947988"/>
                  <a:gd name="connsiteX199" fmla="*/ 7798594 w 8801100"/>
                  <a:gd name="connsiteY199" fmla="*/ 1593056 h 2947988"/>
                  <a:gd name="connsiteX200" fmla="*/ 7724775 w 8801100"/>
                  <a:gd name="connsiteY200" fmla="*/ 1590675 h 2947988"/>
                  <a:gd name="connsiteX201" fmla="*/ 7667625 w 8801100"/>
                  <a:gd name="connsiteY201" fmla="*/ 1685925 h 2947988"/>
                  <a:gd name="connsiteX202" fmla="*/ 7529513 w 8801100"/>
                  <a:gd name="connsiteY202" fmla="*/ 1588294 h 2947988"/>
                  <a:gd name="connsiteX0" fmla="*/ 7529513 w 8801100"/>
                  <a:gd name="connsiteY0" fmla="*/ 1588294 h 2947988"/>
                  <a:gd name="connsiteX1" fmla="*/ 7522369 w 8801100"/>
                  <a:gd name="connsiteY1" fmla="*/ 1533525 h 2947988"/>
                  <a:gd name="connsiteX2" fmla="*/ 7589044 w 8801100"/>
                  <a:gd name="connsiteY2" fmla="*/ 1459706 h 2947988"/>
                  <a:gd name="connsiteX3" fmla="*/ 7572375 w 8801100"/>
                  <a:gd name="connsiteY3" fmla="*/ 1388269 h 2947988"/>
                  <a:gd name="connsiteX4" fmla="*/ 7586663 w 8801100"/>
                  <a:gd name="connsiteY4" fmla="*/ 1293019 h 2947988"/>
                  <a:gd name="connsiteX5" fmla="*/ 7624763 w 8801100"/>
                  <a:gd name="connsiteY5" fmla="*/ 1235869 h 2947988"/>
                  <a:gd name="connsiteX6" fmla="*/ 7605712 w 8801100"/>
                  <a:gd name="connsiteY6" fmla="*/ 1202531 h 2947988"/>
                  <a:gd name="connsiteX7" fmla="*/ 7703343 w 8801100"/>
                  <a:gd name="connsiteY7" fmla="*/ 802481 h 2947988"/>
                  <a:gd name="connsiteX8" fmla="*/ 7696200 w 8801100"/>
                  <a:gd name="connsiteY8" fmla="*/ 773906 h 2947988"/>
                  <a:gd name="connsiteX9" fmla="*/ 7567613 w 8801100"/>
                  <a:gd name="connsiteY9" fmla="*/ 752475 h 2947988"/>
                  <a:gd name="connsiteX10" fmla="*/ 7384257 w 8801100"/>
                  <a:gd name="connsiteY10" fmla="*/ 831056 h 2947988"/>
                  <a:gd name="connsiteX11" fmla="*/ 7227093 w 8801100"/>
                  <a:gd name="connsiteY11" fmla="*/ 716756 h 2947988"/>
                  <a:gd name="connsiteX12" fmla="*/ 7150894 w 8801100"/>
                  <a:gd name="connsiteY12" fmla="*/ 723900 h 2947988"/>
                  <a:gd name="connsiteX13" fmla="*/ 7077075 w 8801100"/>
                  <a:gd name="connsiteY13" fmla="*/ 719138 h 2947988"/>
                  <a:gd name="connsiteX14" fmla="*/ 6938963 w 8801100"/>
                  <a:gd name="connsiteY14" fmla="*/ 823913 h 2947988"/>
                  <a:gd name="connsiteX15" fmla="*/ 6831806 w 8801100"/>
                  <a:gd name="connsiteY15" fmla="*/ 931069 h 2947988"/>
                  <a:gd name="connsiteX16" fmla="*/ 6788944 w 8801100"/>
                  <a:gd name="connsiteY16" fmla="*/ 1000125 h 2947988"/>
                  <a:gd name="connsiteX17" fmla="*/ 6796088 w 8801100"/>
                  <a:gd name="connsiteY17" fmla="*/ 1035844 h 2947988"/>
                  <a:gd name="connsiteX18" fmla="*/ 6734175 w 8801100"/>
                  <a:gd name="connsiteY18" fmla="*/ 1047750 h 2947988"/>
                  <a:gd name="connsiteX19" fmla="*/ 6753225 w 8801100"/>
                  <a:gd name="connsiteY19" fmla="*/ 1047750 h 2947988"/>
                  <a:gd name="connsiteX20" fmla="*/ 6719888 w 8801100"/>
                  <a:gd name="connsiteY20" fmla="*/ 1078706 h 2947988"/>
                  <a:gd name="connsiteX21" fmla="*/ 6619875 w 8801100"/>
                  <a:gd name="connsiteY21" fmla="*/ 1078707 h 2947988"/>
                  <a:gd name="connsiteX22" fmla="*/ 6524625 w 8801100"/>
                  <a:gd name="connsiteY22" fmla="*/ 1133475 h 2947988"/>
                  <a:gd name="connsiteX23" fmla="*/ 6443663 w 8801100"/>
                  <a:gd name="connsiteY23" fmla="*/ 1143000 h 2947988"/>
                  <a:gd name="connsiteX24" fmla="*/ 6403181 w 8801100"/>
                  <a:gd name="connsiteY24" fmla="*/ 1176338 h 2947988"/>
                  <a:gd name="connsiteX25" fmla="*/ 6353175 w 8801100"/>
                  <a:gd name="connsiteY25" fmla="*/ 1181100 h 2947988"/>
                  <a:gd name="connsiteX26" fmla="*/ 6231732 w 8801100"/>
                  <a:gd name="connsiteY26" fmla="*/ 1273969 h 2947988"/>
                  <a:gd name="connsiteX27" fmla="*/ 6172200 w 8801100"/>
                  <a:gd name="connsiteY27" fmla="*/ 1278731 h 2947988"/>
                  <a:gd name="connsiteX28" fmla="*/ 6119813 w 8801100"/>
                  <a:gd name="connsiteY28" fmla="*/ 1243013 h 2947988"/>
                  <a:gd name="connsiteX29" fmla="*/ 6093619 w 8801100"/>
                  <a:gd name="connsiteY29" fmla="*/ 1278731 h 2947988"/>
                  <a:gd name="connsiteX30" fmla="*/ 5895975 w 8801100"/>
                  <a:gd name="connsiteY30" fmla="*/ 1271588 h 2947988"/>
                  <a:gd name="connsiteX31" fmla="*/ 5834063 w 8801100"/>
                  <a:gd name="connsiteY31" fmla="*/ 1226344 h 2947988"/>
                  <a:gd name="connsiteX32" fmla="*/ 5636419 w 8801100"/>
                  <a:gd name="connsiteY32" fmla="*/ 1243013 h 2947988"/>
                  <a:gd name="connsiteX33" fmla="*/ 5548313 w 8801100"/>
                  <a:gd name="connsiteY33" fmla="*/ 1159668 h 2947988"/>
                  <a:gd name="connsiteX34" fmla="*/ 5472113 w 8801100"/>
                  <a:gd name="connsiteY34" fmla="*/ 1114425 h 2947988"/>
                  <a:gd name="connsiteX35" fmla="*/ 5474493 w 8801100"/>
                  <a:gd name="connsiteY35" fmla="*/ 1057275 h 2947988"/>
                  <a:gd name="connsiteX36" fmla="*/ 5455444 w 8801100"/>
                  <a:gd name="connsiteY36" fmla="*/ 1014412 h 2947988"/>
                  <a:gd name="connsiteX37" fmla="*/ 5360194 w 8801100"/>
                  <a:gd name="connsiteY37" fmla="*/ 1016794 h 2947988"/>
                  <a:gd name="connsiteX38" fmla="*/ 5264944 w 8801100"/>
                  <a:gd name="connsiteY38" fmla="*/ 995363 h 2947988"/>
                  <a:gd name="connsiteX39" fmla="*/ 5195887 w 8801100"/>
                  <a:gd name="connsiteY39" fmla="*/ 928687 h 2947988"/>
                  <a:gd name="connsiteX40" fmla="*/ 5160169 w 8801100"/>
                  <a:gd name="connsiteY40" fmla="*/ 885825 h 2947988"/>
                  <a:gd name="connsiteX41" fmla="*/ 5079206 w 8801100"/>
                  <a:gd name="connsiteY41" fmla="*/ 862012 h 2947988"/>
                  <a:gd name="connsiteX42" fmla="*/ 5005388 w 8801100"/>
                  <a:gd name="connsiteY42" fmla="*/ 873918 h 2947988"/>
                  <a:gd name="connsiteX43" fmla="*/ 4948237 w 8801100"/>
                  <a:gd name="connsiteY43" fmla="*/ 821531 h 2947988"/>
                  <a:gd name="connsiteX44" fmla="*/ 4852988 w 8801100"/>
                  <a:gd name="connsiteY44" fmla="*/ 833438 h 2947988"/>
                  <a:gd name="connsiteX45" fmla="*/ 4800600 w 8801100"/>
                  <a:gd name="connsiteY45" fmla="*/ 807244 h 2947988"/>
                  <a:gd name="connsiteX46" fmla="*/ 4719638 w 8801100"/>
                  <a:gd name="connsiteY46" fmla="*/ 850106 h 2947988"/>
                  <a:gd name="connsiteX47" fmla="*/ 4581525 w 8801100"/>
                  <a:gd name="connsiteY47" fmla="*/ 873919 h 2947988"/>
                  <a:gd name="connsiteX48" fmla="*/ 4452938 w 8801100"/>
                  <a:gd name="connsiteY48" fmla="*/ 966788 h 2947988"/>
                  <a:gd name="connsiteX49" fmla="*/ 4405312 w 8801100"/>
                  <a:gd name="connsiteY49" fmla="*/ 928688 h 2947988"/>
                  <a:gd name="connsiteX50" fmla="*/ 4383881 w 8801100"/>
                  <a:gd name="connsiteY50" fmla="*/ 959643 h 2947988"/>
                  <a:gd name="connsiteX51" fmla="*/ 4310063 w 8801100"/>
                  <a:gd name="connsiteY51" fmla="*/ 909638 h 2947988"/>
                  <a:gd name="connsiteX52" fmla="*/ 4271963 w 8801100"/>
                  <a:gd name="connsiteY52" fmla="*/ 916781 h 2947988"/>
                  <a:gd name="connsiteX53" fmla="*/ 4250531 w 8801100"/>
                  <a:gd name="connsiteY53" fmla="*/ 878681 h 2947988"/>
                  <a:gd name="connsiteX54" fmla="*/ 4191000 w 8801100"/>
                  <a:gd name="connsiteY54" fmla="*/ 883444 h 2947988"/>
                  <a:gd name="connsiteX55" fmla="*/ 4145756 w 8801100"/>
                  <a:gd name="connsiteY55" fmla="*/ 854869 h 2947988"/>
                  <a:gd name="connsiteX56" fmla="*/ 4107656 w 8801100"/>
                  <a:gd name="connsiteY56" fmla="*/ 852488 h 2947988"/>
                  <a:gd name="connsiteX57" fmla="*/ 4088606 w 8801100"/>
                  <a:gd name="connsiteY57" fmla="*/ 804862 h 2947988"/>
                  <a:gd name="connsiteX58" fmla="*/ 4074319 w 8801100"/>
                  <a:gd name="connsiteY58" fmla="*/ 773906 h 2947988"/>
                  <a:gd name="connsiteX59" fmla="*/ 4029075 w 8801100"/>
                  <a:gd name="connsiteY59" fmla="*/ 783431 h 2947988"/>
                  <a:gd name="connsiteX60" fmla="*/ 4010025 w 8801100"/>
                  <a:gd name="connsiteY60" fmla="*/ 747713 h 2947988"/>
                  <a:gd name="connsiteX61" fmla="*/ 4031457 w 8801100"/>
                  <a:gd name="connsiteY61" fmla="*/ 692944 h 2947988"/>
                  <a:gd name="connsiteX62" fmla="*/ 4000500 w 8801100"/>
                  <a:gd name="connsiteY62" fmla="*/ 666750 h 2947988"/>
                  <a:gd name="connsiteX63" fmla="*/ 4017169 w 8801100"/>
                  <a:gd name="connsiteY63" fmla="*/ 623888 h 2947988"/>
                  <a:gd name="connsiteX64" fmla="*/ 3990975 w 8801100"/>
                  <a:gd name="connsiteY64" fmla="*/ 581025 h 2947988"/>
                  <a:gd name="connsiteX65" fmla="*/ 3986213 w 8801100"/>
                  <a:gd name="connsiteY65" fmla="*/ 519113 h 2947988"/>
                  <a:gd name="connsiteX66" fmla="*/ 4010025 w 8801100"/>
                  <a:gd name="connsiteY66" fmla="*/ 454818 h 2947988"/>
                  <a:gd name="connsiteX67" fmla="*/ 3971925 w 8801100"/>
                  <a:gd name="connsiteY67" fmla="*/ 457200 h 2947988"/>
                  <a:gd name="connsiteX68" fmla="*/ 3852863 w 8801100"/>
                  <a:gd name="connsiteY68" fmla="*/ 400050 h 2947988"/>
                  <a:gd name="connsiteX69" fmla="*/ 3814762 w 8801100"/>
                  <a:gd name="connsiteY69" fmla="*/ 404812 h 2947988"/>
                  <a:gd name="connsiteX70" fmla="*/ 3609975 w 8801100"/>
                  <a:gd name="connsiteY70" fmla="*/ 295275 h 2947988"/>
                  <a:gd name="connsiteX71" fmla="*/ 3505200 w 8801100"/>
                  <a:gd name="connsiteY71" fmla="*/ 264319 h 2947988"/>
                  <a:gd name="connsiteX72" fmla="*/ 3440906 w 8801100"/>
                  <a:gd name="connsiteY72" fmla="*/ 273843 h 2947988"/>
                  <a:gd name="connsiteX73" fmla="*/ 3409950 w 8801100"/>
                  <a:gd name="connsiteY73" fmla="*/ 209550 h 2947988"/>
                  <a:gd name="connsiteX74" fmla="*/ 3352800 w 8801100"/>
                  <a:gd name="connsiteY74" fmla="*/ 209550 h 2947988"/>
                  <a:gd name="connsiteX75" fmla="*/ 3214687 w 8801100"/>
                  <a:gd name="connsiteY75" fmla="*/ 104775 h 2947988"/>
                  <a:gd name="connsiteX76" fmla="*/ 3181350 w 8801100"/>
                  <a:gd name="connsiteY76" fmla="*/ 164307 h 2947988"/>
                  <a:gd name="connsiteX77" fmla="*/ 3126581 w 8801100"/>
                  <a:gd name="connsiteY77" fmla="*/ 233363 h 2947988"/>
                  <a:gd name="connsiteX78" fmla="*/ 3083719 w 8801100"/>
                  <a:gd name="connsiteY78" fmla="*/ 250031 h 2947988"/>
                  <a:gd name="connsiteX79" fmla="*/ 3052763 w 8801100"/>
                  <a:gd name="connsiteY79" fmla="*/ 242888 h 2947988"/>
                  <a:gd name="connsiteX80" fmla="*/ 3028950 w 8801100"/>
                  <a:gd name="connsiteY80" fmla="*/ 271463 h 2947988"/>
                  <a:gd name="connsiteX81" fmla="*/ 3002756 w 8801100"/>
                  <a:gd name="connsiteY81" fmla="*/ 350044 h 2947988"/>
                  <a:gd name="connsiteX82" fmla="*/ 2959894 w 8801100"/>
                  <a:gd name="connsiteY82" fmla="*/ 347663 h 2947988"/>
                  <a:gd name="connsiteX83" fmla="*/ 2928937 w 8801100"/>
                  <a:gd name="connsiteY83" fmla="*/ 409575 h 2947988"/>
                  <a:gd name="connsiteX84" fmla="*/ 2924175 w 8801100"/>
                  <a:gd name="connsiteY84" fmla="*/ 473869 h 2947988"/>
                  <a:gd name="connsiteX85" fmla="*/ 2897982 w 8801100"/>
                  <a:gd name="connsiteY85" fmla="*/ 511969 h 2947988"/>
                  <a:gd name="connsiteX86" fmla="*/ 2924175 w 8801100"/>
                  <a:gd name="connsiteY86" fmla="*/ 571500 h 2947988"/>
                  <a:gd name="connsiteX87" fmla="*/ 2926556 w 8801100"/>
                  <a:gd name="connsiteY87" fmla="*/ 640556 h 2947988"/>
                  <a:gd name="connsiteX88" fmla="*/ 2955131 w 8801100"/>
                  <a:gd name="connsiteY88" fmla="*/ 692944 h 2947988"/>
                  <a:gd name="connsiteX89" fmla="*/ 3002757 w 8801100"/>
                  <a:gd name="connsiteY89" fmla="*/ 747713 h 2947988"/>
                  <a:gd name="connsiteX90" fmla="*/ 2952750 w 8801100"/>
                  <a:gd name="connsiteY90" fmla="*/ 885825 h 2947988"/>
                  <a:gd name="connsiteX91" fmla="*/ 2883694 w 8801100"/>
                  <a:gd name="connsiteY91" fmla="*/ 952500 h 2947988"/>
                  <a:gd name="connsiteX92" fmla="*/ 2812256 w 8801100"/>
                  <a:gd name="connsiteY92" fmla="*/ 947738 h 2947988"/>
                  <a:gd name="connsiteX93" fmla="*/ 2774156 w 8801100"/>
                  <a:gd name="connsiteY93" fmla="*/ 1004888 h 2947988"/>
                  <a:gd name="connsiteX94" fmla="*/ 2714625 w 8801100"/>
                  <a:gd name="connsiteY94" fmla="*/ 1019175 h 2947988"/>
                  <a:gd name="connsiteX95" fmla="*/ 2645569 w 8801100"/>
                  <a:gd name="connsiteY95" fmla="*/ 959644 h 2947988"/>
                  <a:gd name="connsiteX96" fmla="*/ 2590800 w 8801100"/>
                  <a:gd name="connsiteY96" fmla="*/ 931069 h 2947988"/>
                  <a:gd name="connsiteX97" fmla="*/ 2547938 w 8801100"/>
                  <a:gd name="connsiteY97" fmla="*/ 945356 h 2947988"/>
                  <a:gd name="connsiteX98" fmla="*/ 2495550 w 8801100"/>
                  <a:gd name="connsiteY98" fmla="*/ 928688 h 2947988"/>
                  <a:gd name="connsiteX99" fmla="*/ 2428875 w 8801100"/>
                  <a:gd name="connsiteY99" fmla="*/ 873919 h 2947988"/>
                  <a:gd name="connsiteX100" fmla="*/ 2383631 w 8801100"/>
                  <a:gd name="connsiteY100" fmla="*/ 885825 h 2947988"/>
                  <a:gd name="connsiteX101" fmla="*/ 2362200 w 8801100"/>
                  <a:gd name="connsiteY101" fmla="*/ 854869 h 2947988"/>
                  <a:gd name="connsiteX102" fmla="*/ 2305050 w 8801100"/>
                  <a:gd name="connsiteY102" fmla="*/ 895350 h 2947988"/>
                  <a:gd name="connsiteX103" fmla="*/ 2188369 w 8801100"/>
                  <a:gd name="connsiteY103" fmla="*/ 873919 h 2947988"/>
                  <a:gd name="connsiteX104" fmla="*/ 2138363 w 8801100"/>
                  <a:gd name="connsiteY104" fmla="*/ 821531 h 2947988"/>
                  <a:gd name="connsiteX105" fmla="*/ 2095500 w 8801100"/>
                  <a:gd name="connsiteY105" fmla="*/ 807244 h 2947988"/>
                  <a:gd name="connsiteX106" fmla="*/ 2052638 w 8801100"/>
                  <a:gd name="connsiteY106" fmla="*/ 833438 h 2947988"/>
                  <a:gd name="connsiteX107" fmla="*/ 2000250 w 8801100"/>
                  <a:gd name="connsiteY107" fmla="*/ 742950 h 2947988"/>
                  <a:gd name="connsiteX108" fmla="*/ 1990725 w 8801100"/>
                  <a:gd name="connsiteY108" fmla="*/ 595312 h 2947988"/>
                  <a:gd name="connsiteX109" fmla="*/ 1938337 w 8801100"/>
                  <a:gd name="connsiteY109" fmla="*/ 588168 h 2947988"/>
                  <a:gd name="connsiteX110" fmla="*/ 1847850 w 8801100"/>
                  <a:gd name="connsiteY110" fmla="*/ 578644 h 2947988"/>
                  <a:gd name="connsiteX111" fmla="*/ 1793081 w 8801100"/>
                  <a:gd name="connsiteY111" fmla="*/ 540544 h 2947988"/>
                  <a:gd name="connsiteX112" fmla="*/ 1724025 w 8801100"/>
                  <a:gd name="connsiteY112" fmla="*/ 550069 h 2947988"/>
                  <a:gd name="connsiteX113" fmla="*/ 1678781 w 8801100"/>
                  <a:gd name="connsiteY113" fmla="*/ 523875 h 2947988"/>
                  <a:gd name="connsiteX114" fmla="*/ 1669257 w 8801100"/>
                  <a:gd name="connsiteY114" fmla="*/ 452438 h 2947988"/>
                  <a:gd name="connsiteX115" fmla="*/ 1645444 w 8801100"/>
                  <a:gd name="connsiteY115" fmla="*/ 438150 h 2947988"/>
                  <a:gd name="connsiteX116" fmla="*/ 1607344 w 8801100"/>
                  <a:gd name="connsiteY116" fmla="*/ 485774 h 2947988"/>
                  <a:gd name="connsiteX117" fmla="*/ 1528762 w 8801100"/>
                  <a:gd name="connsiteY117" fmla="*/ 411956 h 2947988"/>
                  <a:gd name="connsiteX118" fmla="*/ 1488281 w 8801100"/>
                  <a:gd name="connsiteY118" fmla="*/ 452438 h 2947988"/>
                  <a:gd name="connsiteX119" fmla="*/ 1412081 w 8801100"/>
                  <a:gd name="connsiteY119" fmla="*/ 438150 h 2947988"/>
                  <a:gd name="connsiteX120" fmla="*/ 1333500 w 8801100"/>
                  <a:gd name="connsiteY120" fmla="*/ 464344 h 2947988"/>
                  <a:gd name="connsiteX121" fmla="*/ 1273969 w 8801100"/>
                  <a:gd name="connsiteY121" fmla="*/ 511968 h 2947988"/>
                  <a:gd name="connsiteX122" fmla="*/ 1200150 w 8801100"/>
                  <a:gd name="connsiteY122" fmla="*/ 523875 h 2947988"/>
                  <a:gd name="connsiteX123" fmla="*/ 1164431 w 8801100"/>
                  <a:gd name="connsiteY123" fmla="*/ 516731 h 2947988"/>
                  <a:gd name="connsiteX124" fmla="*/ 1085851 w 8801100"/>
                  <a:gd name="connsiteY124" fmla="*/ 547688 h 2947988"/>
                  <a:gd name="connsiteX125" fmla="*/ 1064419 w 8801100"/>
                  <a:gd name="connsiteY125" fmla="*/ 576263 h 2947988"/>
                  <a:gd name="connsiteX126" fmla="*/ 997744 w 8801100"/>
                  <a:gd name="connsiteY126" fmla="*/ 566738 h 2947988"/>
                  <a:gd name="connsiteX127" fmla="*/ 928688 w 8801100"/>
                  <a:gd name="connsiteY127" fmla="*/ 590550 h 2947988"/>
                  <a:gd name="connsiteX128" fmla="*/ 873919 w 8801100"/>
                  <a:gd name="connsiteY128" fmla="*/ 628650 h 2947988"/>
                  <a:gd name="connsiteX129" fmla="*/ 778669 w 8801100"/>
                  <a:gd name="connsiteY129" fmla="*/ 642937 h 2947988"/>
                  <a:gd name="connsiteX130" fmla="*/ 764381 w 8801100"/>
                  <a:gd name="connsiteY130" fmla="*/ 664369 h 2947988"/>
                  <a:gd name="connsiteX131" fmla="*/ 776287 w 8801100"/>
                  <a:gd name="connsiteY131" fmla="*/ 709613 h 2947988"/>
                  <a:gd name="connsiteX132" fmla="*/ 676276 w 8801100"/>
                  <a:gd name="connsiteY132" fmla="*/ 762000 h 2947988"/>
                  <a:gd name="connsiteX133" fmla="*/ 638175 w 8801100"/>
                  <a:gd name="connsiteY133" fmla="*/ 733424 h 2947988"/>
                  <a:gd name="connsiteX134" fmla="*/ 607219 w 8801100"/>
                  <a:gd name="connsiteY134" fmla="*/ 790575 h 2947988"/>
                  <a:gd name="connsiteX135" fmla="*/ 550069 w 8801100"/>
                  <a:gd name="connsiteY135" fmla="*/ 752475 h 2947988"/>
                  <a:gd name="connsiteX136" fmla="*/ 514350 w 8801100"/>
                  <a:gd name="connsiteY136" fmla="*/ 781050 h 2947988"/>
                  <a:gd name="connsiteX137" fmla="*/ 478631 w 8801100"/>
                  <a:gd name="connsiteY137" fmla="*/ 745331 h 2947988"/>
                  <a:gd name="connsiteX138" fmla="*/ 426244 w 8801100"/>
                  <a:gd name="connsiteY138" fmla="*/ 757238 h 2947988"/>
                  <a:gd name="connsiteX139" fmla="*/ 381000 w 8801100"/>
                  <a:gd name="connsiteY139" fmla="*/ 728663 h 2947988"/>
                  <a:gd name="connsiteX140" fmla="*/ 357188 w 8801100"/>
                  <a:gd name="connsiteY140" fmla="*/ 747713 h 2947988"/>
                  <a:gd name="connsiteX141" fmla="*/ 333375 w 8801100"/>
                  <a:gd name="connsiteY141" fmla="*/ 807244 h 2947988"/>
                  <a:gd name="connsiteX142" fmla="*/ 261938 w 8801100"/>
                  <a:gd name="connsiteY142" fmla="*/ 845343 h 2947988"/>
                  <a:gd name="connsiteX143" fmla="*/ 209550 w 8801100"/>
                  <a:gd name="connsiteY143" fmla="*/ 816769 h 2947988"/>
                  <a:gd name="connsiteX144" fmla="*/ 119063 w 8801100"/>
                  <a:gd name="connsiteY144" fmla="*/ 826294 h 2947988"/>
                  <a:gd name="connsiteX145" fmla="*/ 71437 w 8801100"/>
                  <a:gd name="connsiteY145" fmla="*/ 792957 h 2947988"/>
                  <a:gd name="connsiteX146" fmla="*/ 0 w 8801100"/>
                  <a:gd name="connsiteY146" fmla="*/ 812006 h 2947988"/>
                  <a:gd name="connsiteX147" fmla="*/ 4762 w 8801100"/>
                  <a:gd name="connsiteY147" fmla="*/ 0 h 2947988"/>
                  <a:gd name="connsiteX148" fmla="*/ 6691313 w 8801100"/>
                  <a:gd name="connsiteY148" fmla="*/ 2878931 h 2947988"/>
                  <a:gd name="connsiteX149" fmla="*/ 6836569 w 8801100"/>
                  <a:gd name="connsiteY149" fmla="*/ 2862262 h 2947988"/>
                  <a:gd name="connsiteX150" fmla="*/ 6905625 w 8801100"/>
                  <a:gd name="connsiteY150" fmla="*/ 2919413 h 2947988"/>
                  <a:gd name="connsiteX151" fmla="*/ 6981825 w 8801100"/>
                  <a:gd name="connsiteY151" fmla="*/ 2943225 h 2947988"/>
                  <a:gd name="connsiteX152" fmla="*/ 7186612 w 8801100"/>
                  <a:gd name="connsiteY152" fmla="*/ 2947988 h 2947988"/>
                  <a:gd name="connsiteX153" fmla="*/ 7362825 w 8801100"/>
                  <a:gd name="connsiteY153" fmla="*/ 2809875 h 2947988"/>
                  <a:gd name="connsiteX154" fmla="*/ 7419975 w 8801100"/>
                  <a:gd name="connsiteY154" fmla="*/ 2719387 h 2947988"/>
                  <a:gd name="connsiteX155" fmla="*/ 7446169 w 8801100"/>
                  <a:gd name="connsiteY155" fmla="*/ 2636044 h 2947988"/>
                  <a:gd name="connsiteX156" fmla="*/ 7577137 w 8801100"/>
                  <a:gd name="connsiteY156" fmla="*/ 2636044 h 2947988"/>
                  <a:gd name="connsiteX157" fmla="*/ 7750969 w 8801100"/>
                  <a:gd name="connsiteY157" fmla="*/ 2578893 h 2947988"/>
                  <a:gd name="connsiteX158" fmla="*/ 7810500 w 8801100"/>
                  <a:gd name="connsiteY158" fmla="*/ 2466975 h 2947988"/>
                  <a:gd name="connsiteX159" fmla="*/ 7874794 w 8801100"/>
                  <a:gd name="connsiteY159" fmla="*/ 2431256 h 2947988"/>
                  <a:gd name="connsiteX160" fmla="*/ 7853363 w 8801100"/>
                  <a:gd name="connsiteY160" fmla="*/ 2386013 h 2947988"/>
                  <a:gd name="connsiteX161" fmla="*/ 7931944 w 8801100"/>
                  <a:gd name="connsiteY161" fmla="*/ 2216943 h 2947988"/>
                  <a:gd name="connsiteX162" fmla="*/ 7986713 w 8801100"/>
                  <a:gd name="connsiteY162" fmla="*/ 2157413 h 2947988"/>
                  <a:gd name="connsiteX163" fmla="*/ 8024813 w 8801100"/>
                  <a:gd name="connsiteY163" fmla="*/ 2152650 h 2947988"/>
                  <a:gd name="connsiteX164" fmla="*/ 8070056 w 8801100"/>
                  <a:gd name="connsiteY164" fmla="*/ 2157413 h 2947988"/>
                  <a:gd name="connsiteX165" fmla="*/ 8134350 w 8801100"/>
                  <a:gd name="connsiteY165" fmla="*/ 2124075 h 2947988"/>
                  <a:gd name="connsiteX166" fmla="*/ 8143875 w 8801100"/>
                  <a:gd name="connsiteY166" fmla="*/ 2059781 h 2947988"/>
                  <a:gd name="connsiteX167" fmla="*/ 8184355 w 8801100"/>
                  <a:gd name="connsiteY167" fmla="*/ 2024063 h 2947988"/>
                  <a:gd name="connsiteX168" fmla="*/ 8243888 w 8801100"/>
                  <a:gd name="connsiteY168" fmla="*/ 2064543 h 2947988"/>
                  <a:gd name="connsiteX169" fmla="*/ 8270082 w 8801100"/>
                  <a:gd name="connsiteY169" fmla="*/ 2014537 h 2947988"/>
                  <a:gd name="connsiteX170" fmla="*/ 8365331 w 8801100"/>
                  <a:gd name="connsiteY170" fmla="*/ 1945481 h 2947988"/>
                  <a:gd name="connsiteX171" fmla="*/ 8427244 w 8801100"/>
                  <a:gd name="connsiteY171" fmla="*/ 1952625 h 2947988"/>
                  <a:gd name="connsiteX172" fmla="*/ 8477250 w 8801100"/>
                  <a:gd name="connsiteY172" fmla="*/ 1933575 h 2947988"/>
                  <a:gd name="connsiteX173" fmla="*/ 8515350 w 8801100"/>
                  <a:gd name="connsiteY173" fmla="*/ 1905000 h 2947988"/>
                  <a:gd name="connsiteX174" fmla="*/ 8548688 w 8801100"/>
                  <a:gd name="connsiteY174" fmla="*/ 1902619 h 2947988"/>
                  <a:gd name="connsiteX175" fmla="*/ 8584406 w 8801100"/>
                  <a:gd name="connsiteY175" fmla="*/ 1933575 h 2947988"/>
                  <a:gd name="connsiteX176" fmla="*/ 8643938 w 8801100"/>
                  <a:gd name="connsiteY176" fmla="*/ 1933575 h 2947988"/>
                  <a:gd name="connsiteX177" fmla="*/ 8682037 w 8801100"/>
                  <a:gd name="connsiteY177" fmla="*/ 1914525 h 2947988"/>
                  <a:gd name="connsiteX178" fmla="*/ 8765381 w 8801100"/>
                  <a:gd name="connsiteY178" fmla="*/ 1916907 h 2947988"/>
                  <a:gd name="connsiteX179" fmla="*/ 8796338 w 8801100"/>
                  <a:gd name="connsiteY179" fmla="*/ 1871663 h 2947988"/>
                  <a:gd name="connsiteX180" fmla="*/ 8801100 w 8801100"/>
                  <a:gd name="connsiteY180" fmla="*/ 1809750 h 2947988"/>
                  <a:gd name="connsiteX181" fmla="*/ 8751093 w 8801100"/>
                  <a:gd name="connsiteY181" fmla="*/ 1769269 h 2947988"/>
                  <a:gd name="connsiteX182" fmla="*/ 8734425 w 8801100"/>
                  <a:gd name="connsiteY182" fmla="*/ 1714500 h 2947988"/>
                  <a:gd name="connsiteX183" fmla="*/ 8643938 w 8801100"/>
                  <a:gd name="connsiteY183" fmla="*/ 1652588 h 2947988"/>
                  <a:gd name="connsiteX184" fmla="*/ 8603456 w 8801100"/>
                  <a:gd name="connsiteY184" fmla="*/ 1631156 h 2947988"/>
                  <a:gd name="connsiteX185" fmla="*/ 8565356 w 8801100"/>
                  <a:gd name="connsiteY185" fmla="*/ 1585913 h 2947988"/>
                  <a:gd name="connsiteX186" fmla="*/ 8534400 w 8801100"/>
                  <a:gd name="connsiteY186" fmla="*/ 1583531 h 2947988"/>
                  <a:gd name="connsiteX187" fmla="*/ 8517731 w 8801100"/>
                  <a:gd name="connsiteY187" fmla="*/ 1531144 h 2947988"/>
                  <a:gd name="connsiteX188" fmla="*/ 8477250 w 8801100"/>
                  <a:gd name="connsiteY188" fmla="*/ 1514475 h 2947988"/>
                  <a:gd name="connsiteX189" fmla="*/ 8477250 w 8801100"/>
                  <a:gd name="connsiteY189" fmla="*/ 1514475 h 2947988"/>
                  <a:gd name="connsiteX190" fmla="*/ 8436769 w 8801100"/>
                  <a:gd name="connsiteY190" fmla="*/ 1519238 h 2947988"/>
                  <a:gd name="connsiteX191" fmla="*/ 8351043 w 8801100"/>
                  <a:gd name="connsiteY191" fmla="*/ 1445419 h 2947988"/>
                  <a:gd name="connsiteX192" fmla="*/ 8170069 w 8801100"/>
                  <a:gd name="connsiteY192" fmla="*/ 1445418 h 2947988"/>
                  <a:gd name="connsiteX193" fmla="*/ 8117681 w 8801100"/>
                  <a:gd name="connsiteY193" fmla="*/ 1483519 h 2947988"/>
                  <a:gd name="connsiteX194" fmla="*/ 8067675 w 8801100"/>
                  <a:gd name="connsiteY194" fmla="*/ 1562100 h 2947988"/>
                  <a:gd name="connsiteX195" fmla="*/ 8084344 w 8801100"/>
                  <a:gd name="connsiteY195" fmla="*/ 1583531 h 2947988"/>
                  <a:gd name="connsiteX196" fmla="*/ 8039100 w 8801100"/>
                  <a:gd name="connsiteY196" fmla="*/ 1633537 h 2947988"/>
                  <a:gd name="connsiteX197" fmla="*/ 7889081 w 8801100"/>
                  <a:gd name="connsiteY197" fmla="*/ 1557337 h 2947988"/>
                  <a:gd name="connsiteX198" fmla="*/ 7798594 w 8801100"/>
                  <a:gd name="connsiteY198" fmla="*/ 1593056 h 2947988"/>
                  <a:gd name="connsiteX199" fmla="*/ 7724775 w 8801100"/>
                  <a:gd name="connsiteY199" fmla="*/ 1590675 h 2947988"/>
                  <a:gd name="connsiteX200" fmla="*/ 7667625 w 8801100"/>
                  <a:gd name="connsiteY200" fmla="*/ 1685925 h 2947988"/>
                  <a:gd name="connsiteX201" fmla="*/ 7529513 w 8801100"/>
                  <a:gd name="connsiteY201" fmla="*/ 1588294 h 2947988"/>
                  <a:gd name="connsiteX0" fmla="*/ 7529513 w 8801100"/>
                  <a:gd name="connsiteY0" fmla="*/ 1588294 h 2947988"/>
                  <a:gd name="connsiteX1" fmla="*/ 7522369 w 8801100"/>
                  <a:gd name="connsiteY1" fmla="*/ 1533525 h 2947988"/>
                  <a:gd name="connsiteX2" fmla="*/ 7589044 w 8801100"/>
                  <a:gd name="connsiteY2" fmla="*/ 1459706 h 2947988"/>
                  <a:gd name="connsiteX3" fmla="*/ 7572375 w 8801100"/>
                  <a:gd name="connsiteY3" fmla="*/ 1388269 h 2947988"/>
                  <a:gd name="connsiteX4" fmla="*/ 7586663 w 8801100"/>
                  <a:gd name="connsiteY4" fmla="*/ 1293019 h 2947988"/>
                  <a:gd name="connsiteX5" fmla="*/ 7624763 w 8801100"/>
                  <a:gd name="connsiteY5" fmla="*/ 1235869 h 2947988"/>
                  <a:gd name="connsiteX6" fmla="*/ 7605712 w 8801100"/>
                  <a:gd name="connsiteY6" fmla="*/ 1202531 h 2947988"/>
                  <a:gd name="connsiteX7" fmla="*/ 7703343 w 8801100"/>
                  <a:gd name="connsiteY7" fmla="*/ 802481 h 2947988"/>
                  <a:gd name="connsiteX8" fmla="*/ 7696200 w 8801100"/>
                  <a:gd name="connsiteY8" fmla="*/ 773906 h 2947988"/>
                  <a:gd name="connsiteX9" fmla="*/ 7567613 w 8801100"/>
                  <a:gd name="connsiteY9" fmla="*/ 752475 h 2947988"/>
                  <a:gd name="connsiteX10" fmla="*/ 7384257 w 8801100"/>
                  <a:gd name="connsiteY10" fmla="*/ 831056 h 2947988"/>
                  <a:gd name="connsiteX11" fmla="*/ 7227093 w 8801100"/>
                  <a:gd name="connsiteY11" fmla="*/ 716756 h 2947988"/>
                  <a:gd name="connsiteX12" fmla="*/ 7150894 w 8801100"/>
                  <a:gd name="connsiteY12" fmla="*/ 723900 h 2947988"/>
                  <a:gd name="connsiteX13" fmla="*/ 7077075 w 8801100"/>
                  <a:gd name="connsiteY13" fmla="*/ 719138 h 2947988"/>
                  <a:gd name="connsiteX14" fmla="*/ 6938963 w 8801100"/>
                  <a:gd name="connsiteY14" fmla="*/ 823913 h 2947988"/>
                  <a:gd name="connsiteX15" fmla="*/ 6831806 w 8801100"/>
                  <a:gd name="connsiteY15" fmla="*/ 931069 h 2947988"/>
                  <a:gd name="connsiteX16" fmla="*/ 6788944 w 8801100"/>
                  <a:gd name="connsiteY16" fmla="*/ 1000125 h 2947988"/>
                  <a:gd name="connsiteX17" fmla="*/ 6796088 w 8801100"/>
                  <a:gd name="connsiteY17" fmla="*/ 1035844 h 2947988"/>
                  <a:gd name="connsiteX18" fmla="*/ 6734175 w 8801100"/>
                  <a:gd name="connsiteY18" fmla="*/ 1047750 h 2947988"/>
                  <a:gd name="connsiteX19" fmla="*/ 6753225 w 8801100"/>
                  <a:gd name="connsiteY19" fmla="*/ 1047750 h 2947988"/>
                  <a:gd name="connsiteX20" fmla="*/ 6719888 w 8801100"/>
                  <a:gd name="connsiteY20" fmla="*/ 1078706 h 2947988"/>
                  <a:gd name="connsiteX21" fmla="*/ 6619875 w 8801100"/>
                  <a:gd name="connsiteY21" fmla="*/ 1078707 h 2947988"/>
                  <a:gd name="connsiteX22" fmla="*/ 6524625 w 8801100"/>
                  <a:gd name="connsiteY22" fmla="*/ 1133475 h 2947988"/>
                  <a:gd name="connsiteX23" fmla="*/ 6443663 w 8801100"/>
                  <a:gd name="connsiteY23" fmla="*/ 1143000 h 2947988"/>
                  <a:gd name="connsiteX24" fmla="*/ 6403181 w 8801100"/>
                  <a:gd name="connsiteY24" fmla="*/ 1176338 h 2947988"/>
                  <a:gd name="connsiteX25" fmla="*/ 6353175 w 8801100"/>
                  <a:gd name="connsiteY25" fmla="*/ 1181100 h 2947988"/>
                  <a:gd name="connsiteX26" fmla="*/ 6231732 w 8801100"/>
                  <a:gd name="connsiteY26" fmla="*/ 1273969 h 2947988"/>
                  <a:gd name="connsiteX27" fmla="*/ 6172200 w 8801100"/>
                  <a:gd name="connsiteY27" fmla="*/ 1278731 h 2947988"/>
                  <a:gd name="connsiteX28" fmla="*/ 6119813 w 8801100"/>
                  <a:gd name="connsiteY28" fmla="*/ 1243013 h 2947988"/>
                  <a:gd name="connsiteX29" fmla="*/ 6093619 w 8801100"/>
                  <a:gd name="connsiteY29" fmla="*/ 1278731 h 2947988"/>
                  <a:gd name="connsiteX30" fmla="*/ 5895975 w 8801100"/>
                  <a:gd name="connsiteY30" fmla="*/ 1271588 h 2947988"/>
                  <a:gd name="connsiteX31" fmla="*/ 5834063 w 8801100"/>
                  <a:gd name="connsiteY31" fmla="*/ 1226344 h 2947988"/>
                  <a:gd name="connsiteX32" fmla="*/ 5636419 w 8801100"/>
                  <a:gd name="connsiteY32" fmla="*/ 1243013 h 2947988"/>
                  <a:gd name="connsiteX33" fmla="*/ 5548313 w 8801100"/>
                  <a:gd name="connsiteY33" fmla="*/ 1159668 h 2947988"/>
                  <a:gd name="connsiteX34" fmla="*/ 5472113 w 8801100"/>
                  <a:gd name="connsiteY34" fmla="*/ 1114425 h 2947988"/>
                  <a:gd name="connsiteX35" fmla="*/ 5474493 w 8801100"/>
                  <a:gd name="connsiteY35" fmla="*/ 1057275 h 2947988"/>
                  <a:gd name="connsiteX36" fmla="*/ 5455444 w 8801100"/>
                  <a:gd name="connsiteY36" fmla="*/ 1014412 h 2947988"/>
                  <a:gd name="connsiteX37" fmla="*/ 5360194 w 8801100"/>
                  <a:gd name="connsiteY37" fmla="*/ 1016794 h 2947988"/>
                  <a:gd name="connsiteX38" fmla="*/ 5264944 w 8801100"/>
                  <a:gd name="connsiteY38" fmla="*/ 995363 h 2947988"/>
                  <a:gd name="connsiteX39" fmla="*/ 5195887 w 8801100"/>
                  <a:gd name="connsiteY39" fmla="*/ 928687 h 2947988"/>
                  <a:gd name="connsiteX40" fmla="*/ 5160169 w 8801100"/>
                  <a:gd name="connsiteY40" fmla="*/ 885825 h 2947988"/>
                  <a:gd name="connsiteX41" fmla="*/ 5079206 w 8801100"/>
                  <a:gd name="connsiteY41" fmla="*/ 862012 h 2947988"/>
                  <a:gd name="connsiteX42" fmla="*/ 5005388 w 8801100"/>
                  <a:gd name="connsiteY42" fmla="*/ 873918 h 2947988"/>
                  <a:gd name="connsiteX43" fmla="*/ 4948237 w 8801100"/>
                  <a:gd name="connsiteY43" fmla="*/ 821531 h 2947988"/>
                  <a:gd name="connsiteX44" fmla="*/ 4852988 w 8801100"/>
                  <a:gd name="connsiteY44" fmla="*/ 833438 h 2947988"/>
                  <a:gd name="connsiteX45" fmla="*/ 4800600 w 8801100"/>
                  <a:gd name="connsiteY45" fmla="*/ 807244 h 2947988"/>
                  <a:gd name="connsiteX46" fmla="*/ 4719638 w 8801100"/>
                  <a:gd name="connsiteY46" fmla="*/ 850106 h 2947988"/>
                  <a:gd name="connsiteX47" fmla="*/ 4581525 w 8801100"/>
                  <a:gd name="connsiteY47" fmla="*/ 873919 h 2947988"/>
                  <a:gd name="connsiteX48" fmla="*/ 4452938 w 8801100"/>
                  <a:gd name="connsiteY48" fmla="*/ 966788 h 2947988"/>
                  <a:gd name="connsiteX49" fmla="*/ 4405312 w 8801100"/>
                  <a:gd name="connsiteY49" fmla="*/ 928688 h 2947988"/>
                  <a:gd name="connsiteX50" fmla="*/ 4383881 w 8801100"/>
                  <a:gd name="connsiteY50" fmla="*/ 959643 h 2947988"/>
                  <a:gd name="connsiteX51" fmla="*/ 4310063 w 8801100"/>
                  <a:gd name="connsiteY51" fmla="*/ 909638 h 2947988"/>
                  <a:gd name="connsiteX52" fmla="*/ 4271963 w 8801100"/>
                  <a:gd name="connsiteY52" fmla="*/ 916781 h 2947988"/>
                  <a:gd name="connsiteX53" fmla="*/ 4250531 w 8801100"/>
                  <a:gd name="connsiteY53" fmla="*/ 878681 h 2947988"/>
                  <a:gd name="connsiteX54" fmla="*/ 4191000 w 8801100"/>
                  <a:gd name="connsiteY54" fmla="*/ 883444 h 2947988"/>
                  <a:gd name="connsiteX55" fmla="*/ 4145756 w 8801100"/>
                  <a:gd name="connsiteY55" fmla="*/ 854869 h 2947988"/>
                  <a:gd name="connsiteX56" fmla="*/ 4107656 w 8801100"/>
                  <a:gd name="connsiteY56" fmla="*/ 852488 h 2947988"/>
                  <a:gd name="connsiteX57" fmla="*/ 4088606 w 8801100"/>
                  <a:gd name="connsiteY57" fmla="*/ 804862 h 2947988"/>
                  <a:gd name="connsiteX58" fmla="*/ 4074319 w 8801100"/>
                  <a:gd name="connsiteY58" fmla="*/ 773906 h 2947988"/>
                  <a:gd name="connsiteX59" fmla="*/ 4029075 w 8801100"/>
                  <a:gd name="connsiteY59" fmla="*/ 783431 h 2947988"/>
                  <a:gd name="connsiteX60" fmla="*/ 4010025 w 8801100"/>
                  <a:gd name="connsiteY60" fmla="*/ 747713 h 2947988"/>
                  <a:gd name="connsiteX61" fmla="*/ 4031457 w 8801100"/>
                  <a:gd name="connsiteY61" fmla="*/ 692944 h 2947988"/>
                  <a:gd name="connsiteX62" fmla="*/ 4000500 w 8801100"/>
                  <a:gd name="connsiteY62" fmla="*/ 666750 h 2947988"/>
                  <a:gd name="connsiteX63" fmla="*/ 4017169 w 8801100"/>
                  <a:gd name="connsiteY63" fmla="*/ 623888 h 2947988"/>
                  <a:gd name="connsiteX64" fmla="*/ 3990975 w 8801100"/>
                  <a:gd name="connsiteY64" fmla="*/ 581025 h 2947988"/>
                  <a:gd name="connsiteX65" fmla="*/ 3986213 w 8801100"/>
                  <a:gd name="connsiteY65" fmla="*/ 519113 h 2947988"/>
                  <a:gd name="connsiteX66" fmla="*/ 4010025 w 8801100"/>
                  <a:gd name="connsiteY66" fmla="*/ 454818 h 2947988"/>
                  <a:gd name="connsiteX67" fmla="*/ 3971925 w 8801100"/>
                  <a:gd name="connsiteY67" fmla="*/ 457200 h 2947988"/>
                  <a:gd name="connsiteX68" fmla="*/ 3852863 w 8801100"/>
                  <a:gd name="connsiteY68" fmla="*/ 400050 h 2947988"/>
                  <a:gd name="connsiteX69" fmla="*/ 3814762 w 8801100"/>
                  <a:gd name="connsiteY69" fmla="*/ 404812 h 2947988"/>
                  <a:gd name="connsiteX70" fmla="*/ 3609975 w 8801100"/>
                  <a:gd name="connsiteY70" fmla="*/ 295275 h 2947988"/>
                  <a:gd name="connsiteX71" fmla="*/ 3505200 w 8801100"/>
                  <a:gd name="connsiteY71" fmla="*/ 264319 h 2947988"/>
                  <a:gd name="connsiteX72" fmla="*/ 3440906 w 8801100"/>
                  <a:gd name="connsiteY72" fmla="*/ 273843 h 2947988"/>
                  <a:gd name="connsiteX73" fmla="*/ 3409950 w 8801100"/>
                  <a:gd name="connsiteY73" fmla="*/ 209550 h 2947988"/>
                  <a:gd name="connsiteX74" fmla="*/ 3352800 w 8801100"/>
                  <a:gd name="connsiteY74" fmla="*/ 209550 h 2947988"/>
                  <a:gd name="connsiteX75" fmla="*/ 3214687 w 8801100"/>
                  <a:gd name="connsiteY75" fmla="*/ 104775 h 2947988"/>
                  <a:gd name="connsiteX76" fmla="*/ 3181350 w 8801100"/>
                  <a:gd name="connsiteY76" fmla="*/ 164307 h 2947988"/>
                  <a:gd name="connsiteX77" fmla="*/ 3126581 w 8801100"/>
                  <a:gd name="connsiteY77" fmla="*/ 233363 h 2947988"/>
                  <a:gd name="connsiteX78" fmla="*/ 3083719 w 8801100"/>
                  <a:gd name="connsiteY78" fmla="*/ 250031 h 2947988"/>
                  <a:gd name="connsiteX79" fmla="*/ 3052763 w 8801100"/>
                  <a:gd name="connsiteY79" fmla="*/ 242888 h 2947988"/>
                  <a:gd name="connsiteX80" fmla="*/ 3028950 w 8801100"/>
                  <a:gd name="connsiteY80" fmla="*/ 271463 h 2947988"/>
                  <a:gd name="connsiteX81" fmla="*/ 3002756 w 8801100"/>
                  <a:gd name="connsiteY81" fmla="*/ 350044 h 2947988"/>
                  <a:gd name="connsiteX82" fmla="*/ 2959894 w 8801100"/>
                  <a:gd name="connsiteY82" fmla="*/ 347663 h 2947988"/>
                  <a:gd name="connsiteX83" fmla="*/ 2928937 w 8801100"/>
                  <a:gd name="connsiteY83" fmla="*/ 409575 h 2947988"/>
                  <a:gd name="connsiteX84" fmla="*/ 2924175 w 8801100"/>
                  <a:gd name="connsiteY84" fmla="*/ 473869 h 2947988"/>
                  <a:gd name="connsiteX85" fmla="*/ 2897982 w 8801100"/>
                  <a:gd name="connsiteY85" fmla="*/ 511969 h 2947988"/>
                  <a:gd name="connsiteX86" fmla="*/ 2924175 w 8801100"/>
                  <a:gd name="connsiteY86" fmla="*/ 571500 h 2947988"/>
                  <a:gd name="connsiteX87" fmla="*/ 2926556 w 8801100"/>
                  <a:gd name="connsiteY87" fmla="*/ 640556 h 2947988"/>
                  <a:gd name="connsiteX88" fmla="*/ 2955131 w 8801100"/>
                  <a:gd name="connsiteY88" fmla="*/ 692944 h 2947988"/>
                  <a:gd name="connsiteX89" fmla="*/ 3002757 w 8801100"/>
                  <a:gd name="connsiteY89" fmla="*/ 747713 h 2947988"/>
                  <a:gd name="connsiteX90" fmla="*/ 2952750 w 8801100"/>
                  <a:gd name="connsiteY90" fmla="*/ 885825 h 2947988"/>
                  <a:gd name="connsiteX91" fmla="*/ 2883694 w 8801100"/>
                  <a:gd name="connsiteY91" fmla="*/ 952500 h 2947988"/>
                  <a:gd name="connsiteX92" fmla="*/ 2812256 w 8801100"/>
                  <a:gd name="connsiteY92" fmla="*/ 947738 h 2947988"/>
                  <a:gd name="connsiteX93" fmla="*/ 2774156 w 8801100"/>
                  <a:gd name="connsiteY93" fmla="*/ 1004888 h 2947988"/>
                  <a:gd name="connsiteX94" fmla="*/ 2714625 w 8801100"/>
                  <a:gd name="connsiteY94" fmla="*/ 1019175 h 2947988"/>
                  <a:gd name="connsiteX95" fmla="*/ 2645569 w 8801100"/>
                  <a:gd name="connsiteY95" fmla="*/ 959644 h 2947988"/>
                  <a:gd name="connsiteX96" fmla="*/ 2590800 w 8801100"/>
                  <a:gd name="connsiteY96" fmla="*/ 931069 h 2947988"/>
                  <a:gd name="connsiteX97" fmla="*/ 2547938 w 8801100"/>
                  <a:gd name="connsiteY97" fmla="*/ 945356 h 2947988"/>
                  <a:gd name="connsiteX98" fmla="*/ 2495550 w 8801100"/>
                  <a:gd name="connsiteY98" fmla="*/ 928688 h 2947988"/>
                  <a:gd name="connsiteX99" fmla="*/ 2428875 w 8801100"/>
                  <a:gd name="connsiteY99" fmla="*/ 873919 h 2947988"/>
                  <a:gd name="connsiteX100" fmla="*/ 2383631 w 8801100"/>
                  <a:gd name="connsiteY100" fmla="*/ 885825 h 2947988"/>
                  <a:gd name="connsiteX101" fmla="*/ 2362200 w 8801100"/>
                  <a:gd name="connsiteY101" fmla="*/ 854869 h 2947988"/>
                  <a:gd name="connsiteX102" fmla="*/ 2305050 w 8801100"/>
                  <a:gd name="connsiteY102" fmla="*/ 895350 h 2947988"/>
                  <a:gd name="connsiteX103" fmla="*/ 2188369 w 8801100"/>
                  <a:gd name="connsiteY103" fmla="*/ 873919 h 2947988"/>
                  <a:gd name="connsiteX104" fmla="*/ 2138363 w 8801100"/>
                  <a:gd name="connsiteY104" fmla="*/ 821531 h 2947988"/>
                  <a:gd name="connsiteX105" fmla="*/ 2095500 w 8801100"/>
                  <a:gd name="connsiteY105" fmla="*/ 807244 h 2947988"/>
                  <a:gd name="connsiteX106" fmla="*/ 2052638 w 8801100"/>
                  <a:gd name="connsiteY106" fmla="*/ 833438 h 2947988"/>
                  <a:gd name="connsiteX107" fmla="*/ 2000250 w 8801100"/>
                  <a:gd name="connsiteY107" fmla="*/ 742950 h 2947988"/>
                  <a:gd name="connsiteX108" fmla="*/ 1990725 w 8801100"/>
                  <a:gd name="connsiteY108" fmla="*/ 595312 h 2947988"/>
                  <a:gd name="connsiteX109" fmla="*/ 1938337 w 8801100"/>
                  <a:gd name="connsiteY109" fmla="*/ 588168 h 2947988"/>
                  <a:gd name="connsiteX110" fmla="*/ 1847850 w 8801100"/>
                  <a:gd name="connsiteY110" fmla="*/ 578644 h 2947988"/>
                  <a:gd name="connsiteX111" fmla="*/ 1793081 w 8801100"/>
                  <a:gd name="connsiteY111" fmla="*/ 540544 h 2947988"/>
                  <a:gd name="connsiteX112" fmla="*/ 1724025 w 8801100"/>
                  <a:gd name="connsiteY112" fmla="*/ 550069 h 2947988"/>
                  <a:gd name="connsiteX113" fmla="*/ 1678781 w 8801100"/>
                  <a:gd name="connsiteY113" fmla="*/ 523875 h 2947988"/>
                  <a:gd name="connsiteX114" fmla="*/ 1669257 w 8801100"/>
                  <a:gd name="connsiteY114" fmla="*/ 452438 h 2947988"/>
                  <a:gd name="connsiteX115" fmla="*/ 1645444 w 8801100"/>
                  <a:gd name="connsiteY115" fmla="*/ 438150 h 2947988"/>
                  <a:gd name="connsiteX116" fmla="*/ 1607344 w 8801100"/>
                  <a:gd name="connsiteY116" fmla="*/ 485774 h 2947988"/>
                  <a:gd name="connsiteX117" fmla="*/ 1528762 w 8801100"/>
                  <a:gd name="connsiteY117" fmla="*/ 411956 h 2947988"/>
                  <a:gd name="connsiteX118" fmla="*/ 1488281 w 8801100"/>
                  <a:gd name="connsiteY118" fmla="*/ 452438 h 2947988"/>
                  <a:gd name="connsiteX119" fmla="*/ 1412081 w 8801100"/>
                  <a:gd name="connsiteY119" fmla="*/ 438150 h 2947988"/>
                  <a:gd name="connsiteX120" fmla="*/ 1333500 w 8801100"/>
                  <a:gd name="connsiteY120" fmla="*/ 464344 h 2947988"/>
                  <a:gd name="connsiteX121" fmla="*/ 1273969 w 8801100"/>
                  <a:gd name="connsiteY121" fmla="*/ 511968 h 2947988"/>
                  <a:gd name="connsiteX122" fmla="*/ 1200150 w 8801100"/>
                  <a:gd name="connsiteY122" fmla="*/ 523875 h 2947988"/>
                  <a:gd name="connsiteX123" fmla="*/ 1164431 w 8801100"/>
                  <a:gd name="connsiteY123" fmla="*/ 516731 h 2947988"/>
                  <a:gd name="connsiteX124" fmla="*/ 1085851 w 8801100"/>
                  <a:gd name="connsiteY124" fmla="*/ 547688 h 2947988"/>
                  <a:gd name="connsiteX125" fmla="*/ 1064419 w 8801100"/>
                  <a:gd name="connsiteY125" fmla="*/ 576263 h 2947988"/>
                  <a:gd name="connsiteX126" fmla="*/ 997744 w 8801100"/>
                  <a:gd name="connsiteY126" fmla="*/ 566738 h 2947988"/>
                  <a:gd name="connsiteX127" fmla="*/ 928688 w 8801100"/>
                  <a:gd name="connsiteY127" fmla="*/ 590550 h 2947988"/>
                  <a:gd name="connsiteX128" fmla="*/ 873919 w 8801100"/>
                  <a:gd name="connsiteY128" fmla="*/ 628650 h 2947988"/>
                  <a:gd name="connsiteX129" fmla="*/ 778669 w 8801100"/>
                  <a:gd name="connsiteY129" fmla="*/ 642937 h 2947988"/>
                  <a:gd name="connsiteX130" fmla="*/ 764381 w 8801100"/>
                  <a:gd name="connsiteY130" fmla="*/ 664369 h 2947988"/>
                  <a:gd name="connsiteX131" fmla="*/ 776287 w 8801100"/>
                  <a:gd name="connsiteY131" fmla="*/ 709613 h 2947988"/>
                  <a:gd name="connsiteX132" fmla="*/ 676276 w 8801100"/>
                  <a:gd name="connsiteY132" fmla="*/ 762000 h 2947988"/>
                  <a:gd name="connsiteX133" fmla="*/ 638175 w 8801100"/>
                  <a:gd name="connsiteY133" fmla="*/ 733424 h 2947988"/>
                  <a:gd name="connsiteX134" fmla="*/ 607219 w 8801100"/>
                  <a:gd name="connsiteY134" fmla="*/ 790575 h 2947988"/>
                  <a:gd name="connsiteX135" fmla="*/ 550069 w 8801100"/>
                  <a:gd name="connsiteY135" fmla="*/ 752475 h 2947988"/>
                  <a:gd name="connsiteX136" fmla="*/ 514350 w 8801100"/>
                  <a:gd name="connsiteY136" fmla="*/ 781050 h 2947988"/>
                  <a:gd name="connsiteX137" fmla="*/ 478631 w 8801100"/>
                  <a:gd name="connsiteY137" fmla="*/ 745331 h 2947988"/>
                  <a:gd name="connsiteX138" fmla="*/ 426244 w 8801100"/>
                  <a:gd name="connsiteY138" fmla="*/ 757238 h 2947988"/>
                  <a:gd name="connsiteX139" fmla="*/ 381000 w 8801100"/>
                  <a:gd name="connsiteY139" fmla="*/ 728663 h 2947988"/>
                  <a:gd name="connsiteX140" fmla="*/ 357188 w 8801100"/>
                  <a:gd name="connsiteY140" fmla="*/ 747713 h 2947988"/>
                  <a:gd name="connsiteX141" fmla="*/ 333375 w 8801100"/>
                  <a:gd name="connsiteY141" fmla="*/ 807244 h 2947988"/>
                  <a:gd name="connsiteX142" fmla="*/ 261938 w 8801100"/>
                  <a:gd name="connsiteY142" fmla="*/ 845343 h 2947988"/>
                  <a:gd name="connsiteX143" fmla="*/ 209550 w 8801100"/>
                  <a:gd name="connsiteY143" fmla="*/ 816769 h 2947988"/>
                  <a:gd name="connsiteX144" fmla="*/ 119063 w 8801100"/>
                  <a:gd name="connsiteY144" fmla="*/ 826294 h 2947988"/>
                  <a:gd name="connsiteX145" fmla="*/ 71437 w 8801100"/>
                  <a:gd name="connsiteY145" fmla="*/ 792957 h 2947988"/>
                  <a:gd name="connsiteX146" fmla="*/ 0 w 8801100"/>
                  <a:gd name="connsiteY146" fmla="*/ 812006 h 2947988"/>
                  <a:gd name="connsiteX147" fmla="*/ 4762 w 8801100"/>
                  <a:gd name="connsiteY147" fmla="*/ 0 h 2947988"/>
                  <a:gd name="connsiteX148" fmla="*/ 6836569 w 8801100"/>
                  <a:gd name="connsiteY148" fmla="*/ 2862262 h 2947988"/>
                  <a:gd name="connsiteX149" fmla="*/ 6905625 w 8801100"/>
                  <a:gd name="connsiteY149" fmla="*/ 2919413 h 2947988"/>
                  <a:gd name="connsiteX150" fmla="*/ 6981825 w 8801100"/>
                  <a:gd name="connsiteY150" fmla="*/ 2943225 h 2947988"/>
                  <a:gd name="connsiteX151" fmla="*/ 7186612 w 8801100"/>
                  <a:gd name="connsiteY151" fmla="*/ 2947988 h 2947988"/>
                  <a:gd name="connsiteX152" fmla="*/ 7362825 w 8801100"/>
                  <a:gd name="connsiteY152" fmla="*/ 2809875 h 2947988"/>
                  <a:gd name="connsiteX153" fmla="*/ 7419975 w 8801100"/>
                  <a:gd name="connsiteY153" fmla="*/ 2719387 h 2947988"/>
                  <a:gd name="connsiteX154" fmla="*/ 7446169 w 8801100"/>
                  <a:gd name="connsiteY154" fmla="*/ 2636044 h 2947988"/>
                  <a:gd name="connsiteX155" fmla="*/ 7577137 w 8801100"/>
                  <a:gd name="connsiteY155" fmla="*/ 2636044 h 2947988"/>
                  <a:gd name="connsiteX156" fmla="*/ 7750969 w 8801100"/>
                  <a:gd name="connsiteY156" fmla="*/ 2578893 h 2947988"/>
                  <a:gd name="connsiteX157" fmla="*/ 7810500 w 8801100"/>
                  <a:gd name="connsiteY157" fmla="*/ 2466975 h 2947988"/>
                  <a:gd name="connsiteX158" fmla="*/ 7874794 w 8801100"/>
                  <a:gd name="connsiteY158" fmla="*/ 2431256 h 2947988"/>
                  <a:gd name="connsiteX159" fmla="*/ 7853363 w 8801100"/>
                  <a:gd name="connsiteY159" fmla="*/ 2386013 h 2947988"/>
                  <a:gd name="connsiteX160" fmla="*/ 7931944 w 8801100"/>
                  <a:gd name="connsiteY160" fmla="*/ 2216943 h 2947988"/>
                  <a:gd name="connsiteX161" fmla="*/ 7986713 w 8801100"/>
                  <a:gd name="connsiteY161" fmla="*/ 2157413 h 2947988"/>
                  <a:gd name="connsiteX162" fmla="*/ 8024813 w 8801100"/>
                  <a:gd name="connsiteY162" fmla="*/ 2152650 h 2947988"/>
                  <a:gd name="connsiteX163" fmla="*/ 8070056 w 8801100"/>
                  <a:gd name="connsiteY163" fmla="*/ 2157413 h 2947988"/>
                  <a:gd name="connsiteX164" fmla="*/ 8134350 w 8801100"/>
                  <a:gd name="connsiteY164" fmla="*/ 2124075 h 2947988"/>
                  <a:gd name="connsiteX165" fmla="*/ 8143875 w 8801100"/>
                  <a:gd name="connsiteY165" fmla="*/ 2059781 h 2947988"/>
                  <a:gd name="connsiteX166" fmla="*/ 8184355 w 8801100"/>
                  <a:gd name="connsiteY166" fmla="*/ 2024063 h 2947988"/>
                  <a:gd name="connsiteX167" fmla="*/ 8243888 w 8801100"/>
                  <a:gd name="connsiteY167" fmla="*/ 2064543 h 2947988"/>
                  <a:gd name="connsiteX168" fmla="*/ 8270082 w 8801100"/>
                  <a:gd name="connsiteY168" fmla="*/ 2014537 h 2947988"/>
                  <a:gd name="connsiteX169" fmla="*/ 8365331 w 8801100"/>
                  <a:gd name="connsiteY169" fmla="*/ 1945481 h 2947988"/>
                  <a:gd name="connsiteX170" fmla="*/ 8427244 w 8801100"/>
                  <a:gd name="connsiteY170" fmla="*/ 1952625 h 2947988"/>
                  <a:gd name="connsiteX171" fmla="*/ 8477250 w 8801100"/>
                  <a:gd name="connsiteY171" fmla="*/ 1933575 h 2947988"/>
                  <a:gd name="connsiteX172" fmla="*/ 8515350 w 8801100"/>
                  <a:gd name="connsiteY172" fmla="*/ 1905000 h 2947988"/>
                  <a:gd name="connsiteX173" fmla="*/ 8548688 w 8801100"/>
                  <a:gd name="connsiteY173" fmla="*/ 1902619 h 2947988"/>
                  <a:gd name="connsiteX174" fmla="*/ 8584406 w 8801100"/>
                  <a:gd name="connsiteY174" fmla="*/ 1933575 h 2947988"/>
                  <a:gd name="connsiteX175" fmla="*/ 8643938 w 8801100"/>
                  <a:gd name="connsiteY175" fmla="*/ 1933575 h 2947988"/>
                  <a:gd name="connsiteX176" fmla="*/ 8682037 w 8801100"/>
                  <a:gd name="connsiteY176" fmla="*/ 1914525 h 2947988"/>
                  <a:gd name="connsiteX177" fmla="*/ 8765381 w 8801100"/>
                  <a:gd name="connsiteY177" fmla="*/ 1916907 h 2947988"/>
                  <a:gd name="connsiteX178" fmla="*/ 8796338 w 8801100"/>
                  <a:gd name="connsiteY178" fmla="*/ 1871663 h 2947988"/>
                  <a:gd name="connsiteX179" fmla="*/ 8801100 w 8801100"/>
                  <a:gd name="connsiteY179" fmla="*/ 1809750 h 2947988"/>
                  <a:gd name="connsiteX180" fmla="*/ 8751093 w 8801100"/>
                  <a:gd name="connsiteY180" fmla="*/ 1769269 h 2947988"/>
                  <a:gd name="connsiteX181" fmla="*/ 8734425 w 8801100"/>
                  <a:gd name="connsiteY181" fmla="*/ 1714500 h 2947988"/>
                  <a:gd name="connsiteX182" fmla="*/ 8643938 w 8801100"/>
                  <a:gd name="connsiteY182" fmla="*/ 1652588 h 2947988"/>
                  <a:gd name="connsiteX183" fmla="*/ 8603456 w 8801100"/>
                  <a:gd name="connsiteY183" fmla="*/ 1631156 h 2947988"/>
                  <a:gd name="connsiteX184" fmla="*/ 8565356 w 8801100"/>
                  <a:gd name="connsiteY184" fmla="*/ 1585913 h 2947988"/>
                  <a:gd name="connsiteX185" fmla="*/ 8534400 w 8801100"/>
                  <a:gd name="connsiteY185" fmla="*/ 1583531 h 2947988"/>
                  <a:gd name="connsiteX186" fmla="*/ 8517731 w 8801100"/>
                  <a:gd name="connsiteY186" fmla="*/ 1531144 h 2947988"/>
                  <a:gd name="connsiteX187" fmla="*/ 8477250 w 8801100"/>
                  <a:gd name="connsiteY187" fmla="*/ 1514475 h 2947988"/>
                  <a:gd name="connsiteX188" fmla="*/ 8477250 w 8801100"/>
                  <a:gd name="connsiteY188" fmla="*/ 1514475 h 2947988"/>
                  <a:gd name="connsiteX189" fmla="*/ 8436769 w 8801100"/>
                  <a:gd name="connsiteY189" fmla="*/ 1519238 h 2947988"/>
                  <a:gd name="connsiteX190" fmla="*/ 8351043 w 8801100"/>
                  <a:gd name="connsiteY190" fmla="*/ 1445419 h 2947988"/>
                  <a:gd name="connsiteX191" fmla="*/ 8170069 w 8801100"/>
                  <a:gd name="connsiteY191" fmla="*/ 1445418 h 2947988"/>
                  <a:gd name="connsiteX192" fmla="*/ 8117681 w 8801100"/>
                  <a:gd name="connsiteY192" fmla="*/ 1483519 h 2947988"/>
                  <a:gd name="connsiteX193" fmla="*/ 8067675 w 8801100"/>
                  <a:gd name="connsiteY193" fmla="*/ 1562100 h 2947988"/>
                  <a:gd name="connsiteX194" fmla="*/ 8084344 w 8801100"/>
                  <a:gd name="connsiteY194" fmla="*/ 1583531 h 2947988"/>
                  <a:gd name="connsiteX195" fmla="*/ 8039100 w 8801100"/>
                  <a:gd name="connsiteY195" fmla="*/ 1633537 h 2947988"/>
                  <a:gd name="connsiteX196" fmla="*/ 7889081 w 8801100"/>
                  <a:gd name="connsiteY196" fmla="*/ 1557337 h 2947988"/>
                  <a:gd name="connsiteX197" fmla="*/ 7798594 w 8801100"/>
                  <a:gd name="connsiteY197" fmla="*/ 1593056 h 2947988"/>
                  <a:gd name="connsiteX198" fmla="*/ 7724775 w 8801100"/>
                  <a:gd name="connsiteY198" fmla="*/ 1590675 h 2947988"/>
                  <a:gd name="connsiteX199" fmla="*/ 7667625 w 8801100"/>
                  <a:gd name="connsiteY199" fmla="*/ 1685925 h 2947988"/>
                  <a:gd name="connsiteX200" fmla="*/ 7529513 w 8801100"/>
                  <a:gd name="connsiteY200" fmla="*/ 1588294 h 2947988"/>
                  <a:gd name="connsiteX0" fmla="*/ 7529513 w 8801100"/>
                  <a:gd name="connsiteY0" fmla="*/ 1588294 h 2947988"/>
                  <a:gd name="connsiteX1" fmla="*/ 7522369 w 8801100"/>
                  <a:gd name="connsiteY1" fmla="*/ 1533525 h 2947988"/>
                  <a:gd name="connsiteX2" fmla="*/ 7589044 w 8801100"/>
                  <a:gd name="connsiteY2" fmla="*/ 1459706 h 2947988"/>
                  <a:gd name="connsiteX3" fmla="*/ 7572375 w 8801100"/>
                  <a:gd name="connsiteY3" fmla="*/ 1388269 h 2947988"/>
                  <a:gd name="connsiteX4" fmla="*/ 7586663 w 8801100"/>
                  <a:gd name="connsiteY4" fmla="*/ 1293019 h 2947988"/>
                  <a:gd name="connsiteX5" fmla="*/ 7624763 w 8801100"/>
                  <a:gd name="connsiteY5" fmla="*/ 1235869 h 2947988"/>
                  <a:gd name="connsiteX6" fmla="*/ 7605712 w 8801100"/>
                  <a:gd name="connsiteY6" fmla="*/ 1202531 h 2947988"/>
                  <a:gd name="connsiteX7" fmla="*/ 7703343 w 8801100"/>
                  <a:gd name="connsiteY7" fmla="*/ 802481 h 2947988"/>
                  <a:gd name="connsiteX8" fmla="*/ 7696200 w 8801100"/>
                  <a:gd name="connsiteY8" fmla="*/ 773906 h 2947988"/>
                  <a:gd name="connsiteX9" fmla="*/ 7567613 w 8801100"/>
                  <a:gd name="connsiteY9" fmla="*/ 752475 h 2947988"/>
                  <a:gd name="connsiteX10" fmla="*/ 7384257 w 8801100"/>
                  <a:gd name="connsiteY10" fmla="*/ 831056 h 2947988"/>
                  <a:gd name="connsiteX11" fmla="*/ 7227093 w 8801100"/>
                  <a:gd name="connsiteY11" fmla="*/ 716756 h 2947988"/>
                  <a:gd name="connsiteX12" fmla="*/ 7150894 w 8801100"/>
                  <a:gd name="connsiteY12" fmla="*/ 723900 h 2947988"/>
                  <a:gd name="connsiteX13" fmla="*/ 7077075 w 8801100"/>
                  <a:gd name="connsiteY13" fmla="*/ 719138 h 2947988"/>
                  <a:gd name="connsiteX14" fmla="*/ 6938963 w 8801100"/>
                  <a:gd name="connsiteY14" fmla="*/ 823913 h 2947988"/>
                  <a:gd name="connsiteX15" fmla="*/ 6831806 w 8801100"/>
                  <a:gd name="connsiteY15" fmla="*/ 931069 h 2947988"/>
                  <a:gd name="connsiteX16" fmla="*/ 6788944 w 8801100"/>
                  <a:gd name="connsiteY16" fmla="*/ 1000125 h 2947988"/>
                  <a:gd name="connsiteX17" fmla="*/ 6796088 w 8801100"/>
                  <a:gd name="connsiteY17" fmla="*/ 1035844 h 2947988"/>
                  <a:gd name="connsiteX18" fmla="*/ 6734175 w 8801100"/>
                  <a:gd name="connsiteY18" fmla="*/ 1047750 h 2947988"/>
                  <a:gd name="connsiteX19" fmla="*/ 6753225 w 8801100"/>
                  <a:gd name="connsiteY19" fmla="*/ 1047750 h 2947988"/>
                  <a:gd name="connsiteX20" fmla="*/ 6719888 w 8801100"/>
                  <a:gd name="connsiteY20" fmla="*/ 1078706 h 2947988"/>
                  <a:gd name="connsiteX21" fmla="*/ 6619875 w 8801100"/>
                  <a:gd name="connsiteY21" fmla="*/ 1078707 h 2947988"/>
                  <a:gd name="connsiteX22" fmla="*/ 6524625 w 8801100"/>
                  <a:gd name="connsiteY22" fmla="*/ 1133475 h 2947988"/>
                  <a:gd name="connsiteX23" fmla="*/ 6443663 w 8801100"/>
                  <a:gd name="connsiteY23" fmla="*/ 1143000 h 2947988"/>
                  <a:gd name="connsiteX24" fmla="*/ 6403181 w 8801100"/>
                  <a:gd name="connsiteY24" fmla="*/ 1176338 h 2947988"/>
                  <a:gd name="connsiteX25" fmla="*/ 6353175 w 8801100"/>
                  <a:gd name="connsiteY25" fmla="*/ 1181100 h 2947988"/>
                  <a:gd name="connsiteX26" fmla="*/ 6231732 w 8801100"/>
                  <a:gd name="connsiteY26" fmla="*/ 1273969 h 2947988"/>
                  <a:gd name="connsiteX27" fmla="*/ 6172200 w 8801100"/>
                  <a:gd name="connsiteY27" fmla="*/ 1278731 h 2947988"/>
                  <a:gd name="connsiteX28" fmla="*/ 6119813 w 8801100"/>
                  <a:gd name="connsiteY28" fmla="*/ 1243013 h 2947988"/>
                  <a:gd name="connsiteX29" fmla="*/ 6093619 w 8801100"/>
                  <a:gd name="connsiteY29" fmla="*/ 1278731 h 2947988"/>
                  <a:gd name="connsiteX30" fmla="*/ 5895975 w 8801100"/>
                  <a:gd name="connsiteY30" fmla="*/ 1271588 h 2947988"/>
                  <a:gd name="connsiteX31" fmla="*/ 5834063 w 8801100"/>
                  <a:gd name="connsiteY31" fmla="*/ 1226344 h 2947988"/>
                  <a:gd name="connsiteX32" fmla="*/ 5636419 w 8801100"/>
                  <a:gd name="connsiteY32" fmla="*/ 1243013 h 2947988"/>
                  <a:gd name="connsiteX33" fmla="*/ 5548313 w 8801100"/>
                  <a:gd name="connsiteY33" fmla="*/ 1159668 h 2947988"/>
                  <a:gd name="connsiteX34" fmla="*/ 5472113 w 8801100"/>
                  <a:gd name="connsiteY34" fmla="*/ 1114425 h 2947988"/>
                  <a:gd name="connsiteX35" fmla="*/ 5474493 w 8801100"/>
                  <a:gd name="connsiteY35" fmla="*/ 1057275 h 2947988"/>
                  <a:gd name="connsiteX36" fmla="*/ 5455444 w 8801100"/>
                  <a:gd name="connsiteY36" fmla="*/ 1014412 h 2947988"/>
                  <a:gd name="connsiteX37" fmla="*/ 5360194 w 8801100"/>
                  <a:gd name="connsiteY37" fmla="*/ 1016794 h 2947988"/>
                  <a:gd name="connsiteX38" fmla="*/ 5264944 w 8801100"/>
                  <a:gd name="connsiteY38" fmla="*/ 995363 h 2947988"/>
                  <a:gd name="connsiteX39" fmla="*/ 5195887 w 8801100"/>
                  <a:gd name="connsiteY39" fmla="*/ 928687 h 2947988"/>
                  <a:gd name="connsiteX40" fmla="*/ 5160169 w 8801100"/>
                  <a:gd name="connsiteY40" fmla="*/ 885825 h 2947988"/>
                  <a:gd name="connsiteX41" fmla="*/ 5079206 w 8801100"/>
                  <a:gd name="connsiteY41" fmla="*/ 862012 h 2947988"/>
                  <a:gd name="connsiteX42" fmla="*/ 5005388 w 8801100"/>
                  <a:gd name="connsiteY42" fmla="*/ 873918 h 2947988"/>
                  <a:gd name="connsiteX43" fmla="*/ 4948237 w 8801100"/>
                  <a:gd name="connsiteY43" fmla="*/ 821531 h 2947988"/>
                  <a:gd name="connsiteX44" fmla="*/ 4852988 w 8801100"/>
                  <a:gd name="connsiteY44" fmla="*/ 833438 h 2947988"/>
                  <a:gd name="connsiteX45" fmla="*/ 4800600 w 8801100"/>
                  <a:gd name="connsiteY45" fmla="*/ 807244 h 2947988"/>
                  <a:gd name="connsiteX46" fmla="*/ 4719638 w 8801100"/>
                  <a:gd name="connsiteY46" fmla="*/ 850106 h 2947988"/>
                  <a:gd name="connsiteX47" fmla="*/ 4581525 w 8801100"/>
                  <a:gd name="connsiteY47" fmla="*/ 873919 h 2947988"/>
                  <a:gd name="connsiteX48" fmla="*/ 4452938 w 8801100"/>
                  <a:gd name="connsiteY48" fmla="*/ 966788 h 2947988"/>
                  <a:gd name="connsiteX49" fmla="*/ 4405312 w 8801100"/>
                  <a:gd name="connsiteY49" fmla="*/ 928688 h 2947988"/>
                  <a:gd name="connsiteX50" fmla="*/ 4383881 w 8801100"/>
                  <a:gd name="connsiteY50" fmla="*/ 959643 h 2947988"/>
                  <a:gd name="connsiteX51" fmla="*/ 4310063 w 8801100"/>
                  <a:gd name="connsiteY51" fmla="*/ 909638 h 2947988"/>
                  <a:gd name="connsiteX52" fmla="*/ 4271963 w 8801100"/>
                  <a:gd name="connsiteY52" fmla="*/ 916781 h 2947988"/>
                  <a:gd name="connsiteX53" fmla="*/ 4250531 w 8801100"/>
                  <a:gd name="connsiteY53" fmla="*/ 878681 h 2947988"/>
                  <a:gd name="connsiteX54" fmla="*/ 4191000 w 8801100"/>
                  <a:gd name="connsiteY54" fmla="*/ 883444 h 2947988"/>
                  <a:gd name="connsiteX55" fmla="*/ 4145756 w 8801100"/>
                  <a:gd name="connsiteY55" fmla="*/ 854869 h 2947988"/>
                  <a:gd name="connsiteX56" fmla="*/ 4107656 w 8801100"/>
                  <a:gd name="connsiteY56" fmla="*/ 852488 h 2947988"/>
                  <a:gd name="connsiteX57" fmla="*/ 4088606 w 8801100"/>
                  <a:gd name="connsiteY57" fmla="*/ 804862 h 2947988"/>
                  <a:gd name="connsiteX58" fmla="*/ 4074319 w 8801100"/>
                  <a:gd name="connsiteY58" fmla="*/ 773906 h 2947988"/>
                  <a:gd name="connsiteX59" fmla="*/ 4029075 w 8801100"/>
                  <a:gd name="connsiteY59" fmla="*/ 783431 h 2947988"/>
                  <a:gd name="connsiteX60" fmla="*/ 4010025 w 8801100"/>
                  <a:gd name="connsiteY60" fmla="*/ 747713 h 2947988"/>
                  <a:gd name="connsiteX61" fmla="*/ 4031457 w 8801100"/>
                  <a:gd name="connsiteY61" fmla="*/ 692944 h 2947988"/>
                  <a:gd name="connsiteX62" fmla="*/ 4000500 w 8801100"/>
                  <a:gd name="connsiteY62" fmla="*/ 666750 h 2947988"/>
                  <a:gd name="connsiteX63" fmla="*/ 4017169 w 8801100"/>
                  <a:gd name="connsiteY63" fmla="*/ 623888 h 2947988"/>
                  <a:gd name="connsiteX64" fmla="*/ 3990975 w 8801100"/>
                  <a:gd name="connsiteY64" fmla="*/ 581025 h 2947988"/>
                  <a:gd name="connsiteX65" fmla="*/ 3986213 w 8801100"/>
                  <a:gd name="connsiteY65" fmla="*/ 519113 h 2947988"/>
                  <a:gd name="connsiteX66" fmla="*/ 4010025 w 8801100"/>
                  <a:gd name="connsiteY66" fmla="*/ 454818 h 2947988"/>
                  <a:gd name="connsiteX67" fmla="*/ 3971925 w 8801100"/>
                  <a:gd name="connsiteY67" fmla="*/ 457200 h 2947988"/>
                  <a:gd name="connsiteX68" fmla="*/ 3852863 w 8801100"/>
                  <a:gd name="connsiteY68" fmla="*/ 400050 h 2947988"/>
                  <a:gd name="connsiteX69" fmla="*/ 3814762 w 8801100"/>
                  <a:gd name="connsiteY69" fmla="*/ 404812 h 2947988"/>
                  <a:gd name="connsiteX70" fmla="*/ 3609975 w 8801100"/>
                  <a:gd name="connsiteY70" fmla="*/ 295275 h 2947988"/>
                  <a:gd name="connsiteX71" fmla="*/ 3505200 w 8801100"/>
                  <a:gd name="connsiteY71" fmla="*/ 264319 h 2947988"/>
                  <a:gd name="connsiteX72" fmla="*/ 3440906 w 8801100"/>
                  <a:gd name="connsiteY72" fmla="*/ 273843 h 2947988"/>
                  <a:gd name="connsiteX73" fmla="*/ 3409950 w 8801100"/>
                  <a:gd name="connsiteY73" fmla="*/ 209550 h 2947988"/>
                  <a:gd name="connsiteX74" fmla="*/ 3352800 w 8801100"/>
                  <a:gd name="connsiteY74" fmla="*/ 209550 h 2947988"/>
                  <a:gd name="connsiteX75" fmla="*/ 3214687 w 8801100"/>
                  <a:gd name="connsiteY75" fmla="*/ 104775 h 2947988"/>
                  <a:gd name="connsiteX76" fmla="*/ 3181350 w 8801100"/>
                  <a:gd name="connsiteY76" fmla="*/ 164307 h 2947988"/>
                  <a:gd name="connsiteX77" fmla="*/ 3126581 w 8801100"/>
                  <a:gd name="connsiteY77" fmla="*/ 233363 h 2947988"/>
                  <a:gd name="connsiteX78" fmla="*/ 3083719 w 8801100"/>
                  <a:gd name="connsiteY78" fmla="*/ 250031 h 2947988"/>
                  <a:gd name="connsiteX79" fmla="*/ 3052763 w 8801100"/>
                  <a:gd name="connsiteY79" fmla="*/ 242888 h 2947988"/>
                  <a:gd name="connsiteX80" fmla="*/ 3028950 w 8801100"/>
                  <a:gd name="connsiteY80" fmla="*/ 271463 h 2947988"/>
                  <a:gd name="connsiteX81" fmla="*/ 3002756 w 8801100"/>
                  <a:gd name="connsiteY81" fmla="*/ 350044 h 2947988"/>
                  <a:gd name="connsiteX82" fmla="*/ 2959894 w 8801100"/>
                  <a:gd name="connsiteY82" fmla="*/ 347663 h 2947988"/>
                  <a:gd name="connsiteX83" fmla="*/ 2928937 w 8801100"/>
                  <a:gd name="connsiteY83" fmla="*/ 409575 h 2947988"/>
                  <a:gd name="connsiteX84" fmla="*/ 2924175 w 8801100"/>
                  <a:gd name="connsiteY84" fmla="*/ 473869 h 2947988"/>
                  <a:gd name="connsiteX85" fmla="*/ 2897982 w 8801100"/>
                  <a:gd name="connsiteY85" fmla="*/ 511969 h 2947988"/>
                  <a:gd name="connsiteX86" fmla="*/ 2924175 w 8801100"/>
                  <a:gd name="connsiteY86" fmla="*/ 571500 h 2947988"/>
                  <a:gd name="connsiteX87" fmla="*/ 2926556 w 8801100"/>
                  <a:gd name="connsiteY87" fmla="*/ 640556 h 2947988"/>
                  <a:gd name="connsiteX88" fmla="*/ 2955131 w 8801100"/>
                  <a:gd name="connsiteY88" fmla="*/ 692944 h 2947988"/>
                  <a:gd name="connsiteX89" fmla="*/ 3002757 w 8801100"/>
                  <a:gd name="connsiteY89" fmla="*/ 747713 h 2947988"/>
                  <a:gd name="connsiteX90" fmla="*/ 2952750 w 8801100"/>
                  <a:gd name="connsiteY90" fmla="*/ 885825 h 2947988"/>
                  <a:gd name="connsiteX91" fmla="*/ 2883694 w 8801100"/>
                  <a:gd name="connsiteY91" fmla="*/ 952500 h 2947988"/>
                  <a:gd name="connsiteX92" fmla="*/ 2812256 w 8801100"/>
                  <a:gd name="connsiteY92" fmla="*/ 947738 h 2947988"/>
                  <a:gd name="connsiteX93" fmla="*/ 2774156 w 8801100"/>
                  <a:gd name="connsiteY93" fmla="*/ 1004888 h 2947988"/>
                  <a:gd name="connsiteX94" fmla="*/ 2714625 w 8801100"/>
                  <a:gd name="connsiteY94" fmla="*/ 1019175 h 2947988"/>
                  <a:gd name="connsiteX95" fmla="*/ 2645569 w 8801100"/>
                  <a:gd name="connsiteY95" fmla="*/ 959644 h 2947988"/>
                  <a:gd name="connsiteX96" fmla="*/ 2590800 w 8801100"/>
                  <a:gd name="connsiteY96" fmla="*/ 931069 h 2947988"/>
                  <a:gd name="connsiteX97" fmla="*/ 2547938 w 8801100"/>
                  <a:gd name="connsiteY97" fmla="*/ 945356 h 2947988"/>
                  <a:gd name="connsiteX98" fmla="*/ 2495550 w 8801100"/>
                  <a:gd name="connsiteY98" fmla="*/ 928688 h 2947988"/>
                  <a:gd name="connsiteX99" fmla="*/ 2428875 w 8801100"/>
                  <a:gd name="connsiteY99" fmla="*/ 873919 h 2947988"/>
                  <a:gd name="connsiteX100" fmla="*/ 2383631 w 8801100"/>
                  <a:gd name="connsiteY100" fmla="*/ 885825 h 2947988"/>
                  <a:gd name="connsiteX101" fmla="*/ 2362200 w 8801100"/>
                  <a:gd name="connsiteY101" fmla="*/ 854869 h 2947988"/>
                  <a:gd name="connsiteX102" fmla="*/ 2305050 w 8801100"/>
                  <a:gd name="connsiteY102" fmla="*/ 895350 h 2947988"/>
                  <a:gd name="connsiteX103" fmla="*/ 2188369 w 8801100"/>
                  <a:gd name="connsiteY103" fmla="*/ 873919 h 2947988"/>
                  <a:gd name="connsiteX104" fmla="*/ 2138363 w 8801100"/>
                  <a:gd name="connsiteY104" fmla="*/ 821531 h 2947988"/>
                  <a:gd name="connsiteX105" fmla="*/ 2095500 w 8801100"/>
                  <a:gd name="connsiteY105" fmla="*/ 807244 h 2947988"/>
                  <a:gd name="connsiteX106" fmla="*/ 2052638 w 8801100"/>
                  <a:gd name="connsiteY106" fmla="*/ 833438 h 2947988"/>
                  <a:gd name="connsiteX107" fmla="*/ 2000250 w 8801100"/>
                  <a:gd name="connsiteY107" fmla="*/ 742950 h 2947988"/>
                  <a:gd name="connsiteX108" fmla="*/ 1990725 w 8801100"/>
                  <a:gd name="connsiteY108" fmla="*/ 595312 h 2947988"/>
                  <a:gd name="connsiteX109" fmla="*/ 1938337 w 8801100"/>
                  <a:gd name="connsiteY109" fmla="*/ 588168 h 2947988"/>
                  <a:gd name="connsiteX110" fmla="*/ 1847850 w 8801100"/>
                  <a:gd name="connsiteY110" fmla="*/ 578644 h 2947988"/>
                  <a:gd name="connsiteX111" fmla="*/ 1793081 w 8801100"/>
                  <a:gd name="connsiteY111" fmla="*/ 540544 h 2947988"/>
                  <a:gd name="connsiteX112" fmla="*/ 1724025 w 8801100"/>
                  <a:gd name="connsiteY112" fmla="*/ 550069 h 2947988"/>
                  <a:gd name="connsiteX113" fmla="*/ 1678781 w 8801100"/>
                  <a:gd name="connsiteY113" fmla="*/ 523875 h 2947988"/>
                  <a:gd name="connsiteX114" fmla="*/ 1669257 w 8801100"/>
                  <a:gd name="connsiteY114" fmla="*/ 452438 h 2947988"/>
                  <a:gd name="connsiteX115" fmla="*/ 1645444 w 8801100"/>
                  <a:gd name="connsiteY115" fmla="*/ 438150 h 2947988"/>
                  <a:gd name="connsiteX116" fmla="*/ 1607344 w 8801100"/>
                  <a:gd name="connsiteY116" fmla="*/ 485774 h 2947988"/>
                  <a:gd name="connsiteX117" fmla="*/ 1528762 w 8801100"/>
                  <a:gd name="connsiteY117" fmla="*/ 411956 h 2947988"/>
                  <a:gd name="connsiteX118" fmla="*/ 1488281 w 8801100"/>
                  <a:gd name="connsiteY118" fmla="*/ 452438 h 2947988"/>
                  <a:gd name="connsiteX119" fmla="*/ 1412081 w 8801100"/>
                  <a:gd name="connsiteY119" fmla="*/ 438150 h 2947988"/>
                  <a:gd name="connsiteX120" fmla="*/ 1333500 w 8801100"/>
                  <a:gd name="connsiteY120" fmla="*/ 464344 h 2947988"/>
                  <a:gd name="connsiteX121" fmla="*/ 1273969 w 8801100"/>
                  <a:gd name="connsiteY121" fmla="*/ 511968 h 2947988"/>
                  <a:gd name="connsiteX122" fmla="*/ 1200150 w 8801100"/>
                  <a:gd name="connsiteY122" fmla="*/ 523875 h 2947988"/>
                  <a:gd name="connsiteX123" fmla="*/ 1164431 w 8801100"/>
                  <a:gd name="connsiteY123" fmla="*/ 516731 h 2947988"/>
                  <a:gd name="connsiteX124" fmla="*/ 1085851 w 8801100"/>
                  <a:gd name="connsiteY124" fmla="*/ 547688 h 2947988"/>
                  <a:gd name="connsiteX125" fmla="*/ 1064419 w 8801100"/>
                  <a:gd name="connsiteY125" fmla="*/ 576263 h 2947988"/>
                  <a:gd name="connsiteX126" fmla="*/ 997744 w 8801100"/>
                  <a:gd name="connsiteY126" fmla="*/ 566738 h 2947988"/>
                  <a:gd name="connsiteX127" fmla="*/ 928688 w 8801100"/>
                  <a:gd name="connsiteY127" fmla="*/ 590550 h 2947988"/>
                  <a:gd name="connsiteX128" fmla="*/ 873919 w 8801100"/>
                  <a:gd name="connsiteY128" fmla="*/ 628650 h 2947988"/>
                  <a:gd name="connsiteX129" fmla="*/ 778669 w 8801100"/>
                  <a:gd name="connsiteY129" fmla="*/ 642937 h 2947988"/>
                  <a:gd name="connsiteX130" fmla="*/ 764381 w 8801100"/>
                  <a:gd name="connsiteY130" fmla="*/ 664369 h 2947988"/>
                  <a:gd name="connsiteX131" fmla="*/ 776287 w 8801100"/>
                  <a:gd name="connsiteY131" fmla="*/ 709613 h 2947988"/>
                  <a:gd name="connsiteX132" fmla="*/ 676276 w 8801100"/>
                  <a:gd name="connsiteY132" fmla="*/ 762000 h 2947988"/>
                  <a:gd name="connsiteX133" fmla="*/ 638175 w 8801100"/>
                  <a:gd name="connsiteY133" fmla="*/ 733424 h 2947988"/>
                  <a:gd name="connsiteX134" fmla="*/ 607219 w 8801100"/>
                  <a:gd name="connsiteY134" fmla="*/ 790575 h 2947988"/>
                  <a:gd name="connsiteX135" fmla="*/ 550069 w 8801100"/>
                  <a:gd name="connsiteY135" fmla="*/ 752475 h 2947988"/>
                  <a:gd name="connsiteX136" fmla="*/ 514350 w 8801100"/>
                  <a:gd name="connsiteY136" fmla="*/ 781050 h 2947988"/>
                  <a:gd name="connsiteX137" fmla="*/ 478631 w 8801100"/>
                  <a:gd name="connsiteY137" fmla="*/ 745331 h 2947988"/>
                  <a:gd name="connsiteX138" fmla="*/ 426244 w 8801100"/>
                  <a:gd name="connsiteY138" fmla="*/ 757238 h 2947988"/>
                  <a:gd name="connsiteX139" fmla="*/ 381000 w 8801100"/>
                  <a:gd name="connsiteY139" fmla="*/ 728663 h 2947988"/>
                  <a:gd name="connsiteX140" fmla="*/ 357188 w 8801100"/>
                  <a:gd name="connsiteY140" fmla="*/ 747713 h 2947988"/>
                  <a:gd name="connsiteX141" fmla="*/ 333375 w 8801100"/>
                  <a:gd name="connsiteY141" fmla="*/ 807244 h 2947988"/>
                  <a:gd name="connsiteX142" fmla="*/ 261938 w 8801100"/>
                  <a:gd name="connsiteY142" fmla="*/ 845343 h 2947988"/>
                  <a:gd name="connsiteX143" fmla="*/ 209550 w 8801100"/>
                  <a:gd name="connsiteY143" fmla="*/ 816769 h 2947988"/>
                  <a:gd name="connsiteX144" fmla="*/ 119063 w 8801100"/>
                  <a:gd name="connsiteY144" fmla="*/ 826294 h 2947988"/>
                  <a:gd name="connsiteX145" fmla="*/ 71437 w 8801100"/>
                  <a:gd name="connsiteY145" fmla="*/ 792957 h 2947988"/>
                  <a:gd name="connsiteX146" fmla="*/ 0 w 8801100"/>
                  <a:gd name="connsiteY146" fmla="*/ 812006 h 2947988"/>
                  <a:gd name="connsiteX147" fmla="*/ 4762 w 8801100"/>
                  <a:gd name="connsiteY147" fmla="*/ 0 h 2947988"/>
                  <a:gd name="connsiteX148" fmla="*/ 6905625 w 8801100"/>
                  <a:gd name="connsiteY148" fmla="*/ 2919413 h 2947988"/>
                  <a:gd name="connsiteX149" fmla="*/ 6981825 w 8801100"/>
                  <a:gd name="connsiteY149" fmla="*/ 2943225 h 2947988"/>
                  <a:gd name="connsiteX150" fmla="*/ 7186612 w 8801100"/>
                  <a:gd name="connsiteY150" fmla="*/ 2947988 h 2947988"/>
                  <a:gd name="connsiteX151" fmla="*/ 7362825 w 8801100"/>
                  <a:gd name="connsiteY151" fmla="*/ 2809875 h 2947988"/>
                  <a:gd name="connsiteX152" fmla="*/ 7419975 w 8801100"/>
                  <a:gd name="connsiteY152" fmla="*/ 2719387 h 2947988"/>
                  <a:gd name="connsiteX153" fmla="*/ 7446169 w 8801100"/>
                  <a:gd name="connsiteY153" fmla="*/ 2636044 h 2947988"/>
                  <a:gd name="connsiteX154" fmla="*/ 7577137 w 8801100"/>
                  <a:gd name="connsiteY154" fmla="*/ 2636044 h 2947988"/>
                  <a:gd name="connsiteX155" fmla="*/ 7750969 w 8801100"/>
                  <a:gd name="connsiteY155" fmla="*/ 2578893 h 2947988"/>
                  <a:gd name="connsiteX156" fmla="*/ 7810500 w 8801100"/>
                  <a:gd name="connsiteY156" fmla="*/ 2466975 h 2947988"/>
                  <a:gd name="connsiteX157" fmla="*/ 7874794 w 8801100"/>
                  <a:gd name="connsiteY157" fmla="*/ 2431256 h 2947988"/>
                  <a:gd name="connsiteX158" fmla="*/ 7853363 w 8801100"/>
                  <a:gd name="connsiteY158" fmla="*/ 2386013 h 2947988"/>
                  <a:gd name="connsiteX159" fmla="*/ 7931944 w 8801100"/>
                  <a:gd name="connsiteY159" fmla="*/ 2216943 h 2947988"/>
                  <a:gd name="connsiteX160" fmla="*/ 7986713 w 8801100"/>
                  <a:gd name="connsiteY160" fmla="*/ 2157413 h 2947988"/>
                  <a:gd name="connsiteX161" fmla="*/ 8024813 w 8801100"/>
                  <a:gd name="connsiteY161" fmla="*/ 2152650 h 2947988"/>
                  <a:gd name="connsiteX162" fmla="*/ 8070056 w 8801100"/>
                  <a:gd name="connsiteY162" fmla="*/ 2157413 h 2947988"/>
                  <a:gd name="connsiteX163" fmla="*/ 8134350 w 8801100"/>
                  <a:gd name="connsiteY163" fmla="*/ 2124075 h 2947988"/>
                  <a:gd name="connsiteX164" fmla="*/ 8143875 w 8801100"/>
                  <a:gd name="connsiteY164" fmla="*/ 2059781 h 2947988"/>
                  <a:gd name="connsiteX165" fmla="*/ 8184355 w 8801100"/>
                  <a:gd name="connsiteY165" fmla="*/ 2024063 h 2947988"/>
                  <a:gd name="connsiteX166" fmla="*/ 8243888 w 8801100"/>
                  <a:gd name="connsiteY166" fmla="*/ 2064543 h 2947988"/>
                  <a:gd name="connsiteX167" fmla="*/ 8270082 w 8801100"/>
                  <a:gd name="connsiteY167" fmla="*/ 2014537 h 2947988"/>
                  <a:gd name="connsiteX168" fmla="*/ 8365331 w 8801100"/>
                  <a:gd name="connsiteY168" fmla="*/ 1945481 h 2947988"/>
                  <a:gd name="connsiteX169" fmla="*/ 8427244 w 8801100"/>
                  <a:gd name="connsiteY169" fmla="*/ 1952625 h 2947988"/>
                  <a:gd name="connsiteX170" fmla="*/ 8477250 w 8801100"/>
                  <a:gd name="connsiteY170" fmla="*/ 1933575 h 2947988"/>
                  <a:gd name="connsiteX171" fmla="*/ 8515350 w 8801100"/>
                  <a:gd name="connsiteY171" fmla="*/ 1905000 h 2947988"/>
                  <a:gd name="connsiteX172" fmla="*/ 8548688 w 8801100"/>
                  <a:gd name="connsiteY172" fmla="*/ 1902619 h 2947988"/>
                  <a:gd name="connsiteX173" fmla="*/ 8584406 w 8801100"/>
                  <a:gd name="connsiteY173" fmla="*/ 1933575 h 2947988"/>
                  <a:gd name="connsiteX174" fmla="*/ 8643938 w 8801100"/>
                  <a:gd name="connsiteY174" fmla="*/ 1933575 h 2947988"/>
                  <a:gd name="connsiteX175" fmla="*/ 8682037 w 8801100"/>
                  <a:gd name="connsiteY175" fmla="*/ 1914525 h 2947988"/>
                  <a:gd name="connsiteX176" fmla="*/ 8765381 w 8801100"/>
                  <a:gd name="connsiteY176" fmla="*/ 1916907 h 2947988"/>
                  <a:gd name="connsiteX177" fmla="*/ 8796338 w 8801100"/>
                  <a:gd name="connsiteY177" fmla="*/ 1871663 h 2947988"/>
                  <a:gd name="connsiteX178" fmla="*/ 8801100 w 8801100"/>
                  <a:gd name="connsiteY178" fmla="*/ 1809750 h 2947988"/>
                  <a:gd name="connsiteX179" fmla="*/ 8751093 w 8801100"/>
                  <a:gd name="connsiteY179" fmla="*/ 1769269 h 2947988"/>
                  <a:gd name="connsiteX180" fmla="*/ 8734425 w 8801100"/>
                  <a:gd name="connsiteY180" fmla="*/ 1714500 h 2947988"/>
                  <a:gd name="connsiteX181" fmla="*/ 8643938 w 8801100"/>
                  <a:gd name="connsiteY181" fmla="*/ 1652588 h 2947988"/>
                  <a:gd name="connsiteX182" fmla="*/ 8603456 w 8801100"/>
                  <a:gd name="connsiteY182" fmla="*/ 1631156 h 2947988"/>
                  <a:gd name="connsiteX183" fmla="*/ 8565356 w 8801100"/>
                  <a:gd name="connsiteY183" fmla="*/ 1585913 h 2947988"/>
                  <a:gd name="connsiteX184" fmla="*/ 8534400 w 8801100"/>
                  <a:gd name="connsiteY184" fmla="*/ 1583531 h 2947988"/>
                  <a:gd name="connsiteX185" fmla="*/ 8517731 w 8801100"/>
                  <a:gd name="connsiteY185" fmla="*/ 1531144 h 2947988"/>
                  <a:gd name="connsiteX186" fmla="*/ 8477250 w 8801100"/>
                  <a:gd name="connsiteY186" fmla="*/ 1514475 h 2947988"/>
                  <a:gd name="connsiteX187" fmla="*/ 8477250 w 8801100"/>
                  <a:gd name="connsiteY187" fmla="*/ 1514475 h 2947988"/>
                  <a:gd name="connsiteX188" fmla="*/ 8436769 w 8801100"/>
                  <a:gd name="connsiteY188" fmla="*/ 1519238 h 2947988"/>
                  <a:gd name="connsiteX189" fmla="*/ 8351043 w 8801100"/>
                  <a:gd name="connsiteY189" fmla="*/ 1445419 h 2947988"/>
                  <a:gd name="connsiteX190" fmla="*/ 8170069 w 8801100"/>
                  <a:gd name="connsiteY190" fmla="*/ 1445418 h 2947988"/>
                  <a:gd name="connsiteX191" fmla="*/ 8117681 w 8801100"/>
                  <a:gd name="connsiteY191" fmla="*/ 1483519 h 2947988"/>
                  <a:gd name="connsiteX192" fmla="*/ 8067675 w 8801100"/>
                  <a:gd name="connsiteY192" fmla="*/ 1562100 h 2947988"/>
                  <a:gd name="connsiteX193" fmla="*/ 8084344 w 8801100"/>
                  <a:gd name="connsiteY193" fmla="*/ 1583531 h 2947988"/>
                  <a:gd name="connsiteX194" fmla="*/ 8039100 w 8801100"/>
                  <a:gd name="connsiteY194" fmla="*/ 1633537 h 2947988"/>
                  <a:gd name="connsiteX195" fmla="*/ 7889081 w 8801100"/>
                  <a:gd name="connsiteY195" fmla="*/ 1557337 h 2947988"/>
                  <a:gd name="connsiteX196" fmla="*/ 7798594 w 8801100"/>
                  <a:gd name="connsiteY196" fmla="*/ 1593056 h 2947988"/>
                  <a:gd name="connsiteX197" fmla="*/ 7724775 w 8801100"/>
                  <a:gd name="connsiteY197" fmla="*/ 1590675 h 2947988"/>
                  <a:gd name="connsiteX198" fmla="*/ 7667625 w 8801100"/>
                  <a:gd name="connsiteY198" fmla="*/ 1685925 h 2947988"/>
                  <a:gd name="connsiteX199" fmla="*/ 7529513 w 8801100"/>
                  <a:gd name="connsiteY199" fmla="*/ 1588294 h 2947988"/>
                  <a:gd name="connsiteX0" fmla="*/ 7529513 w 8801100"/>
                  <a:gd name="connsiteY0" fmla="*/ 1588294 h 2947988"/>
                  <a:gd name="connsiteX1" fmla="*/ 7522369 w 8801100"/>
                  <a:gd name="connsiteY1" fmla="*/ 1533525 h 2947988"/>
                  <a:gd name="connsiteX2" fmla="*/ 7589044 w 8801100"/>
                  <a:gd name="connsiteY2" fmla="*/ 1459706 h 2947988"/>
                  <a:gd name="connsiteX3" fmla="*/ 7572375 w 8801100"/>
                  <a:gd name="connsiteY3" fmla="*/ 1388269 h 2947988"/>
                  <a:gd name="connsiteX4" fmla="*/ 7586663 w 8801100"/>
                  <a:gd name="connsiteY4" fmla="*/ 1293019 h 2947988"/>
                  <a:gd name="connsiteX5" fmla="*/ 7624763 w 8801100"/>
                  <a:gd name="connsiteY5" fmla="*/ 1235869 h 2947988"/>
                  <a:gd name="connsiteX6" fmla="*/ 7605712 w 8801100"/>
                  <a:gd name="connsiteY6" fmla="*/ 1202531 h 2947988"/>
                  <a:gd name="connsiteX7" fmla="*/ 7703343 w 8801100"/>
                  <a:gd name="connsiteY7" fmla="*/ 802481 h 2947988"/>
                  <a:gd name="connsiteX8" fmla="*/ 7696200 w 8801100"/>
                  <a:gd name="connsiteY8" fmla="*/ 773906 h 2947988"/>
                  <a:gd name="connsiteX9" fmla="*/ 7567613 w 8801100"/>
                  <a:gd name="connsiteY9" fmla="*/ 752475 h 2947988"/>
                  <a:gd name="connsiteX10" fmla="*/ 7384257 w 8801100"/>
                  <a:gd name="connsiteY10" fmla="*/ 831056 h 2947988"/>
                  <a:gd name="connsiteX11" fmla="*/ 7227093 w 8801100"/>
                  <a:gd name="connsiteY11" fmla="*/ 716756 h 2947988"/>
                  <a:gd name="connsiteX12" fmla="*/ 7150894 w 8801100"/>
                  <a:gd name="connsiteY12" fmla="*/ 723900 h 2947988"/>
                  <a:gd name="connsiteX13" fmla="*/ 7077075 w 8801100"/>
                  <a:gd name="connsiteY13" fmla="*/ 719138 h 2947988"/>
                  <a:gd name="connsiteX14" fmla="*/ 6938963 w 8801100"/>
                  <a:gd name="connsiteY14" fmla="*/ 823913 h 2947988"/>
                  <a:gd name="connsiteX15" fmla="*/ 6831806 w 8801100"/>
                  <a:gd name="connsiteY15" fmla="*/ 931069 h 2947988"/>
                  <a:gd name="connsiteX16" fmla="*/ 6788944 w 8801100"/>
                  <a:gd name="connsiteY16" fmla="*/ 1000125 h 2947988"/>
                  <a:gd name="connsiteX17" fmla="*/ 6796088 w 8801100"/>
                  <a:gd name="connsiteY17" fmla="*/ 1035844 h 2947988"/>
                  <a:gd name="connsiteX18" fmla="*/ 6734175 w 8801100"/>
                  <a:gd name="connsiteY18" fmla="*/ 1047750 h 2947988"/>
                  <a:gd name="connsiteX19" fmla="*/ 6753225 w 8801100"/>
                  <a:gd name="connsiteY19" fmla="*/ 1047750 h 2947988"/>
                  <a:gd name="connsiteX20" fmla="*/ 6719888 w 8801100"/>
                  <a:gd name="connsiteY20" fmla="*/ 1078706 h 2947988"/>
                  <a:gd name="connsiteX21" fmla="*/ 6619875 w 8801100"/>
                  <a:gd name="connsiteY21" fmla="*/ 1078707 h 2947988"/>
                  <a:gd name="connsiteX22" fmla="*/ 6524625 w 8801100"/>
                  <a:gd name="connsiteY22" fmla="*/ 1133475 h 2947988"/>
                  <a:gd name="connsiteX23" fmla="*/ 6443663 w 8801100"/>
                  <a:gd name="connsiteY23" fmla="*/ 1143000 h 2947988"/>
                  <a:gd name="connsiteX24" fmla="*/ 6403181 w 8801100"/>
                  <a:gd name="connsiteY24" fmla="*/ 1176338 h 2947988"/>
                  <a:gd name="connsiteX25" fmla="*/ 6353175 w 8801100"/>
                  <a:gd name="connsiteY25" fmla="*/ 1181100 h 2947988"/>
                  <a:gd name="connsiteX26" fmla="*/ 6231732 w 8801100"/>
                  <a:gd name="connsiteY26" fmla="*/ 1273969 h 2947988"/>
                  <a:gd name="connsiteX27" fmla="*/ 6172200 w 8801100"/>
                  <a:gd name="connsiteY27" fmla="*/ 1278731 h 2947988"/>
                  <a:gd name="connsiteX28" fmla="*/ 6119813 w 8801100"/>
                  <a:gd name="connsiteY28" fmla="*/ 1243013 h 2947988"/>
                  <a:gd name="connsiteX29" fmla="*/ 6093619 w 8801100"/>
                  <a:gd name="connsiteY29" fmla="*/ 1278731 h 2947988"/>
                  <a:gd name="connsiteX30" fmla="*/ 5895975 w 8801100"/>
                  <a:gd name="connsiteY30" fmla="*/ 1271588 h 2947988"/>
                  <a:gd name="connsiteX31" fmla="*/ 5834063 w 8801100"/>
                  <a:gd name="connsiteY31" fmla="*/ 1226344 h 2947988"/>
                  <a:gd name="connsiteX32" fmla="*/ 5636419 w 8801100"/>
                  <a:gd name="connsiteY32" fmla="*/ 1243013 h 2947988"/>
                  <a:gd name="connsiteX33" fmla="*/ 5548313 w 8801100"/>
                  <a:gd name="connsiteY33" fmla="*/ 1159668 h 2947988"/>
                  <a:gd name="connsiteX34" fmla="*/ 5472113 w 8801100"/>
                  <a:gd name="connsiteY34" fmla="*/ 1114425 h 2947988"/>
                  <a:gd name="connsiteX35" fmla="*/ 5474493 w 8801100"/>
                  <a:gd name="connsiteY35" fmla="*/ 1057275 h 2947988"/>
                  <a:gd name="connsiteX36" fmla="*/ 5455444 w 8801100"/>
                  <a:gd name="connsiteY36" fmla="*/ 1014412 h 2947988"/>
                  <a:gd name="connsiteX37" fmla="*/ 5360194 w 8801100"/>
                  <a:gd name="connsiteY37" fmla="*/ 1016794 h 2947988"/>
                  <a:gd name="connsiteX38" fmla="*/ 5264944 w 8801100"/>
                  <a:gd name="connsiteY38" fmla="*/ 995363 h 2947988"/>
                  <a:gd name="connsiteX39" fmla="*/ 5195887 w 8801100"/>
                  <a:gd name="connsiteY39" fmla="*/ 928687 h 2947988"/>
                  <a:gd name="connsiteX40" fmla="*/ 5160169 w 8801100"/>
                  <a:gd name="connsiteY40" fmla="*/ 885825 h 2947988"/>
                  <a:gd name="connsiteX41" fmla="*/ 5079206 w 8801100"/>
                  <a:gd name="connsiteY41" fmla="*/ 862012 h 2947988"/>
                  <a:gd name="connsiteX42" fmla="*/ 5005388 w 8801100"/>
                  <a:gd name="connsiteY42" fmla="*/ 873918 h 2947988"/>
                  <a:gd name="connsiteX43" fmla="*/ 4948237 w 8801100"/>
                  <a:gd name="connsiteY43" fmla="*/ 821531 h 2947988"/>
                  <a:gd name="connsiteX44" fmla="*/ 4852988 w 8801100"/>
                  <a:gd name="connsiteY44" fmla="*/ 833438 h 2947988"/>
                  <a:gd name="connsiteX45" fmla="*/ 4800600 w 8801100"/>
                  <a:gd name="connsiteY45" fmla="*/ 807244 h 2947988"/>
                  <a:gd name="connsiteX46" fmla="*/ 4719638 w 8801100"/>
                  <a:gd name="connsiteY46" fmla="*/ 850106 h 2947988"/>
                  <a:gd name="connsiteX47" fmla="*/ 4581525 w 8801100"/>
                  <a:gd name="connsiteY47" fmla="*/ 873919 h 2947988"/>
                  <a:gd name="connsiteX48" fmla="*/ 4452938 w 8801100"/>
                  <a:gd name="connsiteY48" fmla="*/ 966788 h 2947988"/>
                  <a:gd name="connsiteX49" fmla="*/ 4405312 w 8801100"/>
                  <a:gd name="connsiteY49" fmla="*/ 928688 h 2947988"/>
                  <a:gd name="connsiteX50" fmla="*/ 4383881 w 8801100"/>
                  <a:gd name="connsiteY50" fmla="*/ 959643 h 2947988"/>
                  <a:gd name="connsiteX51" fmla="*/ 4310063 w 8801100"/>
                  <a:gd name="connsiteY51" fmla="*/ 909638 h 2947988"/>
                  <a:gd name="connsiteX52" fmla="*/ 4271963 w 8801100"/>
                  <a:gd name="connsiteY52" fmla="*/ 916781 h 2947988"/>
                  <a:gd name="connsiteX53" fmla="*/ 4250531 w 8801100"/>
                  <a:gd name="connsiteY53" fmla="*/ 878681 h 2947988"/>
                  <a:gd name="connsiteX54" fmla="*/ 4191000 w 8801100"/>
                  <a:gd name="connsiteY54" fmla="*/ 883444 h 2947988"/>
                  <a:gd name="connsiteX55" fmla="*/ 4145756 w 8801100"/>
                  <a:gd name="connsiteY55" fmla="*/ 854869 h 2947988"/>
                  <a:gd name="connsiteX56" fmla="*/ 4107656 w 8801100"/>
                  <a:gd name="connsiteY56" fmla="*/ 852488 h 2947988"/>
                  <a:gd name="connsiteX57" fmla="*/ 4088606 w 8801100"/>
                  <a:gd name="connsiteY57" fmla="*/ 804862 h 2947988"/>
                  <a:gd name="connsiteX58" fmla="*/ 4074319 w 8801100"/>
                  <a:gd name="connsiteY58" fmla="*/ 773906 h 2947988"/>
                  <a:gd name="connsiteX59" fmla="*/ 4029075 w 8801100"/>
                  <a:gd name="connsiteY59" fmla="*/ 783431 h 2947988"/>
                  <a:gd name="connsiteX60" fmla="*/ 4010025 w 8801100"/>
                  <a:gd name="connsiteY60" fmla="*/ 747713 h 2947988"/>
                  <a:gd name="connsiteX61" fmla="*/ 4031457 w 8801100"/>
                  <a:gd name="connsiteY61" fmla="*/ 692944 h 2947988"/>
                  <a:gd name="connsiteX62" fmla="*/ 4000500 w 8801100"/>
                  <a:gd name="connsiteY62" fmla="*/ 666750 h 2947988"/>
                  <a:gd name="connsiteX63" fmla="*/ 4017169 w 8801100"/>
                  <a:gd name="connsiteY63" fmla="*/ 623888 h 2947988"/>
                  <a:gd name="connsiteX64" fmla="*/ 3990975 w 8801100"/>
                  <a:gd name="connsiteY64" fmla="*/ 581025 h 2947988"/>
                  <a:gd name="connsiteX65" fmla="*/ 3986213 w 8801100"/>
                  <a:gd name="connsiteY65" fmla="*/ 519113 h 2947988"/>
                  <a:gd name="connsiteX66" fmla="*/ 4010025 w 8801100"/>
                  <a:gd name="connsiteY66" fmla="*/ 454818 h 2947988"/>
                  <a:gd name="connsiteX67" fmla="*/ 3971925 w 8801100"/>
                  <a:gd name="connsiteY67" fmla="*/ 457200 h 2947988"/>
                  <a:gd name="connsiteX68" fmla="*/ 3852863 w 8801100"/>
                  <a:gd name="connsiteY68" fmla="*/ 400050 h 2947988"/>
                  <a:gd name="connsiteX69" fmla="*/ 3814762 w 8801100"/>
                  <a:gd name="connsiteY69" fmla="*/ 404812 h 2947988"/>
                  <a:gd name="connsiteX70" fmla="*/ 3609975 w 8801100"/>
                  <a:gd name="connsiteY70" fmla="*/ 295275 h 2947988"/>
                  <a:gd name="connsiteX71" fmla="*/ 3505200 w 8801100"/>
                  <a:gd name="connsiteY71" fmla="*/ 264319 h 2947988"/>
                  <a:gd name="connsiteX72" fmla="*/ 3440906 w 8801100"/>
                  <a:gd name="connsiteY72" fmla="*/ 273843 h 2947988"/>
                  <a:gd name="connsiteX73" fmla="*/ 3409950 w 8801100"/>
                  <a:gd name="connsiteY73" fmla="*/ 209550 h 2947988"/>
                  <a:gd name="connsiteX74" fmla="*/ 3352800 w 8801100"/>
                  <a:gd name="connsiteY74" fmla="*/ 209550 h 2947988"/>
                  <a:gd name="connsiteX75" fmla="*/ 3214687 w 8801100"/>
                  <a:gd name="connsiteY75" fmla="*/ 104775 h 2947988"/>
                  <a:gd name="connsiteX76" fmla="*/ 3181350 w 8801100"/>
                  <a:gd name="connsiteY76" fmla="*/ 164307 h 2947988"/>
                  <a:gd name="connsiteX77" fmla="*/ 3126581 w 8801100"/>
                  <a:gd name="connsiteY77" fmla="*/ 233363 h 2947988"/>
                  <a:gd name="connsiteX78" fmla="*/ 3083719 w 8801100"/>
                  <a:gd name="connsiteY78" fmla="*/ 250031 h 2947988"/>
                  <a:gd name="connsiteX79" fmla="*/ 3052763 w 8801100"/>
                  <a:gd name="connsiteY79" fmla="*/ 242888 h 2947988"/>
                  <a:gd name="connsiteX80" fmla="*/ 3028950 w 8801100"/>
                  <a:gd name="connsiteY80" fmla="*/ 271463 h 2947988"/>
                  <a:gd name="connsiteX81" fmla="*/ 3002756 w 8801100"/>
                  <a:gd name="connsiteY81" fmla="*/ 350044 h 2947988"/>
                  <a:gd name="connsiteX82" fmla="*/ 2959894 w 8801100"/>
                  <a:gd name="connsiteY82" fmla="*/ 347663 h 2947988"/>
                  <a:gd name="connsiteX83" fmla="*/ 2928937 w 8801100"/>
                  <a:gd name="connsiteY83" fmla="*/ 409575 h 2947988"/>
                  <a:gd name="connsiteX84" fmla="*/ 2924175 w 8801100"/>
                  <a:gd name="connsiteY84" fmla="*/ 473869 h 2947988"/>
                  <a:gd name="connsiteX85" fmla="*/ 2897982 w 8801100"/>
                  <a:gd name="connsiteY85" fmla="*/ 511969 h 2947988"/>
                  <a:gd name="connsiteX86" fmla="*/ 2924175 w 8801100"/>
                  <a:gd name="connsiteY86" fmla="*/ 571500 h 2947988"/>
                  <a:gd name="connsiteX87" fmla="*/ 2926556 w 8801100"/>
                  <a:gd name="connsiteY87" fmla="*/ 640556 h 2947988"/>
                  <a:gd name="connsiteX88" fmla="*/ 2955131 w 8801100"/>
                  <a:gd name="connsiteY88" fmla="*/ 692944 h 2947988"/>
                  <a:gd name="connsiteX89" fmla="*/ 3002757 w 8801100"/>
                  <a:gd name="connsiteY89" fmla="*/ 747713 h 2947988"/>
                  <a:gd name="connsiteX90" fmla="*/ 2952750 w 8801100"/>
                  <a:gd name="connsiteY90" fmla="*/ 885825 h 2947988"/>
                  <a:gd name="connsiteX91" fmla="*/ 2883694 w 8801100"/>
                  <a:gd name="connsiteY91" fmla="*/ 952500 h 2947988"/>
                  <a:gd name="connsiteX92" fmla="*/ 2812256 w 8801100"/>
                  <a:gd name="connsiteY92" fmla="*/ 947738 h 2947988"/>
                  <a:gd name="connsiteX93" fmla="*/ 2774156 w 8801100"/>
                  <a:gd name="connsiteY93" fmla="*/ 1004888 h 2947988"/>
                  <a:gd name="connsiteX94" fmla="*/ 2714625 w 8801100"/>
                  <a:gd name="connsiteY94" fmla="*/ 1019175 h 2947988"/>
                  <a:gd name="connsiteX95" fmla="*/ 2645569 w 8801100"/>
                  <a:gd name="connsiteY95" fmla="*/ 959644 h 2947988"/>
                  <a:gd name="connsiteX96" fmla="*/ 2590800 w 8801100"/>
                  <a:gd name="connsiteY96" fmla="*/ 931069 h 2947988"/>
                  <a:gd name="connsiteX97" fmla="*/ 2547938 w 8801100"/>
                  <a:gd name="connsiteY97" fmla="*/ 945356 h 2947988"/>
                  <a:gd name="connsiteX98" fmla="*/ 2495550 w 8801100"/>
                  <a:gd name="connsiteY98" fmla="*/ 928688 h 2947988"/>
                  <a:gd name="connsiteX99" fmla="*/ 2428875 w 8801100"/>
                  <a:gd name="connsiteY99" fmla="*/ 873919 h 2947988"/>
                  <a:gd name="connsiteX100" fmla="*/ 2383631 w 8801100"/>
                  <a:gd name="connsiteY100" fmla="*/ 885825 h 2947988"/>
                  <a:gd name="connsiteX101" fmla="*/ 2362200 w 8801100"/>
                  <a:gd name="connsiteY101" fmla="*/ 854869 h 2947988"/>
                  <a:gd name="connsiteX102" fmla="*/ 2305050 w 8801100"/>
                  <a:gd name="connsiteY102" fmla="*/ 895350 h 2947988"/>
                  <a:gd name="connsiteX103" fmla="*/ 2188369 w 8801100"/>
                  <a:gd name="connsiteY103" fmla="*/ 873919 h 2947988"/>
                  <a:gd name="connsiteX104" fmla="*/ 2138363 w 8801100"/>
                  <a:gd name="connsiteY104" fmla="*/ 821531 h 2947988"/>
                  <a:gd name="connsiteX105" fmla="*/ 2095500 w 8801100"/>
                  <a:gd name="connsiteY105" fmla="*/ 807244 h 2947988"/>
                  <a:gd name="connsiteX106" fmla="*/ 2052638 w 8801100"/>
                  <a:gd name="connsiteY106" fmla="*/ 833438 h 2947988"/>
                  <a:gd name="connsiteX107" fmla="*/ 2000250 w 8801100"/>
                  <a:gd name="connsiteY107" fmla="*/ 742950 h 2947988"/>
                  <a:gd name="connsiteX108" fmla="*/ 1990725 w 8801100"/>
                  <a:gd name="connsiteY108" fmla="*/ 595312 h 2947988"/>
                  <a:gd name="connsiteX109" fmla="*/ 1938337 w 8801100"/>
                  <a:gd name="connsiteY109" fmla="*/ 588168 h 2947988"/>
                  <a:gd name="connsiteX110" fmla="*/ 1847850 w 8801100"/>
                  <a:gd name="connsiteY110" fmla="*/ 578644 h 2947988"/>
                  <a:gd name="connsiteX111" fmla="*/ 1793081 w 8801100"/>
                  <a:gd name="connsiteY111" fmla="*/ 540544 h 2947988"/>
                  <a:gd name="connsiteX112" fmla="*/ 1724025 w 8801100"/>
                  <a:gd name="connsiteY112" fmla="*/ 550069 h 2947988"/>
                  <a:gd name="connsiteX113" fmla="*/ 1678781 w 8801100"/>
                  <a:gd name="connsiteY113" fmla="*/ 523875 h 2947988"/>
                  <a:gd name="connsiteX114" fmla="*/ 1669257 w 8801100"/>
                  <a:gd name="connsiteY114" fmla="*/ 452438 h 2947988"/>
                  <a:gd name="connsiteX115" fmla="*/ 1645444 w 8801100"/>
                  <a:gd name="connsiteY115" fmla="*/ 438150 h 2947988"/>
                  <a:gd name="connsiteX116" fmla="*/ 1607344 w 8801100"/>
                  <a:gd name="connsiteY116" fmla="*/ 485774 h 2947988"/>
                  <a:gd name="connsiteX117" fmla="*/ 1528762 w 8801100"/>
                  <a:gd name="connsiteY117" fmla="*/ 411956 h 2947988"/>
                  <a:gd name="connsiteX118" fmla="*/ 1488281 w 8801100"/>
                  <a:gd name="connsiteY118" fmla="*/ 452438 h 2947988"/>
                  <a:gd name="connsiteX119" fmla="*/ 1412081 w 8801100"/>
                  <a:gd name="connsiteY119" fmla="*/ 438150 h 2947988"/>
                  <a:gd name="connsiteX120" fmla="*/ 1333500 w 8801100"/>
                  <a:gd name="connsiteY120" fmla="*/ 464344 h 2947988"/>
                  <a:gd name="connsiteX121" fmla="*/ 1273969 w 8801100"/>
                  <a:gd name="connsiteY121" fmla="*/ 511968 h 2947988"/>
                  <a:gd name="connsiteX122" fmla="*/ 1200150 w 8801100"/>
                  <a:gd name="connsiteY122" fmla="*/ 523875 h 2947988"/>
                  <a:gd name="connsiteX123" fmla="*/ 1164431 w 8801100"/>
                  <a:gd name="connsiteY123" fmla="*/ 516731 h 2947988"/>
                  <a:gd name="connsiteX124" fmla="*/ 1085851 w 8801100"/>
                  <a:gd name="connsiteY124" fmla="*/ 547688 h 2947988"/>
                  <a:gd name="connsiteX125" fmla="*/ 1064419 w 8801100"/>
                  <a:gd name="connsiteY125" fmla="*/ 576263 h 2947988"/>
                  <a:gd name="connsiteX126" fmla="*/ 997744 w 8801100"/>
                  <a:gd name="connsiteY126" fmla="*/ 566738 h 2947988"/>
                  <a:gd name="connsiteX127" fmla="*/ 928688 w 8801100"/>
                  <a:gd name="connsiteY127" fmla="*/ 590550 h 2947988"/>
                  <a:gd name="connsiteX128" fmla="*/ 873919 w 8801100"/>
                  <a:gd name="connsiteY128" fmla="*/ 628650 h 2947988"/>
                  <a:gd name="connsiteX129" fmla="*/ 778669 w 8801100"/>
                  <a:gd name="connsiteY129" fmla="*/ 642937 h 2947988"/>
                  <a:gd name="connsiteX130" fmla="*/ 764381 w 8801100"/>
                  <a:gd name="connsiteY130" fmla="*/ 664369 h 2947988"/>
                  <a:gd name="connsiteX131" fmla="*/ 776287 w 8801100"/>
                  <a:gd name="connsiteY131" fmla="*/ 709613 h 2947988"/>
                  <a:gd name="connsiteX132" fmla="*/ 676276 w 8801100"/>
                  <a:gd name="connsiteY132" fmla="*/ 762000 h 2947988"/>
                  <a:gd name="connsiteX133" fmla="*/ 638175 w 8801100"/>
                  <a:gd name="connsiteY133" fmla="*/ 733424 h 2947988"/>
                  <a:gd name="connsiteX134" fmla="*/ 607219 w 8801100"/>
                  <a:gd name="connsiteY134" fmla="*/ 790575 h 2947988"/>
                  <a:gd name="connsiteX135" fmla="*/ 550069 w 8801100"/>
                  <a:gd name="connsiteY135" fmla="*/ 752475 h 2947988"/>
                  <a:gd name="connsiteX136" fmla="*/ 514350 w 8801100"/>
                  <a:gd name="connsiteY136" fmla="*/ 781050 h 2947988"/>
                  <a:gd name="connsiteX137" fmla="*/ 478631 w 8801100"/>
                  <a:gd name="connsiteY137" fmla="*/ 745331 h 2947988"/>
                  <a:gd name="connsiteX138" fmla="*/ 426244 w 8801100"/>
                  <a:gd name="connsiteY138" fmla="*/ 757238 h 2947988"/>
                  <a:gd name="connsiteX139" fmla="*/ 381000 w 8801100"/>
                  <a:gd name="connsiteY139" fmla="*/ 728663 h 2947988"/>
                  <a:gd name="connsiteX140" fmla="*/ 357188 w 8801100"/>
                  <a:gd name="connsiteY140" fmla="*/ 747713 h 2947988"/>
                  <a:gd name="connsiteX141" fmla="*/ 333375 w 8801100"/>
                  <a:gd name="connsiteY141" fmla="*/ 807244 h 2947988"/>
                  <a:gd name="connsiteX142" fmla="*/ 261938 w 8801100"/>
                  <a:gd name="connsiteY142" fmla="*/ 845343 h 2947988"/>
                  <a:gd name="connsiteX143" fmla="*/ 209550 w 8801100"/>
                  <a:gd name="connsiteY143" fmla="*/ 816769 h 2947988"/>
                  <a:gd name="connsiteX144" fmla="*/ 119063 w 8801100"/>
                  <a:gd name="connsiteY144" fmla="*/ 826294 h 2947988"/>
                  <a:gd name="connsiteX145" fmla="*/ 71437 w 8801100"/>
                  <a:gd name="connsiteY145" fmla="*/ 792957 h 2947988"/>
                  <a:gd name="connsiteX146" fmla="*/ 0 w 8801100"/>
                  <a:gd name="connsiteY146" fmla="*/ 812006 h 2947988"/>
                  <a:gd name="connsiteX147" fmla="*/ 4762 w 8801100"/>
                  <a:gd name="connsiteY147" fmla="*/ 0 h 2947988"/>
                  <a:gd name="connsiteX148" fmla="*/ 6981825 w 8801100"/>
                  <a:gd name="connsiteY148" fmla="*/ 2943225 h 2947988"/>
                  <a:gd name="connsiteX149" fmla="*/ 7186612 w 8801100"/>
                  <a:gd name="connsiteY149" fmla="*/ 2947988 h 2947988"/>
                  <a:gd name="connsiteX150" fmla="*/ 7362825 w 8801100"/>
                  <a:gd name="connsiteY150" fmla="*/ 2809875 h 2947988"/>
                  <a:gd name="connsiteX151" fmla="*/ 7419975 w 8801100"/>
                  <a:gd name="connsiteY151" fmla="*/ 2719387 h 2947988"/>
                  <a:gd name="connsiteX152" fmla="*/ 7446169 w 8801100"/>
                  <a:gd name="connsiteY152" fmla="*/ 2636044 h 2947988"/>
                  <a:gd name="connsiteX153" fmla="*/ 7577137 w 8801100"/>
                  <a:gd name="connsiteY153" fmla="*/ 2636044 h 2947988"/>
                  <a:gd name="connsiteX154" fmla="*/ 7750969 w 8801100"/>
                  <a:gd name="connsiteY154" fmla="*/ 2578893 h 2947988"/>
                  <a:gd name="connsiteX155" fmla="*/ 7810500 w 8801100"/>
                  <a:gd name="connsiteY155" fmla="*/ 2466975 h 2947988"/>
                  <a:gd name="connsiteX156" fmla="*/ 7874794 w 8801100"/>
                  <a:gd name="connsiteY156" fmla="*/ 2431256 h 2947988"/>
                  <a:gd name="connsiteX157" fmla="*/ 7853363 w 8801100"/>
                  <a:gd name="connsiteY157" fmla="*/ 2386013 h 2947988"/>
                  <a:gd name="connsiteX158" fmla="*/ 7931944 w 8801100"/>
                  <a:gd name="connsiteY158" fmla="*/ 2216943 h 2947988"/>
                  <a:gd name="connsiteX159" fmla="*/ 7986713 w 8801100"/>
                  <a:gd name="connsiteY159" fmla="*/ 2157413 h 2947988"/>
                  <a:gd name="connsiteX160" fmla="*/ 8024813 w 8801100"/>
                  <a:gd name="connsiteY160" fmla="*/ 2152650 h 2947988"/>
                  <a:gd name="connsiteX161" fmla="*/ 8070056 w 8801100"/>
                  <a:gd name="connsiteY161" fmla="*/ 2157413 h 2947988"/>
                  <a:gd name="connsiteX162" fmla="*/ 8134350 w 8801100"/>
                  <a:gd name="connsiteY162" fmla="*/ 2124075 h 2947988"/>
                  <a:gd name="connsiteX163" fmla="*/ 8143875 w 8801100"/>
                  <a:gd name="connsiteY163" fmla="*/ 2059781 h 2947988"/>
                  <a:gd name="connsiteX164" fmla="*/ 8184355 w 8801100"/>
                  <a:gd name="connsiteY164" fmla="*/ 2024063 h 2947988"/>
                  <a:gd name="connsiteX165" fmla="*/ 8243888 w 8801100"/>
                  <a:gd name="connsiteY165" fmla="*/ 2064543 h 2947988"/>
                  <a:gd name="connsiteX166" fmla="*/ 8270082 w 8801100"/>
                  <a:gd name="connsiteY166" fmla="*/ 2014537 h 2947988"/>
                  <a:gd name="connsiteX167" fmla="*/ 8365331 w 8801100"/>
                  <a:gd name="connsiteY167" fmla="*/ 1945481 h 2947988"/>
                  <a:gd name="connsiteX168" fmla="*/ 8427244 w 8801100"/>
                  <a:gd name="connsiteY168" fmla="*/ 1952625 h 2947988"/>
                  <a:gd name="connsiteX169" fmla="*/ 8477250 w 8801100"/>
                  <a:gd name="connsiteY169" fmla="*/ 1933575 h 2947988"/>
                  <a:gd name="connsiteX170" fmla="*/ 8515350 w 8801100"/>
                  <a:gd name="connsiteY170" fmla="*/ 1905000 h 2947988"/>
                  <a:gd name="connsiteX171" fmla="*/ 8548688 w 8801100"/>
                  <a:gd name="connsiteY171" fmla="*/ 1902619 h 2947988"/>
                  <a:gd name="connsiteX172" fmla="*/ 8584406 w 8801100"/>
                  <a:gd name="connsiteY172" fmla="*/ 1933575 h 2947988"/>
                  <a:gd name="connsiteX173" fmla="*/ 8643938 w 8801100"/>
                  <a:gd name="connsiteY173" fmla="*/ 1933575 h 2947988"/>
                  <a:gd name="connsiteX174" fmla="*/ 8682037 w 8801100"/>
                  <a:gd name="connsiteY174" fmla="*/ 1914525 h 2947988"/>
                  <a:gd name="connsiteX175" fmla="*/ 8765381 w 8801100"/>
                  <a:gd name="connsiteY175" fmla="*/ 1916907 h 2947988"/>
                  <a:gd name="connsiteX176" fmla="*/ 8796338 w 8801100"/>
                  <a:gd name="connsiteY176" fmla="*/ 1871663 h 2947988"/>
                  <a:gd name="connsiteX177" fmla="*/ 8801100 w 8801100"/>
                  <a:gd name="connsiteY177" fmla="*/ 1809750 h 2947988"/>
                  <a:gd name="connsiteX178" fmla="*/ 8751093 w 8801100"/>
                  <a:gd name="connsiteY178" fmla="*/ 1769269 h 2947988"/>
                  <a:gd name="connsiteX179" fmla="*/ 8734425 w 8801100"/>
                  <a:gd name="connsiteY179" fmla="*/ 1714500 h 2947988"/>
                  <a:gd name="connsiteX180" fmla="*/ 8643938 w 8801100"/>
                  <a:gd name="connsiteY180" fmla="*/ 1652588 h 2947988"/>
                  <a:gd name="connsiteX181" fmla="*/ 8603456 w 8801100"/>
                  <a:gd name="connsiteY181" fmla="*/ 1631156 h 2947988"/>
                  <a:gd name="connsiteX182" fmla="*/ 8565356 w 8801100"/>
                  <a:gd name="connsiteY182" fmla="*/ 1585913 h 2947988"/>
                  <a:gd name="connsiteX183" fmla="*/ 8534400 w 8801100"/>
                  <a:gd name="connsiteY183" fmla="*/ 1583531 h 2947988"/>
                  <a:gd name="connsiteX184" fmla="*/ 8517731 w 8801100"/>
                  <a:gd name="connsiteY184" fmla="*/ 1531144 h 2947988"/>
                  <a:gd name="connsiteX185" fmla="*/ 8477250 w 8801100"/>
                  <a:gd name="connsiteY185" fmla="*/ 1514475 h 2947988"/>
                  <a:gd name="connsiteX186" fmla="*/ 8477250 w 8801100"/>
                  <a:gd name="connsiteY186" fmla="*/ 1514475 h 2947988"/>
                  <a:gd name="connsiteX187" fmla="*/ 8436769 w 8801100"/>
                  <a:gd name="connsiteY187" fmla="*/ 1519238 h 2947988"/>
                  <a:gd name="connsiteX188" fmla="*/ 8351043 w 8801100"/>
                  <a:gd name="connsiteY188" fmla="*/ 1445419 h 2947988"/>
                  <a:gd name="connsiteX189" fmla="*/ 8170069 w 8801100"/>
                  <a:gd name="connsiteY189" fmla="*/ 1445418 h 2947988"/>
                  <a:gd name="connsiteX190" fmla="*/ 8117681 w 8801100"/>
                  <a:gd name="connsiteY190" fmla="*/ 1483519 h 2947988"/>
                  <a:gd name="connsiteX191" fmla="*/ 8067675 w 8801100"/>
                  <a:gd name="connsiteY191" fmla="*/ 1562100 h 2947988"/>
                  <a:gd name="connsiteX192" fmla="*/ 8084344 w 8801100"/>
                  <a:gd name="connsiteY192" fmla="*/ 1583531 h 2947988"/>
                  <a:gd name="connsiteX193" fmla="*/ 8039100 w 8801100"/>
                  <a:gd name="connsiteY193" fmla="*/ 1633537 h 2947988"/>
                  <a:gd name="connsiteX194" fmla="*/ 7889081 w 8801100"/>
                  <a:gd name="connsiteY194" fmla="*/ 1557337 h 2947988"/>
                  <a:gd name="connsiteX195" fmla="*/ 7798594 w 8801100"/>
                  <a:gd name="connsiteY195" fmla="*/ 1593056 h 2947988"/>
                  <a:gd name="connsiteX196" fmla="*/ 7724775 w 8801100"/>
                  <a:gd name="connsiteY196" fmla="*/ 1590675 h 2947988"/>
                  <a:gd name="connsiteX197" fmla="*/ 7667625 w 8801100"/>
                  <a:gd name="connsiteY197" fmla="*/ 1685925 h 2947988"/>
                  <a:gd name="connsiteX198" fmla="*/ 7529513 w 8801100"/>
                  <a:gd name="connsiteY198" fmla="*/ 1588294 h 2947988"/>
                  <a:gd name="connsiteX0" fmla="*/ 7529513 w 8801100"/>
                  <a:gd name="connsiteY0" fmla="*/ 1588294 h 2947988"/>
                  <a:gd name="connsiteX1" fmla="*/ 7522369 w 8801100"/>
                  <a:gd name="connsiteY1" fmla="*/ 1533525 h 2947988"/>
                  <a:gd name="connsiteX2" fmla="*/ 7589044 w 8801100"/>
                  <a:gd name="connsiteY2" fmla="*/ 1459706 h 2947988"/>
                  <a:gd name="connsiteX3" fmla="*/ 7572375 w 8801100"/>
                  <a:gd name="connsiteY3" fmla="*/ 1388269 h 2947988"/>
                  <a:gd name="connsiteX4" fmla="*/ 7586663 w 8801100"/>
                  <a:gd name="connsiteY4" fmla="*/ 1293019 h 2947988"/>
                  <a:gd name="connsiteX5" fmla="*/ 7624763 w 8801100"/>
                  <a:gd name="connsiteY5" fmla="*/ 1235869 h 2947988"/>
                  <a:gd name="connsiteX6" fmla="*/ 7605712 w 8801100"/>
                  <a:gd name="connsiteY6" fmla="*/ 1202531 h 2947988"/>
                  <a:gd name="connsiteX7" fmla="*/ 7703343 w 8801100"/>
                  <a:gd name="connsiteY7" fmla="*/ 802481 h 2947988"/>
                  <a:gd name="connsiteX8" fmla="*/ 7696200 w 8801100"/>
                  <a:gd name="connsiteY8" fmla="*/ 773906 h 2947988"/>
                  <a:gd name="connsiteX9" fmla="*/ 7567613 w 8801100"/>
                  <a:gd name="connsiteY9" fmla="*/ 752475 h 2947988"/>
                  <a:gd name="connsiteX10" fmla="*/ 7384257 w 8801100"/>
                  <a:gd name="connsiteY10" fmla="*/ 831056 h 2947988"/>
                  <a:gd name="connsiteX11" fmla="*/ 7227093 w 8801100"/>
                  <a:gd name="connsiteY11" fmla="*/ 716756 h 2947988"/>
                  <a:gd name="connsiteX12" fmla="*/ 7150894 w 8801100"/>
                  <a:gd name="connsiteY12" fmla="*/ 723900 h 2947988"/>
                  <a:gd name="connsiteX13" fmla="*/ 7077075 w 8801100"/>
                  <a:gd name="connsiteY13" fmla="*/ 719138 h 2947988"/>
                  <a:gd name="connsiteX14" fmla="*/ 6938963 w 8801100"/>
                  <a:gd name="connsiteY14" fmla="*/ 823913 h 2947988"/>
                  <a:gd name="connsiteX15" fmla="*/ 6831806 w 8801100"/>
                  <a:gd name="connsiteY15" fmla="*/ 931069 h 2947988"/>
                  <a:gd name="connsiteX16" fmla="*/ 6788944 w 8801100"/>
                  <a:gd name="connsiteY16" fmla="*/ 1000125 h 2947988"/>
                  <a:gd name="connsiteX17" fmla="*/ 6796088 w 8801100"/>
                  <a:gd name="connsiteY17" fmla="*/ 1035844 h 2947988"/>
                  <a:gd name="connsiteX18" fmla="*/ 6734175 w 8801100"/>
                  <a:gd name="connsiteY18" fmla="*/ 1047750 h 2947988"/>
                  <a:gd name="connsiteX19" fmla="*/ 6753225 w 8801100"/>
                  <a:gd name="connsiteY19" fmla="*/ 1047750 h 2947988"/>
                  <a:gd name="connsiteX20" fmla="*/ 6719888 w 8801100"/>
                  <a:gd name="connsiteY20" fmla="*/ 1078706 h 2947988"/>
                  <a:gd name="connsiteX21" fmla="*/ 6619875 w 8801100"/>
                  <a:gd name="connsiteY21" fmla="*/ 1078707 h 2947988"/>
                  <a:gd name="connsiteX22" fmla="*/ 6524625 w 8801100"/>
                  <a:gd name="connsiteY22" fmla="*/ 1133475 h 2947988"/>
                  <a:gd name="connsiteX23" fmla="*/ 6443663 w 8801100"/>
                  <a:gd name="connsiteY23" fmla="*/ 1143000 h 2947988"/>
                  <a:gd name="connsiteX24" fmla="*/ 6403181 w 8801100"/>
                  <a:gd name="connsiteY24" fmla="*/ 1176338 h 2947988"/>
                  <a:gd name="connsiteX25" fmla="*/ 6353175 w 8801100"/>
                  <a:gd name="connsiteY25" fmla="*/ 1181100 h 2947988"/>
                  <a:gd name="connsiteX26" fmla="*/ 6231732 w 8801100"/>
                  <a:gd name="connsiteY26" fmla="*/ 1273969 h 2947988"/>
                  <a:gd name="connsiteX27" fmla="*/ 6172200 w 8801100"/>
                  <a:gd name="connsiteY27" fmla="*/ 1278731 h 2947988"/>
                  <a:gd name="connsiteX28" fmla="*/ 6119813 w 8801100"/>
                  <a:gd name="connsiteY28" fmla="*/ 1243013 h 2947988"/>
                  <a:gd name="connsiteX29" fmla="*/ 6093619 w 8801100"/>
                  <a:gd name="connsiteY29" fmla="*/ 1278731 h 2947988"/>
                  <a:gd name="connsiteX30" fmla="*/ 5895975 w 8801100"/>
                  <a:gd name="connsiteY30" fmla="*/ 1271588 h 2947988"/>
                  <a:gd name="connsiteX31" fmla="*/ 5834063 w 8801100"/>
                  <a:gd name="connsiteY31" fmla="*/ 1226344 h 2947988"/>
                  <a:gd name="connsiteX32" fmla="*/ 5636419 w 8801100"/>
                  <a:gd name="connsiteY32" fmla="*/ 1243013 h 2947988"/>
                  <a:gd name="connsiteX33" fmla="*/ 5548313 w 8801100"/>
                  <a:gd name="connsiteY33" fmla="*/ 1159668 h 2947988"/>
                  <a:gd name="connsiteX34" fmla="*/ 5472113 w 8801100"/>
                  <a:gd name="connsiteY34" fmla="*/ 1114425 h 2947988"/>
                  <a:gd name="connsiteX35" fmla="*/ 5474493 w 8801100"/>
                  <a:gd name="connsiteY35" fmla="*/ 1057275 h 2947988"/>
                  <a:gd name="connsiteX36" fmla="*/ 5455444 w 8801100"/>
                  <a:gd name="connsiteY36" fmla="*/ 1014412 h 2947988"/>
                  <a:gd name="connsiteX37" fmla="*/ 5360194 w 8801100"/>
                  <a:gd name="connsiteY37" fmla="*/ 1016794 h 2947988"/>
                  <a:gd name="connsiteX38" fmla="*/ 5264944 w 8801100"/>
                  <a:gd name="connsiteY38" fmla="*/ 995363 h 2947988"/>
                  <a:gd name="connsiteX39" fmla="*/ 5195887 w 8801100"/>
                  <a:gd name="connsiteY39" fmla="*/ 928687 h 2947988"/>
                  <a:gd name="connsiteX40" fmla="*/ 5160169 w 8801100"/>
                  <a:gd name="connsiteY40" fmla="*/ 885825 h 2947988"/>
                  <a:gd name="connsiteX41" fmla="*/ 5079206 w 8801100"/>
                  <a:gd name="connsiteY41" fmla="*/ 862012 h 2947988"/>
                  <a:gd name="connsiteX42" fmla="*/ 5005388 w 8801100"/>
                  <a:gd name="connsiteY42" fmla="*/ 873918 h 2947988"/>
                  <a:gd name="connsiteX43" fmla="*/ 4948237 w 8801100"/>
                  <a:gd name="connsiteY43" fmla="*/ 821531 h 2947988"/>
                  <a:gd name="connsiteX44" fmla="*/ 4852988 w 8801100"/>
                  <a:gd name="connsiteY44" fmla="*/ 833438 h 2947988"/>
                  <a:gd name="connsiteX45" fmla="*/ 4800600 w 8801100"/>
                  <a:gd name="connsiteY45" fmla="*/ 807244 h 2947988"/>
                  <a:gd name="connsiteX46" fmla="*/ 4719638 w 8801100"/>
                  <a:gd name="connsiteY46" fmla="*/ 850106 h 2947988"/>
                  <a:gd name="connsiteX47" fmla="*/ 4581525 w 8801100"/>
                  <a:gd name="connsiteY47" fmla="*/ 873919 h 2947988"/>
                  <a:gd name="connsiteX48" fmla="*/ 4452938 w 8801100"/>
                  <a:gd name="connsiteY48" fmla="*/ 966788 h 2947988"/>
                  <a:gd name="connsiteX49" fmla="*/ 4405312 w 8801100"/>
                  <a:gd name="connsiteY49" fmla="*/ 928688 h 2947988"/>
                  <a:gd name="connsiteX50" fmla="*/ 4383881 w 8801100"/>
                  <a:gd name="connsiteY50" fmla="*/ 959643 h 2947988"/>
                  <a:gd name="connsiteX51" fmla="*/ 4310063 w 8801100"/>
                  <a:gd name="connsiteY51" fmla="*/ 909638 h 2947988"/>
                  <a:gd name="connsiteX52" fmla="*/ 4271963 w 8801100"/>
                  <a:gd name="connsiteY52" fmla="*/ 916781 h 2947988"/>
                  <a:gd name="connsiteX53" fmla="*/ 4250531 w 8801100"/>
                  <a:gd name="connsiteY53" fmla="*/ 878681 h 2947988"/>
                  <a:gd name="connsiteX54" fmla="*/ 4191000 w 8801100"/>
                  <a:gd name="connsiteY54" fmla="*/ 883444 h 2947988"/>
                  <a:gd name="connsiteX55" fmla="*/ 4145756 w 8801100"/>
                  <a:gd name="connsiteY55" fmla="*/ 854869 h 2947988"/>
                  <a:gd name="connsiteX56" fmla="*/ 4107656 w 8801100"/>
                  <a:gd name="connsiteY56" fmla="*/ 852488 h 2947988"/>
                  <a:gd name="connsiteX57" fmla="*/ 4088606 w 8801100"/>
                  <a:gd name="connsiteY57" fmla="*/ 804862 h 2947988"/>
                  <a:gd name="connsiteX58" fmla="*/ 4074319 w 8801100"/>
                  <a:gd name="connsiteY58" fmla="*/ 773906 h 2947988"/>
                  <a:gd name="connsiteX59" fmla="*/ 4029075 w 8801100"/>
                  <a:gd name="connsiteY59" fmla="*/ 783431 h 2947988"/>
                  <a:gd name="connsiteX60" fmla="*/ 4010025 w 8801100"/>
                  <a:gd name="connsiteY60" fmla="*/ 747713 h 2947988"/>
                  <a:gd name="connsiteX61" fmla="*/ 4031457 w 8801100"/>
                  <a:gd name="connsiteY61" fmla="*/ 692944 h 2947988"/>
                  <a:gd name="connsiteX62" fmla="*/ 4000500 w 8801100"/>
                  <a:gd name="connsiteY62" fmla="*/ 666750 h 2947988"/>
                  <a:gd name="connsiteX63" fmla="*/ 4017169 w 8801100"/>
                  <a:gd name="connsiteY63" fmla="*/ 623888 h 2947988"/>
                  <a:gd name="connsiteX64" fmla="*/ 3990975 w 8801100"/>
                  <a:gd name="connsiteY64" fmla="*/ 581025 h 2947988"/>
                  <a:gd name="connsiteX65" fmla="*/ 3986213 w 8801100"/>
                  <a:gd name="connsiteY65" fmla="*/ 519113 h 2947988"/>
                  <a:gd name="connsiteX66" fmla="*/ 4010025 w 8801100"/>
                  <a:gd name="connsiteY66" fmla="*/ 454818 h 2947988"/>
                  <a:gd name="connsiteX67" fmla="*/ 3971925 w 8801100"/>
                  <a:gd name="connsiteY67" fmla="*/ 457200 h 2947988"/>
                  <a:gd name="connsiteX68" fmla="*/ 3852863 w 8801100"/>
                  <a:gd name="connsiteY68" fmla="*/ 400050 h 2947988"/>
                  <a:gd name="connsiteX69" fmla="*/ 3814762 w 8801100"/>
                  <a:gd name="connsiteY69" fmla="*/ 404812 h 2947988"/>
                  <a:gd name="connsiteX70" fmla="*/ 3609975 w 8801100"/>
                  <a:gd name="connsiteY70" fmla="*/ 295275 h 2947988"/>
                  <a:gd name="connsiteX71" fmla="*/ 3505200 w 8801100"/>
                  <a:gd name="connsiteY71" fmla="*/ 264319 h 2947988"/>
                  <a:gd name="connsiteX72" fmla="*/ 3440906 w 8801100"/>
                  <a:gd name="connsiteY72" fmla="*/ 273843 h 2947988"/>
                  <a:gd name="connsiteX73" fmla="*/ 3409950 w 8801100"/>
                  <a:gd name="connsiteY73" fmla="*/ 209550 h 2947988"/>
                  <a:gd name="connsiteX74" fmla="*/ 3352800 w 8801100"/>
                  <a:gd name="connsiteY74" fmla="*/ 209550 h 2947988"/>
                  <a:gd name="connsiteX75" fmla="*/ 3214687 w 8801100"/>
                  <a:gd name="connsiteY75" fmla="*/ 104775 h 2947988"/>
                  <a:gd name="connsiteX76" fmla="*/ 3181350 w 8801100"/>
                  <a:gd name="connsiteY76" fmla="*/ 164307 h 2947988"/>
                  <a:gd name="connsiteX77" fmla="*/ 3126581 w 8801100"/>
                  <a:gd name="connsiteY77" fmla="*/ 233363 h 2947988"/>
                  <a:gd name="connsiteX78" fmla="*/ 3083719 w 8801100"/>
                  <a:gd name="connsiteY78" fmla="*/ 250031 h 2947988"/>
                  <a:gd name="connsiteX79" fmla="*/ 3052763 w 8801100"/>
                  <a:gd name="connsiteY79" fmla="*/ 242888 h 2947988"/>
                  <a:gd name="connsiteX80" fmla="*/ 3028950 w 8801100"/>
                  <a:gd name="connsiteY80" fmla="*/ 271463 h 2947988"/>
                  <a:gd name="connsiteX81" fmla="*/ 3002756 w 8801100"/>
                  <a:gd name="connsiteY81" fmla="*/ 350044 h 2947988"/>
                  <a:gd name="connsiteX82" fmla="*/ 2959894 w 8801100"/>
                  <a:gd name="connsiteY82" fmla="*/ 347663 h 2947988"/>
                  <a:gd name="connsiteX83" fmla="*/ 2928937 w 8801100"/>
                  <a:gd name="connsiteY83" fmla="*/ 409575 h 2947988"/>
                  <a:gd name="connsiteX84" fmla="*/ 2924175 w 8801100"/>
                  <a:gd name="connsiteY84" fmla="*/ 473869 h 2947988"/>
                  <a:gd name="connsiteX85" fmla="*/ 2897982 w 8801100"/>
                  <a:gd name="connsiteY85" fmla="*/ 511969 h 2947988"/>
                  <a:gd name="connsiteX86" fmla="*/ 2924175 w 8801100"/>
                  <a:gd name="connsiteY86" fmla="*/ 571500 h 2947988"/>
                  <a:gd name="connsiteX87" fmla="*/ 2926556 w 8801100"/>
                  <a:gd name="connsiteY87" fmla="*/ 640556 h 2947988"/>
                  <a:gd name="connsiteX88" fmla="*/ 2955131 w 8801100"/>
                  <a:gd name="connsiteY88" fmla="*/ 692944 h 2947988"/>
                  <a:gd name="connsiteX89" fmla="*/ 3002757 w 8801100"/>
                  <a:gd name="connsiteY89" fmla="*/ 747713 h 2947988"/>
                  <a:gd name="connsiteX90" fmla="*/ 2952750 w 8801100"/>
                  <a:gd name="connsiteY90" fmla="*/ 885825 h 2947988"/>
                  <a:gd name="connsiteX91" fmla="*/ 2883694 w 8801100"/>
                  <a:gd name="connsiteY91" fmla="*/ 952500 h 2947988"/>
                  <a:gd name="connsiteX92" fmla="*/ 2812256 w 8801100"/>
                  <a:gd name="connsiteY92" fmla="*/ 947738 h 2947988"/>
                  <a:gd name="connsiteX93" fmla="*/ 2774156 w 8801100"/>
                  <a:gd name="connsiteY93" fmla="*/ 1004888 h 2947988"/>
                  <a:gd name="connsiteX94" fmla="*/ 2714625 w 8801100"/>
                  <a:gd name="connsiteY94" fmla="*/ 1019175 h 2947988"/>
                  <a:gd name="connsiteX95" fmla="*/ 2645569 w 8801100"/>
                  <a:gd name="connsiteY95" fmla="*/ 959644 h 2947988"/>
                  <a:gd name="connsiteX96" fmla="*/ 2590800 w 8801100"/>
                  <a:gd name="connsiteY96" fmla="*/ 931069 h 2947988"/>
                  <a:gd name="connsiteX97" fmla="*/ 2547938 w 8801100"/>
                  <a:gd name="connsiteY97" fmla="*/ 945356 h 2947988"/>
                  <a:gd name="connsiteX98" fmla="*/ 2495550 w 8801100"/>
                  <a:gd name="connsiteY98" fmla="*/ 928688 h 2947988"/>
                  <a:gd name="connsiteX99" fmla="*/ 2428875 w 8801100"/>
                  <a:gd name="connsiteY99" fmla="*/ 873919 h 2947988"/>
                  <a:gd name="connsiteX100" fmla="*/ 2383631 w 8801100"/>
                  <a:gd name="connsiteY100" fmla="*/ 885825 h 2947988"/>
                  <a:gd name="connsiteX101" fmla="*/ 2362200 w 8801100"/>
                  <a:gd name="connsiteY101" fmla="*/ 854869 h 2947988"/>
                  <a:gd name="connsiteX102" fmla="*/ 2305050 w 8801100"/>
                  <a:gd name="connsiteY102" fmla="*/ 895350 h 2947988"/>
                  <a:gd name="connsiteX103" fmla="*/ 2188369 w 8801100"/>
                  <a:gd name="connsiteY103" fmla="*/ 873919 h 2947988"/>
                  <a:gd name="connsiteX104" fmla="*/ 2138363 w 8801100"/>
                  <a:gd name="connsiteY104" fmla="*/ 821531 h 2947988"/>
                  <a:gd name="connsiteX105" fmla="*/ 2095500 w 8801100"/>
                  <a:gd name="connsiteY105" fmla="*/ 807244 h 2947988"/>
                  <a:gd name="connsiteX106" fmla="*/ 2052638 w 8801100"/>
                  <a:gd name="connsiteY106" fmla="*/ 833438 h 2947988"/>
                  <a:gd name="connsiteX107" fmla="*/ 2000250 w 8801100"/>
                  <a:gd name="connsiteY107" fmla="*/ 742950 h 2947988"/>
                  <a:gd name="connsiteX108" fmla="*/ 1990725 w 8801100"/>
                  <a:gd name="connsiteY108" fmla="*/ 595312 h 2947988"/>
                  <a:gd name="connsiteX109" fmla="*/ 1938337 w 8801100"/>
                  <a:gd name="connsiteY109" fmla="*/ 588168 h 2947988"/>
                  <a:gd name="connsiteX110" fmla="*/ 1847850 w 8801100"/>
                  <a:gd name="connsiteY110" fmla="*/ 578644 h 2947988"/>
                  <a:gd name="connsiteX111" fmla="*/ 1793081 w 8801100"/>
                  <a:gd name="connsiteY111" fmla="*/ 540544 h 2947988"/>
                  <a:gd name="connsiteX112" fmla="*/ 1724025 w 8801100"/>
                  <a:gd name="connsiteY112" fmla="*/ 550069 h 2947988"/>
                  <a:gd name="connsiteX113" fmla="*/ 1678781 w 8801100"/>
                  <a:gd name="connsiteY113" fmla="*/ 523875 h 2947988"/>
                  <a:gd name="connsiteX114" fmla="*/ 1669257 w 8801100"/>
                  <a:gd name="connsiteY114" fmla="*/ 452438 h 2947988"/>
                  <a:gd name="connsiteX115" fmla="*/ 1645444 w 8801100"/>
                  <a:gd name="connsiteY115" fmla="*/ 438150 h 2947988"/>
                  <a:gd name="connsiteX116" fmla="*/ 1607344 w 8801100"/>
                  <a:gd name="connsiteY116" fmla="*/ 485774 h 2947988"/>
                  <a:gd name="connsiteX117" fmla="*/ 1528762 w 8801100"/>
                  <a:gd name="connsiteY117" fmla="*/ 411956 h 2947988"/>
                  <a:gd name="connsiteX118" fmla="*/ 1488281 w 8801100"/>
                  <a:gd name="connsiteY118" fmla="*/ 452438 h 2947988"/>
                  <a:gd name="connsiteX119" fmla="*/ 1412081 w 8801100"/>
                  <a:gd name="connsiteY119" fmla="*/ 438150 h 2947988"/>
                  <a:gd name="connsiteX120" fmla="*/ 1333500 w 8801100"/>
                  <a:gd name="connsiteY120" fmla="*/ 464344 h 2947988"/>
                  <a:gd name="connsiteX121" fmla="*/ 1273969 w 8801100"/>
                  <a:gd name="connsiteY121" fmla="*/ 511968 h 2947988"/>
                  <a:gd name="connsiteX122" fmla="*/ 1200150 w 8801100"/>
                  <a:gd name="connsiteY122" fmla="*/ 523875 h 2947988"/>
                  <a:gd name="connsiteX123" fmla="*/ 1164431 w 8801100"/>
                  <a:gd name="connsiteY123" fmla="*/ 516731 h 2947988"/>
                  <a:gd name="connsiteX124" fmla="*/ 1085851 w 8801100"/>
                  <a:gd name="connsiteY124" fmla="*/ 547688 h 2947988"/>
                  <a:gd name="connsiteX125" fmla="*/ 1064419 w 8801100"/>
                  <a:gd name="connsiteY125" fmla="*/ 576263 h 2947988"/>
                  <a:gd name="connsiteX126" fmla="*/ 997744 w 8801100"/>
                  <a:gd name="connsiteY126" fmla="*/ 566738 h 2947988"/>
                  <a:gd name="connsiteX127" fmla="*/ 928688 w 8801100"/>
                  <a:gd name="connsiteY127" fmla="*/ 590550 h 2947988"/>
                  <a:gd name="connsiteX128" fmla="*/ 873919 w 8801100"/>
                  <a:gd name="connsiteY128" fmla="*/ 628650 h 2947988"/>
                  <a:gd name="connsiteX129" fmla="*/ 778669 w 8801100"/>
                  <a:gd name="connsiteY129" fmla="*/ 642937 h 2947988"/>
                  <a:gd name="connsiteX130" fmla="*/ 764381 w 8801100"/>
                  <a:gd name="connsiteY130" fmla="*/ 664369 h 2947988"/>
                  <a:gd name="connsiteX131" fmla="*/ 776287 w 8801100"/>
                  <a:gd name="connsiteY131" fmla="*/ 709613 h 2947988"/>
                  <a:gd name="connsiteX132" fmla="*/ 676276 w 8801100"/>
                  <a:gd name="connsiteY132" fmla="*/ 762000 h 2947988"/>
                  <a:gd name="connsiteX133" fmla="*/ 638175 w 8801100"/>
                  <a:gd name="connsiteY133" fmla="*/ 733424 h 2947988"/>
                  <a:gd name="connsiteX134" fmla="*/ 607219 w 8801100"/>
                  <a:gd name="connsiteY134" fmla="*/ 790575 h 2947988"/>
                  <a:gd name="connsiteX135" fmla="*/ 550069 w 8801100"/>
                  <a:gd name="connsiteY135" fmla="*/ 752475 h 2947988"/>
                  <a:gd name="connsiteX136" fmla="*/ 514350 w 8801100"/>
                  <a:gd name="connsiteY136" fmla="*/ 781050 h 2947988"/>
                  <a:gd name="connsiteX137" fmla="*/ 478631 w 8801100"/>
                  <a:gd name="connsiteY137" fmla="*/ 745331 h 2947988"/>
                  <a:gd name="connsiteX138" fmla="*/ 426244 w 8801100"/>
                  <a:gd name="connsiteY138" fmla="*/ 757238 h 2947988"/>
                  <a:gd name="connsiteX139" fmla="*/ 381000 w 8801100"/>
                  <a:gd name="connsiteY139" fmla="*/ 728663 h 2947988"/>
                  <a:gd name="connsiteX140" fmla="*/ 357188 w 8801100"/>
                  <a:gd name="connsiteY140" fmla="*/ 747713 h 2947988"/>
                  <a:gd name="connsiteX141" fmla="*/ 333375 w 8801100"/>
                  <a:gd name="connsiteY141" fmla="*/ 807244 h 2947988"/>
                  <a:gd name="connsiteX142" fmla="*/ 261938 w 8801100"/>
                  <a:gd name="connsiteY142" fmla="*/ 845343 h 2947988"/>
                  <a:gd name="connsiteX143" fmla="*/ 209550 w 8801100"/>
                  <a:gd name="connsiteY143" fmla="*/ 816769 h 2947988"/>
                  <a:gd name="connsiteX144" fmla="*/ 119063 w 8801100"/>
                  <a:gd name="connsiteY144" fmla="*/ 826294 h 2947988"/>
                  <a:gd name="connsiteX145" fmla="*/ 71437 w 8801100"/>
                  <a:gd name="connsiteY145" fmla="*/ 792957 h 2947988"/>
                  <a:gd name="connsiteX146" fmla="*/ 0 w 8801100"/>
                  <a:gd name="connsiteY146" fmla="*/ 812006 h 2947988"/>
                  <a:gd name="connsiteX147" fmla="*/ 4762 w 8801100"/>
                  <a:gd name="connsiteY147" fmla="*/ 0 h 2947988"/>
                  <a:gd name="connsiteX148" fmla="*/ 7186612 w 8801100"/>
                  <a:gd name="connsiteY148" fmla="*/ 2947988 h 2947988"/>
                  <a:gd name="connsiteX149" fmla="*/ 7362825 w 8801100"/>
                  <a:gd name="connsiteY149" fmla="*/ 2809875 h 2947988"/>
                  <a:gd name="connsiteX150" fmla="*/ 7419975 w 8801100"/>
                  <a:gd name="connsiteY150" fmla="*/ 2719387 h 2947988"/>
                  <a:gd name="connsiteX151" fmla="*/ 7446169 w 8801100"/>
                  <a:gd name="connsiteY151" fmla="*/ 2636044 h 2947988"/>
                  <a:gd name="connsiteX152" fmla="*/ 7577137 w 8801100"/>
                  <a:gd name="connsiteY152" fmla="*/ 2636044 h 2947988"/>
                  <a:gd name="connsiteX153" fmla="*/ 7750969 w 8801100"/>
                  <a:gd name="connsiteY153" fmla="*/ 2578893 h 2947988"/>
                  <a:gd name="connsiteX154" fmla="*/ 7810500 w 8801100"/>
                  <a:gd name="connsiteY154" fmla="*/ 2466975 h 2947988"/>
                  <a:gd name="connsiteX155" fmla="*/ 7874794 w 8801100"/>
                  <a:gd name="connsiteY155" fmla="*/ 2431256 h 2947988"/>
                  <a:gd name="connsiteX156" fmla="*/ 7853363 w 8801100"/>
                  <a:gd name="connsiteY156" fmla="*/ 2386013 h 2947988"/>
                  <a:gd name="connsiteX157" fmla="*/ 7931944 w 8801100"/>
                  <a:gd name="connsiteY157" fmla="*/ 2216943 h 2947988"/>
                  <a:gd name="connsiteX158" fmla="*/ 7986713 w 8801100"/>
                  <a:gd name="connsiteY158" fmla="*/ 2157413 h 2947988"/>
                  <a:gd name="connsiteX159" fmla="*/ 8024813 w 8801100"/>
                  <a:gd name="connsiteY159" fmla="*/ 2152650 h 2947988"/>
                  <a:gd name="connsiteX160" fmla="*/ 8070056 w 8801100"/>
                  <a:gd name="connsiteY160" fmla="*/ 2157413 h 2947988"/>
                  <a:gd name="connsiteX161" fmla="*/ 8134350 w 8801100"/>
                  <a:gd name="connsiteY161" fmla="*/ 2124075 h 2947988"/>
                  <a:gd name="connsiteX162" fmla="*/ 8143875 w 8801100"/>
                  <a:gd name="connsiteY162" fmla="*/ 2059781 h 2947988"/>
                  <a:gd name="connsiteX163" fmla="*/ 8184355 w 8801100"/>
                  <a:gd name="connsiteY163" fmla="*/ 2024063 h 2947988"/>
                  <a:gd name="connsiteX164" fmla="*/ 8243888 w 8801100"/>
                  <a:gd name="connsiteY164" fmla="*/ 2064543 h 2947988"/>
                  <a:gd name="connsiteX165" fmla="*/ 8270082 w 8801100"/>
                  <a:gd name="connsiteY165" fmla="*/ 2014537 h 2947988"/>
                  <a:gd name="connsiteX166" fmla="*/ 8365331 w 8801100"/>
                  <a:gd name="connsiteY166" fmla="*/ 1945481 h 2947988"/>
                  <a:gd name="connsiteX167" fmla="*/ 8427244 w 8801100"/>
                  <a:gd name="connsiteY167" fmla="*/ 1952625 h 2947988"/>
                  <a:gd name="connsiteX168" fmla="*/ 8477250 w 8801100"/>
                  <a:gd name="connsiteY168" fmla="*/ 1933575 h 2947988"/>
                  <a:gd name="connsiteX169" fmla="*/ 8515350 w 8801100"/>
                  <a:gd name="connsiteY169" fmla="*/ 1905000 h 2947988"/>
                  <a:gd name="connsiteX170" fmla="*/ 8548688 w 8801100"/>
                  <a:gd name="connsiteY170" fmla="*/ 1902619 h 2947988"/>
                  <a:gd name="connsiteX171" fmla="*/ 8584406 w 8801100"/>
                  <a:gd name="connsiteY171" fmla="*/ 1933575 h 2947988"/>
                  <a:gd name="connsiteX172" fmla="*/ 8643938 w 8801100"/>
                  <a:gd name="connsiteY172" fmla="*/ 1933575 h 2947988"/>
                  <a:gd name="connsiteX173" fmla="*/ 8682037 w 8801100"/>
                  <a:gd name="connsiteY173" fmla="*/ 1914525 h 2947988"/>
                  <a:gd name="connsiteX174" fmla="*/ 8765381 w 8801100"/>
                  <a:gd name="connsiteY174" fmla="*/ 1916907 h 2947988"/>
                  <a:gd name="connsiteX175" fmla="*/ 8796338 w 8801100"/>
                  <a:gd name="connsiteY175" fmla="*/ 1871663 h 2947988"/>
                  <a:gd name="connsiteX176" fmla="*/ 8801100 w 8801100"/>
                  <a:gd name="connsiteY176" fmla="*/ 1809750 h 2947988"/>
                  <a:gd name="connsiteX177" fmla="*/ 8751093 w 8801100"/>
                  <a:gd name="connsiteY177" fmla="*/ 1769269 h 2947988"/>
                  <a:gd name="connsiteX178" fmla="*/ 8734425 w 8801100"/>
                  <a:gd name="connsiteY178" fmla="*/ 1714500 h 2947988"/>
                  <a:gd name="connsiteX179" fmla="*/ 8643938 w 8801100"/>
                  <a:gd name="connsiteY179" fmla="*/ 1652588 h 2947988"/>
                  <a:gd name="connsiteX180" fmla="*/ 8603456 w 8801100"/>
                  <a:gd name="connsiteY180" fmla="*/ 1631156 h 2947988"/>
                  <a:gd name="connsiteX181" fmla="*/ 8565356 w 8801100"/>
                  <a:gd name="connsiteY181" fmla="*/ 1585913 h 2947988"/>
                  <a:gd name="connsiteX182" fmla="*/ 8534400 w 8801100"/>
                  <a:gd name="connsiteY182" fmla="*/ 1583531 h 2947988"/>
                  <a:gd name="connsiteX183" fmla="*/ 8517731 w 8801100"/>
                  <a:gd name="connsiteY183" fmla="*/ 1531144 h 2947988"/>
                  <a:gd name="connsiteX184" fmla="*/ 8477250 w 8801100"/>
                  <a:gd name="connsiteY184" fmla="*/ 1514475 h 2947988"/>
                  <a:gd name="connsiteX185" fmla="*/ 8477250 w 8801100"/>
                  <a:gd name="connsiteY185" fmla="*/ 1514475 h 2947988"/>
                  <a:gd name="connsiteX186" fmla="*/ 8436769 w 8801100"/>
                  <a:gd name="connsiteY186" fmla="*/ 1519238 h 2947988"/>
                  <a:gd name="connsiteX187" fmla="*/ 8351043 w 8801100"/>
                  <a:gd name="connsiteY187" fmla="*/ 1445419 h 2947988"/>
                  <a:gd name="connsiteX188" fmla="*/ 8170069 w 8801100"/>
                  <a:gd name="connsiteY188" fmla="*/ 1445418 h 2947988"/>
                  <a:gd name="connsiteX189" fmla="*/ 8117681 w 8801100"/>
                  <a:gd name="connsiteY189" fmla="*/ 1483519 h 2947988"/>
                  <a:gd name="connsiteX190" fmla="*/ 8067675 w 8801100"/>
                  <a:gd name="connsiteY190" fmla="*/ 1562100 h 2947988"/>
                  <a:gd name="connsiteX191" fmla="*/ 8084344 w 8801100"/>
                  <a:gd name="connsiteY191" fmla="*/ 1583531 h 2947988"/>
                  <a:gd name="connsiteX192" fmla="*/ 8039100 w 8801100"/>
                  <a:gd name="connsiteY192" fmla="*/ 1633537 h 2947988"/>
                  <a:gd name="connsiteX193" fmla="*/ 7889081 w 8801100"/>
                  <a:gd name="connsiteY193" fmla="*/ 1557337 h 2947988"/>
                  <a:gd name="connsiteX194" fmla="*/ 7798594 w 8801100"/>
                  <a:gd name="connsiteY194" fmla="*/ 1593056 h 2947988"/>
                  <a:gd name="connsiteX195" fmla="*/ 7724775 w 8801100"/>
                  <a:gd name="connsiteY195" fmla="*/ 1590675 h 2947988"/>
                  <a:gd name="connsiteX196" fmla="*/ 7667625 w 8801100"/>
                  <a:gd name="connsiteY196" fmla="*/ 1685925 h 2947988"/>
                  <a:gd name="connsiteX197" fmla="*/ 7529513 w 8801100"/>
                  <a:gd name="connsiteY197" fmla="*/ 1588294 h 2947988"/>
                  <a:gd name="connsiteX0" fmla="*/ 7529513 w 8801100"/>
                  <a:gd name="connsiteY0" fmla="*/ 1588294 h 2809875"/>
                  <a:gd name="connsiteX1" fmla="*/ 7522369 w 8801100"/>
                  <a:gd name="connsiteY1" fmla="*/ 1533525 h 2809875"/>
                  <a:gd name="connsiteX2" fmla="*/ 7589044 w 8801100"/>
                  <a:gd name="connsiteY2" fmla="*/ 1459706 h 2809875"/>
                  <a:gd name="connsiteX3" fmla="*/ 7572375 w 8801100"/>
                  <a:gd name="connsiteY3" fmla="*/ 1388269 h 2809875"/>
                  <a:gd name="connsiteX4" fmla="*/ 7586663 w 8801100"/>
                  <a:gd name="connsiteY4" fmla="*/ 1293019 h 2809875"/>
                  <a:gd name="connsiteX5" fmla="*/ 7624763 w 8801100"/>
                  <a:gd name="connsiteY5" fmla="*/ 1235869 h 2809875"/>
                  <a:gd name="connsiteX6" fmla="*/ 7605712 w 8801100"/>
                  <a:gd name="connsiteY6" fmla="*/ 1202531 h 2809875"/>
                  <a:gd name="connsiteX7" fmla="*/ 7703343 w 8801100"/>
                  <a:gd name="connsiteY7" fmla="*/ 802481 h 2809875"/>
                  <a:gd name="connsiteX8" fmla="*/ 7696200 w 8801100"/>
                  <a:gd name="connsiteY8" fmla="*/ 773906 h 2809875"/>
                  <a:gd name="connsiteX9" fmla="*/ 7567613 w 8801100"/>
                  <a:gd name="connsiteY9" fmla="*/ 752475 h 2809875"/>
                  <a:gd name="connsiteX10" fmla="*/ 7384257 w 8801100"/>
                  <a:gd name="connsiteY10" fmla="*/ 831056 h 2809875"/>
                  <a:gd name="connsiteX11" fmla="*/ 7227093 w 8801100"/>
                  <a:gd name="connsiteY11" fmla="*/ 716756 h 2809875"/>
                  <a:gd name="connsiteX12" fmla="*/ 7150894 w 8801100"/>
                  <a:gd name="connsiteY12" fmla="*/ 723900 h 2809875"/>
                  <a:gd name="connsiteX13" fmla="*/ 7077075 w 8801100"/>
                  <a:gd name="connsiteY13" fmla="*/ 719138 h 2809875"/>
                  <a:gd name="connsiteX14" fmla="*/ 6938963 w 8801100"/>
                  <a:gd name="connsiteY14" fmla="*/ 823913 h 2809875"/>
                  <a:gd name="connsiteX15" fmla="*/ 6831806 w 8801100"/>
                  <a:gd name="connsiteY15" fmla="*/ 931069 h 2809875"/>
                  <a:gd name="connsiteX16" fmla="*/ 6788944 w 8801100"/>
                  <a:gd name="connsiteY16" fmla="*/ 1000125 h 2809875"/>
                  <a:gd name="connsiteX17" fmla="*/ 6796088 w 8801100"/>
                  <a:gd name="connsiteY17" fmla="*/ 1035844 h 2809875"/>
                  <a:gd name="connsiteX18" fmla="*/ 6734175 w 8801100"/>
                  <a:gd name="connsiteY18" fmla="*/ 1047750 h 2809875"/>
                  <a:gd name="connsiteX19" fmla="*/ 6753225 w 8801100"/>
                  <a:gd name="connsiteY19" fmla="*/ 1047750 h 2809875"/>
                  <a:gd name="connsiteX20" fmla="*/ 6719888 w 8801100"/>
                  <a:gd name="connsiteY20" fmla="*/ 1078706 h 2809875"/>
                  <a:gd name="connsiteX21" fmla="*/ 6619875 w 8801100"/>
                  <a:gd name="connsiteY21" fmla="*/ 1078707 h 2809875"/>
                  <a:gd name="connsiteX22" fmla="*/ 6524625 w 8801100"/>
                  <a:gd name="connsiteY22" fmla="*/ 1133475 h 2809875"/>
                  <a:gd name="connsiteX23" fmla="*/ 6443663 w 8801100"/>
                  <a:gd name="connsiteY23" fmla="*/ 1143000 h 2809875"/>
                  <a:gd name="connsiteX24" fmla="*/ 6403181 w 8801100"/>
                  <a:gd name="connsiteY24" fmla="*/ 1176338 h 2809875"/>
                  <a:gd name="connsiteX25" fmla="*/ 6353175 w 8801100"/>
                  <a:gd name="connsiteY25" fmla="*/ 1181100 h 2809875"/>
                  <a:gd name="connsiteX26" fmla="*/ 6231732 w 8801100"/>
                  <a:gd name="connsiteY26" fmla="*/ 1273969 h 2809875"/>
                  <a:gd name="connsiteX27" fmla="*/ 6172200 w 8801100"/>
                  <a:gd name="connsiteY27" fmla="*/ 1278731 h 2809875"/>
                  <a:gd name="connsiteX28" fmla="*/ 6119813 w 8801100"/>
                  <a:gd name="connsiteY28" fmla="*/ 1243013 h 2809875"/>
                  <a:gd name="connsiteX29" fmla="*/ 6093619 w 8801100"/>
                  <a:gd name="connsiteY29" fmla="*/ 1278731 h 2809875"/>
                  <a:gd name="connsiteX30" fmla="*/ 5895975 w 8801100"/>
                  <a:gd name="connsiteY30" fmla="*/ 1271588 h 2809875"/>
                  <a:gd name="connsiteX31" fmla="*/ 5834063 w 8801100"/>
                  <a:gd name="connsiteY31" fmla="*/ 1226344 h 2809875"/>
                  <a:gd name="connsiteX32" fmla="*/ 5636419 w 8801100"/>
                  <a:gd name="connsiteY32" fmla="*/ 1243013 h 2809875"/>
                  <a:gd name="connsiteX33" fmla="*/ 5548313 w 8801100"/>
                  <a:gd name="connsiteY33" fmla="*/ 1159668 h 2809875"/>
                  <a:gd name="connsiteX34" fmla="*/ 5472113 w 8801100"/>
                  <a:gd name="connsiteY34" fmla="*/ 1114425 h 2809875"/>
                  <a:gd name="connsiteX35" fmla="*/ 5474493 w 8801100"/>
                  <a:gd name="connsiteY35" fmla="*/ 1057275 h 2809875"/>
                  <a:gd name="connsiteX36" fmla="*/ 5455444 w 8801100"/>
                  <a:gd name="connsiteY36" fmla="*/ 1014412 h 2809875"/>
                  <a:gd name="connsiteX37" fmla="*/ 5360194 w 8801100"/>
                  <a:gd name="connsiteY37" fmla="*/ 1016794 h 2809875"/>
                  <a:gd name="connsiteX38" fmla="*/ 5264944 w 8801100"/>
                  <a:gd name="connsiteY38" fmla="*/ 995363 h 2809875"/>
                  <a:gd name="connsiteX39" fmla="*/ 5195887 w 8801100"/>
                  <a:gd name="connsiteY39" fmla="*/ 928687 h 2809875"/>
                  <a:gd name="connsiteX40" fmla="*/ 5160169 w 8801100"/>
                  <a:gd name="connsiteY40" fmla="*/ 885825 h 2809875"/>
                  <a:gd name="connsiteX41" fmla="*/ 5079206 w 8801100"/>
                  <a:gd name="connsiteY41" fmla="*/ 862012 h 2809875"/>
                  <a:gd name="connsiteX42" fmla="*/ 5005388 w 8801100"/>
                  <a:gd name="connsiteY42" fmla="*/ 873918 h 2809875"/>
                  <a:gd name="connsiteX43" fmla="*/ 4948237 w 8801100"/>
                  <a:gd name="connsiteY43" fmla="*/ 821531 h 2809875"/>
                  <a:gd name="connsiteX44" fmla="*/ 4852988 w 8801100"/>
                  <a:gd name="connsiteY44" fmla="*/ 833438 h 2809875"/>
                  <a:gd name="connsiteX45" fmla="*/ 4800600 w 8801100"/>
                  <a:gd name="connsiteY45" fmla="*/ 807244 h 2809875"/>
                  <a:gd name="connsiteX46" fmla="*/ 4719638 w 8801100"/>
                  <a:gd name="connsiteY46" fmla="*/ 850106 h 2809875"/>
                  <a:gd name="connsiteX47" fmla="*/ 4581525 w 8801100"/>
                  <a:gd name="connsiteY47" fmla="*/ 873919 h 2809875"/>
                  <a:gd name="connsiteX48" fmla="*/ 4452938 w 8801100"/>
                  <a:gd name="connsiteY48" fmla="*/ 966788 h 2809875"/>
                  <a:gd name="connsiteX49" fmla="*/ 4405312 w 8801100"/>
                  <a:gd name="connsiteY49" fmla="*/ 928688 h 2809875"/>
                  <a:gd name="connsiteX50" fmla="*/ 4383881 w 8801100"/>
                  <a:gd name="connsiteY50" fmla="*/ 959643 h 2809875"/>
                  <a:gd name="connsiteX51" fmla="*/ 4310063 w 8801100"/>
                  <a:gd name="connsiteY51" fmla="*/ 909638 h 2809875"/>
                  <a:gd name="connsiteX52" fmla="*/ 4271963 w 8801100"/>
                  <a:gd name="connsiteY52" fmla="*/ 916781 h 2809875"/>
                  <a:gd name="connsiteX53" fmla="*/ 4250531 w 8801100"/>
                  <a:gd name="connsiteY53" fmla="*/ 878681 h 2809875"/>
                  <a:gd name="connsiteX54" fmla="*/ 4191000 w 8801100"/>
                  <a:gd name="connsiteY54" fmla="*/ 883444 h 2809875"/>
                  <a:gd name="connsiteX55" fmla="*/ 4145756 w 8801100"/>
                  <a:gd name="connsiteY55" fmla="*/ 854869 h 2809875"/>
                  <a:gd name="connsiteX56" fmla="*/ 4107656 w 8801100"/>
                  <a:gd name="connsiteY56" fmla="*/ 852488 h 2809875"/>
                  <a:gd name="connsiteX57" fmla="*/ 4088606 w 8801100"/>
                  <a:gd name="connsiteY57" fmla="*/ 804862 h 2809875"/>
                  <a:gd name="connsiteX58" fmla="*/ 4074319 w 8801100"/>
                  <a:gd name="connsiteY58" fmla="*/ 773906 h 2809875"/>
                  <a:gd name="connsiteX59" fmla="*/ 4029075 w 8801100"/>
                  <a:gd name="connsiteY59" fmla="*/ 783431 h 2809875"/>
                  <a:gd name="connsiteX60" fmla="*/ 4010025 w 8801100"/>
                  <a:gd name="connsiteY60" fmla="*/ 747713 h 2809875"/>
                  <a:gd name="connsiteX61" fmla="*/ 4031457 w 8801100"/>
                  <a:gd name="connsiteY61" fmla="*/ 692944 h 2809875"/>
                  <a:gd name="connsiteX62" fmla="*/ 4000500 w 8801100"/>
                  <a:gd name="connsiteY62" fmla="*/ 666750 h 2809875"/>
                  <a:gd name="connsiteX63" fmla="*/ 4017169 w 8801100"/>
                  <a:gd name="connsiteY63" fmla="*/ 623888 h 2809875"/>
                  <a:gd name="connsiteX64" fmla="*/ 3990975 w 8801100"/>
                  <a:gd name="connsiteY64" fmla="*/ 581025 h 2809875"/>
                  <a:gd name="connsiteX65" fmla="*/ 3986213 w 8801100"/>
                  <a:gd name="connsiteY65" fmla="*/ 519113 h 2809875"/>
                  <a:gd name="connsiteX66" fmla="*/ 4010025 w 8801100"/>
                  <a:gd name="connsiteY66" fmla="*/ 454818 h 2809875"/>
                  <a:gd name="connsiteX67" fmla="*/ 3971925 w 8801100"/>
                  <a:gd name="connsiteY67" fmla="*/ 457200 h 2809875"/>
                  <a:gd name="connsiteX68" fmla="*/ 3852863 w 8801100"/>
                  <a:gd name="connsiteY68" fmla="*/ 400050 h 2809875"/>
                  <a:gd name="connsiteX69" fmla="*/ 3814762 w 8801100"/>
                  <a:gd name="connsiteY69" fmla="*/ 404812 h 2809875"/>
                  <a:gd name="connsiteX70" fmla="*/ 3609975 w 8801100"/>
                  <a:gd name="connsiteY70" fmla="*/ 295275 h 2809875"/>
                  <a:gd name="connsiteX71" fmla="*/ 3505200 w 8801100"/>
                  <a:gd name="connsiteY71" fmla="*/ 264319 h 2809875"/>
                  <a:gd name="connsiteX72" fmla="*/ 3440906 w 8801100"/>
                  <a:gd name="connsiteY72" fmla="*/ 273843 h 2809875"/>
                  <a:gd name="connsiteX73" fmla="*/ 3409950 w 8801100"/>
                  <a:gd name="connsiteY73" fmla="*/ 209550 h 2809875"/>
                  <a:gd name="connsiteX74" fmla="*/ 3352800 w 8801100"/>
                  <a:gd name="connsiteY74" fmla="*/ 209550 h 2809875"/>
                  <a:gd name="connsiteX75" fmla="*/ 3214687 w 8801100"/>
                  <a:gd name="connsiteY75" fmla="*/ 104775 h 2809875"/>
                  <a:gd name="connsiteX76" fmla="*/ 3181350 w 8801100"/>
                  <a:gd name="connsiteY76" fmla="*/ 164307 h 2809875"/>
                  <a:gd name="connsiteX77" fmla="*/ 3126581 w 8801100"/>
                  <a:gd name="connsiteY77" fmla="*/ 233363 h 2809875"/>
                  <a:gd name="connsiteX78" fmla="*/ 3083719 w 8801100"/>
                  <a:gd name="connsiteY78" fmla="*/ 250031 h 2809875"/>
                  <a:gd name="connsiteX79" fmla="*/ 3052763 w 8801100"/>
                  <a:gd name="connsiteY79" fmla="*/ 242888 h 2809875"/>
                  <a:gd name="connsiteX80" fmla="*/ 3028950 w 8801100"/>
                  <a:gd name="connsiteY80" fmla="*/ 271463 h 2809875"/>
                  <a:gd name="connsiteX81" fmla="*/ 3002756 w 8801100"/>
                  <a:gd name="connsiteY81" fmla="*/ 350044 h 2809875"/>
                  <a:gd name="connsiteX82" fmla="*/ 2959894 w 8801100"/>
                  <a:gd name="connsiteY82" fmla="*/ 347663 h 2809875"/>
                  <a:gd name="connsiteX83" fmla="*/ 2928937 w 8801100"/>
                  <a:gd name="connsiteY83" fmla="*/ 409575 h 2809875"/>
                  <a:gd name="connsiteX84" fmla="*/ 2924175 w 8801100"/>
                  <a:gd name="connsiteY84" fmla="*/ 473869 h 2809875"/>
                  <a:gd name="connsiteX85" fmla="*/ 2897982 w 8801100"/>
                  <a:gd name="connsiteY85" fmla="*/ 511969 h 2809875"/>
                  <a:gd name="connsiteX86" fmla="*/ 2924175 w 8801100"/>
                  <a:gd name="connsiteY86" fmla="*/ 571500 h 2809875"/>
                  <a:gd name="connsiteX87" fmla="*/ 2926556 w 8801100"/>
                  <a:gd name="connsiteY87" fmla="*/ 640556 h 2809875"/>
                  <a:gd name="connsiteX88" fmla="*/ 2955131 w 8801100"/>
                  <a:gd name="connsiteY88" fmla="*/ 692944 h 2809875"/>
                  <a:gd name="connsiteX89" fmla="*/ 3002757 w 8801100"/>
                  <a:gd name="connsiteY89" fmla="*/ 747713 h 2809875"/>
                  <a:gd name="connsiteX90" fmla="*/ 2952750 w 8801100"/>
                  <a:gd name="connsiteY90" fmla="*/ 885825 h 2809875"/>
                  <a:gd name="connsiteX91" fmla="*/ 2883694 w 8801100"/>
                  <a:gd name="connsiteY91" fmla="*/ 952500 h 2809875"/>
                  <a:gd name="connsiteX92" fmla="*/ 2812256 w 8801100"/>
                  <a:gd name="connsiteY92" fmla="*/ 947738 h 2809875"/>
                  <a:gd name="connsiteX93" fmla="*/ 2774156 w 8801100"/>
                  <a:gd name="connsiteY93" fmla="*/ 1004888 h 2809875"/>
                  <a:gd name="connsiteX94" fmla="*/ 2714625 w 8801100"/>
                  <a:gd name="connsiteY94" fmla="*/ 1019175 h 2809875"/>
                  <a:gd name="connsiteX95" fmla="*/ 2645569 w 8801100"/>
                  <a:gd name="connsiteY95" fmla="*/ 959644 h 2809875"/>
                  <a:gd name="connsiteX96" fmla="*/ 2590800 w 8801100"/>
                  <a:gd name="connsiteY96" fmla="*/ 931069 h 2809875"/>
                  <a:gd name="connsiteX97" fmla="*/ 2547938 w 8801100"/>
                  <a:gd name="connsiteY97" fmla="*/ 945356 h 2809875"/>
                  <a:gd name="connsiteX98" fmla="*/ 2495550 w 8801100"/>
                  <a:gd name="connsiteY98" fmla="*/ 928688 h 2809875"/>
                  <a:gd name="connsiteX99" fmla="*/ 2428875 w 8801100"/>
                  <a:gd name="connsiteY99" fmla="*/ 873919 h 2809875"/>
                  <a:gd name="connsiteX100" fmla="*/ 2383631 w 8801100"/>
                  <a:gd name="connsiteY100" fmla="*/ 885825 h 2809875"/>
                  <a:gd name="connsiteX101" fmla="*/ 2362200 w 8801100"/>
                  <a:gd name="connsiteY101" fmla="*/ 854869 h 2809875"/>
                  <a:gd name="connsiteX102" fmla="*/ 2305050 w 8801100"/>
                  <a:gd name="connsiteY102" fmla="*/ 895350 h 2809875"/>
                  <a:gd name="connsiteX103" fmla="*/ 2188369 w 8801100"/>
                  <a:gd name="connsiteY103" fmla="*/ 873919 h 2809875"/>
                  <a:gd name="connsiteX104" fmla="*/ 2138363 w 8801100"/>
                  <a:gd name="connsiteY104" fmla="*/ 821531 h 2809875"/>
                  <a:gd name="connsiteX105" fmla="*/ 2095500 w 8801100"/>
                  <a:gd name="connsiteY105" fmla="*/ 807244 h 2809875"/>
                  <a:gd name="connsiteX106" fmla="*/ 2052638 w 8801100"/>
                  <a:gd name="connsiteY106" fmla="*/ 833438 h 2809875"/>
                  <a:gd name="connsiteX107" fmla="*/ 2000250 w 8801100"/>
                  <a:gd name="connsiteY107" fmla="*/ 742950 h 2809875"/>
                  <a:gd name="connsiteX108" fmla="*/ 1990725 w 8801100"/>
                  <a:gd name="connsiteY108" fmla="*/ 595312 h 2809875"/>
                  <a:gd name="connsiteX109" fmla="*/ 1938337 w 8801100"/>
                  <a:gd name="connsiteY109" fmla="*/ 588168 h 2809875"/>
                  <a:gd name="connsiteX110" fmla="*/ 1847850 w 8801100"/>
                  <a:gd name="connsiteY110" fmla="*/ 578644 h 2809875"/>
                  <a:gd name="connsiteX111" fmla="*/ 1793081 w 8801100"/>
                  <a:gd name="connsiteY111" fmla="*/ 540544 h 2809875"/>
                  <a:gd name="connsiteX112" fmla="*/ 1724025 w 8801100"/>
                  <a:gd name="connsiteY112" fmla="*/ 550069 h 2809875"/>
                  <a:gd name="connsiteX113" fmla="*/ 1678781 w 8801100"/>
                  <a:gd name="connsiteY113" fmla="*/ 523875 h 2809875"/>
                  <a:gd name="connsiteX114" fmla="*/ 1669257 w 8801100"/>
                  <a:gd name="connsiteY114" fmla="*/ 452438 h 2809875"/>
                  <a:gd name="connsiteX115" fmla="*/ 1645444 w 8801100"/>
                  <a:gd name="connsiteY115" fmla="*/ 438150 h 2809875"/>
                  <a:gd name="connsiteX116" fmla="*/ 1607344 w 8801100"/>
                  <a:gd name="connsiteY116" fmla="*/ 485774 h 2809875"/>
                  <a:gd name="connsiteX117" fmla="*/ 1528762 w 8801100"/>
                  <a:gd name="connsiteY117" fmla="*/ 411956 h 2809875"/>
                  <a:gd name="connsiteX118" fmla="*/ 1488281 w 8801100"/>
                  <a:gd name="connsiteY118" fmla="*/ 452438 h 2809875"/>
                  <a:gd name="connsiteX119" fmla="*/ 1412081 w 8801100"/>
                  <a:gd name="connsiteY119" fmla="*/ 438150 h 2809875"/>
                  <a:gd name="connsiteX120" fmla="*/ 1333500 w 8801100"/>
                  <a:gd name="connsiteY120" fmla="*/ 464344 h 2809875"/>
                  <a:gd name="connsiteX121" fmla="*/ 1273969 w 8801100"/>
                  <a:gd name="connsiteY121" fmla="*/ 511968 h 2809875"/>
                  <a:gd name="connsiteX122" fmla="*/ 1200150 w 8801100"/>
                  <a:gd name="connsiteY122" fmla="*/ 523875 h 2809875"/>
                  <a:gd name="connsiteX123" fmla="*/ 1164431 w 8801100"/>
                  <a:gd name="connsiteY123" fmla="*/ 516731 h 2809875"/>
                  <a:gd name="connsiteX124" fmla="*/ 1085851 w 8801100"/>
                  <a:gd name="connsiteY124" fmla="*/ 547688 h 2809875"/>
                  <a:gd name="connsiteX125" fmla="*/ 1064419 w 8801100"/>
                  <a:gd name="connsiteY125" fmla="*/ 576263 h 2809875"/>
                  <a:gd name="connsiteX126" fmla="*/ 997744 w 8801100"/>
                  <a:gd name="connsiteY126" fmla="*/ 566738 h 2809875"/>
                  <a:gd name="connsiteX127" fmla="*/ 928688 w 8801100"/>
                  <a:gd name="connsiteY127" fmla="*/ 590550 h 2809875"/>
                  <a:gd name="connsiteX128" fmla="*/ 873919 w 8801100"/>
                  <a:gd name="connsiteY128" fmla="*/ 628650 h 2809875"/>
                  <a:gd name="connsiteX129" fmla="*/ 778669 w 8801100"/>
                  <a:gd name="connsiteY129" fmla="*/ 642937 h 2809875"/>
                  <a:gd name="connsiteX130" fmla="*/ 764381 w 8801100"/>
                  <a:gd name="connsiteY130" fmla="*/ 664369 h 2809875"/>
                  <a:gd name="connsiteX131" fmla="*/ 776287 w 8801100"/>
                  <a:gd name="connsiteY131" fmla="*/ 709613 h 2809875"/>
                  <a:gd name="connsiteX132" fmla="*/ 676276 w 8801100"/>
                  <a:gd name="connsiteY132" fmla="*/ 762000 h 2809875"/>
                  <a:gd name="connsiteX133" fmla="*/ 638175 w 8801100"/>
                  <a:gd name="connsiteY133" fmla="*/ 733424 h 2809875"/>
                  <a:gd name="connsiteX134" fmla="*/ 607219 w 8801100"/>
                  <a:gd name="connsiteY134" fmla="*/ 790575 h 2809875"/>
                  <a:gd name="connsiteX135" fmla="*/ 550069 w 8801100"/>
                  <a:gd name="connsiteY135" fmla="*/ 752475 h 2809875"/>
                  <a:gd name="connsiteX136" fmla="*/ 514350 w 8801100"/>
                  <a:gd name="connsiteY136" fmla="*/ 781050 h 2809875"/>
                  <a:gd name="connsiteX137" fmla="*/ 478631 w 8801100"/>
                  <a:gd name="connsiteY137" fmla="*/ 745331 h 2809875"/>
                  <a:gd name="connsiteX138" fmla="*/ 426244 w 8801100"/>
                  <a:gd name="connsiteY138" fmla="*/ 757238 h 2809875"/>
                  <a:gd name="connsiteX139" fmla="*/ 381000 w 8801100"/>
                  <a:gd name="connsiteY139" fmla="*/ 728663 h 2809875"/>
                  <a:gd name="connsiteX140" fmla="*/ 357188 w 8801100"/>
                  <a:gd name="connsiteY140" fmla="*/ 747713 h 2809875"/>
                  <a:gd name="connsiteX141" fmla="*/ 333375 w 8801100"/>
                  <a:gd name="connsiteY141" fmla="*/ 807244 h 2809875"/>
                  <a:gd name="connsiteX142" fmla="*/ 261938 w 8801100"/>
                  <a:gd name="connsiteY142" fmla="*/ 845343 h 2809875"/>
                  <a:gd name="connsiteX143" fmla="*/ 209550 w 8801100"/>
                  <a:gd name="connsiteY143" fmla="*/ 816769 h 2809875"/>
                  <a:gd name="connsiteX144" fmla="*/ 119063 w 8801100"/>
                  <a:gd name="connsiteY144" fmla="*/ 826294 h 2809875"/>
                  <a:gd name="connsiteX145" fmla="*/ 71437 w 8801100"/>
                  <a:gd name="connsiteY145" fmla="*/ 792957 h 2809875"/>
                  <a:gd name="connsiteX146" fmla="*/ 0 w 8801100"/>
                  <a:gd name="connsiteY146" fmla="*/ 812006 h 2809875"/>
                  <a:gd name="connsiteX147" fmla="*/ 4762 w 8801100"/>
                  <a:gd name="connsiteY147" fmla="*/ 0 h 2809875"/>
                  <a:gd name="connsiteX148" fmla="*/ 7362825 w 8801100"/>
                  <a:gd name="connsiteY148" fmla="*/ 2809875 h 2809875"/>
                  <a:gd name="connsiteX149" fmla="*/ 7419975 w 8801100"/>
                  <a:gd name="connsiteY149" fmla="*/ 2719387 h 2809875"/>
                  <a:gd name="connsiteX150" fmla="*/ 7446169 w 8801100"/>
                  <a:gd name="connsiteY150" fmla="*/ 2636044 h 2809875"/>
                  <a:gd name="connsiteX151" fmla="*/ 7577137 w 8801100"/>
                  <a:gd name="connsiteY151" fmla="*/ 2636044 h 2809875"/>
                  <a:gd name="connsiteX152" fmla="*/ 7750969 w 8801100"/>
                  <a:gd name="connsiteY152" fmla="*/ 2578893 h 2809875"/>
                  <a:gd name="connsiteX153" fmla="*/ 7810500 w 8801100"/>
                  <a:gd name="connsiteY153" fmla="*/ 2466975 h 2809875"/>
                  <a:gd name="connsiteX154" fmla="*/ 7874794 w 8801100"/>
                  <a:gd name="connsiteY154" fmla="*/ 2431256 h 2809875"/>
                  <a:gd name="connsiteX155" fmla="*/ 7853363 w 8801100"/>
                  <a:gd name="connsiteY155" fmla="*/ 2386013 h 2809875"/>
                  <a:gd name="connsiteX156" fmla="*/ 7931944 w 8801100"/>
                  <a:gd name="connsiteY156" fmla="*/ 2216943 h 2809875"/>
                  <a:gd name="connsiteX157" fmla="*/ 7986713 w 8801100"/>
                  <a:gd name="connsiteY157" fmla="*/ 2157413 h 2809875"/>
                  <a:gd name="connsiteX158" fmla="*/ 8024813 w 8801100"/>
                  <a:gd name="connsiteY158" fmla="*/ 2152650 h 2809875"/>
                  <a:gd name="connsiteX159" fmla="*/ 8070056 w 8801100"/>
                  <a:gd name="connsiteY159" fmla="*/ 2157413 h 2809875"/>
                  <a:gd name="connsiteX160" fmla="*/ 8134350 w 8801100"/>
                  <a:gd name="connsiteY160" fmla="*/ 2124075 h 2809875"/>
                  <a:gd name="connsiteX161" fmla="*/ 8143875 w 8801100"/>
                  <a:gd name="connsiteY161" fmla="*/ 2059781 h 2809875"/>
                  <a:gd name="connsiteX162" fmla="*/ 8184355 w 8801100"/>
                  <a:gd name="connsiteY162" fmla="*/ 2024063 h 2809875"/>
                  <a:gd name="connsiteX163" fmla="*/ 8243888 w 8801100"/>
                  <a:gd name="connsiteY163" fmla="*/ 2064543 h 2809875"/>
                  <a:gd name="connsiteX164" fmla="*/ 8270082 w 8801100"/>
                  <a:gd name="connsiteY164" fmla="*/ 2014537 h 2809875"/>
                  <a:gd name="connsiteX165" fmla="*/ 8365331 w 8801100"/>
                  <a:gd name="connsiteY165" fmla="*/ 1945481 h 2809875"/>
                  <a:gd name="connsiteX166" fmla="*/ 8427244 w 8801100"/>
                  <a:gd name="connsiteY166" fmla="*/ 1952625 h 2809875"/>
                  <a:gd name="connsiteX167" fmla="*/ 8477250 w 8801100"/>
                  <a:gd name="connsiteY167" fmla="*/ 1933575 h 2809875"/>
                  <a:gd name="connsiteX168" fmla="*/ 8515350 w 8801100"/>
                  <a:gd name="connsiteY168" fmla="*/ 1905000 h 2809875"/>
                  <a:gd name="connsiteX169" fmla="*/ 8548688 w 8801100"/>
                  <a:gd name="connsiteY169" fmla="*/ 1902619 h 2809875"/>
                  <a:gd name="connsiteX170" fmla="*/ 8584406 w 8801100"/>
                  <a:gd name="connsiteY170" fmla="*/ 1933575 h 2809875"/>
                  <a:gd name="connsiteX171" fmla="*/ 8643938 w 8801100"/>
                  <a:gd name="connsiteY171" fmla="*/ 1933575 h 2809875"/>
                  <a:gd name="connsiteX172" fmla="*/ 8682037 w 8801100"/>
                  <a:gd name="connsiteY172" fmla="*/ 1914525 h 2809875"/>
                  <a:gd name="connsiteX173" fmla="*/ 8765381 w 8801100"/>
                  <a:gd name="connsiteY173" fmla="*/ 1916907 h 2809875"/>
                  <a:gd name="connsiteX174" fmla="*/ 8796338 w 8801100"/>
                  <a:gd name="connsiteY174" fmla="*/ 1871663 h 2809875"/>
                  <a:gd name="connsiteX175" fmla="*/ 8801100 w 8801100"/>
                  <a:gd name="connsiteY175" fmla="*/ 1809750 h 2809875"/>
                  <a:gd name="connsiteX176" fmla="*/ 8751093 w 8801100"/>
                  <a:gd name="connsiteY176" fmla="*/ 1769269 h 2809875"/>
                  <a:gd name="connsiteX177" fmla="*/ 8734425 w 8801100"/>
                  <a:gd name="connsiteY177" fmla="*/ 1714500 h 2809875"/>
                  <a:gd name="connsiteX178" fmla="*/ 8643938 w 8801100"/>
                  <a:gd name="connsiteY178" fmla="*/ 1652588 h 2809875"/>
                  <a:gd name="connsiteX179" fmla="*/ 8603456 w 8801100"/>
                  <a:gd name="connsiteY179" fmla="*/ 1631156 h 2809875"/>
                  <a:gd name="connsiteX180" fmla="*/ 8565356 w 8801100"/>
                  <a:gd name="connsiteY180" fmla="*/ 1585913 h 2809875"/>
                  <a:gd name="connsiteX181" fmla="*/ 8534400 w 8801100"/>
                  <a:gd name="connsiteY181" fmla="*/ 1583531 h 2809875"/>
                  <a:gd name="connsiteX182" fmla="*/ 8517731 w 8801100"/>
                  <a:gd name="connsiteY182" fmla="*/ 1531144 h 2809875"/>
                  <a:gd name="connsiteX183" fmla="*/ 8477250 w 8801100"/>
                  <a:gd name="connsiteY183" fmla="*/ 1514475 h 2809875"/>
                  <a:gd name="connsiteX184" fmla="*/ 8477250 w 8801100"/>
                  <a:gd name="connsiteY184" fmla="*/ 1514475 h 2809875"/>
                  <a:gd name="connsiteX185" fmla="*/ 8436769 w 8801100"/>
                  <a:gd name="connsiteY185" fmla="*/ 1519238 h 2809875"/>
                  <a:gd name="connsiteX186" fmla="*/ 8351043 w 8801100"/>
                  <a:gd name="connsiteY186" fmla="*/ 1445419 h 2809875"/>
                  <a:gd name="connsiteX187" fmla="*/ 8170069 w 8801100"/>
                  <a:gd name="connsiteY187" fmla="*/ 1445418 h 2809875"/>
                  <a:gd name="connsiteX188" fmla="*/ 8117681 w 8801100"/>
                  <a:gd name="connsiteY188" fmla="*/ 1483519 h 2809875"/>
                  <a:gd name="connsiteX189" fmla="*/ 8067675 w 8801100"/>
                  <a:gd name="connsiteY189" fmla="*/ 1562100 h 2809875"/>
                  <a:gd name="connsiteX190" fmla="*/ 8084344 w 8801100"/>
                  <a:gd name="connsiteY190" fmla="*/ 1583531 h 2809875"/>
                  <a:gd name="connsiteX191" fmla="*/ 8039100 w 8801100"/>
                  <a:gd name="connsiteY191" fmla="*/ 1633537 h 2809875"/>
                  <a:gd name="connsiteX192" fmla="*/ 7889081 w 8801100"/>
                  <a:gd name="connsiteY192" fmla="*/ 1557337 h 2809875"/>
                  <a:gd name="connsiteX193" fmla="*/ 7798594 w 8801100"/>
                  <a:gd name="connsiteY193" fmla="*/ 1593056 h 2809875"/>
                  <a:gd name="connsiteX194" fmla="*/ 7724775 w 8801100"/>
                  <a:gd name="connsiteY194" fmla="*/ 1590675 h 2809875"/>
                  <a:gd name="connsiteX195" fmla="*/ 7667625 w 8801100"/>
                  <a:gd name="connsiteY195" fmla="*/ 1685925 h 2809875"/>
                  <a:gd name="connsiteX196" fmla="*/ 7529513 w 8801100"/>
                  <a:gd name="connsiteY196" fmla="*/ 1588294 h 2809875"/>
                  <a:gd name="connsiteX0" fmla="*/ 7529513 w 8801100"/>
                  <a:gd name="connsiteY0" fmla="*/ 1588294 h 2719387"/>
                  <a:gd name="connsiteX1" fmla="*/ 7522369 w 8801100"/>
                  <a:gd name="connsiteY1" fmla="*/ 1533525 h 2719387"/>
                  <a:gd name="connsiteX2" fmla="*/ 7589044 w 8801100"/>
                  <a:gd name="connsiteY2" fmla="*/ 1459706 h 2719387"/>
                  <a:gd name="connsiteX3" fmla="*/ 7572375 w 8801100"/>
                  <a:gd name="connsiteY3" fmla="*/ 1388269 h 2719387"/>
                  <a:gd name="connsiteX4" fmla="*/ 7586663 w 8801100"/>
                  <a:gd name="connsiteY4" fmla="*/ 1293019 h 2719387"/>
                  <a:gd name="connsiteX5" fmla="*/ 7624763 w 8801100"/>
                  <a:gd name="connsiteY5" fmla="*/ 1235869 h 2719387"/>
                  <a:gd name="connsiteX6" fmla="*/ 7605712 w 8801100"/>
                  <a:gd name="connsiteY6" fmla="*/ 1202531 h 2719387"/>
                  <a:gd name="connsiteX7" fmla="*/ 7703343 w 8801100"/>
                  <a:gd name="connsiteY7" fmla="*/ 802481 h 2719387"/>
                  <a:gd name="connsiteX8" fmla="*/ 7696200 w 8801100"/>
                  <a:gd name="connsiteY8" fmla="*/ 773906 h 2719387"/>
                  <a:gd name="connsiteX9" fmla="*/ 7567613 w 8801100"/>
                  <a:gd name="connsiteY9" fmla="*/ 752475 h 2719387"/>
                  <a:gd name="connsiteX10" fmla="*/ 7384257 w 8801100"/>
                  <a:gd name="connsiteY10" fmla="*/ 831056 h 2719387"/>
                  <a:gd name="connsiteX11" fmla="*/ 7227093 w 8801100"/>
                  <a:gd name="connsiteY11" fmla="*/ 716756 h 2719387"/>
                  <a:gd name="connsiteX12" fmla="*/ 7150894 w 8801100"/>
                  <a:gd name="connsiteY12" fmla="*/ 723900 h 2719387"/>
                  <a:gd name="connsiteX13" fmla="*/ 7077075 w 8801100"/>
                  <a:gd name="connsiteY13" fmla="*/ 719138 h 2719387"/>
                  <a:gd name="connsiteX14" fmla="*/ 6938963 w 8801100"/>
                  <a:gd name="connsiteY14" fmla="*/ 823913 h 2719387"/>
                  <a:gd name="connsiteX15" fmla="*/ 6831806 w 8801100"/>
                  <a:gd name="connsiteY15" fmla="*/ 931069 h 2719387"/>
                  <a:gd name="connsiteX16" fmla="*/ 6788944 w 8801100"/>
                  <a:gd name="connsiteY16" fmla="*/ 1000125 h 2719387"/>
                  <a:gd name="connsiteX17" fmla="*/ 6796088 w 8801100"/>
                  <a:gd name="connsiteY17" fmla="*/ 1035844 h 2719387"/>
                  <a:gd name="connsiteX18" fmla="*/ 6734175 w 8801100"/>
                  <a:gd name="connsiteY18" fmla="*/ 1047750 h 2719387"/>
                  <a:gd name="connsiteX19" fmla="*/ 6753225 w 8801100"/>
                  <a:gd name="connsiteY19" fmla="*/ 1047750 h 2719387"/>
                  <a:gd name="connsiteX20" fmla="*/ 6719888 w 8801100"/>
                  <a:gd name="connsiteY20" fmla="*/ 1078706 h 2719387"/>
                  <a:gd name="connsiteX21" fmla="*/ 6619875 w 8801100"/>
                  <a:gd name="connsiteY21" fmla="*/ 1078707 h 2719387"/>
                  <a:gd name="connsiteX22" fmla="*/ 6524625 w 8801100"/>
                  <a:gd name="connsiteY22" fmla="*/ 1133475 h 2719387"/>
                  <a:gd name="connsiteX23" fmla="*/ 6443663 w 8801100"/>
                  <a:gd name="connsiteY23" fmla="*/ 1143000 h 2719387"/>
                  <a:gd name="connsiteX24" fmla="*/ 6403181 w 8801100"/>
                  <a:gd name="connsiteY24" fmla="*/ 1176338 h 2719387"/>
                  <a:gd name="connsiteX25" fmla="*/ 6353175 w 8801100"/>
                  <a:gd name="connsiteY25" fmla="*/ 1181100 h 2719387"/>
                  <a:gd name="connsiteX26" fmla="*/ 6231732 w 8801100"/>
                  <a:gd name="connsiteY26" fmla="*/ 1273969 h 2719387"/>
                  <a:gd name="connsiteX27" fmla="*/ 6172200 w 8801100"/>
                  <a:gd name="connsiteY27" fmla="*/ 1278731 h 2719387"/>
                  <a:gd name="connsiteX28" fmla="*/ 6119813 w 8801100"/>
                  <a:gd name="connsiteY28" fmla="*/ 1243013 h 2719387"/>
                  <a:gd name="connsiteX29" fmla="*/ 6093619 w 8801100"/>
                  <a:gd name="connsiteY29" fmla="*/ 1278731 h 2719387"/>
                  <a:gd name="connsiteX30" fmla="*/ 5895975 w 8801100"/>
                  <a:gd name="connsiteY30" fmla="*/ 1271588 h 2719387"/>
                  <a:gd name="connsiteX31" fmla="*/ 5834063 w 8801100"/>
                  <a:gd name="connsiteY31" fmla="*/ 1226344 h 2719387"/>
                  <a:gd name="connsiteX32" fmla="*/ 5636419 w 8801100"/>
                  <a:gd name="connsiteY32" fmla="*/ 1243013 h 2719387"/>
                  <a:gd name="connsiteX33" fmla="*/ 5548313 w 8801100"/>
                  <a:gd name="connsiteY33" fmla="*/ 1159668 h 2719387"/>
                  <a:gd name="connsiteX34" fmla="*/ 5472113 w 8801100"/>
                  <a:gd name="connsiteY34" fmla="*/ 1114425 h 2719387"/>
                  <a:gd name="connsiteX35" fmla="*/ 5474493 w 8801100"/>
                  <a:gd name="connsiteY35" fmla="*/ 1057275 h 2719387"/>
                  <a:gd name="connsiteX36" fmla="*/ 5455444 w 8801100"/>
                  <a:gd name="connsiteY36" fmla="*/ 1014412 h 2719387"/>
                  <a:gd name="connsiteX37" fmla="*/ 5360194 w 8801100"/>
                  <a:gd name="connsiteY37" fmla="*/ 1016794 h 2719387"/>
                  <a:gd name="connsiteX38" fmla="*/ 5264944 w 8801100"/>
                  <a:gd name="connsiteY38" fmla="*/ 995363 h 2719387"/>
                  <a:gd name="connsiteX39" fmla="*/ 5195887 w 8801100"/>
                  <a:gd name="connsiteY39" fmla="*/ 928687 h 2719387"/>
                  <a:gd name="connsiteX40" fmla="*/ 5160169 w 8801100"/>
                  <a:gd name="connsiteY40" fmla="*/ 885825 h 2719387"/>
                  <a:gd name="connsiteX41" fmla="*/ 5079206 w 8801100"/>
                  <a:gd name="connsiteY41" fmla="*/ 862012 h 2719387"/>
                  <a:gd name="connsiteX42" fmla="*/ 5005388 w 8801100"/>
                  <a:gd name="connsiteY42" fmla="*/ 873918 h 2719387"/>
                  <a:gd name="connsiteX43" fmla="*/ 4948237 w 8801100"/>
                  <a:gd name="connsiteY43" fmla="*/ 821531 h 2719387"/>
                  <a:gd name="connsiteX44" fmla="*/ 4852988 w 8801100"/>
                  <a:gd name="connsiteY44" fmla="*/ 833438 h 2719387"/>
                  <a:gd name="connsiteX45" fmla="*/ 4800600 w 8801100"/>
                  <a:gd name="connsiteY45" fmla="*/ 807244 h 2719387"/>
                  <a:gd name="connsiteX46" fmla="*/ 4719638 w 8801100"/>
                  <a:gd name="connsiteY46" fmla="*/ 850106 h 2719387"/>
                  <a:gd name="connsiteX47" fmla="*/ 4581525 w 8801100"/>
                  <a:gd name="connsiteY47" fmla="*/ 873919 h 2719387"/>
                  <a:gd name="connsiteX48" fmla="*/ 4452938 w 8801100"/>
                  <a:gd name="connsiteY48" fmla="*/ 966788 h 2719387"/>
                  <a:gd name="connsiteX49" fmla="*/ 4405312 w 8801100"/>
                  <a:gd name="connsiteY49" fmla="*/ 928688 h 2719387"/>
                  <a:gd name="connsiteX50" fmla="*/ 4383881 w 8801100"/>
                  <a:gd name="connsiteY50" fmla="*/ 959643 h 2719387"/>
                  <a:gd name="connsiteX51" fmla="*/ 4310063 w 8801100"/>
                  <a:gd name="connsiteY51" fmla="*/ 909638 h 2719387"/>
                  <a:gd name="connsiteX52" fmla="*/ 4271963 w 8801100"/>
                  <a:gd name="connsiteY52" fmla="*/ 916781 h 2719387"/>
                  <a:gd name="connsiteX53" fmla="*/ 4250531 w 8801100"/>
                  <a:gd name="connsiteY53" fmla="*/ 878681 h 2719387"/>
                  <a:gd name="connsiteX54" fmla="*/ 4191000 w 8801100"/>
                  <a:gd name="connsiteY54" fmla="*/ 883444 h 2719387"/>
                  <a:gd name="connsiteX55" fmla="*/ 4145756 w 8801100"/>
                  <a:gd name="connsiteY55" fmla="*/ 854869 h 2719387"/>
                  <a:gd name="connsiteX56" fmla="*/ 4107656 w 8801100"/>
                  <a:gd name="connsiteY56" fmla="*/ 852488 h 2719387"/>
                  <a:gd name="connsiteX57" fmla="*/ 4088606 w 8801100"/>
                  <a:gd name="connsiteY57" fmla="*/ 804862 h 2719387"/>
                  <a:gd name="connsiteX58" fmla="*/ 4074319 w 8801100"/>
                  <a:gd name="connsiteY58" fmla="*/ 773906 h 2719387"/>
                  <a:gd name="connsiteX59" fmla="*/ 4029075 w 8801100"/>
                  <a:gd name="connsiteY59" fmla="*/ 783431 h 2719387"/>
                  <a:gd name="connsiteX60" fmla="*/ 4010025 w 8801100"/>
                  <a:gd name="connsiteY60" fmla="*/ 747713 h 2719387"/>
                  <a:gd name="connsiteX61" fmla="*/ 4031457 w 8801100"/>
                  <a:gd name="connsiteY61" fmla="*/ 692944 h 2719387"/>
                  <a:gd name="connsiteX62" fmla="*/ 4000500 w 8801100"/>
                  <a:gd name="connsiteY62" fmla="*/ 666750 h 2719387"/>
                  <a:gd name="connsiteX63" fmla="*/ 4017169 w 8801100"/>
                  <a:gd name="connsiteY63" fmla="*/ 623888 h 2719387"/>
                  <a:gd name="connsiteX64" fmla="*/ 3990975 w 8801100"/>
                  <a:gd name="connsiteY64" fmla="*/ 581025 h 2719387"/>
                  <a:gd name="connsiteX65" fmla="*/ 3986213 w 8801100"/>
                  <a:gd name="connsiteY65" fmla="*/ 519113 h 2719387"/>
                  <a:gd name="connsiteX66" fmla="*/ 4010025 w 8801100"/>
                  <a:gd name="connsiteY66" fmla="*/ 454818 h 2719387"/>
                  <a:gd name="connsiteX67" fmla="*/ 3971925 w 8801100"/>
                  <a:gd name="connsiteY67" fmla="*/ 457200 h 2719387"/>
                  <a:gd name="connsiteX68" fmla="*/ 3852863 w 8801100"/>
                  <a:gd name="connsiteY68" fmla="*/ 400050 h 2719387"/>
                  <a:gd name="connsiteX69" fmla="*/ 3814762 w 8801100"/>
                  <a:gd name="connsiteY69" fmla="*/ 404812 h 2719387"/>
                  <a:gd name="connsiteX70" fmla="*/ 3609975 w 8801100"/>
                  <a:gd name="connsiteY70" fmla="*/ 295275 h 2719387"/>
                  <a:gd name="connsiteX71" fmla="*/ 3505200 w 8801100"/>
                  <a:gd name="connsiteY71" fmla="*/ 264319 h 2719387"/>
                  <a:gd name="connsiteX72" fmla="*/ 3440906 w 8801100"/>
                  <a:gd name="connsiteY72" fmla="*/ 273843 h 2719387"/>
                  <a:gd name="connsiteX73" fmla="*/ 3409950 w 8801100"/>
                  <a:gd name="connsiteY73" fmla="*/ 209550 h 2719387"/>
                  <a:gd name="connsiteX74" fmla="*/ 3352800 w 8801100"/>
                  <a:gd name="connsiteY74" fmla="*/ 209550 h 2719387"/>
                  <a:gd name="connsiteX75" fmla="*/ 3214687 w 8801100"/>
                  <a:gd name="connsiteY75" fmla="*/ 104775 h 2719387"/>
                  <a:gd name="connsiteX76" fmla="*/ 3181350 w 8801100"/>
                  <a:gd name="connsiteY76" fmla="*/ 164307 h 2719387"/>
                  <a:gd name="connsiteX77" fmla="*/ 3126581 w 8801100"/>
                  <a:gd name="connsiteY77" fmla="*/ 233363 h 2719387"/>
                  <a:gd name="connsiteX78" fmla="*/ 3083719 w 8801100"/>
                  <a:gd name="connsiteY78" fmla="*/ 250031 h 2719387"/>
                  <a:gd name="connsiteX79" fmla="*/ 3052763 w 8801100"/>
                  <a:gd name="connsiteY79" fmla="*/ 242888 h 2719387"/>
                  <a:gd name="connsiteX80" fmla="*/ 3028950 w 8801100"/>
                  <a:gd name="connsiteY80" fmla="*/ 271463 h 2719387"/>
                  <a:gd name="connsiteX81" fmla="*/ 3002756 w 8801100"/>
                  <a:gd name="connsiteY81" fmla="*/ 350044 h 2719387"/>
                  <a:gd name="connsiteX82" fmla="*/ 2959894 w 8801100"/>
                  <a:gd name="connsiteY82" fmla="*/ 347663 h 2719387"/>
                  <a:gd name="connsiteX83" fmla="*/ 2928937 w 8801100"/>
                  <a:gd name="connsiteY83" fmla="*/ 409575 h 2719387"/>
                  <a:gd name="connsiteX84" fmla="*/ 2924175 w 8801100"/>
                  <a:gd name="connsiteY84" fmla="*/ 473869 h 2719387"/>
                  <a:gd name="connsiteX85" fmla="*/ 2897982 w 8801100"/>
                  <a:gd name="connsiteY85" fmla="*/ 511969 h 2719387"/>
                  <a:gd name="connsiteX86" fmla="*/ 2924175 w 8801100"/>
                  <a:gd name="connsiteY86" fmla="*/ 571500 h 2719387"/>
                  <a:gd name="connsiteX87" fmla="*/ 2926556 w 8801100"/>
                  <a:gd name="connsiteY87" fmla="*/ 640556 h 2719387"/>
                  <a:gd name="connsiteX88" fmla="*/ 2955131 w 8801100"/>
                  <a:gd name="connsiteY88" fmla="*/ 692944 h 2719387"/>
                  <a:gd name="connsiteX89" fmla="*/ 3002757 w 8801100"/>
                  <a:gd name="connsiteY89" fmla="*/ 747713 h 2719387"/>
                  <a:gd name="connsiteX90" fmla="*/ 2952750 w 8801100"/>
                  <a:gd name="connsiteY90" fmla="*/ 885825 h 2719387"/>
                  <a:gd name="connsiteX91" fmla="*/ 2883694 w 8801100"/>
                  <a:gd name="connsiteY91" fmla="*/ 952500 h 2719387"/>
                  <a:gd name="connsiteX92" fmla="*/ 2812256 w 8801100"/>
                  <a:gd name="connsiteY92" fmla="*/ 947738 h 2719387"/>
                  <a:gd name="connsiteX93" fmla="*/ 2774156 w 8801100"/>
                  <a:gd name="connsiteY93" fmla="*/ 1004888 h 2719387"/>
                  <a:gd name="connsiteX94" fmla="*/ 2714625 w 8801100"/>
                  <a:gd name="connsiteY94" fmla="*/ 1019175 h 2719387"/>
                  <a:gd name="connsiteX95" fmla="*/ 2645569 w 8801100"/>
                  <a:gd name="connsiteY95" fmla="*/ 959644 h 2719387"/>
                  <a:gd name="connsiteX96" fmla="*/ 2590800 w 8801100"/>
                  <a:gd name="connsiteY96" fmla="*/ 931069 h 2719387"/>
                  <a:gd name="connsiteX97" fmla="*/ 2547938 w 8801100"/>
                  <a:gd name="connsiteY97" fmla="*/ 945356 h 2719387"/>
                  <a:gd name="connsiteX98" fmla="*/ 2495550 w 8801100"/>
                  <a:gd name="connsiteY98" fmla="*/ 928688 h 2719387"/>
                  <a:gd name="connsiteX99" fmla="*/ 2428875 w 8801100"/>
                  <a:gd name="connsiteY99" fmla="*/ 873919 h 2719387"/>
                  <a:gd name="connsiteX100" fmla="*/ 2383631 w 8801100"/>
                  <a:gd name="connsiteY100" fmla="*/ 885825 h 2719387"/>
                  <a:gd name="connsiteX101" fmla="*/ 2362200 w 8801100"/>
                  <a:gd name="connsiteY101" fmla="*/ 854869 h 2719387"/>
                  <a:gd name="connsiteX102" fmla="*/ 2305050 w 8801100"/>
                  <a:gd name="connsiteY102" fmla="*/ 895350 h 2719387"/>
                  <a:gd name="connsiteX103" fmla="*/ 2188369 w 8801100"/>
                  <a:gd name="connsiteY103" fmla="*/ 873919 h 2719387"/>
                  <a:gd name="connsiteX104" fmla="*/ 2138363 w 8801100"/>
                  <a:gd name="connsiteY104" fmla="*/ 821531 h 2719387"/>
                  <a:gd name="connsiteX105" fmla="*/ 2095500 w 8801100"/>
                  <a:gd name="connsiteY105" fmla="*/ 807244 h 2719387"/>
                  <a:gd name="connsiteX106" fmla="*/ 2052638 w 8801100"/>
                  <a:gd name="connsiteY106" fmla="*/ 833438 h 2719387"/>
                  <a:gd name="connsiteX107" fmla="*/ 2000250 w 8801100"/>
                  <a:gd name="connsiteY107" fmla="*/ 742950 h 2719387"/>
                  <a:gd name="connsiteX108" fmla="*/ 1990725 w 8801100"/>
                  <a:gd name="connsiteY108" fmla="*/ 595312 h 2719387"/>
                  <a:gd name="connsiteX109" fmla="*/ 1938337 w 8801100"/>
                  <a:gd name="connsiteY109" fmla="*/ 588168 h 2719387"/>
                  <a:gd name="connsiteX110" fmla="*/ 1847850 w 8801100"/>
                  <a:gd name="connsiteY110" fmla="*/ 578644 h 2719387"/>
                  <a:gd name="connsiteX111" fmla="*/ 1793081 w 8801100"/>
                  <a:gd name="connsiteY111" fmla="*/ 540544 h 2719387"/>
                  <a:gd name="connsiteX112" fmla="*/ 1724025 w 8801100"/>
                  <a:gd name="connsiteY112" fmla="*/ 550069 h 2719387"/>
                  <a:gd name="connsiteX113" fmla="*/ 1678781 w 8801100"/>
                  <a:gd name="connsiteY113" fmla="*/ 523875 h 2719387"/>
                  <a:gd name="connsiteX114" fmla="*/ 1669257 w 8801100"/>
                  <a:gd name="connsiteY114" fmla="*/ 452438 h 2719387"/>
                  <a:gd name="connsiteX115" fmla="*/ 1645444 w 8801100"/>
                  <a:gd name="connsiteY115" fmla="*/ 438150 h 2719387"/>
                  <a:gd name="connsiteX116" fmla="*/ 1607344 w 8801100"/>
                  <a:gd name="connsiteY116" fmla="*/ 485774 h 2719387"/>
                  <a:gd name="connsiteX117" fmla="*/ 1528762 w 8801100"/>
                  <a:gd name="connsiteY117" fmla="*/ 411956 h 2719387"/>
                  <a:gd name="connsiteX118" fmla="*/ 1488281 w 8801100"/>
                  <a:gd name="connsiteY118" fmla="*/ 452438 h 2719387"/>
                  <a:gd name="connsiteX119" fmla="*/ 1412081 w 8801100"/>
                  <a:gd name="connsiteY119" fmla="*/ 438150 h 2719387"/>
                  <a:gd name="connsiteX120" fmla="*/ 1333500 w 8801100"/>
                  <a:gd name="connsiteY120" fmla="*/ 464344 h 2719387"/>
                  <a:gd name="connsiteX121" fmla="*/ 1273969 w 8801100"/>
                  <a:gd name="connsiteY121" fmla="*/ 511968 h 2719387"/>
                  <a:gd name="connsiteX122" fmla="*/ 1200150 w 8801100"/>
                  <a:gd name="connsiteY122" fmla="*/ 523875 h 2719387"/>
                  <a:gd name="connsiteX123" fmla="*/ 1164431 w 8801100"/>
                  <a:gd name="connsiteY123" fmla="*/ 516731 h 2719387"/>
                  <a:gd name="connsiteX124" fmla="*/ 1085851 w 8801100"/>
                  <a:gd name="connsiteY124" fmla="*/ 547688 h 2719387"/>
                  <a:gd name="connsiteX125" fmla="*/ 1064419 w 8801100"/>
                  <a:gd name="connsiteY125" fmla="*/ 576263 h 2719387"/>
                  <a:gd name="connsiteX126" fmla="*/ 997744 w 8801100"/>
                  <a:gd name="connsiteY126" fmla="*/ 566738 h 2719387"/>
                  <a:gd name="connsiteX127" fmla="*/ 928688 w 8801100"/>
                  <a:gd name="connsiteY127" fmla="*/ 590550 h 2719387"/>
                  <a:gd name="connsiteX128" fmla="*/ 873919 w 8801100"/>
                  <a:gd name="connsiteY128" fmla="*/ 628650 h 2719387"/>
                  <a:gd name="connsiteX129" fmla="*/ 778669 w 8801100"/>
                  <a:gd name="connsiteY129" fmla="*/ 642937 h 2719387"/>
                  <a:gd name="connsiteX130" fmla="*/ 764381 w 8801100"/>
                  <a:gd name="connsiteY130" fmla="*/ 664369 h 2719387"/>
                  <a:gd name="connsiteX131" fmla="*/ 776287 w 8801100"/>
                  <a:gd name="connsiteY131" fmla="*/ 709613 h 2719387"/>
                  <a:gd name="connsiteX132" fmla="*/ 676276 w 8801100"/>
                  <a:gd name="connsiteY132" fmla="*/ 762000 h 2719387"/>
                  <a:gd name="connsiteX133" fmla="*/ 638175 w 8801100"/>
                  <a:gd name="connsiteY133" fmla="*/ 733424 h 2719387"/>
                  <a:gd name="connsiteX134" fmla="*/ 607219 w 8801100"/>
                  <a:gd name="connsiteY134" fmla="*/ 790575 h 2719387"/>
                  <a:gd name="connsiteX135" fmla="*/ 550069 w 8801100"/>
                  <a:gd name="connsiteY135" fmla="*/ 752475 h 2719387"/>
                  <a:gd name="connsiteX136" fmla="*/ 514350 w 8801100"/>
                  <a:gd name="connsiteY136" fmla="*/ 781050 h 2719387"/>
                  <a:gd name="connsiteX137" fmla="*/ 478631 w 8801100"/>
                  <a:gd name="connsiteY137" fmla="*/ 745331 h 2719387"/>
                  <a:gd name="connsiteX138" fmla="*/ 426244 w 8801100"/>
                  <a:gd name="connsiteY138" fmla="*/ 757238 h 2719387"/>
                  <a:gd name="connsiteX139" fmla="*/ 381000 w 8801100"/>
                  <a:gd name="connsiteY139" fmla="*/ 728663 h 2719387"/>
                  <a:gd name="connsiteX140" fmla="*/ 357188 w 8801100"/>
                  <a:gd name="connsiteY140" fmla="*/ 747713 h 2719387"/>
                  <a:gd name="connsiteX141" fmla="*/ 333375 w 8801100"/>
                  <a:gd name="connsiteY141" fmla="*/ 807244 h 2719387"/>
                  <a:gd name="connsiteX142" fmla="*/ 261938 w 8801100"/>
                  <a:gd name="connsiteY142" fmla="*/ 845343 h 2719387"/>
                  <a:gd name="connsiteX143" fmla="*/ 209550 w 8801100"/>
                  <a:gd name="connsiteY143" fmla="*/ 816769 h 2719387"/>
                  <a:gd name="connsiteX144" fmla="*/ 119063 w 8801100"/>
                  <a:gd name="connsiteY144" fmla="*/ 826294 h 2719387"/>
                  <a:gd name="connsiteX145" fmla="*/ 71437 w 8801100"/>
                  <a:gd name="connsiteY145" fmla="*/ 792957 h 2719387"/>
                  <a:gd name="connsiteX146" fmla="*/ 0 w 8801100"/>
                  <a:gd name="connsiteY146" fmla="*/ 812006 h 2719387"/>
                  <a:gd name="connsiteX147" fmla="*/ 4762 w 8801100"/>
                  <a:gd name="connsiteY147" fmla="*/ 0 h 2719387"/>
                  <a:gd name="connsiteX148" fmla="*/ 7419975 w 8801100"/>
                  <a:gd name="connsiteY148" fmla="*/ 2719387 h 2719387"/>
                  <a:gd name="connsiteX149" fmla="*/ 7446169 w 8801100"/>
                  <a:gd name="connsiteY149" fmla="*/ 2636044 h 2719387"/>
                  <a:gd name="connsiteX150" fmla="*/ 7577137 w 8801100"/>
                  <a:gd name="connsiteY150" fmla="*/ 2636044 h 2719387"/>
                  <a:gd name="connsiteX151" fmla="*/ 7750969 w 8801100"/>
                  <a:gd name="connsiteY151" fmla="*/ 2578893 h 2719387"/>
                  <a:gd name="connsiteX152" fmla="*/ 7810500 w 8801100"/>
                  <a:gd name="connsiteY152" fmla="*/ 2466975 h 2719387"/>
                  <a:gd name="connsiteX153" fmla="*/ 7874794 w 8801100"/>
                  <a:gd name="connsiteY153" fmla="*/ 2431256 h 2719387"/>
                  <a:gd name="connsiteX154" fmla="*/ 7853363 w 8801100"/>
                  <a:gd name="connsiteY154" fmla="*/ 2386013 h 2719387"/>
                  <a:gd name="connsiteX155" fmla="*/ 7931944 w 8801100"/>
                  <a:gd name="connsiteY155" fmla="*/ 2216943 h 2719387"/>
                  <a:gd name="connsiteX156" fmla="*/ 7986713 w 8801100"/>
                  <a:gd name="connsiteY156" fmla="*/ 2157413 h 2719387"/>
                  <a:gd name="connsiteX157" fmla="*/ 8024813 w 8801100"/>
                  <a:gd name="connsiteY157" fmla="*/ 2152650 h 2719387"/>
                  <a:gd name="connsiteX158" fmla="*/ 8070056 w 8801100"/>
                  <a:gd name="connsiteY158" fmla="*/ 2157413 h 2719387"/>
                  <a:gd name="connsiteX159" fmla="*/ 8134350 w 8801100"/>
                  <a:gd name="connsiteY159" fmla="*/ 2124075 h 2719387"/>
                  <a:gd name="connsiteX160" fmla="*/ 8143875 w 8801100"/>
                  <a:gd name="connsiteY160" fmla="*/ 2059781 h 2719387"/>
                  <a:gd name="connsiteX161" fmla="*/ 8184355 w 8801100"/>
                  <a:gd name="connsiteY161" fmla="*/ 2024063 h 2719387"/>
                  <a:gd name="connsiteX162" fmla="*/ 8243888 w 8801100"/>
                  <a:gd name="connsiteY162" fmla="*/ 2064543 h 2719387"/>
                  <a:gd name="connsiteX163" fmla="*/ 8270082 w 8801100"/>
                  <a:gd name="connsiteY163" fmla="*/ 2014537 h 2719387"/>
                  <a:gd name="connsiteX164" fmla="*/ 8365331 w 8801100"/>
                  <a:gd name="connsiteY164" fmla="*/ 1945481 h 2719387"/>
                  <a:gd name="connsiteX165" fmla="*/ 8427244 w 8801100"/>
                  <a:gd name="connsiteY165" fmla="*/ 1952625 h 2719387"/>
                  <a:gd name="connsiteX166" fmla="*/ 8477250 w 8801100"/>
                  <a:gd name="connsiteY166" fmla="*/ 1933575 h 2719387"/>
                  <a:gd name="connsiteX167" fmla="*/ 8515350 w 8801100"/>
                  <a:gd name="connsiteY167" fmla="*/ 1905000 h 2719387"/>
                  <a:gd name="connsiteX168" fmla="*/ 8548688 w 8801100"/>
                  <a:gd name="connsiteY168" fmla="*/ 1902619 h 2719387"/>
                  <a:gd name="connsiteX169" fmla="*/ 8584406 w 8801100"/>
                  <a:gd name="connsiteY169" fmla="*/ 1933575 h 2719387"/>
                  <a:gd name="connsiteX170" fmla="*/ 8643938 w 8801100"/>
                  <a:gd name="connsiteY170" fmla="*/ 1933575 h 2719387"/>
                  <a:gd name="connsiteX171" fmla="*/ 8682037 w 8801100"/>
                  <a:gd name="connsiteY171" fmla="*/ 1914525 h 2719387"/>
                  <a:gd name="connsiteX172" fmla="*/ 8765381 w 8801100"/>
                  <a:gd name="connsiteY172" fmla="*/ 1916907 h 2719387"/>
                  <a:gd name="connsiteX173" fmla="*/ 8796338 w 8801100"/>
                  <a:gd name="connsiteY173" fmla="*/ 1871663 h 2719387"/>
                  <a:gd name="connsiteX174" fmla="*/ 8801100 w 8801100"/>
                  <a:gd name="connsiteY174" fmla="*/ 1809750 h 2719387"/>
                  <a:gd name="connsiteX175" fmla="*/ 8751093 w 8801100"/>
                  <a:gd name="connsiteY175" fmla="*/ 1769269 h 2719387"/>
                  <a:gd name="connsiteX176" fmla="*/ 8734425 w 8801100"/>
                  <a:gd name="connsiteY176" fmla="*/ 1714500 h 2719387"/>
                  <a:gd name="connsiteX177" fmla="*/ 8643938 w 8801100"/>
                  <a:gd name="connsiteY177" fmla="*/ 1652588 h 2719387"/>
                  <a:gd name="connsiteX178" fmla="*/ 8603456 w 8801100"/>
                  <a:gd name="connsiteY178" fmla="*/ 1631156 h 2719387"/>
                  <a:gd name="connsiteX179" fmla="*/ 8565356 w 8801100"/>
                  <a:gd name="connsiteY179" fmla="*/ 1585913 h 2719387"/>
                  <a:gd name="connsiteX180" fmla="*/ 8534400 w 8801100"/>
                  <a:gd name="connsiteY180" fmla="*/ 1583531 h 2719387"/>
                  <a:gd name="connsiteX181" fmla="*/ 8517731 w 8801100"/>
                  <a:gd name="connsiteY181" fmla="*/ 1531144 h 2719387"/>
                  <a:gd name="connsiteX182" fmla="*/ 8477250 w 8801100"/>
                  <a:gd name="connsiteY182" fmla="*/ 1514475 h 2719387"/>
                  <a:gd name="connsiteX183" fmla="*/ 8477250 w 8801100"/>
                  <a:gd name="connsiteY183" fmla="*/ 1514475 h 2719387"/>
                  <a:gd name="connsiteX184" fmla="*/ 8436769 w 8801100"/>
                  <a:gd name="connsiteY184" fmla="*/ 1519238 h 2719387"/>
                  <a:gd name="connsiteX185" fmla="*/ 8351043 w 8801100"/>
                  <a:gd name="connsiteY185" fmla="*/ 1445419 h 2719387"/>
                  <a:gd name="connsiteX186" fmla="*/ 8170069 w 8801100"/>
                  <a:gd name="connsiteY186" fmla="*/ 1445418 h 2719387"/>
                  <a:gd name="connsiteX187" fmla="*/ 8117681 w 8801100"/>
                  <a:gd name="connsiteY187" fmla="*/ 1483519 h 2719387"/>
                  <a:gd name="connsiteX188" fmla="*/ 8067675 w 8801100"/>
                  <a:gd name="connsiteY188" fmla="*/ 1562100 h 2719387"/>
                  <a:gd name="connsiteX189" fmla="*/ 8084344 w 8801100"/>
                  <a:gd name="connsiteY189" fmla="*/ 1583531 h 2719387"/>
                  <a:gd name="connsiteX190" fmla="*/ 8039100 w 8801100"/>
                  <a:gd name="connsiteY190" fmla="*/ 1633537 h 2719387"/>
                  <a:gd name="connsiteX191" fmla="*/ 7889081 w 8801100"/>
                  <a:gd name="connsiteY191" fmla="*/ 1557337 h 2719387"/>
                  <a:gd name="connsiteX192" fmla="*/ 7798594 w 8801100"/>
                  <a:gd name="connsiteY192" fmla="*/ 1593056 h 2719387"/>
                  <a:gd name="connsiteX193" fmla="*/ 7724775 w 8801100"/>
                  <a:gd name="connsiteY193" fmla="*/ 1590675 h 2719387"/>
                  <a:gd name="connsiteX194" fmla="*/ 7667625 w 8801100"/>
                  <a:gd name="connsiteY194" fmla="*/ 1685925 h 2719387"/>
                  <a:gd name="connsiteX195" fmla="*/ 7529513 w 8801100"/>
                  <a:gd name="connsiteY195" fmla="*/ 1588294 h 2719387"/>
                  <a:gd name="connsiteX0" fmla="*/ 7529513 w 8801100"/>
                  <a:gd name="connsiteY0" fmla="*/ 1588294 h 2636044"/>
                  <a:gd name="connsiteX1" fmla="*/ 7522369 w 8801100"/>
                  <a:gd name="connsiteY1" fmla="*/ 1533525 h 2636044"/>
                  <a:gd name="connsiteX2" fmla="*/ 7589044 w 8801100"/>
                  <a:gd name="connsiteY2" fmla="*/ 1459706 h 2636044"/>
                  <a:gd name="connsiteX3" fmla="*/ 7572375 w 8801100"/>
                  <a:gd name="connsiteY3" fmla="*/ 1388269 h 2636044"/>
                  <a:gd name="connsiteX4" fmla="*/ 7586663 w 8801100"/>
                  <a:gd name="connsiteY4" fmla="*/ 1293019 h 2636044"/>
                  <a:gd name="connsiteX5" fmla="*/ 7624763 w 8801100"/>
                  <a:gd name="connsiteY5" fmla="*/ 1235869 h 2636044"/>
                  <a:gd name="connsiteX6" fmla="*/ 7605712 w 8801100"/>
                  <a:gd name="connsiteY6" fmla="*/ 1202531 h 2636044"/>
                  <a:gd name="connsiteX7" fmla="*/ 7703343 w 8801100"/>
                  <a:gd name="connsiteY7" fmla="*/ 802481 h 2636044"/>
                  <a:gd name="connsiteX8" fmla="*/ 7696200 w 8801100"/>
                  <a:gd name="connsiteY8" fmla="*/ 773906 h 2636044"/>
                  <a:gd name="connsiteX9" fmla="*/ 7567613 w 8801100"/>
                  <a:gd name="connsiteY9" fmla="*/ 752475 h 2636044"/>
                  <a:gd name="connsiteX10" fmla="*/ 7384257 w 8801100"/>
                  <a:gd name="connsiteY10" fmla="*/ 831056 h 2636044"/>
                  <a:gd name="connsiteX11" fmla="*/ 7227093 w 8801100"/>
                  <a:gd name="connsiteY11" fmla="*/ 716756 h 2636044"/>
                  <a:gd name="connsiteX12" fmla="*/ 7150894 w 8801100"/>
                  <a:gd name="connsiteY12" fmla="*/ 723900 h 2636044"/>
                  <a:gd name="connsiteX13" fmla="*/ 7077075 w 8801100"/>
                  <a:gd name="connsiteY13" fmla="*/ 719138 h 2636044"/>
                  <a:gd name="connsiteX14" fmla="*/ 6938963 w 8801100"/>
                  <a:gd name="connsiteY14" fmla="*/ 823913 h 2636044"/>
                  <a:gd name="connsiteX15" fmla="*/ 6831806 w 8801100"/>
                  <a:gd name="connsiteY15" fmla="*/ 931069 h 2636044"/>
                  <a:gd name="connsiteX16" fmla="*/ 6788944 w 8801100"/>
                  <a:gd name="connsiteY16" fmla="*/ 1000125 h 2636044"/>
                  <a:gd name="connsiteX17" fmla="*/ 6796088 w 8801100"/>
                  <a:gd name="connsiteY17" fmla="*/ 1035844 h 2636044"/>
                  <a:gd name="connsiteX18" fmla="*/ 6734175 w 8801100"/>
                  <a:gd name="connsiteY18" fmla="*/ 1047750 h 2636044"/>
                  <a:gd name="connsiteX19" fmla="*/ 6753225 w 8801100"/>
                  <a:gd name="connsiteY19" fmla="*/ 1047750 h 2636044"/>
                  <a:gd name="connsiteX20" fmla="*/ 6719888 w 8801100"/>
                  <a:gd name="connsiteY20" fmla="*/ 1078706 h 2636044"/>
                  <a:gd name="connsiteX21" fmla="*/ 6619875 w 8801100"/>
                  <a:gd name="connsiteY21" fmla="*/ 1078707 h 2636044"/>
                  <a:gd name="connsiteX22" fmla="*/ 6524625 w 8801100"/>
                  <a:gd name="connsiteY22" fmla="*/ 1133475 h 2636044"/>
                  <a:gd name="connsiteX23" fmla="*/ 6443663 w 8801100"/>
                  <a:gd name="connsiteY23" fmla="*/ 1143000 h 2636044"/>
                  <a:gd name="connsiteX24" fmla="*/ 6403181 w 8801100"/>
                  <a:gd name="connsiteY24" fmla="*/ 1176338 h 2636044"/>
                  <a:gd name="connsiteX25" fmla="*/ 6353175 w 8801100"/>
                  <a:gd name="connsiteY25" fmla="*/ 1181100 h 2636044"/>
                  <a:gd name="connsiteX26" fmla="*/ 6231732 w 8801100"/>
                  <a:gd name="connsiteY26" fmla="*/ 1273969 h 2636044"/>
                  <a:gd name="connsiteX27" fmla="*/ 6172200 w 8801100"/>
                  <a:gd name="connsiteY27" fmla="*/ 1278731 h 2636044"/>
                  <a:gd name="connsiteX28" fmla="*/ 6119813 w 8801100"/>
                  <a:gd name="connsiteY28" fmla="*/ 1243013 h 2636044"/>
                  <a:gd name="connsiteX29" fmla="*/ 6093619 w 8801100"/>
                  <a:gd name="connsiteY29" fmla="*/ 1278731 h 2636044"/>
                  <a:gd name="connsiteX30" fmla="*/ 5895975 w 8801100"/>
                  <a:gd name="connsiteY30" fmla="*/ 1271588 h 2636044"/>
                  <a:gd name="connsiteX31" fmla="*/ 5834063 w 8801100"/>
                  <a:gd name="connsiteY31" fmla="*/ 1226344 h 2636044"/>
                  <a:gd name="connsiteX32" fmla="*/ 5636419 w 8801100"/>
                  <a:gd name="connsiteY32" fmla="*/ 1243013 h 2636044"/>
                  <a:gd name="connsiteX33" fmla="*/ 5548313 w 8801100"/>
                  <a:gd name="connsiteY33" fmla="*/ 1159668 h 2636044"/>
                  <a:gd name="connsiteX34" fmla="*/ 5472113 w 8801100"/>
                  <a:gd name="connsiteY34" fmla="*/ 1114425 h 2636044"/>
                  <a:gd name="connsiteX35" fmla="*/ 5474493 w 8801100"/>
                  <a:gd name="connsiteY35" fmla="*/ 1057275 h 2636044"/>
                  <a:gd name="connsiteX36" fmla="*/ 5455444 w 8801100"/>
                  <a:gd name="connsiteY36" fmla="*/ 1014412 h 2636044"/>
                  <a:gd name="connsiteX37" fmla="*/ 5360194 w 8801100"/>
                  <a:gd name="connsiteY37" fmla="*/ 1016794 h 2636044"/>
                  <a:gd name="connsiteX38" fmla="*/ 5264944 w 8801100"/>
                  <a:gd name="connsiteY38" fmla="*/ 995363 h 2636044"/>
                  <a:gd name="connsiteX39" fmla="*/ 5195887 w 8801100"/>
                  <a:gd name="connsiteY39" fmla="*/ 928687 h 2636044"/>
                  <a:gd name="connsiteX40" fmla="*/ 5160169 w 8801100"/>
                  <a:gd name="connsiteY40" fmla="*/ 885825 h 2636044"/>
                  <a:gd name="connsiteX41" fmla="*/ 5079206 w 8801100"/>
                  <a:gd name="connsiteY41" fmla="*/ 862012 h 2636044"/>
                  <a:gd name="connsiteX42" fmla="*/ 5005388 w 8801100"/>
                  <a:gd name="connsiteY42" fmla="*/ 873918 h 2636044"/>
                  <a:gd name="connsiteX43" fmla="*/ 4948237 w 8801100"/>
                  <a:gd name="connsiteY43" fmla="*/ 821531 h 2636044"/>
                  <a:gd name="connsiteX44" fmla="*/ 4852988 w 8801100"/>
                  <a:gd name="connsiteY44" fmla="*/ 833438 h 2636044"/>
                  <a:gd name="connsiteX45" fmla="*/ 4800600 w 8801100"/>
                  <a:gd name="connsiteY45" fmla="*/ 807244 h 2636044"/>
                  <a:gd name="connsiteX46" fmla="*/ 4719638 w 8801100"/>
                  <a:gd name="connsiteY46" fmla="*/ 850106 h 2636044"/>
                  <a:gd name="connsiteX47" fmla="*/ 4581525 w 8801100"/>
                  <a:gd name="connsiteY47" fmla="*/ 873919 h 2636044"/>
                  <a:gd name="connsiteX48" fmla="*/ 4452938 w 8801100"/>
                  <a:gd name="connsiteY48" fmla="*/ 966788 h 2636044"/>
                  <a:gd name="connsiteX49" fmla="*/ 4405312 w 8801100"/>
                  <a:gd name="connsiteY49" fmla="*/ 928688 h 2636044"/>
                  <a:gd name="connsiteX50" fmla="*/ 4383881 w 8801100"/>
                  <a:gd name="connsiteY50" fmla="*/ 959643 h 2636044"/>
                  <a:gd name="connsiteX51" fmla="*/ 4310063 w 8801100"/>
                  <a:gd name="connsiteY51" fmla="*/ 909638 h 2636044"/>
                  <a:gd name="connsiteX52" fmla="*/ 4271963 w 8801100"/>
                  <a:gd name="connsiteY52" fmla="*/ 916781 h 2636044"/>
                  <a:gd name="connsiteX53" fmla="*/ 4250531 w 8801100"/>
                  <a:gd name="connsiteY53" fmla="*/ 878681 h 2636044"/>
                  <a:gd name="connsiteX54" fmla="*/ 4191000 w 8801100"/>
                  <a:gd name="connsiteY54" fmla="*/ 883444 h 2636044"/>
                  <a:gd name="connsiteX55" fmla="*/ 4145756 w 8801100"/>
                  <a:gd name="connsiteY55" fmla="*/ 854869 h 2636044"/>
                  <a:gd name="connsiteX56" fmla="*/ 4107656 w 8801100"/>
                  <a:gd name="connsiteY56" fmla="*/ 852488 h 2636044"/>
                  <a:gd name="connsiteX57" fmla="*/ 4088606 w 8801100"/>
                  <a:gd name="connsiteY57" fmla="*/ 804862 h 2636044"/>
                  <a:gd name="connsiteX58" fmla="*/ 4074319 w 8801100"/>
                  <a:gd name="connsiteY58" fmla="*/ 773906 h 2636044"/>
                  <a:gd name="connsiteX59" fmla="*/ 4029075 w 8801100"/>
                  <a:gd name="connsiteY59" fmla="*/ 783431 h 2636044"/>
                  <a:gd name="connsiteX60" fmla="*/ 4010025 w 8801100"/>
                  <a:gd name="connsiteY60" fmla="*/ 747713 h 2636044"/>
                  <a:gd name="connsiteX61" fmla="*/ 4031457 w 8801100"/>
                  <a:gd name="connsiteY61" fmla="*/ 692944 h 2636044"/>
                  <a:gd name="connsiteX62" fmla="*/ 4000500 w 8801100"/>
                  <a:gd name="connsiteY62" fmla="*/ 666750 h 2636044"/>
                  <a:gd name="connsiteX63" fmla="*/ 4017169 w 8801100"/>
                  <a:gd name="connsiteY63" fmla="*/ 623888 h 2636044"/>
                  <a:gd name="connsiteX64" fmla="*/ 3990975 w 8801100"/>
                  <a:gd name="connsiteY64" fmla="*/ 581025 h 2636044"/>
                  <a:gd name="connsiteX65" fmla="*/ 3986213 w 8801100"/>
                  <a:gd name="connsiteY65" fmla="*/ 519113 h 2636044"/>
                  <a:gd name="connsiteX66" fmla="*/ 4010025 w 8801100"/>
                  <a:gd name="connsiteY66" fmla="*/ 454818 h 2636044"/>
                  <a:gd name="connsiteX67" fmla="*/ 3971925 w 8801100"/>
                  <a:gd name="connsiteY67" fmla="*/ 457200 h 2636044"/>
                  <a:gd name="connsiteX68" fmla="*/ 3852863 w 8801100"/>
                  <a:gd name="connsiteY68" fmla="*/ 400050 h 2636044"/>
                  <a:gd name="connsiteX69" fmla="*/ 3814762 w 8801100"/>
                  <a:gd name="connsiteY69" fmla="*/ 404812 h 2636044"/>
                  <a:gd name="connsiteX70" fmla="*/ 3609975 w 8801100"/>
                  <a:gd name="connsiteY70" fmla="*/ 295275 h 2636044"/>
                  <a:gd name="connsiteX71" fmla="*/ 3505200 w 8801100"/>
                  <a:gd name="connsiteY71" fmla="*/ 264319 h 2636044"/>
                  <a:gd name="connsiteX72" fmla="*/ 3440906 w 8801100"/>
                  <a:gd name="connsiteY72" fmla="*/ 273843 h 2636044"/>
                  <a:gd name="connsiteX73" fmla="*/ 3409950 w 8801100"/>
                  <a:gd name="connsiteY73" fmla="*/ 209550 h 2636044"/>
                  <a:gd name="connsiteX74" fmla="*/ 3352800 w 8801100"/>
                  <a:gd name="connsiteY74" fmla="*/ 209550 h 2636044"/>
                  <a:gd name="connsiteX75" fmla="*/ 3214687 w 8801100"/>
                  <a:gd name="connsiteY75" fmla="*/ 104775 h 2636044"/>
                  <a:gd name="connsiteX76" fmla="*/ 3181350 w 8801100"/>
                  <a:gd name="connsiteY76" fmla="*/ 164307 h 2636044"/>
                  <a:gd name="connsiteX77" fmla="*/ 3126581 w 8801100"/>
                  <a:gd name="connsiteY77" fmla="*/ 233363 h 2636044"/>
                  <a:gd name="connsiteX78" fmla="*/ 3083719 w 8801100"/>
                  <a:gd name="connsiteY78" fmla="*/ 250031 h 2636044"/>
                  <a:gd name="connsiteX79" fmla="*/ 3052763 w 8801100"/>
                  <a:gd name="connsiteY79" fmla="*/ 242888 h 2636044"/>
                  <a:gd name="connsiteX80" fmla="*/ 3028950 w 8801100"/>
                  <a:gd name="connsiteY80" fmla="*/ 271463 h 2636044"/>
                  <a:gd name="connsiteX81" fmla="*/ 3002756 w 8801100"/>
                  <a:gd name="connsiteY81" fmla="*/ 350044 h 2636044"/>
                  <a:gd name="connsiteX82" fmla="*/ 2959894 w 8801100"/>
                  <a:gd name="connsiteY82" fmla="*/ 347663 h 2636044"/>
                  <a:gd name="connsiteX83" fmla="*/ 2928937 w 8801100"/>
                  <a:gd name="connsiteY83" fmla="*/ 409575 h 2636044"/>
                  <a:gd name="connsiteX84" fmla="*/ 2924175 w 8801100"/>
                  <a:gd name="connsiteY84" fmla="*/ 473869 h 2636044"/>
                  <a:gd name="connsiteX85" fmla="*/ 2897982 w 8801100"/>
                  <a:gd name="connsiteY85" fmla="*/ 511969 h 2636044"/>
                  <a:gd name="connsiteX86" fmla="*/ 2924175 w 8801100"/>
                  <a:gd name="connsiteY86" fmla="*/ 571500 h 2636044"/>
                  <a:gd name="connsiteX87" fmla="*/ 2926556 w 8801100"/>
                  <a:gd name="connsiteY87" fmla="*/ 640556 h 2636044"/>
                  <a:gd name="connsiteX88" fmla="*/ 2955131 w 8801100"/>
                  <a:gd name="connsiteY88" fmla="*/ 692944 h 2636044"/>
                  <a:gd name="connsiteX89" fmla="*/ 3002757 w 8801100"/>
                  <a:gd name="connsiteY89" fmla="*/ 747713 h 2636044"/>
                  <a:gd name="connsiteX90" fmla="*/ 2952750 w 8801100"/>
                  <a:gd name="connsiteY90" fmla="*/ 885825 h 2636044"/>
                  <a:gd name="connsiteX91" fmla="*/ 2883694 w 8801100"/>
                  <a:gd name="connsiteY91" fmla="*/ 952500 h 2636044"/>
                  <a:gd name="connsiteX92" fmla="*/ 2812256 w 8801100"/>
                  <a:gd name="connsiteY92" fmla="*/ 947738 h 2636044"/>
                  <a:gd name="connsiteX93" fmla="*/ 2774156 w 8801100"/>
                  <a:gd name="connsiteY93" fmla="*/ 1004888 h 2636044"/>
                  <a:gd name="connsiteX94" fmla="*/ 2714625 w 8801100"/>
                  <a:gd name="connsiteY94" fmla="*/ 1019175 h 2636044"/>
                  <a:gd name="connsiteX95" fmla="*/ 2645569 w 8801100"/>
                  <a:gd name="connsiteY95" fmla="*/ 959644 h 2636044"/>
                  <a:gd name="connsiteX96" fmla="*/ 2590800 w 8801100"/>
                  <a:gd name="connsiteY96" fmla="*/ 931069 h 2636044"/>
                  <a:gd name="connsiteX97" fmla="*/ 2547938 w 8801100"/>
                  <a:gd name="connsiteY97" fmla="*/ 945356 h 2636044"/>
                  <a:gd name="connsiteX98" fmla="*/ 2495550 w 8801100"/>
                  <a:gd name="connsiteY98" fmla="*/ 928688 h 2636044"/>
                  <a:gd name="connsiteX99" fmla="*/ 2428875 w 8801100"/>
                  <a:gd name="connsiteY99" fmla="*/ 873919 h 2636044"/>
                  <a:gd name="connsiteX100" fmla="*/ 2383631 w 8801100"/>
                  <a:gd name="connsiteY100" fmla="*/ 885825 h 2636044"/>
                  <a:gd name="connsiteX101" fmla="*/ 2362200 w 8801100"/>
                  <a:gd name="connsiteY101" fmla="*/ 854869 h 2636044"/>
                  <a:gd name="connsiteX102" fmla="*/ 2305050 w 8801100"/>
                  <a:gd name="connsiteY102" fmla="*/ 895350 h 2636044"/>
                  <a:gd name="connsiteX103" fmla="*/ 2188369 w 8801100"/>
                  <a:gd name="connsiteY103" fmla="*/ 873919 h 2636044"/>
                  <a:gd name="connsiteX104" fmla="*/ 2138363 w 8801100"/>
                  <a:gd name="connsiteY104" fmla="*/ 821531 h 2636044"/>
                  <a:gd name="connsiteX105" fmla="*/ 2095500 w 8801100"/>
                  <a:gd name="connsiteY105" fmla="*/ 807244 h 2636044"/>
                  <a:gd name="connsiteX106" fmla="*/ 2052638 w 8801100"/>
                  <a:gd name="connsiteY106" fmla="*/ 833438 h 2636044"/>
                  <a:gd name="connsiteX107" fmla="*/ 2000250 w 8801100"/>
                  <a:gd name="connsiteY107" fmla="*/ 742950 h 2636044"/>
                  <a:gd name="connsiteX108" fmla="*/ 1990725 w 8801100"/>
                  <a:gd name="connsiteY108" fmla="*/ 595312 h 2636044"/>
                  <a:gd name="connsiteX109" fmla="*/ 1938337 w 8801100"/>
                  <a:gd name="connsiteY109" fmla="*/ 588168 h 2636044"/>
                  <a:gd name="connsiteX110" fmla="*/ 1847850 w 8801100"/>
                  <a:gd name="connsiteY110" fmla="*/ 578644 h 2636044"/>
                  <a:gd name="connsiteX111" fmla="*/ 1793081 w 8801100"/>
                  <a:gd name="connsiteY111" fmla="*/ 540544 h 2636044"/>
                  <a:gd name="connsiteX112" fmla="*/ 1724025 w 8801100"/>
                  <a:gd name="connsiteY112" fmla="*/ 550069 h 2636044"/>
                  <a:gd name="connsiteX113" fmla="*/ 1678781 w 8801100"/>
                  <a:gd name="connsiteY113" fmla="*/ 523875 h 2636044"/>
                  <a:gd name="connsiteX114" fmla="*/ 1669257 w 8801100"/>
                  <a:gd name="connsiteY114" fmla="*/ 452438 h 2636044"/>
                  <a:gd name="connsiteX115" fmla="*/ 1645444 w 8801100"/>
                  <a:gd name="connsiteY115" fmla="*/ 438150 h 2636044"/>
                  <a:gd name="connsiteX116" fmla="*/ 1607344 w 8801100"/>
                  <a:gd name="connsiteY116" fmla="*/ 485774 h 2636044"/>
                  <a:gd name="connsiteX117" fmla="*/ 1528762 w 8801100"/>
                  <a:gd name="connsiteY117" fmla="*/ 411956 h 2636044"/>
                  <a:gd name="connsiteX118" fmla="*/ 1488281 w 8801100"/>
                  <a:gd name="connsiteY118" fmla="*/ 452438 h 2636044"/>
                  <a:gd name="connsiteX119" fmla="*/ 1412081 w 8801100"/>
                  <a:gd name="connsiteY119" fmla="*/ 438150 h 2636044"/>
                  <a:gd name="connsiteX120" fmla="*/ 1333500 w 8801100"/>
                  <a:gd name="connsiteY120" fmla="*/ 464344 h 2636044"/>
                  <a:gd name="connsiteX121" fmla="*/ 1273969 w 8801100"/>
                  <a:gd name="connsiteY121" fmla="*/ 511968 h 2636044"/>
                  <a:gd name="connsiteX122" fmla="*/ 1200150 w 8801100"/>
                  <a:gd name="connsiteY122" fmla="*/ 523875 h 2636044"/>
                  <a:gd name="connsiteX123" fmla="*/ 1164431 w 8801100"/>
                  <a:gd name="connsiteY123" fmla="*/ 516731 h 2636044"/>
                  <a:gd name="connsiteX124" fmla="*/ 1085851 w 8801100"/>
                  <a:gd name="connsiteY124" fmla="*/ 547688 h 2636044"/>
                  <a:gd name="connsiteX125" fmla="*/ 1064419 w 8801100"/>
                  <a:gd name="connsiteY125" fmla="*/ 576263 h 2636044"/>
                  <a:gd name="connsiteX126" fmla="*/ 997744 w 8801100"/>
                  <a:gd name="connsiteY126" fmla="*/ 566738 h 2636044"/>
                  <a:gd name="connsiteX127" fmla="*/ 928688 w 8801100"/>
                  <a:gd name="connsiteY127" fmla="*/ 590550 h 2636044"/>
                  <a:gd name="connsiteX128" fmla="*/ 873919 w 8801100"/>
                  <a:gd name="connsiteY128" fmla="*/ 628650 h 2636044"/>
                  <a:gd name="connsiteX129" fmla="*/ 778669 w 8801100"/>
                  <a:gd name="connsiteY129" fmla="*/ 642937 h 2636044"/>
                  <a:gd name="connsiteX130" fmla="*/ 764381 w 8801100"/>
                  <a:gd name="connsiteY130" fmla="*/ 664369 h 2636044"/>
                  <a:gd name="connsiteX131" fmla="*/ 776287 w 8801100"/>
                  <a:gd name="connsiteY131" fmla="*/ 709613 h 2636044"/>
                  <a:gd name="connsiteX132" fmla="*/ 676276 w 8801100"/>
                  <a:gd name="connsiteY132" fmla="*/ 762000 h 2636044"/>
                  <a:gd name="connsiteX133" fmla="*/ 638175 w 8801100"/>
                  <a:gd name="connsiteY133" fmla="*/ 733424 h 2636044"/>
                  <a:gd name="connsiteX134" fmla="*/ 607219 w 8801100"/>
                  <a:gd name="connsiteY134" fmla="*/ 790575 h 2636044"/>
                  <a:gd name="connsiteX135" fmla="*/ 550069 w 8801100"/>
                  <a:gd name="connsiteY135" fmla="*/ 752475 h 2636044"/>
                  <a:gd name="connsiteX136" fmla="*/ 514350 w 8801100"/>
                  <a:gd name="connsiteY136" fmla="*/ 781050 h 2636044"/>
                  <a:gd name="connsiteX137" fmla="*/ 478631 w 8801100"/>
                  <a:gd name="connsiteY137" fmla="*/ 745331 h 2636044"/>
                  <a:gd name="connsiteX138" fmla="*/ 426244 w 8801100"/>
                  <a:gd name="connsiteY138" fmla="*/ 757238 h 2636044"/>
                  <a:gd name="connsiteX139" fmla="*/ 381000 w 8801100"/>
                  <a:gd name="connsiteY139" fmla="*/ 728663 h 2636044"/>
                  <a:gd name="connsiteX140" fmla="*/ 357188 w 8801100"/>
                  <a:gd name="connsiteY140" fmla="*/ 747713 h 2636044"/>
                  <a:gd name="connsiteX141" fmla="*/ 333375 w 8801100"/>
                  <a:gd name="connsiteY141" fmla="*/ 807244 h 2636044"/>
                  <a:gd name="connsiteX142" fmla="*/ 261938 w 8801100"/>
                  <a:gd name="connsiteY142" fmla="*/ 845343 h 2636044"/>
                  <a:gd name="connsiteX143" fmla="*/ 209550 w 8801100"/>
                  <a:gd name="connsiteY143" fmla="*/ 816769 h 2636044"/>
                  <a:gd name="connsiteX144" fmla="*/ 119063 w 8801100"/>
                  <a:gd name="connsiteY144" fmla="*/ 826294 h 2636044"/>
                  <a:gd name="connsiteX145" fmla="*/ 71437 w 8801100"/>
                  <a:gd name="connsiteY145" fmla="*/ 792957 h 2636044"/>
                  <a:gd name="connsiteX146" fmla="*/ 0 w 8801100"/>
                  <a:gd name="connsiteY146" fmla="*/ 812006 h 2636044"/>
                  <a:gd name="connsiteX147" fmla="*/ 4762 w 8801100"/>
                  <a:gd name="connsiteY147" fmla="*/ 0 h 2636044"/>
                  <a:gd name="connsiteX148" fmla="*/ 7446169 w 8801100"/>
                  <a:gd name="connsiteY148" fmla="*/ 2636044 h 2636044"/>
                  <a:gd name="connsiteX149" fmla="*/ 7577137 w 8801100"/>
                  <a:gd name="connsiteY149" fmla="*/ 2636044 h 2636044"/>
                  <a:gd name="connsiteX150" fmla="*/ 7750969 w 8801100"/>
                  <a:gd name="connsiteY150" fmla="*/ 2578893 h 2636044"/>
                  <a:gd name="connsiteX151" fmla="*/ 7810500 w 8801100"/>
                  <a:gd name="connsiteY151" fmla="*/ 2466975 h 2636044"/>
                  <a:gd name="connsiteX152" fmla="*/ 7874794 w 8801100"/>
                  <a:gd name="connsiteY152" fmla="*/ 2431256 h 2636044"/>
                  <a:gd name="connsiteX153" fmla="*/ 7853363 w 8801100"/>
                  <a:gd name="connsiteY153" fmla="*/ 2386013 h 2636044"/>
                  <a:gd name="connsiteX154" fmla="*/ 7931944 w 8801100"/>
                  <a:gd name="connsiteY154" fmla="*/ 2216943 h 2636044"/>
                  <a:gd name="connsiteX155" fmla="*/ 7986713 w 8801100"/>
                  <a:gd name="connsiteY155" fmla="*/ 2157413 h 2636044"/>
                  <a:gd name="connsiteX156" fmla="*/ 8024813 w 8801100"/>
                  <a:gd name="connsiteY156" fmla="*/ 2152650 h 2636044"/>
                  <a:gd name="connsiteX157" fmla="*/ 8070056 w 8801100"/>
                  <a:gd name="connsiteY157" fmla="*/ 2157413 h 2636044"/>
                  <a:gd name="connsiteX158" fmla="*/ 8134350 w 8801100"/>
                  <a:gd name="connsiteY158" fmla="*/ 2124075 h 2636044"/>
                  <a:gd name="connsiteX159" fmla="*/ 8143875 w 8801100"/>
                  <a:gd name="connsiteY159" fmla="*/ 2059781 h 2636044"/>
                  <a:gd name="connsiteX160" fmla="*/ 8184355 w 8801100"/>
                  <a:gd name="connsiteY160" fmla="*/ 2024063 h 2636044"/>
                  <a:gd name="connsiteX161" fmla="*/ 8243888 w 8801100"/>
                  <a:gd name="connsiteY161" fmla="*/ 2064543 h 2636044"/>
                  <a:gd name="connsiteX162" fmla="*/ 8270082 w 8801100"/>
                  <a:gd name="connsiteY162" fmla="*/ 2014537 h 2636044"/>
                  <a:gd name="connsiteX163" fmla="*/ 8365331 w 8801100"/>
                  <a:gd name="connsiteY163" fmla="*/ 1945481 h 2636044"/>
                  <a:gd name="connsiteX164" fmla="*/ 8427244 w 8801100"/>
                  <a:gd name="connsiteY164" fmla="*/ 1952625 h 2636044"/>
                  <a:gd name="connsiteX165" fmla="*/ 8477250 w 8801100"/>
                  <a:gd name="connsiteY165" fmla="*/ 1933575 h 2636044"/>
                  <a:gd name="connsiteX166" fmla="*/ 8515350 w 8801100"/>
                  <a:gd name="connsiteY166" fmla="*/ 1905000 h 2636044"/>
                  <a:gd name="connsiteX167" fmla="*/ 8548688 w 8801100"/>
                  <a:gd name="connsiteY167" fmla="*/ 1902619 h 2636044"/>
                  <a:gd name="connsiteX168" fmla="*/ 8584406 w 8801100"/>
                  <a:gd name="connsiteY168" fmla="*/ 1933575 h 2636044"/>
                  <a:gd name="connsiteX169" fmla="*/ 8643938 w 8801100"/>
                  <a:gd name="connsiteY169" fmla="*/ 1933575 h 2636044"/>
                  <a:gd name="connsiteX170" fmla="*/ 8682037 w 8801100"/>
                  <a:gd name="connsiteY170" fmla="*/ 1914525 h 2636044"/>
                  <a:gd name="connsiteX171" fmla="*/ 8765381 w 8801100"/>
                  <a:gd name="connsiteY171" fmla="*/ 1916907 h 2636044"/>
                  <a:gd name="connsiteX172" fmla="*/ 8796338 w 8801100"/>
                  <a:gd name="connsiteY172" fmla="*/ 1871663 h 2636044"/>
                  <a:gd name="connsiteX173" fmla="*/ 8801100 w 8801100"/>
                  <a:gd name="connsiteY173" fmla="*/ 1809750 h 2636044"/>
                  <a:gd name="connsiteX174" fmla="*/ 8751093 w 8801100"/>
                  <a:gd name="connsiteY174" fmla="*/ 1769269 h 2636044"/>
                  <a:gd name="connsiteX175" fmla="*/ 8734425 w 8801100"/>
                  <a:gd name="connsiteY175" fmla="*/ 1714500 h 2636044"/>
                  <a:gd name="connsiteX176" fmla="*/ 8643938 w 8801100"/>
                  <a:gd name="connsiteY176" fmla="*/ 1652588 h 2636044"/>
                  <a:gd name="connsiteX177" fmla="*/ 8603456 w 8801100"/>
                  <a:gd name="connsiteY177" fmla="*/ 1631156 h 2636044"/>
                  <a:gd name="connsiteX178" fmla="*/ 8565356 w 8801100"/>
                  <a:gd name="connsiteY178" fmla="*/ 1585913 h 2636044"/>
                  <a:gd name="connsiteX179" fmla="*/ 8534400 w 8801100"/>
                  <a:gd name="connsiteY179" fmla="*/ 1583531 h 2636044"/>
                  <a:gd name="connsiteX180" fmla="*/ 8517731 w 8801100"/>
                  <a:gd name="connsiteY180" fmla="*/ 1531144 h 2636044"/>
                  <a:gd name="connsiteX181" fmla="*/ 8477250 w 8801100"/>
                  <a:gd name="connsiteY181" fmla="*/ 1514475 h 2636044"/>
                  <a:gd name="connsiteX182" fmla="*/ 8477250 w 8801100"/>
                  <a:gd name="connsiteY182" fmla="*/ 1514475 h 2636044"/>
                  <a:gd name="connsiteX183" fmla="*/ 8436769 w 8801100"/>
                  <a:gd name="connsiteY183" fmla="*/ 1519238 h 2636044"/>
                  <a:gd name="connsiteX184" fmla="*/ 8351043 w 8801100"/>
                  <a:gd name="connsiteY184" fmla="*/ 1445419 h 2636044"/>
                  <a:gd name="connsiteX185" fmla="*/ 8170069 w 8801100"/>
                  <a:gd name="connsiteY185" fmla="*/ 1445418 h 2636044"/>
                  <a:gd name="connsiteX186" fmla="*/ 8117681 w 8801100"/>
                  <a:gd name="connsiteY186" fmla="*/ 1483519 h 2636044"/>
                  <a:gd name="connsiteX187" fmla="*/ 8067675 w 8801100"/>
                  <a:gd name="connsiteY187" fmla="*/ 1562100 h 2636044"/>
                  <a:gd name="connsiteX188" fmla="*/ 8084344 w 8801100"/>
                  <a:gd name="connsiteY188" fmla="*/ 1583531 h 2636044"/>
                  <a:gd name="connsiteX189" fmla="*/ 8039100 w 8801100"/>
                  <a:gd name="connsiteY189" fmla="*/ 1633537 h 2636044"/>
                  <a:gd name="connsiteX190" fmla="*/ 7889081 w 8801100"/>
                  <a:gd name="connsiteY190" fmla="*/ 1557337 h 2636044"/>
                  <a:gd name="connsiteX191" fmla="*/ 7798594 w 8801100"/>
                  <a:gd name="connsiteY191" fmla="*/ 1593056 h 2636044"/>
                  <a:gd name="connsiteX192" fmla="*/ 7724775 w 8801100"/>
                  <a:gd name="connsiteY192" fmla="*/ 1590675 h 2636044"/>
                  <a:gd name="connsiteX193" fmla="*/ 7667625 w 8801100"/>
                  <a:gd name="connsiteY193" fmla="*/ 1685925 h 2636044"/>
                  <a:gd name="connsiteX194" fmla="*/ 7529513 w 8801100"/>
                  <a:gd name="connsiteY194" fmla="*/ 1588294 h 2636044"/>
                  <a:gd name="connsiteX0" fmla="*/ 7529513 w 8801100"/>
                  <a:gd name="connsiteY0" fmla="*/ 1588294 h 2636044"/>
                  <a:gd name="connsiteX1" fmla="*/ 7522369 w 8801100"/>
                  <a:gd name="connsiteY1" fmla="*/ 1533525 h 2636044"/>
                  <a:gd name="connsiteX2" fmla="*/ 7589044 w 8801100"/>
                  <a:gd name="connsiteY2" fmla="*/ 1459706 h 2636044"/>
                  <a:gd name="connsiteX3" fmla="*/ 7572375 w 8801100"/>
                  <a:gd name="connsiteY3" fmla="*/ 1388269 h 2636044"/>
                  <a:gd name="connsiteX4" fmla="*/ 7586663 w 8801100"/>
                  <a:gd name="connsiteY4" fmla="*/ 1293019 h 2636044"/>
                  <a:gd name="connsiteX5" fmla="*/ 7624763 w 8801100"/>
                  <a:gd name="connsiteY5" fmla="*/ 1235869 h 2636044"/>
                  <a:gd name="connsiteX6" fmla="*/ 7605712 w 8801100"/>
                  <a:gd name="connsiteY6" fmla="*/ 1202531 h 2636044"/>
                  <a:gd name="connsiteX7" fmla="*/ 7703343 w 8801100"/>
                  <a:gd name="connsiteY7" fmla="*/ 802481 h 2636044"/>
                  <a:gd name="connsiteX8" fmla="*/ 7696200 w 8801100"/>
                  <a:gd name="connsiteY8" fmla="*/ 773906 h 2636044"/>
                  <a:gd name="connsiteX9" fmla="*/ 7567613 w 8801100"/>
                  <a:gd name="connsiteY9" fmla="*/ 752475 h 2636044"/>
                  <a:gd name="connsiteX10" fmla="*/ 7384257 w 8801100"/>
                  <a:gd name="connsiteY10" fmla="*/ 831056 h 2636044"/>
                  <a:gd name="connsiteX11" fmla="*/ 7227093 w 8801100"/>
                  <a:gd name="connsiteY11" fmla="*/ 716756 h 2636044"/>
                  <a:gd name="connsiteX12" fmla="*/ 7150894 w 8801100"/>
                  <a:gd name="connsiteY12" fmla="*/ 723900 h 2636044"/>
                  <a:gd name="connsiteX13" fmla="*/ 7077075 w 8801100"/>
                  <a:gd name="connsiteY13" fmla="*/ 719138 h 2636044"/>
                  <a:gd name="connsiteX14" fmla="*/ 6938963 w 8801100"/>
                  <a:gd name="connsiteY14" fmla="*/ 823913 h 2636044"/>
                  <a:gd name="connsiteX15" fmla="*/ 6831806 w 8801100"/>
                  <a:gd name="connsiteY15" fmla="*/ 931069 h 2636044"/>
                  <a:gd name="connsiteX16" fmla="*/ 6788944 w 8801100"/>
                  <a:gd name="connsiteY16" fmla="*/ 1000125 h 2636044"/>
                  <a:gd name="connsiteX17" fmla="*/ 6796088 w 8801100"/>
                  <a:gd name="connsiteY17" fmla="*/ 1035844 h 2636044"/>
                  <a:gd name="connsiteX18" fmla="*/ 6734175 w 8801100"/>
                  <a:gd name="connsiteY18" fmla="*/ 1047750 h 2636044"/>
                  <a:gd name="connsiteX19" fmla="*/ 6753225 w 8801100"/>
                  <a:gd name="connsiteY19" fmla="*/ 1047750 h 2636044"/>
                  <a:gd name="connsiteX20" fmla="*/ 6719888 w 8801100"/>
                  <a:gd name="connsiteY20" fmla="*/ 1078706 h 2636044"/>
                  <a:gd name="connsiteX21" fmla="*/ 6619875 w 8801100"/>
                  <a:gd name="connsiteY21" fmla="*/ 1078707 h 2636044"/>
                  <a:gd name="connsiteX22" fmla="*/ 6524625 w 8801100"/>
                  <a:gd name="connsiteY22" fmla="*/ 1133475 h 2636044"/>
                  <a:gd name="connsiteX23" fmla="*/ 6443663 w 8801100"/>
                  <a:gd name="connsiteY23" fmla="*/ 1143000 h 2636044"/>
                  <a:gd name="connsiteX24" fmla="*/ 6403181 w 8801100"/>
                  <a:gd name="connsiteY24" fmla="*/ 1176338 h 2636044"/>
                  <a:gd name="connsiteX25" fmla="*/ 6353175 w 8801100"/>
                  <a:gd name="connsiteY25" fmla="*/ 1181100 h 2636044"/>
                  <a:gd name="connsiteX26" fmla="*/ 6231732 w 8801100"/>
                  <a:gd name="connsiteY26" fmla="*/ 1273969 h 2636044"/>
                  <a:gd name="connsiteX27" fmla="*/ 6172200 w 8801100"/>
                  <a:gd name="connsiteY27" fmla="*/ 1278731 h 2636044"/>
                  <a:gd name="connsiteX28" fmla="*/ 6119813 w 8801100"/>
                  <a:gd name="connsiteY28" fmla="*/ 1243013 h 2636044"/>
                  <a:gd name="connsiteX29" fmla="*/ 6093619 w 8801100"/>
                  <a:gd name="connsiteY29" fmla="*/ 1278731 h 2636044"/>
                  <a:gd name="connsiteX30" fmla="*/ 5895975 w 8801100"/>
                  <a:gd name="connsiteY30" fmla="*/ 1271588 h 2636044"/>
                  <a:gd name="connsiteX31" fmla="*/ 5834063 w 8801100"/>
                  <a:gd name="connsiteY31" fmla="*/ 1226344 h 2636044"/>
                  <a:gd name="connsiteX32" fmla="*/ 5636419 w 8801100"/>
                  <a:gd name="connsiteY32" fmla="*/ 1243013 h 2636044"/>
                  <a:gd name="connsiteX33" fmla="*/ 5548313 w 8801100"/>
                  <a:gd name="connsiteY33" fmla="*/ 1159668 h 2636044"/>
                  <a:gd name="connsiteX34" fmla="*/ 5472113 w 8801100"/>
                  <a:gd name="connsiteY34" fmla="*/ 1114425 h 2636044"/>
                  <a:gd name="connsiteX35" fmla="*/ 5474493 w 8801100"/>
                  <a:gd name="connsiteY35" fmla="*/ 1057275 h 2636044"/>
                  <a:gd name="connsiteX36" fmla="*/ 5455444 w 8801100"/>
                  <a:gd name="connsiteY36" fmla="*/ 1014412 h 2636044"/>
                  <a:gd name="connsiteX37" fmla="*/ 5360194 w 8801100"/>
                  <a:gd name="connsiteY37" fmla="*/ 1016794 h 2636044"/>
                  <a:gd name="connsiteX38" fmla="*/ 5264944 w 8801100"/>
                  <a:gd name="connsiteY38" fmla="*/ 995363 h 2636044"/>
                  <a:gd name="connsiteX39" fmla="*/ 5195887 w 8801100"/>
                  <a:gd name="connsiteY39" fmla="*/ 928687 h 2636044"/>
                  <a:gd name="connsiteX40" fmla="*/ 5160169 w 8801100"/>
                  <a:gd name="connsiteY40" fmla="*/ 885825 h 2636044"/>
                  <a:gd name="connsiteX41" fmla="*/ 5079206 w 8801100"/>
                  <a:gd name="connsiteY41" fmla="*/ 862012 h 2636044"/>
                  <a:gd name="connsiteX42" fmla="*/ 5005388 w 8801100"/>
                  <a:gd name="connsiteY42" fmla="*/ 873918 h 2636044"/>
                  <a:gd name="connsiteX43" fmla="*/ 4948237 w 8801100"/>
                  <a:gd name="connsiteY43" fmla="*/ 821531 h 2636044"/>
                  <a:gd name="connsiteX44" fmla="*/ 4852988 w 8801100"/>
                  <a:gd name="connsiteY44" fmla="*/ 833438 h 2636044"/>
                  <a:gd name="connsiteX45" fmla="*/ 4800600 w 8801100"/>
                  <a:gd name="connsiteY45" fmla="*/ 807244 h 2636044"/>
                  <a:gd name="connsiteX46" fmla="*/ 4719638 w 8801100"/>
                  <a:gd name="connsiteY46" fmla="*/ 850106 h 2636044"/>
                  <a:gd name="connsiteX47" fmla="*/ 4581525 w 8801100"/>
                  <a:gd name="connsiteY47" fmla="*/ 873919 h 2636044"/>
                  <a:gd name="connsiteX48" fmla="*/ 4452938 w 8801100"/>
                  <a:gd name="connsiteY48" fmla="*/ 966788 h 2636044"/>
                  <a:gd name="connsiteX49" fmla="*/ 4405312 w 8801100"/>
                  <a:gd name="connsiteY49" fmla="*/ 928688 h 2636044"/>
                  <a:gd name="connsiteX50" fmla="*/ 4383881 w 8801100"/>
                  <a:gd name="connsiteY50" fmla="*/ 959643 h 2636044"/>
                  <a:gd name="connsiteX51" fmla="*/ 4310063 w 8801100"/>
                  <a:gd name="connsiteY51" fmla="*/ 909638 h 2636044"/>
                  <a:gd name="connsiteX52" fmla="*/ 4271963 w 8801100"/>
                  <a:gd name="connsiteY52" fmla="*/ 916781 h 2636044"/>
                  <a:gd name="connsiteX53" fmla="*/ 4250531 w 8801100"/>
                  <a:gd name="connsiteY53" fmla="*/ 878681 h 2636044"/>
                  <a:gd name="connsiteX54" fmla="*/ 4191000 w 8801100"/>
                  <a:gd name="connsiteY54" fmla="*/ 883444 h 2636044"/>
                  <a:gd name="connsiteX55" fmla="*/ 4145756 w 8801100"/>
                  <a:gd name="connsiteY55" fmla="*/ 854869 h 2636044"/>
                  <a:gd name="connsiteX56" fmla="*/ 4107656 w 8801100"/>
                  <a:gd name="connsiteY56" fmla="*/ 852488 h 2636044"/>
                  <a:gd name="connsiteX57" fmla="*/ 4088606 w 8801100"/>
                  <a:gd name="connsiteY57" fmla="*/ 804862 h 2636044"/>
                  <a:gd name="connsiteX58" fmla="*/ 4074319 w 8801100"/>
                  <a:gd name="connsiteY58" fmla="*/ 773906 h 2636044"/>
                  <a:gd name="connsiteX59" fmla="*/ 4029075 w 8801100"/>
                  <a:gd name="connsiteY59" fmla="*/ 783431 h 2636044"/>
                  <a:gd name="connsiteX60" fmla="*/ 4010025 w 8801100"/>
                  <a:gd name="connsiteY60" fmla="*/ 747713 h 2636044"/>
                  <a:gd name="connsiteX61" fmla="*/ 4031457 w 8801100"/>
                  <a:gd name="connsiteY61" fmla="*/ 692944 h 2636044"/>
                  <a:gd name="connsiteX62" fmla="*/ 4000500 w 8801100"/>
                  <a:gd name="connsiteY62" fmla="*/ 666750 h 2636044"/>
                  <a:gd name="connsiteX63" fmla="*/ 4017169 w 8801100"/>
                  <a:gd name="connsiteY63" fmla="*/ 623888 h 2636044"/>
                  <a:gd name="connsiteX64" fmla="*/ 3990975 w 8801100"/>
                  <a:gd name="connsiteY64" fmla="*/ 581025 h 2636044"/>
                  <a:gd name="connsiteX65" fmla="*/ 3986213 w 8801100"/>
                  <a:gd name="connsiteY65" fmla="*/ 519113 h 2636044"/>
                  <a:gd name="connsiteX66" fmla="*/ 4010025 w 8801100"/>
                  <a:gd name="connsiteY66" fmla="*/ 454818 h 2636044"/>
                  <a:gd name="connsiteX67" fmla="*/ 3971925 w 8801100"/>
                  <a:gd name="connsiteY67" fmla="*/ 457200 h 2636044"/>
                  <a:gd name="connsiteX68" fmla="*/ 3852863 w 8801100"/>
                  <a:gd name="connsiteY68" fmla="*/ 400050 h 2636044"/>
                  <a:gd name="connsiteX69" fmla="*/ 3814762 w 8801100"/>
                  <a:gd name="connsiteY69" fmla="*/ 404812 h 2636044"/>
                  <a:gd name="connsiteX70" fmla="*/ 3609975 w 8801100"/>
                  <a:gd name="connsiteY70" fmla="*/ 295275 h 2636044"/>
                  <a:gd name="connsiteX71" fmla="*/ 3505200 w 8801100"/>
                  <a:gd name="connsiteY71" fmla="*/ 264319 h 2636044"/>
                  <a:gd name="connsiteX72" fmla="*/ 3440906 w 8801100"/>
                  <a:gd name="connsiteY72" fmla="*/ 273843 h 2636044"/>
                  <a:gd name="connsiteX73" fmla="*/ 3409950 w 8801100"/>
                  <a:gd name="connsiteY73" fmla="*/ 209550 h 2636044"/>
                  <a:gd name="connsiteX74" fmla="*/ 3352800 w 8801100"/>
                  <a:gd name="connsiteY74" fmla="*/ 209550 h 2636044"/>
                  <a:gd name="connsiteX75" fmla="*/ 3214687 w 8801100"/>
                  <a:gd name="connsiteY75" fmla="*/ 104775 h 2636044"/>
                  <a:gd name="connsiteX76" fmla="*/ 3181350 w 8801100"/>
                  <a:gd name="connsiteY76" fmla="*/ 164307 h 2636044"/>
                  <a:gd name="connsiteX77" fmla="*/ 3126581 w 8801100"/>
                  <a:gd name="connsiteY77" fmla="*/ 233363 h 2636044"/>
                  <a:gd name="connsiteX78" fmla="*/ 3083719 w 8801100"/>
                  <a:gd name="connsiteY78" fmla="*/ 250031 h 2636044"/>
                  <a:gd name="connsiteX79" fmla="*/ 3052763 w 8801100"/>
                  <a:gd name="connsiteY79" fmla="*/ 242888 h 2636044"/>
                  <a:gd name="connsiteX80" fmla="*/ 3028950 w 8801100"/>
                  <a:gd name="connsiteY80" fmla="*/ 271463 h 2636044"/>
                  <a:gd name="connsiteX81" fmla="*/ 3002756 w 8801100"/>
                  <a:gd name="connsiteY81" fmla="*/ 350044 h 2636044"/>
                  <a:gd name="connsiteX82" fmla="*/ 2959894 w 8801100"/>
                  <a:gd name="connsiteY82" fmla="*/ 347663 h 2636044"/>
                  <a:gd name="connsiteX83" fmla="*/ 2928937 w 8801100"/>
                  <a:gd name="connsiteY83" fmla="*/ 409575 h 2636044"/>
                  <a:gd name="connsiteX84" fmla="*/ 2924175 w 8801100"/>
                  <a:gd name="connsiteY84" fmla="*/ 473869 h 2636044"/>
                  <a:gd name="connsiteX85" fmla="*/ 2897982 w 8801100"/>
                  <a:gd name="connsiteY85" fmla="*/ 511969 h 2636044"/>
                  <a:gd name="connsiteX86" fmla="*/ 2924175 w 8801100"/>
                  <a:gd name="connsiteY86" fmla="*/ 571500 h 2636044"/>
                  <a:gd name="connsiteX87" fmla="*/ 2926556 w 8801100"/>
                  <a:gd name="connsiteY87" fmla="*/ 640556 h 2636044"/>
                  <a:gd name="connsiteX88" fmla="*/ 2955131 w 8801100"/>
                  <a:gd name="connsiteY88" fmla="*/ 692944 h 2636044"/>
                  <a:gd name="connsiteX89" fmla="*/ 3002757 w 8801100"/>
                  <a:gd name="connsiteY89" fmla="*/ 747713 h 2636044"/>
                  <a:gd name="connsiteX90" fmla="*/ 2952750 w 8801100"/>
                  <a:gd name="connsiteY90" fmla="*/ 885825 h 2636044"/>
                  <a:gd name="connsiteX91" fmla="*/ 2883694 w 8801100"/>
                  <a:gd name="connsiteY91" fmla="*/ 952500 h 2636044"/>
                  <a:gd name="connsiteX92" fmla="*/ 2812256 w 8801100"/>
                  <a:gd name="connsiteY92" fmla="*/ 947738 h 2636044"/>
                  <a:gd name="connsiteX93" fmla="*/ 2774156 w 8801100"/>
                  <a:gd name="connsiteY93" fmla="*/ 1004888 h 2636044"/>
                  <a:gd name="connsiteX94" fmla="*/ 2714625 w 8801100"/>
                  <a:gd name="connsiteY94" fmla="*/ 1019175 h 2636044"/>
                  <a:gd name="connsiteX95" fmla="*/ 2645569 w 8801100"/>
                  <a:gd name="connsiteY95" fmla="*/ 959644 h 2636044"/>
                  <a:gd name="connsiteX96" fmla="*/ 2590800 w 8801100"/>
                  <a:gd name="connsiteY96" fmla="*/ 931069 h 2636044"/>
                  <a:gd name="connsiteX97" fmla="*/ 2547938 w 8801100"/>
                  <a:gd name="connsiteY97" fmla="*/ 945356 h 2636044"/>
                  <a:gd name="connsiteX98" fmla="*/ 2495550 w 8801100"/>
                  <a:gd name="connsiteY98" fmla="*/ 928688 h 2636044"/>
                  <a:gd name="connsiteX99" fmla="*/ 2428875 w 8801100"/>
                  <a:gd name="connsiteY99" fmla="*/ 873919 h 2636044"/>
                  <a:gd name="connsiteX100" fmla="*/ 2383631 w 8801100"/>
                  <a:gd name="connsiteY100" fmla="*/ 885825 h 2636044"/>
                  <a:gd name="connsiteX101" fmla="*/ 2362200 w 8801100"/>
                  <a:gd name="connsiteY101" fmla="*/ 854869 h 2636044"/>
                  <a:gd name="connsiteX102" fmla="*/ 2305050 w 8801100"/>
                  <a:gd name="connsiteY102" fmla="*/ 895350 h 2636044"/>
                  <a:gd name="connsiteX103" fmla="*/ 2188369 w 8801100"/>
                  <a:gd name="connsiteY103" fmla="*/ 873919 h 2636044"/>
                  <a:gd name="connsiteX104" fmla="*/ 2138363 w 8801100"/>
                  <a:gd name="connsiteY104" fmla="*/ 821531 h 2636044"/>
                  <a:gd name="connsiteX105" fmla="*/ 2095500 w 8801100"/>
                  <a:gd name="connsiteY105" fmla="*/ 807244 h 2636044"/>
                  <a:gd name="connsiteX106" fmla="*/ 2052638 w 8801100"/>
                  <a:gd name="connsiteY106" fmla="*/ 833438 h 2636044"/>
                  <a:gd name="connsiteX107" fmla="*/ 2000250 w 8801100"/>
                  <a:gd name="connsiteY107" fmla="*/ 742950 h 2636044"/>
                  <a:gd name="connsiteX108" fmla="*/ 1990725 w 8801100"/>
                  <a:gd name="connsiteY108" fmla="*/ 595312 h 2636044"/>
                  <a:gd name="connsiteX109" fmla="*/ 1938337 w 8801100"/>
                  <a:gd name="connsiteY109" fmla="*/ 588168 h 2636044"/>
                  <a:gd name="connsiteX110" fmla="*/ 1847850 w 8801100"/>
                  <a:gd name="connsiteY110" fmla="*/ 578644 h 2636044"/>
                  <a:gd name="connsiteX111" fmla="*/ 1793081 w 8801100"/>
                  <a:gd name="connsiteY111" fmla="*/ 540544 h 2636044"/>
                  <a:gd name="connsiteX112" fmla="*/ 1724025 w 8801100"/>
                  <a:gd name="connsiteY112" fmla="*/ 550069 h 2636044"/>
                  <a:gd name="connsiteX113" fmla="*/ 1678781 w 8801100"/>
                  <a:gd name="connsiteY113" fmla="*/ 523875 h 2636044"/>
                  <a:gd name="connsiteX114" fmla="*/ 1669257 w 8801100"/>
                  <a:gd name="connsiteY114" fmla="*/ 452438 h 2636044"/>
                  <a:gd name="connsiteX115" fmla="*/ 1645444 w 8801100"/>
                  <a:gd name="connsiteY115" fmla="*/ 438150 h 2636044"/>
                  <a:gd name="connsiteX116" fmla="*/ 1607344 w 8801100"/>
                  <a:gd name="connsiteY116" fmla="*/ 485774 h 2636044"/>
                  <a:gd name="connsiteX117" fmla="*/ 1528762 w 8801100"/>
                  <a:gd name="connsiteY117" fmla="*/ 411956 h 2636044"/>
                  <a:gd name="connsiteX118" fmla="*/ 1488281 w 8801100"/>
                  <a:gd name="connsiteY118" fmla="*/ 452438 h 2636044"/>
                  <a:gd name="connsiteX119" fmla="*/ 1412081 w 8801100"/>
                  <a:gd name="connsiteY119" fmla="*/ 438150 h 2636044"/>
                  <a:gd name="connsiteX120" fmla="*/ 1333500 w 8801100"/>
                  <a:gd name="connsiteY120" fmla="*/ 464344 h 2636044"/>
                  <a:gd name="connsiteX121" fmla="*/ 1273969 w 8801100"/>
                  <a:gd name="connsiteY121" fmla="*/ 511968 h 2636044"/>
                  <a:gd name="connsiteX122" fmla="*/ 1200150 w 8801100"/>
                  <a:gd name="connsiteY122" fmla="*/ 523875 h 2636044"/>
                  <a:gd name="connsiteX123" fmla="*/ 1164431 w 8801100"/>
                  <a:gd name="connsiteY123" fmla="*/ 516731 h 2636044"/>
                  <a:gd name="connsiteX124" fmla="*/ 1085851 w 8801100"/>
                  <a:gd name="connsiteY124" fmla="*/ 547688 h 2636044"/>
                  <a:gd name="connsiteX125" fmla="*/ 1064419 w 8801100"/>
                  <a:gd name="connsiteY125" fmla="*/ 576263 h 2636044"/>
                  <a:gd name="connsiteX126" fmla="*/ 997744 w 8801100"/>
                  <a:gd name="connsiteY126" fmla="*/ 566738 h 2636044"/>
                  <a:gd name="connsiteX127" fmla="*/ 928688 w 8801100"/>
                  <a:gd name="connsiteY127" fmla="*/ 590550 h 2636044"/>
                  <a:gd name="connsiteX128" fmla="*/ 873919 w 8801100"/>
                  <a:gd name="connsiteY128" fmla="*/ 628650 h 2636044"/>
                  <a:gd name="connsiteX129" fmla="*/ 778669 w 8801100"/>
                  <a:gd name="connsiteY129" fmla="*/ 642937 h 2636044"/>
                  <a:gd name="connsiteX130" fmla="*/ 764381 w 8801100"/>
                  <a:gd name="connsiteY130" fmla="*/ 664369 h 2636044"/>
                  <a:gd name="connsiteX131" fmla="*/ 776287 w 8801100"/>
                  <a:gd name="connsiteY131" fmla="*/ 709613 h 2636044"/>
                  <a:gd name="connsiteX132" fmla="*/ 676276 w 8801100"/>
                  <a:gd name="connsiteY132" fmla="*/ 762000 h 2636044"/>
                  <a:gd name="connsiteX133" fmla="*/ 638175 w 8801100"/>
                  <a:gd name="connsiteY133" fmla="*/ 733424 h 2636044"/>
                  <a:gd name="connsiteX134" fmla="*/ 607219 w 8801100"/>
                  <a:gd name="connsiteY134" fmla="*/ 790575 h 2636044"/>
                  <a:gd name="connsiteX135" fmla="*/ 550069 w 8801100"/>
                  <a:gd name="connsiteY135" fmla="*/ 752475 h 2636044"/>
                  <a:gd name="connsiteX136" fmla="*/ 514350 w 8801100"/>
                  <a:gd name="connsiteY136" fmla="*/ 781050 h 2636044"/>
                  <a:gd name="connsiteX137" fmla="*/ 478631 w 8801100"/>
                  <a:gd name="connsiteY137" fmla="*/ 745331 h 2636044"/>
                  <a:gd name="connsiteX138" fmla="*/ 426244 w 8801100"/>
                  <a:gd name="connsiteY138" fmla="*/ 757238 h 2636044"/>
                  <a:gd name="connsiteX139" fmla="*/ 381000 w 8801100"/>
                  <a:gd name="connsiteY139" fmla="*/ 728663 h 2636044"/>
                  <a:gd name="connsiteX140" fmla="*/ 357188 w 8801100"/>
                  <a:gd name="connsiteY140" fmla="*/ 747713 h 2636044"/>
                  <a:gd name="connsiteX141" fmla="*/ 333375 w 8801100"/>
                  <a:gd name="connsiteY141" fmla="*/ 807244 h 2636044"/>
                  <a:gd name="connsiteX142" fmla="*/ 261938 w 8801100"/>
                  <a:gd name="connsiteY142" fmla="*/ 845343 h 2636044"/>
                  <a:gd name="connsiteX143" fmla="*/ 209550 w 8801100"/>
                  <a:gd name="connsiteY143" fmla="*/ 816769 h 2636044"/>
                  <a:gd name="connsiteX144" fmla="*/ 119063 w 8801100"/>
                  <a:gd name="connsiteY144" fmla="*/ 826294 h 2636044"/>
                  <a:gd name="connsiteX145" fmla="*/ 71437 w 8801100"/>
                  <a:gd name="connsiteY145" fmla="*/ 792957 h 2636044"/>
                  <a:gd name="connsiteX146" fmla="*/ 0 w 8801100"/>
                  <a:gd name="connsiteY146" fmla="*/ 812006 h 2636044"/>
                  <a:gd name="connsiteX147" fmla="*/ 4762 w 8801100"/>
                  <a:gd name="connsiteY147" fmla="*/ 0 h 2636044"/>
                  <a:gd name="connsiteX148" fmla="*/ 7577137 w 8801100"/>
                  <a:gd name="connsiteY148" fmla="*/ 2636044 h 2636044"/>
                  <a:gd name="connsiteX149" fmla="*/ 7750969 w 8801100"/>
                  <a:gd name="connsiteY149" fmla="*/ 2578893 h 2636044"/>
                  <a:gd name="connsiteX150" fmla="*/ 7810500 w 8801100"/>
                  <a:gd name="connsiteY150" fmla="*/ 2466975 h 2636044"/>
                  <a:gd name="connsiteX151" fmla="*/ 7874794 w 8801100"/>
                  <a:gd name="connsiteY151" fmla="*/ 2431256 h 2636044"/>
                  <a:gd name="connsiteX152" fmla="*/ 7853363 w 8801100"/>
                  <a:gd name="connsiteY152" fmla="*/ 2386013 h 2636044"/>
                  <a:gd name="connsiteX153" fmla="*/ 7931944 w 8801100"/>
                  <a:gd name="connsiteY153" fmla="*/ 2216943 h 2636044"/>
                  <a:gd name="connsiteX154" fmla="*/ 7986713 w 8801100"/>
                  <a:gd name="connsiteY154" fmla="*/ 2157413 h 2636044"/>
                  <a:gd name="connsiteX155" fmla="*/ 8024813 w 8801100"/>
                  <a:gd name="connsiteY155" fmla="*/ 2152650 h 2636044"/>
                  <a:gd name="connsiteX156" fmla="*/ 8070056 w 8801100"/>
                  <a:gd name="connsiteY156" fmla="*/ 2157413 h 2636044"/>
                  <a:gd name="connsiteX157" fmla="*/ 8134350 w 8801100"/>
                  <a:gd name="connsiteY157" fmla="*/ 2124075 h 2636044"/>
                  <a:gd name="connsiteX158" fmla="*/ 8143875 w 8801100"/>
                  <a:gd name="connsiteY158" fmla="*/ 2059781 h 2636044"/>
                  <a:gd name="connsiteX159" fmla="*/ 8184355 w 8801100"/>
                  <a:gd name="connsiteY159" fmla="*/ 2024063 h 2636044"/>
                  <a:gd name="connsiteX160" fmla="*/ 8243888 w 8801100"/>
                  <a:gd name="connsiteY160" fmla="*/ 2064543 h 2636044"/>
                  <a:gd name="connsiteX161" fmla="*/ 8270082 w 8801100"/>
                  <a:gd name="connsiteY161" fmla="*/ 2014537 h 2636044"/>
                  <a:gd name="connsiteX162" fmla="*/ 8365331 w 8801100"/>
                  <a:gd name="connsiteY162" fmla="*/ 1945481 h 2636044"/>
                  <a:gd name="connsiteX163" fmla="*/ 8427244 w 8801100"/>
                  <a:gd name="connsiteY163" fmla="*/ 1952625 h 2636044"/>
                  <a:gd name="connsiteX164" fmla="*/ 8477250 w 8801100"/>
                  <a:gd name="connsiteY164" fmla="*/ 1933575 h 2636044"/>
                  <a:gd name="connsiteX165" fmla="*/ 8515350 w 8801100"/>
                  <a:gd name="connsiteY165" fmla="*/ 1905000 h 2636044"/>
                  <a:gd name="connsiteX166" fmla="*/ 8548688 w 8801100"/>
                  <a:gd name="connsiteY166" fmla="*/ 1902619 h 2636044"/>
                  <a:gd name="connsiteX167" fmla="*/ 8584406 w 8801100"/>
                  <a:gd name="connsiteY167" fmla="*/ 1933575 h 2636044"/>
                  <a:gd name="connsiteX168" fmla="*/ 8643938 w 8801100"/>
                  <a:gd name="connsiteY168" fmla="*/ 1933575 h 2636044"/>
                  <a:gd name="connsiteX169" fmla="*/ 8682037 w 8801100"/>
                  <a:gd name="connsiteY169" fmla="*/ 1914525 h 2636044"/>
                  <a:gd name="connsiteX170" fmla="*/ 8765381 w 8801100"/>
                  <a:gd name="connsiteY170" fmla="*/ 1916907 h 2636044"/>
                  <a:gd name="connsiteX171" fmla="*/ 8796338 w 8801100"/>
                  <a:gd name="connsiteY171" fmla="*/ 1871663 h 2636044"/>
                  <a:gd name="connsiteX172" fmla="*/ 8801100 w 8801100"/>
                  <a:gd name="connsiteY172" fmla="*/ 1809750 h 2636044"/>
                  <a:gd name="connsiteX173" fmla="*/ 8751093 w 8801100"/>
                  <a:gd name="connsiteY173" fmla="*/ 1769269 h 2636044"/>
                  <a:gd name="connsiteX174" fmla="*/ 8734425 w 8801100"/>
                  <a:gd name="connsiteY174" fmla="*/ 1714500 h 2636044"/>
                  <a:gd name="connsiteX175" fmla="*/ 8643938 w 8801100"/>
                  <a:gd name="connsiteY175" fmla="*/ 1652588 h 2636044"/>
                  <a:gd name="connsiteX176" fmla="*/ 8603456 w 8801100"/>
                  <a:gd name="connsiteY176" fmla="*/ 1631156 h 2636044"/>
                  <a:gd name="connsiteX177" fmla="*/ 8565356 w 8801100"/>
                  <a:gd name="connsiteY177" fmla="*/ 1585913 h 2636044"/>
                  <a:gd name="connsiteX178" fmla="*/ 8534400 w 8801100"/>
                  <a:gd name="connsiteY178" fmla="*/ 1583531 h 2636044"/>
                  <a:gd name="connsiteX179" fmla="*/ 8517731 w 8801100"/>
                  <a:gd name="connsiteY179" fmla="*/ 1531144 h 2636044"/>
                  <a:gd name="connsiteX180" fmla="*/ 8477250 w 8801100"/>
                  <a:gd name="connsiteY180" fmla="*/ 1514475 h 2636044"/>
                  <a:gd name="connsiteX181" fmla="*/ 8477250 w 8801100"/>
                  <a:gd name="connsiteY181" fmla="*/ 1514475 h 2636044"/>
                  <a:gd name="connsiteX182" fmla="*/ 8436769 w 8801100"/>
                  <a:gd name="connsiteY182" fmla="*/ 1519238 h 2636044"/>
                  <a:gd name="connsiteX183" fmla="*/ 8351043 w 8801100"/>
                  <a:gd name="connsiteY183" fmla="*/ 1445419 h 2636044"/>
                  <a:gd name="connsiteX184" fmla="*/ 8170069 w 8801100"/>
                  <a:gd name="connsiteY184" fmla="*/ 1445418 h 2636044"/>
                  <a:gd name="connsiteX185" fmla="*/ 8117681 w 8801100"/>
                  <a:gd name="connsiteY185" fmla="*/ 1483519 h 2636044"/>
                  <a:gd name="connsiteX186" fmla="*/ 8067675 w 8801100"/>
                  <a:gd name="connsiteY186" fmla="*/ 1562100 h 2636044"/>
                  <a:gd name="connsiteX187" fmla="*/ 8084344 w 8801100"/>
                  <a:gd name="connsiteY187" fmla="*/ 1583531 h 2636044"/>
                  <a:gd name="connsiteX188" fmla="*/ 8039100 w 8801100"/>
                  <a:gd name="connsiteY188" fmla="*/ 1633537 h 2636044"/>
                  <a:gd name="connsiteX189" fmla="*/ 7889081 w 8801100"/>
                  <a:gd name="connsiteY189" fmla="*/ 1557337 h 2636044"/>
                  <a:gd name="connsiteX190" fmla="*/ 7798594 w 8801100"/>
                  <a:gd name="connsiteY190" fmla="*/ 1593056 h 2636044"/>
                  <a:gd name="connsiteX191" fmla="*/ 7724775 w 8801100"/>
                  <a:gd name="connsiteY191" fmla="*/ 1590675 h 2636044"/>
                  <a:gd name="connsiteX192" fmla="*/ 7667625 w 8801100"/>
                  <a:gd name="connsiteY192" fmla="*/ 1685925 h 2636044"/>
                  <a:gd name="connsiteX193" fmla="*/ 7529513 w 8801100"/>
                  <a:gd name="connsiteY193" fmla="*/ 1588294 h 2636044"/>
                  <a:gd name="connsiteX0" fmla="*/ 7529513 w 8801100"/>
                  <a:gd name="connsiteY0" fmla="*/ 1588294 h 2578893"/>
                  <a:gd name="connsiteX1" fmla="*/ 7522369 w 8801100"/>
                  <a:gd name="connsiteY1" fmla="*/ 1533525 h 2578893"/>
                  <a:gd name="connsiteX2" fmla="*/ 7589044 w 8801100"/>
                  <a:gd name="connsiteY2" fmla="*/ 1459706 h 2578893"/>
                  <a:gd name="connsiteX3" fmla="*/ 7572375 w 8801100"/>
                  <a:gd name="connsiteY3" fmla="*/ 1388269 h 2578893"/>
                  <a:gd name="connsiteX4" fmla="*/ 7586663 w 8801100"/>
                  <a:gd name="connsiteY4" fmla="*/ 1293019 h 2578893"/>
                  <a:gd name="connsiteX5" fmla="*/ 7624763 w 8801100"/>
                  <a:gd name="connsiteY5" fmla="*/ 1235869 h 2578893"/>
                  <a:gd name="connsiteX6" fmla="*/ 7605712 w 8801100"/>
                  <a:gd name="connsiteY6" fmla="*/ 1202531 h 2578893"/>
                  <a:gd name="connsiteX7" fmla="*/ 7703343 w 8801100"/>
                  <a:gd name="connsiteY7" fmla="*/ 802481 h 2578893"/>
                  <a:gd name="connsiteX8" fmla="*/ 7696200 w 8801100"/>
                  <a:gd name="connsiteY8" fmla="*/ 773906 h 2578893"/>
                  <a:gd name="connsiteX9" fmla="*/ 7567613 w 8801100"/>
                  <a:gd name="connsiteY9" fmla="*/ 752475 h 2578893"/>
                  <a:gd name="connsiteX10" fmla="*/ 7384257 w 8801100"/>
                  <a:gd name="connsiteY10" fmla="*/ 831056 h 2578893"/>
                  <a:gd name="connsiteX11" fmla="*/ 7227093 w 8801100"/>
                  <a:gd name="connsiteY11" fmla="*/ 716756 h 2578893"/>
                  <a:gd name="connsiteX12" fmla="*/ 7150894 w 8801100"/>
                  <a:gd name="connsiteY12" fmla="*/ 723900 h 2578893"/>
                  <a:gd name="connsiteX13" fmla="*/ 7077075 w 8801100"/>
                  <a:gd name="connsiteY13" fmla="*/ 719138 h 2578893"/>
                  <a:gd name="connsiteX14" fmla="*/ 6938963 w 8801100"/>
                  <a:gd name="connsiteY14" fmla="*/ 823913 h 2578893"/>
                  <a:gd name="connsiteX15" fmla="*/ 6831806 w 8801100"/>
                  <a:gd name="connsiteY15" fmla="*/ 931069 h 2578893"/>
                  <a:gd name="connsiteX16" fmla="*/ 6788944 w 8801100"/>
                  <a:gd name="connsiteY16" fmla="*/ 1000125 h 2578893"/>
                  <a:gd name="connsiteX17" fmla="*/ 6796088 w 8801100"/>
                  <a:gd name="connsiteY17" fmla="*/ 1035844 h 2578893"/>
                  <a:gd name="connsiteX18" fmla="*/ 6734175 w 8801100"/>
                  <a:gd name="connsiteY18" fmla="*/ 1047750 h 2578893"/>
                  <a:gd name="connsiteX19" fmla="*/ 6753225 w 8801100"/>
                  <a:gd name="connsiteY19" fmla="*/ 1047750 h 2578893"/>
                  <a:gd name="connsiteX20" fmla="*/ 6719888 w 8801100"/>
                  <a:gd name="connsiteY20" fmla="*/ 1078706 h 2578893"/>
                  <a:gd name="connsiteX21" fmla="*/ 6619875 w 8801100"/>
                  <a:gd name="connsiteY21" fmla="*/ 1078707 h 2578893"/>
                  <a:gd name="connsiteX22" fmla="*/ 6524625 w 8801100"/>
                  <a:gd name="connsiteY22" fmla="*/ 1133475 h 2578893"/>
                  <a:gd name="connsiteX23" fmla="*/ 6443663 w 8801100"/>
                  <a:gd name="connsiteY23" fmla="*/ 1143000 h 2578893"/>
                  <a:gd name="connsiteX24" fmla="*/ 6403181 w 8801100"/>
                  <a:gd name="connsiteY24" fmla="*/ 1176338 h 2578893"/>
                  <a:gd name="connsiteX25" fmla="*/ 6353175 w 8801100"/>
                  <a:gd name="connsiteY25" fmla="*/ 1181100 h 2578893"/>
                  <a:gd name="connsiteX26" fmla="*/ 6231732 w 8801100"/>
                  <a:gd name="connsiteY26" fmla="*/ 1273969 h 2578893"/>
                  <a:gd name="connsiteX27" fmla="*/ 6172200 w 8801100"/>
                  <a:gd name="connsiteY27" fmla="*/ 1278731 h 2578893"/>
                  <a:gd name="connsiteX28" fmla="*/ 6119813 w 8801100"/>
                  <a:gd name="connsiteY28" fmla="*/ 1243013 h 2578893"/>
                  <a:gd name="connsiteX29" fmla="*/ 6093619 w 8801100"/>
                  <a:gd name="connsiteY29" fmla="*/ 1278731 h 2578893"/>
                  <a:gd name="connsiteX30" fmla="*/ 5895975 w 8801100"/>
                  <a:gd name="connsiteY30" fmla="*/ 1271588 h 2578893"/>
                  <a:gd name="connsiteX31" fmla="*/ 5834063 w 8801100"/>
                  <a:gd name="connsiteY31" fmla="*/ 1226344 h 2578893"/>
                  <a:gd name="connsiteX32" fmla="*/ 5636419 w 8801100"/>
                  <a:gd name="connsiteY32" fmla="*/ 1243013 h 2578893"/>
                  <a:gd name="connsiteX33" fmla="*/ 5548313 w 8801100"/>
                  <a:gd name="connsiteY33" fmla="*/ 1159668 h 2578893"/>
                  <a:gd name="connsiteX34" fmla="*/ 5472113 w 8801100"/>
                  <a:gd name="connsiteY34" fmla="*/ 1114425 h 2578893"/>
                  <a:gd name="connsiteX35" fmla="*/ 5474493 w 8801100"/>
                  <a:gd name="connsiteY35" fmla="*/ 1057275 h 2578893"/>
                  <a:gd name="connsiteX36" fmla="*/ 5455444 w 8801100"/>
                  <a:gd name="connsiteY36" fmla="*/ 1014412 h 2578893"/>
                  <a:gd name="connsiteX37" fmla="*/ 5360194 w 8801100"/>
                  <a:gd name="connsiteY37" fmla="*/ 1016794 h 2578893"/>
                  <a:gd name="connsiteX38" fmla="*/ 5264944 w 8801100"/>
                  <a:gd name="connsiteY38" fmla="*/ 995363 h 2578893"/>
                  <a:gd name="connsiteX39" fmla="*/ 5195887 w 8801100"/>
                  <a:gd name="connsiteY39" fmla="*/ 928687 h 2578893"/>
                  <a:gd name="connsiteX40" fmla="*/ 5160169 w 8801100"/>
                  <a:gd name="connsiteY40" fmla="*/ 885825 h 2578893"/>
                  <a:gd name="connsiteX41" fmla="*/ 5079206 w 8801100"/>
                  <a:gd name="connsiteY41" fmla="*/ 862012 h 2578893"/>
                  <a:gd name="connsiteX42" fmla="*/ 5005388 w 8801100"/>
                  <a:gd name="connsiteY42" fmla="*/ 873918 h 2578893"/>
                  <a:gd name="connsiteX43" fmla="*/ 4948237 w 8801100"/>
                  <a:gd name="connsiteY43" fmla="*/ 821531 h 2578893"/>
                  <a:gd name="connsiteX44" fmla="*/ 4852988 w 8801100"/>
                  <a:gd name="connsiteY44" fmla="*/ 833438 h 2578893"/>
                  <a:gd name="connsiteX45" fmla="*/ 4800600 w 8801100"/>
                  <a:gd name="connsiteY45" fmla="*/ 807244 h 2578893"/>
                  <a:gd name="connsiteX46" fmla="*/ 4719638 w 8801100"/>
                  <a:gd name="connsiteY46" fmla="*/ 850106 h 2578893"/>
                  <a:gd name="connsiteX47" fmla="*/ 4581525 w 8801100"/>
                  <a:gd name="connsiteY47" fmla="*/ 873919 h 2578893"/>
                  <a:gd name="connsiteX48" fmla="*/ 4452938 w 8801100"/>
                  <a:gd name="connsiteY48" fmla="*/ 966788 h 2578893"/>
                  <a:gd name="connsiteX49" fmla="*/ 4405312 w 8801100"/>
                  <a:gd name="connsiteY49" fmla="*/ 928688 h 2578893"/>
                  <a:gd name="connsiteX50" fmla="*/ 4383881 w 8801100"/>
                  <a:gd name="connsiteY50" fmla="*/ 959643 h 2578893"/>
                  <a:gd name="connsiteX51" fmla="*/ 4310063 w 8801100"/>
                  <a:gd name="connsiteY51" fmla="*/ 909638 h 2578893"/>
                  <a:gd name="connsiteX52" fmla="*/ 4271963 w 8801100"/>
                  <a:gd name="connsiteY52" fmla="*/ 916781 h 2578893"/>
                  <a:gd name="connsiteX53" fmla="*/ 4250531 w 8801100"/>
                  <a:gd name="connsiteY53" fmla="*/ 878681 h 2578893"/>
                  <a:gd name="connsiteX54" fmla="*/ 4191000 w 8801100"/>
                  <a:gd name="connsiteY54" fmla="*/ 883444 h 2578893"/>
                  <a:gd name="connsiteX55" fmla="*/ 4145756 w 8801100"/>
                  <a:gd name="connsiteY55" fmla="*/ 854869 h 2578893"/>
                  <a:gd name="connsiteX56" fmla="*/ 4107656 w 8801100"/>
                  <a:gd name="connsiteY56" fmla="*/ 852488 h 2578893"/>
                  <a:gd name="connsiteX57" fmla="*/ 4088606 w 8801100"/>
                  <a:gd name="connsiteY57" fmla="*/ 804862 h 2578893"/>
                  <a:gd name="connsiteX58" fmla="*/ 4074319 w 8801100"/>
                  <a:gd name="connsiteY58" fmla="*/ 773906 h 2578893"/>
                  <a:gd name="connsiteX59" fmla="*/ 4029075 w 8801100"/>
                  <a:gd name="connsiteY59" fmla="*/ 783431 h 2578893"/>
                  <a:gd name="connsiteX60" fmla="*/ 4010025 w 8801100"/>
                  <a:gd name="connsiteY60" fmla="*/ 747713 h 2578893"/>
                  <a:gd name="connsiteX61" fmla="*/ 4031457 w 8801100"/>
                  <a:gd name="connsiteY61" fmla="*/ 692944 h 2578893"/>
                  <a:gd name="connsiteX62" fmla="*/ 4000500 w 8801100"/>
                  <a:gd name="connsiteY62" fmla="*/ 666750 h 2578893"/>
                  <a:gd name="connsiteX63" fmla="*/ 4017169 w 8801100"/>
                  <a:gd name="connsiteY63" fmla="*/ 623888 h 2578893"/>
                  <a:gd name="connsiteX64" fmla="*/ 3990975 w 8801100"/>
                  <a:gd name="connsiteY64" fmla="*/ 581025 h 2578893"/>
                  <a:gd name="connsiteX65" fmla="*/ 3986213 w 8801100"/>
                  <a:gd name="connsiteY65" fmla="*/ 519113 h 2578893"/>
                  <a:gd name="connsiteX66" fmla="*/ 4010025 w 8801100"/>
                  <a:gd name="connsiteY66" fmla="*/ 454818 h 2578893"/>
                  <a:gd name="connsiteX67" fmla="*/ 3971925 w 8801100"/>
                  <a:gd name="connsiteY67" fmla="*/ 457200 h 2578893"/>
                  <a:gd name="connsiteX68" fmla="*/ 3852863 w 8801100"/>
                  <a:gd name="connsiteY68" fmla="*/ 400050 h 2578893"/>
                  <a:gd name="connsiteX69" fmla="*/ 3814762 w 8801100"/>
                  <a:gd name="connsiteY69" fmla="*/ 404812 h 2578893"/>
                  <a:gd name="connsiteX70" fmla="*/ 3609975 w 8801100"/>
                  <a:gd name="connsiteY70" fmla="*/ 295275 h 2578893"/>
                  <a:gd name="connsiteX71" fmla="*/ 3505200 w 8801100"/>
                  <a:gd name="connsiteY71" fmla="*/ 264319 h 2578893"/>
                  <a:gd name="connsiteX72" fmla="*/ 3440906 w 8801100"/>
                  <a:gd name="connsiteY72" fmla="*/ 273843 h 2578893"/>
                  <a:gd name="connsiteX73" fmla="*/ 3409950 w 8801100"/>
                  <a:gd name="connsiteY73" fmla="*/ 209550 h 2578893"/>
                  <a:gd name="connsiteX74" fmla="*/ 3352800 w 8801100"/>
                  <a:gd name="connsiteY74" fmla="*/ 209550 h 2578893"/>
                  <a:gd name="connsiteX75" fmla="*/ 3214687 w 8801100"/>
                  <a:gd name="connsiteY75" fmla="*/ 104775 h 2578893"/>
                  <a:gd name="connsiteX76" fmla="*/ 3181350 w 8801100"/>
                  <a:gd name="connsiteY76" fmla="*/ 164307 h 2578893"/>
                  <a:gd name="connsiteX77" fmla="*/ 3126581 w 8801100"/>
                  <a:gd name="connsiteY77" fmla="*/ 233363 h 2578893"/>
                  <a:gd name="connsiteX78" fmla="*/ 3083719 w 8801100"/>
                  <a:gd name="connsiteY78" fmla="*/ 250031 h 2578893"/>
                  <a:gd name="connsiteX79" fmla="*/ 3052763 w 8801100"/>
                  <a:gd name="connsiteY79" fmla="*/ 242888 h 2578893"/>
                  <a:gd name="connsiteX80" fmla="*/ 3028950 w 8801100"/>
                  <a:gd name="connsiteY80" fmla="*/ 271463 h 2578893"/>
                  <a:gd name="connsiteX81" fmla="*/ 3002756 w 8801100"/>
                  <a:gd name="connsiteY81" fmla="*/ 350044 h 2578893"/>
                  <a:gd name="connsiteX82" fmla="*/ 2959894 w 8801100"/>
                  <a:gd name="connsiteY82" fmla="*/ 347663 h 2578893"/>
                  <a:gd name="connsiteX83" fmla="*/ 2928937 w 8801100"/>
                  <a:gd name="connsiteY83" fmla="*/ 409575 h 2578893"/>
                  <a:gd name="connsiteX84" fmla="*/ 2924175 w 8801100"/>
                  <a:gd name="connsiteY84" fmla="*/ 473869 h 2578893"/>
                  <a:gd name="connsiteX85" fmla="*/ 2897982 w 8801100"/>
                  <a:gd name="connsiteY85" fmla="*/ 511969 h 2578893"/>
                  <a:gd name="connsiteX86" fmla="*/ 2924175 w 8801100"/>
                  <a:gd name="connsiteY86" fmla="*/ 571500 h 2578893"/>
                  <a:gd name="connsiteX87" fmla="*/ 2926556 w 8801100"/>
                  <a:gd name="connsiteY87" fmla="*/ 640556 h 2578893"/>
                  <a:gd name="connsiteX88" fmla="*/ 2955131 w 8801100"/>
                  <a:gd name="connsiteY88" fmla="*/ 692944 h 2578893"/>
                  <a:gd name="connsiteX89" fmla="*/ 3002757 w 8801100"/>
                  <a:gd name="connsiteY89" fmla="*/ 747713 h 2578893"/>
                  <a:gd name="connsiteX90" fmla="*/ 2952750 w 8801100"/>
                  <a:gd name="connsiteY90" fmla="*/ 885825 h 2578893"/>
                  <a:gd name="connsiteX91" fmla="*/ 2883694 w 8801100"/>
                  <a:gd name="connsiteY91" fmla="*/ 952500 h 2578893"/>
                  <a:gd name="connsiteX92" fmla="*/ 2812256 w 8801100"/>
                  <a:gd name="connsiteY92" fmla="*/ 947738 h 2578893"/>
                  <a:gd name="connsiteX93" fmla="*/ 2774156 w 8801100"/>
                  <a:gd name="connsiteY93" fmla="*/ 1004888 h 2578893"/>
                  <a:gd name="connsiteX94" fmla="*/ 2714625 w 8801100"/>
                  <a:gd name="connsiteY94" fmla="*/ 1019175 h 2578893"/>
                  <a:gd name="connsiteX95" fmla="*/ 2645569 w 8801100"/>
                  <a:gd name="connsiteY95" fmla="*/ 959644 h 2578893"/>
                  <a:gd name="connsiteX96" fmla="*/ 2590800 w 8801100"/>
                  <a:gd name="connsiteY96" fmla="*/ 931069 h 2578893"/>
                  <a:gd name="connsiteX97" fmla="*/ 2547938 w 8801100"/>
                  <a:gd name="connsiteY97" fmla="*/ 945356 h 2578893"/>
                  <a:gd name="connsiteX98" fmla="*/ 2495550 w 8801100"/>
                  <a:gd name="connsiteY98" fmla="*/ 928688 h 2578893"/>
                  <a:gd name="connsiteX99" fmla="*/ 2428875 w 8801100"/>
                  <a:gd name="connsiteY99" fmla="*/ 873919 h 2578893"/>
                  <a:gd name="connsiteX100" fmla="*/ 2383631 w 8801100"/>
                  <a:gd name="connsiteY100" fmla="*/ 885825 h 2578893"/>
                  <a:gd name="connsiteX101" fmla="*/ 2362200 w 8801100"/>
                  <a:gd name="connsiteY101" fmla="*/ 854869 h 2578893"/>
                  <a:gd name="connsiteX102" fmla="*/ 2305050 w 8801100"/>
                  <a:gd name="connsiteY102" fmla="*/ 895350 h 2578893"/>
                  <a:gd name="connsiteX103" fmla="*/ 2188369 w 8801100"/>
                  <a:gd name="connsiteY103" fmla="*/ 873919 h 2578893"/>
                  <a:gd name="connsiteX104" fmla="*/ 2138363 w 8801100"/>
                  <a:gd name="connsiteY104" fmla="*/ 821531 h 2578893"/>
                  <a:gd name="connsiteX105" fmla="*/ 2095500 w 8801100"/>
                  <a:gd name="connsiteY105" fmla="*/ 807244 h 2578893"/>
                  <a:gd name="connsiteX106" fmla="*/ 2052638 w 8801100"/>
                  <a:gd name="connsiteY106" fmla="*/ 833438 h 2578893"/>
                  <a:gd name="connsiteX107" fmla="*/ 2000250 w 8801100"/>
                  <a:gd name="connsiteY107" fmla="*/ 742950 h 2578893"/>
                  <a:gd name="connsiteX108" fmla="*/ 1990725 w 8801100"/>
                  <a:gd name="connsiteY108" fmla="*/ 595312 h 2578893"/>
                  <a:gd name="connsiteX109" fmla="*/ 1938337 w 8801100"/>
                  <a:gd name="connsiteY109" fmla="*/ 588168 h 2578893"/>
                  <a:gd name="connsiteX110" fmla="*/ 1847850 w 8801100"/>
                  <a:gd name="connsiteY110" fmla="*/ 578644 h 2578893"/>
                  <a:gd name="connsiteX111" fmla="*/ 1793081 w 8801100"/>
                  <a:gd name="connsiteY111" fmla="*/ 540544 h 2578893"/>
                  <a:gd name="connsiteX112" fmla="*/ 1724025 w 8801100"/>
                  <a:gd name="connsiteY112" fmla="*/ 550069 h 2578893"/>
                  <a:gd name="connsiteX113" fmla="*/ 1678781 w 8801100"/>
                  <a:gd name="connsiteY113" fmla="*/ 523875 h 2578893"/>
                  <a:gd name="connsiteX114" fmla="*/ 1669257 w 8801100"/>
                  <a:gd name="connsiteY114" fmla="*/ 452438 h 2578893"/>
                  <a:gd name="connsiteX115" fmla="*/ 1645444 w 8801100"/>
                  <a:gd name="connsiteY115" fmla="*/ 438150 h 2578893"/>
                  <a:gd name="connsiteX116" fmla="*/ 1607344 w 8801100"/>
                  <a:gd name="connsiteY116" fmla="*/ 485774 h 2578893"/>
                  <a:gd name="connsiteX117" fmla="*/ 1528762 w 8801100"/>
                  <a:gd name="connsiteY117" fmla="*/ 411956 h 2578893"/>
                  <a:gd name="connsiteX118" fmla="*/ 1488281 w 8801100"/>
                  <a:gd name="connsiteY118" fmla="*/ 452438 h 2578893"/>
                  <a:gd name="connsiteX119" fmla="*/ 1412081 w 8801100"/>
                  <a:gd name="connsiteY119" fmla="*/ 438150 h 2578893"/>
                  <a:gd name="connsiteX120" fmla="*/ 1333500 w 8801100"/>
                  <a:gd name="connsiteY120" fmla="*/ 464344 h 2578893"/>
                  <a:gd name="connsiteX121" fmla="*/ 1273969 w 8801100"/>
                  <a:gd name="connsiteY121" fmla="*/ 511968 h 2578893"/>
                  <a:gd name="connsiteX122" fmla="*/ 1200150 w 8801100"/>
                  <a:gd name="connsiteY122" fmla="*/ 523875 h 2578893"/>
                  <a:gd name="connsiteX123" fmla="*/ 1164431 w 8801100"/>
                  <a:gd name="connsiteY123" fmla="*/ 516731 h 2578893"/>
                  <a:gd name="connsiteX124" fmla="*/ 1085851 w 8801100"/>
                  <a:gd name="connsiteY124" fmla="*/ 547688 h 2578893"/>
                  <a:gd name="connsiteX125" fmla="*/ 1064419 w 8801100"/>
                  <a:gd name="connsiteY125" fmla="*/ 576263 h 2578893"/>
                  <a:gd name="connsiteX126" fmla="*/ 997744 w 8801100"/>
                  <a:gd name="connsiteY126" fmla="*/ 566738 h 2578893"/>
                  <a:gd name="connsiteX127" fmla="*/ 928688 w 8801100"/>
                  <a:gd name="connsiteY127" fmla="*/ 590550 h 2578893"/>
                  <a:gd name="connsiteX128" fmla="*/ 873919 w 8801100"/>
                  <a:gd name="connsiteY128" fmla="*/ 628650 h 2578893"/>
                  <a:gd name="connsiteX129" fmla="*/ 778669 w 8801100"/>
                  <a:gd name="connsiteY129" fmla="*/ 642937 h 2578893"/>
                  <a:gd name="connsiteX130" fmla="*/ 764381 w 8801100"/>
                  <a:gd name="connsiteY130" fmla="*/ 664369 h 2578893"/>
                  <a:gd name="connsiteX131" fmla="*/ 776287 w 8801100"/>
                  <a:gd name="connsiteY131" fmla="*/ 709613 h 2578893"/>
                  <a:gd name="connsiteX132" fmla="*/ 676276 w 8801100"/>
                  <a:gd name="connsiteY132" fmla="*/ 762000 h 2578893"/>
                  <a:gd name="connsiteX133" fmla="*/ 638175 w 8801100"/>
                  <a:gd name="connsiteY133" fmla="*/ 733424 h 2578893"/>
                  <a:gd name="connsiteX134" fmla="*/ 607219 w 8801100"/>
                  <a:gd name="connsiteY134" fmla="*/ 790575 h 2578893"/>
                  <a:gd name="connsiteX135" fmla="*/ 550069 w 8801100"/>
                  <a:gd name="connsiteY135" fmla="*/ 752475 h 2578893"/>
                  <a:gd name="connsiteX136" fmla="*/ 514350 w 8801100"/>
                  <a:gd name="connsiteY136" fmla="*/ 781050 h 2578893"/>
                  <a:gd name="connsiteX137" fmla="*/ 478631 w 8801100"/>
                  <a:gd name="connsiteY137" fmla="*/ 745331 h 2578893"/>
                  <a:gd name="connsiteX138" fmla="*/ 426244 w 8801100"/>
                  <a:gd name="connsiteY138" fmla="*/ 757238 h 2578893"/>
                  <a:gd name="connsiteX139" fmla="*/ 381000 w 8801100"/>
                  <a:gd name="connsiteY139" fmla="*/ 728663 h 2578893"/>
                  <a:gd name="connsiteX140" fmla="*/ 357188 w 8801100"/>
                  <a:gd name="connsiteY140" fmla="*/ 747713 h 2578893"/>
                  <a:gd name="connsiteX141" fmla="*/ 333375 w 8801100"/>
                  <a:gd name="connsiteY141" fmla="*/ 807244 h 2578893"/>
                  <a:gd name="connsiteX142" fmla="*/ 261938 w 8801100"/>
                  <a:gd name="connsiteY142" fmla="*/ 845343 h 2578893"/>
                  <a:gd name="connsiteX143" fmla="*/ 209550 w 8801100"/>
                  <a:gd name="connsiteY143" fmla="*/ 816769 h 2578893"/>
                  <a:gd name="connsiteX144" fmla="*/ 119063 w 8801100"/>
                  <a:gd name="connsiteY144" fmla="*/ 826294 h 2578893"/>
                  <a:gd name="connsiteX145" fmla="*/ 71437 w 8801100"/>
                  <a:gd name="connsiteY145" fmla="*/ 792957 h 2578893"/>
                  <a:gd name="connsiteX146" fmla="*/ 0 w 8801100"/>
                  <a:gd name="connsiteY146" fmla="*/ 812006 h 2578893"/>
                  <a:gd name="connsiteX147" fmla="*/ 4762 w 8801100"/>
                  <a:gd name="connsiteY147" fmla="*/ 0 h 2578893"/>
                  <a:gd name="connsiteX148" fmla="*/ 7750969 w 8801100"/>
                  <a:gd name="connsiteY148" fmla="*/ 2578893 h 2578893"/>
                  <a:gd name="connsiteX149" fmla="*/ 7810500 w 8801100"/>
                  <a:gd name="connsiteY149" fmla="*/ 2466975 h 2578893"/>
                  <a:gd name="connsiteX150" fmla="*/ 7874794 w 8801100"/>
                  <a:gd name="connsiteY150" fmla="*/ 2431256 h 2578893"/>
                  <a:gd name="connsiteX151" fmla="*/ 7853363 w 8801100"/>
                  <a:gd name="connsiteY151" fmla="*/ 2386013 h 2578893"/>
                  <a:gd name="connsiteX152" fmla="*/ 7931944 w 8801100"/>
                  <a:gd name="connsiteY152" fmla="*/ 2216943 h 2578893"/>
                  <a:gd name="connsiteX153" fmla="*/ 7986713 w 8801100"/>
                  <a:gd name="connsiteY153" fmla="*/ 2157413 h 2578893"/>
                  <a:gd name="connsiteX154" fmla="*/ 8024813 w 8801100"/>
                  <a:gd name="connsiteY154" fmla="*/ 2152650 h 2578893"/>
                  <a:gd name="connsiteX155" fmla="*/ 8070056 w 8801100"/>
                  <a:gd name="connsiteY155" fmla="*/ 2157413 h 2578893"/>
                  <a:gd name="connsiteX156" fmla="*/ 8134350 w 8801100"/>
                  <a:gd name="connsiteY156" fmla="*/ 2124075 h 2578893"/>
                  <a:gd name="connsiteX157" fmla="*/ 8143875 w 8801100"/>
                  <a:gd name="connsiteY157" fmla="*/ 2059781 h 2578893"/>
                  <a:gd name="connsiteX158" fmla="*/ 8184355 w 8801100"/>
                  <a:gd name="connsiteY158" fmla="*/ 2024063 h 2578893"/>
                  <a:gd name="connsiteX159" fmla="*/ 8243888 w 8801100"/>
                  <a:gd name="connsiteY159" fmla="*/ 2064543 h 2578893"/>
                  <a:gd name="connsiteX160" fmla="*/ 8270082 w 8801100"/>
                  <a:gd name="connsiteY160" fmla="*/ 2014537 h 2578893"/>
                  <a:gd name="connsiteX161" fmla="*/ 8365331 w 8801100"/>
                  <a:gd name="connsiteY161" fmla="*/ 1945481 h 2578893"/>
                  <a:gd name="connsiteX162" fmla="*/ 8427244 w 8801100"/>
                  <a:gd name="connsiteY162" fmla="*/ 1952625 h 2578893"/>
                  <a:gd name="connsiteX163" fmla="*/ 8477250 w 8801100"/>
                  <a:gd name="connsiteY163" fmla="*/ 1933575 h 2578893"/>
                  <a:gd name="connsiteX164" fmla="*/ 8515350 w 8801100"/>
                  <a:gd name="connsiteY164" fmla="*/ 1905000 h 2578893"/>
                  <a:gd name="connsiteX165" fmla="*/ 8548688 w 8801100"/>
                  <a:gd name="connsiteY165" fmla="*/ 1902619 h 2578893"/>
                  <a:gd name="connsiteX166" fmla="*/ 8584406 w 8801100"/>
                  <a:gd name="connsiteY166" fmla="*/ 1933575 h 2578893"/>
                  <a:gd name="connsiteX167" fmla="*/ 8643938 w 8801100"/>
                  <a:gd name="connsiteY167" fmla="*/ 1933575 h 2578893"/>
                  <a:gd name="connsiteX168" fmla="*/ 8682037 w 8801100"/>
                  <a:gd name="connsiteY168" fmla="*/ 1914525 h 2578893"/>
                  <a:gd name="connsiteX169" fmla="*/ 8765381 w 8801100"/>
                  <a:gd name="connsiteY169" fmla="*/ 1916907 h 2578893"/>
                  <a:gd name="connsiteX170" fmla="*/ 8796338 w 8801100"/>
                  <a:gd name="connsiteY170" fmla="*/ 1871663 h 2578893"/>
                  <a:gd name="connsiteX171" fmla="*/ 8801100 w 8801100"/>
                  <a:gd name="connsiteY171" fmla="*/ 1809750 h 2578893"/>
                  <a:gd name="connsiteX172" fmla="*/ 8751093 w 8801100"/>
                  <a:gd name="connsiteY172" fmla="*/ 1769269 h 2578893"/>
                  <a:gd name="connsiteX173" fmla="*/ 8734425 w 8801100"/>
                  <a:gd name="connsiteY173" fmla="*/ 1714500 h 2578893"/>
                  <a:gd name="connsiteX174" fmla="*/ 8643938 w 8801100"/>
                  <a:gd name="connsiteY174" fmla="*/ 1652588 h 2578893"/>
                  <a:gd name="connsiteX175" fmla="*/ 8603456 w 8801100"/>
                  <a:gd name="connsiteY175" fmla="*/ 1631156 h 2578893"/>
                  <a:gd name="connsiteX176" fmla="*/ 8565356 w 8801100"/>
                  <a:gd name="connsiteY176" fmla="*/ 1585913 h 2578893"/>
                  <a:gd name="connsiteX177" fmla="*/ 8534400 w 8801100"/>
                  <a:gd name="connsiteY177" fmla="*/ 1583531 h 2578893"/>
                  <a:gd name="connsiteX178" fmla="*/ 8517731 w 8801100"/>
                  <a:gd name="connsiteY178" fmla="*/ 1531144 h 2578893"/>
                  <a:gd name="connsiteX179" fmla="*/ 8477250 w 8801100"/>
                  <a:gd name="connsiteY179" fmla="*/ 1514475 h 2578893"/>
                  <a:gd name="connsiteX180" fmla="*/ 8477250 w 8801100"/>
                  <a:gd name="connsiteY180" fmla="*/ 1514475 h 2578893"/>
                  <a:gd name="connsiteX181" fmla="*/ 8436769 w 8801100"/>
                  <a:gd name="connsiteY181" fmla="*/ 1519238 h 2578893"/>
                  <a:gd name="connsiteX182" fmla="*/ 8351043 w 8801100"/>
                  <a:gd name="connsiteY182" fmla="*/ 1445419 h 2578893"/>
                  <a:gd name="connsiteX183" fmla="*/ 8170069 w 8801100"/>
                  <a:gd name="connsiteY183" fmla="*/ 1445418 h 2578893"/>
                  <a:gd name="connsiteX184" fmla="*/ 8117681 w 8801100"/>
                  <a:gd name="connsiteY184" fmla="*/ 1483519 h 2578893"/>
                  <a:gd name="connsiteX185" fmla="*/ 8067675 w 8801100"/>
                  <a:gd name="connsiteY185" fmla="*/ 1562100 h 2578893"/>
                  <a:gd name="connsiteX186" fmla="*/ 8084344 w 8801100"/>
                  <a:gd name="connsiteY186" fmla="*/ 1583531 h 2578893"/>
                  <a:gd name="connsiteX187" fmla="*/ 8039100 w 8801100"/>
                  <a:gd name="connsiteY187" fmla="*/ 1633537 h 2578893"/>
                  <a:gd name="connsiteX188" fmla="*/ 7889081 w 8801100"/>
                  <a:gd name="connsiteY188" fmla="*/ 1557337 h 2578893"/>
                  <a:gd name="connsiteX189" fmla="*/ 7798594 w 8801100"/>
                  <a:gd name="connsiteY189" fmla="*/ 1593056 h 2578893"/>
                  <a:gd name="connsiteX190" fmla="*/ 7724775 w 8801100"/>
                  <a:gd name="connsiteY190" fmla="*/ 1590675 h 2578893"/>
                  <a:gd name="connsiteX191" fmla="*/ 7667625 w 8801100"/>
                  <a:gd name="connsiteY191" fmla="*/ 1685925 h 2578893"/>
                  <a:gd name="connsiteX192" fmla="*/ 7529513 w 8801100"/>
                  <a:gd name="connsiteY192" fmla="*/ 1588294 h 2578893"/>
                  <a:gd name="connsiteX0" fmla="*/ 7529513 w 8801100"/>
                  <a:gd name="connsiteY0" fmla="*/ 1588294 h 2466975"/>
                  <a:gd name="connsiteX1" fmla="*/ 7522369 w 8801100"/>
                  <a:gd name="connsiteY1" fmla="*/ 1533525 h 2466975"/>
                  <a:gd name="connsiteX2" fmla="*/ 7589044 w 8801100"/>
                  <a:gd name="connsiteY2" fmla="*/ 1459706 h 2466975"/>
                  <a:gd name="connsiteX3" fmla="*/ 7572375 w 8801100"/>
                  <a:gd name="connsiteY3" fmla="*/ 1388269 h 2466975"/>
                  <a:gd name="connsiteX4" fmla="*/ 7586663 w 8801100"/>
                  <a:gd name="connsiteY4" fmla="*/ 1293019 h 2466975"/>
                  <a:gd name="connsiteX5" fmla="*/ 7624763 w 8801100"/>
                  <a:gd name="connsiteY5" fmla="*/ 1235869 h 2466975"/>
                  <a:gd name="connsiteX6" fmla="*/ 7605712 w 8801100"/>
                  <a:gd name="connsiteY6" fmla="*/ 1202531 h 2466975"/>
                  <a:gd name="connsiteX7" fmla="*/ 7703343 w 8801100"/>
                  <a:gd name="connsiteY7" fmla="*/ 802481 h 2466975"/>
                  <a:gd name="connsiteX8" fmla="*/ 7696200 w 8801100"/>
                  <a:gd name="connsiteY8" fmla="*/ 773906 h 2466975"/>
                  <a:gd name="connsiteX9" fmla="*/ 7567613 w 8801100"/>
                  <a:gd name="connsiteY9" fmla="*/ 752475 h 2466975"/>
                  <a:gd name="connsiteX10" fmla="*/ 7384257 w 8801100"/>
                  <a:gd name="connsiteY10" fmla="*/ 831056 h 2466975"/>
                  <a:gd name="connsiteX11" fmla="*/ 7227093 w 8801100"/>
                  <a:gd name="connsiteY11" fmla="*/ 716756 h 2466975"/>
                  <a:gd name="connsiteX12" fmla="*/ 7150894 w 8801100"/>
                  <a:gd name="connsiteY12" fmla="*/ 723900 h 2466975"/>
                  <a:gd name="connsiteX13" fmla="*/ 7077075 w 8801100"/>
                  <a:gd name="connsiteY13" fmla="*/ 719138 h 2466975"/>
                  <a:gd name="connsiteX14" fmla="*/ 6938963 w 8801100"/>
                  <a:gd name="connsiteY14" fmla="*/ 823913 h 2466975"/>
                  <a:gd name="connsiteX15" fmla="*/ 6831806 w 8801100"/>
                  <a:gd name="connsiteY15" fmla="*/ 931069 h 2466975"/>
                  <a:gd name="connsiteX16" fmla="*/ 6788944 w 8801100"/>
                  <a:gd name="connsiteY16" fmla="*/ 1000125 h 2466975"/>
                  <a:gd name="connsiteX17" fmla="*/ 6796088 w 8801100"/>
                  <a:gd name="connsiteY17" fmla="*/ 1035844 h 2466975"/>
                  <a:gd name="connsiteX18" fmla="*/ 6734175 w 8801100"/>
                  <a:gd name="connsiteY18" fmla="*/ 1047750 h 2466975"/>
                  <a:gd name="connsiteX19" fmla="*/ 6753225 w 8801100"/>
                  <a:gd name="connsiteY19" fmla="*/ 1047750 h 2466975"/>
                  <a:gd name="connsiteX20" fmla="*/ 6719888 w 8801100"/>
                  <a:gd name="connsiteY20" fmla="*/ 1078706 h 2466975"/>
                  <a:gd name="connsiteX21" fmla="*/ 6619875 w 8801100"/>
                  <a:gd name="connsiteY21" fmla="*/ 1078707 h 2466975"/>
                  <a:gd name="connsiteX22" fmla="*/ 6524625 w 8801100"/>
                  <a:gd name="connsiteY22" fmla="*/ 1133475 h 2466975"/>
                  <a:gd name="connsiteX23" fmla="*/ 6443663 w 8801100"/>
                  <a:gd name="connsiteY23" fmla="*/ 1143000 h 2466975"/>
                  <a:gd name="connsiteX24" fmla="*/ 6403181 w 8801100"/>
                  <a:gd name="connsiteY24" fmla="*/ 1176338 h 2466975"/>
                  <a:gd name="connsiteX25" fmla="*/ 6353175 w 8801100"/>
                  <a:gd name="connsiteY25" fmla="*/ 1181100 h 2466975"/>
                  <a:gd name="connsiteX26" fmla="*/ 6231732 w 8801100"/>
                  <a:gd name="connsiteY26" fmla="*/ 1273969 h 2466975"/>
                  <a:gd name="connsiteX27" fmla="*/ 6172200 w 8801100"/>
                  <a:gd name="connsiteY27" fmla="*/ 1278731 h 2466975"/>
                  <a:gd name="connsiteX28" fmla="*/ 6119813 w 8801100"/>
                  <a:gd name="connsiteY28" fmla="*/ 1243013 h 2466975"/>
                  <a:gd name="connsiteX29" fmla="*/ 6093619 w 8801100"/>
                  <a:gd name="connsiteY29" fmla="*/ 1278731 h 2466975"/>
                  <a:gd name="connsiteX30" fmla="*/ 5895975 w 8801100"/>
                  <a:gd name="connsiteY30" fmla="*/ 1271588 h 2466975"/>
                  <a:gd name="connsiteX31" fmla="*/ 5834063 w 8801100"/>
                  <a:gd name="connsiteY31" fmla="*/ 1226344 h 2466975"/>
                  <a:gd name="connsiteX32" fmla="*/ 5636419 w 8801100"/>
                  <a:gd name="connsiteY32" fmla="*/ 1243013 h 2466975"/>
                  <a:gd name="connsiteX33" fmla="*/ 5548313 w 8801100"/>
                  <a:gd name="connsiteY33" fmla="*/ 1159668 h 2466975"/>
                  <a:gd name="connsiteX34" fmla="*/ 5472113 w 8801100"/>
                  <a:gd name="connsiteY34" fmla="*/ 1114425 h 2466975"/>
                  <a:gd name="connsiteX35" fmla="*/ 5474493 w 8801100"/>
                  <a:gd name="connsiteY35" fmla="*/ 1057275 h 2466975"/>
                  <a:gd name="connsiteX36" fmla="*/ 5455444 w 8801100"/>
                  <a:gd name="connsiteY36" fmla="*/ 1014412 h 2466975"/>
                  <a:gd name="connsiteX37" fmla="*/ 5360194 w 8801100"/>
                  <a:gd name="connsiteY37" fmla="*/ 1016794 h 2466975"/>
                  <a:gd name="connsiteX38" fmla="*/ 5264944 w 8801100"/>
                  <a:gd name="connsiteY38" fmla="*/ 995363 h 2466975"/>
                  <a:gd name="connsiteX39" fmla="*/ 5195887 w 8801100"/>
                  <a:gd name="connsiteY39" fmla="*/ 928687 h 2466975"/>
                  <a:gd name="connsiteX40" fmla="*/ 5160169 w 8801100"/>
                  <a:gd name="connsiteY40" fmla="*/ 885825 h 2466975"/>
                  <a:gd name="connsiteX41" fmla="*/ 5079206 w 8801100"/>
                  <a:gd name="connsiteY41" fmla="*/ 862012 h 2466975"/>
                  <a:gd name="connsiteX42" fmla="*/ 5005388 w 8801100"/>
                  <a:gd name="connsiteY42" fmla="*/ 873918 h 2466975"/>
                  <a:gd name="connsiteX43" fmla="*/ 4948237 w 8801100"/>
                  <a:gd name="connsiteY43" fmla="*/ 821531 h 2466975"/>
                  <a:gd name="connsiteX44" fmla="*/ 4852988 w 8801100"/>
                  <a:gd name="connsiteY44" fmla="*/ 833438 h 2466975"/>
                  <a:gd name="connsiteX45" fmla="*/ 4800600 w 8801100"/>
                  <a:gd name="connsiteY45" fmla="*/ 807244 h 2466975"/>
                  <a:gd name="connsiteX46" fmla="*/ 4719638 w 8801100"/>
                  <a:gd name="connsiteY46" fmla="*/ 850106 h 2466975"/>
                  <a:gd name="connsiteX47" fmla="*/ 4581525 w 8801100"/>
                  <a:gd name="connsiteY47" fmla="*/ 873919 h 2466975"/>
                  <a:gd name="connsiteX48" fmla="*/ 4452938 w 8801100"/>
                  <a:gd name="connsiteY48" fmla="*/ 966788 h 2466975"/>
                  <a:gd name="connsiteX49" fmla="*/ 4405312 w 8801100"/>
                  <a:gd name="connsiteY49" fmla="*/ 928688 h 2466975"/>
                  <a:gd name="connsiteX50" fmla="*/ 4383881 w 8801100"/>
                  <a:gd name="connsiteY50" fmla="*/ 959643 h 2466975"/>
                  <a:gd name="connsiteX51" fmla="*/ 4310063 w 8801100"/>
                  <a:gd name="connsiteY51" fmla="*/ 909638 h 2466975"/>
                  <a:gd name="connsiteX52" fmla="*/ 4271963 w 8801100"/>
                  <a:gd name="connsiteY52" fmla="*/ 916781 h 2466975"/>
                  <a:gd name="connsiteX53" fmla="*/ 4250531 w 8801100"/>
                  <a:gd name="connsiteY53" fmla="*/ 878681 h 2466975"/>
                  <a:gd name="connsiteX54" fmla="*/ 4191000 w 8801100"/>
                  <a:gd name="connsiteY54" fmla="*/ 883444 h 2466975"/>
                  <a:gd name="connsiteX55" fmla="*/ 4145756 w 8801100"/>
                  <a:gd name="connsiteY55" fmla="*/ 854869 h 2466975"/>
                  <a:gd name="connsiteX56" fmla="*/ 4107656 w 8801100"/>
                  <a:gd name="connsiteY56" fmla="*/ 852488 h 2466975"/>
                  <a:gd name="connsiteX57" fmla="*/ 4088606 w 8801100"/>
                  <a:gd name="connsiteY57" fmla="*/ 804862 h 2466975"/>
                  <a:gd name="connsiteX58" fmla="*/ 4074319 w 8801100"/>
                  <a:gd name="connsiteY58" fmla="*/ 773906 h 2466975"/>
                  <a:gd name="connsiteX59" fmla="*/ 4029075 w 8801100"/>
                  <a:gd name="connsiteY59" fmla="*/ 783431 h 2466975"/>
                  <a:gd name="connsiteX60" fmla="*/ 4010025 w 8801100"/>
                  <a:gd name="connsiteY60" fmla="*/ 747713 h 2466975"/>
                  <a:gd name="connsiteX61" fmla="*/ 4031457 w 8801100"/>
                  <a:gd name="connsiteY61" fmla="*/ 692944 h 2466975"/>
                  <a:gd name="connsiteX62" fmla="*/ 4000500 w 8801100"/>
                  <a:gd name="connsiteY62" fmla="*/ 666750 h 2466975"/>
                  <a:gd name="connsiteX63" fmla="*/ 4017169 w 8801100"/>
                  <a:gd name="connsiteY63" fmla="*/ 623888 h 2466975"/>
                  <a:gd name="connsiteX64" fmla="*/ 3990975 w 8801100"/>
                  <a:gd name="connsiteY64" fmla="*/ 581025 h 2466975"/>
                  <a:gd name="connsiteX65" fmla="*/ 3986213 w 8801100"/>
                  <a:gd name="connsiteY65" fmla="*/ 519113 h 2466975"/>
                  <a:gd name="connsiteX66" fmla="*/ 4010025 w 8801100"/>
                  <a:gd name="connsiteY66" fmla="*/ 454818 h 2466975"/>
                  <a:gd name="connsiteX67" fmla="*/ 3971925 w 8801100"/>
                  <a:gd name="connsiteY67" fmla="*/ 457200 h 2466975"/>
                  <a:gd name="connsiteX68" fmla="*/ 3852863 w 8801100"/>
                  <a:gd name="connsiteY68" fmla="*/ 400050 h 2466975"/>
                  <a:gd name="connsiteX69" fmla="*/ 3814762 w 8801100"/>
                  <a:gd name="connsiteY69" fmla="*/ 404812 h 2466975"/>
                  <a:gd name="connsiteX70" fmla="*/ 3609975 w 8801100"/>
                  <a:gd name="connsiteY70" fmla="*/ 295275 h 2466975"/>
                  <a:gd name="connsiteX71" fmla="*/ 3505200 w 8801100"/>
                  <a:gd name="connsiteY71" fmla="*/ 264319 h 2466975"/>
                  <a:gd name="connsiteX72" fmla="*/ 3440906 w 8801100"/>
                  <a:gd name="connsiteY72" fmla="*/ 273843 h 2466975"/>
                  <a:gd name="connsiteX73" fmla="*/ 3409950 w 8801100"/>
                  <a:gd name="connsiteY73" fmla="*/ 209550 h 2466975"/>
                  <a:gd name="connsiteX74" fmla="*/ 3352800 w 8801100"/>
                  <a:gd name="connsiteY74" fmla="*/ 209550 h 2466975"/>
                  <a:gd name="connsiteX75" fmla="*/ 3214687 w 8801100"/>
                  <a:gd name="connsiteY75" fmla="*/ 104775 h 2466975"/>
                  <a:gd name="connsiteX76" fmla="*/ 3181350 w 8801100"/>
                  <a:gd name="connsiteY76" fmla="*/ 164307 h 2466975"/>
                  <a:gd name="connsiteX77" fmla="*/ 3126581 w 8801100"/>
                  <a:gd name="connsiteY77" fmla="*/ 233363 h 2466975"/>
                  <a:gd name="connsiteX78" fmla="*/ 3083719 w 8801100"/>
                  <a:gd name="connsiteY78" fmla="*/ 250031 h 2466975"/>
                  <a:gd name="connsiteX79" fmla="*/ 3052763 w 8801100"/>
                  <a:gd name="connsiteY79" fmla="*/ 242888 h 2466975"/>
                  <a:gd name="connsiteX80" fmla="*/ 3028950 w 8801100"/>
                  <a:gd name="connsiteY80" fmla="*/ 271463 h 2466975"/>
                  <a:gd name="connsiteX81" fmla="*/ 3002756 w 8801100"/>
                  <a:gd name="connsiteY81" fmla="*/ 350044 h 2466975"/>
                  <a:gd name="connsiteX82" fmla="*/ 2959894 w 8801100"/>
                  <a:gd name="connsiteY82" fmla="*/ 347663 h 2466975"/>
                  <a:gd name="connsiteX83" fmla="*/ 2928937 w 8801100"/>
                  <a:gd name="connsiteY83" fmla="*/ 409575 h 2466975"/>
                  <a:gd name="connsiteX84" fmla="*/ 2924175 w 8801100"/>
                  <a:gd name="connsiteY84" fmla="*/ 473869 h 2466975"/>
                  <a:gd name="connsiteX85" fmla="*/ 2897982 w 8801100"/>
                  <a:gd name="connsiteY85" fmla="*/ 511969 h 2466975"/>
                  <a:gd name="connsiteX86" fmla="*/ 2924175 w 8801100"/>
                  <a:gd name="connsiteY86" fmla="*/ 571500 h 2466975"/>
                  <a:gd name="connsiteX87" fmla="*/ 2926556 w 8801100"/>
                  <a:gd name="connsiteY87" fmla="*/ 640556 h 2466975"/>
                  <a:gd name="connsiteX88" fmla="*/ 2955131 w 8801100"/>
                  <a:gd name="connsiteY88" fmla="*/ 692944 h 2466975"/>
                  <a:gd name="connsiteX89" fmla="*/ 3002757 w 8801100"/>
                  <a:gd name="connsiteY89" fmla="*/ 747713 h 2466975"/>
                  <a:gd name="connsiteX90" fmla="*/ 2952750 w 8801100"/>
                  <a:gd name="connsiteY90" fmla="*/ 885825 h 2466975"/>
                  <a:gd name="connsiteX91" fmla="*/ 2883694 w 8801100"/>
                  <a:gd name="connsiteY91" fmla="*/ 952500 h 2466975"/>
                  <a:gd name="connsiteX92" fmla="*/ 2812256 w 8801100"/>
                  <a:gd name="connsiteY92" fmla="*/ 947738 h 2466975"/>
                  <a:gd name="connsiteX93" fmla="*/ 2774156 w 8801100"/>
                  <a:gd name="connsiteY93" fmla="*/ 1004888 h 2466975"/>
                  <a:gd name="connsiteX94" fmla="*/ 2714625 w 8801100"/>
                  <a:gd name="connsiteY94" fmla="*/ 1019175 h 2466975"/>
                  <a:gd name="connsiteX95" fmla="*/ 2645569 w 8801100"/>
                  <a:gd name="connsiteY95" fmla="*/ 959644 h 2466975"/>
                  <a:gd name="connsiteX96" fmla="*/ 2590800 w 8801100"/>
                  <a:gd name="connsiteY96" fmla="*/ 931069 h 2466975"/>
                  <a:gd name="connsiteX97" fmla="*/ 2547938 w 8801100"/>
                  <a:gd name="connsiteY97" fmla="*/ 945356 h 2466975"/>
                  <a:gd name="connsiteX98" fmla="*/ 2495550 w 8801100"/>
                  <a:gd name="connsiteY98" fmla="*/ 928688 h 2466975"/>
                  <a:gd name="connsiteX99" fmla="*/ 2428875 w 8801100"/>
                  <a:gd name="connsiteY99" fmla="*/ 873919 h 2466975"/>
                  <a:gd name="connsiteX100" fmla="*/ 2383631 w 8801100"/>
                  <a:gd name="connsiteY100" fmla="*/ 885825 h 2466975"/>
                  <a:gd name="connsiteX101" fmla="*/ 2362200 w 8801100"/>
                  <a:gd name="connsiteY101" fmla="*/ 854869 h 2466975"/>
                  <a:gd name="connsiteX102" fmla="*/ 2305050 w 8801100"/>
                  <a:gd name="connsiteY102" fmla="*/ 895350 h 2466975"/>
                  <a:gd name="connsiteX103" fmla="*/ 2188369 w 8801100"/>
                  <a:gd name="connsiteY103" fmla="*/ 873919 h 2466975"/>
                  <a:gd name="connsiteX104" fmla="*/ 2138363 w 8801100"/>
                  <a:gd name="connsiteY104" fmla="*/ 821531 h 2466975"/>
                  <a:gd name="connsiteX105" fmla="*/ 2095500 w 8801100"/>
                  <a:gd name="connsiteY105" fmla="*/ 807244 h 2466975"/>
                  <a:gd name="connsiteX106" fmla="*/ 2052638 w 8801100"/>
                  <a:gd name="connsiteY106" fmla="*/ 833438 h 2466975"/>
                  <a:gd name="connsiteX107" fmla="*/ 2000250 w 8801100"/>
                  <a:gd name="connsiteY107" fmla="*/ 742950 h 2466975"/>
                  <a:gd name="connsiteX108" fmla="*/ 1990725 w 8801100"/>
                  <a:gd name="connsiteY108" fmla="*/ 595312 h 2466975"/>
                  <a:gd name="connsiteX109" fmla="*/ 1938337 w 8801100"/>
                  <a:gd name="connsiteY109" fmla="*/ 588168 h 2466975"/>
                  <a:gd name="connsiteX110" fmla="*/ 1847850 w 8801100"/>
                  <a:gd name="connsiteY110" fmla="*/ 578644 h 2466975"/>
                  <a:gd name="connsiteX111" fmla="*/ 1793081 w 8801100"/>
                  <a:gd name="connsiteY111" fmla="*/ 540544 h 2466975"/>
                  <a:gd name="connsiteX112" fmla="*/ 1724025 w 8801100"/>
                  <a:gd name="connsiteY112" fmla="*/ 550069 h 2466975"/>
                  <a:gd name="connsiteX113" fmla="*/ 1678781 w 8801100"/>
                  <a:gd name="connsiteY113" fmla="*/ 523875 h 2466975"/>
                  <a:gd name="connsiteX114" fmla="*/ 1669257 w 8801100"/>
                  <a:gd name="connsiteY114" fmla="*/ 452438 h 2466975"/>
                  <a:gd name="connsiteX115" fmla="*/ 1645444 w 8801100"/>
                  <a:gd name="connsiteY115" fmla="*/ 438150 h 2466975"/>
                  <a:gd name="connsiteX116" fmla="*/ 1607344 w 8801100"/>
                  <a:gd name="connsiteY116" fmla="*/ 485774 h 2466975"/>
                  <a:gd name="connsiteX117" fmla="*/ 1528762 w 8801100"/>
                  <a:gd name="connsiteY117" fmla="*/ 411956 h 2466975"/>
                  <a:gd name="connsiteX118" fmla="*/ 1488281 w 8801100"/>
                  <a:gd name="connsiteY118" fmla="*/ 452438 h 2466975"/>
                  <a:gd name="connsiteX119" fmla="*/ 1412081 w 8801100"/>
                  <a:gd name="connsiteY119" fmla="*/ 438150 h 2466975"/>
                  <a:gd name="connsiteX120" fmla="*/ 1333500 w 8801100"/>
                  <a:gd name="connsiteY120" fmla="*/ 464344 h 2466975"/>
                  <a:gd name="connsiteX121" fmla="*/ 1273969 w 8801100"/>
                  <a:gd name="connsiteY121" fmla="*/ 511968 h 2466975"/>
                  <a:gd name="connsiteX122" fmla="*/ 1200150 w 8801100"/>
                  <a:gd name="connsiteY122" fmla="*/ 523875 h 2466975"/>
                  <a:gd name="connsiteX123" fmla="*/ 1164431 w 8801100"/>
                  <a:gd name="connsiteY123" fmla="*/ 516731 h 2466975"/>
                  <a:gd name="connsiteX124" fmla="*/ 1085851 w 8801100"/>
                  <a:gd name="connsiteY124" fmla="*/ 547688 h 2466975"/>
                  <a:gd name="connsiteX125" fmla="*/ 1064419 w 8801100"/>
                  <a:gd name="connsiteY125" fmla="*/ 576263 h 2466975"/>
                  <a:gd name="connsiteX126" fmla="*/ 997744 w 8801100"/>
                  <a:gd name="connsiteY126" fmla="*/ 566738 h 2466975"/>
                  <a:gd name="connsiteX127" fmla="*/ 928688 w 8801100"/>
                  <a:gd name="connsiteY127" fmla="*/ 590550 h 2466975"/>
                  <a:gd name="connsiteX128" fmla="*/ 873919 w 8801100"/>
                  <a:gd name="connsiteY128" fmla="*/ 628650 h 2466975"/>
                  <a:gd name="connsiteX129" fmla="*/ 778669 w 8801100"/>
                  <a:gd name="connsiteY129" fmla="*/ 642937 h 2466975"/>
                  <a:gd name="connsiteX130" fmla="*/ 764381 w 8801100"/>
                  <a:gd name="connsiteY130" fmla="*/ 664369 h 2466975"/>
                  <a:gd name="connsiteX131" fmla="*/ 776287 w 8801100"/>
                  <a:gd name="connsiteY131" fmla="*/ 709613 h 2466975"/>
                  <a:gd name="connsiteX132" fmla="*/ 676276 w 8801100"/>
                  <a:gd name="connsiteY132" fmla="*/ 762000 h 2466975"/>
                  <a:gd name="connsiteX133" fmla="*/ 638175 w 8801100"/>
                  <a:gd name="connsiteY133" fmla="*/ 733424 h 2466975"/>
                  <a:gd name="connsiteX134" fmla="*/ 607219 w 8801100"/>
                  <a:gd name="connsiteY134" fmla="*/ 790575 h 2466975"/>
                  <a:gd name="connsiteX135" fmla="*/ 550069 w 8801100"/>
                  <a:gd name="connsiteY135" fmla="*/ 752475 h 2466975"/>
                  <a:gd name="connsiteX136" fmla="*/ 514350 w 8801100"/>
                  <a:gd name="connsiteY136" fmla="*/ 781050 h 2466975"/>
                  <a:gd name="connsiteX137" fmla="*/ 478631 w 8801100"/>
                  <a:gd name="connsiteY137" fmla="*/ 745331 h 2466975"/>
                  <a:gd name="connsiteX138" fmla="*/ 426244 w 8801100"/>
                  <a:gd name="connsiteY138" fmla="*/ 757238 h 2466975"/>
                  <a:gd name="connsiteX139" fmla="*/ 381000 w 8801100"/>
                  <a:gd name="connsiteY139" fmla="*/ 728663 h 2466975"/>
                  <a:gd name="connsiteX140" fmla="*/ 357188 w 8801100"/>
                  <a:gd name="connsiteY140" fmla="*/ 747713 h 2466975"/>
                  <a:gd name="connsiteX141" fmla="*/ 333375 w 8801100"/>
                  <a:gd name="connsiteY141" fmla="*/ 807244 h 2466975"/>
                  <a:gd name="connsiteX142" fmla="*/ 261938 w 8801100"/>
                  <a:gd name="connsiteY142" fmla="*/ 845343 h 2466975"/>
                  <a:gd name="connsiteX143" fmla="*/ 209550 w 8801100"/>
                  <a:gd name="connsiteY143" fmla="*/ 816769 h 2466975"/>
                  <a:gd name="connsiteX144" fmla="*/ 119063 w 8801100"/>
                  <a:gd name="connsiteY144" fmla="*/ 826294 h 2466975"/>
                  <a:gd name="connsiteX145" fmla="*/ 71437 w 8801100"/>
                  <a:gd name="connsiteY145" fmla="*/ 792957 h 2466975"/>
                  <a:gd name="connsiteX146" fmla="*/ 0 w 8801100"/>
                  <a:gd name="connsiteY146" fmla="*/ 812006 h 2466975"/>
                  <a:gd name="connsiteX147" fmla="*/ 4762 w 8801100"/>
                  <a:gd name="connsiteY147" fmla="*/ 0 h 2466975"/>
                  <a:gd name="connsiteX148" fmla="*/ 7810500 w 8801100"/>
                  <a:gd name="connsiteY148" fmla="*/ 2466975 h 2466975"/>
                  <a:gd name="connsiteX149" fmla="*/ 7874794 w 8801100"/>
                  <a:gd name="connsiteY149" fmla="*/ 2431256 h 2466975"/>
                  <a:gd name="connsiteX150" fmla="*/ 7853363 w 8801100"/>
                  <a:gd name="connsiteY150" fmla="*/ 2386013 h 2466975"/>
                  <a:gd name="connsiteX151" fmla="*/ 7931944 w 8801100"/>
                  <a:gd name="connsiteY151" fmla="*/ 2216943 h 2466975"/>
                  <a:gd name="connsiteX152" fmla="*/ 7986713 w 8801100"/>
                  <a:gd name="connsiteY152" fmla="*/ 2157413 h 2466975"/>
                  <a:gd name="connsiteX153" fmla="*/ 8024813 w 8801100"/>
                  <a:gd name="connsiteY153" fmla="*/ 2152650 h 2466975"/>
                  <a:gd name="connsiteX154" fmla="*/ 8070056 w 8801100"/>
                  <a:gd name="connsiteY154" fmla="*/ 2157413 h 2466975"/>
                  <a:gd name="connsiteX155" fmla="*/ 8134350 w 8801100"/>
                  <a:gd name="connsiteY155" fmla="*/ 2124075 h 2466975"/>
                  <a:gd name="connsiteX156" fmla="*/ 8143875 w 8801100"/>
                  <a:gd name="connsiteY156" fmla="*/ 2059781 h 2466975"/>
                  <a:gd name="connsiteX157" fmla="*/ 8184355 w 8801100"/>
                  <a:gd name="connsiteY157" fmla="*/ 2024063 h 2466975"/>
                  <a:gd name="connsiteX158" fmla="*/ 8243888 w 8801100"/>
                  <a:gd name="connsiteY158" fmla="*/ 2064543 h 2466975"/>
                  <a:gd name="connsiteX159" fmla="*/ 8270082 w 8801100"/>
                  <a:gd name="connsiteY159" fmla="*/ 2014537 h 2466975"/>
                  <a:gd name="connsiteX160" fmla="*/ 8365331 w 8801100"/>
                  <a:gd name="connsiteY160" fmla="*/ 1945481 h 2466975"/>
                  <a:gd name="connsiteX161" fmla="*/ 8427244 w 8801100"/>
                  <a:gd name="connsiteY161" fmla="*/ 1952625 h 2466975"/>
                  <a:gd name="connsiteX162" fmla="*/ 8477250 w 8801100"/>
                  <a:gd name="connsiteY162" fmla="*/ 1933575 h 2466975"/>
                  <a:gd name="connsiteX163" fmla="*/ 8515350 w 8801100"/>
                  <a:gd name="connsiteY163" fmla="*/ 1905000 h 2466975"/>
                  <a:gd name="connsiteX164" fmla="*/ 8548688 w 8801100"/>
                  <a:gd name="connsiteY164" fmla="*/ 1902619 h 2466975"/>
                  <a:gd name="connsiteX165" fmla="*/ 8584406 w 8801100"/>
                  <a:gd name="connsiteY165" fmla="*/ 1933575 h 2466975"/>
                  <a:gd name="connsiteX166" fmla="*/ 8643938 w 8801100"/>
                  <a:gd name="connsiteY166" fmla="*/ 1933575 h 2466975"/>
                  <a:gd name="connsiteX167" fmla="*/ 8682037 w 8801100"/>
                  <a:gd name="connsiteY167" fmla="*/ 1914525 h 2466975"/>
                  <a:gd name="connsiteX168" fmla="*/ 8765381 w 8801100"/>
                  <a:gd name="connsiteY168" fmla="*/ 1916907 h 2466975"/>
                  <a:gd name="connsiteX169" fmla="*/ 8796338 w 8801100"/>
                  <a:gd name="connsiteY169" fmla="*/ 1871663 h 2466975"/>
                  <a:gd name="connsiteX170" fmla="*/ 8801100 w 8801100"/>
                  <a:gd name="connsiteY170" fmla="*/ 1809750 h 2466975"/>
                  <a:gd name="connsiteX171" fmla="*/ 8751093 w 8801100"/>
                  <a:gd name="connsiteY171" fmla="*/ 1769269 h 2466975"/>
                  <a:gd name="connsiteX172" fmla="*/ 8734425 w 8801100"/>
                  <a:gd name="connsiteY172" fmla="*/ 1714500 h 2466975"/>
                  <a:gd name="connsiteX173" fmla="*/ 8643938 w 8801100"/>
                  <a:gd name="connsiteY173" fmla="*/ 1652588 h 2466975"/>
                  <a:gd name="connsiteX174" fmla="*/ 8603456 w 8801100"/>
                  <a:gd name="connsiteY174" fmla="*/ 1631156 h 2466975"/>
                  <a:gd name="connsiteX175" fmla="*/ 8565356 w 8801100"/>
                  <a:gd name="connsiteY175" fmla="*/ 1585913 h 2466975"/>
                  <a:gd name="connsiteX176" fmla="*/ 8534400 w 8801100"/>
                  <a:gd name="connsiteY176" fmla="*/ 1583531 h 2466975"/>
                  <a:gd name="connsiteX177" fmla="*/ 8517731 w 8801100"/>
                  <a:gd name="connsiteY177" fmla="*/ 1531144 h 2466975"/>
                  <a:gd name="connsiteX178" fmla="*/ 8477250 w 8801100"/>
                  <a:gd name="connsiteY178" fmla="*/ 1514475 h 2466975"/>
                  <a:gd name="connsiteX179" fmla="*/ 8477250 w 8801100"/>
                  <a:gd name="connsiteY179" fmla="*/ 1514475 h 2466975"/>
                  <a:gd name="connsiteX180" fmla="*/ 8436769 w 8801100"/>
                  <a:gd name="connsiteY180" fmla="*/ 1519238 h 2466975"/>
                  <a:gd name="connsiteX181" fmla="*/ 8351043 w 8801100"/>
                  <a:gd name="connsiteY181" fmla="*/ 1445419 h 2466975"/>
                  <a:gd name="connsiteX182" fmla="*/ 8170069 w 8801100"/>
                  <a:gd name="connsiteY182" fmla="*/ 1445418 h 2466975"/>
                  <a:gd name="connsiteX183" fmla="*/ 8117681 w 8801100"/>
                  <a:gd name="connsiteY183" fmla="*/ 1483519 h 2466975"/>
                  <a:gd name="connsiteX184" fmla="*/ 8067675 w 8801100"/>
                  <a:gd name="connsiteY184" fmla="*/ 1562100 h 2466975"/>
                  <a:gd name="connsiteX185" fmla="*/ 8084344 w 8801100"/>
                  <a:gd name="connsiteY185" fmla="*/ 1583531 h 2466975"/>
                  <a:gd name="connsiteX186" fmla="*/ 8039100 w 8801100"/>
                  <a:gd name="connsiteY186" fmla="*/ 1633537 h 2466975"/>
                  <a:gd name="connsiteX187" fmla="*/ 7889081 w 8801100"/>
                  <a:gd name="connsiteY187" fmla="*/ 1557337 h 2466975"/>
                  <a:gd name="connsiteX188" fmla="*/ 7798594 w 8801100"/>
                  <a:gd name="connsiteY188" fmla="*/ 1593056 h 2466975"/>
                  <a:gd name="connsiteX189" fmla="*/ 7724775 w 8801100"/>
                  <a:gd name="connsiteY189" fmla="*/ 1590675 h 2466975"/>
                  <a:gd name="connsiteX190" fmla="*/ 7667625 w 8801100"/>
                  <a:gd name="connsiteY190" fmla="*/ 1685925 h 2466975"/>
                  <a:gd name="connsiteX191" fmla="*/ 7529513 w 8801100"/>
                  <a:gd name="connsiteY191" fmla="*/ 1588294 h 2466975"/>
                  <a:gd name="connsiteX0" fmla="*/ 7529513 w 8801100"/>
                  <a:gd name="connsiteY0" fmla="*/ 1588294 h 2466975"/>
                  <a:gd name="connsiteX1" fmla="*/ 7522369 w 8801100"/>
                  <a:gd name="connsiteY1" fmla="*/ 1533525 h 2466975"/>
                  <a:gd name="connsiteX2" fmla="*/ 7589044 w 8801100"/>
                  <a:gd name="connsiteY2" fmla="*/ 1459706 h 2466975"/>
                  <a:gd name="connsiteX3" fmla="*/ 7572375 w 8801100"/>
                  <a:gd name="connsiteY3" fmla="*/ 1388269 h 2466975"/>
                  <a:gd name="connsiteX4" fmla="*/ 7586663 w 8801100"/>
                  <a:gd name="connsiteY4" fmla="*/ 1293019 h 2466975"/>
                  <a:gd name="connsiteX5" fmla="*/ 7624763 w 8801100"/>
                  <a:gd name="connsiteY5" fmla="*/ 1235869 h 2466975"/>
                  <a:gd name="connsiteX6" fmla="*/ 7605712 w 8801100"/>
                  <a:gd name="connsiteY6" fmla="*/ 1202531 h 2466975"/>
                  <a:gd name="connsiteX7" fmla="*/ 7703343 w 8801100"/>
                  <a:gd name="connsiteY7" fmla="*/ 802481 h 2466975"/>
                  <a:gd name="connsiteX8" fmla="*/ 7696200 w 8801100"/>
                  <a:gd name="connsiteY8" fmla="*/ 773906 h 2466975"/>
                  <a:gd name="connsiteX9" fmla="*/ 7567613 w 8801100"/>
                  <a:gd name="connsiteY9" fmla="*/ 752475 h 2466975"/>
                  <a:gd name="connsiteX10" fmla="*/ 7384257 w 8801100"/>
                  <a:gd name="connsiteY10" fmla="*/ 831056 h 2466975"/>
                  <a:gd name="connsiteX11" fmla="*/ 7227093 w 8801100"/>
                  <a:gd name="connsiteY11" fmla="*/ 716756 h 2466975"/>
                  <a:gd name="connsiteX12" fmla="*/ 7150894 w 8801100"/>
                  <a:gd name="connsiteY12" fmla="*/ 723900 h 2466975"/>
                  <a:gd name="connsiteX13" fmla="*/ 7077075 w 8801100"/>
                  <a:gd name="connsiteY13" fmla="*/ 719138 h 2466975"/>
                  <a:gd name="connsiteX14" fmla="*/ 6938963 w 8801100"/>
                  <a:gd name="connsiteY14" fmla="*/ 823913 h 2466975"/>
                  <a:gd name="connsiteX15" fmla="*/ 6831806 w 8801100"/>
                  <a:gd name="connsiteY15" fmla="*/ 931069 h 2466975"/>
                  <a:gd name="connsiteX16" fmla="*/ 6788944 w 8801100"/>
                  <a:gd name="connsiteY16" fmla="*/ 1000125 h 2466975"/>
                  <a:gd name="connsiteX17" fmla="*/ 6796088 w 8801100"/>
                  <a:gd name="connsiteY17" fmla="*/ 1035844 h 2466975"/>
                  <a:gd name="connsiteX18" fmla="*/ 6734175 w 8801100"/>
                  <a:gd name="connsiteY18" fmla="*/ 1047750 h 2466975"/>
                  <a:gd name="connsiteX19" fmla="*/ 6753225 w 8801100"/>
                  <a:gd name="connsiteY19" fmla="*/ 1047750 h 2466975"/>
                  <a:gd name="connsiteX20" fmla="*/ 6719888 w 8801100"/>
                  <a:gd name="connsiteY20" fmla="*/ 1078706 h 2466975"/>
                  <a:gd name="connsiteX21" fmla="*/ 6619875 w 8801100"/>
                  <a:gd name="connsiteY21" fmla="*/ 1078707 h 2466975"/>
                  <a:gd name="connsiteX22" fmla="*/ 6524625 w 8801100"/>
                  <a:gd name="connsiteY22" fmla="*/ 1133475 h 2466975"/>
                  <a:gd name="connsiteX23" fmla="*/ 6443663 w 8801100"/>
                  <a:gd name="connsiteY23" fmla="*/ 1143000 h 2466975"/>
                  <a:gd name="connsiteX24" fmla="*/ 6403181 w 8801100"/>
                  <a:gd name="connsiteY24" fmla="*/ 1176338 h 2466975"/>
                  <a:gd name="connsiteX25" fmla="*/ 6353175 w 8801100"/>
                  <a:gd name="connsiteY25" fmla="*/ 1181100 h 2466975"/>
                  <a:gd name="connsiteX26" fmla="*/ 6231732 w 8801100"/>
                  <a:gd name="connsiteY26" fmla="*/ 1273969 h 2466975"/>
                  <a:gd name="connsiteX27" fmla="*/ 6172200 w 8801100"/>
                  <a:gd name="connsiteY27" fmla="*/ 1278731 h 2466975"/>
                  <a:gd name="connsiteX28" fmla="*/ 6119813 w 8801100"/>
                  <a:gd name="connsiteY28" fmla="*/ 1243013 h 2466975"/>
                  <a:gd name="connsiteX29" fmla="*/ 6093619 w 8801100"/>
                  <a:gd name="connsiteY29" fmla="*/ 1278731 h 2466975"/>
                  <a:gd name="connsiteX30" fmla="*/ 5895975 w 8801100"/>
                  <a:gd name="connsiteY30" fmla="*/ 1271588 h 2466975"/>
                  <a:gd name="connsiteX31" fmla="*/ 5834063 w 8801100"/>
                  <a:gd name="connsiteY31" fmla="*/ 1226344 h 2466975"/>
                  <a:gd name="connsiteX32" fmla="*/ 5636419 w 8801100"/>
                  <a:gd name="connsiteY32" fmla="*/ 1243013 h 2466975"/>
                  <a:gd name="connsiteX33" fmla="*/ 5548313 w 8801100"/>
                  <a:gd name="connsiteY33" fmla="*/ 1159668 h 2466975"/>
                  <a:gd name="connsiteX34" fmla="*/ 5472113 w 8801100"/>
                  <a:gd name="connsiteY34" fmla="*/ 1114425 h 2466975"/>
                  <a:gd name="connsiteX35" fmla="*/ 5474493 w 8801100"/>
                  <a:gd name="connsiteY35" fmla="*/ 1057275 h 2466975"/>
                  <a:gd name="connsiteX36" fmla="*/ 5455444 w 8801100"/>
                  <a:gd name="connsiteY36" fmla="*/ 1014412 h 2466975"/>
                  <a:gd name="connsiteX37" fmla="*/ 5360194 w 8801100"/>
                  <a:gd name="connsiteY37" fmla="*/ 1016794 h 2466975"/>
                  <a:gd name="connsiteX38" fmla="*/ 5264944 w 8801100"/>
                  <a:gd name="connsiteY38" fmla="*/ 995363 h 2466975"/>
                  <a:gd name="connsiteX39" fmla="*/ 5195887 w 8801100"/>
                  <a:gd name="connsiteY39" fmla="*/ 928687 h 2466975"/>
                  <a:gd name="connsiteX40" fmla="*/ 5160169 w 8801100"/>
                  <a:gd name="connsiteY40" fmla="*/ 885825 h 2466975"/>
                  <a:gd name="connsiteX41" fmla="*/ 5079206 w 8801100"/>
                  <a:gd name="connsiteY41" fmla="*/ 862012 h 2466975"/>
                  <a:gd name="connsiteX42" fmla="*/ 5005388 w 8801100"/>
                  <a:gd name="connsiteY42" fmla="*/ 873918 h 2466975"/>
                  <a:gd name="connsiteX43" fmla="*/ 4948237 w 8801100"/>
                  <a:gd name="connsiteY43" fmla="*/ 821531 h 2466975"/>
                  <a:gd name="connsiteX44" fmla="*/ 4852988 w 8801100"/>
                  <a:gd name="connsiteY44" fmla="*/ 833438 h 2466975"/>
                  <a:gd name="connsiteX45" fmla="*/ 4800600 w 8801100"/>
                  <a:gd name="connsiteY45" fmla="*/ 807244 h 2466975"/>
                  <a:gd name="connsiteX46" fmla="*/ 4719638 w 8801100"/>
                  <a:gd name="connsiteY46" fmla="*/ 850106 h 2466975"/>
                  <a:gd name="connsiteX47" fmla="*/ 4581525 w 8801100"/>
                  <a:gd name="connsiteY47" fmla="*/ 873919 h 2466975"/>
                  <a:gd name="connsiteX48" fmla="*/ 4452938 w 8801100"/>
                  <a:gd name="connsiteY48" fmla="*/ 966788 h 2466975"/>
                  <a:gd name="connsiteX49" fmla="*/ 4405312 w 8801100"/>
                  <a:gd name="connsiteY49" fmla="*/ 928688 h 2466975"/>
                  <a:gd name="connsiteX50" fmla="*/ 4383881 w 8801100"/>
                  <a:gd name="connsiteY50" fmla="*/ 959643 h 2466975"/>
                  <a:gd name="connsiteX51" fmla="*/ 4310063 w 8801100"/>
                  <a:gd name="connsiteY51" fmla="*/ 909638 h 2466975"/>
                  <a:gd name="connsiteX52" fmla="*/ 4271963 w 8801100"/>
                  <a:gd name="connsiteY52" fmla="*/ 916781 h 2466975"/>
                  <a:gd name="connsiteX53" fmla="*/ 4250531 w 8801100"/>
                  <a:gd name="connsiteY53" fmla="*/ 878681 h 2466975"/>
                  <a:gd name="connsiteX54" fmla="*/ 4191000 w 8801100"/>
                  <a:gd name="connsiteY54" fmla="*/ 883444 h 2466975"/>
                  <a:gd name="connsiteX55" fmla="*/ 4145756 w 8801100"/>
                  <a:gd name="connsiteY55" fmla="*/ 854869 h 2466975"/>
                  <a:gd name="connsiteX56" fmla="*/ 4107656 w 8801100"/>
                  <a:gd name="connsiteY56" fmla="*/ 852488 h 2466975"/>
                  <a:gd name="connsiteX57" fmla="*/ 4088606 w 8801100"/>
                  <a:gd name="connsiteY57" fmla="*/ 804862 h 2466975"/>
                  <a:gd name="connsiteX58" fmla="*/ 4074319 w 8801100"/>
                  <a:gd name="connsiteY58" fmla="*/ 773906 h 2466975"/>
                  <a:gd name="connsiteX59" fmla="*/ 4029075 w 8801100"/>
                  <a:gd name="connsiteY59" fmla="*/ 783431 h 2466975"/>
                  <a:gd name="connsiteX60" fmla="*/ 4010025 w 8801100"/>
                  <a:gd name="connsiteY60" fmla="*/ 747713 h 2466975"/>
                  <a:gd name="connsiteX61" fmla="*/ 4031457 w 8801100"/>
                  <a:gd name="connsiteY61" fmla="*/ 692944 h 2466975"/>
                  <a:gd name="connsiteX62" fmla="*/ 4000500 w 8801100"/>
                  <a:gd name="connsiteY62" fmla="*/ 666750 h 2466975"/>
                  <a:gd name="connsiteX63" fmla="*/ 4017169 w 8801100"/>
                  <a:gd name="connsiteY63" fmla="*/ 623888 h 2466975"/>
                  <a:gd name="connsiteX64" fmla="*/ 3990975 w 8801100"/>
                  <a:gd name="connsiteY64" fmla="*/ 581025 h 2466975"/>
                  <a:gd name="connsiteX65" fmla="*/ 3986213 w 8801100"/>
                  <a:gd name="connsiteY65" fmla="*/ 519113 h 2466975"/>
                  <a:gd name="connsiteX66" fmla="*/ 4010025 w 8801100"/>
                  <a:gd name="connsiteY66" fmla="*/ 454818 h 2466975"/>
                  <a:gd name="connsiteX67" fmla="*/ 3971925 w 8801100"/>
                  <a:gd name="connsiteY67" fmla="*/ 457200 h 2466975"/>
                  <a:gd name="connsiteX68" fmla="*/ 3852863 w 8801100"/>
                  <a:gd name="connsiteY68" fmla="*/ 400050 h 2466975"/>
                  <a:gd name="connsiteX69" fmla="*/ 3814762 w 8801100"/>
                  <a:gd name="connsiteY69" fmla="*/ 404812 h 2466975"/>
                  <a:gd name="connsiteX70" fmla="*/ 3609975 w 8801100"/>
                  <a:gd name="connsiteY70" fmla="*/ 295275 h 2466975"/>
                  <a:gd name="connsiteX71" fmla="*/ 3505200 w 8801100"/>
                  <a:gd name="connsiteY71" fmla="*/ 264319 h 2466975"/>
                  <a:gd name="connsiteX72" fmla="*/ 3440906 w 8801100"/>
                  <a:gd name="connsiteY72" fmla="*/ 273843 h 2466975"/>
                  <a:gd name="connsiteX73" fmla="*/ 3409950 w 8801100"/>
                  <a:gd name="connsiteY73" fmla="*/ 209550 h 2466975"/>
                  <a:gd name="connsiteX74" fmla="*/ 3352800 w 8801100"/>
                  <a:gd name="connsiteY74" fmla="*/ 209550 h 2466975"/>
                  <a:gd name="connsiteX75" fmla="*/ 3214687 w 8801100"/>
                  <a:gd name="connsiteY75" fmla="*/ 104775 h 2466975"/>
                  <a:gd name="connsiteX76" fmla="*/ 3181350 w 8801100"/>
                  <a:gd name="connsiteY76" fmla="*/ 164307 h 2466975"/>
                  <a:gd name="connsiteX77" fmla="*/ 3126581 w 8801100"/>
                  <a:gd name="connsiteY77" fmla="*/ 233363 h 2466975"/>
                  <a:gd name="connsiteX78" fmla="*/ 3083719 w 8801100"/>
                  <a:gd name="connsiteY78" fmla="*/ 250031 h 2466975"/>
                  <a:gd name="connsiteX79" fmla="*/ 3052763 w 8801100"/>
                  <a:gd name="connsiteY79" fmla="*/ 242888 h 2466975"/>
                  <a:gd name="connsiteX80" fmla="*/ 3028950 w 8801100"/>
                  <a:gd name="connsiteY80" fmla="*/ 271463 h 2466975"/>
                  <a:gd name="connsiteX81" fmla="*/ 3002756 w 8801100"/>
                  <a:gd name="connsiteY81" fmla="*/ 350044 h 2466975"/>
                  <a:gd name="connsiteX82" fmla="*/ 2959894 w 8801100"/>
                  <a:gd name="connsiteY82" fmla="*/ 347663 h 2466975"/>
                  <a:gd name="connsiteX83" fmla="*/ 2928937 w 8801100"/>
                  <a:gd name="connsiteY83" fmla="*/ 409575 h 2466975"/>
                  <a:gd name="connsiteX84" fmla="*/ 2924175 w 8801100"/>
                  <a:gd name="connsiteY84" fmla="*/ 473869 h 2466975"/>
                  <a:gd name="connsiteX85" fmla="*/ 2897982 w 8801100"/>
                  <a:gd name="connsiteY85" fmla="*/ 511969 h 2466975"/>
                  <a:gd name="connsiteX86" fmla="*/ 2924175 w 8801100"/>
                  <a:gd name="connsiteY86" fmla="*/ 571500 h 2466975"/>
                  <a:gd name="connsiteX87" fmla="*/ 2926556 w 8801100"/>
                  <a:gd name="connsiteY87" fmla="*/ 640556 h 2466975"/>
                  <a:gd name="connsiteX88" fmla="*/ 2955131 w 8801100"/>
                  <a:gd name="connsiteY88" fmla="*/ 692944 h 2466975"/>
                  <a:gd name="connsiteX89" fmla="*/ 3002757 w 8801100"/>
                  <a:gd name="connsiteY89" fmla="*/ 747713 h 2466975"/>
                  <a:gd name="connsiteX90" fmla="*/ 2952750 w 8801100"/>
                  <a:gd name="connsiteY90" fmla="*/ 885825 h 2466975"/>
                  <a:gd name="connsiteX91" fmla="*/ 2883694 w 8801100"/>
                  <a:gd name="connsiteY91" fmla="*/ 952500 h 2466975"/>
                  <a:gd name="connsiteX92" fmla="*/ 2812256 w 8801100"/>
                  <a:gd name="connsiteY92" fmla="*/ 947738 h 2466975"/>
                  <a:gd name="connsiteX93" fmla="*/ 2774156 w 8801100"/>
                  <a:gd name="connsiteY93" fmla="*/ 1004888 h 2466975"/>
                  <a:gd name="connsiteX94" fmla="*/ 2714625 w 8801100"/>
                  <a:gd name="connsiteY94" fmla="*/ 1019175 h 2466975"/>
                  <a:gd name="connsiteX95" fmla="*/ 2645569 w 8801100"/>
                  <a:gd name="connsiteY95" fmla="*/ 959644 h 2466975"/>
                  <a:gd name="connsiteX96" fmla="*/ 2590800 w 8801100"/>
                  <a:gd name="connsiteY96" fmla="*/ 931069 h 2466975"/>
                  <a:gd name="connsiteX97" fmla="*/ 2547938 w 8801100"/>
                  <a:gd name="connsiteY97" fmla="*/ 945356 h 2466975"/>
                  <a:gd name="connsiteX98" fmla="*/ 2495550 w 8801100"/>
                  <a:gd name="connsiteY98" fmla="*/ 928688 h 2466975"/>
                  <a:gd name="connsiteX99" fmla="*/ 2428875 w 8801100"/>
                  <a:gd name="connsiteY99" fmla="*/ 873919 h 2466975"/>
                  <a:gd name="connsiteX100" fmla="*/ 2383631 w 8801100"/>
                  <a:gd name="connsiteY100" fmla="*/ 885825 h 2466975"/>
                  <a:gd name="connsiteX101" fmla="*/ 2362200 w 8801100"/>
                  <a:gd name="connsiteY101" fmla="*/ 854869 h 2466975"/>
                  <a:gd name="connsiteX102" fmla="*/ 2305050 w 8801100"/>
                  <a:gd name="connsiteY102" fmla="*/ 895350 h 2466975"/>
                  <a:gd name="connsiteX103" fmla="*/ 2188369 w 8801100"/>
                  <a:gd name="connsiteY103" fmla="*/ 873919 h 2466975"/>
                  <a:gd name="connsiteX104" fmla="*/ 2138363 w 8801100"/>
                  <a:gd name="connsiteY104" fmla="*/ 821531 h 2466975"/>
                  <a:gd name="connsiteX105" fmla="*/ 2095500 w 8801100"/>
                  <a:gd name="connsiteY105" fmla="*/ 807244 h 2466975"/>
                  <a:gd name="connsiteX106" fmla="*/ 2052638 w 8801100"/>
                  <a:gd name="connsiteY106" fmla="*/ 833438 h 2466975"/>
                  <a:gd name="connsiteX107" fmla="*/ 2000250 w 8801100"/>
                  <a:gd name="connsiteY107" fmla="*/ 742950 h 2466975"/>
                  <a:gd name="connsiteX108" fmla="*/ 1990725 w 8801100"/>
                  <a:gd name="connsiteY108" fmla="*/ 595312 h 2466975"/>
                  <a:gd name="connsiteX109" fmla="*/ 1938337 w 8801100"/>
                  <a:gd name="connsiteY109" fmla="*/ 588168 h 2466975"/>
                  <a:gd name="connsiteX110" fmla="*/ 1847850 w 8801100"/>
                  <a:gd name="connsiteY110" fmla="*/ 578644 h 2466975"/>
                  <a:gd name="connsiteX111" fmla="*/ 1793081 w 8801100"/>
                  <a:gd name="connsiteY111" fmla="*/ 540544 h 2466975"/>
                  <a:gd name="connsiteX112" fmla="*/ 1724025 w 8801100"/>
                  <a:gd name="connsiteY112" fmla="*/ 550069 h 2466975"/>
                  <a:gd name="connsiteX113" fmla="*/ 1678781 w 8801100"/>
                  <a:gd name="connsiteY113" fmla="*/ 523875 h 2466975"/>
                  <a:gd name="connsiteX114" fmla="*/ 1669257 w 8801100"/>
                  <a:gd name="connsiteY114" fmla="*/ 452438 h 2466975"/>
                  <a:gd name="connsiteX115" fmla="*/ 1645444 w 8801100"/>
                  <a:gd name="connsiteY115" fmla="*/ 438150 h 2466975"/>
                  <a:gd name="connsiteX116" fmla="*/ 1607344 w 8801100"/>
                  <a:gd name="connsiteY116" fmla="*/ 485774 h 2466975"/>
                  <a:gd name="connsiteX117" fmla="*/ 1528762 w 8801100"/>
                  <a:gd name="connsiteY117" fmla="*/ 411956 h 2466975"/>
                  <a:gd name="connsiteX118" fmla="*/ 1488281 w 8801100"/>
                  <a:gd name="connsiteY118" fmla="*/ 452438 h 2466975"/>
                  <a:gd name="connsiteX119" fmla="*/ 1412081 w 8801100"/>
                  <a:gd name="connsiteY119" fmla="*/ 438150 h 2466975"/>
                  <a:gd name="connsiteX120" fmla="*/ 1333500 w 8801100"/>
                  <a:gd name="connsiteY120" fmla="*/ 464344 h 2466975"/>
                  <a:gd name="connsiteX121" fmla="*/ 1273969 w 8801100"/>
                  <a:gd name="connsiteY121" fmla="*/ 511968 h 2466975"/>
                  <a:gd name="connsiteX122" fmla="*/ 1200150 w 8801100"/>
                  <a:gd name="connsiteY122" fmla="*/ 523875 h 2466975"/>
                  <a:gd name="connsiteX123" fmla="*/ 1164431 w 8801100"/>
                  <a:gd name="connsiteY123" fmla="*/ 516731 h 2466975"/>
                  <a:gd name="connsiteX124" fmla="*/ 1085851 w 8801100"/>
                  <a:gd name="connsiteY124" fmla="*/ 547688 h 2466975"/>
                  <a:gd name="connsiteX125" fmla="*/ 1064419 w 8801100"/>
                  <a:gd name="connsiteY125" fmla="*/ 576263 h 2466975"/>
                  <a:gd name="connsiteX126" fmla="*/ 997744 w 8801100"/>
                  <a:gd name="connsiteY126" fmla="*/ 566738 h 2466975"/>
                  <a:gd name="connsiteX127" fmla="*/ 928688 w 8801100"/>
                  <a:gd name="connsiteY127" fmla="*/ 590550 h 2466975"/>
                  <a:gd name="connsiteX128" fmla="*/ 873919 w 8801100"/>
                  <a:gd name="connsiteY128" fmla="*/ 628650 h 2466975"/>
                  <a:gd name="connsiteX129" fmla="*/ 778669 w 8801100"/>
                  <a:gd name="connsiteY129" fmla="*/ 642937 h 2466975"/>
                  <a:gd name="connsiteX130" fmla="*/ 764381 w 8801100"/>
                  <a:gd name="connsiteY130" fmla="*/ 664369 h 2466975"/>
                  <a:gd name="connsiteX131" fmla="*/ 776287 w 8801100"/>
                  <a:gd name="connsiteY131" fmla="*/ 709613 h 2466975"/>
                  <a:gd name="connsiteX132" fmla="*/ 676276 w 8801100"/>
                  <a:gd name="connsiteY132" fmla="*/ 762000 h 2466975"/>
                  <a:gd name="connsiteX133" fmla="*/ 638175 w 8801100"/>
                  <a:gd name="connsiteY133" fmla="*/ 733424 h 2466975"/>
                  <a:gd name="connsiteX134" fmla="*/ 607219 w 8801100"/>
                  <a:gd name="connsiteY134" fmla="*/ 790575 h 2466975"/>
                  <a:gd name="connsiteX135" fmla="*/ 550069 w 8801100"/>
                  <a:gd name="connsiteY135" fmla="*/ 752475 h 2466975"/>
                  <a:gd name="connsiteX136" fmla="*/ 514350 w 8801100"/>
                  <a:gd name="connsiteY136" fmla="*/ 781050 h 2466975"/>
                  <a:gd name="connsiteX137" fmla="*/ 478631 w 8801100"/>
                  <a:gd name="connsiteY137" fmla="*/ 745331 h 2466975"/>
                  <a:gd name="connsiteX138" fmla="*/ 426244 w 8801100"/>
                  <a:gd name="connsiteY138" fmla="*/ 757238 h 2466975"/>
                  <a:gd name="connsiteX139" fmla="*/ 381000 w 8801100"/>
                  <a:gd name="connsiteY139" fmla="*/ 728663 h 2466975"/>
                  <a:gd name="connsiteX140" fmla="*/ 357188 w 8801100"/>
                  <a:gd name="connsiteY140" fmla="*/ 747713 h 2466975"/>
                  <a:gd name="connsiteX141" fmla="*/ 333375 w 8801100"/>
                  <a:gd name="connsiteY141" fmla="*/ 807244 h 2466975"/>
                  <a:gd name="connsiteX142" fmla="*/ 261938 w 8801100"/>
                  <a:gd name="connsiteY142" fmla="*/ 845343 h 2466975"/>
                  <a:gd name="connsiteX143" fmla="*/ 209550 w 8801100"/>
                  <a:gd name="connsiteY143" fmla="*/ 816769 h 2466975"/>
                  <a:gd name="connsiteX144" fmla="*/ 119063 w 8801100"/>
                  <a:gd name="connsiteY144" fmla="*/ 826294 h 2466975"/>
                  <a:gd name="connsiteX145" fmla="*/ 71437 w 8801100"/>
                  <a:gd name="connsiteY145" fmla="*/ 792957 h 2466975"/>
                  <a:gd name="connsiteX146" fmla="*/ 0 w 8801100"/>
                  <a:gd name="connsiteY146" fmla="*/ 812006 h 2466975"/>
                  <a:gd name="connsiteX147" fmla="*/ 4762 w 8801100"/>
                  <a:gd name="connsiteY147" fmla="*/ 0 h 2466975"/>
                  <a:gd name="connsiteX148" fmla="*/ 7810500 w 8801100"/>
                  <a:gd name="connsiteY148" fmla="*/ 2466975 h 2466975"/>
                  <a:gd name="connsiteX149" fmla="*/ 7853363 w 8801100"/>
                  <a:gd name="connsiteY149" fmla="*/ 2386013 h 2466975"/>
                  <a:gd name="connsiteX150" fmla="*/ 7931944 w 8801100"/>
                  <a:gd name="connsiteY150" fmla="*/ 2216943 h 2466975"/>
                  <a:gd name="connsiteX151" fmla="*/ 7986713 w 8801100"/>
                  <a:gd name="connsiteY151" fmla="*/ 2157413 h 2466975"/>
                  <a:gd name="connsiteX152" fmla="*/ 8024813 w 8801100"/>
                  <a:gd name="connsiteY152" fmla="*/ 2152650 h 2466975"/>
                  <a:gd name="connsiteX153" fmla="*/ 8070056 w 8801100"/>
                  <a:gd name="connsiteY153" fmla="*/ 2157413 h 2466975"/>
                  <a:gd name="connsiteX154" fmla="*/ 8134350 w 8801100"/>
                  <a:gd name="connsiteY154" fmla="*/ 2124075 h 2466975"/>
                  <a:gd name="connsiteX155" fmla="*/ 8143875 w 8801100"/>
                  <a:gd name="connsiteY155" fmla="*/ 2059781 h 2466975"/>
                  <a:gd name="connsiteX156" fmla="*/ 8184355 w 8801100"/>
                  <a:gd name="connsiteY156" fmla="*/ 2024063 h 2466975"/>
                  <a:gd name="connsiteX157" fmla="*/ 8243888 w 8801100"/>
                  <a:gd name="connsiteY157" fmla="*/ 2064543 h 2466975"/>
                  <a:gd name="connsiteX158" fmla="*/ 8270082 w 8801100"/>
                  <a:gd name="connsiteY158" fmla="*/ 2014537 h 2466975"/>
                  <a:gd name="connsiteX159" fmla="*/ 8365331 w 8801100"/>
                  <a:gd name="connsiteY159" fmla="*/ 1945481 h 2466975"/>
                  <a:gd name="connsiteX160" fmla="*/ 8427244 w 8801100"/>
                  <a:gd name="connsiteY160" fmla="*/ 1952625 h 2466975"/>
                  <a:gd name="connsiteX161" fmla="*/ 8477250 w 8801100"/>
                  <a:gd name="connsiteY161" fmla="*/ 1933575 h 2466975"/>
                  <a:gd name="connsiteX162" fmla="*/ 8515350 w 8801100"/>
                  <a:gd name="connsiteY162" fmla="*/ 1905000 h 2466975"/>
                  <a:gd name="connsiteX163" fmla="*/ 8548688 w 8801100"/>
                  <a:gd name="connsiteY163" fmla="*/ 1902619 h 2466975"/>
                  <a:gd name="connsiteX164" fmla="*/ 8584406 w 8801100"/>
                  <a:gd name="connsiteY164" fmla="*/ 1933575 h 2466975"/>
                  <a:gd name="connsiteX165" fmla="*/ 8643938 w 8801100"/>
                  <a:gd name="connsiteY165" fmla="*/ 1933575 h 2466975"/>
                  <a:gd name="connsiteX166" fmla="*/ 8682037 w 8801100"/>
                  <a:gd name="connsiteY166" fmla="*/ 1914525 h 2466975"/>
                  <a:gd name="connsiteX167" fmla="*/ 8765381 w 8801100"/>
                  <a:gd name="connsiteY167" fmla="*/ 1916907 h 2466975"/>
                  <a:gd name="connsiteX168" fmla="*/ 8796338 w 8801100"/>
                  <a:gd name="connsiteY168" fmla="*/ 1871663 h 2466975"/>
                  <a:gd name="connsiteX169" fmla="*/ 8801100 w 8801100"/>
                  <a:gd name="connsiteY169" fmla="*/ 1809750 h 2466975"/>
                  <a:gd name="connsiteX170" fmla="*/ 8751093 w 8801100"/>
                  <a:gd name="connsiteY170" fmla="*/ 1769269 h 2466975"/>
                  <a:gd name="connsiteX171" fmla="*/ 8734425 w 8801100"/>
                  <a:gd name="connsiteY171" fmla="*/ 1714500 h 2466975"/>
                  <a:gd name="connsiteX172" fmla="*/ 8643938 w 8801100"/>
                  <a:gd name="connsiteY172" fmla="*/ 1652588 h 2466975"/>
                  <a:gd name="connsiteX173" fmla="*/ 8603456 w 8801100"/>
                  <a:gd name="connsiteY173" fmla="*/ 1631156 h 2466975"/>
                  <a:gd name="connsiteX174" fmla="*/ 8565356 w 8801100"/>
                  <a:gd name="connsiteY174" fmla="*/ 1585913 h 2466975"/>
                  <a:gd name="connsiteX175" fmla="*/ 8534400 w 8801100"/>
                  <a:gd name="connsiteY175" fmla="*/ 1583531 h 2466975"/>
                  <a:gd name="connsiteX176" fmla="*/ 8517731 w 8801100"/>
                  <a:gd name="connsiteY176" fmla="*/ 1531144 h 2466975"/>
                  <a:gd name="connsiteX177" fmla="*/ 8477250 w 8801100"/>
                  <a:gd name="connsiteY177" fmla="*/ 1514475 h 2466975"/>
                  <a:gd name="connsiteX178" fmla="*/ 8477250 w 8801100"/>
                  <a:gd name="connsiteY178" fmla="*/ 1514475 h 2466975"/>
                  <a:gd name="connsiteX179" fmla="*/ 8436769 w 8801100"/>
                  <a:gd name="connsiteY179" fmla="*/ 1519238 h 2466975"/>
                  <a:gd name="connsiteX180" fmla="*/ 8351043 w 8801100"/>
                  <a:gd name="connsiteY180" fmla="*/ 1445419 h 2466975"/>
                  <a:gd name="connsiteX181" fmla="*/ 8170069 w 8801100"/>
                  <a:gd name="connsiteY181" fmla="*/ 1445418 h 2466975"/>
                  <a:gd name="connsiteX182" fmla="*/ 8117681 w 8801100"/>
                  <a:gd name="connsiteY182" fmla="*/ 1483519 h 2466975"/>
                  <a:gd name="connsiteX183" fmla="*/ 8067675 w 8801100"/>
                  <a:gd name="connsiteY183" fmla="*/ 1562100 h 2466975"/>
                  <a:gd name="connsiteX184" fmla="*/ 8084344 w 8801100"/>
                  <a:gd name="connsiteY184" fmla="*/ 1583531 h 2466975"/>
                  <a:gd name="connsiteX185" fmla="*/ 8039100 w 8801100"/>
                  <a:gd name="connsiteY185" fmla="*/ 1633537 h 2466975"/>
                  <a:gd name="connsiteX186" fmla="*/ 7889081 w 8801100"/>
                  <a:gd name="connsiteY186" fmla="*/ 1557337 h 2466975"/>
                  <a:gd name="connsiteX187" fmla="*/ 7798594 w 8801100"/>
                  <a:gd name="connsiteY187" fmla="*/ 1593056 h 2466975"/>
                  <a:gd name="connsiteX188" fmla="*/ 7724775 w 8801100"/>
                  <a:gd name="connsiteY188" fmla="*/ 1590675 h 2466975"/>
                  <a:gd name="connsiteX189" fmla="*/ 7667625 w 8801100"/>
                  <a:gd name="connsiteY189" fmla="*/ 1685925 h 2466975"/>
                  <a:gd name="connsiteX190" fmla="*/ 7529513 w 8801100"/>
                  <a:gd name="connsiteY190" fmla="*/ 1588294 h 2466975"/>
                  <a:gd name="connsiteX0" fmla="*/ 7529513 w 8801100"/>
                  <a:gd name="connsiteY0" fmla="*/ 1588294 h 2466975"/>
                  <a:gd name="connsiteX1" fmla="*/ 7522369 w 8801100"/>
                  <a:gd name="connsiteY1" fmla="*/ 1533525 h 2466975"/>
                  <a:gd name="connsiteX2" fmla="*/ 7589044 w 8801100"/>
                  <a:gd name="connsiteY2" fmla="*/ 1459706 h 2466975"/>
                  <a:gd name="connsiteX3" fmla="*/ 7572375 w 8801100"/>
                  <a:gd name="connsiteY3" fmla="*/ 1388269 h 2466975"/>
                  <a:gd name="connsiteX4" fmla="*/ 7586663 w 8801100"/>
                  <a:gd name="connsiteY4" fmla="*/ 1293019 h 2466975"/>
                  <a:gd name="connsiteX5" fmla="*/ 7624763 w 8801100"/>
                  <a:gd name="connsiteY5" fmla="*/ 1235869 h 2466975"/>
                  <a:gd name="connsiteX6" fmla="*/ 7605712 w 8801100"/>
                  <a:gd name="connsiteY6" fmla="*/ 1202531 h 2466975"/>
                  <a:gd name="connsiteX7" fmla="*/ 7703343 w 8801100"/>
                  <a:gd name="connsiteY7" fmla="*/ 802481 h 2466975"/>
                  <a:gd name="connsiteX8" fmla="*/ 7696200 w 8801100"/>
                  <a:gd name="connsiteY8" fmla="*/ 773906 h 2466975"/>
                  <a:gd name="connsiteX9" fmla="*/ 7567613 w 8801100"/>
                  <a:gd name="connsiteY9" fmla="*/ 752475 h 2466975"/>
                  <a:gd name="connsiteX10" fmla="*/ 7384257 w 8801100"/>
                  <a:gd name="connsiteY10" fmla="*/ 831056 h 2466975"/>
                  <a:gd name="connsiteX11" fmla="*/ 7227093 w 8801100"/>
                  <a:gd name="connsiteY11" fmla="*/ 716756 h 2466975"/>
                  <a:gd name="connsiteX12" fmla="*/ 7150894 w 8801100"/>
                  <a:gd name="connsiteY12" fmla="*/ 723900 h 2466975"/>
                  <a:gd name="connsiteX13" fmla="*/ 7077075 w 8801100"/>
                  <a:gd name="connsiteY13" fmla="*/ 719138 h 2466975"/>
                  <a:gd name="connsiteX14" fmla="*/ 6938963 w 8801100"/>
                  <a:gd name="connsiteY14" fmla="*/ 823913 h 2466975"/>
                  <a:gd name="connsiteX15" fmla="*/ 6831806 w 8801100"/>
                  <a:gd name="connsiteY15" fmla="*/ 931069 h 2466975"/>
                  <a:gd name="connsiteX16" fmla="*/ 6788944 w 8801100"/>
                  <a:gd name="connsiteY16" fmla="*/ 1000125 h 2466975"/>
                  <a:gd name="connsiteX17" fmla="*/ 6796088 w 8801100"/>
                  <a:gd name="connsiteY17" fmla="*/ 1035844 h 2466975"/>
                  <a:gd name="connsiteX18" fmla="*/ 6734175 w 8801100"/>
                  <a:gd name="connsiteY18" fmla="*/ 1047750 h 2466975"/>
                  <a:gd name="connsiteX19" fmla="*/ 6753225 w 8801100"/>
                  <a:gd name="connsiteY19" fmla="*/ 1047750 h 2466975"/>
                  <a:gd name="connsiteX20" fmla="*/ 6719888 w 8801100"/>
                  <a:gd name="connsiteY20" fmla="*/ 1078706 h 2466975"/>
                  <a:gd name="connsiteX21" fmla="*/ 6619875 w 8801100"/>
                  <a:gd name="connsiteY21" fmla="*/ 1078707 h 2466975"/>
                  <a:gd name="connsiteX22" fmla="*/ 6524625 w 8801100"/>
                  <a:gd name="connsiteY22" fmla="*/ 1133475 h 2466975"/>
                  <a:gd name="connsiteX23" fmla="*/ 6443663 w 8801100"/>
                  <a:gd name="connsiteY23" fmla="*/ 1143000 h 2466975"/>
                  <a:gd name="connsiteX24" fmla="*/ 6403181 w 8801100"/>
                  <a:gd name="connsiteY24" fmla="*/ 1176338 h 2466975"/>
                  <a:gd name="connsiteX25" fmla="*/ 6353175 w 8801100"/>
                  <a:gd name="connsiteY25" fmla="*/ 1181100 h 2466975"/>
                  <a:gd name="connsiteX26" fmla="*/ 6231732 w 8801100"/>
                  <a:gd name="connsiteY26" fmla="*/ 1273969 h 2466975"/>
                  <a:gd name="connsiteX27" fmla="*/ 6172200 w 8801100"/>
                  <a:gd name="connsiteY27" fmla="*/ 1278731 h 2466975"/>
                  <a:gd name="connsiteX28" fmla="*/ 6119813 w 8801100"/>
                  <a:gd name="connsiteY28" fmla="*/ 1243013 h 2466975"/>
                  <a:gd name="connsiteX29" fmla="*/ 6093619 w 8801100"/>
                  <a:gd name="connsiteY29" fmla="*/ 1278731 h 2466975"/>
                  <a:gd name="connsiteX30" fmla="*/ 5895975 w 8801100"/>
                  <a:gd name="connsiteY30" fmla="*/ 1271588 h 2466975"/>
                  <a:gd name="connsiteX31" fmla="*/ 5834063 w 8801100"/>
                  <a:gd name="connsiteY31" fmla="*/ 1226344 h 2466975"/>
                  <a:gd name="connsiteX32" fmla="*/ 5636419 w 8801100"/>
                  <a:gd name="connsiteY32" fmla="*/ 1243013 h 2466975"/>
                  <a:gd name="connsiteX33" fmla="*/ 5548313 w 8801100"/>
                  <a:gd name="connsiteY33" fmla="*/ 1159668 h 2466975"/>
                  <a:gd name="connsiteX34" fmla="*/ 5472113 w 8801100"/>
                  <a:gd name="connsiteY34" fmla="*/ 1114425 h 2466975"/>
                  <a:gd name="connsiteX35" fmla="*/ 5474493 w 8801100"/>
                  <a:gd name="connsiteY35" fmla="*/ 1057275 h 2466975"/>
                  <a:gd name="connsiteX36" fmla="*/ 5455444 w 8801100"/>
                  <a:gd name="connsiteY36" fmla="*/ 1014412 h 2466975"/>
                  <a:gd name="connsiteX37" fmla="*/ 5360194 w 8801100"/>
                  <a:gd name="connsiteY37" fmla="*/ 1016794 h 2466975"/>
                  <a:gd name="connsiteX38" fmla="*/ 5264944 w 8801100"/>
                  <a:gd name="connsiteY38" fmla="*/ 995363 h 2466975"/>
                  <a:gd name="connsiteX39" fmla="*/ 5195887 w 8801100"/>
                  <a:gd name="connsiteY39" fmla="*/ 928687 h 2466975"/>
                  <a:gd name="connsiteX40" fmla="*/ 5160169 w 8801100"/>
                  <a:gd name="connsiteY40" fmla="*/ 885825 h 2466975"/>
                  <a:gd name="connsiteX41" fmla="*/ 5079206 w 8801100"/>
                  <a:gd name="connsiteY41" fmla="*/ 862012 h 2466975"/>
                  <a:gd name="connsiteX42" fmla="*/ 5005388 w 8801100"/>
                  <a:gd name="connsiteY42" fmla="*/ 873918 h 2466975"/>
                  <a:gd name="connsiteX43" fmla="*/ 4948237 w 8801100"/>
                  <a:gd name="connsiteY43" fmla="*/ 821531 h 2466975"/>
                  <a:gd name="connsiteX44" fmla="*/ 4852988 w 8801100"/>
                  <a:gd name="connsiteY44" fmla="*/ 833438 h 2466975"/>
                  <a:gd name="connsiteX45" fmla="*/ 4800600 w 8801100"/>
                  <a:gd name="connsiteY45" fmla="*/ 807244 h 2466975"/>
                  <a:gd name="connsiteX46" fmla="*/ 4719638 w 8801100"/>
                  <a:gd name="connsiteY46" fmla="*/ 850106 h 2466975"/>
                  <a:gd name="connsiteX47" fmla="*/ 4581525 w 8801100"/>
                  <a:gd name="connsiteY47" fmla="*/ 873919 h 2466975"/>
                  <a:gd name="connsiteX48" fmla="*/ 4452938 w 8801100"/>
                  <a:gd name="connsiteY48" fmla="*/ 966788 h 2466975"/>
                  <a:gd name="connsiteX49" fmla="*/ 4405312 w 8801100"/>
                  <a:gd name="connsiteY49" fmla="*/ 928688 h 2466975"/>
                  <a:gd name="connsiteX50" fmla="*/ 4383881 w 8801100"/>
                  <a:gd name="connsiteY50" fmla="*/ 959643 h 2466975"/>
                  <a:gd name="connsiteX51" fmla="*/ 4310063 w 8801100"/>
                  <a:gd name="connsiteY51" fmla="*/ 909638 h 2466975"/>
                  <a:gd name="connsiteX52" fmla="*/ 4271963 w 8801100"/>
                  <a:gd name="connsiteY52" fmla="*/ 916781 h 2466975"/>
                  <a:gd name="connsiteX53" fmla="*/ 4250531 w 8801100"/>
                  <a:gd name="connsiteY53" fmla="*/ 878681 h 2466975"/>
                  <a:gd name="connsiteX54" fmla="*/ 4191000 w 8801100"/>
                  <a:gd name="connsiteY54" fmla="*/ 883444 h 2466975"/>
                  <a:gd name="connsiteX55" fmla="*/ 4145756 w 8801100"/>
                  <a:gd name="connsiteY55" fmla="*/ 854869 h 2466975"/>
                  <a:gd name="connsiteX56" fmla="*/ 4107656 w 8801100"/>
                  <a:gd name="connsiteY56" fmla="*/ 852488 h 2466975"/>
                  <a:gd name="connsiteX57" fmla="*/ 4088606 w 8801100"/>
                  <a:gd name="connsiteY57" fmla="*/ 804862 h 2466975"/>
                  <a:gd name="connsiteX58" fmla="*/ 4074319 w 8801100"/>
                  <a:gd name="connsiteY58" fmla="*/ 773906 h 2466975"/>
                  <a:gd name="connsiteX59" fmla="*/ 4029075 w 8801100"/>
                  <a:gd name="connsiteY59" fmla="*/ 783431 h 2466975"/>
                  <a:gd name="connsiteX60" fmla="*/ 4010025 w 8801100"/>
                  <a:gd name="connsiteY60" fmla="*/ 747713 h 2466975"/>
                  <a:gd name="connsiteX61" fmla="*/ 4031457 w 8801100"/>
                  <a:gd name="connsiteY61" fmla="*/ 692944 h 2466975"/>
                  <a:gd name="connsiteX62" fmla="*/ 4000500 w 8801100"/>
                  <a:gd name="connsiteY62" fmla="*/ 666750 h 2466975"/>
                  <a:gd name="connsiteX63" fmla="*/ 4017169 w 8801100"/>
                  <a:gd name="connsiteY63" fmla="*/ 623888 h 2466975"/>
                  <a:gd name="connsiteX64" fmla="*/ 3990975 w 8801100"/>
                  <a:gd name="connsiteY64" fmla="*/ 581025 h 2466975"/>
                  <a:gd name="connsiteX65" fmla="*/ 3986213 w 8801100"/>
                  <a:gd name="connsiteY65" fmla="*/ 519113 h 2466975"/>
                  <a:gd name="connsiteX66" fmla="*/ 4010025 w 8801100"/>
                  <a:gd name="connsiteY66" fmla="*/ 454818 h 2466975"/>
                  <a:gd name="connsiteX67" fmla="*/ 3971925 w 8801100"/>
                  <a:gd name="connsiteY67" fmla="*/ 457200 h 2466975"/>
                  <a:gd name="connsiteX68" fmla="*/ 3852863 w 8801100"/>
                  <a:gd name="connsiteY68" fmla="*/ 400050 h 2466975"/>
                  <a:gd name="connsiteX69" fmla="*/ 3814762 w 8801100"/>
                  <a:gd name="connsiteY69" fmla="*/ 404812 h 2466975"/>
                  <a:gd name="connsiteX70" fmla="*/ 3609975 w 8801100"/>
                  <a:gd name="connsiteY70" fmla="*/ 295275 h 2466975"/>
                  <a:gd name="connsiteX71" fmla="*/ 3505200 w 8801100"/>
                  <a:gd name="connsiteY71" fmla="*/ 264319 h 2466975"/>
                  <a:gd name="connsiteX72" fmla="*/ 3440906 w 8801100"/>
                  <a:gd name="connsiteY72" fmla="*/ 273843 h 2466975"/>
                  <a:gd name="connsiteX73" fmla="*/ 3409950 w 8801100"/>
                  <a:gd name="connsiteY73" fmla="*/ 209550 h 2466975"/>
                  <a:gd name="connsiteX74" fmla="*/ 3352800 w 8801100"/>
                  <a:gd name="connsiteY74" fmla="*/ 209550 h 2466975"/>
                  <a:gd name="connsiteX75" fmla="*/ 3214687 w 8801100"/>
                  <a:gd name="connsiteY75" fmla="*/ 104775 h 2466975"/>
                  <a:gd name="connsiteX76" fmla="*/ 3181350 w 8801100"/>
                  <a:gd name="connsiteY76" fmla="*/ 164307 h 2466975"/>
                  <a:gd name="connsiteX77" fmla="*/ 3126581 w 8801100"/>
                  <a:gd name="connsiteY77" fmla="*/ 233363 h 2466975"/>
                  <a:gd name="connsiteX78" fmla="*/ 3083719 w 8801100"/>
                  <a:gd name="connsiteY78" fmla="*/ 250031 h 2466975"/>
                  <a:gd name="connsiteX79" fmla="*/ 3052763 w 8801100"/>
                  <a:gd name="connsiteY79" fmla="*/ 242888 h 2466975"/>
                  <a:gd name="connsiteX80" fmla="*/ 3028950 w 8801100"/>
                  <a:gd name="connsiteY80" fmla="*/ 271463 h 2466975"/>
                  <a:gd name="connsiteX81" fmla="*/ 3002756 w 8801100"/>
                  <a:gd name="connsiteY81" fmla="*/ 350044 h 2466975"/>
                  <a:gd name="connsiteX82" fmla="*/ 2959894 w 8801100"/>
                  <a:gd name="connsiteY82" fmla="*/ 347663 h 2466975"/>
                  <a:gd name="connsiteX83" fmla="*/ 2928937 w 8801100"/>
                  <a:gd name="connsiteY83" fmla="*/ 409575 h 2466975"/>
                  <a:gd name="connsiteX84" fmla="*/ 2924175 w 8801100"/>
                  <a:gd name="connsiteY84" fmla="*/ 473869 h 2466975"/>
                  <a:gd name="connsiteX85" fmla="*/ 2897982 w 8801100"/>
                  <a:gd name="connsiteY85" fmla="*/ 511969 h 2466975"/>
                  <a:gd name="connsiteX86" fmla="*/ 2924175 w 8801100"/>
                  <a:gd name="connsiteY86" fmla="*/ 571500 h 2466975"/>
                  <a:gd name="connsiteX87" fmla="*/ 2926556 w 8801100"/>
                  <a:gd name="connsiteY87" fmla="*/ 640556 h 2466975"/>
                  <a:gd name="connsiteX88" fmla="*/ 2955131 w 8801100"/>
                  <a:gd name="connsiteY88" fmla="*/ 692944 h 2466975"/>
                  <a:gd name="connsiteX89" fmla="*/ 3002757 w 8801100"/>
                  <a:gd name="connsiteY89" fmla="*/ 747713 h 2466975"/>
                  <a:gd name="connsiteX90" fmla="*/ 2952750 w 8801100"/>
                  <a:gd name="connsiteY90" fmla="*/ 885825 h 2466975"/>
                  <a:gd name="connsiteX91" fmla="*/ 2883694 w 8801100"/>
                  <a:gd name="connsiteY91" fmla="*/ 952500 h 2466975"/>
                  <a:gd name="connsiteX92" fmla="*/ 2812256 w 8801100"/>
                  <a:gd name="connsiteY92" fmla="*/ 947738 h 2466975"/>
                  <a:gd name="connsiteX93" fmla="*/ 2774156 w 8801100"/>
                  <a:gd name="connsiteY93" fmla="*/ 1004888 h 2466975"/>
                  <a:gd name="connsiteX94" fmla="*/ 2714625 w 8801100"/>
                  <a:gd name="connsiteY94" fmla="*/ 1019175 h 2466975"/>
                  <a:gd name="connsiteX95" fmla="*/ 2645569 w 8801100"/>
                  <a:gd name="connsiteY95" fmla="*/ 959644 h 2466975"/>
                  <a:gd name="connsiteX96" fmla="*/ 2590800 w 8801100"/>
                  <a:gd name="connsiteY96" fmla="*/ 931069 h 2466975"/>
                  <a:gd name="connsiteX97" fmla="*/ 2547938 w 8801100"/>
                  <a:gd name="connsiteY97" fmla="*/ 945356 h 2466975"/>
                  <a:gd name="connsiteX98" fmla="*/ 2495550 w 8801100"/>
                  <a:gd name="connsiteY98" fmla="*/ 928688 h 2466975"/>
                  <a:gd name="connsiteX99" fmla="*/ 2428875 w 8801100"/>
                  <a:gd name="connsiteY99" fmla="*/ 873919 h 2466975"/>
                  <a:gd name="connsiteX100" fmla="*/ 2383631 w 8801100"/>
                  <a:gd name="connsiteY100" fmla="*/ 885825 h 2466975"/>
                  <a:gd name="connsiteX101" fmla="*/ 2362200 w 8801100"/>
                  <a:gd name="connsiteY101" fmla="*/ 854869 h 2466975"/>
                  <a:gd name="connsiteX102" fmla="*/ 2305050 w 8801100"/>
                  <a:gd name="connsiteY102" fmla="*/ 895350 h 2466975"/>
                  <a:gd name="connsiteX103" fmla="*/ 2188369 w 8801100"/>
                  <a:gd name="connsiteY103" fmla="*/ 873919 h 2466975"/>
                  <a:gd name="connsiteX104" fmla="*/ 2138363 w 8801100"/>
                  <a:gd name="connsiteY104" fmla="*/ 821531 h 2466975"/>
                  <a:gd name="connsiteX105" fmla="*/ 2095500 w 8801100"/>
                  <a:gd name="connsiteY105" fmla="*/ 807244 h 2466975"/>
                  <a:gd name="connsiteX106" fmla="*/ 2052638 w 8801100"/>
                  <a:gd name="connsiteY106" fmla="*/ 833438 h 2466975"/>
                  <a:gd name="connsiteX107" fmla="*/ 2000250 w 8801100"/>
                  <a:gd name="connsiteY107" fmla="*/ 742950 h 2466975"/>
                  <a:gd name="connsiteX108" fmla="*/ 1990725 w 8801100"/>
                  <a:gd name="connsiteY108" fmla="*/ 595312 h 2466975"/>
                  <a:gd name="connsiteX109" fmla="*/ 1938337 w 8801100"/>
                  <a:gd name="connsiteY109" fmla="*/ 588168 h 2466975"/>
                  <a:gd name="connsiteX110" fmla="*/ 1847850 w 8801100"/>
                  <a:gd name="connsiteY110" fmla="*/ 578644 h 2466975"/>
                  <a:gd name="connsiteX111" fmla="*/ 1793081 w 8801100"/>
                  <a:gd name="connsiteY111" fmla="*/ 540544 h 2466975"/>
                  <a:gd name="connsiteX112" fmla="*/ 1724025 w 8801100"/>
                  <a:gd name="connsiteY112" fmla="*/ 550069 h 2466975"/>
                  <a:gd name="connsiteX113" fmla="*/ 1678781 w 8801100"/>
                  <a:gd name="connsiteY113" fmla="*/ 523875 h 2466975"/>
                  <a:gd name="connsiteX114" fmla="*/ 1669257 w 8801100"/>
                  <a:gd name="connsiteY114" fmla="*/ 452438 h 2466975"/>
                  <a:gd name="connsiteX115" fmla="*/ 1645444 w 8801100"/>
                  <a:gd name="connsiteY115" fmla="*/ 438150 h 2466975"/>
                  <a:gd name="connsiteX116" fmla="*/ 1607344 w 8801100"/>
                  <a:gd name="connsiteY116" fmla="*/ 485774 h 2466975"/>
                  <a:gd name="connsiteX117" fmla="*/ 1528762 w 8801100"/>
                  <a:gd name="connsiteY117" fmla="*/ 411956 h 2466975"/>
                  <a:gd name="connsiteX118" fmla="*/ 1488281 w 8801100"/>
                  <a:gd name="connsiteY118" fmla="*/ 452438 h 2466975"/>
                  <a:gd name="connsiteX119" fmla="*/ 1412081 w 8801100"/>
                  <a:gd name="connsiteY119" fmla="*/ 438150 h 2466975"/>
                  <a:gd name="connsiteX120" fmla="*/ 1333500 w 8801100"/>
                  <a:gd name="connsiteY120" fmla="*/ 464344 h 2466975"/>
                  <a:gd name="connsiteX121" fmla="*/ 1273969 w 8801100"/>
                  <a:gd name="connsiteY121" fmla="*/ 511968 h 2466975"/>
                  <a:gd name="connsiteX122" fmla="*/ 1200150 w 8801100"/>
                  <a:gd name="connsiteY122" fmla="*/ 523875 h 2466975"/>
                  <a:gd name="connsiteX123" fmla="*/ 1164431 w 8801100"/>
                  <a:gd name="connsiteY123" fmla="*/ 516731 h 2466975"/>
                  <a:gd name="connsiteX124" fmla="*/ 1085851 w 8801100"/>
                  <a:gd name="connsiteY124" fmla="*/ 547688 h 2466975"/>
                  <a:gd name="connsiteX125" fmla="*/ 1064419 w 8801100"/>
                  <a:gd name="connsiteY125" fmla="*/ 576263 h 2466975"/>
                  <a:gd name="connsiteX126" fmla="*/ 997744 w 8801100"/>
                  <a:gd name="connsiteY126" fmla="*/ 566738 h 2466975"/>
                  <a:gd name="connsiteX127" fmla="*/ 928688 w 8801100"/>
                  <a:gd name="connsiteY127" fmla="*/ 590550 h 2466975"/>
                  <a:gd name="connsiteX128" fmla="*/ 873919 w 8801100"/>
                  <a:gd name="connsiteY128" fmla="*/ 628650 h 2466975"/>
                  <a:gd name="connsiteX129" fmla="*/ 778669 w 8801100"/>
                  <a:gd name="connsiteY129" fmla="*/ 642937 h 2466975"/>
                  <a:gd name="connsiteX130" fmla="*/ 764381 w 8801100"/>
                  <a:gd name="connsiteY130" fmla="*/ 664369 h 2466975"/>
                  <a:gd name="connsiteX131" fmla="*/ 776287 w 8801100"/>
                  <a:gd name="connsiteY131" fmla="*/ 709613 h 2466975"/>
                  <a:gd name="connsiteX132" fmla="*/ 676276 w 8801100"/>
                  <a:gd name="connsiteY132" fmla="*/ 762000 h 2466975"/>
                  <a:gd name="connsiteX133" fmla="*/ 638175 w 8801100"/>
                  <a:gd name="connsiteY133" fmla="*/ 733424 h 2466975"/>
                  <a:gd name="connsiteX134" fmla="*/ 607219 w 8801100"/>
                  <a:gd name="connsiteY134" fmla="*/ 790575 h 2466975"/>
                  <a:gd name="connsiteX135" fmla="*/ 550069 w 8801100"/>
                  <a:gd name="connsiteY135" fmla="*/ 752475 h 2466975"/>
                  <a:gd name="connsiteX136" fmla="*/ 514350 w 8801100"/>
                  <a:gd name="connsiteY136" fmla="*/ 781050 h 2466975"/>
                  <a:gd name="connsiteX137" fmla="*/ 478631 w 8801100"/>
                  <a:gd name="connsiteY137" fmla="*/ 745331 h 2466975"/>
                  <a:gd name="connsiteX138" fmla="*/ 426244 w 8801100"/>
                  <a:gd name="connsiteY138" fmla="*/ 757238 h 2466975"/>
                  <a:gd name="connsiteX139" fmla="*/ 381000 w 8801100"/>
                  <a:gd name="connsiteY139" fmla="*/ 728663 h 2466975"/>
                  <a:gd name="connsiteX140" fmla="*/ 357188 w 8801100"/>
                  <a:gd name="connsiteY140" fmla="*/ 747713 h 2466975"/>
                  <a:gd name="connsiteX141" fmla="*/ 333375 w 8801100"/>
                  <a:gd name="connsiteY141" fmla="*/ 807244 h 2466975"/>
                  <a:gd name="connsiteX142" fmla="*/ 261938 w 8801100"/>
                  <a:gd name="connsiteY142" fmla="*/ 845343 h 2466975"/>
                  <a:gd name="connsiteX143" fmla="*/ 209550 w 8801100"/>
                  <a:gd name="connsiteY143" fmla="*/ 816769 h 2466975"/>
                  <a:gd name="connsiteX144" fmla="*/ 119063 w 8801100"/>
                  <a:gd name="connsiteY144" fmla="*/ 826294 h 2466975"/>
                  <a:gd name="connsiteX145" fmla="*/ 71437 w 8801100"/>
                  <a:gd name="connsiteY145" fmla="*/ 792957 h 2466975"/>
                  <a:gd name="connsiteX146" fmla="*/ 0 w 8801100"/>
                  <a:gd name="connsiteY146" fmla="*/ 812006 h 2466975"/>
                  <a:gd name="connsiteX147" fmla="*/ 4762 w 8801100"/>
                  <a:gd name="connsiteY147" fmla="*/ 0 h 2466975"/>
                  <a:gd name="connsiteX148" fmla="*/ 7810500 w 8801100"/>
                  <a:gd name="connsiteY148" fmla="*/ 2466975 h 2466975"/>
                  <a:gd name="connsiteX149" fmla="*/ 7853363 w 8801100"/>
                  <a:gd name="connsiteY149" fmla="*/ 2386013 h 2466975"/>
                  <a:gd name="connsiteX150" fmla="*/ 7986713 w 8801100"/>
                  <a:gd name="connsiteY150" fmla="*/ 2157413 h 2466975"/>
                  <a:gd name="connsiteX151" fmla="*/ 8024813 w 8801100"/>
                  <a:gd name="connsiteY151" fmla="*/ 2152650 h 2466975"/>
                  <a:gd name="connsiteX152" fmla="*/ 8070056 w 8801100"/>
                  <a:gd name="connsiteY152" fmla="*/ 2157413 h 2466975"/>
                  <a:gd name="connsiteX153" fmla="*/ 8134350 w 8801100"/>
                  <a:gd name="connsiteY153" fmla="*/ 2124075 h 2466975"/>
                  <a:gd name="connsiteX154" fmla="*/ 8143875 w 8801100"/>
                  <a:gd name="connsiteY154" fmla="*/ 2059781 h 2466975"/>
                  <a:gd name="connsiteX155" fmla="*/ 8184355 w 8801100"/>
                  <a:gd name="connsiteY155" fmla="*/ 2024063 h 2466975"/>
                  <a:gd name="connsiteX156" fmla="*/ 8243888 w 8801100"/>
                  <a:gd name="connsiteY156" fmla="*/ 2064543 h 2466975"/>
                  <a:gd name="connsiteX157" fmla="*/ 8270082 w 8801100"/>
                  <a:gd name="connsiteY157" fmla="*/ 2014537 h 2466975"/>
                  <a:gd name="connsiteX158" fmla="*/ 8365331 w 8801100"/>
                  <a:gd name="connsiteY158" fmla="*/ 1945481 h 2466975"/>
                  <a:gd name="connsiteX159" fmla="*/ 8427244 w 8801100"/>
                  <a:gd name="connsiteY159" fmla="*/ 1952625 h 2466975"/>
                  <a:gd name="connsiteX160" fmla="*/ 8477250 w 8801100"/>
                  <a:gd name="connsiteY160" fmla="*/ 1933575 h 2466975"/>
                  <a:gd name="connsiteX161" fmla="*/ 8515350 w 8801100"/>
                  <a:gd name="connsiteY161" fmla="*/ 1905000 h 2466975"/>
                  <a:gd name="connsiteX162" fmla="*/ 8548688 w 8801100"/>
                  <a:gd name="connsiteY162" fmla="*/ 1902619 h 2466975"/>
                  <a:gd name="connsiteX163" fmla="*/ 8584406 w 8801100"/>
                  <a:gd name="connsiteY163" fmla="*/ 1933575 h 2466975"/>
                  <a:gd name="connsiteX164" fmla="*/ 8643938 w 8801100"/>
                  <a:gd name="connsiteY164" fmla="*/ 1933575 h 2466975"/>
                  <a:gd name="connsiteX165" fmla="*/ 8682037 w 8801100"/>
                  <a:gd name="connsiteY165" fmla="*/ 1914525 h 2466975"/>
                  <a:gd name="connsiteX166" fmla="*/ 8765381 w 8801100"/>
                  <a:gd name="connsiteY166" fmla="*/ 1916907 h 2466975"/>
                  <a:gd name="connsiteX167" fmla="*/ 8796338 w 8801100"/>
                  <a:gd name="connsiteY167" fmla="*/ 1871663 h 2466975"/>
                  <a:gd name="connsiteX168" fmla="*/ 8801100 w 8801100"/>
                  <a:gd name="connsiteY168" fmla="*/ 1809750 h 2466975"/>
                  <a:gd name="connsiteX169" fmla="*/ 8751093 w 8801100"/>
                  <a:gd name="connsiteY169" fmla="*/ 1769269 h 2466975"/>
                  <a:gd name="connsiteX170" fmla="*/ 8734425 w 8801100"/>
                  <a:gd name="connsiteY170" fmla="*/ 1714500 h 2466975"/>
                  <a:gd name="connsiteX171" fmla="*/ 8643938 w 8801100"/>
                  <a:gd name="connsiteY171" fmla="*/ 1652588 h 2466975"/>
                  <a:gd name="connsiteX172" fmla="*/ 8603456 w 8801100"/>
                  <a:gd name="connsiteY172" fmla="*/ 1631156 h 2466975"/>
                  <a:gd name="connsiteX173" fmla="*/ 8565356 w 8801100"/>
                  <a:gd name="connsiteY173" fmla="*/ 1585913 h 2466975"/>
                  <a:gd name="connsiteX174" fmla="*/ 8534400 w 8801100"/>
                  <a:gd name="connsiteY174" fmla="*/ 1583531 h 2466975"/>
                  <a:gd name="connsiteX175" fmla="*/ 8517731 w 8801100"/>
                  <a:gd name="connsiteY175" fmla="*/ 1531144 h 2466975"/>
                  <a:gd name="connsiteX176" fmla="*/ 8477250 w 8801100"/>
                  <a:gd name="connsiteY176" fmla="*/ 1514475 h 2466975"/>
                  <a:gd name="connsiteX177" fmla="*/ 8477250 w 8801100"/>
                  <a:gd name="connsiteY177" fmla="*/ 1514475 h 2466975"/>
                  <a:gd name="connsiteX178" fmla="*/ 8436769 w 8801100"/>
                  <a:gd name="connsiteY178" fmla="*/ 1519238 h 2466975"/>
                  <a:gd name="connsiteX179" fmla="*/ 8351043 w 8801100"/>
                  <a:gd name="connsiteY179" fmla="*/ 1445419 h 2466975"/>
                  <a:gd name="connsiteX180" fmla="*/ 8170069 w 8801100"/>
                  <a:gd name="connsiteY180" fmla="*/ 1445418 h 2466975"/>
                  <a:gd name="connsiteX181" fmla="*/ 8117681 w 8801100"/>
                  <a:gd name="connsiteY181" fmla="*/ 1483519 h 2466975"/>
                  <a:gd name="connsiteX182" fmla="*/ 8067675 w 8801100"/>
                  <a:gd name="connsiteY182" fmla="*/ 1562100 h 2466975"/>
                  <a:gd name="connsiteX183" fmla="*/ 8084344 w 8801100"/>
                  <a:gd name="connsiteY183" fmla="*/ 1583531 h 2466975"/>
                  <a:gd name="connsiteX184" fmla="*/ 8039100 w 8801100"/>
                  <a:gd name="connsiteY184" fmla="*/ 1633537 h 2466975"/>
                  <a:gd name="connsiteX185" fmla="*/ 7889081 w 8801100"/>
                  <a:gd name="connsiteY185" fmla="*/ 1557337 h 2466975"/>
                  <a:gd name="connsiteX186" fmla="*/ 7798594 w 8801100"/>
                  <a:gd name="connsiteY186" fmla="*/ 1593056 h 2466975"/>
                  <a:gd name="connsiteX187" fmla="*/ 7724775 w 8801100"/>
                  <a:gd name="connsiteY187" fmla="*/ 1590675 h 2466975"/>
                  <a:gd name="connsiteX188" fmla="*/ 7667625 w 8801100"/>
                  <a:gd name="connsiteY188" fmla="*/ 1685925 h 2466975"/>
                  <a:gd name="connsiteX189" fmla="*/ 7529513 w 8801100"/>
                  <a:gd name="connsiteY189" fmla="*/ 1588294 h 2466975"/>
                  <a:gd name="connsiteX0" fmla="*/ 7529513 w 8801100"/>
                  <a:gd name="connsiteY0" fmla="*/ 1588294 h 2466975"/>
                  <a:gd name="connsiteX1" fmla="*/ 7522369 w 8801100"/>
                  <a:gd name="connsiteY1" fmla="*/ 1533525 h 2466975"/>
                  <a:gd name="connsiteX2" fmla="*/ 7589044 w 8801100"/>
                  <a:gd name="connsiteY2" fmla="*/ 1459706 h 2466975"/>
                  <a:gd name="connsiteX3" fmla="*/ 7572375 w 8801100"/>
                  <a:gd name="connsiteY3" fmla="*/ 1388269 h 2466975"/>
                  <a:gd name="connsiteX4" fmla="*/ 7586663 w 8801100"/>
                  <a:gd name="connsiteY4" fmla="*/ 1293019 h 2466975"/>
                  <a:gd name="connsiteX5" fmla="*/ 7624763 w 8801100"/>
                  <a:gd name="connsiteY5" fmla="*/ 1235869 h 2466975"/>
                  <a:gd name="connsiteX6" fmla="*/ 7605712 w 8801100"/>
                  <a:gd name="connsiteY6" fmla="*/ 1202531 h 2466975"/>
                  <a:gd name="connsiteX7" fmla="*/ 7703343 w 8801100"/>
                  <a:gd name="connsiteY7" fmla="*/ 802481 h 2466975"/>
                  <a:gd name="connsiteX8" fmla="*/ 7696200 w 8801100"/>
                  <a:gd name="connsiteY8" fmla="*/ 773906 h 2466975"/>
                  <a:gd name="connsiteX9" fmla="*/ 7567613 w 8801100"/>
                  <a:gd name="connsiteY9" fmla="*/ 752475 h 2466975"/>
                  <a:gd name="connsiteX10" fmla="*/ 7384257 w 8801100"/>
                  <a:gd name="connsiteY10" fmla="*/ 831056 h 2466975"/>
                  <a:gd name="connsiteX11" fmla="*/ 7227093 w 8801100"/>
                  <a:gd name="connsiteY11" fmla="*/ 716756 h 2466975"/>
                  <a:gd name="connsiteX12" fmla="*/ 7150894 w 8801100"/>
                  <a:gd name="connsiteY12" fmla="*/ 723900 h 2466975"/>
                  <a:gd name="connsiteX13" fmla="*/ 7077075 w 8801100"/>
                  <a:gd name="connsiteY13" fmla="*/ 719138 h 2466975"/>
                  <a:gd name="connsiteX14" fmla="*/ 6938963 w 8801100"/>
                  <a:gd name="connsiteY14" fmla="*/ 823913 h 2466975"/>
                  <a:gd name="connsiteX15" fmla="*/ 6831806 w 8801100"/>
                  <a:gd name="connsiteY15" fmla="*/ 931069 h 2466975"/>
                  <a:gd name="connsiteX16" fmla="*/ 6788944 w 8801100"/>
                  <a:gd name="connsiteY16" fmla="*/ 1000125 h 2466975"/>
                  <a:gd name="connsiteX17" fmla="*/ 6796088 w 8801100"/>
                  <a:gd name="connsiteY17" fmla="*/ 1035844 h 2466975"/>
                  <a:gd name="connsiteX18" fmla="*/ 6734175 w 8801100"/>
                  <a:gd name="connsiteY18" fmla="*/ 1047750 h 2466975"/>
                  <a:gd name="connsiteX19" fmla="*/ 6753225 w 8801100"/>
                  <a:gd name="connsiteY19" fmla="*/ 1047750 h 2466975"/>
                  <a:gd name="connsiteX20" fmla="*/ 6719888 w 8801100"/>
                  <a:gd name="connsiteY20" fmla="*/ 1078706 h 2466975"/>
                  <a:gd name="connsiteX21" fmla="*/ 6619875 w 8801100"/>
                  <a:gd name="connsiteY21" fmla="*/ 1078707 h 2466975"/>
                  <a:gd name="connsiteX22" fmla="*/ 6524625 w 8801100"/>
                  <a:gd name="connsiteY22" fmla="*/ 1133475 h 2466975"/>
                  <a:gd name="connsiteX23" fmla="*/ 6443663 w 8801100"/>
                  <a:gd name="connsiteY23" fmla="*/ 1143000 h 2466975"/>
                  <a:gd name="connsiteX24" fmla="*/ 6403181 w 8801100"/>
                  <a:gd name="connsiteY24" fmla="*/ 1176338 h 2466975"/>
                  <a:gd name="connsiteX25" fmla="*/ 6353175 w 8801100"/>
                  <a:gd name="connsiteY25" fmla="*/ 1181100 h 2466975"/>
                  <a:gd name="connsiteX26" fmla="*/ 6231732 w 8801100"/>
                  <a:gd name="connsiteY26" fmla="*/ 1273969 h 2466975"/>
                  <a:gd name="connsiteX27" fmla="*/ 6172200 w 8801100"/>
                  <a:gd name="connsiteY27" fmla="*/ 1278731 h 2466975"/>
                  <a:gd name="connsiteX28" fmla="*/ 6119813 w 8801100"/>
                  <a:gd name="connsiteY28" fmla="*/ 1243013 h 2466975"/>
                  <a:gd name="connsiteX29" fmla="*/ 6093619 w 8801100"/>
                  <a:gd name="connsiteY29" fmla="*/ 1278731 h 2466975"/>
                  <a:gd name="connsiteX30" fmla="*/ 5895975 w 8801100"/>
                  <a:gd name="connsiteY30" fmla="*/ 1271588 h 2466975"/>
                  <a:gd name="connsiteX31" fmla="*/ 5834063 w 8801100"/>
                  <a:gd name="connsiteY31" fmla="*/ 1226344 h 2466975"/>
                  <a:gd name="connsiteX32" fmla="*/ 5636419 w 8801100"/>
                  <a:gd name="connsiteY32" fmla="*/ 1243013 h 2466975"/>
                  <a:gd name="connsiteX33" fmla="*/ 5548313 w 8801100"/>
                  <a:gd name="connsiteY33" fmla="*/ 1159668 h 2466975"/>
                  <a:gd name="connsiteX34" fmla="*/ 5472113 w 8801100"/>
                  <a:gd name="connsiteY34" fmla="*/ 1114425 h 2466975"/>
                  <a:gd name="connsiteX35" fmla="*/ 5474493 w 8801100"/>
                  <a:gd name="connsiteY35" fmla="*/ 1057275 h 2466975"/>
                  <a:gd name="connsiteX36" fmla="*/ 5455444 w 8801100"/>
                  <a:gd name="connsiteY36" fmla="*/ 1014412 h 2466975"/>
                  <a:gd name="connsiteX37" fmla="*/ 5360194 w 8801100"/>
                  <a:gd name="connsiteY37" fmla="*/ 1016794 h 2466975"/>
                  <a:gd name="connsiteX38" fmla="*/ 5264944 w 8801100"/>
                  <a:gd name="connsiteY38" fmla="*/ 995363 h 2466975"/>
                  <a:gd name="connsiteX39" fmla="*/ 5195887 w 8801100"/>
                  <a:gd name="connsiteY39" fmla="*/ 928687 h 2466975"/>
                  <a:gd name="connsiteX40" fmla="*/ 5160169 w 8801100"/>
                  <a:gd name="connsiteY40" fmla="*/ 885825 h 2466975"/>
                  <a:gd name="connsiteX41" fmla="*/ 5079206 w 8801100"/>
                  <a:gd name="connsiteY41" fmla="*/ 862012 h 2466975"/>
                  <a:gd name="connsiteX42" fmla="*/ 5005388 w 8801100"/>
                  <a:gd name="connsiteY42" fmla="*/ 873918 h 2466975"/>
                  <a:gd name="connsiteX43" fmla="*/ 4948237 w 8801100"/>
                  <a:gd name="connsiteY43" fmla="*/ 821531 h 2466975"/>
                  <a:gd name="connsiteX44" fmla="*/ 4852988 w 8801100"/>
                  <a:gd name="connsiteY44" fmla="*/ 833438 h 2466975"/>
                  <a:gd name="connsiteX45" fmla="*/ 4800600 w 8801100"/>
                  <a:gd name="connsiteY45" fmla="*/ 807244 h 2466975"/>
                  <a:gd name="connsiteX46" fmla="*/ 4719638 w 8801100"/>
                  <a:gd name="connsiteY46" fmla="*/ 850106 h 2466975"/>
                  <a:gd name="connsiteX47" fmla="*/ 4581525 w 8801100"/>
                  <a:gd name="connsiteY47" fmla="*/ 873919 h 2466975"/>
                  <a:gd name="connsiteX48" fmla="*/ 4452938 w 8801100"/>
                  <a:gd name="connsiteY48" fmla="*/ 966788 h 2466975"/>
                  <a:gd name="connsiteX49" fmla="*/ 4405312 w 8801100"/>
                  <a:gd name="connsiteY49" fmla="*/ 928688 h 2466975"/>
                  <a:gd name="connsiteX50" fmla="*/ 4383881 w 8801100"/>
                  <a:gd name="connsiteY50" fmla="*/ 959643 h 2466975"/>
                  <a:gd name="connsiteX51" fmla="*/ 4310063 w 8801100"/>
                  <a:gd name="connsiteY51" fmla="*/ 909638 h 2466975"/>
                  <a:gd name="connsiteX52" fmla="*/ 4271963 w 8801100"/>
                  <a:gd name="connsiteY52" fmla="*/ 916781 h 2466975"/>
                  <a:gd name="connsiteX53" fmla="*/ 4250531 w 8801100"/>
                  <a:gd name="connsiteY53" fmla="*/ 878681 h 2466975"/>
                  <a:gd name="connsiteX54" fmla="*/ 4191000 w 8801100"/>
                  <a:gd name="connsiteY54" fmla="*/ 883444 h 2466975"/>
                  <a:gd name="connsiteX55" fmla="*/ 4145756 w 8801100"/>
                  <a:gd name="connsiteY55" fmla="*/ 854869 h 2466975"/>
                  <a:gd name="connsiteX56" fmla="*/ 4107656 w 8801100"/>
                  <a:gd name="connsiteY56" fmla="*/ 852488 h 2466975"/>
                  <a:gd name="connsiteX57" fmla="*/ 4088606 w 8801100"/>
                  <a:gd name="connsiteY57" fmla="*/ 804862 h 2466975"/>
                  <a:gd name="connsiteX58" fmla="*/ 4074319 w 8801100"/>
                  <a:gd name="connsiteY58" fmla="*/ 773906 h 2466975"/>
                  <a:gd name="connsiteX59" fmla="*/ 4029075 w 8801100"/>
                  <a:gd name="connsiteY59" fmla="*/ 783431 h 2466975"/>
                  <a:gd name="connsiteX60" fmla="*/ 4010025 w 8801100"/>
                  <a:gd name="connsiteY60" fmla="*/ 747713 h 2466975"/>
                  <a:gd name="connsiteX61" fmla="*/ 4031457 w 8801100"/>
                  <a:gd name="connsiteY61" fmla="*/ 692944 h 2466975"/>
                  <a:gd name="connsiteX62" fmla="*/ 4000500 w 8801100"/>
                  <a:gd name="connsiteY62" fmla="*/ 666750 h 2466975"/>
                  <a:gd name="connsiteX63" fmla="*/ 4017169 w 8801100"/>
                  <a:gd name="connsiteY63" fmla="*/ 623888 h 2466975"/>
                  <a:gd name="connsiteX64" fmla="*/ 3990975 w 8801100"/>
                  <a:gd name="connsiteY64" fmla="*/ 581025 h 2466975"/>
                  <a:gd name="connsiteX65" fmla="*/ 3986213 w 8801100"/>
                  <a:gd name="connsiteY65" fmla="*/ 519113 h 2466975"/>
                  <a:gd name="connsiteX66" fmla="*/ 4010025 w 8801100"/>
                  <a:gd name="connsiteY66" fmla="*/ 454818 h 2466975"/>
                  <a:gd name="connsiteX67" fmla="*/ 3971925 w 8801100"/>
                  <a:gd name="connsiteY67" fmla="*/ 457200 h 2466975"/>
                  <a:gd name="connsiteX68" fmla="*/ 3852863 w 8801100"/>
                  <a:gd name="connsiteY68" fmla="*/ 400050 h 2466975"/>
                  <a:gd name="connsiteX69" fmla="*/ 3814762 w 8801100"/>
                  <a:gd name="connsiteY69" fmla="*/ 404812 h 2466975"/>
                  <a:gd name="connsiteX70" fmla="*/ 3609975 w 8801100"/>
                  <a:gd name="connsiteY70" fmla="*/ 295275 h 2466975"/>
                  <a:gd name="connsiteX71" fmla="*/ 3505200 w 8801100"/>
                  <a:gd name="connsiteY71" fmla="*/ 264319 h 2466975"/>
                  <a:gd name="connsiteX72" fmla="*/ 3440906 w 8801100"/>
                  <a:gd name="connsiteY72" fmla="*/ 273843 h 2466975"/>
                  <a:gd name="connsiteX73" fmla="*/ 3409950 w 8801100"/>
                  <a:gd name="connsiteY73" fmla="*/ 209550 h 2466975"/>
                  <a:gd name="connsiteX74" fmla="*/ 3352800 w 8801100"/>
                  <a:gd name="connsiteY74" fmla="*/ 209550 h 2466975"/>
                  <a:gd name="connsiteX75" fmla="*/ 3214687 w 8801100"/>
                  <a:gd name="connsiteY75" fmla="*/ 104775 h 2466975"/>
                  <a:gd name="connsiteX76" fmla="*/ 3181350 w 8801100"/>
                  <a:gd name="connsiteY76" fmla="*/ 164307 h 2466975"/>
                  <a:gd name="connsiteX77" fmla="*/ 3126581 w 8801100"/>
                  <a:gd name="connsiteY77" fmla="*/ 233363 h 2466975"/>
                  <a:gd name="connsiteX78" fmla="*/ 3083719 w 8801100"/>
                  <a:gd name="connsiteY78" fmla="*/ 250031 h 2466975"/>
                  <a:gd name="connsiteX79" fmla="*/ 3052763 w 8801100"/>
                  <a:gd name="connsiteY79" fmla="*/ 242888 h 2466975"/>
                  <a:gd name="connsiteX80" fmla="*/ 3028950 w 8801100"/>
                  <a:gd name="connsiteY80" fmla="*/ 271463 h 2466975"/>
                  <a:gd name="connsiteX81" fmla="*/ 3002756 w 8801100"/>
                  <a:gd name="connsiteY81" fmla="*/ 350044 h 2466975"/>
                  <a:gd name="connsiteX82" fmla="*/ 2959894 w 8801100"/>
                  <a:gd name="connsiteY82" fmla="*/ 347663 h 2466975"/>
                  <a:gd name="connsiteX83" fmla="*/ 2928937 w 8801100"/>
                  <a:gd name="connsiteY83" fmla="*/ 409575 h 2466975"/>
                  <a:gd name="connsiteX84" fmla="*/ 2924175 w 8801100"/>
                  <a:gd name="connsiteY84" fmla="*/ 473869 h 2466975"/>
                  <a:gd name="connsiteX85" fmla="*/ 2897982 w 8801100"/>
                  <a:gd name="connsiteY85" fmla="*/ 511969 h 2466975"/>
                  <a:gd name="connsiteX86" fmla="*/ 2924175 w 8801100"/>
                  <a:gd name="connsiteY86" fmla="*/ 571500 h 2466975"/>
                  <a:gd name="connsiteX87" fmla="*/ 2926556 w 8801100"/>
                  <a:gd name="connsiteY87" fmla="*/ 640556 h 2466975"/>
                  <a:gd name="connsiteX88" fmla="*/ 2955131 w 8801100"/>
                  <a:gd name="connsiteY88" fmla="*/ 692944 h 2466975"/>
                  <a:gd name="connsiteX89" fmla="*/ 3002757 w 8801100"/>
                  <a:gd name="connsiteY89" fmla="*/ 747713 h 2466975"/>
                  <a:gd name="connsiteX90" fmla="*/ 2952750 w 8801100"/>
                  <a:gd name="connsiteY90" fmla="*/ 885825 h 2466975"/>
                  <a:gd name="connsiteX91" fmla="*/ 2883694 w 8801100"/>
                  <a:gd name="connsiteY91" fmla="*/ 952500 h 2466975"/>
                  <a:gd name="connsiteX92" fmla="*/ 2812256 w 8801100"/>
                  <a:gd name="connsiteY92" fmla="*/ 947738 h 2466975"/>
                  <a:gd name="connsiteX93" fmla="*/ 2774156 w 8801100"/>
                  <a:gd name="connsiteY93" fmla="*/ 1004888 h 2466975"/>
                  <a:gd name="connsiteX94" fmla="*/ 2714625 w 8801100"/>
                  <a:gd name="connsiteY94" fmla="*/ 1019175 h 2466975"/>
                  <a:gd name="connsiteX95" fmla="*/ 2645569 w 8801100"/>
                  <a:gd name="connsiteY95" fmla="*/ 959644 h 2466975"/>
                  <a:gd name="connsiteX96" fmla="*/ 2590800 w 8801100"/>
                  <a:gd name="connsiteY96" fmla="*/ 931069 h 2466975"/>
                  <a:gd name="connsiteX97" fmla="*/ 2547938 w 8801100"/>
                  <a:gd name="connsiteY97" fmla="*/ 945356 h 2466975"/>
                  <a:gd name="connsiteX98" fmla="*/ 2495550 w 8801100"/>
                  <a:gd name="connsiteY98" fmla="*/ 928688 h 2466975"/>
                  <a:gd name="connsiteX99" fmla="*/ 2428875 w 8801100"/>
                  <a:gd name="connsiteY99" fmla="*/ 873919 h 2466975"/>
                  <a:gd name="connsiteX100" fmla="*/ 2383631 w 8801100"/>
                  <a:gd name="connsiteY100" fmla="*/ 885825 h 2466975"/>
                  <a:gd name="connsiteX101" fmla="*/ 2362200 w 8801100"/>
                  <a:gd name="connsiteY101" fmla="*/ 854869 h 2466975"/>
                  <a:gd name="connsiteX102" fmla="*/ 2305050 w 8801100"/>
                  <a:gd name="connsiteY102" fmla="*/ 895350 h 2466975"/>
                  <a:gd name="connsiteX103" fmla="*/ 2188369 w 8801100"/>
                  <a:gd name="connsiteY103" fmla="*/ 873919 h 2466975"/>
                  <a:gd name="connsiteX104" fmla="*/ 2138363 w 8801100"/>
                  <a:gd name="connsiteY104" fmla="*/ 821531 h 2466975"/>
                  <a:gd name="connsiteX105" fmla="*/ 2095500 w 8801100"/>
                  <a:gd name="connsiteY105" fmla="*/ 807244 h 2466975"/>
                  <a:gd name="connsiteX106" fmla="*/ 2052638 w 8801100"/>
                  <a:gd name="connsiteY106" fmla="*/ 833438 h 2466975"/>
                  <a:gd name="connsiteX107" fmla="*/ 2000250 w 8801100"/>
                  <a:gd name="connsiteY107" fmla="*/ 742950 h 2466975"/>
                  <a:gd name="connsiteX108" fmla="*/ 1990725 w 8801100"/>
                  <a:gd name="connsiteY108" fmla="*/ 595312 h 2466975"/>
                  <a:gd name="connsiteX109" fmla="*/ 1938337 w 8801100"/>
                  <a:gd name="connsiteY109" fmla="*/ 588168 h 2466975"/>
                  <a:gd name="connsiteX110" fmla="*/ 1847850 w 8801100"/>
                  <a:gd name="connsiteY110" fmla="*/ 578644 h 2466975"/>
                  <a:gd name="connsiteX111" fmla="*/ 1793081 w 8801100"/>
                  <a:gd name="connsiteY111" fmla="*/ 540544 h 2466975"/>
                  <a:gd name="connsiteX112" fmla="*/ 1724025 w 8801100"/>
                  <a:gd name="connsiteY112" fmla="*/ 550069 h 2466975"/>
                  <a:gd name="connsiteX113" fmla="*/ 1678781 w 8801100"/>
                  <a:gd name="connsiteY113" fmla="*/ 523875 h 2466975"/>
                  <a:gd name="connsiteX114" fmla="*/ 1669257 w 8801100"/>
                  <a:gd name="connsiteY114" fmla="*/ 452438 h 2466975"/>
                  <a:gd name="connsiteX115" fmla="*/ 1645444 w 8801100"/>
                  <a:gd name="connsiteY115" fmla="*/ 438150 h 2466975"/>
                  <a:gd name="connsiteX116" fmla="*/ 1607344 w 8801100"/>
                  <a:gd name="connsiteY116" fmla="*/ 485774 h 2466975"/>
                  <a:gd name="connsiteX117" fmla="*/ 1528762 w 8801100"/>
                  <a:gd name="connsiteY117" fmla="*/ 411956 h 2466975"/>
                  <a:gd name="connsiteX118" fmla="*/ 1488281 w 8801100"/>
                  <a:gd name="connsiteY118" fmla="*/ 452438 h 2466975"/>
                  <a:gd name="connsiteX119" fmla="*/ 1412081 w 8801100"/>
                  <a:gd name="connsiteY119" fmla="*/ 438150 h 2466975"/>
                  <a:gd name="connsiteX120" fmla="*/ 1333500 w 8801100"/>
                  <a:gd name="connsiteY120" fmla="*/ 464344 h 2466975"/>
                  <a:gd name="connsiteX121" fmla="*/ 1273969 w 8801100"/>
                  <a:gd name="connsiteY121" fmla="*/ 511968 h 2466975"/>
                  <a:gd name="connsiteX122" fmla="*/ 1200150 w 8801100"/>
                  <a:gd name="connsiteY122" fmla="*/ 523875 h 2466975"/>
                  <a:gd name="connsiteX123" fmla="*/ 1164431 w 8801100"/>
                  <a:gd name="connsiteY123" fmla="*/ 516731 h 2466975"/>
                  <a:gd name="connsiteX124" fmla="*/ 1085851 w 8801100"/>
                  <a:gd name="connsiteY124" fmla="*/ 547688 h 2466975"/>
                  <a:gd name="connsiteX125" fmla="*/ 1064419 w 8801100"/>
                  <a:gd name="connsiteY125" fmla="*/ 576263 h 2466975"/>
                  <a:gd name="connsiteX126" fmla="*/ 997744 w 8801100"/>
                  <a:gd name="connsiteY126" fmla="*/ 566738 h 2466975"/>
                  <a:gd name="connsiteX127" fmla="*/ 928688 w 8801100"/>
                  <a:gd name="connsiteY127" fmla="*/ 590550 h 2466975"/>
                  <a:gd name="connsiteX128" fmla="*/ 873919 w 8801100"/>
                  <a:gd name="connsiteY128" fmla="*/ 628650 h 2466975"/>
                  <a:gd name="connsiteX129" fmla="*/ 778669 w 8801100"/>
                  <a:gd name="connsiteY129" fmla="*/ 642937 h 2466975"/>
                  <a:gd name="connsiteX130" fmla="*/ 764381 w 8801100"/>
                  <a:gd name="connsiteY130" fmla="*/ 664369 h 2466975"/>
                  <a:gd name="connsiteX131" fmla="*/ 776287 w 8801100"/>
                  <a:gd name="connsiteY131" fmla="*/ 709613 h 2466975"/>
                  <a:gd name="connsiteX132" fmla="*/ 676276 w 8801100"/>
                  <a:gd name="connsiteY132" fmla="*/ 762000 h 2466975"/>
                  <a:gd name="connsiteX133" fmla="*/ 638175 w 8801100"/>
                  <a:gd name="connsiteY133" fmla="*/ 733424 h 2466975"/>
                  <a:gd name="connsiteX134" fmla="*/ 607219 w 8801100"/>
                  <a:gd name="connsiteY134" fmla="*/ 790575 h 2466975"/>
                  <a:gd name="connsiteX135" fmla="*/ 550069 w 8801100"/>
                  <a:gd name="connsiteY135" fmla="*/ 752475 h 2466975"/>
                  <a:gd name="connsiteX136" fmla="*/ 514350 w 8801100"/>
                  <a:gd name="connsiteY136" fmla="*/ 781050 h 2466975"/>
                  <a:gd name="connsiteX137" fmla="*/ 478631 w 8801100"/>
                  <a:gd name="connsiteY137" fmla="*/ 745331 h 2466975"/>
                  <a:gd name="connsiteX138" fmla="*/ 426244 w 8801100"/>
                  <a:gd name="connsiteY138" fmla="*/ 757238 h 2466975"/>
                  <a:gd name="connsiteX139" fmla="*/ 381000 w 8801100"/>
                  <a:gd name="connsiteY139" fmla="*/ 728663 h 2466975"/>
                  <a:gd name="connsiteX140" fmla="*/ 357188 w 8801100"/>
                  <a:gd name="connsiteY140" fmla="*/ 747713 h 2466975"/>
                  <a:gd name="connsiteX141" fmla="*/ 333375 w 8801100"/>
                  <a:gd name="connsiteY141" fmla="*/ 807244 h 2466975"/>
                  <a:gd name="connsiteX142" fmla="*/ 261938 w 8801100"/>
                  <a:gd name="connsiteY142" fmla="*/ 845343 h 2466975"/>
                  <a:gd name="connsiteX143" fmla="*/ 209550 w 8801100"/>
                  <a:gd name="connsiteY143" fmla="*/ 816769 h 2466975"/>
                  <a:gd name="connsiteX144" fmla="*/ 119063 w 8801100"/>
                  <a:gd name="connsiteY144" fmla="*/ 826294 h 2466975"/>
                  <a:gd name="connsiteX145" fmla="*/ 71437 w 8801100"/>
                  <a:gd name="connsiteY145" fmla="*/ 792957 h 2466975"/>
                  <a:gd name="connsiteX146" fmla="*/ 0 w 8801100"/>
                  <a:gd name="connsiteY146" fmla="*/ 812006 h 2466975"/>
                  <a:gd name="connsiteX147" fmla="*/ 4762 w 8801100"/>
                  <a:gd name="connsiteY147" fmla="*/ 0 h 2466975"/>
                  <a:gd name="connsiteX148" fmla="*/ 7810500 w 8801100"/>
                  <a:gd name="connsiteY148" fmla="*/ 2466975 h 2466975"/>
                  <a:gd name="connsiteX149" fmla="*/ 7986713 w 8801100"/>
                  <a:gd name="connsiteY149" fmla="*/ 2157413 h 2466975"/>
                  <a:gd name="connsiteX150" fmla="*/ 8024813 w 8801100"/>
                  <a:gd name="connsiteY150" fmla="*/ 2152650 h 2466975"/>
                  <a:gd name="connsiteX151" fmla="*/ 8070056 w 8801100"/>
                  <a:gd name="connsiteY151" fmla="*/ 2157413 h 2466975"/>
                  <a:gd name="connsiteX152" fmla="*/ 8134350 w 8801100"/>
                  <a:gd name="connsiteY152" fmla="*/ 2124075 h 2466975"/>
                  <a:gd name="connsiteX153" fmla="*/ 8143875 w 8801100"/>
                  <a:gd name="connsiteY153" fmla="*/ 2059781 h 2466975"/>
                  <a:gd name="connsiteX154" fmla="*/ 8184355 w 8801100"/>
                  <a:gd name="connsiteY154" fmla="*/ 2024063 h 2466975"/>
                  <a:gd name="connsiteX155" fmla="*/ 8243888 w 8801100"/>
                  <a:gd name="connsiteY155" fmla="*/ 2064543 h 2466975"/>
                  <a:gd name="connsiteX156" fmla="*/ 8270082 w 8801100"/>
                  <a:gd name="connsiteY156" fmla="*/ 2014537 h 2466975"/>
                  <a:gd name="connsiteX157" fmla="*/ 8365331 w 8801100"/>
                  <a:gd name="connsiteY157" fmla="*/ 1945481 h 2466975"/>
                  <a:gd name="connsiteX158" fmla="*/ 8427244 w 8801100"/>
                  <a:gd name="connsiteY158" fmla="*/ 1952625 h 2466975"/>
                  <a:gd name="connsiteX159" fmla="*/ 8477250 w 8801100"/>
                  <a:gd name="connsiteY159" fmla="*/ 1933575 h 2466975"/>
                  <a:gd name="connsiteX160" fmla="*/ 8515350 w 8801100"/>
                  <a:gd name="connsiteY160" fmla="*/ 1905000 h 2466975"/>
                  <a:gd name="connsiteX161" fmla="*/ 8548688 w 8801100"/>
                  <a:gd name="connsiteY161" fmla="*/ 1902619 h 2466975"/>
                  <a:gd name="connsiteX162" fmla="*/ 8584406 w 8801100"/>
                  <a:gd name="connsiteY162" fmla="*/ 1933575 h 2466975"/>
                  <a:gd name="connsiteX163" fmla="*/ 8643938 w 8801100"/>
                  <a:gd name="connsiteY163" fmla="*/ 1933575 h 2466975"/>
                  <a:gd name="connsiteX164" fmla="*/ 8682037 w 8801100"/>
                  <a:gd name="connsiteY164" fmla="*/ 1914525 h 2466975"/>
                  <a:gd name="connsiteX165" fmla="*/ 8765381 w 8801100"/>
                  <a:gd name="connsiteY165" fmla="*/ 1916907 h 2466975"/>
                  <a:gd name="connsiteX166" fmla="*/ 8796338 w 8801100"/>
                  <a:gd name="connsiteY166" fmla="*/ 1871663 h 2466975"/>
                  <a:gd name="connsiteX167" fmla="*/ 8801100 w 8801100"/>
                  <a:gd name="connsiteY167" fmla="*/ 1809750 h 2466975"/>
                  <a:gd name="connsiteX168" fmla="*/ 8751093 w 8801100"/>
                  <a:gd name="connsiteY168" fmla="*/ 1769269 h 2466975"/>
                  <a:gd name="connsiteX169" fmla="*/ 8734425 w 8801100"/>
                  <a:gd name="connsiteY169" fmla="*/ 1714500 h 2466975"/>
                  <a:gd name="connsiteX170" fmla="*/ 8643938 w 8801100"/>
                  <a:gd name="connsiteY170" fmla="*/ 1652588 h 2466975"/>
                  <a:gd name="connsiteX171" fmla="*/ 8603456 w 8801100"/>
                  <a:gd name="connsiteY171" fmla="*/ 1631156 h 2466975"/>
                  <a:gd name="connsiteX172" fmla="*/ 8565356 w 8801100"/>
                  <a:gd name="connsiteY172" fmla="*/ 1585913 h 2466975"/>
                  <a:gd name="connsiteX173" fmla="*/ 8534400 w 8801100"/>
                  <a:gd name="connsiteY173" fmla="*/ 1583531 h 2466975"/>
                  <a:gd name="connsiteX174" fmla="*/ 8517731 w 8801100"/>
                  <a:gd name="connsiteY174" fmla="*/ 1531144 h 2466975"/>
                  <a:gd name="connsiteX175" fmla="*/ 8477250 w 8801100"/>
                  <a:gd name="connsiteY175" fmla="*/ 1514475 h 2466975"/>
                  <a:gd name="connsiteX176" fmla="*/ 8477250 w 8801100"/>
                  <a:gd name="connsiteY176" fmla="*/ 1514475 h 2466975"/>
                  <a:gd name="connsiteX177" fmla="*/ 8436769 w 8801100"/>
                  <a:gd name="connsiteY177" fmla="*/ 1519238 h 2466975"/>
                  <a:gd name="connsiteX178" fmla="*/ 8351043 w 8801100"/>
                  <a:gd name="connsiteY178" fmla="*/ 1445419 h 2466975"/>
                  <a:gd name="connsiteX179" fmla="*/ 8170069 w 8801100"/>
                  <a:gd name="connsiteY179" fmla="*/ 1445418 h 2466975"/>
                  <a:gd name="connsiteX180" fmla="*/ 8117681 w 8801100"/>
                  <a:gd name="connsiteY180" fmla="*/ 1483519 h 2466975"/>
                  <a:gd name="connsiteX181" fmla="*/ 8067675 w 8801100"/>
                  <a:gd name="connsiteY181" fmla="*/ 1562100 h 2466975"/>
                  <a:gd name="connsiteX182" fmla="*/ 8084344 w 8801100"/>
                  <a:gd name="connsiteY182" fmla="*/ 1583531 h 2466975"/>
                  <a:gd name="connsiteX183" fmla="*/ 8039100 w 8801100"/>
                  <a:gd name="connsiteY183" fmla="*/ 1633537 h 2466975"/>
                  <a:gd name="connsiteX184" fmla="*/ 7889081 w 8801100"/>
                  <a:gd name="connsiteY184" fmla="*/ 1557337 h 2466975"/>
                  <a:gd name="connsiteX185" fmla="*/ 7798594 w 8801100"/>
                  <a:gd name="connsiteY185" fmla="*/ 1593056 h 2466975"/>
                  <a:gd name="connsiteX186" fmla="*/ 7724775 w 8801100"/>
                  <a:gd name="connsiteY186" fmla="*/ 1590675 h 2466975"/>
                  <a:gd name="connsiteX187" fmla="*/ 7667625 w 8801100"/>
                  <a:gd name="connsiteY187" fmla="*/ 1685925 h 2466975"/>
                  <a:gd name="connsiteX188" fmla="*/ 7529513 w 8801100"/>
                  <a:gd name="connsiteY188" fmla="*/ 1588294 h 2466975"/>
                  <a:gd name="connsiteX0" fmla="*/ 7529513 w 8801100"/>
                  <a:gd name="connsiteY0" fmla="*/ 1588294 h 2157413"/>
                  <a:gd name="connsiteX1" fmla="*/ 7522369 w 8801100"/>
                  <a:gd name="connsiteY1" fmla="*/ 1533525 h 2157413"/>
                  <a:gd name="connsiteX2" fmla="*/ 7589044 w 8801100"/>
                  <a:gd name="connsiteY2" fmla="*/ 1459706 h 2157413"/>
                  <a:gd name="connsiteX3" fmla="*/ 7572375 w 8801100"/>
                  <a:gd name="connsiteY3" fmla="*/ 1388269 h 2157413"/>
                  <a:gd name="connsiteX4" fmla="*/ 7586663 w 8801100"/>
                  <a:gd name="connsiteY4" fmla="*/ 1293019 h 2157413"/>
                  <a:gd name="connsiteX5" fmla="*/ 7624763 w 8801100"/>
                  <a:gd name="connsiteY5" fmla="*/ 1235869 h 2157413"/>
                  <a:gd name="connsiteX6" fmla="*/ 7605712 w 8801100"/>
                  <a:gd name="connsiteY6" fmla="*/ 1202531 h 2157413"/>
                  <a:gd name="connsiteX7" fmla="*/ 7703343 w 8801100"/>
                  <a:gd name="connsiteY7" fmla="*/ 802481 h 2157413"/>
                  <a:gd name="connsiteX8" fmla="*/ 7696200 w 8801100"/>
                  <a:gd name="connsiteY8" fmla="*/ 773906 h 2157413"/>
                  <a:gd name="connsiteX9" fmla="*/ 7567613 w 8801100"/>
                  <a:gd name="connsiteY9" fmla="*/ 752475 h 2157413"/>
                  <a:gd name="connsiteX10" fmla="*/ 7384257 w 8801100"/>
                  <a:gd name="connsiteY10" fmla="*/ 831056 h 2157413"/>
                  <a:gd name="connsiteX11" fmla="*/ 7227093 w 8801100"/>
                  <a:gd name="connsiteY11" fmla="*/ 716756 h 2157413"/>
                  <a:gd name="connsiteX12" fmla="*/ 7150894 w 8801100"/>
                  <a:gd name="connsiteY12" fmla="*/ 723900 h 2157413"/>
                  <a:gd name="connsiteX13" fmla="*/ 7077075 w 8801100"/>
                  <a:gd name="connsiteY13" fmla="*/ 719138 h 2157413"/>
                  <a:gd name="connsiteX14" fmla="*/ 6938963 w 8801100"/>
                  <a:gd name="connsiteY14" fmla="*/ 823913 h 2157413"/>
                  <a:gd name="connsiteX15" fmla="*/ 6831806 w 8801100"/>
                  <a:gd name="connsiteY15" fmla="*/ 931069 h 2157413"/>
                  <a:gd name="connsiteX16" fmla="*/ 6788944 w 8801100"/>
                  <a:gd name="connsiteY16" fmla="*/ 1000125 h 2157413"/>
                  <a:gd name="connsiteX17" fmla="*/ 6796088 w 8801100"/>
                  <a:gd name="connsiteY17" fmla="*/ 1035844 h 2157413"/>
                  <a:gd name="connsiteX18" fmla="*/ 6734175 w 8801100"/>
                  <a:gd name="connsiteY18" fmla="*/ 1047750 h 2157413"/>
                  <a:gd name="connsiteX19" fmla="*/ 6753225 w 8801100"/>
                  <a:gd name="connsiteY19" fmla="*/ 1047750 h 2157413"/>
                  <a:gd name="connsiteX20" fmla="*/ 6719888 w 8801100"/>
                  <a:gd name="connsiteY20" fmla="*/ 1078706 h 2157413"/>
                  <a:gd name="connsiteX21" fmla="*/ 6619875 w 8801100"/>
                  <a:gd name="connsiteY21" fmla="*/ 1078707 h 2157413"/>
                  <a:gd name="connsiteX22" fmla="*/ 6524625 w 8801100"/>
                  <a:gd name="connsiteY22" fmla="*/ 1133475 h 2157413"/>
                  <a:gd name="connsiteX23" fmla="*/ 6443663 w 8801100"/>
                  <a:gd name="connsiteY23" fmla="*/ 1143000 h 2157413"/>
                  <a:gd name="connsiteX24" fmla="*/ 6403181 w 8801100"/>
                  <a:gd name="connsiteY24" fmla="*/ 1176338 h 2157413"/>
                  <a:gd name="connsiteX25" fmla="*/ 6353175 w 8801100"/>
                  <a:gd name="connsiteY25" fmla="*/ 1181100 h 2157413"/>
                  <a:gd name="connsiteX26" fmla="*/ 6231732 w 8801100"/>
                  <a:gd name="connsiteY26" fmla="*/ 1273969 h 2157413"/>
                  <a:gd name="connsiteX27" fmla="*/ 6172200 w 8801100"/>
                  <a:gd name="connsiteY27" fmla="*/ 1278731 h 2157413"/>
                  <a:gd name="connsiteX28" fmla="*/ 6119813 w 8801100"/>
                  <a:gd name="connsiteY28" fmla="*/ 1243013 h 2157413"/>
                  <a:gd name="connsiteX29" fmla="*/ 6093619 w 8801100"/>
                  <a:gd name="connsiteY29" fmla="*/ 1278731 h 2157413"/>
                  <a:gd name="connsiteX30" fmla="*/ 5895975 w 8801100"/>
                  <a:gd name="connsiteY30" fmla="*/ 1271588 h 2157413"/>
                  <a:gd name="connsiteX31" fmla="*/ 5834063 w 8801100"/>
                  <a:gd name="connsiteY31" fmla="*/ 1226344 h 2157413"/>
                  <a:gd name="connsiteX32" fmla="*/ 5636419 w 8801100"/>
                  <a:gd name="connsiteY32" fmla="*/ 1243013 h 2157413"/>
                  <a:gd name="connsiteX33" fmla="*/ 5548313 w 8801100"/>
                  <a:gd name="connsiteY33" fmla="*/ 1159668 h 2157413"/>
                  <a:gd name="connsiteX34" fmla="*/ 5472113 w 8801100"/>
                  <a:gd name="connsiteY34" fmla="*/ 1114425 h 2157413"/>
                  <a:gd name="connsiteX35" fmla="*/ 5474493 w 8801100"/>
                  <a:gd name="connsiteY35" fmla="*/ 1057275 h 2157413"/>
                  <a:gd name="connsiteX36" fmla="*/ 5455444 w 8801100"/>
                  <a:gd name="connsiteY36" fmla="*/ 1014412 h 2157413"/>
                  <a:gd name="connsiteX37" fmla="*/ 5360194 w 8801100"/>
                  <a:gd name="connsiteY37" fmla="*/ 1016794 h 2157413"/>
                  <a:gd name="connsiteX38" fmla="*/ 5264944 w 8801100"/>
                  <a:gd name="connsiteY38" fmla="*/ 995363 h 2157413"/>
                  <a:gd name="connsiteX39" fmla="*/ 5195887 w 8801100"/>
                  <a:gd name="connsiteY39" fmla="*/ 928687 h 2157413"/>
                  <a:gd name="connsiteX40" fmla="*/ 5160169 w 8801100"/>
                  <a:gd name="connsiteY40" fmla="*/ 885825 h 2157413"/>
                  <a:gd name="connsiteX41" fmla="*/ 5079206 w 8801100"/>
                  <a:gd name="connsiteY41" fmla="*/ 862012 h 2157413"/>
                  <a:gd name="connsiteX42" fmla="*/ 5005388 w 8801100"/>
                  <a:gd name="connsiteY42" fmla="*/ 873918 h 2157413"/>
                  <a:gd name="connsiteX43" fmla="*/ 4948237 w 8801100"/>
                  <a:gd name="connsiteY43" fmla="*/ 821531 h 2157413"/>
                  <a:gd name="connsiteX44" fmla="*/ 4852988 w 8801100"/>
                  <a:gd name="connsiteY44" fmla="*/ 833438 h 2157413"/>
                  <a:gd name="connsiteX45" fmla="*/ 4800600 w 8801100"/>
                  <a:gd name="connsiteY45" fmla="*/ 807244 h 2157413"/>
                  <a:gd name="connsiteX46" fmla="*/ 4719638 w 8801100"/>
                  <a:gd name="connsiteY46" fmla="*/ 850106 h 2157413"/>
                  <a:gd name="connsiteX47" fmla="*/ 4581525 w 8801100"/>
                  <a:gd name="connsiteY47" fmla="*/ 873919 h 2157413"/>
                  <a:gd name="connsiteX48" fmla="*/ 4452938 w 8801100"/>
                  <a:gd name="connsiteY48" fmla="*/ 966788 h 2157413"/>
                  <a:gd name="connsiteX49" fmla="*/ 4405312 w 8801100"/>
                  <a:gd name="connsiteY49" fmla="*/ 928688 h 2157413"/>
                  <a:gd name="connsiteX50" fmla="*/ 4383881 w 8801100"/>
                  <a:gd name="connsiteY50" fmla="*/ 959643 h 2157413"/>
                  <a:gd name="connsiteX51" fmla="*/ 4310063 w 8801100"/>
                  <a:gd name="connsiteY51" fmla="*/ 909638 h 2157413"/>
                  <a:gd name="connsiteX52" fmla="*/ 4271963 w 8801100"/>
                  <a:gd name="connsiteY52" fmla="*/ 916781 h 2157413"/>
                  <a:gd name="connsiteX53" fmla="*/ 4250531 w 8801100"/>
                  <a:gd name="connsiteY53" fmla="*/ 878681 h 2157413"/>
                  <a:gd name="connsiteX54" fmla="*/ 4191000 w 8801100"/>
                  <a:gd name="connsiteY54" fmla="*/ 883444 h 2157413"/>
                  <a:gd name="connsiteX55" fmla="*/ 4145756 w 8801100"/>
                  <a:gd name="connsiteY55" fmla="*/ 854869 h 2157413"/>
                  <a:gd name="connsiteX56" fmla="*/ 4107656 w 8801100"/>
                  <a:gd name="connsiteY56" fmla="*/ 852488 h 2157413"/>
                  <a:gd name="connsiteX57" fmla="*/ 4088606 w 8801100"/>
                  <a:gd name="connsiteY57" fmla="*/ 804862 h 2157413"/>
                  <a:gd name="connsiteX58" fmla="*/ 4074319 w 8801100"/>
                  <a:gd name="connsiteY58" fmla="*/ 773906 h 2157413"/>
                  <a:gd name="connsiteX59" fmla="*/ 4029075 w 8801100"/>
                  <a:gd name="connsiteY59" fmla="*/ 783431 h 2157413"/>
                  <a:gd name="connsiteX60" fmla="*/ 4010025 w 8801100"/>
                  <a:gd name="connsiteY60" fmla="*/ 747713 h 2157413"/>
                  <a:gd name="connsiteX61" fmla="*/ 4031457 w 8801100"/>
                  <a:gd name="connsiteY61" fmla="*/ 692944 h 2157413"/>
                  <a:gd name="connsiteX62" fmla="*/ 4000500 w 8801100"/>
                  <a:gd name="connsiteY62" fmla="*/ 666750 h 2157413"/>
                  <a:gd name="connsiteX63" fmla="*/ 4017169 w 8801100"/>
                  <a:gd name="connsiteY63" fmla="*/ 623888 h 2157413"/>
                  <a:gd name="connsiteX64" fmla="*/ 3990975 w 8801100"/>
                  <a:gd name="connsiteY64" fmla="*/ 581025 h 2157413"/>
                  <a:gd name="connsiteX65" fmla="*/ 3986213 w 8801100"/>
                  <a:gd name="connsiteY65" fmla="*/ 519113 h 2157413"/>
                  <a:gd name="connsiteX66" fmla="*/ 4010025 w 8801100"/>
                  <a:gd name="connsiteY66" fmla="*/ 454818 h 2157413"/>
                  <a:gd name="connsiteX67" fmla="*/ 3971925 w 8801100"/>
                  <a:gd name="connsiteY67" fmla="*/ 457200 h 2157413"/>
                  <a:gd name="connsiteX68" fmla="*/ 3852863 w 8801100"/>
                  <a:gd name="connsiteY68" fmla="*/ 400050 h 2157413"/>
                  <a:gd name="connsiteX69" fmla="*/ 3814762 w 8801100"/>
                  <a:gd name="connsiteY69" fmla="*/ 404812 h 2157413"/>
                  <a:gd name="connsiteX70" fmla="*/ 3609975 w 8801100"/>
                  <a:gd name="connsiteY70" fmla="*/ 295275 h 2157413"/>
                  <a:gd name="connsiteX71" fmla="*/ 3505200 w 8801100"/>
                  <a:gd name="connsiteY71" fmla="*/ 264319 h 2157413"/>
                  <a:gd name="connsiteX72" fmla="*/ 3440906 w 8801100"/>
                  <a:gd name="connsiteY72" fmla="*/ 273843 h 2157413"/>
                  <a:gd name="connsiteX73" fmla="*/ 3409950 w 8801100"/>
                  <a:gd name="connsiteY73" fmla="*/ 209550 h 2157413"/>
                  <a:gd name="connsiteX74" fmla="*/ 3352800 w 8801100"/>
                  <a:gd name="connsiteY74" fmla="*/ 209550 h 2157413"/>
                  <a:gd name="connsiteX75" fmla="*/ 3214687 w 8801100"/>
                  <a:gd name="connsiteY75" fmla="*/ 104775 h 2157413"/>
                  <a:gd name="connsiteX76" fmla="*/ 3181350 w 8801100"/>
                  <a:gd name="connsiteY76" fmla="*/ 164307 h 2157413"/>
                  <a:gd name="connsiteX77" fmla="*/ 3126581 w 8801100"/>
                  <a:gd name="connsiteY77" fmla="*/ 233363 h 2157413"/>
                  <a:gd name="connsiteX78" fmla="*/ 3083719 w 8801100"/>
                  <a:gd name="connsiteY78" fmla="*/ 250031 h 2157413"/>
                  <a:gd name="connsiteX79" fmla="*/ 3052763 w 8801100"/>
                  <a:gd name="connsiteY79" fmla="*/ 242888 h 2157413"/>
                  <a:gd name="connsiteX80" fmla="*/ 3028950 w 8801100"/>
                  <a:gd name="connsiteY80" fmla="*/ 271463 h 2157413"/>
                  <a:gd name="connsiteX81" fmla="*/ 3002756 w 8801100"/>
                  <a:gd name="connsiteY81" fmla="*/ 350044 h 2157413"/>
                  <a:gd name="connsiteX82" fmla="*/ 2959894 w 8801100"/>
                  <a:gd name="connsiteY82" fmla="*/ 347663 h 2157413"/>
                  <a:gd name="connsiteX83" fmla="*/ 2928937 w 8801100"/>
                  <a:gd name="connsiteY83" fmla="*/ 409575 h 2157413"/>
                  <a:gd name="connsiteX84" fmla="*/ 2924175 w 8801100"/>
                  <a:gd name="connsiteY84" fmla="*/ 473869 h 2157413"/>
                  <a:gd name="connsiteX85" fmla="*/ 2897982 w 8801100"/>
                  <a:gd name="connsiteY85" fmla="*/ 511969 h 2157413"/>
                  <a:gd name="connsiteX86" fmla="*/ 2924175 w 8801100"/>
                  <a:gd name="connsiteY86" fmla="*/ 571500 h 2157413"/>
                  <a:gd name="connsiteX87" fmla="*/ 2926556 w 8801100"/>
                  <a:gd name="connsiteY87" fmla="*/ 640556 h 2157413"/>
                  <a:gd name="connsiteX88" fmla="*/ 2955131 w 8801100"/>
                  <a:gd name="connsiteY88" fmla="*/ 692944 h 2157413"/>
                  <a:gd name="connsiteX89" fmla="*/ 3002757 w 8801100"/>
                  <a:gd name="connsiteY89" fmla="*/ 747713 h 2157413"/>
                  <a:gd name="connsiteX90" fmla="*/ 2952750 w 8801100"/>
                  <a:gd name="connsiteY90" fmla="*/ 885825 h 2157413"/>
                  <a:gd name="connsiteX91" fmla="*/ 2883694 w 8801100"/>
                  <a:gd name="connsiteY91" fmla="*/ 952500 h 2157413"/>
                  <a:gd name="connsiteX92" fmla="*/ 2812256 w 8801100"/>
                  <a:gd name="connsiteY92" fmla="*/ 947738 h 2157413"/>
                  <a:gd name="connsiteX93" fmla="*/ 2774156 w 8801100"/>
                  <a:gd name="connsiteY93" fmla="*/ 1004888 h 2157413"/>
                  <a:gd name="connsiteX94" fmla="*/ 2714625 w 8801100"/>
                  <a:gd name="connsiteY94" fmla="*/ 1019175 h 2157413"/>
                  <a:gd name="connsiteX95" fmla="*/ 2645569 w 8801100"/>
                  <a:gd name="connsiteY95" fmla="*/ 959644 h 2157413"/>
                  <a:gd name="connsiteX96" fmla="*/ 2590800 w 8801100"/>
                  <a:gd name="connsiteY96" fmla="*/ 931069 h 2157413"/>
                  <a:gd name="connsiteX97" fmla="*/ 2547938 w 8801100"/>
                  <a:gd name="connsiteY97" fmla="*/ 945356 h 2157413"/>
                  <a:gd name="connsiteX98" fmla="*/ 2495550 w 8801100"/>
                  <a:gd name="connsiteY98" fmla="*/ 928688 h 2157413"/>
                  <a:gd name="connsiteX99" fmla="*/ 2428875 w 8801100"/>
                  <a:gd name="connsiteY99" fmla="*/ 873919 h 2157413"/>
                  <a:gd name="connsiteX100" fmla="*/ 2383631 w 8801100"/>
                  <a:gd name="connsiteY100" fmla="*/ 885825 h 2157413"/>
                  <a:gd name="connsiteX101" fmla="*/ 2362200 w 8801100"/>
                  <a:gd name="connsiteY101" fmla="*/ 854869 h 2157413"/>
                  <a:gd name="connsiteX102" fmla="*/ 2305050 w 8801100"/>
                  <a:gd name="connsiteY102" fmla="*/ 895350 h 2157413"/>
                  <a:gd name="connsiteX103" fmla="*/ 2188369 w 8801100"/>
                  <a:gd name="connsiteY103" fmla="*/ 873919 h 2157413"/>
                  <a:gd name="connsiteX104" fmla="*/ 2138363 w 8801100"/>
                  <a:gd name="connsiteY104" fmla="*/ 821531 h 2157413"/>
                  <a:gd name="connsiteX105" fmla="*/ 2095500 w 8801100"/>
                  <a:gd name="connsiteY105" fmla="*/ 807244 h 2157413"/>
                  <a:gd name="connsiteX106" fmla="*/ 2052638 w 8801100"/>
                  <a:gd name="connsiteY106" fmla="*/ 833438 h 2157413"/>
                  <a:gd name="connsiteX107" fmla="*/ 2000250 w 8801100"/>
                  <a:gd name="connsiteY107" fmla="*/ 742950 h 2157413"/>
                  <a:gd name="connsiteX108" fmla="*/ 1990725 w 8801100"/>
                  <a:gd name="connsiteY108" fmla="*/ 595312 h 2157413"/>
                  <a:gd name="connsiteX109" fmla="*/ 1938337 w 8801100"/>
                  <a:gd name="connsiteY109" fmla="*/ 588168 h 2157413"/>
                  <a:gd name="connsiteX110" fmla="*/ 1847850 w 8801100"/>
                  <a:gd name="connsiteY110" fmla="*/ 578644 h 2157413"/>
                  <a:gd name="connsiteX111" fmla="*/ 1793081 w 8801100"/>
                  <a:gd name="connsiteY111" fmla="*/ 540544 h 2157413"/>
                  <a:gd name="connsiteX112" fmla="*/ 1724025 w 8801100"/>
                  <a:gd name="connsiteY112" fmla="*/ 550069 h 2157413"/>
                  <a:gd name="connsiteX113" fmla="*/ 1678781 w 8801100"/>
                  <a:gd name="connsiteY113" fmla="*/ 523875 h 2157413"/>
                  <a:gd name="connsiteX114" fmla="*/ 1669257 w 8801100"/>
                  <a:gd name="connsiteY114" fmla="*/ 452438 h 2157413"/>
                  <a:gd name="connsiteX115" fmla="*/ 1645444 w 8801100"/>
                  <a:gd name="connsiteY115" fmla="*/ 438150 h 2157413"/>
                  <a:gd name="connsiteX116" fmla="*/ 1607344 w 8801100"/>
                  <a:gd name="connsiteY116" fmla="*/ 485774 h 2157413"/>
                  <a:gd name="connsiteX117" fmla="*/ 1528762 w 8801100"/>
                  <a:gd name="connsiteY117" fmla="*/ 411956 h 2157413"/>
                  <a:gd name="connsiteX118" fmla="*/ 1488281 w 8801100"/>
                  <a:gd name="connsiteY118" fmla="*/ 452438 h 2157413"/>
                  <a:gd name="connsiteX119" fmla="*/ 1412081 w 8801100"/>
                  <a:gd name="connsiteY119" fmla="*/ 438150 h 2157413"/>
                  <a:gd name="connsiteX120" fmla="*/ 1333500 w 8801100"/>
                  <a:gd name="connsiteY120" fmla="*/ 464344 h 2157413"/>
                  <a:gd name="connsiteX121" fmla="*/ 1273969 w 8801100"/>
                  <a:gd name="connsiteY121" fmla="*/ 511968 h 2157413"/>
                  <a:gd name="connsiteX122" fmla="*/ 1200150 w 8801100"/>
                  <a:gd name="connsiteY122" fmla="*/ 523875 h 2157413"/>
                  <a:gd name="connsiteX123" fmla="*/ 1164431 w 8801100"/>
                  <a:gd name="connsiteY123" fmla="*/ 516731 h 2157413"/>
                  <a:gd name="connsiteX124" fmla="*/ 1085851 w 8801100"/>
                  <a:gd name="connsiteY124" fmla="*/ 547688 h 2157413"/>
                  <a:gd name="connsiteX125" fmla="*/ 1064419 w 8801100"/>
                  <a:gd name="connsiteY125" fmla="*/ 576263 h 2157413"/>
                  <a:gd name="connsiteX126" fmla="*/ 997744 w 8801100"/>
                  <a:gd name="connsiteY126" fmla="*/ 566738 h 2157413"/>
                  <a:gd name="connsiteX127" fmla="*/ 928688 w 8801100"/>
                  <a:gd name="connsiteY127" fmla="*/ 590550 h 2157413"/>
                  <a:gd name="connsiteX128" fmla="*/ 873919 w 8801100"/>
                  <a:gd name="connsiteY128" fmla="*/ 628650 h 2157413"/>
                  <a:gd name="connsiteX129" fmla="*/ 778669 w 8801100"/>
                  <a:gd name="connsiteY129" fmla="*/ 642937 h 2157413"/>
                  <a:gd name="connsiteX130" fmla="*/ 764381 w 8801100"/>
                  <a:gd name="connsiteY130" fmla="*/ 664369 h 2157413"/>
                  <a:gd name="connsiteX131" fmla="*/ 776287 w 8801100"/>
                  <a:gd name="connsiteY131" fmla="*/ 709613 h 2157413"/>
                  <a:gd name="connsiteX132" fmla="*/ 676276 w 8801100"/>
                  <a:gd name="connsiteY132" fmla="*/ 762000 h 2157413"/>
                  <a:gd name="connsiteX133" fmla="*/ 638175 w 8801100"/>
                  <a:gd name="connsiteY133" fmla="*/ 733424 h 2157413"/>
                  <a:gd name="connsiteX134" fmla="*/ 607219 w 8801100"/>
                  <a:gd name="connsiteY134" fmla="*/ 790575 h 2157413"/>
                  <a:gd name="connsiteX135" fmla="*/ 550069 w 8801100"/>
                  <a:gd name="connsiteY135" fmla="*/ 752475 h 2157413"/>
                  <a:gd name="connsiteX136" fmla="*/ 514350 w 8801100"/>
                  <a:gd name="connsiteY136" fmla="*/ 781050 h 2157413"/>
                  <a:gd name="connsiteX137" fmla="*/ 478631 w 8801100"/>
                  <a:gd name="connsiteY137" fmla="*/ 745331 h 2157413"/>
                  <a:gd name="connsiteX138" fmla="*/ 426244 w 8801100"/>
                  <a:gd name="connsiteY138" fmla="*/ 757238 h 2157413"/>
                  <a:gd name="connsiteX139" fmla="*/ 381000 w 8801100"/>
                  <a:gd name="connsiteY139" fmla="*/ 728663 h 2157413"/>
                  <a:gd name="connsiteX140" fmla="*/ 357188 w 8801100"/>
                  <a:gd name="connsiteY140" fmla="*/ 747713 h 2157413"/>
                  <a:gd name="connsiteX141" fmla="*/ 333375 w 8801100"/>
                  <a:gd name="connsiteY141" fmla="*/ 807244 h 2157413"/>
                  <a:gd name="connsiteX142" fmla="*/ 261938 w 8801100"/>
                  <a:gd name="connsiteY142" fmla="*/ 845343 h 2157413"/>
                  <a:gd name="connsiteX143" fmla="*/ 209550 w 8801100"/>
                  <a:gd name="connsiteY143" fmla="*/ 816769 h 2157413"/>
                  <a:gd name="connsiteX144" fmla="*/ 119063 w 8801100"/>
                  <a:gd name="connsiteY144" fmla="*/ 826294 h 2157413"/>
                  <a:gd name="connsiteX145" fmla="*/ 71437 w 8801100"/>
                  <a:gd name="connsiteY145" fmla="*/ 792957 h 2157413"/>
                  <a:gd name="connsiteX146" fmla="*/ 0 w 8801100"/>
                  <a:gd name="connsiteY146" fmla="*/ 812006 h 2157413"/>
                  <a:gd name="connsiteX147" fmla="*/ 4762 w 8801100"/>
                  <a:gd name="connsiteY147" fmla="*/ 0 h 2157413"/>
                  <a:gd name="connsiteX148" fmla="*/ 7986713 w 8801100"/>
                  <a:gd name="connsiteY148" fmla="*/ 2157413 h 2157413"/>
                  <a:gd name="connsiteX149" fmla="*/ 8024813 w 8801100"/>
                  <a:gd name="connsiteY149" fmla="*/ 2152650 h 2157413"/>
                  <a:gd name="connsiteX150" fmla="*/ 8070056 w 8801100"/>
                  <a:gd name="connsiteY150" fmla="*/ 2157413 h 2157413"/>
                  <a:gd name="connsiteX151" fmla="*/ 8134350 w 8801100"/>
                  <a:gd name="connsiteY151" fmla="*/ 2124075 h 2157413"/>
                  <a:gd name="connsiteX152" fmla="*/ 8143875 w 8801100"/>
                  <a:gd name="connsiteY152" fmla="*/ 2059781 h 2157413"/>
                  <a:gd name="connsiteX153" fmla="*/ 8184355 w 8801100"/>
                  <a:gd name="connsiteY153" fmla="*/ 2024063 h 2157413"/>
                  <a:gd name="connsiteX154" fmla="*/ 8243888 w 8801100"/>
                  <a:gd name="connsiteY154" fmla="*/ 2064543 h 2157413"/>
                  <a:gd name="connsiteX155" fmla="*/ 8270082 w 8801100"/>
                  <a:gd name="connsiteY155" fmla="*/ 2014537 h 2157413"/>
                  <a:gd name="connsiteX156" fmla="*/ 8365331 w 8801100"/>
                  <a:gd name="connsiteY156" fmla="*/ 1945481 h 2157413"/>
                  <a:gd name="connsiteX157" fmla="*/ 8427244 w 8801100"/>
                  <a:gd name="connsiteY157" fmla="*/ 1952625 h 2157413"/>
                  <a:gd name="connsiteX158" fmla="*/ 8477250 w 8801100"/>
                  <a:gd name="connsiteY158" fmla="*/ 1933575 h 2157413"/>
                  <a:gd name="connsiteX159" fmla="*/ 8515350 w 8801100"/>
                  <a:gd name="connsiteY159" fmla="*/ 1905000 h 2157413"/>
                  <a:gd name="connsiteX160" fmla="*/ 8548688 w 8801100"/>
                  <a:gd name="connsiteY160" fmla="*/ 1902619 h 2157413"/>
                  <a:gd name="connsiteX161" fmla="*/ 8584406 w 8801100"/>
                  <a:gd name="connsiteY161" fmla="*/ 1933575 h 2157413"/>
                  <a:gd name="connsiteX162" fmla="*/ 8643938 w 8801100"/>
                  <a:gd name="connsiteY162" fmla="*/ 1933575 h 2157413"/>
                  <a:gd name="connsiteX163" fmla="*/ 8682037 w 8801100"/>
                  <a:gd name="connsiteY163" fmla="*/ 1914525 h 2157413"/>
                  <a:gd name="connsiteX164" fmla="*/ 8765381 w 8801100"/>
                  <a:gd name="connsiteY164" fmla="*/ 1916907 h 2157413"/>
                  <a:gd name="connsiteX165" fmla="*/ 8796338 w 8801100"/>
                  <a:gd name="connsiteY165" fmla="*/ 1871663 h 2157413"/>
                  <a:gd name="connsiteX166" fmla="*/ 8801100 w 8801100"/>
                  <a:gd name="connsiteY166" fmla="*/ 1809750 h 2157413"/>
                  <a:gd name="connsiteX167" fmla="*/ 8751093 w 8801100"/>
                  <a:gd name="connsiteY167" fmla="*/ 1769269 h 2157413"/>
                  <a:gd name="connsiteX168" fmla="*/ 8734425 w 8801100"/>
                  <a:gd name="connsiteY168" fmla="*/ 1714500 h 2157413"/>
                  <a:gd name="connsiteX169" fmla="*/ 8643938 w 8801100"/>
                  <a:gd name="connsiteY169" fmla="*/ 1652588 h 2157413"/>
                  <a:gd name="connsiteX170" fmla="*/ 8603456 w 8801100"/>
                  <a:gd name="connsiteY170" fmla="*/ 1631156 h 2157413"/>
                  <a:gd name="connsiteX171" fmla="*/ 8565356 w 8801100"/>
                  <a:gd name="connsiteY171" fmla="*/ 1585913 h 2157413"/>
                  <a:gd name="connsiteX172" fmla="*/ 8534400 w 8801100"/>
                  <a:gd name="connsiteY172" fmla="*/ 1583531 h 2157413"/>
                  <a:gd name="connsiteX173" fmla="*/ 8517731 w 8801100"/>
                  <a:gd name="connsiteY173" fmla="*/ 1531144 h 2157413"/>
                  <a:gd name="connsiteX174" fmla="*/ 8477250 w 8801100"/>
                  <a:gd name="connsiteY174" fmla="*/ 1514475 h 2157413"/>
                  <a:gd name="connsiteX175" fmla="*/ 8477250 w 8801100"/>
                  <a:gd name="connsiteY175" fmla="*/ 1514475 h 2157413"/>
                  <a:gd name="connsiteX176" fmla="*/ 8436769 w 8801100"/>
                  <a:gd name="connsiteY176" fmla="*/ 1519238 h 2157413"/>
                  <a:gd name="connsiteX177" fmla="*/ 8351043 w 8801100"/>
                  <a:gd name="connsiteY177" fmla="*/ 1445419 h 2157413"/>
                  <a:gd name="connsiteX178" fmla="*/ 8170069 w 8801100"/>
                  <a:gd name="connsiteY178" fmla="*/ 1445418 h 2157413"/>
                  <a:gd name="connsiteX179" fmla="*/ 8117681 w 8801100"/>
                  <a:gd name="connsiteY179" fmla="*/ 1483519 h 2157413"/>
                  <a:gd name="connsiteX180" fmla="*/ 8067675 w 8801100"/>
                  <a:gd name="connsiteY180" fmla="*/ 1562100 h 2157413"/>
                  <a:gd name="connsiteX181" fmla="*/ 8084344 w 8801100"/>
                  <a:gd name="connsiteY181" fmla="*/ 1583531 h 2157413"/>
                  <a:gd name="connsiteX182" fmla="*/ 8039100 w 8801100"/>
                  <a:gd name="connsiteY182" fmla="*/ 1633537 h 2157413"/>
                  <a:gd name="connsiteX183" fmla="*/ 7889081 w 8801100"/>
                  <a:gd name="connsiteY183" fmla="*/ 1557337 h 2157413"/>
                  <a:gd name="connsiteX184" fmla="*/ 7798594 w 8801100"/>
                  <a:gd name="connsiteY184" fmla="*/ 1593056 h 2157413"/>
                  <a:gd name="connsiteX185" fmla="*/ 7724775 w 8801100"/>
                  <a:gd name="connsiteY185" fmla="*/ 1590675 h 2157413"/>
                  <a:gd name="connsiteX186" fmla="*/ 7667625 w 8801100"/>
                  <a:gd name="connsiteY186" fmla="*/ 1685925 h 2157413"/>
                  <a:gd name="connsiteX187" fmla="*/ 7529513 w 8801100"/>
                  <a:gd name="connsiteY187" fmla="*/ 1588294 h 2157413"/>
                  <a:gd name="connsiteX0" fmla="*/ 7529513 w 8801100"/>
                  <a:gd name="connsiteY0" fmla="*/ 1588294 h 2157413"/>
                  <a:gd name="connsiteX1" fmla="*/ 7522369 w 8801100"/>
                  <a:gd name="connsiteY1" fmla="*/ 1533525 h 2157413"/>
                  <a:gd name="connsiteX2" fmla="*/ 7589044 w 8801100"/>
                  <a:gd name="connsiteY2" fmla="*/ 1459706 h 2157413"/>
                  <a:gd name="connsiteX3" fmla="*/ 7572375 w 8801100"/>
                  <a:gd name="connsiteY3" fmla="*/ 1388269 h 2157413"/>
                  <a:gd name="connsiteX4" fmla="*/ 7586663 w 8801100"/>
                  <a:gd name="connsiteY4" fmla="*/ 1293019 h 2157413"/>
                  <a:gd name="connsiteX5" fmla="*/ 7624763 w 8801100"/>
                  <a:gd name="connsiteY5" fmla="*/ 1235869 h 2157413"/>
                  <a:gd name="connsiteX6" fmla="*/ 7605712 w 8801100"/>
                  <a:gd name="connsiteY6" fmla="*/ 1202531 h 2157413"/>
                  <a:gd name="connsiteX7" fmla="*/ 7703343 w 8801100"/>
                  <a:gd name="connsiteY7" fmla="*/ 802481 h 2157413"/>
                  <a:gd name="connsiteX8" fmla="*/ 7696200 w 8801100"/>
                  <a:gd name="connsiteY8" fmla="*/ 773906 h 2157413"/>
                  <a:gd name="connsiteX9" fmla="*/ 7567613 w 8801100"/>
                  <a:gd name="connsiteY9" fmla="*/ 752475 h 2157413"/>
                  <a:gd name="connsiteX10" fmla="*/ 7384257 w 8801100"/>
                  <a:gd name="connsiteY10" fmla="*/ 831056 h 2157413"/>
                  <a:gd name="connsiteX11" fmla="*/ 7227093 w 8801100"/>
                  <a:gd name="connsiteY11" fmla="*/ 716756 h 2157413"/>
                  <a:gd name="connsiteX12" fmla="*/ 7150894 w 8801100"/>
                  <a:gd name="connsiteY12" fmla="*/ 723900 h 2157413"/>
                  <a:gd name="connsiteX13" fmla="*/ 7077075 w 8801100"/>
                  <a:gd name="connsiteY13" fmla="*/ 719138 h 2157413"/>
                  <a:gd name="connsiteX14" fmla="*/ 6938963 w 8801100"/>
                  <a:gd name="connsiteY14" fmla="*/ 823913 h 2157413"/>
                  <a:gd name="connsiteX15" fmla="*/ 6831806 w 8801100"/>
                  <a:gd name="connsiteY15" fmla="*/ 931069 h 2157413"/>
                  <a:gd name="connsiteX16" fmla="*/ 6788944 w 8801100"/>
                  <a:gd name="connsiteY16" fmla="*/ 1000125 h 2157413"/>
                  <a:gd name="connsiteX17" fmla="*/ 6796088 w 8801100"/>
                  <a:gd name="connsiteY17" fmla="*/ 1035844 h 2157413"/>
                  <a:gd name="connsiteX18" fmla="*/ 6734175 w 8801100"/>
                  <a:gd name="connsiteY18" fmla="*/ 1047750 h 2157413"/>
                  <a:gd name="connsiteX19" fmla="*/ 6753225 w 8801100"/>
                  <a:gd name="connsiteY19" fmla="*/ 1047750 h 2157413"/>
                  <a:gd name="connsiteX20" fmla="*/ 6719888 w 8801100"/>
                  <a:gd name="connsiteY20" fmla="*/ 1078706 h 2157413"/>
                  <a:gd name="connsiteX21" fmla="*/ 6619875 w 8801100"/>
                  <a:gd name="connsiteY21" fmla="*/ 1078707 h 2157413"/>
                  <a:gd name="connsiteX22" fmla="*/ 6524625 w 8801100"/>
                  <a:gd name="connsiteY22" fmla="*/ 1133475 h 2157413"/>
                  <a:gd name="connsiteX23" fmla="*/ 6443663 w 8801100"/>
                  <a:gd name="connsiteY23" fmla="*/ 1143000 h 2157413"/>
                  <a:gd name="connsiteX24" fmla="*/ 6403181 w 8801100"/>
                  <a:gd name="connsiteY24" fmla="*/ 1176338 h 2157413"/>
                  <a:gd name="connsiteX25" fmla="*/ 6353175 w 8801100"/>
                  <a:gd name="connsiteY25" fmla="*/ 1181100 h 2157413"/>
                  <a:gd name="connsiteX26" fmla="*/ 6231732 w 8801100"/>
                  <a:gd name="connsiteY26" fmla="*/ 1273969 h 2157413"/>
                  <a:gd name="connsiteX27" fmla="*/ 6172200 w 8801100"/>
                  <a:gd name="connsiteY27" fmla="*/ 1278731 h 2157413"/>
                  <a:gd name="connsiteX28" fmla="*/ 6119813 w 8801100"/>
                  <a:gd name="connsiteY28" fmla="*/ 1243013 h 2157413"/>
                  <a:gd name="connsiteX29" fmla="*/ 6093619 w 8801100"/>
                  <a:gd name="connsiteY29" fmla="*/ 1278731 h 2157413"/>
                  <a:gd name="connsiteX30" fmla="*/ 5895975 w 8801100"/>
                  <a:gd name="connsiteY30" fmla="*/ 1271588 h 2157413"/>
                  <a:gd name="connsiteX31" fmla="*/ 5834063 w 8801100"/>
                  <a:gd name="connsiteY31" fmla="*/ 1226344 h 2157413"/>
                  <a:gd name="connsiteX32" fmla="*/ 5636419 w 8801100"/>
                  <a:gd name="connsiteY32" fmla="*/ 1243013 h 2157413"/>
                  <a:gd name="connsiteX33" fmla="*/ 5548313 w 8801100"/>
                  <a:gd name="connsiteY33" fmla="*/ 1159668 h 2157413"/>
                  <a:gd name="connsiteX34" fmla="*/ 5472113 w 8801100"/>
                  <a:gd name="connsiteY34" fmla="*/ 1114425 h 2157413"/>
                  <a:gd name="connsiteX35" fmla="*/ 5474493 w 8801100"/>
                  <a:gd name="connsiteY35" fmla="*/ 1057275 h 2157413"/>
                  <a:gd name="connsiteX36" fmla="*/ 5455444 w 8801100"/>
                  <a:gd name="connsiteY36" fmla="*/ 1014412 h 2157413"/>
                  <a:gd name="connsiteX37" fmla="*/ 5360194 w 8801100"/>
                  <a:gd name="connsiteY37" fmla="*/ 1016794 h 2157413"/>
                  <a:gd name="connsiteX38" fmla="*/ 5264944 w 8801100"/>
                  <a:gd name="connsiteY38" fmla="*/ 995363 h 2157413"/>
                  <a:gd name="connsiteX39" fmla="*/ 5195887 w 8801100"/>
                  <a:gd name="connsiteY39" fmla="*/ 928687 h 2157413"/>
                  <a:gd name="connsiteX40" fmla="*/ 5160169 w 8801100"/>
                  <a:gd name="connsiteY40" fmla="*/ 885825 h 2157413"/>
                  <a:gd name="connsiteX41" fmla="*/ 5079206 w 8801100"/>
                  <a:gd name="connsiteY41" fmla="*/ 862012 h 2157413"/>
                  <a:gd name="connsiteX42" fmla="*/ 5005388 w 8801100"/>
                  <a:gd name="connsiteY42" fmla="*/ 873918 h 2157413"/>
                  <a:gd name="connsiteX43" fmla="*/ 4948237 w 8801100"/>
                  <a:gd name="connsiteY43" fmla="*/ 821531 h 2157413"/>
                  <a:gd name="connsiteX44" fmla="*/ 4852988 w 8801100"/>
                  <a:gd name="connsiteY44" fmla="*/ 833438 h 2157413"/>
                  <a:gd name="connsiteX45" fmla="*/ 4800600 w 8801100"/>
                  <a:gd name="connsiteY45" fmla="*/ 807244 h 2157413"/>
                  <a:gd name="connsiteX46" fmla="*/ 4719638 w 8801100"/>
                  <a:gd name="connsiteY46" fmla="*/ 850106 h 2157413"/>
                  <a:gd name="connsiteX47" fmla="*/ 4581525 w 8801100"/>
                  <a:gd name="connsiteY47" fmla="*/ 873919 h 2157413"/>
                  <a:gd name="connsiteX48" fmla="*/ 4452938 w 8801100"/>
                  <a:gd name="connsiteY48" fmla="*/ 966788 h 2157413"/>
                  <a:gd name="connsiteX49" fmla="*/ 4405312 w 8801100"/>
                  <a:gd name="connsiteY49" fmla="*/ 928688 h 2157413"/>
                  <a:gd name="connsiteX50" fmla="*/ 4383881 w 8801100"/>
                  <a:gd name="connsiteY50" fmla="*/ 959643 h 2157413"/>
                  <a:gd name="connsiteX51" fmla="*/ 4310063 w 8801100"/>
                  <a:gd name="connsiteY51" fmla="*/ 909638 h 2157413"/>
                  <a:gd name="connsiteX52" fmla="*/ 4271963 w 8801100"/>
                  <a:gd name="connsiteY52" fmla="*/ 916781 h 2157413"/>
                  <a:gd name="connsiteX53" fmla="*/ 4250531 w 8801100"/>
                  <a:gd name="connsiteY53" fmla="*/ 878681 h 2157413"/>
                  <a:gd name="connsiteX54" fmla="*/ 4191000 w 8801100"/>
                  <a:gd name="connsiteY54" fmla="*/ 883444 h 2157413"/>
                  <a:gd name="connsiteX55" fmla="*/ 4145756 w 8801100"/>
                  <a:gd name="connsiteY55" fmla="*/ 854869 h 2157413"/>
                  <a:gd name="connsiteX56" fmla="*/ 4107656 w 8801100"/>
                  <a:gd name="connsiteY56" fmla="*/ 852488 h 2157413"/>
                  <a:gd name="connsiteX57" fmla="*/ 4088606 w 8801100"/>
                  <a:gd name="connsiteY57" fmla="*/ 804862 h 2157413"/>
                  <a:gd name="connsiteX58" fmla="*/ 4074319 w 8801100"/>
                  <a:gd name="connsiteY58" fmla="*/ 773906 h 2157413"/>
                  <a:gd name="connsiteX59" fmla="*/ 4029075 w 8801100"/>
                  <a:gd name="connsiteY59" fmla="*/ 783431 h 2157413"/>
                  <a:gd name="connsiteX60" fmla="*/ 4010025 w 8801100"/>
                  <a:gd name="connsiteY60" fmla="*/ 747713 h 2157413"/>
                  <a:gd name="connsiteX61" fmla="*/ 4031457 w 8801100"/>
                  <a:gd name="connsiteY61" fmla="*/ 692944 h 2157413"/>
                  <a:gd name="connsiteX62" fmla="*/ 4000500 w 8801100"/>
                  <a:gd name="connsiteY62" fmla="*/ 666750 h 2157413"/>
                  <a:gd name="connsiteX63" fmla="*/ 4017169 w 8801100"/>
                  <a:gd name="connsiteY63" fmla="*/ 623888 h 2157413"/>
                  <a:gd name="connsiteX64" fmla="*/ 3990975 w 8801100"/>
                  <a:gd name="connsiteY64" fmla="*/ 581025 h 2157413"/>
                  <a:gd name="connsiteX65" fmla="*/ 3986213 w 8801100"/>
                  <a:gd name="connsiteY65" fmla="*/ 519113 h 2157413"/>
                  <a:gd name="connsiteX66" fmla="*/ 4010025 w 8801100"/>
                  <a:gd name="connsiteY66" fmla="*/ 454818 h 2157413"/>
                  <a:gd name="connsiteX67" fmla="*/ 3971925 w 8801100"/>
                  <a:gd name="connsiteY67" fmla="*/ 457200 h 2157413"/>
                  <a:gd name="connsiteX68" fmla="*/ 3852863 w 8801100"/>
                  <a:gd name="connsiteY68" fmla="*/ 400050 h 2157413"/>
                  <a:gd name="connsiteX69" fmla="*/ 3814762 w 8801100"/>
                  <a:gd name="connsiteY69" fmla="*/ 404812 h 2157413"/>
                  <a:gd name="connsiteX70" fmla="*/ 3609975 w 8801100"/>
                  <a:gd name="connsiteY70" fmla="*/ 295275 h 2157413"/>
                  <a:gd name="connsiteX71" fmla="*/ 3505200 w 8801100"/>
                  <a:gd name="connsiteY71" fmla="*/ 264319 h 2157413"/>
                  <a:gd name="connsiteX72" fmla="*/ 3440906 w 8801100"/>
                  <a:gd name="connsiteY72" fmla="*/ 273843 h 2157413"/>
                  <a:gd name="connsiteX73" fmla="*/ 3409950 w 8801100"/>
                  <a:gd name="connsiteY73" fmla="*/ 209550 h 2157413"/>
                  <a:gd name="connsiteX74" fmla="*/ 3352800 w 8801100"/>
                  <a:gd name="connsiteY74" fmla="*/ 209550 h 2157413"/>
                  <a:gd name="connsiteX75" fmla="*/ 3214687 w 8801100"/>
                  <a:gd name="connsiteY75" fmla="*/ 104775 h 2157413"/>
                  <a:gd name="connsiteX76" fmla="*/ 3181350 w 8801100"/>
                  <a:gd name="connsiteY76" fmla="*/ 164307 h 2157413"/>
                  <a:gd name="connsiteX77" fmla="*/ 3126581 w 8801100"/>
                  <a:gd name="connsiteY77" fmla="*/ 233363 h 2157413"/>
                  <a:gd name="connsiteX78" fmla="*/ 3083719 w 8801100"/>
                  <a:gd name="connsiteY78" fmla="*/ 250031 h 2157413"/>
                  <a:gd name="connsiteX79" fmla="*/ 3052763 w 8801100"/>
                  <a:gd name="connsiteY79" fmla="*/ 242888 h 2157413"/>
                  <a:gd name="connsiteX80" fmla="*/ 3028950 w 8801100"/>
                  <a:gd name="connsiteY80" fmla="*/ 271463 h 2157413"/>
                  <a:gd name="connsiteX81" fmla="*/ 3002756 w 8801100"/>
                  <a:gd name="connsiteY81" fmla="*/ 350044 h 2157413"/>
                  <a:gd name="connsiteX82" fmla="*/ 2959894 w 8801100"/>
                  <a:gd name="connsiteY82" fmla="*/ 347663 h 2157413"/>
                  <a:gd name="connsiteX83" fmla="*/ 2928937 w 8801100"/>
                  <a:gd name="connsiteY83" fmla="*/ 409575 h 2157413"/>
                  <a:gd name="connsiteX84" fmla="*/ 2924175 w 8801100"/>
                  <a:gd name="connsiteY84" fmla="*/ 473869 h 2157413"/>
                  <a:gd name="connsiteX85" fmla="*/ 2897982 w 8801100"/>
                  <a:gd name="connsiteY85" fmla="*/ 511969 h 2157413"/>
                  <a:gd name="connsiteX86" fmla="*/ 2924175 w 8801100"/>
                  <a:gd name="connsiteY86" fmla="*/ 571500 h 2157413"/>
                  <a:gd name="connsiteX87" fmla="*/ 2926556 w 8801100"/>
                  <a:gd name="connsiteY87" fmla="*/ 640556 h 2157413"/>
                  <a:gd name="connsiteX88" fmla="*/ 2955131 w 8801100"/>
                  <a:gd name="connsiteY88" fmla="*/ 692944 h 2157413"/>
                  <a:gd name="connsiteX89" fmla="*/ 3002757 w 8801100"/>
                  <a:gd name="connsiteY89" fmla="*/ 747713 h 2157413"/>
                  <a:gd name="connsiteX90" fmla="*/ 2952750 w 8801100"/>
                  <a:gd name="connsiteY90" fmla="*/ 885825 h 2157413"/>
                  <a:gd name="connsiteX91" fmla="*/ 2883694 w 8801100"/>
                  <a:gd name="connsiteY91" fmla="*/ 952500 h 2157413"/>
                  <a:gd name="connsiteX92" fmla="*/ 2812256 w 8801100"/>
                  <a:gd name="connsiteY92" fmla="*/ 947738 h 2157413"/>
                  <a:gd name="connsiteX93" fmla="*/ 2774156 w 8801100"/>
                  <a:gd name="connsiteY93" fmla="*/ 1004888 h 2157413"/>
                  <a:gd name="connsiteX94" fmla="*/ 2714625 w 8801100"/>
                  <a:gd name="connsiteY94" fmla="*/ 1019175 h 2157413"/>
                  <a:gd name="connsiteX95" fmla="*/ 2645569 w 8801100"/>
                  <a:gd name="connsiteY95" fmla="*/ 959644 h 2157413"/>
                  <a:gd name="connsiteX96" fmla="*/ 2590800 w 8801100"/>
                  <a:gd name="connsiteY96" fmla="*/ 931069 h 2157413"/>
                  <a:gd name="connsiteX97" fmla="*/ 2547938 w 8801100"/>
                  <a:gd name="connsiteY97" fmla="*/ 945356 h 2157413"/>
                  <a:gd name="connsiteX98" fmla="*/ 2495550 w 8801100"/>
                  <a:gd name="connsiteY98" fmla="*/ 928688 h 2157413"/>
                  <a:gd name="connsiteX99" fmla="*/ 2428875 w 8801100"/>
                  <a:gd name="connsiteY99" fmla="*/ 873919 h 2157413"/>
                  <a:gd name="connsiteX100" fmla="*/ 2383631 w 8801100"/>
                  <a:gd name="connsiteY100" fmla="*/ 885825 h 2157413"/>
                  <a:gd name="connsiteX101" fmla="*/ 2362200 w 8801100"/>
                  <a:gd name="connsiteY101" fmla="*/ 854869 h 2157413"/>
                  <a:gd name="connsiteX102" fmla="*/ 2305050 w 8801100"/>
                  <a:gd name="connsiteY102" fmla="*/ 895350 h 2157413"/>
                  <a:gd name="connsiteX103" fmla="*/ 2188369 w 8801100"/>
                  <a:gd name="connsiteY103" fmla="*/ 873919 h 2157413"/>
                  <a:gd name="connsiteX104" fmla="*/ 2138363 w 8801100"/>
                  <a:gd name="connsiteY104" fmla="*/ 821531 h 2157413"/>
                  <a:gd name="connsiteX105" fmla="*/ 2095500 w 8801100"/>
                  <a:gd name="connsiteY105" fmla="*/ 807244 h 2157413"/>
                  <a:gd name="connsiteX106" fmla="*/ 2052638 w 8801100"/>
                  <a:gd name="connsiteY106" fmla="*/ 833438 h 2157413"/>
                  <a:gd name="connsiteX107" fmla="*/ 2000250 w 8801100"/>
                  <a:gd name="connsiteY107" fmla="*/ 742950 h 2157413"/>
                  <a:gd name="connsiteX108" fmla="*/ 1990725 w 8801100"/>
                  <a:gd name="connsiteY108" fmla="*/ 595312 h 2157413"/>
                  <a:gd name="connsiteX109" fmla="*/ 1938337 w 8801100"/>
                  <a:gd name="connsiteY109" fmla="*/ 588168 h 2157413"/>
                  <a:gd name="connsiteX110" fmla="*/ 1847850 w 8801100"/>
                  <a:gd name="connsiteY110" fmla="*/ 578644 h 2157413"/>
                  <a:gd name="connsiteX111" fmla="*/ 1793081 w 8801100"/>
                  <a:gd name="connsiteY111" fmla="*/ 540544 h 2157413"/>
                  <a:gd name="connsiteX112" fmla="*/ 1724025 w 8801100"/>
                  <a:gd name="connsiteY112" fmla="*/ 550069 h 2157413"/>
                  <a:gd name="connsiteX113" fmla="*/ 1678781 w 8801100"/>
                  <a:gd name="connsiteY113" fmla="*/ 523875 h 2157413"/>
                  <a:gd name="connsiteX114" fmla="*/ 1669257 w 8801100"/>
                  <a:gd name="connsiteY114" fmla="*/ 452438 h 2157413"/>
                  <a:gd name="connsiteX115" fmla="*/ 1645444 w 8801100"/>
                  <a:gd name="connsiteY115" fmla="*/ 438150 h 2157413"/>
                  <a:gd name="connsiteX116" fmla="*/ 1607344 w 8801100"/>
                  <a:gd name="connsiteY116" fmla="*/ 485774 h 2157413"/>
                  <a:gd name="connsiteX117" fmla="*/ 1528762 w 8801100"/>
                  <a:gd name="connsiteY117" fmla="*/ 411956 h 2157413"/>
                  <a:gd name="connsiteX118" fmla="*/ 1488281 w 8801100"/>
                  <a:gd name="connsiteY118" fmla="*/ 452438 h 2157413"/>
                  <a:gd name="connsiteX119" fmla="*/ 1412081 w 8801100"/>
                  <a:gd name="connsiteY119" fmla="*/ 438150 h 2157413"/>
                  <a:gd name="connsiteX120" fmla="*/ 1333500 w 8801100"/>
                  <a:gd name="connsiteY120" fmla="*/ 464344 h 2157413"/>
                  <a:gd name="connsiteX121" fmla="*/ 1273969 w 8801100"/>
                  <a:gd name="connsiteY121" fmla="*/ 511968 h 2157413"/>
                  <a:gd name="connsiteX122" fmla="*/ 1200150 w 8801100"/>
                  <a:gd name="connsiteY122" fmla="*/ 523875 h 2157413"/>
                  <a:gd name="connsiteX123" fmla="*/ 1164431 w 8801100"/>
                  <a:gd name="connsiteY123" fmla="*/ 516731 h 2157413"/>
                  <a:gd name="connsiteX124" fmla="*/ 1085851 w 8801100"/>
                  <a:gd name="connsiteY124" fmla="*/ 547688 h 2157413"/>
                  <a:gd name="connsiteX125" fmla="*/ 1064419 w 8801100"/>
                  <a:gd name="connsiteY125" fmla="*/ 576263 h 2157413"/>
                  <a:gd name="connsiteX126" fmla="*/ 997744 w 8801100"/>
                  <a:gd name="connsiteY126" fmla="*/ 566738 h 2157413"/>
                  <a:gd name="connsiteX127" fmla="*/ 928688 w 8801100"/>
                  <a:gd name="connsiteY127" fmla="*/ 590550 h 2157413"/>
                  <a:gd name="connsiteX128" fmla="*/ 873919 w 8801100"/>
                  <a:gd name="connsiteY128" fmla="*/ 628650 h 2157413"/>
                  <a:gd name="connsiteX129" fmla="*/ 778669 w 8801100"/>
                  <a:gd name="connsiteY129" fmla="*/ 642937 h 2157413"/>
                  <a:gd name="connsiteX130" fmla="*/ 764381 w 8801100"/>
                  <a:gd name="connsiteY130" fmla="*/ 664369 h 2157413"/>
                  <a:gd name="connsiteX131" fmla="*/ 776287 w 8801100"/>
                  <a:gd name="connsiteY131" fmla="*/ 709613 h 2157413"/>
                  <a:gd name="connsiteX132" fmla="*/ 676276 w 8801100"/>
                  <a:gd name="connsiteY132" fmla="*/ 762000 h 2157413"/>
                  <a:gd name="connsiteX133" fmla="*/ 638175 w 8801100"/>
                  <a:gd name="connsiteY133" fmla="*/ 733424 h 2157413"/>
                  <a:gd name="connsiteX134" fmla="*/ 607219 w 8801100"/>
                  <a:gd name="connsiteY134" fmla="*/ 790575 h 2157413"/>
                  <a:gd name="connsiteX135" fmla="*/ 550069 w 8801100"/>
                  <a:gd name="connsiteY135" fmla="*/ 752475 h 2157413"/>
                  <a:gd name="connsiteX136" fmla="*/ 514350 w 8801100"/>
                  <a:gd name="connsiteY136" fmla="*/ 781050 h 2157413"/>
                  <a:gd name="connsiteX137" fmla="*/ 478631 w 8801100"/>
                  <a:gd name="connsiteY137" fmla="*/ 745331 h 2157413"/>
                  <a:gd name="connsiteX138" fmla="*/ 426244 w 8801100"/>
                  <a:gd name="connsiteY138" fmla="*/ 757238 h 2157413"/>
                  <a:gd name="connsiteX139" fmla="*/ 381000 w 8801100"/>
                  <a:gd name="connsiteY139" fmla="*/ 728663 h 2157413"/>
                  <a:gd name="connsiteX140" fmla="*/ 357188 w 8801100"/>
                  <a:gd name="connsiteY140" fmla="*/ 747713 h 2157413"/>
                  <a:gd name="connsiteX141" fmla="*/ 333375 w 8801100"/>
                  <a:gd name="connsiteY141" fmla="*/ 807244 h 2157413"/>
                  <a:gd name="connsiteX142" fmla="*/ 261938 w 8801100"/>
                  <a:gd name="connsiteY142" fmla="*/ 845343 h 2157413"/>
                  <a:gd name="connsiteX143" fmla="*/ 209550 w 8801100"/>
                  <a:gd name="connsiteY143" fmla="*/ 816769 h 2157413"/>
                  <a:gd name="connsiteX144" fmla="*/ 119063 w 8801100"/>
                  <a:gd name="connsiteY144" fmla="*/ 826294 h 2157413"/>
                  <a:gd name="connsiteX145" fmla="*/ 71437 w 8801100"/>
                  <a:gd name="connsiteY145" fmla="*/ 792957 h 2157413"/>
                  <a:gd name="connsiteX146" fmla="*/ 0 w 8801100"/>
                  <a:gd name="connsiteY146" fmla="*/ 812006 h 2157413"/>
                  <a:gd name="connsiteX147" fmla="*/ 4762 w 8801100"/>
                  <a:gd name="connsiteY147" fmla="*/ 0 h 2157413"/>
                  <a:gd name="connsiteX148" fmla="*/ 8024813 w 8801100"/>
                  <a:gd name="connsiteY148" fmla="*/ 2152650 h 2157413"/>
                  <a:gd name="connsiteX149" fmla="*/ 8070056 w 8801100"/>
                  <a:gd name="connsiteY149" fmla="*/ 2157413 h 2157413"/>
                  <a:gd name="connsiteX150" fmla="*/ 8134350 w 8801100"/>
                  <a:gd name="connsiteY150" fmla="*/ 2124075 h 2157413"/>
                  <a:gd name="connsiteX151" fmla="*/ 8143875 w 8801100"/>
                  <a:gd name="connsiteY151" fmla="*/ 2059781 h 2157413"/>
                  <a:gd name="connsiteX152" fmla="*/ 8184355 w 8801100"/>
                  <a:gd name="connsiteY152" fmla="*/ 2024063 h 2157413"/>
                  <a:gd name="connsiteX153" fmla="*/ 8243888 w 8801100"/>
                  <a:gd name="connsiteY153" fmla="*/ 2064543 h 2157413"/>
                  <a:gd name="connsiteX154" fmla="*/ 8270082 w 8801100"/>
                  <a:gd name="connsiteY154" fmla="*/ 2014537 h 2157413"/>
                  <a:gd name="connsiteX155" fmla="*/ 8365331 w 8801100"/>
                  <a:gd name="connsiteY155" fmla="*/ 1945481 h 2157413"/>
                  <a:gd name="connsiteX156" fmla="*/ 8427244 w 8801100"/>
                  <a:gd name="connsiteY156" fmla="*/ 1952625 h 2157413"/>
                  <a:gd name="connsiteX157" fmla="*/ 8477250 w 8801100"/>
                  <a:gd name="connsiteY157" fmla="*/ 1933575 h 2157413"/>
                  <a:gd name="connsiteX158" fmla="*/ 8515350 w 8801100"/>
                  <a:gd name="connsiteY158" fmla="*/ 1905000 h 2157413"/>
                  <a:gd name="connsiteX159" fmla="*/ 8548688 w 8801100"/>
                  <a:gd name="connsiteY159" fmla="*/ 1902619 h 2157413"/>
                  <a:gd name="connsiteX160" fmla="*/ 8584406 w 8801100"/>
                  <a:gd name="connsiteY160" fmla="*/ 1933575 h 2157413"/>
                  <a:gd name="connsiteX161" fmla="*/ 8643938 w 8801100"/>
                  <a:gd name="connsiteY161" fmla="*/ 1933575 h 2157413"/>
                  <a:gd name="connsiteX162" fmla="*/ 8682037 w 8801100"/>
                  <a:gd name="connsiteY162" fmla="*/ 1914525 h 2157413"/>
                  <a:gd name="connsiteX163" fmla="*/ 8765381 w 8801100"/>
                  <a:gd name="connsiteY163" fmla="*/ 1916907 h 2157413"/>
                  <a:gd name="connsiteX164" fmla="*/ 8796338 w 8801100"/>
                  <a:gd name="connsiteY164" fmla="*/ 1871663 h 2157413"/>
                  <a:gd name="connsiteX165" fmla="*/ 8801100 w 8801100"/>
                  <a:gd name="connsiteY165" fmla="*/ 1809750 h 2157413"/>
                  <a:gd name="connsiteX166" fmla="*/ 8751093 w 8801100"/>
                  <a:gd name="connsiteY166" fmla="*/ 1769269 h 2157413"/>
                  <a:gd name="connsiteX167" fmla="*/ 8734425 w 8801100"/>
                  <a:gd name="connsiteY167" fmla="*/ 1714500 h 2157413"/>
                  <a:gd name="connsiteX168" fmla="*/ 8643938 w 8801100"/>
                  <a:gd name="connsiteY168" fmla="*/ 1652588 h 2157413"/>
                  <a:gd name="connsiteX169" fmla="*/ 8603456 w 8801100"/>
                  <a:gd name="connsiteY169" fmla="*/ 1631156 h 2157413"/>
                  <a:gd name="connsiteX170" fmla="*/ 8565356 w 8801100"/>
                  <a:gd name="connsiteY170" fmla="*/ 1585913 h 2157413"/>
                  <a:gd name="connsiteX171" fmla="*/ 8534400 w 8801100"/>
                  <a:gd name="connsiteY171" fmla="*/ 1583531 h 2157413"/>
                  <a:gd name="connsiteX172" fmla="*/ 8517731 w 8801100"/>
                  <a:gd name="connsiteY172" fmla="*/ 1531144 h 2157413"/>
                  <a:gd name="connsiteX173" fmla="*/ 8477250 w 8801100"/>
                  <a:gd name="connsiteY173" fmla="*/ 1514475 h 2157413"/>
                  <a:gd name="connsiteX174" fmla="*/ 8477250 w 8801100"/>
                  <a:gd name="connsiteY174" fmla="*/ 1514475 h 2157413"/>
                  <a:gd name="connsiteX175" fmla="*/ 8436769 w 8801100"/>
                  <a:gd name="connsiteY175" fmla="*/ 1519238 h 2157413"/>
                  <a:gd name="connsiteX176" fmla="*/ 8351043 w 8801100"/>
                  <a:gd name="connsiteY176" fmla="*/ 1445419 h 2157413"/>
                  <a:gd name="connsiteX177" fmla="*/ 8170069 w 8801100"/>
                  <a:gd name="connsiteY177" fmla="*/ 1445418 h 2157413"/>
                  <a:gd name="connsiteX178" fmla="*/ 8117681 w 8801100"/>
                  <a:gd name="connsiteY178" fmla="*/ 1483519 h 2157413"/>
                  <a:gd name="connsiteX179" fmla="*/ 8067675 w 8801100"/>
                  <a:gd name="connsiteY179" fmla="*/ 1562100 h 2157413"/>
                  <a:gd name="connsiteX180" fmla="*/ 8084344 w 8801100"/>
                  <a:gd name="connsiteY180" fmla="*/ 1583531 h 2157413"/>
                  <a:gd name="connsiteX181" fmla="*/ 8039100 w 8801100"/>
                  <a:gd name="connsiteY181" fmla="*/ 1633537 h 2157413"/>
                  <a:gd name="connsiteX182" fmla="*/ 7889081 w 8801100"/>
                  <a:gd name="connsiteY182" fmla="*/ 1557337 h 2157413"/>
                  <a:gd name="connsiteX183" fmla="*/ 7798594 w 8801100"/>
                  <a:gd name="connsiteY183" fmla="*/ 1593056 h 2157413"/>
                  <a:gd name="connsiteX184" fmla="*/ 7724775 w 8801100"/>
                  <a:gd name="connsiteY184" fmla="*/ 1590675 h 2157413"/>
                  <a:gd name="connsiteX185" fmla="*/ 7667625 w 8801100"/>
                  <a:gd name="connsiteY185" fmla="*/ 1685925 h 2157413"/>
                  <a:gd name="connsiteX186" fmla="*/ 7529513 w 8801100"/>
                  <a:gd name="connsiteY186" fmla="*/ 1588294 h 2157413"/>
                  <a:gd name="connsiteX0" fmla="*/ 7529513 w 8801100"/>
                  <a:gd name="connsiteY0" fmla="*/ 1588294 h 2152650"/>
                  <a:gd name="connsiteX1" fmla="*/ 7522369 w 8801100"/>
                  <a:gd name="connsiteY1" fmla="*/ 1533525 h 2152650"/>
                  <a:gd name="connsiteX2" fmla="*/ 7589044 w 8801100"/>
                  <a:gd name="connsiteY2" fmla="*/ 1459706 h 2152650"/>
                  <a:gd name="connsiteX3" fmla="*/ 7572375 w 8801100"/>
                  <a:gd name="connsiteY3" fmla="*/ 1388269 h 2152650"/>
                  <a:gd name="connsiteX4" fmla="*/ 7586663 w 8801100"/>
                  <a:gd name="connsiteY4" fmla="*/ 1293019 h 2152650"/>
                  <a:gd name="connsiteX5" fmla="*/ 7624763 w 8801100"/>
                  <a:gd name="connsiteY5" fmla="*/ 1235869 h 2152650"/>
                  <a:gd name="connsiteX6" fmla="*/ 7605712 w 8801100"/>
                  <a:gd name="connsiteY6" fmla="*/ 1202531 h 2152650"/>
                  <a:gd name="connsiteX7" fmla="*/ 7703343 w 8801100"/>
                  <a:gd name="connsiteY7" fmla="*/ 802481 h 2152650"/>
                  <a:gd name="connsiteX8" fmla="*/ 7696200 w 8801100"/>
                  <a:gd name="connsiteY8" fmla="*/ 773906 h 2152650"/>
                  <a:gd name="connsiteX9" fmla="*/ 7567613 w 8801100"/>
                  <a:gd name="connsiteY9" fmla="*/ 752475 h 2152650"/>
                  <a:gd name="connsiteX10" fmla="*/ 7384257 w 8801100"/>
                  <a:gd name="connsiteY10" fmla="*/ 831056 h 2152650"/>
                  <a:gd name="connsiteX11" fmla="*/ 7227093 w 8801100"/>
                  <a:gd name="connsiteY11" fmla="*/ 716756 h 2152650"/>
                  <a:gd name="connsiteX12" fmla="*/ 7150894 w 8801100"/>
                  <a:gd name="connsiteY12" fmla="*/ 723900 h 2152650"/>
                  <a:gd name="connsiteX13" fmla="*/ 7077075 w 8801100"/>
                  <a:gd name="connsiteY13" fmla="*/ 719138 h 2152650"/>
                  <a:gd name="connsiteX14" fmla="*/ 6938963 w 8801100"/>
                  <a:gd name="connsiteY14" fmla="*/ 823913 h 2152650"/>
                  <a:gd name="connsiteX15" fmla="*/ 6831806 w 8801100"/>
                  <a:gd name="connsiteY15" fmla="*/ 931069 h 2152650"/>
                  <a:gd name="connsiteX16" fmla="*/ 6788944 w 8801100"/>
                  <a:gd name="connsiteY16" fmla="*/ 1000125 h 2152650"/>
                  <a:gd name="connsiteX17" fmla="*/ 6796088 w 8801100"/>
                  <a:gd name="connsiteY17" fmla="*/ 1035844 h 2152650"/>
                  <a:gd name="connsiteX18" fmla="*/ 6734175 w 8801100"/>
                  <a:gd name="connsiteY18" fmla="*/ 1047750 h 2152650"/>
                  <a:gd name="connsiteX19" fmla="*/ 6753225 w 8801100"/>
                  <a:gd name="connsiteY19" fmla="*/ 1047750 h 2152650"/>
                  <a:gd name="connsiteX20" fmla="*/ 6719888 w 8801100"/>
                  <a:gd name="connsiteY20" fmla="*/ 1078706 h 2152650"/>
                  <a:gd name="connsiteX21" fmla="*/ 6619875 w 8801100"/>
                  <a:gd name="connsiteY21" fmla="*/ 1078707 h 2152650"/>
                  <a:gd name="connsiteX22" fmla="*/ 6524625 w 8801100"/>
                  <a:gd name="connsiteY22" fmla="*/ 1133475 h 2152650"/>
                  <a:gd name="connsiteX23" fmla="*/ 6443663 w 8801100"/>
                  <a:gd name="connsiteY23" fmla="*/ 1143000 h 2152650"/>
                  <a:gd name="connsiteX24" fmla="*/ 6403181 w 8801100"/>
                  <a:gd name="connsiteY24" fmla="*/ 1176338 h 2152650"/>
                  <a:gd name="connsiteX25" fmla="*/ 6353175 w 8801100"/>
                  <a:gd name="connsiteY25" fmla="*/ 1181100 h 2152650"/>
                  <a:gd name="connsiteX26" fmla="*/ 6231732 w 8801100"/>
                  <a:gd name="connsiteY26" fmla="*/ 1273969 h 2152650"/>
                  <a:gd name="connsiteX27" fmla="*/ 6172200 w 8801100"/>
                  <a:gd name="connsiteY27" fmla="*/ 1278731 h 2152650"/>
                  <a:gd name="connsiteX28" fmla="*/ 6119813 w 8801100"/>
                  <a:gd name="connsiteY28" fmla="*/ 1243013 h 2152650"/>
                  <a:gd name="connsiteX29" fmla="*/ 6093619 w 8801100"/>
                  <a:gd name="connsiteY29" fmla="*/ 1278731 h 2152650"/>
                  <a:gd name="connsiteX30" fmla="*/ 5895975 w 8801100"/>
                  <a:gd name="connsiteY30" fmla="*/ 1271588 h 2152650"/>
                  <a:gd name="connsiteX31" fmla="*/ 5834063 w 8801100"/>
                  <a:gd name="connsiteY31" fmla="*/ 1226344 h 2152650"/>
                  <a:gd name="connsiteX32" fmla="*/ 5636419 w 8801100"/>
                  <a:gd name="connsiteY32" fmla="*/ 1243013 h 2152650"/>
                  <a:gd name="connsiteX33" fmla="*/ 5548313 w 8801100"/>
                  <a:gd name="connsiteY33" fmla="*/ 1159668 h 2152650"/>
                  <a:gd name="connsiteX34" fmla="*/ 5472113 w 8801100"/>
                  <a:gd name="connsiteY34" fmla="*/ 1114425 h 2152650"/>
                  <a:gd name="connsiteX35" fmla="*/ 5474493 w 8801100"/>
                  <a:gd name="connsiteY35" fmla="*/ 1057275 h 2152650"/>
                  <a:gd name="connsiteX36" fmla="*/ 5455444 w 8801100"/>
                  <a:gd name="connsiteY36" fmla="*/ 1014412 h 2152650"/>
                  <a:gd name="connsiteX37" fmla="*/ 5360194 w 8801100"/>
                  <a:gd name="connsiteY37" fmla="*/ 1016794 h 2152650"/>
                  <a:gd name="connsiteX38" fmla="*/ 5264944 w 8801100"/>
                  <a:gd name="connsiteY38" fmla="*/ 995363 h 2152650"/>
                  <a:gd name="connsiteX39" fmla="*/ 5195887 w 8801100"/>
                  <a:gd name="connsiteY39" fmla="*/ 928687 h 2152650"/>
                  <a:gd name="connsiteX40" fmla="*/ 5160169 w 8801100"/>
                  <a:gd name="connsiteY40" fmla="*/ 885825 h 2152650"/>
                  <a:gd name="connsiteX41" fmla="*/ 5079206 w 8801100"/>
                  <a:gd name="connsiteY41" fmla="*/ 862012 h 2152650"/>
                  <a:gd name="connsiteX42" fmla="*/ 5005388 w 8801100"/>
                  <a:gd name="connsiteY42" fmla="*/ 873918 h 2152650"/>
                  <a:gd name="connsiteX43" fmla="*/ 4948237 w 8801100"/>
                  <a:gd name="connsiteY43" fmla="*/ 821531 h 2152650"/>
                  <a:gd name="connsiteX44" fmla="*/ 4852988 w 8801100"/>
                  <a:gd name="connsiteY44" fmla="*/ 833438 h 2152650"/>
                  <a:gd name="connsiteX45" fmla="*/ 4800600 w 8801100"/>
                  <a:gd name="connsiteY45" fmla="*/ 807244 h 2152650"/>
                  <a:gd name="connsiteX46" fmla="*/ 4719638 w 8801100"/>
                  <a:gd name="connsiteY46" fmla="*/ 850106 h 2152650"/>
                  <a:gd name="connsiteX47" fmla="*/ 4581525 w 8801100"/>
                  <a:gd name="connsiteY47" fmla="*/ 873919 h 2152650"/>
                  <a:gd name="connsiteX48" fmla="*/ 4452938 w 8801100"/>
                  <a:gd name="connsiteY48" fmla="*/ 966788 h 2152650"/>
                  <a:gd name="connsiteX49" fmla="*/ 4405312 w 8801100"/>
                  <a:gd name="connsiteY49" fmla="*/ 928688 h 2152650"/>
                  <a:gd name="connsiteX50" fmla="*/ 4383881 w 8801100"/>
                  <a:gd name="connsiteY50" fmla="*/ 959643 h 2152650"/>
                  <a:gd name="connsiteX51" fmla="*/ 4310063 w 8801100"/>
                  <a:gd name="connsiteY51" fmla="*/ 909638 h 2152650"/>
                  <a:gd name="connsiteX52" fmla="*/ 4271963 w 8801100"/>
                  <a:gd name="connsiteY52" fmla="*/ 916781 h 2152650"/>
                  <a:gd name="connsiteX53" fmla="*/ 4250531 w 8801100"/>
                  <a:gd name="connsiteY53" fmla="*/ 878681 h 2152650"/>
                  <a:gd name="connsiteX54" fmla="*/ 4191000 w 8801100"/>
                  <a:gd name="connsiteY54" fmla="*/ 883444 h 2152650"/>
                  <a:gd name="connsiteX55" fmla="*/ 4145756 w 8801100"/>
                  <a:gd name="connsiteY55" fmla="*/ 854869 h 2152650"/>
                  <a:gd name="connsiteX56" fmla="*/ 4107656 w 8801100"/>
                  <a:gd name="connsiteY56" fmla="*/ 852488 h 2152650"/>
                  <a:gd name="connsiteX57" fmla="*/ 4088606 w 8801100"/>
                  <a:gd name="connsiteY57" fmla="*/ 804862 h 2152650"/>
                  <a:gd name="connsiteX58" fmla="*/ 4074319 w 8801100"/>
                  <a:gd name="connsiteY58" fmla="*/ 773906 h 2152650"/>
                  <a:gd name="connsiteX59" fmla="*/ 4029075 w 8801100"/>
                  <a:gd name="connsiteY59" fmla="*/ 783431 h 2152650"/>
                  <a:gd name="connsiteX60" fmla="*/ 4010025 w 8801100"/>
                  <a:gd name="connsiteY60" fmla="*/ 747713 h 2152650"/>
                  <a:gd name="connsiteX61" fmla="*/ 4031457 w 8801100"/>
                  <a:gd name="connsiteY61" fmla="*/ 692944 h 2152650"/>
                  <a:gd name="connsiteX62" fmla="*/ 4000500 w 8801100"/>
                  <a:gd name="connsiteY62" fmla="*/ 666750 h 2152650"/>
                  <a:gd name="connsiteX63" fmla="*/ 4017169 w 8801100"/>
                  <a:gd name="connsiteY63" fmla="*/ 623888 h 2152650"/>
                  <a:gd name="connsiteX64" fmla="*/ 3990975 w 8801100"/>
                  <a:gd name="connsiteY64" fmla="*/ 581025 h 2152650"/>
                  <a:gd name="connsiteX65" fmla="*/ 3986213 w 8801100"/>
                  <a:gd name="connsiteY65" fmla="*/ 519113 h 2152650"/>
                  <a:gd name="connsiteX66" fmla="*/ 4010025 w 8801100"/>
                  <a:gd name="connsiteY66" fmla="*/ 454818 h 2152650"/>
                  <a:gd name="connsiteX67" fmla="*/ 3971925 w 8801100"/>
                  <a:gd name="connsiteY67" fmla="*/ 457200 h 2152650"/>
                  <a:gd name="connsiteX68" fmla="*/ 3852863 w 8801100"/>
                  <a:gd name="connsiteY68" fmla="*/ 400050 h 2152650"/>
                  <a:gd name="connsiteX69" fmla="*/ 3814762 w 8801100"/>
                  <a:gd name="connsiteY69" fmla="*/ 404812 h 2152650"/>
                  <a:gd name="connsiteX70" fmla="*/ 3609975 w 8801100"/>
                  <a:gd name="connsiteY70" fmla="*/ 295275 h 2152650"/>
                  <a:gd name="connsiteX71" fmla="*/ 3505200 w 8801100"/>
                  <a:gd name="connsiteY71" fmla="*/ 264319 h 2152650"/>
                  <a:gd name="connsiteX72" fmla="*/ 3440906 w 8801100"/>
                  <a:gd name="connsiteY72" fmla="*/ 273843 h 2152650"/>
                  <a:gd name="connsiteX73" fmla="*/ 3409950 w 8801100"/>
                  <a:gd name="connsiteY73" fmla="*/ 209550 h 2152650"/>
                  <a:gd name="connsiteX74" fmla="*/ 3352800 w 8801100"/>
                  <a:gd name="connsiteY74" fmla="*/ 209550 h 2152650"/>
                  <a:gd name="connsiteX75" fmla="*/ 3214687 w 8801100"/>
                  <a:gd name="connsiteY75" fmla="*/ 104775 h 2152650"/>
                  <a:gd name="connsiteX76" fmla="*/ 3181350 w 8801100"/>
                  <a:gd name="connsiteY76" fmla="*/ 164307 h 2152650"/>
                  <a:gd name="connsiteX77" fmla="*/ 3126581 w 8801100"/>
                  <a:gd name="connsiteY77" fmla="*/ 233363 h 2152650"/>
                  <a:gd name="connsiteX78" fmla="*/ 3083719 w 8801100"/>
                  <a:gd name="connsiteY78" fmla="*/ 250031 h 2152650"/>
                  <a:gd name="connsiteX79" fmla="*/ 3052763 w 8801100"/>
                  <a:gd name="connsiteY79" fmla="*/ 242888 h 2152650"/>
                  <a:gd name="connsiteX80" fmla="*/ 3028950 w 8801100"/>
                  <a:gd name="connsiteY80" fmla="*/ 271463 h 2152650"/>
                  <a:gd name="connsiteX81" fmla="*/ 3002756 w 8801100"/>
                  <a:gd name="connsiteY81" fmla="*/ 350044 h 2152650"/>
                  <a:gd name="connsiteX82" fmla="*/ 2959894 w 8801100"/>
                  <a:gd name="connsiteY82" fmla="*/ 347663 h 2152650"/>
                  <a:gd name="connsiteX83" fmla="*/ 2928937 w 8801100"/>
                  <a:gd name="connsiteY83" fmla="*/ 409575 h 2152650"/>
                  <a:gd name="connsiteX84" fmla="*/ 2924175 w 8801100"/>
                  <a:gd name="connsiteY84" fmla="*/ 473869 h 2152650"/>
                  <a:gd name="connsiteX85" fmla="*/ 2897982 w 8801100"/>
                  <a:gd name="connsiteY85" fmla="*/ 511969 h 2152650"/>
                  <a:gd name="connsiteX86" fmla="*/ 2924175 w 8801100"/>
                  <a:gd name="connsiteY86" fmla="*/ 571500 h 2152650"/>
                  <a:gd name="connsiteX87" fmla="*/ 2926556 w 8801100"/>
                  <a:gd name="connsiteY87" fmla="*/ 640556 h 2152650"/>
                  <a:gd name="connsiteX88" fmla="*/ 2955131 w 8801100"/>
                  <a:gd name="connsiteY88" fmla="*/ 692944 h 2152650"/>
                  <a:gd name="connsiteX89" fmla="*/ 3002757 w 8801100"/>
                  <a:gd name="connsiteY89" fmla="*/ 747713 h 2152650"/>
                  <a:gd name="connsiteX90" fmla="*/ 2952750 w 8801100"/>
                  <a:gd name="connsiteY90" fmla="*/ 885825 h 2152650"/>
                  <a:gd name="connsiteX91" fmla="*/ 2883694 w 8801100"/>
                  <a:gd name="connsiteY91" fmla="*/ 952500 h 2152650"/>
                  <a:gd name="connsiteX92" fmla="*/ 2812256 w 8801100"/>
                  <a:gd name="connsiteY92" fmla="*/ 947738 h 2152650"/>
                  <a:gd name="connsiteX93" fmla="*/ 2774156 w 8801100"/>
                  <a:gd name="connsiteY93" fmla="*/ 1004888 h 2152650"/>
                  <a:gd name="connsiteX94" fmla="*/ 2714625 w 8801100"/>
                  <a:gd name="connsiteY94" fmla="*/ 1019175 h 2152650"/>
                  <a:gd name="connsiteX95" fmla="*/ 2645569 w 8801100"/>
                  <a:gd name="connsiteY95" fmla="*/ 959644 h 2152650"/>
                  <a:gd name="connsiteX96" fmla="*/ 2590800 w 8801100"/>
                  <a:gd name="connsiteY96" fmla="*/ 931069 h 2152650"/>
                  <a:gd name="connsiteX97" fmla="*/ 2547938 w 8801100"/>
                  <a:gd name="connsiteY97" fmla="*/ 945356 h 2152650"/>
                  <a:gd name="connsiteX98" fmla="*/ 2495550 w 8801100"/>
                  <a:gd name="connsiteY98" fmla="*/ 928688 h 2152650"/>
                  <a:gd name="connsiteX99" fmla="*/ 2428875 w 8801100"/>
                  <a:gd name="connsiteY99" fmla="*/ 873919 h 2152650"/>
                  <a:gd name="connsiteX100" fmla="*/ 2383631 w 8801100"/>
                  <a:gd name="connsiteY100" fmla="*/ 885825 h 2152650"/>
                  <a:gd name="connsiteX101" fmla="*/ 2362200 w 8801100"/>
                  <a:gd name="connsiteY101" fmla="*/ 854869 h 2152650"/>
                  <a:gd name="connsiteX102" fmla="*/ 2305050 w 8801100"/>
                  <a:gd name="connsiteY102" fmla="*/ 895350 h 2152650"/>
                  <a:gd name="connsiteX103" fmla="*/ 2188369 w 8801100"/>
                  <a:gd name="connsiteY103" fmla="*/ 873919 h 2152650"/>
                  <a:gd name="connsiteX104" fmla="*/ 2138363 w 8801100"/>
                  <a:gd name="connsiteY104" fmla="*/ 821531 h 2152650"/>
                  <a:gd name="connsiteX105" fmla="*/ 2095500 w 8801100"/>
                  <a:gd name="connsiteY105" fmla="*/ 807244 h 2152650"/>
                  <a:gd name="connsiteX106" fmla="*/ 2052638 w 8801100"/>
                  <a:gd name="connsiteY106" fmla="*/ 833438 h 2152650"/>
                  <a:gd name="connsiteX107" fmla="*/ 2000250 w 8801100"/>
                  <a:gd name="connsiteY107" fmla="*/ 742950 h 2152650"/>
                  <a:gd name="connsiteX108" fmla="*/ 1990725 w 8801100"/>
                  <a:gd name="connsiteY108" fmla="*/ 595312 h 2152650"/>
                  <a:gd name="connsiteX109" fmla="*/ 1938337 w 8801100"/>
                  <a:gd name="connsiteY109" fmla="*/ 588168 h 2152650"/>
                  <a:gd name="connsiteX110" fmla="*/ 1847850 w 8801100"/>
                  <a:gd name="connsiteY110" fmla="*/ 578644 h 2152650"/>
                  <a:gd name="connsiteX111" fmla="*/ 1793081 w 8801100"/>
                  <a:gd name="connsiteY111" fmla="*/ 540544 h 2152650"/>
                  <a:gd name="connsiteX112" fmla="*/ 1724025 w 8801100"/>
                  <a:gd name="connsiteY112" fmla="*/ 550069 h 2152650"/>
                  <a:gd name="connsiteX113" fmla="*/ 1678781 w 8801100"/>
                  <a:gd name="connsiteY113" fmla="*/ 523875 h 2152650"/>
                  <a:gd name="connsiteX114" fmla="*/ 1669257 w 8801100"/>
                  <a:gd name="connsiteY114" fmla="*/ 452438 h 2152650"/>
                  <a:gd name="connsiteX115" fmla="*/ 1645444 w 8801100"/>
                  <a:gd name="connsiteY115" fmla="*/ 438150 h 2152650"/>
                  <a:gd name="connsiteX116" fmla="*/ 1607344 w 8801100"/>
                  <a:gd name="connsiteY116" fmla="*/ 485774 h 2152650"/>
                  <a:gd name="connsiteX117" fmla="*/ 1528762 w 8801100"/>
                  <a:gd name="connsiteY117" fmla="*/ 411956 h 2152650"/>
                  <a:gd name="connsiteX118" fmla="*/ 1488281 w 8801100"/>
                  <a:gd name="connsiteY118" fmla="*/ 452438 h 2152650"/>
                  <a:gd name="connsiteX119" fmla="*/ 1412081 w 8801100"/>
                  <a:gd name="connsiteY119" fmla="*/ 438150 h 2152650"/>
                  <a:gd name="connsiteX120" fmla="*/ 1333500 w 8801100"/>
                  <a:gd name="connsiteY120" fmla="*/ 464344 h 2152650"/>
                  <a:gd name="connsiteX121" fmla="*/ 1273969 w 8801100"/>
                  <a:gd name="connsiteY121" fmla="*/ 511968 h 2152650"/>
                  <a:gd name="connsiteX122" fmla="*/ 1200150 w 8801100"/>
                  <a:gd name="connsiteY122" fmla="*/ 523875 h 2152650"/>
                  <a:gd name="connsiteX123" fmla="*/ 1164431 w 8801100"/>
                  <a:gd name="connsiteY123" fmla="*/ 516731 h 2152650"/>
                  <a:gd name="connsiteX124" fmla="*/ 1085851 w 8801100"/>
                  <a:gd name="connsiteY124" fmla="*/ 547688 h 2152650"/>
                  <a:gd name="connsiteX125" fmla="*/ 1064419 w 8801100"/>
                  <a:gd name="connsiteY125" fmla="*/ 576263 h 2152650"/>
                  <a:gd name="connsiteX126" fmla="*/ 997744 w 8801100"/>
                  <a:gd name="connsiteY126" fmla="*/ 566738 h 2152650"/>
                  <a:gd name="connsiteX127" fmla="*/ 928688 w 8801100"/>
                  <a:gd name="connsiteY127" fmla="*/ 590550 h 2152650"/>
                  <a:gd name="connsiteX128" fmla="*/ 873919 w 8801100"/>
                  <a:gd name="connsiteY128" fmla="*/ 628650 h 2152650"/>
                  <a:gd name="connsiteX129" fmla="*/ 778669 w 8801100"/>
                  <a:gd name="connsiteY129" fmla="*/ 642937 h 2152650"/>
                  <a:gd name="connsiteX130" fmla="*/ 764381 w 8801100"/>
                  <a:gd name="connsiteY130" fmla="*/ 664369 h 2152650"/>
                  <a:gd name="connsiteX131" fmla="*/ 776287 w 8801100"/>
                  <a:gd name="connsiteY131" fmla="*/ 709613 h 2152650"/>
                  <a:gd name="connsiteX132" fmla="*/ 676276 w 8801100"/>
                  <a:gd name="connsiteY132" fmla="*/ 762000 h 2152650"/>
                  <a:gd name="connsiteX133" fmla="*/ 638175 w 8801100"/>
                  <a:gd name="connsiteY133" fmla="*/ 733424 h 2152650"/>
                  <a:gd name="connsiteX134" fmla="*/ 607219 w 8801100"/>
                  <a:gd name="connsiteY134" fmla="*/ 790575 h 2152650"/>
                  <a:gd name="connsiteX135" fmla="*/ 550069 w 8801100"/>
                  <a:gd name="connsiteY135" fmla="*/ 752475 h 2152650"/>
                  <a:gd name="connsiteX136" fmla="*/ 514350 w 8801100"/>
                  <a:gd name="connsiteY136" fmla="*/ 781050 h 2152650"/>
                  <a:gd name="connsiteX137" fmla="*/ 478631 w 8801100"/>
                  <a:gd name="connsiteY137" fmla="*/ 745331 h 2152650"/>
                  <a:gd name="connsiteX138" fmla="*/ 426244 w 8801100"/>
                  <a:gd name="connsiteY138" fmla="*/ 757238 h 2152650"/>
                  <a:gd name="connsiteX139" fmla="*/ 381000 w 8801100"/>
                  <a:gd name="connsiteY139" fmla="*/ 728663 h 2152650"/>
                  <a:gd name="connsiteX140" fmla="*/ 357188 w 8801100"/>
                  <a:gd name="connsiteY140" fmla="*/ 747713 h 2152650"/>
                  <a:gd name="connsiteX141" fmla="*/ 333375 w 8801100"/>
                  <a:gd name="connsiteY141" fmla="*/ 807244 h 2152650"/>
                  <a:gd name="connsiteX142" fmla="*/ 261938 w 8801100"/>
                  <a:gd name="connsiteY142" fmla="*/ 845343 h 2152650"/>
                  <a:gd name="connsiteX143" fmla="*/ 209550 w 8801100"/>
                  <a:gd name="connsiteY143" fmla="*/ 816769 h 2152650"/>
                  <a:gd name="connsiteX144" fmla="*/ 119063 w 8801100"/>
                  <a:gd name="connsiteY144" fmla="*/ 826294 h 2152650"/>
                  <a:gd name="connsiteX145" fmla="*/ 71437 w 8801100"/>
                  <a:gd name="connsiteY145" fmla="*/ 792957 h 2152650"/>
                  <a:gd name="connsiteX146" fmla="*/ 0 w 8801100"/>
                  <a:gd name="connsiteY146" fmla="*/ 812006 h 2152650"/>
                  <a:gd name="connsiteX147" fmla="*/ 4762 w 8801100"/>
                  <a:gd name="connsiteY147" fmla="*/ 0 h 2152650"/>
                  <a:gd name="connsiteX148" fmla="*/ 8024813 w 8801100"/>
                  <a:gd name="connsiteY148" fmla="*/ 2152650 h 2152650"/>
                  <a:gd name="connsiteX149" fmla="*/ 8134350 w 8801100"/>
                  <a:gd name="connsiteY149" fmla="*/ 2124075 h 2152650"/>
                  <a:gd name="connsiteX150" fmla="*/ 8143875 w 8801100"/>
                  <a:gd name="connsiteY150" fmla="*/ 2059781 h 2152650"/>
                  <a:gd name="connsiteX151" fmla="*/ 8184355 w 8801100"/>
                  <a:gd name="connsiteY151" fmla="*/ 2024063 h 2152650"/>
                  <a:gd name="connsiteX152" fmla="*/ 8243888 w 8801100"/>
                  <a:gd name="connsiteY152" fmla="*/ 2064543 h 2152650"/>
                  <a:gd name="connsiteX153" fmla="*/ 8270082 w 8801100"/>
                  <a:gd name="connsiteY153" fmla="*/ 2014537 h 2152650"/>
                  <a:gd name="connsiteX154" fmla="*/ 8365331 w 8801100"/>
                  <a:gd name="connsiteY154" fmla="*/ 1945481 h 2152650"/>
                  <a:gd name="connsiteX155" fmla="*/ 8427244 w 8801100"/>
                  <a:gd name="connsiteY155" fmla="*/ 1952625 h 2152650"/>
                  <a:gd name="connsiteX156" fmla="*/ 8477250 w 8801100"/>
                  <a:gd name="connsiteY156" fmla="*/ 1933575 h 2152650"/>
                  <a:gd name="connsiteX157" fmla="*/ 8515350 w 8801100"/>
                  <a:gd name="connsiteY157" fmla="*/ 1905000 h 2152650"/>
                  <a:gd name="connsiteX158" fmla="*/ 8548688 w 8801100"/>
                  <a:gd name="connsiteY158" fmla="*/ 1902619 h 2152650"/>
                  <a:gd name="connsiteX159" fmla="*/ 8584406 w 8801100"/>
                  <a:gd name="connsiteY159" fmla="*/ 1933575 h 2152650"/>
                  <a:gd name="connsiteX160" fmla="*/ 8643938 w 8801100"/>
                  <a:gd name="connsiteY160" fmla="*/ 1933575 h 2152650"/>
                  <a:gd name="connsiteX161" fmla="*/ 8682037 w 8801100"/>
                  <a:gd name="connsiteY161" fmla="*/ 1914525 h 2152650"/>
                  <a:gd name="connsiteX162" fmla="*/ 8765381 w 8801100"/>
                  <a:gd name="connsiteY162" fmla="*/ 1916907 h 2152650"/>
                  <a:gd name="connsiteX163" fmla="*/ 8796338 w 8801100"/>
                  <a:gd name="connsiteY163" fmla="*/ 1871663 h 2152650"/>
                  <a:gd name="connsiteX164" fmla="*/ 8801100 w 8801100"/>
                  <a:gd name="connsiteY164" fmla="*/ 1809750 h 2152650"/>
                  <a:gd name="connsiteX165" fmla="*/ 8751093 w 8801100"/>
                  <a:gd name="connsiteY165" fmla="*/ 1769269 h 2152650"/>
                  <a:gd name="connsiteX166" fmla="*/ 8734425 w 8801100"/>
                  <a:gd name="connsiteY166" fmla="*/ 1714500 h 2152650"/>
                  <a:gd name="connsiteX167" fmla="*/ 8643938 w 8801100"/>
                  <a:gd name="connsiteY167" fmla="*/ 1652588 h 2152650"/>
                  <a:gd name="connsiteX168" fmla="*/ 8603456 w 8801100"/>
                  <a:gd name="connsiteY168" fmla="*/ 1631156 h 2152650"/>
                  <a:gd name="connsiteX169" fmla="*/ 8565356 w 8801100"/>
                  <a:gd name="connsiteY169" fmla="*/ 1585913 h 2152650"/>
                  <a:gd name="connsiteX170" fmla="*/ 8534400 w 8801100"/>
                  <a:gd name="connsiteY170" fmla="*/ 1583531 h 2152650"/>
                  <a:gd name="connsiteX171" fmla="*/ 8517731 w 8801100"/>
                  <a:gd name="connsiteY171" fmla="*/ 1531144 h 2152650"/>
                  <a:gd name="connsiteX172" fmla="*/ 8477250 w 8801100"/>
                  <a:gd name="connsiteY172" fmla="*/ 1514475 h 2152650"/>
                  <a:gd name="connsiteX173" fmla="*/ 8477250 w 8801100"/>
                  <a:gd name="connsiteY173" fmla="*/ 1514475 h 2152650"/>
                  <a:gd name="connsiteX174" fmla="*/ 8436769 w 8801100"/>
                  <a:gd name="connsiteY174" fmla="*/ 1519238 h 2152650"/>
                  <a:gd name="connsiteX175" fmla="*/ 8351043 w 8801100"/>
                  <a:gd name="connsiteY175" fmla="*/ 1445419 h 2152650"/>
                  <a:gd name="connsiteX176" fmla="*/ 8170069 w 8801100"/>
                  <a:gd name="connsiteY176" fmla="*/ 1445418 h 2152650"/>
                  <a:gd name="connsiteX177" fmla="*/ 8117681 w 8801100"/>
                  <a:gd name="connsiteY177" fmla="*/ 1483519 h 2152650"/>
                  <a:gd name="connsiteX178" fmla="*/ 8067675 w 8801100"/>
                  <a:gd name="connsiteY178" fmla="*/ 1562100 h 2152650"/>
                  <a:gd name="connsiteX179" fmla="*/ 8084344 w 8801100"/>
                  <a:gd name="connsiteY179" fmla="*/ 1583531 h 2152650"/>
                  <a:gd name="connsiteX180" fmla="*/ 8039100 w 8801100"/>
                  <a:gd name="connsiteY180" fmla="*/ 1633537 h 2152650"/>
                  <a:gd name="connsiteX181" fmla="*/ 7889081 w 8801100"/>
                  <a:gd name="connsiteY181" fmla="*/ 1557337 h 2152650"/>
                  <a:gd name="connsiteX182" fmla="*/ 7798594 w 8801100"/>
                  <a:gd name="connsiteY182" fmla="*/ 1593056 h 2152650"/>
                  <a:gd name="connsiteX183" fmla="*/ 7724775 w 8801100"/>
                  <a:gd name="connsiteY183" fmla="*/ 1590675 h 2152650"/>
                  <a:gd name="connsiteX184" fmla="*/ 7667625 w 8801100"/>
                  <a:gd name="connsiteY184" fmla="*/ 1685925 h 2152650"/>
                  <a:gd name="connsiteX185" fmla="*/ 7529513 w 8801100"/>
                  <a:gd name="connsiteY185" fmla="*/ 1588294 h 2152650"/>
                  <a:gd name="connsiteX0" fmla="*/ 7529513 w 8801100"/>
                  <a:gd name="connsiteY0" fmla="*/ 1588294 h 2152650"/>
                  <a:gd name="connsiteX1" fmla="*/ 7522369 w 8801100"/>
                  <a:gd name="connsiteY1" fmla="*/ 1533525 h 2152650"/>
                  <a:gd name="connsiteX2" fmla="*/ 7589044 w 8801100"/>
                  <a:gd name="connsiteY2" fmla="*/ 1459706 h 2152650"/>
                  <a:gd name="connsiteX3" fmla="*/ 7572375 w 8801100"/>
                  <a:gd name="connsiteY3" fmla="*/ 1388269 h 2152650"/>
                  <a:gd name="connsiteX4" fmla="*/ 7586663 w 8801100"/>
                  <a:gd name="connsiteY4" fmla="*/ 1293019 h 2152650"/>
                  <a:gd name="connsiteX5" fmla="*/ 7624763 w 8801100"/>
                  <a:gd name="connsiteY5" fmla="*/ 1235869 h 2152650"/>
                  <a:gd name="connsiteX6" fmla="*/ 7605712 w 8801100"/>
                  <a:gd name="connsiteY6" fmla="*/ 1202531 h 2152650"/>
                  <a:gd name="connsiteX7" fmla="*/ 7703343 w 8801100"/>
                  <a:gd name="connsiteY7" fmla="*/ 802481 h 2152650"/>
                  <a:gd name="connsiteX8" fmla="*/ 7696200 w 8801100"/>
                  <a:gd name="connsiteY8" fmla="*/ 773906 h 2152650"/>
                  <a:gd name="connsiteX9" fmla="*/ 7567613 w 8801100"/>
                  <a:gd name="connsiteY9" fmla="*/ 752475 h 2152650"/>
                  <a:gd name="connsiteX10" fmla="*/ 7384257 w 8801100"/>
                  <a:gd name="connsiteY10" fmla="*/ 831056 h 2152650"/>
                  <a:gd name="connsiteX11" fmla="*/ 7227093 w 8801100"/>
                  <a:gd name="connsiteY11" fmla="*/ 716756 h 2152650"/>
                  <a:gd name="connsiteX12" fmla="*/ 7150894 w 8801100"/>
                  <a:gd name="connsiteY12" fmla="*/ 723900 h 2152650"/>
                  <a:gd name="connsiteX13" fmla="*/ 7077075 w 8801100"/>
                  <a:gd name="connsiteY13" fmla="*/ 719138 h 2152650"/>
                  <a:gd name="connsiteX14" fmla="*/ 6938963 w 8801100"/>
                  <a:gd name="connsiteY14" fmla="*/ 823913 h 2152650"/>
                  <a:gd name="connsiteX15" fmla="*/ 6831806 w 8801100"/>
                  <a:gd name="connsiteY15" fmla="*/ 931069 h 2152650"/>
                  <a:gd name="connsiteX16" fmla="*/ 6788944 w 8801100"/>
                  <a:gd name="connsiteY16" fmla="*/ 1000125 h 2152650"/>
                  <a:gd name="connsiteX17" fmla="*/ 6796088 w 8801100"/>
                  <a:gd name="connsiteY17" fmla="*/ 1035844 h 2152650"/>
                  <a:gd name="connsiteX18" fmla="*/ 6734175 w 8801100"/>
                  <a:gd name="connsiteY18" fmla="*/ 1047750 h 2152650"/>
                  <a:gd name="connsiteX19" fmla="*/ 6753225 w 8801100"/>
                  <a:gd name="connsiteY19" fmla="*/ 1047750 h 2152650"/>
                  <a:gd name="connsiteX20" fmla="*/ 6719888 w 8801100"/>
                  <a:gd name="connsiteY20" fmla="*/ 1078706 h 2152650"/>
                  <a:gd name="connsiteX21" fmla="*/ 6619875 w 8801100"/>
                  <a:gd name="connsiteY21" fmla="*/ 1078707 h 2152650"/>
                  <a:gd name="connsiteX22" fmla="*/ 6524625 w 8801100"/>
                  <a:gd name="connsiteY22" fmla="*/ 1133475 h 2152650"/>
                  <a:gd name="connsiteX23" fmla="*/ 6443663 w 8801100"/>
                  <a:gd name="connsiteY23" fmla="*/ 1143000 h 2152650"/>
                  <a:gd name="connsiteX24" fmla="*/ 6403181 w 8801100"/>
                  <a:gd name="connsiteY24" fmla="*/ 1176338 h 2152650"/>
                  <a:gd name="connsiteX25" fmla="*/ 6353175 w 8801100"/>
                  <a:gd name="connsiteY25" fmla="*/ 1181100 h 2152650"/>
                  <a:gd name="connsiteX26" fmla="*/ 6231732 w 8801100"/>
                  <a:gd name="connsiteY26" fmla="*/ 1273969 h 2152650"/>
                  <a:gd name="connsiteX27" fmla="*/ 6172200 w 8801100"/>
                  <a:gd name="connsiteY27" fmla="*/ 1278731 h 2152650"/>
                  <a:gd name="connsiteX28" fmla="*/ 6119813 w 8801100"/>
                  <a:gd name="connsiteY28" fmla="*/ 1243013 h 2152650"/>
                  <a:gd name="connsiteX29" fmla="*/ 6093619 w 8801100"/>
                  <a:gd name="connsiteY29" fmla="*/ 1278731 h 2152650"/>
                  <a:gd name="connsiteX30" fmla="*/ 5895975 w 8801100"/>
                  <a:gd name="connsiteY30" fmla="*/ 1271588 h 2152650"/>
                  <a:gd name="connsiteX31" fmla="*/ 5834063 w 8801100"/>
                  <a:gd name="connsiteY31" fmla="*/ 1226344 h 2152650"/>
                  <a:gd name="connsiteX32" fmla="*/ 5636419 w 8801100"/>
                  <a:gd name="connsiteY32" fmla="*/ 1243013 h 2152650"/>
                  <a:gd name="connsiteX33" fmla="*/ 5548313 w 8801100"/>
                  <a:gd name="connsiteY33" fmla="*/ 1159668 h 2152650"/>
                  <a:gd name="connsiteX34" fmla="*/ 5472113 w 8801100"/>
                  <a:gd name="connsiteY34" fmla="*/ 1114425 h 2152650"/>
                  <a:gd name="connsiteX35" fmla="*/ 5474493 w 8801100"/>
                  <a:gd name="connsiteY35" fmla="*/ 1057275 h 2152650"/>
                  <a:gd name="connsiteX36" fmla="*/ 5455444 w 8801100"/>
                  <a:gd name="connsiteY36" fmla="*/ 1014412 h 2152650"/>
                  <a:gd name="connsiteX37" fmla="*/ 5360194 w 8801100"/>
                  <a:gd name="connsiteY37" fmla="*/ 1016794 h 2152650"/>
                  <a:gd name="connsiteX38" fmla="*/ 5264944 w 8801100"/>
                  <a:gd name="connsiteY38" fmla="*/ 995363 h 2152650"/>
                  <a:gd name="connsiteX39" fmla="*/ 5195887 w 8801100"/>
                  <a:gd name="connsiteY39" fmla="*/ 928687 h 2152650"/>
                  <a:gd name="connsiteX40" fmla="*/ 5160169 w 8801100"/>
                  <a:gd name="connsiteY40" fmla="*/ 885825 h 2152650"/>
                  <a:gd name="connsiteX41" fmla="*/ 5079206 w 8801100"/>
                  <a:gd name="connsiteY41" fmla="*/ 862012 h 2152650"/>
                  <a:gd name="connsiteX42" fmla="*/ 5005388 w 8801100"/>
                  <a:gd name="connsiteY42" fmla="*/ 873918 h 2152650"/>
                  <a:gd name="connsiteX43" fmla="*/ 4948237 w 8801100"/>
                  <a:gd name="connsiteY43" fmla="*/ 821531 h 2152650"/>
                  <a:gd name="connsiteX44" fmla="*/ 4852988 w 8801100"/>
                  <a:gd name="connsiteY44" fmla="*/ 833438 h 2152650"/>
                  <a:gd name="connsiteX45" fmla="*/ 4800600 w 8801100"/>
                  <a:gd name="connsiteY45" fmla="*/ 807244 h 2152650"/>
                  <a:gd name="connsiteX46" fmla="*/ 4719638 w 8801100"/>
                  <a:gd name="connsiteY46" fmla="*/ 850106 h 2152650"/>
                  <a:gd name="connsiteX47" fmla="*/ 4581525 w 8801100"/>
                  <a:gd name="connsiteY47" fmla="*/ 873919 h 2152650"/>
                  <a:gd name="connsiteX48" fmla="*/ 4452938 w 8801100"/>
                  <a:gd name="connsiteY48" fmla="*/ 966788 h 2152650"/>
                  <a:gd name="connsiteX49" fmla="*/ 4405312 w 8801100"/>
                  <a:gd name="connsiteY49" fmla="*/ 928688 h 2152650"/>
                  <a:gd name="connsiteX50" fmla="*/ 4383881 w 8801100"/>
                  <a:gd name="connsiteY50" fmla="*/ 959643 h 2152650"/>
                  <a:gd name="connsiteX51" fmla="*/ 4310063 w 8801100"/>
                  <a:gd name="connsiteY51" fmla="*/ 909638 h 2152650"/>
                  <a:gd name="connsiteX52" fmla="*/ 4271963 w 8801100"/>
                  <a:gd name="connsiteY52" fmla="*/ 916781 h 2152650"/>
                  <a:gd name="connsiteX53" fmla="*/ 4250531 w 8801100"/>
                  <a:gd name="connsiteY53" fmla="*/ 878681 h 2152650"/>
                  <a:gd name="connsiteX54" fmla="*/ 4191000 w 8801100"/>
                  <a:gd name="connsiteY54" fmla="*/ 883444 h 2152650"/>
                  <a:gd name="connsiteX55" fmla="*/ 4145756 w 8801100"/>
                  <a:gd name="connsiteY55" fmla="*/ 854869 h 2152650"/>
                  <a:gd name="connsiteX56" fmla="*/ 4107656 w 8801100"/>
                  <a:gd name="connsiteY56" fmla="*/ 852488 h 2152650"/>
                  <a:gd name="connsiteX57" fmla="*/ 4088606 w 8801100"/>
                  <a:gd name="connsiteY57" fmla="*/ 804862 h 2152650"/>
                  <a:gd name="connsiteX58" fmla="*/ 4074319 w 8801100"/>
                  <a:gd name="connsiteY58" fmla="*/ 773906 h 2152650"/>
                  <a:gd name="connsiteX59" fmla="*/ 4029075 w 8801100"/>
                  <a:gd name="connsiteY59" fmla="*/ 783431 h 2152650"/>
                  <a:gd name="connsiteX60" fmla="*/ 4010025 w 8801100"/>
                  <a:gd name="connsiteY60" fmla="*/ 747713 h 2152650"/>
                  <a:gd name="connsiteX61" fmla="*/ 4031457 w 8801100"/>
                  <a:gd name="connsiteY61" fmla="*/ 692944 h 2152650"/>
                  <a:gd name="connsiteX62" fmla="*/ 4000500 w 8801100"/>
                  <a:gd name="connsiteY62" fmla="*/ 666750 h 2152650"/>
                  <a:gd name="connsiteX63" fmla="*/ 4017169 w 8801100"/>
                  <a:gd name="connsiteY63" fmla="*/ 623888 h 2152650"/>
                  <a:gd name="connsiteX64" fmla="*/ 3990975 w 8801100"/>
                  <a:gd name="connsiteY64" fmla="*/ 581025 h 2152650"/>
                  <a:gd name="connsiteX65" fmla="*/ 3986213 w 8801100"/>
                  <a:gd name="connsiteY65" fmla="*/ 519113 h 2152650"/>
                  <a:gd name="connsiteX66" fmla="*/ 4010025 w 8801100"/>
                  <a:gd name="connsiteY66" fmla="*/ 454818 h 2152650"/>
                  <a:gd name="connsiteX67" fmla="*/ 3971925 w 8801100"/>
                  <a:gd name="connsiteY67" fmla="*/ 457200 h 2152650"/>
                  <a:gd name="connsiteX68" fmla="*/ 3852863 w 8801100"/>
                  <a:gd name="connsiteY68" fmla="*/ 400050 h 2152650"/>
                  <a:gd name="connsiteX69" fmla="*/ 3814762 w 8801100"/>
                  <a:gd name="connsiteY69" fmla="*/ 404812 h 2152650"/>
                  <a:gd name="connsiteX70" fmla="*/ 3609975 w 8801100"/>
                  <a:gd name="connsiteY70" fmla="*/ 295275 h 2152650"/>
                  <a:gd name="connsiteX71" fmla="*/ 3505200 w 8801100"/>
                  <a:gd name="connsiteY71" fmla="*/ 264319 h 2152650"/>
                  <a:gd name="connsiteX72" fmla="*/ 3440906 w 8801100"/>
                  <a:gd name="connsiteY72" fmla="*/ 273843 h 2152650"/>
                  <a:gd name="connsiteX73" fmla="*/ 3409950 w 8801100"/>
                  <a:gd name="connsiteY73" fmla="*/ 209550 h 2152650"/>
                  <a:gd name="connsiteX74" fmla="*/ 3352800 w 8801100"/>
                  <a:gd name="connsiteY74" fmla="*/ 209550 h 2152650"/>
                  <a:gd name="connsiteX75" fmla="*/ 3214687 w 8801100"/>
                  <a:gd name="connsiteY75" fmla="*/ 104775 h 2152650"/>
                  <a:gd name="connsiteX76" fmla="*/ 3181350 w 8801100"/>
                  <a:gd name="connsiteY76" fmla="*/ 164307 h 2152650"/>
                  <a:gd name="connsiteX77" fmla="*/ 3126581 w 8801100"/>
                  <a:gd name="connsiteY77" fmla="*/ 233363 h 2152650"/>
                  <a:gd name="connsiteX78" fmla="*/ 3083719 w 8801100"/>
                  <a:gd name="connsiteY78" fmla="*/ 250031 h 2152650"/>
                  <a:gd name="connsiteX79" fmla="*/ 3052763 w 8801100"/>
                  <a:gd name="connsiteY79" fmla="*/ 242888 h 2152650"/>
                  <a:gd name="connsiteX80" fmla="*/ 3028950 w 8801100"/>
                  <a:gd name="connsiteY80" fmla="*/ 271463 h 2152650"/>
                  <a:gd name="connsiteX81" fmla="*/ 3002756 w 8801100"/>
                  <a:gd name="connsiteY81" fmla="*/ 350044 h 2152650"/>
                  <a:gd name="connsiteX82" fmla="*/ 2959894 w 8801100"/>
                  <a:gd name="connsiteY82" fmla="*/ 347663 h 2152650"/>
                  <a:gd name="connsiteX83" fmla="*/ 2928937 w 8801100"/>
                  <a:gd name="connsiteY83" fmla="*/ 409575 h 2152650"/>
                  <a:gd name="connsiteX84" fmla="*/ 2924175 w 8801100"/>
                  <a:gd name="connsiteY84" fmla="*/ 473869 h 2152650"/>
                  <a:gd name="connsiteX85" fmla="*/ 2897982 w 8801100"/>
                  <a:gd name="connsiteY85" fmla="*/ 511969 h 2152650"/>
                  <a:gd name="connsiteX86" fmla="*/ 2924175 w 8801100"/>
                  <a:gd name="connsiteY86" fmla="*/ 571500 h 2152650"/>
                  <a:gd name="connsiteX87" fmla="*/ 2926556 w 8801100"/>
                  <a:gd name="connsiteY87" fmla="*/ 640556 h 2152650"/>
                  <a:gd name="connsiteX88" fmla="*/ 2955131 w 8801100"/>
                  <a:gd name="connsiteY88" fmla="*/ 692944 h 2152650"/>
                  <a:gd name="connsiteX89" fmla="*/ 3002757 w 8801100"/>
                  <a:gd name="connsiteY89" fmla="*/ 747713 h 2152650"/>
                  <a:gd name="connsiteX90" fmla="*/ 2952750 w 8801100"/>
                  <a:gd name="connsiteY90" fmla="*/ 885825 h 2152650"/>
                  <a:gd name="connsiteX91" fmla="*/ 2883694 w 8801100"/>
                  <a:gd name="connsiteY91" fmla="*/ 952500 h 2152650"/>
                  <a:gd name="connsiteX92" fmla="*/ 2812256 w 8801100"/>
                  <a:gd name="connsiteY92" fmla="*/ 947738 h 2152650"/>
                  <a:gd name="connsiteX93" fmla="*/ 2774156 w 8801100"/>
                  <a:gd name="connsiteY93" fmla="*/ 1004888 h 2152650"/>
                  <a:gd name="connsiteX94" fmla="*/ 2714625 w 8801100"/>
                  <a:gd name="connsiteY94" fmla="*/ 1019175 h 2152650"/>
                  <a:gd name="connsiteX95" fmla="*/ 2645569 w 8801100"/>
                  <a:gd name="connsiteY95" fmla="*/ 959644 h 2152650"/>
                  <a:gd name="connsiteX96" fmla="*/ 2590800 w 8801100"/>
                  <a:gd name="connsiteY96" fmla="*/ 931069 h 2152650"/>
                  <a:gd name="connsiteX97" fmla="*/ 2547938 w 8801100"/>
                  <a:gd name="connsiteY97" fmla="*/ 945356 h 2152650"/>
                  <a:gd name="connsiteX98" fmla="*/ 2495550 w 8801100"/>
                  <a:gd name="connsiteY98" fmla="*/ 928688 h 2152650"/>
                  <a:gd name="connsiteX99" fmla="*/ 2428875 w 8801100"/>
                  <a:gd name="connsiteY99" fmla="*/ 873919 h 2152650"/>
                  <a:gd name="connsiteX100" fmla="*/ 2383631 w 8801100"/>
                  <a:gd name="connsiteY100" fmla="*/ 885825 h 2152650"/>
                  <a:gd name="connsiteX101" fmla="*/ 2362200 w 8801100"/>
                  <a:gd name="connsiteY101" fmla="*/ 854869 h 2152650"/>
                  <a:gd name="connsiteX102" fmla="*/ 2305050 w 8801100"/>
                  <a:gd name="connsiteY102" fmla="*/ 895350 h 2152650"/>
                  <a:gd name="connsiteX103" fmla="*/ 2188369 w 8801100"/>
                  <a:gd name="connsiteY103" fmla="*/ 873919 h 2152650"/>
                  <a:gd name="connsiteX104" fmla="*/ 2138363 w 8801100"/>
                  <a:gd name="connsiteY104" fmla="*/ 821531 h 2152650"/>
                  <a:gd name="connsiteX105" fmla="*/ 2095500 w 8801100"/>
                  <a:gd name="connsiteY105" fmla="*/ 807244 h 2152650"/>
                  <a:gd name="connsiteX106" fmla="*/ 2052638 w 8801100"/>
                  <a:gd name="connsiteY106" fmla="*/ 833438 h 2152650"/>
                  <a:gd name="connsiteX107" fmla="*/ 2000250 w 8801100"/>
                  <a:gd name="connsiteY107" fmla="*/ 742950 h 2152650"/>
                  <a:gd name="connsiteX108" fmla="*/ 1990725 w 8801100"/>
                  <a:gd name="connsiteY108" fmla="*/ 595312 h 2152650"/>
                  <a:gd name="connsiteX109" fmla="*/ 1938337 w 8801100"/>
                  <a:gd name="connsiteY109" fmla="*/ 588168 h 2152650"/>
                  <a:gd name="connsiteX110" fmla="*/ 1847850 w 8801100"/>
                  <a:gd name="connsiteY110" fmla="*/ 578644 h 2152650"/>
                  <a:gd name="connsiteX111" fmla="*/ 1793081 w 8801100"/>
                  <a:gd name="connsiteY111" fmla="*/ 540544 h 2152650"/>
                  <a:gd name="connsiteX112" fmla="*/ 1724025 w 8801100"/>
                  <a:gd name="connsiteY112" fmla="*/ 550069 h 2152650"/>
                  <a:gd name="connsiteX113" fmla="*/ 1678781 w 8801100"/>
                  <a:gd name="connsiteY113" fmla="*/ 523875 h 2152650"/>
                  <a:gd name="connsiteX114" fmla="*/ 1669257 w 8801100"/>
                  <a:gd name="connsiteY114" fmla="*/ 452438 h 2152650"/>
                  <a:gd name="connsiteX115" fmla="*/ 1645444 w 8801100"/>
                  <a:gd name="connsiteY115" fmla="*/ 438150 h 2152650"/>
                  <a:gd name="connsiteX116" fmla="*/ 1607344 w 8801100"/>
                  <a:gd name="connsiteY116" fmla="*/ 485774 h 2152650"/>
                  <a:gd name="connsiteX117" fmla="*/ 1528762 w 8801100"/>
                  <a:gd name="connsiteY117" fmla="*/ 411956 h 2152650"/>
                  <a:gd name="connsiteX118" fmla="*/ 1488281 w 8801100"/>
                  <a:gd name="connsiteY118" fmla="*/ 452438 h 2152650"/>
                  <a:gd name="connsiteX119" fmla="*/ 1412081 w 8801100"/>
                  <a:gd name="connsiteY119" fmla="*/ 438150 h 2152650"/>
                  <a:gd name="connsiteX120" fmla="*/ 1333500 w 8801100"/>
                  <a:gd name="connsiteY120" fmla="*/ 464344 h 2152650"/>
                  <a:gd name="connsiteX121" fmla="*/ 1273969 w 8801100"/>
                  <a:gd name="connsiteY121" fmla="*/ 511968 h 2152650"/>
                  <a:gd name="connsiteX122" fmla="*/ 1200150 w 8801100"/>
                  <a:gd name="connsiteY122" fmla="*/ 523875 h 2152650"/>
                  <a:gd name="connsiteX123" fmla="*/ 1164431 w 8801100"/>
                  <a:gd name="connsiteY123" fmla="*/ 516731 h 2152650"/>
                  <a:gd name="connsiteX124" fmla="*/ 1085851 w 8801100"/>
                  <a:gd name="connsiteY124" fmla="*/ 547688 h 2152650"/>
                  <a:gd name="connsiteX125" fmla="*/ 1064419 w 8801100"/>
                  <a:gd name="connsiteY125" fmla="*/ 576263 h 2152650"/>
                  <a:gd name="connsiteX126" fmla="*/ 997744 w 8801100"/>
                  <a:gd name="connsiteY126" fmla="*/ 566738 h 2152650"/>
                  <a:gd name="connsiteX127" fmla="*/ 928688 w 8801100"/>
                  <a:gd name="connsiteY127" fmla="*/ 590550 h 2152650"/>
                  <a:gd name="connsiteX128" fmla="*/ 873919 w 8801100"/>
                  <a:gd name="connsiteY128" fmla="*/ 628650 h 2152650"/>
                  <a:gd name="connsiteX129" fmla="*/ 778669 w 8801100"/>
                  <a:gd name="connsiteY129" fmla="*/ 642937 h 2152650"/>
                  <a:gd name="connsiteX130" fmla="*/ 764381 w 8801100"/>
                  <a:gd name="connsiteY130" fmla="*/ 664369 h 2152650"/>
                  <a:gd name="connsiteX131" fmla="*/ 776287 w 8801100"/>
                  <a:gd name="connsiteY131" fmla="*/ 709613 h 2152650"/>
                  <a:gd name="connsiteX132" fmla="*/ 676276 w 8801100"/>
                  <a:gd name="connsiteY132" fmla="*/ 762000 h 2152650"/>
                  <a:gd name="connsiteX133" fmla="*/ 638175 w 8801100"/>
                  <a:gd name="connsiteY133" fmla="*/ 733424 h 2152650"/>
                  <a:gd name="connsiteX134" fmla="*/ 607219 w 8801100"/>
                  <a:gd name="connsiteY134" fmla="*/ 790575 h 2152650"/>
                  <a:gd name="connsiteX135" fmla="*/ 550069 w 8801100"/>
                  <a:gd name="connsiteY135" fmla="*/ 752475 h 2152650"/>
                  <a:gd name="connsiteX136" fmla="*/ 514350 w 8801100"/>
                  <a:gd name="connsiteY136" fmla="*/ 781050 h 2152650"/>
                  <a:gd name="connsiteX137" fmla="*/ 478631 w 8801100"/>
                  <a:gd name="connsiteY137" fmla="*/ 745331 h 2152650"/>
                  <a:gd name="connsiteX138" fmla="*/ 426244 w 8801100"/>
                  <a:gd name="connsiteY138" fmla="*/ 757238 h 2152650"/>
                  <a:gd name="connsiteX139" fmla="*/ 381000 w 8801100"/>
                  <a:gd name="connsiteY139" fmla="*/ 728663 h 2152650"/>
                  <a:gd name="connsiteX140" fmla="*/ 357188 w 8801100"/>
                  <a:gd name="connsiteY140" fmla="*/ 747713 h 2152650"/>
                  <a:gd name="connsiteX141" fmla="*/ 333375 w 8801100"/>
                  <a:gd name="connsiteY141" fmla="*/ 807244 h 2152650"/>
                  <a:gd name="connsiteX142" fmla="*/ 261938 w 8801100"/>
                  <a:gd name="connsiteY142" fmla="*/ 845343 h 2152650"/>
                  <a:gd name="connsiteX143" fmla="*/ 209550 w 8801100"/>
                  <a:gd name="connsiteY143" fmla="*/ 816769 h 2152650"/>
                  <a:gd name="connsiteX144" fmla="*/ 119063 w 8801100"/>
                  <a:gd name="connsiteY144" fmla="*/ 826294 h 2152650"/>
                  <a:gd name="connsiteX145" fmla="*/ 71437 w 8801100"/>
                  <a:gd name="connsiteY145" fmla="*/ 792957 h 2152650"/>
                  <a:gd name="connsiteX146" fmla="*/ 0 w 8801100"/>
                  <a:gd name="connsiteY146" fmla="*/ 812006 h 2152650"/>
                  <a:gd name="connsiteX147" fmla="*/ 4762 w 8801100"/>
                  <a:gd name="connsiteY147" fmla="*/ 0 h 2152650"/>
                  <a:gd name="connsiteX148" fmla="*/ 8024813 w 8801100"/>
                  <a:gd name="connsiteY148" fmla="*/ 2152650 h 2152650"/>
                  <a:gd name="connsiteX149" fmla="*/ 8134350 w 8801100"/>
                  <a:gd name="connsiteY149" fmla="*/ 2124075 h 2152650"/>
                  <a:gd name="connsiteX150" fmla="*/ 8184355 w 8801100"/>
                  <a:gd name="connsiteY150" fmla="*/ 2024063 h 2152650"/>
                  <a:gd name="connsiteX151" fmla="*/ 8243888 w 8801100"/>
                  <a:gd name="connsiteY151" fmla="*/ 2064543 h 2152650"/>
                  <a:gd name="connsiteX152" fmla="*/ 8270082 w 8801100"/>
                  <a:gd name="connsiteY152" fmla="*/ 2014537 h 2152650"/>
                  <a:gd name="connsiteX153" fmla="*/ 8365331 w 8801100"/>
                  <a:gd name="connsiteY153" fmla="*/ 1945481 h 2152650"/>
                  <a:gd name="connsiteX154" fmla="*/ 8427244 w 8801100"/>
                  <a:gd name="connsiteY154" fmla="*/ 1952625 h 2152650"/>
                  <a:gd name="connsiteX155" fmla="*/ 8477250 w 8801100"/>
                  <a:gd name="connsiteY155" fmla="*/ 1933575 h 2152650"/>
                  <a:gd name="connsiteX156" fmla="*/ 8515350 w 8801100"/>
                  <a:gd name="connsiteY156" fmla="*/ 1905000 h 2152650"/>
                  <a:gd name="connsiteX157" fmla="*/ 8548688 w 8801100"/>
                  <a:gd name="connsiteY157" fmla="*/ 1902619 h 2152650"/>
                  <a:gd name="connsiteX158" fmla="*/ 8584406 w 8801100"/>
                  <a:gd name="connsiteY158" fmla="*/ 1933575 h 2152650"/>
                  <a:gd name="connsiteX159" fmla="*/ 8643938 w 8801100"/>
                  <a:gd name="connsiteY159" fmla="*/ 1933575 h 2152650"/>
                  <a:gd name="connsiteX160" fmla="*/ 8682037 w 8801100"/>
                  <a:gd name="connsiteY160" fmla="*/ 1914525 h 2152650"/>
                  <a:gd name="connsiteX161" fmla="*/ 8765381 w 8801100"/>
                  <a:gd name="connsiteY161" fmla="*/ 1916907 h 2152650"/>
                  <a:gd name="connsiteX162" fmla="*/ 8796338 w 8801100"/>
                  <a:gd name="connsiteY162" fmla="*/ 1871663 h 2152650"/>
                  <a:gd name="connsiteX163" fmla="*/ 8801100 w 8801100"/>
                  <a:gd name="connsiteY163" fmla="*/ 1809750 h 2152650"/>
                  <a:gd name="connsiteX164" fmla="*/ 8751093 w 8801100"/>
                  <a:gd name="connsiteY164" fmla="*/ 1769269 h 2152650"/>
                  <a:gd name="connsiteX165" fmla="*/ 8734425 w 8801100"/>
                  <a:gd name="connsiteY165" fmla="*/ 1714500 h 2152650"/>
                  <a:gd name="connsiteX166" fmla="*/ 8643938 w 8801100"/>
                  <a:gd name="connsiteY166" fmla="*/ 1652588 h 2152650"/>
                  <a:gd name="connsiteX167" fmla="*/ 8603456 w 8801100"/>
                  <a:gd name="connsiteY167" fmla="*/ 1631156 h 2152650"/>
                  <a:gd name="connsiteX168" fmla="*/ 8565356 w 8801100"/>
                  <a:gd name="connsiteY168" fmla="*/ 1585913 h 2152650"/>
                  <a:gd name="connsiteX169" fmla="*/ 8534400 w 8801100"/>
                  <a:gd name="connsiteY169" fmla="*/ 1583531 h 2152650"/>
                  <a:gd name="connsiteX170" fmla="*/ 8517731 w 8801100"/>
                  <a:gd name="connsiteY170" fmla="*/ 1531144 h 2152650"/>
                  <a:gd name="connsiteX171" fmla="*/ 8477250 w 8801100"/>
                  <a:gd name="connsiteY171" fmla="*/ 1514475 h 2152650"/>
                  <a:gd name="connsiteX172" fmla="*/ 8477250 w 8801100"/>
                  <a:gd name="connsiteY172" fmla="*/ 1514475 h 2152650"/>
                  <a:gd name="connsiteX173" fmla="*/ 8436769 w 8801100"/>
                  <a:gd name="connsiteY173" fmla="*/ 1519238 h 2152650"/>
                  <a:gd name="connsiteX174" fmla="*/ 8351043 w 8801100"/>
                  <a:gd name="connsiteY174" fmla="*/ 1445419 h 2152650"/>
                  <a:gd name="connsiteX175" fmla="*/ 8170069 w 8801100"/>
                  <a:gd name="connsiteY175" fmla="*/ 1445418 h 2152650"/>
                  <a:gd name="connsiteX176" fmla="*/ 8117681 w 8801100"/>
                  <a:gd name="connsiteY176" fmla="*/ 1483519 h 2152650"/>
                  <a:gd name="connsiteX177" fmla="*/ 8067675 w 8801100"/>
                  <a:gd name="connsiteY177" fmla="*/ 1562100 h 2152650"/>
                  <a:gd name="connsiteX178" fmla="*/ 8084344 w 8801100"/>
                  <a:gd name="connsiteY178" fmla="*/ 1583531 h 2152650"/>
                  <a:gd name="connsiteX179" fmla="*/ 8039100 w 8801100"/>
                  <a:gd name="connsiteY179" fmla="*/ 1633537 h 2152650"/>
                  <a:gd name="connsiteX180" fmla="*/ 7889081 w 8801100"/>
                  <a:gd name="connsiteY180" fmla="*/ 1557337 h 2152650"/>
                  <a:gd name="connsiteX181" fmla="*/ 7798594 w 8801100"/>
                  <a:gd name="connsiteY181" fmla="*/ 1593056 h 2152650"/>
                  <a:gd name="connsiteX182" fmla="*/ 7724775 w 8801100"/>
                  <a:gd name="connsiteY182" fmla="*/ 1590675 h 2152650"/>
                  <a:gd name="connsiteX183" fmla="*/ 7667625 w 8801100"/>
                  <a:gd name="connsiteY183" fmla="*/ 1685925 h 2152650"/>
                  <a:gd name="connsiteX184" fmla="*/ 7529513 w 8801100"/>
                  <a:gd name="connsiteY184" fmla="*/ 1588294 h 2152650"/>
                  <a:gd name="connsiteX0" fmla="*/ 7529513 w 8801100"/>
                  <a:gd name="connsiteY0" fmla="*/ 1588294 h 2124075"/>
                  <a:gd name="connsiteX1" fmla="*/ 7522369 w 8801100"/>
                  <a:gd name="connsiteY1" fmla="*/ 1533525 h 2124075"/>
                  <a:gd name="connsiteX2" fmla="*/ 7589044 w 8801100"/>
                  <a:gd name="connsiteY2" fmla="*/ 1459706 h 2124075"/>
                  <a:gd name="connsiteX3" fmla="*/ 7572375 w 8801100"/>
                  <a:gd name="connsiteY3" fmla="*/ 1388269 h 2124075"/>
                  <a:gd name="connsiteX4" fmla="*/ 7586663 w 8801100"/>
                  <a:gd name="connsiteY4" fmla="*/ 1293019 h 2124075"/>
                  <a:gd name="connsiteX5" fmla="*/ 7624763 w 8801100"/>
                  <a:gd name="connsiteY5" fmla="*/ 1235869 h 2124075"/>
                  <a:gd name="connsiteX6" fmla="*/ 7605712 w 8801100"/>
                  <a:gd name="connsiteY6" fmla="*/ 1202531 h 2124075"/>
                  <a:gd name="connsiteX7" fmla="*/ 7703343 w 8801100"/>
                  <a:gd name="connsiteY7" fmla="*/ 802481 h 2124075"/>
                  <a:gd name="connsiteX8" fmla="*/ 7696200 w 8801100"/>
                  <a:gd name="connsiteY8" fmla="*/ 773906 h 2124075"/>
                  <a:gd name="connsiteX9" fmla="*/ 7567613 w 8801100"/>
                  <a:gd name="connsiteY9" fmla="*/ 752475 h 2124075"/>
                  <a:gd name="connsiteX10" fmla="*/ 7384257 w 8801100"/>
                  <a:gd name="connsiteY10" fmla="*/ 831056 h 2124075"/>
                  <a:gd name="connsiteX11" fmla="*/ 7227093 w 8801100"/>
                  <a:gd name="connsiteY11" fmla="*/ 716756 h 2124075"/>
                  <a:gd name="connsiteX12" fmla="*/ 7150894 w 8801100"/>
                  <a:gd name="connsiteY12" fmla="*/ 723900 h 2124075"/>
                  <a:gd name="connsiteX13" fmla="*/ 7077075 w 8801100"/>
                  <a:gd name="connsiteY13" fmla="*/ 719138 h 2124075"/>
                  <a:gd name="connsiteX14" fmla="*/ 6938963 w 8801100"/>
                  <a:gd name="connsiteY14" fmla="*/ 823913 h 2124075"/>
                  <a:gd name="connsiteX15" fmla="*/ 6831806 w 8801100"/>
                  <a:gd name="connsiteY15" fmla="*/ 931069 h 2124075"/>
                  <a:gd name="connsiteX16" fmla="*/ 6788944 w 8801100"/>
                  <a:gd name="connsiteY16" fmla="*/ 1000125 h 2124075"/>
                  <a:gd name="connsiteX17" fmla="*/ 6796088 w 8801100"/>
                  <a:gd name="connsiteY17" fmla="*/ 1035844 h 2124075"/>
                  <a:gd name="connsiteX18" fmla="*/ 6734175 w 8801100"/>
                  <a:gd name="connsiteY18" fmla="*/ 1047750 h 2124075"/>
                  <a:gd name="connsiteX19" fmla="*/ 6753225 w 8801100"/>
                  <a:gd name="connsiteY19" fmla="*/ 1047750 h 2124075"/>
                  <a:gd name="connsiteX20" fmla="*/ 6719888 w 8801100"/>
                  <a:gd name="connsiteY20" fmla="*/ 1078706 h 2124075"/>
                  <a:gd name="connsiteX21" fmla="*/ 6619875 w 8801100"/>
                  <a:gd name="connsiteY21" fmla="*/ 1078707 h 2124075"/>
                  <a:gd name="connsiteX22" fmla="*/ 6524625 w 8801100"/>
                  <a:gd name="connsiteY22" fmla="*/ 1133475 h 2124075"/>
                  <a:gd name="connsiteX23" fmla="*/ 6443663 w 8801100"/>
                  <a:gd name="connsiteY23" fmla="*/ 1143000 h 2124075"/>
                  <a:gd name="connsiteX24" fmla="*/ 6403181 w 8801100"/>
                  <a:gd name="connsiteY24" fmla="*/ 1176338 h 2124075"/>
                  <a:gd name="connsiteX25" fmla="*/ 6353175 w 8801100"/>
                  <a:gd name="connsiteY25" fmla="*/ 1181100 h 2124075"/>
                  <a:gd name="connsiteX26" fmla="*/ 6231732 w 8801100"/>
                  <a:gd name="connsiteY26" fmla="*/ 1273969 h 2124075"/>
                  <a:gd name="connsiteX27" fmla="*/ 6172200 w 8801100"/>
                  <a:gd name="connsiteY27" fmla="*/ 1278731 h 2124075"/>
                  <a:gd name="connsiteX28" fmla="*/ 6119813 w 8801100"/>
                  <a:gd name="connsiteY28" fmla="*/ 1243013 h 2124075"/>
                  <a:gd name="connsiteX29" fmla="*/ 6093619 w 8801100"/>
                  <a:gd name="connsiteY29" fmla="*/ 1278731 h 2124075"/>
                  <a:gd name="connsiteX30" fmla="*/ 5895975 w 8801100"/>
                  <a:gd name="connsiteY30" fmla="*/ 1271588 h 2124075"/>
                  <a:gd name="connsiteX31" fmla="*/ 5834063 w 8801100"/>
                  <a:gd name="connsiteY31" fmla="*/ 1226344 h 2124075"/>
                  <a:gd name="connsiteX32" fmla="*/ 5636419 w 8801100"/>
                  <a:gd name="connsiteY32" fmla="*/ 1243013 h 2124075"/>
                  <a:gd name="connsiteX33" fmla="*/ 5548313 w 8801100"/>
                  <a:gd name="connsiteY33" fmla="*/ 1159668 h 2124075"/>
                  <a:gd name="connsiteX34" fmla="*/ 5472113 w 8801100"/>
                  <a:gd name="connsiteY34" fmla="*/ 1114425 h 2124075"/>
                  <a:gd name="connsiteX35" fmla="*/ 5474493 w 8801100"/>
                  <a:gd name="connsiteY35" fmla="*/ 1057275 h 2124075"/>
                  <a:gd name="connsiteX36" fmla="*/ 5455444 w 8801100"/>
                  <a:gd name="connsiteY36" fmla="*/ 1014412 h 2124075"/>
                  <a:gd name="connsiteX37" fmla="*/ 5360194 w 8801100"/>
                  <a:gd name="connsiteY37" fmla="*/ 1016794 h 2124075"/>
                  <a:gd name="connsiteX38" fmla="*/ 5264944 w 8801100"/>
                  <a:gd name="connsiteY38" fmla="*/ 995363 h 2124075"/>
                  <a:gd name="connsiteX39" fmla="*/ 5195887 w 8801100"/>
                  <a:gd name="connsiteY39" fmla="*/ 928687 h 2124075"/>
                  <a:gd name="connsiteX40" fmla="*/ 5160169 w 8801100"/>
                  <a:gd name="connsiteY40" fmla="*/ 885825 h 2124075"/>
                  <a:gd name="connsiteX41" fmla="*/ 5079206 w 8801100"/>
                  <a:gd name="connsiteY41" fmla="*/ 862012 h 2124075"/>
                  <a:gd name="connsiteX42" fmla="*/ 5005388 w 8801100"/>
                  <a:gd name="connsiteY42" fmla="*/ 873918 h 2124075"/>
                  <a:gd name="connsiteX43" fmla="*/ 4948237 w 8801100"/>
                  <a:gd name="connsiteY43" fmla="*/ 821531 h 2124075"/>
                  <a:gd name="connsiteX44" fmla="*/ 4852988 w 8801100"/>
                  <a:gd name="connsiteY44" fmla="*/ 833438 h 2124075"/>
                  <a:gd name="connsiteX45" fmla="*/ 4800600 w 8801100"/>
                  <a:gd name="connsiteY45" fmla="*/ 807244 h 2124075"/>
                  <a:gd name="connsiteX46" fmla="*/ 4719638 w 8801100"/>
                  <a:gd name="connsiteY46" fmla="*/ 850106 h 2124075"/>
                  <a:gd name="connsiteX47" fmla="*/ 4581525 w 8801100"/>
                  <a:gd name="connsiteY47" fmla="*/ 873919 h 2124075"/>
                  <a:gd name="connsiteX48" fmla="*/ 4452938 w 8801100"/>
                  <a:gd name="connsiteY48" fmla="*/ 966788 h 2124075"/>
                  <a:gd name="connsiteX49" fmla="*/ 4405312 w 8801100"/>
                  <a:gd name="connsiteY49" fmla="*/ 928688 h 2124075"/>
                  <a:gd name="connsiteX50" fmla="*/ 4383881 w 8801100"/>
                  <a:gd name="connsiteY50" fmla="*/ 959643 h 2124075"/>
                  <a:gd name="connsiteX51" fmla="*/ 4310063 w 8801100"/>
                  <a:gd name="connsiteY51" fmla="*/ 909638 h 2124075"/>
                  <a:gd name="connsiteX52" fmla="*/ 4271963 w 8801100"/>
                  <a:gd name="connsiteY52" fmla="*/ 916781 h 2124075"/>
                  <a:gd name="connsiteX53" fmla="*/ 4250531 w 8801100"/>
                  <a:gd name="connsiteY53" fmla="*/ 878681 h 2124075"/>
                  <a:gd name="connsiteX54" fmla="*/ 4191000 w 8801100"/>
                  <a:gd name="connsiteY54" fmla="*/ 883444 h 2124075"/>
                  <a:gd name="connsiteX55" fmla="*/ 4145756 w 8801100"/>
                  <a:gd name="connsiteY55" fmla="*/ 854869 h 2124075"/>
                  <a:gd name="connsiteX56" fmla="*/ 4107656 w 8801100"/>
                  <a:gd name="connsiteY56" fmla="*/ 852488 h 2124075"/>
                  <a:gd name="connsiteX57" fmla="*/ 4088606 w 8801100"/>
                  <a:gd name="connsiteY57" fmla="*/ 804862 h 2124075"/>
                  <a:gd name="connsiteX58" fmla="*/ 4074319 w 8801100"/>
                  <a:gd name="connsiteY58" fmla="*/ 773906 h 2124075"/>
                  <a:gd name="connsiteX59" fmla="*/ 4029075 w 8801100"/>
                  <a:gd name="connsiteY59" fmla="*/ 783431 h 2124075"/>
                  <a:gd name="connsiteX60" fmla="*/ 4010025 w 8801100"/>
                  <a:gd name="connsiteY60" fmla="*/ 747713 h 2124075"/>
                  <a:gd name="connsiteX61" fmla="*/ 4031457 w 8801100"/>
                  <a:gd name="connsiteY61" fmla="*/ 692944 h 2124075"/>
                  <a:gd name="connsiteX62" fmla="*/ 4000500 w 8801100"/>
                  <a:gd name="connsiteY62" fmla="*/ 666750 h 2124075"/>
                  <a:gd name="connsiteX63" fmla="*/ 4017169 w 8801100"/>
                  <a:gd name="connsiteY63" fmla="*/ 623888 h 2124075"/>
                  <a:gd name="connsiteX64" fmla="*/ 3990975 w 8801100"/>
                  <a:gd name="connsiteY64" fmla="*/ 581025 h 2124075"/>
                  <a:gd name="connsiteX65" fmla="*/ 3986213 w 8801100"/>
                  <a:gd name="connsiteY65" fmla="*/ 519113 h 2124075"/>
                  <a:gd name="connsiteX66" fmla="*/ 4010025 w 8801100"/>
                  <a:gd name="connsiteY66" fmla="*/ 454818 h 2124075"/>
                  <a:gd name="connsiteX67" fmla="*/ 3971925 w 8801100"/>
                  <a:gd name="connsiteY67" fmla="*/ 457200 h 2124075"/>
                  <a:gd name="connsiteX68" fmla="*/ 3852863 w 8801100"/>
                  <a:gd name="connsiteY68" fmla="*/ 400050 h 2124075"/>
                  <a:gd name="connsiteX69" fmla="*/ 3814762 w 8801100"/>
                  <a:gd name="connsiteY69" fmla="*/ 404812 h 2124075"/>
                  <a:gd name="connsiteX70" fmla="*/ 3609975 w 8801100"/>
                  <a:gd name="connsiteY70" fmla="*/ 295275 h 2124075"/>
                  <a:gd name="connsiteX71" fmla="*/ 3505200 w 8801100"/>
                  <a:gd name="connsiteY71" fmla="*/ 264319 h 2124075"/>
                  <a:gd name="connsiteX72" fmla="*/ 3440906 w 8801100"/>
                  <a:gd name="connsiteY72" fmla="*/ 273843 h 2124075"/>
                  <a:gd name="connsiteX73" fmla="*/ 3409950 w 8801100"/>
                  <a:gd name="connsiteY73" fmla="*/ 209550 h 2124075"/>
                  <a:gd name="connsiteX74" fmla="*/ 3352800 w 8801100"/>
                  <a:gd name="connsiteY74" fmla="*/ 209550 h 2124075"/>
                  <a:gd name="connsiteX75" fmla="*/ 3214687 w 8801100"/>
                  <a:gd name="connsiteY75" fmla="*/ 104775 h 2124075"/>
                  <a:gd name="connsiteX76" fmla="*/ 3181350 w 8801100"/>
                  <a:gd name="connsiteY76" fmla="*/ 164307 h 2124075"/>
                  <a:gd name="connsiteX77" fmla="*/ 3126581 w 8801100"/>
                  <a:gd name="connsiteY77" fmla="*/ 233363 h 2124075"/>
                  <a:gd name="connsiteX78" fmla="*/ 3083719 w 8801100"/>
                  <a:gd name="connsiteY78" fmla="*/ 250031 h 2124075"/>
                  <a:gd name="connsiteX79" fmla="*/ 3052763 w 8801100"/>
                  <a:gd name="connsiteY79" fmla="*/ 242888 h 2124075"/>
                  <a:gd name="connsiteX80" fmla="*/ 3028950 w 8801100"/>
                  <a:gd name="connsiteY80" fmla="*/ 271463 h 2124075"/>
                  <a:gd name="connsiteX81" fmla="*/ 3002756 w 8801100"/>
                  <a:gd name="connsiteY81" fmla="*/ 350044 h 2124075"/>
                  <a:gd name="connsiteX82" fmla="*/ 2959894 w 8801100"/>
                  <a:gd name="connsiteY82" fmla="*/ 347663 h 2124075"/>
                  <a:gd name="connsiteX83" fmla="*/ 2928937 w 8801100"/>
                  <a:gd name="connsiteY83" fmla="*/ 409575 h 2124075"/>
                  <a:gd name="connsiteX84" fmla="*/ 2924175 w 8801100"/>
                  <a:gd name="connsiteY84" fmla="*/ 473869 h 2124075"/>
                  <a:gd name="connsiteX85" fmla="*/ 2897982 w 8801100"/>
                  <a:gd name="connsiteY85" fmla="*/ 511969 h 2124075"/>
                  <a:gd name="connsiteX86" fmla="*/ 2924175 w 8801100"/>
                  <a:gd name="connsiteY86" fmla="*/ 571500 h 2124075"/>
                  <a:gd name="connsiteX87" fmla="*/ 2926556 w 8801100"/>
                  <a:gd name="connsiteY87" fmla="*/ 640556 h 2124075"/>
                  <a:gd name="connsiteX88" fmla="*/ 2955131 w 8801100"/>
                  <a:gd name="connsiteY88" fmla="*/ 692944 h 2124075"/>
                  <a:gd name="connsiteX89" fmla="*/ 3002757 w 8801100"/>
                  <a:gd name="connsiteY89" fmla="*/ 747713 h 2124075"/>
                  <a:gd name="connsiteX90" fmla="*/ 2952750 w 8801100"/>
                  <a:gd name="connsiteY90" fmla="*/ 885825 h 2124075"/>
                  <a:gd name="connsiteX91" fmla="*/ 2883694 w 8801100"/>
                  <a:gd name="connsiteY91" fmla="*/ 952500 h 2124075"/>
                  <a:gd name="connsiteX92" fmla="*/ 2812256 w 8801100"/>
                  <a:gd name="connsiteY92" fmla="*/ 947738 h 2124075"/>
                  <a:gd name="connsiteX93" fmla="*/ 2774156 w 8801100"/>
                  <a:gd name="connsiteY93" fmla="*/ 1004888 h 2124075"/>
                  <a:gd name="connsiteX94" fmla="*/ 2714625 w 8801100"/>
                  <a:gd name="connsiteY94" fmla="*/ 1019175 h 2124075"/>
                  <a:gd name="connsiteX95" fmla="*/ 2645569 w 8801100"/>
                  <a:gd name="connsiteY95" fmla="*/ 959644 h 2124075"/>
                  <a:gd name="connsiteX96" fmla="*/ 2590800 w 8801100"/>
                  <a:gd name="connsiteY96" fmla="*/ 931069 h 2124075"/>
                  <a:gd name="connsiteX97" fmla="*/ 2547938 w 8801100"/>
                  <a:gd name="connsiteY97" fmla="*/ 945356 h 2124075"/>
                  <a:gd name="connsiteX98" fmla="*/ 2495550 w 8801100"/>
                  <a:gd name="connsiteY98" fmla="*/ 928688 h 2124075"/>
                  <a:gd name="connsiteX99" fmla="*/ 2428875 w 8801100"/>
                  <a:gd name="connsiteY99" fmla="*/ 873919 h 2124075"/>
                  <a:gd name="connsiteX100" fmla="*/ 2383631 w 8801100"/>
                  <a:gd name="connsiteY100" fmla="*/ 885825 h 2124075"/>
                  <a:gd name="connsiteX101" fmla="*/ 2362200 w 8801100"/>
                  <a:gd name="connsiteY101" fmla="*/ 854869 h 2124075"/>
                  <a:gd name="connsiteX102" fmla="*/ 2305050 w 8801100"/>
                  <a:gd name="connsiteY102" fmla="*/ 895350 h 2124075"/>
                  <a:gd name="connsiteX103" fmla="*/ 2188369 w 8801100"/>
                  <a:gd name="connsiteY103" fmla="*/ 873919 h 2124075"/>
                  <a:gd name="connsiteX104" fmla="*/ 2138363 w 8801100"/>
                  <a:gd name="connsiteY104" fmla="*/ 821531 h 2124075"/>
                  <a:gd name="connsiteX105" fmla="*/ 2095500 w 8801100"/>
                  <a:gd name="connsiteY105" fmla="*/ 807244 h 2124075"/>
                  <a:gd name="connsiteX106" fmla="*/ 2052638 w 8801100"/>
                  <a:gd name="connsiteY106" fmla="*/ 833438 h 2124075"/>
                  <a:gd name="connsiteX107" fmla="*/ 2000250 w 8801100"/>
                  <a:gd name="connsiteY107" fmla="*/ 742950 h 2124075"/>
                  <a:gd name="connsiteX108" fmla="*/ 1990725 w 8801100"/>
                  <a:gd name="connsiteY108" fmla="*/ 595312 h 2124075"/>
                  <a:gd name="connsiteX109" fmla="*/ 1938337 w 8801100"/>
                  <a:gd name="connsiteY109" fmla="*/ 588168 h 2124075"/>
                  <a:gd name="connsiteX110" fmla="*/ 1847850 w 8801100"/>
                  <a:gd name="connsiteY110" fmla="*/ 578644 h 2124075"/>
                  <a:gd name="connsiteX111" fmla="*/ 1793081 w 8801100"/>
                  <a:gd name="connsiteY111" fmla="*/ 540544 h 2124075"/>
                  <a:gd name="connsiteX112" fmla="*/ 1724025 w 8801100"/>
                  <a:gd name="connsiteY112" fmla="*/ 550069 h 2124075"/>
                  <a:gd name="connsiteX113" fmla="*/ 1678781 w 8801100"/>
                  <a:gd name="connsiteY113" fmla="*/ 523875 h 2124075"/>
                  <a:gd name="connsiteX114" fmla="*/ 1669257 w 8801100"/>
                  <a:gd name="connsiteY114" fmla="*/ 452438 h 2124075"/>
                  <a:gd name="connsiteX115" fmla="*/ 1645444 w 8801100"/>
                  <a:gd name="connsiteY115" fmla="*/ 438150 h 2124075"/>
                  <a:gd name="connsiteX116" fmla="*/ 1607344 w 8801100"/>
                  <a:gd name="connsiteY116" fmla="*/ 485774 h 2124075"/>
                  <a:gd name="connsiteX117" fmla="*/ 1528762 w 8801100"/>
                  <a:gd name="connsiteY117" fmla="*/ 411956 h 2124075"/>
                  <a:gd name="connsiteX118" fmla="*/ 1488281 w 8801100"/>
                  <a:gd name="connsiteY118" fmla="*/ 452438 h 2124075"/>
                  <a:gd name="connsiteX119" fmla="*/ 1412081 w 8801100"/>
                  <a:gd name="connsiteY119" fmla="*/ 438150 h 2124075"/>
                  <a:gd name="connsiteX120" fmla="*/ 1333500 w 8801100"/>
                  <a:gd name="connsiteY120" fmla="*/ 464344 h 2124075"/>
                  <a:gd name="connsiteX121" fmla="*/ 1273969 w 8801100"/>
                  <a:gd name="connsiteY121" fmla="*/ 511968 h 2124075"/>
                  <a:gd name="connsiteX122" fmla="*/ 1200150 w 8801100"/>
                  <a:gd name="connsiteY122" fmla="*/ 523875 h 2124075"/>
                  <a:gd name="connsiteX123" fmla="*/ 1164431 w 8801100"/>
                  <a:gd name="connsiteY123" fmla="*/ 516731 h 2124075"/>
                  <a:gd name="connsiteX124" fmla="*/ 1085851 w 8801100"/>
                  <a:gd name="connsiteY124" fmla="*/ 547688 h 2124075"/>
                  <a:gd name="connsiteX125" fmla="*/ 1064419 w 8801100"/>
                  <a:gd name="connsiteY125" fmla="*/ 576263 h 2124075"/>
                  <a:gd name="connsiteX126" fmla="*/ 997744 w 8801100"/>
                  <a:gd name="connsiteY126" fmla="*/ 566738 h 2124075"/>
                  <a:gd name="connsiteX127" fmla="*/ 928688 w 8801100"/>
                  <a:gd name="connsiteY127" fmla="*/ 590550 h 2124075"/>
                  <a:gd name="connsiteX128" fmla="*/ 873919 w 8801100"/>
                  <a:gd name="connsiteY128" fmla="*/ 628650 h 2124075"/>
                  <a:gd name="connsiteX129" fmla="*/ 778669 w 8801100"/>
                  <a:gd name="connsiteY129" fmla="*/ 642937 h 2124075"/>
                  <a:gd name="connsiteX130" fmla="*/ 764381 w 8801100"/>
                  <a:gd name="connsiteY130" fmla="*/ 664369 h 2124075"/>
                  <a:gd name="connsiteX131" fmla="*/ 776287 w 8801100"/>
                  <a:gd name="connsiteY131" fmla="*/ 709613 h 2124075"/>
                  <a:gd name="connsiteX132" fmla="*/ 676276 w 8801100"/>
                  <a:gd name="connsiteY132" fmla="*/ 762000 h 2124075"/>
                  <a:gd name="connsiteX133" fmla="*/ 638175 w 8801100"/>
                  <a:gd name="connsiteY133" fmla="*/ 733424 h 2124075"/>
                  <a:gd name="connsiteX134" fmla="*/ 607219 w 8801100"/>
                  <a:gd name="connsiteY134" fmla="*/ 790575 h 2124075"/>
                  <a:gd name="connsiteX135" fmla="*/ 550069 w 8801100"/>
                  <a:gd name="connsiteY135" fmla="*/ 752475 h 2124075"/>
                  <a:gd name="connsiteX136" fmla="*/ 514350 w 8801100"/>
                  <a:gd name="connsiteY136" fmla="*/ 781050 h 2124075"/>
                  <a:gd name="connsiteX137" fmla="*/ 478631 w 8801100"/>
                  <a:gd name="connsiteY137" fmla="*/ 745331 h 2124075"/>
                  <a:gd name="connsiteX138" fmla="*/ 426244 w 8801100"/>
                  <a:gd name="connsiteY138" fmla="*/ 757238 h 2124075"/>
                  <a:gd name="connsiteX139" fmla="*/ 381000 w 8801100"/>
                  <a:gd name="connsiteY139" fmla="*/ 728663 h 2124075"/>
                  <a:gd name="connsiteX140" fmla="*/ 357188 w 8801100"/>
                  <a:gd name="connsiteY140" fmla="*/ 747713 h 2124075"/>
                  <a:gd name="connsiteX141" fmla="*/ 333375 w 8801100"/>
                  <a:gd name="connsiteY141" fmla="*/ 807244 h 2124075"/>
                  <a:gd name="connsiteX142" fmla="*/ 261938 w 8801100"/>
                  <a:gd name="connsiteY142" fmla="*/ 845343 h 2124075"/>
                  <a:gd name="connsiteX143" fmla="*/ 209550 w 8801100"/>
                  <a:gd name="connsiteY143" fmla="*/ 816769 h 2124075"/>
                  <a:gd name="connsiteX144" fmla="*/ 119063 w 8801100"/>
                  <a:gd name="connsiteY144" fmla="*/ 826294 h 2124075"/>
                  <a:gd name="connsiteX145" fmla="*/ 71437 w 8801100"/>
                  <a:gd name="connsiteY145" fmla="*/ 792957 h 2124075"/>
                  <a:gd name="connsiteX146" fmla="*/ 0 w 8801100"/>
                  <a:gd name="connsiteY146" fmla="*/ 812006 h 2124075"/>
                  <a:gd name="connsiteX147" fmla="*/ 4762 w 8801100"/>
                  <a:gd name="connsiteY147" fmla="*/ 0 h 2124075"/>
                  <a:gd name="connsiteX148" fmla="*/ 8134350 w 8801100"/>
                  <a:gd name="connsiteY148" fmla="*/ 2124075 h 2124075"/>
                  <a:gd name="connsiteX149" fmla="*/ 8184355 w 8801100"/>
                  <a:gd name="connsiteY149" fmla="*/ 2024063 h 2124075"/>
                  <a:gd name="connsiteX150" fmla="*/ 8243888 w 8801100"/>
                  <a:gd name="connsiteY150" fmla="*/ 2064543 h 2124075"/>
                  <a:gd name="connsiteX151" fmla="*/ 8270082 w 8801100"/>
                  <a:gd name="connsiteY151" fmla="*/ 2014537 h 2124075"/>
                  <a:gd name="connsiteX152" fmla="*/ 8365331 w 8801100"/>
                  <a:gd name="connsiteY152" fmla="*/ 1945481 h 2124075"/>
                  <a:gd name="connsiteX153" fmla="*/ 8427244 w 8801100"/>
                  <a:gd name="connsiteY153" fmla="*/ 1952625 h 2124075"/>
                  <a:gd name="connsiteX154" fmla="*/ 8477250 w 8801100"/>
                  <a:gd name="connsiteY154" fmla="*/ 1933575 h 2124075"/>
                  <a:gd name="connsiteX155" fmla="*/ 8515350 w 8801100"/>
                  <a:gd name="connsiteY155" fmla="*/ 1905000 h 2124075"/>
                  <a:gd name="connsiteX156" fmla="*/ 8548688 w 8801100"/>
                  <a:gd name="connsiteY156" fmla="*/ 1902619 h 2124075"/>
                  <a:gd name="connsiteX157" fmla="*/ 8584406 w 8801100"/>
                  <a:gd name="connsiteY157" fmla="*/ 1933575 h 2124075"/>
                  <a:gd name="connsiteX158" fmla="*/ 8643938 w 8801100"/>
                  <a:gd name="connsiteY158" fmla="*/ 1933575 h 2124075"/>
                  <a:gd name="connsiteX159" fmla="*/ 8682037 w 8801100"/>
                  <a:gd name="connsiteY159" fmla="*/ 1914525 h 2124075"/>
                  <a:gd name="connsiteX160" fmla="*/ 8765381 w 8801100"/>
                  <a:gd name="connsiteY160" fmla="*/ 1916907 h 2124075"/>
                  <a:gd name="connsiteX161" fmla="*/ 8796338 w 8801100"/>
                  <a:gd name="connsiteY161" fmla="*/ 1871663 h 2124075"/>
                  <a:gd name="connsiteX162" fmla="*/ 8801100 w 8801100"/>
                  <a:gd name="connsiteY162" fmla="*/ 1809750 h 2124075"/>
                  <a:gd name="connsiteX163" fmla="*/ 8751093 w 8801100"/>
                  <a:gd name="connsiteY163" fmla="*/ 1769269 h 2124075"/>
                  <a:gd name="connsiteX164" fmla="*/ 8734425 w 8801100"/>
                  <a:gd name="connsiteY164" fmla="*/ 1714500 h 2124075"/>
                  <a:gd name="connsiteX165" fmla="*/ 8643938 w 8801100"/>
                  <a:gd name="connsiteY165" fmla="*/ 1652588 h 2124075"/>
                  <a:gd name="connsiteX166" fmla="*/ 8603456 w 8801100"/>
                  <a:gd name="connsiteY166" fmla="*/ 1631156 h 2124075"/>
                  <a:gd name="connsiteX167" fmla="*/ 8565356 w 8801100"/>
                  <a:gd name="connsiteY167" fmla="*/ 1585913 h 2124075"/>
                  <a:gd name="connsiteX168" fmla="*/ 8534400 w 8801100"/>
                  <a:gd name="connsiteY168" fmla="*/ 1583531 h 2124075"/>
                  <a:gd name="connsiteX169" fmla="*/ 8517731 w 8801100"/>
                  <a:gd name="connsiteY169" fmla="*/ 1531144 h 2124075"/>
                  <a:gd name="connsiteX170" fmla="*/ 8477250 w 8801100"/>
                  <a:gd name="connsiteY170" fmla="*/ 1514475 h 2124075"/>
                  <a:gd name="connsiteX171" fmla="*/ 8477250 w 8801100"/>
                  <a:gd name="connsiteY171" fmla="*/ 1514475 h 2124075"/>
                  <a:gd name="connsiteX172" fmla="*/ 8436769 w 8801100"/>
                  <a:gd name="connsiteY172" fmla="*/ 1519238 h 2124075"/>
                  <a:gd name="connsiteX173" fmla="*/ 8351043 w 8801100"/>
                  <a:gd name="connsiteY173" fmla="*/ 1445419 h 2124075"/>
                  <a:gd name="connsiteX174" fmla="*/ 8170069 w 8801100"/>
                  <a:gd name="connsiteY174" fmla="*/ 1445418 h 2124075"/>
                  <a:gd name="connsiteX175" fmla="*/ 8117681 w 8801100"/>
                  <a:gd name="connsiteY175" fmla="*/ 1483519 h 2124075"/>
                  <a:gd name="connsiteX176" fmla="*/ 8067675 w 8801100"/>
                  <a:gd name="connsiteY176" fmla="*/ 1562100 h 2124075"/>
                  <a:gd name="connsiteX177" fmla="*/ 8084344 w 8801100"/>
                  <a:gd name="connsiteY177" fmla="*/ 1583531 h 2124075"/>
                  <a:gd name="connsiteX178" fmla="*/ 8039100 w 8801100"/>
                  <a:gd name="connsiteY178" fmla="*/ 1633537 h 2124075"/>
                  <a:gd name="connsiteX179" fmla="*/ 7889081 w 8801100"/>
                  <a:gd name="connsiteY179" fmla="*/ 1557337 h 2124075"/>
                  <a:gd name="connsiteX180" fmla="*/ 7798594 w 8801100"/>
                  <a:gd name="connsiteY180" fmla="*/ 1593056 h 2124075"/>
                  <a:gd name="connsiteX181" fmla="*/ 7724775 w 8801100"/>
                  <a:gd name="connsiteY181" fmla="*/ 1590675 h 2124075"/>
                  <a:gd name="connsiteX182" fmla="*/ 7667625 w 8801100"/>
                  <a:gd name="connsiteY182" fmla="*/ 1685925 h 2124075"/>
                  <a:gd name="connsiteX183" fmla="*/ 7529513 w 8801100"/>
                  <a:gd name="connsiteY183" fmla="*/ 1588294 h 2124075"/>
                  <a:gd name="connsiteX0" fmla="*/ 7529513 w 8801100"/>
                  <a:gd name="connsiteY0" fmla="*/ 1588294 h 2064543"/>
                  <a:gd name="connsiteX1" fmla="*/ 7522369 w 8801100"/>
                  <a:gd name="connsiteY1" fmla="*/ 1533525 h 2064543"/>
                  <a:gd name="connsiteX2" fmla="*/ 7589044 w 8801100"/>
                  <a:gd name="connsiteY2" fmla="*/ 1459706 h 2064543"/>
                  <a:gd name="connsiteX3" fmla="*/ 7572375 w 8801100"/>
                  <a:gd name="connsiteY3" fmla="*/ 1388269 h 2064543"/>
                  <a:gd name="connsiteX4" fmla="*/ 7586663 w 8801100"/>
                  <a:gd name="connsiteY4" fmla="*/ 1293019 h 2064543"/>
                  <a:gd name="connsiteX5" fmla="*/ 7624763 w 8801100"/>
                  <a:gd name="connsiteY5" fmla="*/ 1235869 h 2064543"/>
                  <a:gd name="connsiteX6" fmla="*/ 7605712 w 8801100"/>
                  <a:gd name="connsiteY6" fmla="*/ 1202531 h 2064543"/>
                  <a:gd name="connsiteX7" fmla="*/ 7703343 w 8801100"/>
                  <a:gd name="connsiteY7" fmla="*/ 802481 h 2064543"/>
                  <a:gd name="connsiteX8" fmla="*/ 7696200 w 8801100"/>
                  <a:gd name="connsiteY8" fmla="*/ 773906 h 2064543"/>
                  <a:gd name="connsiteX9" fmla="*/ 7567613 w 8801100"/>
                  <a:gd name="connsiteY9" fmla="*/ 752475 h 2064543"/>
                  <a:gd name="connsiteX10" fmla="*/ 7384257 w 8801100"/>
                  <a:gd name="connsiteY10" fmla="*/ 831056 h 2064543"/>
                  <a:gd name="connsiteX11" fmla="*/ 7227093 w 8801100"/>
                  <a:gd name="connsiteY11" fmla="*/ 716756 h 2064543"/>
                  <a:gd name="connsiteX12" fmla="*/ 7150894 w 8801100"/>
                  <a:gd name="connsiteY12" fmla="*/ 723900 h 2064543"/>
                  <a:gd name="connsiteX13" fmla="*/ 7077075 w 8801100"/>
                  <a:gd name="connsiteY13" fmla="*/ 719138 h 2064543"/>
                  <a:gd name="connsiteX14" fmla="*/ 6938963 w 8801100"/>
                  <a:gd name="connsiteY14" fmla="*/ 823913 h 2064543"/>
                  <a:gd name="connsiteX15" fmla="*/ 6831806 w 8801100"/>
                  <a:gd name="connsiteY15" fmla="*/ 931069 h 2064543"/>
                  <a:gd name="connsiteX16" fmla="*/ 6788944 w 8801100"/>
                  <a:gd name="connsiteY16" fmla="*/ 1000125 h 2064543"/>
                  <a:gd name="connsiteX17" fmla="*/ 6796088 w 8801100"/>
                  <a:gd name="connsiteY17" fmla="*/ 1035844 h 2064543"/>
                  <a:gd name="connsiteX18" fmla="*/ 6734175 w 8801100"/>
                  <a:gd name="connsiteY18" fmla="*/ 1047750 h 2064543"/>
                  <a:gd name="connsiteX19" fmla="*/ 6753225 w 8801100"/>
                  <a:gd name="connsiteY19" fmla="*/ 1047750 h 2064543"/>
                  <a:gd name="connsiteX20" fmla="*/ 6719888 w 8801100"/>
                  <a:gd name="connsiteY20" fmla="*/ 1078706 h 2064543"/>
                  <a:gd name="connsiteX21" fmla="*/ 6619875 w 8801100"/>
                  <a:gd name="connsiteY21" fmla="*/ 1078707 h 2064543"/>
                  <a:gd name="connsiteX22" fmla="*/ 6524625 w 8801100"/>
                  <a:gd name="connsiteY22" fmla="*/ 1133475 h 2064543"/>
                  <a:gd name="connsiteX23" fmla="*/ 6443663 w 8801100"/>
                  <a:gd name="connsiteY23" fmla="*/ 1143000 h 2064543"/>
                  <a:gd name="connsiteX24" fmla="*/ 6403181 w 8801100"/>
                  <a:gd name="connsiteY24" fmla="*/ 1176338 h 2064543"/>
                  <a:gd name="connsiteX25" fmla="*/ 6353175 w 8801100"/>
                  <a:gd name="connsiteY25" fmla="*/ 1181100 h 2064543"/>
                  <a:gd name="connsiteX26" fmla="*/ 6231732 w 8801100"/>
                  <a:gd name="connsiteY26" fmla="*/ 1273969 h 2064543"/>
                  <a:gd name="connsiteX27" fmla="*/ 6172200 w 8801100"/>
                  <a:gd name="connsiteY27" fmla="*/ 1278731 h 2064543"/>
                  <a:gd name="connsiteX28" fmla="*/ 6119813 w 8801100"/>
                  <a:gd name="connsiteY28" fmla="*/ 1243013 h 2064543"/>
                  <a:gd name="connsiteX29" fmla="*/ 6093619 w 8801100"/>
                  <a:gd name="connsiteY29" fmla="*/ 1278731 h 2064543"/>
                  <a:gd name="connsiteX30" fmla="*/ 5895975 w 8801100"/>
                  <a:gd name="connsiteY30" fmla="*/ 1271588 h 2064543"/>
                  <a:gd name="connsiteX31" fmla="*/ 5834063 w 8801100"/>
                  <a:gd name="connsiteY31" fmla="*/ 1226344 h 2064543"/>
                  <a:gd name="connsiteX32" fmla="*/ 5636419 w 8801100"/>
                  <a:gd name="connsiteY32" fmla="*/ 1243013 h 2064543"/>
                  <a:gd name="connsiteX33" fmla="*/ 5548313 w 8801100"/>
                  <a:gd name="connsiteY33" fmla="*/ 1159668 h 2064543"/>
                  <a:gd name="connsiteX34" fmla="*/ 5472113 w 8801100"/>
                  <a:gd name="connsiteY34" fmla="*/ 1114425 h 2064543"/>
                  <a:gd name="connsiteX35" fmla="*/ 5474493 w 8801100"/>
                  <a:gd name="connsiteY35" fmla="*/ 1057275 h 2064543"/>
                  <a:gd name="connsiteX36" fmla="*/ 5455444 w 8801100"/>
                  <a:gd name="connsiteY36" fmla="*/ 1014412 h 2064543"/>
                  <a:gd name="connsiteX37" fmla="*/ 5360194 w 8801100"/>
                  <a:gd name="connsiteY37" fmla="*/ 1016794 h 2064543"/>
                  <a:gd name="connsiteX38" fmla="*/ 5264944 w 8801100"/>
                  <a:gd name="connsiteY38" fmla="*/ 995363 h 2064543"/>
                  <a:gd name="connsiteX39" fmla="*/ 5195887 w 8801100"/>
                  <a:gd name="connsiteY39" fmla="*/ 928687 h 2064543"/>
                  <a:gd name="connsiteX40" fmla="*/ 5160169 w 8801100"/>
                  <a:gd name="connsiteY40" fmla="*/ 885825 h 2064543"/>
                  <a:gd name="connsiteX41" fmla="*/ 5079206 w 8801100"/>
                  <a:gd name="connsiteY41" fmla="*/ 862012 h 2064543"/>
                  <a:gd name="connsiteX42" fmla="*/ 5005388 w 8801100"/>
                  <a:gd name="connsiteY42" fmla="*/ 873918 h 2064543"/>
                  <a:gd name="connsiteX43" fmla="*/ 4948237 w 8801100"/>
                  <a:gd name="connsiteY43" fmla="*/ 821531 h 2064543"/>
                  <a:gd name="connsiteX44" fmla="*/ 4852988 w 8801100"/>
                  <a:gd name="connsiteY44" fmla="*/ 833438 h 2064543"/>
                  <a:gd name="connsiteX45" fmla="*/ 4800600 w 8801100"/>
                  <a:gd name="connsiteY45" fmla="*/ 807244 h 2064543"/>
                  <a:gd name="connsiteX46" fmla="*/ 4719638 w 8801100"/>
                  <a:gd name="connsiteY46" fmla="*/ 850106 h 2064543"/>
                  <a:gd name="connsiteX47" fmla="*/ 4581525 w 8801100"/>
                  <a:gd name="connsiteY47" fmla="*/ 873919 h 2064543"/>
                  <a:gd name="connsiteX48" fmla="*/ 4452938 w 8801100"/>
                  <a:gd name="connsiteY48" fmla="*/ 966788 h 2064543"/>
                  <a:gd name="connsiteX49" fmla="*/ 4405312 w 8801100"/>
                  <a:gd name="connsiteY49" fmla="*/ 928688 h 2064543"/>
                  <a:gd name="connsiteX50" fmla="*/ 4383881 w 8801100"/>
                  <a:gd name="connsiteY50" fmla="*/ 959643 h 2064543"/>
                  <a:gd name="connsiteX51" fmla="*/ 4310063 w 8801100"/>
                  <a:gd name="connsiteY51" fmla="*/ 909638 h 2064543"/>
                  <a:gd name="connsiteX52" fmla="*/ 4271963 w 8801100"/>
                  <a:gd name="connsiteY52" fmla="*/ 916781 h 2064543"/>
                  <a:gd name="connsiteX53" fmla="*/ 4250531 w 8801100"/>
                  <a:gd name="connsiteY53" fmla="*/ 878681 h 2064543"/>
                  <a:gd name="connsiteX54" fmla="*/ 4191000 w 8801100"/>
                  <a:gd name="connsiteY54" fmla="*/ 883444 h 2064543"/>
                  <a:gd name="connsiteX55" fmla="*/ 4145756 w 8801100"/>
                  <a:gd name="connsiteY55" fmla="*/ 854869 h 2064543"/>
                  <a:gd name="connsiteX56" fmla="*/ 4107656 w 8801100"/>
                  <a:gd name="connsiteY56" fmla="*/ 852488 h 2064543"/>
                  <a:gd name="connsiteX57" fmla="*/ 4088606 w 8801100"/>
                  <a:gd name="connsiteY57" fmla="*/ 804862 h 2064543"/>
                  <a:gd name="connsiteX58" fmla="*/ 4074319 w 8801100"/>
                  <a:gd name="connsiteY58" fmla="*/ 773906 h 2064543"/>
                  <a:gd name="connsiteX59" fmla="*/ 4029075 w 8801100"/>
                  <a:gd name="connsiteY59" fmla="*/ 783431 h 2064543"/>
                  <a:gd name="connsiteX60" fmla="*/ 4010025 w 8801100"/>
                  <a:gd name="connsiteY60" fmla="*/ 747713 h 2064543"/>
                  <a:gd name="connsiteX61" fmla="*/ 4031457 w 8801100"/>
                  <a:gd name="connsiteY61" fmla="*/ 692944 h 2064543"/>
                  <a:gd name="connsiteX62" fmla="*/ 4000500 w 8801100"/>
                  <a:gd name="connsiteY62" fmla="*/ 666750 h 2064543"/>
                  <a:gd name="connsiteX63" fmla="*/ 4017169 w 8801100"/>
                  <a:gd name="connsiteY63" fmla="*/ 623888 h 2064543"/>
                  <a:gd name="connsiteX64" fmla="*/ 3990975 w 8801100"/>
                  <a:gd name="connsiteY64" fmla="*/ 581025 h 2064543"/>
                  <a:gd name="connsiteX65" fmla="*/ 3986213 w 8801100"/>
                  <a:gd name="connsiteY65" fmla="*/ 519113 h 2064543"/>
                  <a:gd name="connsiteX66" fmla="*/ 4010025 w 8801100"/>
                  <a:gd name="connsiteY66" fmla="*/ 454818 h 2064543"/>
                  <a:gd name="connsiteX67" fmla="*/ 3971925 w 8801100"/>
                  <a:gd name="connsiteY67" fmla="*/ 457200 h 2064543"/>
                  <a:gd name="connsiteX68" fmla="*/ 3852863 w 8801100"/>
                  <a:gd name="connsiteY68" fmla="*/ 400050 h 2064543"/>
                  <a:gd name="connsiteX69" fmla="*/ 3814762 w 8801100"/>
                  <a:gd name="connsiteY69" fmla="*/ 404812 h 2064543"/>
                  <a:gd name="connsiteX70" fmla="*/ 3609975 w 8801100"/>
                  <a:gd name="connsiteY70" fmla="*/ 295275 h 2064543"/>
                  <a:gd name="connsiteX71" fmla="*/ 3505200 w 8801100"/>
                  <a:gd name="connsiteY71" fmla="*/ 264319 h 2064543"/>
                  <a:gd name="connsiteX72" fmla="*/ 3440906 w 8801100"/>
                  <a:gd name="connsiteY72" fmla="*/ 273843 h 2064543"/>
                  <a:gd name="connsiteX73" fmla="*/ 3409950 w 8801100"/>
                  <a:gd name="connsiteY73" fmla="*/ 209550 h 2064543"/>
                  <a:gd name="connsiteX74" fmla="*/ 3352800 w 8801100"/>
                  <a:gd name="connsiteY74" fmla="*/ 209550 h 2064543"/>
                  <a:gd name="connsiteX75" fmla="*/ 3214687 w 8801100"/>
                  <a:gd name="connsiteY75" fmla="*/ 104775 h 2064543"/>
                  <a:gd name="connsiteX76" fmla="*/ 3181350 w 8801100"/>
                  <a:gd name="connsiteY76" fmla="*/ 164307 h 2064543"/>
                  <a:gd name="connsiteX77" fmla="*/ 3126581 w 8801100"/>
                  <a:gd name="connsiteY77" fmla="*/ 233363 h 2064543"/>
                  <a:gd name="connsiteX78" fmla="*/ 3083719 w 8801100"/>
                  <a:gd name="connsiteY78" fmla="*/ 250031 h 2064543"/>
                  <a:gd name="connsiteX79" fmla="*/ 3052763 w 8801100"/>
                  <a:gd name="connsiteY79" fmla="*/ 242888 h 2064543"/>
                  <a:gd name="connsiteX80" fmla="*/ 3028950 w 8801100"/>
                  <a:gd name="connsiteY80" fmla="*/ 271463 h 2064543"/>
                  <a:gd name="connsiteX81" fmla="*/ 3002756 w 8801100"/>
                  <a:gd name="connsiteY81" fmla="*/ 350044 h 2064543"/>
                  <a:gd name="connsiteX82" fmla="*/ 2959894 w 8801100"/>
                  <a:gd name="connsiteY82" fmla="*/ 347663 h 2064543"/>
                  <a:gd name="connsiteX83" fmla="*/ 2928937 w 8801100"/>
                  <a:gd name="connsiteY83" fmla="*/ 409575 h 2064543"/>
                  <a:gd name="connsiteX84" fmla="*/ 2924175 w 8801100"/>
                  <a:gd name="connsiteY84" fmla="*/ 473869 h 2064543"/>
                  <a:gd name="connsiteX85" fmla="*/ 2897982 w 8801100"/>
                  <a:gd name="connsiteY85" fmla="*/ 511969 h 2064543"/>
                  <a:gd name="connsiteX86" fmla="*/ 2924175 w 8801100"/>
                  <a:gd name="connsiteY86" fmla="*/ 571500 h 2064543"/>
                  <a:gd name="connsiteX87" fmla="*/ 2926556 w 8801100"/>
                  <a:gd name="connsiteY87" fmla="*/ 640556 h 2064543"/>
                  <a:gd name="connsiteX88" fmla="*/ 2955131 w 8801100"/>
                  <a:gd name="connsiteY88" fmla="*/ 692944 h 2064543"/>
                  <a:gd name="connsiteX89" fmla="*/ 3002757 w 8801100"/>
                  <a:gd name="connsiteY89" fmla="*/ 747713 h 2064543"/>
                  <a:gd name="connsiteX90" fmla="*/ 2952750 w 8801100"/>
                  <a:gd name="connsiteY90" fmla="*/ 885825 h 2064543"/>
                  <a:gd name="connsiteX91" fmla="*/ 2883694 w 8801100"/>
                  <a:gd name="connsiteY91" fmla="*/ 952500 h 2064543"/>
                  <a:gd name="connsiteX92" fmla="*/ 2812256 w 8801100"/>
                  <a:gd name="connsiteY92" fmla="*/ 947738 h 2064543"/>
                  <a:gd name="connsiteX93" fmla="*/ 2774156 w 8801100"/>
                  <a:gd name="connsiteY93" fmla="*/ 1004888 h 2064543"/>
                  <a:gd name="connsiteX94" fmla="*/ 2714625 w 8801100"/>
                  <a:gd name="connsiteY94" fmla="*/ 1019175 h 2064543"/>
                  <a:gd name="connsiteX95" fmla="*/ 2645569 w 8801100"/>
                  <a:gd name="connsiteY95" fmla="*/ 959644 h 2064543"/>
                  <a:gd name="connsiteX96" fmla="*/ 2590800 w 8801100"/>
                  <a:gd name="connsiteY96" fmla="*/ 931069 h 2064543"/>
                  <a:gd name="connsiteX97" fmla="*/ 2547938 w 8801100"/>
                  <a:gd name="connsiteY97" fmla="*/ 945356 h 2064543"/>
                  <a:gd name="connsiteX98" fmla="*/ 2495550 w 8801100"/>
                  <a:gd name="connsiteY98" fmla="*/ 928688 h 2064543"/>
                  <a:gd name="connsiteX99" fmla="*/ 2428875 w 8801100"/>
                  <a:gd name="connsiteY99" fmla="*/ 873919 h 2064543"/>
                  <a:gd name="connsiteX100" fmla="*/ 2383631 w 8801100"/>
                  <a:gd name="connsiteY100" fmla="*/ 885825 h 2064543"/>
                  <a:gd name="connsiteX101" fmla="*/ 2362200 w 8801100"/>
                  <a:gd name="connsiteY101" fmla="*/ 854869 h 2064543"/>
                  <a:gd name="connsiteX102" fmla="*/ 2305050 w 8801100"/>
                  <a:gd name="connsiteY102" fmla="*/ 895350 h 2064543"/>
                  <a:gd name="connsiteX103" fmla="*/ 2188369 w 8801100"/>
                  <a:gd name="connsiteY103" fmla="*/ 873919 h 2064543"/>
                  <a:gd name="connsiteX104" fmla="*/ 2138363 w 8801100"/>
                  <a:gd name="connsiteY104" fmla="*/ 821531 h 2064543"/>
                  <a:gd name="connsiteX105" fmla="*/ 2095500 w 8801100"/>
                  <a:gd name="connsiteY105" fmla="*/ 807244 h 2064543"/>
                  <a:gd name="connsiteX106" fmla="*/ 2052638 w 8801100"/>
                  <a:gd name="connsiteY106" fmla="*/ 833438 h 2064543"/>
                  <a:gd name="connsiteX107" fmla="*/ 2000250 w 8801100"/>
                  <a:gd name="connsiteY107" fmla="*/ 742950 h 2064543"/>
                  <a:gd name="connsiteX108" fmla="*/ 1990725 w 8801100"/>
                  <a:gd name="connsiteY108" fmla="*/ 595312 h 2064543"/>
                  <a:gd name="connsiteX109" fmla="*/ 1938337 w 8801100"/>
                  <a:gd name="connsiteY109" fmla="*/ 588168 h 2064543"/>
                  <a:gd name="connsiteX110" fmla="*/ 1847850 w 8801100"/>
                  <a:gd name="connsiteY110" fmla="*/ 578644 h 2064543"/>
                  <a:gd name="connsiteX111" fmla="*/ 1793081 w 8801100"/>
                  <a:gd name="connsiteY111" fmla="*/ 540544 h 2064543"/>
                  <a:gd name="connsiteX112" fmla="*/ 1724025 w 8801100"/>
                  <a:gd name="connsiteY112" fmla="*/ 550069 h 2064543"/>
                  <a:gd name="connsiteX113" fmla="*/ 1678781 w 8801100"/>
                  <a:gd name="connsiteY113" fmla="*/ 523875 h 2064543"/>
                  <a:gd name="connsiteX114" fmla="*/ 1669257 w 8801100"/>
                  <a:gd name="connsiteY114" fmla="*/ 452438 h 2064543"/>
                  <a:gd name="connsiteX115" fmla="*/ 1645444 w 8801100"/>
                  <a:gd name="connsiteY115" fmla="*/ 438150 h 2064543"/>
                  <a:gd name="connsiteX116" fmla="*/ 1607344 w 8801100"/>
                  <a:gd name="connsiteY116" fmla="*/ 485774 h 2064543"/>
                  <a:gd name="connsiteX117" fmla="*/ 1528762 w 8801100"/>
                  <a:gd name="connsiteY117" fmla="*/ 411956 h 2064543"/>
                  <a:gd name="connsiteX118" fmla="*/ 1488281 w 8801100"/>
                  <a:gd name="connsiteY118" fmla="*/ 452438 h 2064543"/>
                  <a:gd name="connsiteX119" fmla="*/ 1412081 w 8801100"/>
                  <a:gd name="connsiteY119" fmla="*/ 438150 h 2064543"/>
                  <a:gd name="connsiteX120" fmla="*/ 1333500 w 8801100"/>
                  <a:gd name="connsiteY120" fmla="*/ 464344 h 2064543"/>
                  <a:gd name="connsiteX121" fmla="*/ 1273969 w 8801100"/>
                  <a:gd name="connsiteY121" fmla="*/ 511968 h 2064543"/>
                  <a:gd name="connsiteX122" fmla="*/ 1200150 w 8801100"/>
                  <a:gd name="connsiteY122" fmla="*/ 523875 h 2064543"/>
                  <a:gd name="connsiteX123" fmla="*/ 1164431 w 8801100"/>
                  <a:gd name="connsiteY123" fmla="*/ 516731 h 2064543"/>
                  <a:gd name="connsiteX124" fmla="*/ 1085851 w 8801100"/>
                  <a:gd name="connsiteY124" fmla="*/ 547688 h 2064543"/>
                  <a:gd name="connsiteX125" fmla="*/ 1064419 w 8801100"/>
                  <a:gd name="connsiteY125" fmla="*/ 576263 h 2064543"/>
                  <a:gd name="connsiteX126" fmla="*/ 997744 w 8801100"/>
                  <a:gd name="connsiteY126" fmla="*/ 566738 h 2064543"/>
                  <a:gd name="connsiteX127" fmla="*/ 928688 w 8801100"/>
                  <a:gd name="connsiteY127" fmla="*/ 590550 h 2064543"/>
                  <a:gd name="connsiteX128" fmla="*/ 873919 w 8801100"/>
                  <a:gd name="connsiteY128" fmla="*/ 628650 h 2064543"/>
                  <a:gd name="connsiteX129" fmla="*/ 778669 w 8801100"/>
                  <a:gd name="connsiteY129" fmla="*/ 642937 h 2064543"/>
                  <a:gd name="connsiteX130" fmla="*/ 764381 w 8801100"/>
                  <a:gd name="connsiteY130" fmla="*/ 664369 h 2064543"/>
                  <a:gd name="connsiteX131" fmla="*/ 776287 w 8801100"/>
                  <a:gd name="connsiteY131" fmla="*/ 709613 h 2064543"/>
                  <a:gd name="connsiteX132" fmla="*/ 676276 w 8801100"/>
                  <a:gd name="connsiteY132" fmla="*/ 762000 h 2064543"/>
                  <a:gd name="connsiteX133" fmla="*/ 638175 w 8801100"/>
                  <a:gd name="connsiteY133" fmla="*/ 733424 h 2064543"/>
                  <a:gd name="connsiteX134" fmla="*/ 607219 w 8801100"/>
                  <a:gd name="connsiteY134" fmla="*/ 790575 h 2064543"/>
                  <a:gd name="connsiteX135" fmla="*/ 550069 w 8801100"/>
                  <a:gd name="connsiteY135" fmla="*/ 752475 h 2064543"/>
                  <a:gd name="connsiteX136" fmla="*/ 514350 w 8801100"/>
                  <a:gd name="connsiteY136" fmla="*/ 781050 h 2064543"/>
                  <a:gd name="connsiteX137" fmla="*/ 478631 w 8801100"/>
                  <a:gd name="connsiteY137" fmla="*/ 745331 h 2064543"/>
                  <a:gd name="connsiteX138" fmla="*/ 426244 w 8801100"/>
                  <a:gd name="connsiteY138" fmla="*/ 757238 h 2064543"/>
                  <a:gd name="connsiteX139" fmla="*/ 381000 w 8801100"/>
                  <a:gd name="connsiteY139" fmla="*/ 728663 h 2064543"/>
                  <a:gd name="connsiteX140" fmla="*/ 357188 w 8801100"/>
                  <a:gd name="connsiteY140" fmla="*/ 747713 h 2064543"/>
                  <a:gd name="connsiteX141" fmla="*/ 333375 w 8801100"/>
                  <a:gd name="connsiteY141" fmla="*/ 807244 h 2064543"/>
                  <a:gd name="connsiteX142" fmla="*/ 261938 w 8801100"/>
                  <a:gd name="connsiteY142" fmla="*/ 845343 h 2064543"/>
                  <a:gd name="connsiteX143" fmla="*/ 209550 w 8801100"/>
                  <a:gd name="connsiteY143" fmla="*/ 816769 h 2064543"/>
                  <a:gd name="connsiteX144" fmla="*/ 119063 w 8801100"/>
                  <a:gd name="connsiteY144" fmla="*/ 826294 h 2064543"/>
                  <a:gd name="connsiteX145" fmla="*/ 71437 w 8801100"/>
                  <a:gd name="connsiteY145" fmla="*/ 792957 h 2064543"/>
                  <a:gd name="connsiteX146" fmla="*/ 0 w 8801100"/>
                  <a:gd name="connsiteY146" fmla="*/ 812006 h 2064543"/>
                  <a:gd name="connsiteX147" fmla="*/ 4762 w 8801100"/>
                  <a:gd name="connsiteY147" fmla="*/ 0 h 2064543"/>
                  <a:gd name="connsiteX148" fmla="*/ 8184355 w 8801100"/>
                  <a:gd name="connsiteY148" fmla="*/ 2024063 h 2064543"/>
                  <a:gd name="connsiteX149" fmla="*/ 8243888 w 8801100"/>
                  <a:gd name="connsiteY149" fmla="*/ 2064543 h 2064543"/>
                  <a:gd name="connsiteX150" fmla="*/ 8270082 w 8801100"/>
                  <a:gd name="connsiteY150" fmla="*/ 2014537 h 2064543"/>
                  <a:gd name="connsiteX151" fmla="*/ 8365331 w 8801100"/>
                  <a:gd name="connsiteY151" fmla="*/ 1945481 h 2064543"/>
                  <a:gd name="connsiteX152" fmla="*/ 8427244 w 8801100"/>
                  <a:gd name="connsiteY152" fmla="*/ 1952625 h 2064543"/>
                  <a:gd name="connsiteX153" fmla="*/ 8477250 w 8801100"/>
                  <a:gd name="connsiteY153" fmla="*/ 1933575 h 2064543"/>
                  <a:gd name="connsiteX154" fmla="*/ 8515350 w 8801100"/>
                  <a:gd name="connsiteY154" fmla="*/ 1905000 h 2064543"/>
                  <a:gd name="connsiteX155" fmla="*/ 8548688 w 8801100"/>
                  <a:gd name="connsiteY155" fmla="*/ 1902619 h 2064543"/>
                  <a:gd name="connsiteX156" fmla="*/ 8584406 w 8801100"/>
                  <a:gd name="connsiteY156" fmla="*/ 1933575 h 2064543"/>
                  <a:gd name="connsiteX157" fmla="*/ 8643938 w 8801100"/>
                  <a:gd name="connsiteY157" fmla="*/ 1933575 h 2064543"/>
                  <a:gd name="connsiteX158" fmla="*/ 8682037 w 8801100"/>
                  <a:gd name="connsiteY158" fmla="*/ 1914525 h 2064543"/>
                  <a:gd name="connsiteX159" fmla="*/ 8765381 w 8801100"/>
                  <a:gd name="connsiteY159" fmla="*/ 1916907 h 2064543"/>
                  <a:gd name="connsiteX160" fmla="*/ 8796338 w 8801100"/>
                  <a:gd name="connsiteY160" fmla="*/ 1871663 h 2064543"/>
                  <a:gd name="connsiteX161" fmla="*/ 8801100 w 8801100"/>
                  <a:gd name="connsiteY161" fmla="*/ 1809750 h 2064543"/>
                  <a:gd name="connsiteX162" fmla="*/ 8751093 w 8801100"/>
                  <a:gd name="connsiteY162" fmla="*/ 1769269 h 2064543"/>
                  <a:gd name="connsiteX163" fmla="*/ 8734425 w 8801100"/>
                  <a:gd name="connsiteY163" fmla="*/ 1714500 h 2064543"/>
                  <a:gd name="connsiteX164" fmla="*/ 8643938 w 8801100"/>
                  <a:gd name="connsiteY164" fmla="*/ 1652588 h 2064543"/>
                  <a:gd name="connsiteX165" fmla="*/ 8603456 w 8801100"/>
                  <a:gd name="connsiteY165" fmla="*/ 1631156 h 2064543"/>
                  <a:gd name="connsiteX166" fmla="*/ 8565356 w 8801100"/>
                  <a:gd name="connsiteY166" fmla="*/ 1585913 h 2064543"/>
                  <a:gd name="connsiteX167" fmla="*/ 8534400 w 8801100"/>
                  <a:gd name="connsiteY167" fmla="*/ 1583531 h 2064543"/>
                  <a:gd name="connsiteX168" fmla="*/ 8517731 w 8801100"/>
                  <a:gd name="connsiteY168" fmla="*/ 1531144 h 2064543"/>
                  <a:gd name="connsiteX169" fmla="*/ 8477250 w 8801100"/>
                  <a:gd name="connsiteY169" fmla="*/ 1514475 h 2064543"/>
                  <a:gd name="connsiteX170" fmla="*/ 8477250 w 8801100"/>
                  <a:gd name="connsiteY170" fmla="*/ 1514475 h 2064543"/>
                  <a:gd name="connsiteX171" fmla="*/ 8436769 w 8801100"/>
                  <a:gd name="connsiteY171" fmla="*/ 1519238 h 2064543"/>
                  <a:gd name="connsiteX172" fmla="*/ 8351043 w 8801100"/>
                  <a:gd name="connsiteY172" fmla="*/ 1445419 h 2064543"/>
                  <a:gd name="connsiteX173" fmla="*/ 8170069 w 8801100"/>
                  <a:gd name="connsiteY173" fmla="*/ 1445418 h 2064543"/>
                  <a:gd name="connsiteX174" fmla="*/ 8117681 w 8801100"/>
                  <a:gd name="connsiteY174" fmla="*/ 1483519 h 2064543"/>
                  <a:gd name="connsiteX175" fmla="*/ 8067675 w 8801100"/>
                  <a:gd name="connsiteY175" fmla="*/ 1562100 h 2064543"/>
                  <a:gd name="connsiteX176" fmla="*/ 8084344 w 8801100"/>
                  <a:gd name="connsiteY176" fmla="*/ 1583531 h 2064543"/>
                  <a:gd name="connsiteX177" fmla="*/ 8039100 w 8801100"/>
                  <a:gd name="connsiteY177" fmla="*/ 1633537 h 2064543"/>
                  <a:gd name="connsiteX178" fmla="*/ 7889081 w 8801100"/>
                  <a:gd name="connsiteY178" fmla="*/ 1557337 h 2064543"/>
                  <a:gd name="connsiteX179" fmla="*/ 7798594 w 8801100"/>
                  <a:gd name="connsiteY179" fmla="*/ 1593056 h 2064543"/>
                  <a:gd name="connsiteX180" fmla="*/ 7724775 w 8801100"/>
                  <a:gd name="connsiteY180" fmla="*/ 1590675 h 2064543"/>
                  <a:gd name="connsiteX181" fmla="*/ 7667625 w 8801100"/>
                  <a:gd name="connsiteY181" fmla="*/ 1685925 h 2064543"/>
                  <a:gd name="connsiteX182" fmla="*/ 7529513 w 8801100"/>
                  <a:gd name="connsiteY182" fmla="*/ 1588294 h 2064543"/>
                  <a:gd name="connsiteX0" fmla="*/ 7529513 w 8801100"/>
                  <a:gd name="connsiteY0" fmla="*/ 1588294 h 2064543"/>
                  <a:gd name="connsiteX1" fmla="*/ 7522369 w 8801100"/>
                  <a:gd name="connsiteY1" fmla="*/ 1533525 h 2064543"/>
                  <a:gd name="connsiteX2" fmla="*/ 7589044 w 8801100"/>
                  <a:gd name="connsiteY2" fmla="*/ 1459706 h 2064543"/>
                  <a:gd name="connsiteX3" fmla="*/ 7572375 w 8801100"/>
                  <a:gd name="connsiteY3" fmla="*/ 1388269 h 2064543"/>
                  <a:gd name="connsiteX4" fmla="*/ 7586663 w 8801100"/>
                  <a:gd name="connsiteY4" fmla="*/ 1293019 h 2064543"/>
                  <a:gd name="connsiteX5" fmla="*/ 7624763 w 8801100"/>
                  <a:gd name="connsiteY5" fmla="*/ 1235869 h 2064543"/>
                  <a:gd name="connsiteX6" fmla="*/ 7605712 w 8801100"/>
                  <a:gd name="connsiteY6" fmla="*/ 1202531 h 2064543"/>
                  <a:gd name="connsiteX7" fmla="*/ 7703343 w 8801100"/>
                  <a:gd name="connsiteY7" fmla="*/ 802481 h 2064543"/>
                  <a:gd name="connsiteX8" fmla="*/ 7696200 w 8801100"/>
                  <a:gd name="connsiteY8" fmla="*/ 773906 h 2064543"/>
                  <a:gd name="connsiteX9" fmla="*/ 7567613 w 8801100"/>
                  <a:gd name="connsiteY9" fmla="*/ 752475 h 2064543"/>
                  <a:gd name="connsiteX10" fmla="*/ 7384257 w 8801100"/>
                  <a:gd name="connsiteY10" fmla="*/ 831056 h 2064543"/>
                  <a:gd name="connsiteX11" fmla="*/ 7227093 w 8801100"/>
                  <a:gd name="connsiteY11" fmla="*/ 716756 h 2064543"/>
                  <a:gd name="connsiteX12" fmla="*/ 7150894 w 8801100"/>
                  <a:gd name="connsiteY12" fmla="*/ 723900 h 2064543"/>
                  <a:gd name="connsiteX13" fmla="*/ 7077075 w 8801100"/>
                  <a:gd name="connsiteY13" fmla="*/ 719138 h 2064543"/>
                  <a:gd name="connsiteX14" fmla="*/ 6938963 w 8801100"/>
                  <a:gd name="connsiteY14" fmla="*/ 823913 h 2064543"/>
                  <a:gd name="connsiteX15" fmla="*/ 6831806 w 8801100"/>
                  <a:gd name="connsiteY15" fmla="*/ 931069 h 2064543"/>
                  <a:gd name="connsiteX16" fmla="*/ 6788944 w 8801100"/>
                  <a:gd name="connsiteY16" fmla="*/ 1000125 h 2064543"/>
                  <a:gd name="connsiteX17" fmla="*/ 6796088 w 8801100"/>
                  <a:gd name="connsiteY17" fmla="*/ 1035844 h 2064543"/>
                  <a:gd name="connsiteX18" fmla="*/ 6734175 w 8801100"/>
                  <a:gd name="connsiteY18" fmla="*/ 1047750 h 2064543"/>
                  <a:gd name="connsiteX19" fmla="*/ 6753225 w 8801100"/>
                  <a:gd name="connsiteY19" fmla="*/ 1047750 h 2064543"/>
                  <a:gd name="connsiteX20" fmla="*/ 6719888 w 8801100"/>
                  <a:gd name="connsiteY20" fmla="*/ 1078706 h 2064543"/>
                  <a:gd name="connsiteX21" fmla="*/ 6619875 w 8801100"/>
                  <a:gd name="connsiteY21" fmla="*/ 1078707 h 2064543"/>
                  <a:gd name="connsiteX22" fmla="*/ 6524625 w 8801100"/>
                  <a:gd name="connsiteY22" fmla="*/ 1133475 h 2064543"/>
                  <a:gd name="connsiteX23" fmla="*/ 6443663 w 8801100"/>
                  <a:gd name="connsiteY23" fmla="*/ 1143000 h 2064543"/>
                  <a:gd name="connsiteX24" fmla="*/ 6403181 w 8801100"/>
                  <a:gd name="connsiteY24" fmla="*/ 1176338 h 2064543"/>
                  <a:gd name="connsiteX25" fmla="*/ 6353175 w 8801100"/>
                  <a:gd name="connsiteY25" fmla="*/ 1181100 h 2064543"/>
                  <a:gd name="connsiteX26" fmla="*/ 6231732 w 8801100"/>
                  <a:gd name="connsiteY26" fmla="*/ 1273969 h 2064543"/>
                  <a:gd name="connsiteX27" fmla="*/ 6172200 w 8801100"/>
                  <a:gd name="connsiteY27" fmla="*/ 1278731 h 2064543"/>
                  <a:gd name="connsiteX28" fmla="*/ 6119813 w 8801100"/>
                  <a:gd name="connsiteY28" fmla="*/ 1243013 h 2064543"/>
                  <a:gd name="connsiteX29" fmla="*/ 6093619 w 8801100"/>
                  <a:gd name="connsiteY29" fmla="*/ 1278731 h 2064543"/>
                  <a:gd name="connsiteX30" fmla="*/ 5895975 w 8801100"/>
                  <a:gd name="connsiteY30" fmla="*/ 1271588 h 2064543"/>
                  <a:gd name="connsiteX31" fmla="*/ 5834063 w 8801100"/>
                  <a:gd name="connsiteY31" fmla="*/ 1226344 h 2064543"/>
                  <a:gd name="connsiteX32" fmla="*/ 5636419 w 8801100"/>
                  <a:gd name="connsiteY32" fmla="*/ 1243013 h 2064543"/>
                  <a:gd name="connsiteX33" fmla="*/ 5548313 w 8801100"/>
                  <a:gd name="connsiteY33" fmla="*/ 1159668 h 2064543"/>
                  <a:gd name="connsiteX34" fmla="*/ 5472113 w 8801100"/>
                  <a:gd name="connsiteY34" fmla="*/ 1114425 h 2064543"/>
                  <a:gd name="connsiteX35" fmla="*/ 5474493 w 8801100"/>
                  <a:gd name="connsiteY35" fmla="*/ 1057275 h 2064543"/>
                  <a:gd name="connsiteX36" fmla="*/ 5455444 w 8801100"/>
                  <a:gd name="connsiteY36" fmla="*/ 1014412 h 2064543"/>
                  <a:gd name="connsiteX37" fmla="*/ 5360194 w 8801100"/>
                  <a:gd name="connsiteY37" fmla="*/ 1016794 h 2064543"/>
                  <a:gd name="connsiteX38" fmla="*/ 5264944 w 8801100"/>
                  <a:gd name="connsiteY38" fmla="*/ 995363 h 2064543"/>
                  <a:gd name="connsiteX39" fmla="*/ 5195887 w 8801100"/>
                  <a:gd name="connsiteY39" fmla="*/ 928687 h 2064543"/>
                  <a:gd name="connsiteX40" fmla="*/ 5160169 w 8801100"/>
                  <a:gd name="connsiteY40" fmla="*/ 885825 h 2064543"/>
                  <a:gd name="connsiteX41" fmla="*/ 5079206 w 8801100"/>
                  <a:gd name="connsiteY41" fmla="*/ 862012 h 2064543"/>
                  <a:gd name="connsiteX42" fmla="*/ 5005388 w 8801100"/>
                  <a:gd name="connsiteY42" fmla="*/ 873918 h 2064543"/>
                  <a:gd name="connsiteX43" fmla="*/ 4948237 w 8801100"/>
                  <a:gd name="connsiteY43" fmla="*/ 821531 h 2064543"/>
                  <a:gd name="connsiteX44" fmla="*/ 4852988 w 8801100"/>
                  <a:gd name="connsiteY44" fmla="*/ 833438 h 2064543"/>
                  <a:gd name="connsiteX45" fmla="*/ 4800600 w 8801100"/>
                  <a:gd name="connsiteY45" fmla="*/ 807244 h 2064543"/>
                  <a:gd name="connsiteX46" fmla="*/ 4719638 w 8801100"/>
                  <a:gd name="connsiteY46" fmla="*/ 850106 h 2064543"/>
                  <a:gd name="connsiteX47" fmla="*/ 4581525 w 8801100"/>
                  <a:gd name="connsiteY47" fmla="*/ 873919 h 2064543"/>
                  <a:gd name="connsiteX48" fmla="*/ 4452938 w 8801100"/>
                  <a:gd name="connsiteY48" fmla="*/ 966788 h 2064543"/>
                  <a:gd name="connsiteX49" fmla="*/ 4405312 w 8801100"/>
                  <a:gd name="connsiteY49" fmla="*/ 928688 h 2064543"/>
                  <a:gd name="connsiteX50" fmla="*/ 4383881 w 8801100"/>
                  <a:gd name="connsiteY50" fmla="*/ 959643 h 2064543"/>
                  <a:gd name="connsiteX51" fmla="*/ 4310063 w 8801100"/>
                  <a:gd name="connsiteY51" fmla="*/ 909638 h 2064543"/>
                  <a:gd name="connsiteX52" fmla="*/ 4271963 w 8801100"/>
                  <a:gd name="connsiteY52" fmla="*/ 916781 h 2064543"/>
                  <a:gd name="connsiteX53" fmla="*/ 4250531 w 8801100"/>
                  <a:gd name="connsiteY53" fmla="*/ 878681 h 2064543"/>
                  <a:gd name="connsiteX54" fmla="*/ 4191000 w 8801100"/>
                  <a:gd name="connsiteY54" fmla="*/ 883444 h 2064543"/>
                  <a:gd name="connsiteX55" fmla="*/ 4145756 w 8801100"/>
                  <a:gd name="connsiteY55" fmla="*/ 854869 h 2064543"/>
                  <a:gd name="connsiteX56" fmla="*/ 4107656 w 8801100"/>
                  <a:gd name="connsiteY56" fmla="*/ 852488 h 2064543"/>
                  <a:gd name="connsiteX57" fmla="*/ 4088606 w 8801100"/>
                  <a:gd name="connsiteY57" fmla="*/ 804862 h 2064543"/>
                  <a:gd name="connsiteX58" fmla="*/ 4074319 w 8801100"/>
                  <a:gd name="connsiteY58" fmla="*/ 773906 h 2064543"/>
                  <a:gd name="connsiteX59" fmla="*/ 4029075 w 8801100"/>
                  <a:gd name="connsiteY59" fmla="*/ 783431 h 2064543"/>
                  <a:gd name="connsiteX60" fmla="*/ 4010025 w 8801100"/>
                  <a:gd name="connsiteY60" fmla="*/ 747713 h 2064543"/>
                  <a:gd name="connsiteX61" fmla="*/ 4031457 w 8801100"/>
                  <a:gd name="connsiteY61" fmla="*/ 692944 h 2064543"/>
                  <a:gd name="connsiteX62" fmla="*/ 4000500 w 8801100"/>
                  <a:gd name="connsiteY62" fmla="*/ 666750 h 2064543"/>
                  <a:gd name="connsiteX63" fmla="*/ 4017169 w 8801100"/>
                  <a:gd name="connsiteY63" fmla="*/ 623888 h 2064543"/>
                  <a:gd name="connsiteX64" fmla="*/ 3990975 w 8801100"/>
                  <a:gd name="connsiteY64" fmla="*/ 581025 h 2064543"/>
                  <a:gd name="connsiteX65" fmla="*/ 3986213 w 8801100"/>
                  <a:gd name="connsiteY65" fmla="*/ 519113 h 2064543"/>
                  <a:gd name="connsiteX66" fmla="*/ 4010025 w 8801100"/>
                  <a:gd name="connsiteY66" fmla="*/ 454818 h 2064543"/>
                  <a:gd name="connsiteX67" fmla="*/ 3971925 w 8801100"/>
                  <a:gd name="connsiteY67" fmla="*/ 457200 h 2064543"/>
                  <a:gd name="connsiteX68" fmla="*/ 3852863 w 8801100"/>
                  <a:gd name="connsiteY68" fmla="*/ 400050 h 2064543"/>
                  <a:gd name="connsiteX69" fmla="*/ 3814762 w 8801100"/>
                  <a:gd name="connsiteY69" fmla="*/ 404812 h 2064543"/>
                  <a:gd name="connsiteX70" fmla="*/ 3609975 w 8801100"/>
                  <a:gd name="connsiteY70" fmla="*/ 295275 h 2064543"/>
                  <a:gd name="connsiteX71" fmla="*/ 3505200 w 8801100"/>
                  <a:gd name="connsiteY71" fmla="*/ 264319 h 2064543"/>
                  <a:gd name="connsiteX72" fmla="*/ 3440906 w 8801100"/>
                  <a:gd name="connsiteY72" fmla="*/ 273843 h 2064543"/>
                  <a:gd name="connsiteX73" fmla="*/ 3409950 w 8801100"/>
                  <a:gd name="connsiteY73" fmla="*/ 209550 h 2064543"/>
                  <a:gd name="connsiteX74" fmla="*/ 3352800 w 8801100"/>
                  <a:gd name="connsiteY74" fmla="*/ 209550 h 2064543"/>
                  <a:gd name="connsiteX75" fmla="*/ 3214687 w 8801100"/>
                  <a:gd name="connsiteY75" fmla="*/ 104775 h 2064543"/>
                  <a:gd name="connsiteX76" fmla="*/ 3181350 w 8801100"/>
                  <a:gd name="connsiteY76" fmla="*/ 164307 h 2064543"/>
                  <a:gd name="connsiteX77" fmla="*/ 3126581 w 8801100"/>
                  <a:gd name="connsiteY77" fmla="*/ 233363 h 2064543"/>
                  <a:gd name="connsiteX78" fmla="*/ 3083719 w 8801100"/>
                  <a:gd name="connsiteY78" fmla="*/ 250031 h 2064543"/>
                  <a:gd name="connsiteX79" fmla="*/ 3052763 w 8801100"/>
                  <a:gd name="connsiteY79" fmla="*/ 242888 h 2064543"/>
                  <a:gd name="connsiteX80" fmla="*/ 3028950 w 8801100"/>
                  <a:gd name="connsiteY80" fmla="*/ 271463 h 2064543"/>
                  <a:gd name="connsiteX81" fmla="*/ 3002756 w 8801100"/>
                  <a:gd name="connsiteY81" fmla="*/ 350044 h 2064543"/>
                  <a:gd name="connsiteX82" fmla="*/ 2959894 w 8801100"/>
                  <a:gd name="connsiteY82" fmla="*/ 347663 h 2064543"/>
                  <a:gd name="connsiteX83" fmla="*/ 2928937 w 8801100"/>
                  <a:gd name="connsiteY83" fmla="*/ 409575 h 2064543"/>
                  <a:gd name="connsiteX84" fmla="*/ 2924175 w 8801100"/>
                  <a:gd name="connsiteY84" fmla="*/ 473869 h 2064543"/>
                  <a:gd name="connsiteX85" fmla="*/ 2897982 w 8801100"/>
                  <a:gd name="connsiteY85" fmla="*/ 511969 h 2064543"/>
                  <a:gd name="connsiteX86" fmla="*/ 2924175 w 8801100"/>
                  <a:gd name="connsiteY86" fmla="*/ 571500 h 2064543"/>
                  <a:gd name="connsiteX87" fmla="*/ 2926556 w 8801100"/>
                  <a:gd name="connsiteY87" fmla="*/ 640556 h 2064543"/>
                  <a:gd name="connsiteX88" fmla="*/ 2955131 w 8801100"/>
                  <a:gd name="connsiteY88" fmla="*/ 692944 h 2064543"/>
                  <a:gd name="connsiteX89" fmla="*/ 3002757 w 8801100"/>
                  <a:gd name="connsiteY89" fmla="*/ 747713 h 2064543"/>
                  <a:gd name="connsiteX90" fmla="*/ 2952750 w 8801100"/>
                  <a:gd name="connsiteY90" fmla="*/ 885825 h 2064543"/>
                  <a:gd name="connsiteX91" fmla="*/ 2883694 w 8801100"/>
                  <a:gd name="connsiteY91" fmla="*/ 952500 h 2064543"/>
                  <a:gd name="connsiteX92" fmla="*/ 2812256 w 8801100"/>
                  <a:gd name="connsiteY92" fmla="*/ 947738 h 2064543"/>
                  <a:gd name="connsiteX93" fmla="*/ 2774156 w 8801100"/>
                  <a:gd name="connsiteY93" fmla="*/ 1004888 h 2064543"/>
                  <a:gd name="connsiteX94" fmla="*/ 2714625 w 8801100"/>
                  <a:gd name="connsiteY94" fmla="*/ 1019175 h 2064543"/>
                  <a:gd name="connsiteX95" fmla="*/ 2645569 w 8801100"/>
                  <a:gd name="connsiteY95" fmla="*/ 959644 h 2064543"/>
                  <a:gd name="connsiteX96" fmla="*/ 2590800 w 8801100"/>
                  <a:gd name="connsiteY96" fmla="*/ 931069 h 2064543"/>
                  <a:gd name="connsiteX97" fmla="*/ 2547938 w 8801100"/>
                  <a:gd name="connsiteY97" fmla="*/ 945356 h 2064543"/>
                  <a:gd name="connsiteX98" fmla="*/ 2495550 w 8801100"/>
                  <a:gd name="connsiteY98" fmla="*/ 928688 h 2064543"/>
                  <a:gd name="connsiteX99" fmla="*/ 2428875 w 8801100"/>
                  <a:gd name="connsiteY99" fmla="*/ 873919 h 2064543"/>
                  <a:gd name="connsiteX100" fmla="*/ 2383631 w 8801100"/>
                  <a:gd name="connsiteY100" fmla="*/ 885825 h 2064543"/>
                  <a:gd name="connsiteX101" fmla="*/ 2362200 w 8801100"/>
                  <a:gd name="connsiteY101" fmla="*/ 854869 h 2064543"/>
                  <a:gd name="connsiteX102" fmla="*/ 2305050 w 8801100"/>
                  <a:gd name="connsiteY102" fmla="*/ 895350 h 2064543"/>
                  <a:gd name="connsiteX103" fmla="*/ 2188369 w 8801100"/>
                  <a:gd name="connsiteY103" fmla="*/ 873919 h 2064543"/>
                  <a:gd name="connsiteX104" fmla="*/ 2138363 w 8801100"/>
                  <a:gd name="connsiteY104" fmla="*/ 821531 h 2064543"/>
                  <a:gd name="connsiteX105" fmla="*/ 2095500 w 8801100"/>
                  <a:gd name="connsiteY105" fmla="*/ 807244 h 2064543"/>
                  <a:gd name="connsiteX106" fmla="*/ 2052638 w 8801100"/>
                  <a:gd name="connsiteY106" fmla="*/ 833438 h 2064543"/>
                  <a:gd name="connsiteX107" fmla="*/ 2000250 w 8801100"/>
                  <a:gd name="connsiteY107" fmla="*/ 742950 h 2064543"/>
                  <a:gd name="connsiteX108" fmla="*/ 1990725 w 8801100"/>
                  <a:gd name="connsiteY108" fmla="*/ 595312 h 2064543"/>
                  <a:gd name="connsiteX109" fmla="*/ 1938337 w 8801100"/>
                  <a:gd name="connsiteY109" fmla="*/ 588168 h 2064543"/>
                  <a:gd name="connsiteX110" fmla="*/ 1847850 w 8801100"/>
                  <a:gd name="connsiteY110" fmla="*/ 578644 h 2064543"/>
                  <a:gd name="connsiteX111" fmla="*/ 1793081 w 8801100"/>
                  <a:gd name="connsiteY111" fmla="*/ 540544 h 2064543"/>
                  <a:gd name="connsiteX112" fmla="*/ 1724025 w 8801100"/>
                  <a:gd name="connsiteY112" fmla="*/ 550069 h 2064543"/>
                  <a:gd name="connsiteX113" fmla="*/ 1678781 w 8801100"/>
                  <a:gd name="connsiteY113" fmla="*/ 523875 h 2064543"/>
                  <a:gd name="connsiteX114" fmla="*/ 1669257 w 8801100"/>
                  <a:gd name="connsiteY114" fmla="*/ 452438 h 2064543"/>
                  <a:gd name="connsiteX115" fmla="*/ 1645444 w 8801100"/>
                  <a:gd name="connsiteY115" fmla="*/ 438150 h 2064543"/>
                  <a:gd name="connsiteX116" fmla="*/ 1607344 w 8801100"/>
                  <a:gd name="connsiteY116" fmla="*/ 485774 h 2064543"/>
                  <a:gd name="connsiteX117" fmla="*/ 1528762 w 8801100"/>
                  <a:gd name="connsiteY117" fmla="*/ 411956 h 2064543"/>
                  <a:gd name="connsiteX118" fmla="*/ 1488281 w 8801100"/>
                  <a:gd name="connsiteY118" fmla="*/ 452438 h 2064543"/>
                  <a:gd name="connsiteX119" fmla="*/ 1412081 w 8801100"/>
                  <a:gd name="connsiteY119" fmla="*/ 438150 h 2064543"/>
                  <a:gd name="connsiteX120" fmla="*/ 1333500 w 8801100"/>
                  <a:gd name="connsiteY120" fmla="*/ 464344 h 2064543"/>
                  <a:gd name="connsiteX121" fmla="*/ 1273969 w 8801100"/>
                  <a:gd name="connsiteY121" fmla="*/ 511968 h 2064543"/>
                  <a:gd name="connsiteX122" fmla="*/ 1200150 w 8801100"/>
                  <a:gd name="connsiteY122" fmla="*/ 523875 h 2064543"/>
                  <a:gd name="connsiteX123" fmla="*/ 1164431 w 8801100"/>
                  <a:gd name="connsiteY123" fmla="*/ 516731 h 2064543"/>
                  <a:gd name="connsiteX124" fmla="*/ 1085851 w 8801100"/>
                  <a:gd name="connsiteY124" fmla="*/ 547688 h 2064543"/>
                  <a:gd name="connsiteX125" fmla="*/ 1064419 w 8801100"/>
                  <a:gd name="connsiteY125" fmla="*/ 576263 h 2064543"/>
                  <a:gd name="connsiteX126" fmla="*/ 997744 w 8801100"/>
                  <a:gd name="connsiteY126" fmla="*/ 566738 h 2064543"/>
                  <a:gd name="connsiteX127" fmla="*/ 928688 w 8801100"/>
                  <a:gd name="connsiteY127" fmla="*/ 590550 h 2064543"/>
                  <a:gd name="connsiteX128" fmla="*/ 873919 w 8801100"/>
                  <a:gd name="connsiteY128" fmla="*/ 628650 h 2064543"/>
                  <a:gd name="connsiteX129" fmla="*/ 778669 w 8801100"/>
                  <a:gd name="connsiteY129" fmla="*/ 642937 h 2064543"/>
                  <a:gd name="connsiteX130" fmla="*/ 764381 w 8801100"/>
                  <a:gd name="connsiteY130" fmla="*/ 664369 h 2064543"/>
                  <a:gd name="connsiteX131" fmla="*/ 776287 w 8801100"/>
                  <a:gd name="connsiteY131" fmla="*/ 709613 h 2064543"/>
                  <a:gd name="connsiteX132" fmla="*/ 676276 w 8801100"/>
                  <a:gd name="connsiteY132" fmla="*/ 762000 h 2064543"/>
                  <a:gd name="connsiteX133" fmla="*/ 638175 w 8801100"/>
                  <a:gd name="connsiteY133" fmla="*/ 733424 h 2064543"/>
                  <a:gd name="connsiteX134" fmla="*/ 607219 w 8801100"/>
                  <a:gd name="connsiteY134" fmla="*/ 790575 h 2064543"/>
                  <a:gd name="connsiteX135" fmla="*/ 550069 w 8801100"/>
                  <a:gd name="connsiteY135" fmla="*/ 752475 h 2064543"/>
                  <a:gd name="connsiteX136" fmla="*/ 514350 w 8801100"/>
                  <a:gd name="connsiteY136" fmla="*/ 781050 h 2064543"/>
                  <a:gd name="connsiteX137" fmla="*/ 478631 w 8801100"/>
                  <a:gd name="connsiteY137" fmla="*/ 745331 h 2064543"/>
                  <a:gd name="connsiteX138" fmla="*/ 426244 w 8801100"/>
                  <a:gd name="connsiteY138" fmla="*/ 757238 h 2064543"/>
                  <a:gd name="connsiteX139" fmla="*/ 381000 w 8801100"/>
                  <a:gd name="connsiteY139" fmla="*/ 728663 h 2064543"/>
                  <a:gd name="connsiteX140" fmla="*/ 357188 w 8801100"/>
                  <a:gd name="connsiteY140" fmla="*/ 747713 h 2064543"/>
                  <a:gd name="connsiteX141" fmla="*/ 333375 w 8801100"/>
                  <a:gd name="connsiteY141" fmla="*/ 807244 h 2064543"/>
                  <a:gd name="connsiteX142" fmla="*/ 261938 w 8801100"/>
                  <a:gd name="connsiteY142" fmla="*/ 845343 h 2064543"/>
                  <a:gd name="connsiteX143" fmla="*/ 209550 w 8801100"/>
                  <a:gd name="connsiteY143" fmla="*/ 816769 h 2064543"/>
                  <a:gd name="connsiteX144" fmla="*/ 119063 w 8801100"/>
                  <a:gd name="connsiteY144" fmla="*/ 826294 h 2064543"/>
                  <a:gd name="connsiteX145" fmla="*/ 71437 w 8801100"/>
                  <a:gd name="connsiteY145" fmla="*/ 792957 h 2064543"/>
                  <a:gd name="connsiteX146" fmla="*/ 0 w 8801100"/>
                  <a:gd name="connsiteY146" fmla="*/ 812006 h 2064543"/>
                  <a:gd name="connsiteX147" fmla="*/ 4762 w 8801100"/>
                  <a:gd name="connsiteY147" fmla="*/ 0 h 2064543"/>
                  <a:gd name="connsiteX148" fmla="*/ 8243888 w 8801100"/>
                  <a:gd name="connsiteY148" fmla="*/ 2064543 h 2064543"/>
                  <a:gd name="connsiteX149" fmla="*/ 8270082 w 8801100"/>
                  <a:gd name="connsiteY149" fmla="*/ 2014537 h 2064543"/>
                  <a:gd name="connsiteX150" fmla="*/ 8365331 w 8801100"/>
                  <a:gd name="connsiteY150" fmla="*/ 1945481 h 2064543"/>
                  <a:gd name="connsiteX151" fmla="*/ 8427244 w 8801100"/>
                  <a:gd name="connsiteY151" fmla="*/ 1952625 h 2064543"/>
                  <a:gd name="connsiteX152" fmla="*/ 8477250 w 8801100"/>
                  <a:gd name="connsiteY152" fmla="*/ 1933575 h 2064543"/>
                  <a:gd name="connsiteX153" fmla="*/ 8515350 w 8801100"/>
                  <a:gd name="connsiteY153" fmla="*/ 1905000 h 2064543"/>
                  <a:gd name="connsiteX154" fmla="*/ 8548688 w 8801100"/>
                  <a:gd name="connsiteY154" fmla="*/ 1902619 h 2064543"/>
                  <a:gd name="connsiteX155" fmla="*/ 8584406 w 8801100"/>
                  <a:gd name="connsiteY155" fmla="*/ 1933575 h 2064543"/>
                  <a:gd name="connsiteX156" fmla="*/ 8643938 w 8801100"/>
                  <a:gd name="connsiteY156" fmla="*/ 1933575 h 2064543"/>
                  <a:gd name="connsiteX157" fmla="*/ 8682037 w 8801100"/>
                  <a:gd name="connsiteY157" fmla="*/ 1914525 h 2064543"/>
                  <a:gd name="connsiteX158" fmla="*/ 8765381 w 8801100"/>
                  <a:gd name="connsiteY158" fmla="*/ 1916907 h 2064543"/>
                  <a:gd name="connsiteX159" fmla="*/ 8796338 w 8801100"/>
                  <a:gd name="connsiteY159" fmla="*/ 1871663 h 2064543"/>
                  <a:gd name="connsiteX160" fmla="*/ 8801100 w 8801100"/>
                  <a:gd name="connsiteY160" fmla="*/ 1809750 h 2064543"/>
                  <a:gd name="connsiteX161" fmla="*/ 8751093 w 8801100"/>
                  <a:gd name="connsiteY161" fmla="*/ 1769269 h 2064543"/>
                  <a:gd name="connsiteX162" fmla="*/ 8734425 w 8801100"/>
                  <a:gd name="connsiteY162" fmla="*/ 1714500 h 2064543"/>
                  <a:gd name="connsiteX163" fmla="*/ 8643938 w 8801100"/>
                  <a:gd name="connsiteY163" fmla="*/ 1652588 h 2064543"/>
                  <a:gd name="connsiteX164" fmla="*/ 8603456 w 8801100"/>
                  <a:gd name="connsiteY164" fmla="*/ 1631156 h 2064543"/>
                  <a:gd name="connsiteX165" fmla="*/ 8565356 w 8801100"/>
                  <a:gd name="connsiteY165" fmla="*/ 1585913 h 2064543"/>
                  <a:gd name="connsiteX166" fmla="*/ 8534400 w 8801100"/>
                  <a:gd name="connsiteY166" fmla="*/ 1583531 h 2064543"/>
                  <a:gd name="connsiteX167" fmla="*/ 8517731 w 8801100"/>
                  <a:gd name="connsiteY167" fmla="*/ 1531144 h 2064543"/>
                  <a:gd name="connsiteX168" fmla="*/ 8477250 w 8801100"/>
                  <a:gd name="connsiteY168" fmla="*/ 1514475 h 2064543"/>
                  <a:gd name="connsiteX169" fmla="*/ 8477250 w 8801100"/>
                  <a:gd name="connsiteY169" fmla="*/ 1514475 h 2064543"/>
                  <a:gd name="connsiteX170" fmla="*/ 8436769 w 8801100"/>
                  <a:gd name="connsiteY170" fmla="*/ 1519238 h 2064543"/>
                  <a:gd name="connsiteX171" fmla="*/ 8351043 w 8801100"/>
                  <a:gd name="connsiteY171" fmla="*/ 1445419 h 2064543"/>
                  <a:gd name="connsiteX172" fmla="*/ 8170069 w 8801100"/>
                  <a:gd name="connsiteY172" fmla="*/ 1445418 h 2064543"/>
                  <a:gd name="connsiteX173" fmla="*/ 8117681 w 8801100"/>
                  <a:gd name="connsiteY173" fmla="*/ 1483519 h 2064543"/>
                  <a:gd name="connsiteX174" fmla="*/ 8067675 w 8801100"/>
                  <a:gd name="connsiteY174" fmla="*/ 1562100 h 2064543"/>
                  <a:gd name="connsiteX175" fmla="*/ 8084344 w 8801100"/>
                  <a:gd name="connsiteY175" fmla="*/ 1583531 h 2064543"/>
                  <a:gd name="connsiteX176" fmla="*/ 8039100 w 8801100"/>
                  <a:gd name="connsiteY176" fmla="*/ 1633537 h 2064543"/>
                  <a:gd name="connsiteX177" fmla="*/ 7889081 w 8801100"/>
                  <a:gd name="connsiteY177" fmla="*/ 1557337 h 2064543"/>
                  <a:gd name="connsiteX178" fmla="*/ 7798594 w 8801100"/>
                  <a:gd name="connsiteY178" fmla="*/ 1593056 h 2064543"/>
                  <a:gd name="connsiteX179" fmla="*/ 7724775 w 8801100"/>
                  <a:gd name="connsiteY179" fmla="*/ 1590675 h 2064543"/>
                  <a:gd name="connsiteX180" fmla="*/ 7667625 w 8801100"/>
                  <a:gd name="connsiteY180" fmla="*/ 1685925 h 2064543"/>
                  <a:gd name="connsiteX181" fmla="*/ 7529513 w 8801100"/>
                  <a:gd name="connsiteY181" fmla="*/ 1588294 h 2064543"/>
                  <a:gd name="connsiteX0" fmla="*/ 7529513 w 8801100"/>
                  <a:gd name="connsiteY0" fmla="*/ 1588294 h 2014537"/>
                  <a:gd name="connsiteX1" fmla="*/ 7522369 w 8801100"/>
                  <a:gd name="connsiteY1" fmla="*/ 1533525 h 2014537"/>
                  <a:gd name="connsiteX2" fmla="*/ 7589044 w 8801100"/>
                  <a:gd name="connsiteY2" fmla="*/ 1459706 h 2014537"/>
                  <a:gd name="connsiteX3" fmla="*/ 7572375 w 8801100"/>
                  <a:gd name="connsiteY3" fmla="*/ 1388269 h 2014537"/>
                  <a:gd name="connsiteX4" fmla="*/ 7586663 w 8801100"/>
                  <a:gd name="connsiteY4" fmla="*/ 1293019 h 2014537"/>
                  <a:gd name="connsiteX5" fmla="*/ 7624763 w 8801100"/>
                  <a:gd name="connsiteY5" fmla="*/ 1235869 h 2014537"/>
                  <a:gd name="connsiteX6" fmla="*/ 7605712 w 8801100"/>
                  <a:gd name="connsiteY6" fmla="*/ 1202531 h 2014537"/>
                  <a:gd name="connsiteX7" fmla="*/ 7703343 w 8801100"/>
                  <a:gd name="connsiteY7" fmla="*/ 802481 h 2014537"/>
                  <a:gd name="connsiteX8" fmla="*/ 7696200 w 8801100"/>
                  <a:gd name="connsiteY8" fmla="*/ 773906 h 2014537"/>
                  <a:gd name="connsiteX9" fmla="*/ 7567613 w 8801100"/>
                  <a:gd name="connsiteY9" fmla="*/ 752475 h 2014537"/>
                  <a:gd name="connsiteX10" fmla="*/ 7384257 w 8801100"/>
                  <a:gd name="connsiteY10" fmla="*/ 831056 h 2014537"/>
                  <a:gd name="connsiteX11" fmla="*/ 7227093 w 8801100"/>
                  <a:gd name="connsiteY11" fmla="*/ 716756 h 2014537"/>
                  <a:gd name="connsiteX12" fmla="*/ 7150894 w 8801100"/>
                  <a:gd name="connsiteY12" fmla="*/ 723900 h 2014537"/>
                  <a:gd name="connsiteX13" fmla="*/ 7077075 w 8801100"/>
                  <a:gd name="connsiteY13" fmla="*/ 719138 h 2014537"/>
                  <a:gd name="connsiteX14" fmla="*/ 6938963 w 8801100"/>
                  <a:gd name="connsiteY14" fmla="*/ 823913 h 2014537"/>
                  <a:gd name="connsiteX15" fmla="*/ 6831806 w 8801100"/>
                  <a:gd name="connsiteY15" fmla="*/ 931069 h 2014537"/>
                  <a:gd name="connsiteX16" fmla="*/ 6788944 w 8801100"/>
                  <a:gd name="connsiteY16" fmla="*/ 1000125 h 2014537"/>
                  <a:gd name="connsiteX17" fmla="*/ 6796088 w 8801100"/>
                  <a:gd name="connsiteY17" fmla="*/ 1035844 h 2014537"/>
                  <a:gd name="connsiteX18" fmla="*/ 6734175 w 8801100"/>
                  <a:gd name="connsiteY18" fmla="*/ 1047750 h 2014537"/>
                  <a:gd name="connsiteX19" fmla="*/ 6753225 w 8801100"/>
                  <a:gd name="connsiteY19" fmla="*/ 1047750 h 2014537"/>
                  <a:gd name="connsiteX20" fmla="*/ 6719888 w 8801100"/>
                  <a:gd name="connsiteY20" fmla="*/ 1078706 h 2014537"/>
                  <a:gd name="connsiteX21" fmla="*/ 6619875 w 8801100"/>
                  <a:gd name="connsiteY21" fmla="*/ 1078707 h 2014537"/>
                  <a:gd name="connsiteX22" fmla="*/ 6524625 w 8801100"/>
                  <a:gd name="connsiteY22" fmla="*/ 1133475 h 2014537"/>
                  <a:gd name="connsiteX23" fmla="*/ 6443663 w 8801100"/>
                  <a:gd name="connsiteY23" fmla="*/ 1143000 h 2014537"/>
                  <a:gd name="connsiteX24" fmla="*/ 6403181 w 8801100"/>
                  <a:gd name="connsiteY24" fmla="*/ 1176338 h 2014537"/>
                  <a:gd name="connsiteX25" fmla="*/ 6353175 w 8801100"/>
                  <a:gd name="connsiteY25" fmla="*/ 1181100 h 2014537"/>
                  <a:gd name="connsiteX26" fmla="*/ 6231732 w 8801100"/>
                  <a:gd name="connsiteY26" fmla="*/ 1273969 h 2014537"/>
                  <a:gd name="connsiteX27" fmla="*/ 6172200 w 8801100"/>
                  <a:gd name="connsiteY27" fmla="*/ 1278731 h 2014537"/>
                  <a:gd name="connsiteX28" fmla="*/ 6119813 w 8801100"/>
                  <a:gd name="connsiteY28" fmla="*/ 1243013 h 2014537"/>
                  <a:gd name="connsiteX29" fmla="*/ 6093619 w 8801100"/>
                  <a:gd name="connsiteY29" fmla="*/ 1278731 h 2014537"/>
                  <a:gd name="connsiteX30" fmla="*/ 5895975 w 8801100"/>
                  <a:gd name="connsiteY30" fmla="*/ 1271588 h 2014537"/>
                  <a:gd name="connsiteX31" fmla="*/ 5834063 w 8801100"/>
                  <a:gd name="connsiteY31" fmla="*/ 1226344 h 2014537"/>
                  <a:gd name="connsiteX32" fmla="*/ 5636419 w 8801100"/>
                  <a:gd name="connsiteY32" fmla="*/ 1243013 h 2014537"/>
                  <a:gd name="connsiteX33" fmla="*/ 5548313 w 8801100"/>
                  <a:gd name="connsiteY33" fmla="*/ 1159668 h 2014537"/>
                  <a:gd name="connsiteX34" fmla="*/ 5472113 w 8801100"/>
                  <a:gd name="connsiteY34" fmla="*/ 1114425 h 2014537"/>
                  <a:gd name="connsiteX35" fmla="*/ 5474493 w 8801100"/>
                  <a:gd name="connsiteY35" fmla="*/ 1057275 h 2014537"/>
                  <a:gd name="connsiteX36" fmla="*/ 5455444 w 8801100"/>
                  <a:gd name="connsiteY36" fmla="*/ 1014412 h 2014537"/>
                  <a:gd name="connsiteX37" fmla="*/ 5360194 w 8801100"/>
                  <a:gd name="connsiteY37" fmla="*/ 1016794 h 2014537"/>
                  <a:gd name="connsiteX38" fmla="*/ 5264944 w 8801100"/>
                  <a:gd name="connsiteY38" fmla="*/ 995363 h 2014537"/>
                  <a:gd name="connsiteX39" fmla="*/ 5195887 w 8801100"/>
                  <a:gd name="connsiteY39" fmla="*/ 928687 h 2014537"/>
                  <a:gd name="connsiteX40" fmla="*/ 5160169 w 8801100"/>
                  <a:gd name="connsiteY40" fmla="*/ 885825 h 2014537"/>
                  <a:gd name="connsiteX41" fmla="*/ 5079206 w 8801100"/>
                  <a:gd name="connsiteY41" fmla="*/ 862012 h 2014537"/>
                  <a:gd name="connsiteX42" fmla="*/ 5005388 w 8801100"/>
                  <a:gd name="connsiteY42" fmla="*/ 873918 h 2014537"/>
                  <a:gd name="connsiteX43" fmla="*/ 4948237 w 8801100"/>
                  <a:gd name="connsiteY43" fmla="*/ 821531 h 2014537"/>
                  <a:gd name="connsiteX44" fmla="*/ 4852988 w 8801100"/>
                  <a:gd name="connsiteY44" fmla="*/ 833438 h 2014537"/>
                  <a:gd name="connsiteX45" fmla="*/ 4800600 w 8801100"/>
                  <a:gd name="connsiteY45" fmla="*/ 807244 h 2014537"/>
                  <a:gd name="connsiteX46" fmla="*/ 4719638 w 8801100"/>
                  <a:gd name="connsiteY46" fmla="*/ 850106 h 2014537"/>
                  <a:gd name="connsiteX47" fmla="*/ 4581525 w 8801100"/>
                  <a:gd name="connsiteY47" fmla="*/ 873919 h 2014537"/>
                  <a:gd name="connsiteX48" fmla="*/ 4452938 w 8801100"/>
                  <a:gd name="connsiteY48" fmla="*/ 966788 h 2014537"/>
                  <a:gd name="connsiteX49" fmla="*/ 4405312 w 8801100"/>
                  <a:gd name="connsiteY49" fmla="*/ 928688 h 2014537"/>
                  <a:gd name="connsiteX50" fmla="*/ 4383881 w 8801100"/>
                  <a:gd name="connsiteY50" fmla="*/ 959643 h 2014537"/>
                  <a:gd name="connsiteX51" fmla="*/ 4310063 w 8801100"/>
                  <a:gd name="connsiteY51" fmla="*/ 909638 h 2014537"/>
                  <a:gd name="connsiteX52" fmla="*/ 4271963 w 8801100"/>
                  <a:gd name="connsiteY52" fmla="*/ 916781 h 2014537"/>
                  <a:gd name="connsiteX53" fmla="*/ 4250531 w 8801100"/>
                  <a:gd name="connsiteY53" fmla="*/ 878681 h 2014537"/>
                  <a:gd name="connsiteX54" fmla="*/ 4191000 w 8801100"/>
                  <a:gd name="connsiteY54" fmla="*/ 883444 h 2014537"/>
                  <a:gd name="connsiteX55" fmla="*/ 4145756 w 8801100"/>
                  <a:gd name="connsiteY55" fmla="*/ 854869 h 2014537"/>
                  <a:gd name="connsiteX56" fmla="*/ 4107656 w 8801100"/>
                  <a:gd name="connsiteY56" fmla="*/ 852488 h 2014537"/>
                  <a:gd name="connsiteX57" fmla="*/ 4088606 w 8801100"/>
                  <a:gd name="connsiteY57" fmla="*/ 804862 h 2014537"/>
                  <a:gd name="connsiteX58" fmla="*/ 4074319 w 8801100"/>
                  <a:gd name="connsiteY58" fmla="*/ 773906 h 2014537"/>
                  <a:gd name="connsiteX59" fmla="*/ 4029075 w 8801100"/>
                  <a:gd name="connsiteY59" fmla="*/ 783431 h 2014537"/>
                  <a:gd name="connsiteX60" fmla="*/ 4010025 w 8801100"/>
                  <a:gd name="connsiteY60" fmla="*/ 747713 h 2014537"/>
                  <a:gd name="connsiteX61" fmla="*/ 4031457 w 8801100"/>
                  <a:gd name="connsiteY61" fmla="*/ 692944 h 2014537"/>
                  <a:gd name="connsiteX62" fmla="*/ 4000500 w 8801100"/>
                  <a:gd name="connsiteY62" fmla="*/ 666750 h 2014537"/>
                  <a:gd name="connsiteX63" fmla="*/ 4017169 w 8801100"/>
                  <a:gd name="connsiteY63" fmla="*/ 623888 h 2014537"/>
                  <a:gd name="connsiteX64" fmla="*/ 3990975 w 8801100"/>
                  <a:gd name="connsiteY64" fmla="*/ 581025 h 2014537"/>
                  <a:gd name="connsiteX65" fmla="*/ 3986213 w 8801100"/>
                  <a:gd name="connsiteY65" fmla="*/ 519113 h 2014537"/>
                  <a:gd name="connsiteX66" fmla="*/ 4010025 w 8801100"/>
                  <a:gd name="connsiteY66" fmla="*/ 454818 h 2014537"/>
                  <a:gd name="connsiteX67" fmla="*/ 3971925 w 8801100"/>
                  <a:gd name="connsiteY67" fmla="*/ 457200 h 2014537"/>
                  <a:gd name="connsiteX68" fmla="*/ 3852863 w 8801100"/>
                  <a:gd name="connsiteY68" fmla="*/ 400050 h 2014537"/>
                  <a:gd name="connsiteX69" fmla="*/ 3814762 w 8801100"/>
                  <a:gd name="connsiteY69" fmla="*/ 404812 h 2014537"/>
                  <a:gd name="connsiteX70" fmla="*/ 3609975 w 8801100"/>
                  <a:gd name="connsiteY70" fmla="*/ 295275 h 2014537"/>
                  <a:gd name="connsiteX71" fmla="*/ 3505200 w 8801100"/>
                  <a:gd name="connsiteY71" fmla="*/ 264319 h 2014537"/>
                  <a:gd name="connsiteX72" fmla="*/ 3440906 w 8801100"/>
                  <a:gd name="connsiteY72" fmla="*/ 273843 h 2014537"/>
                  <a:gd name="connsiteX73" fmla="*/ 3409950 w 8801100"/>
                  <a:gd name="connsiteY73" fmla="*/ 209550 h 2014537"/>
                  <a:gd name="connsiteX74" fmla="*/ 3352800 w 8801100"/>
                  <a:gd name="connsiteY74" fmla="*/ 209550 h 2014537"/>
                  <a:gd name="connsiteX75" fmla="*/ 3214687 w 8801100"/>
                  <a:gd name="connsiteY75" fmla="*/ 104775 h 2014537"/>
                  <a:gd name="connsiteX76" fmla="*/ 3181350 w 8801100"/>
                  <a:gd name="connsiteY76" fmla="*/ 164307 h 2014537"/>
                  <a:gd name="connsiteX77" fmla="*/ 3126581 w 8801100"/>
                  <a:gd name="connsiteY77" fmla="*/ 233363 h 2014537"/>
                  <a:gd name="connsiteX78" fmla="*/ 3083719 w 8801100"/>
                  <a:gd name="connsiteY78" fmla="*/ 250031 h 2014537"/>
                  <a:gd name="connsiteX79" fmla="*/ 3052763 w 8801100"/>
                  <a:gd name="connsiteY79" fmla="*/ 242888 h 2014537"/>
                  <a:gd name="connsiteX80" fmla="*/ 3028950 w 8801100"/>
                  <a:gd name="connsiteY80" fmla="*/ 271463 h 2014537"/>
                  <a:gd name="connsiteX81" fmla="*/ 3002756 w 8801100"/>
                  <a:gd name="connsiteY81" fmla="*/ 350044 h 2014537"/>
                  <a:gd name="connsiteX82" fmla="*/ 2959894 w 8801100"/>
                  <a:gd name="connsiteY82" fmla="*/ 347663 h 2014537"/>
                  <a:gd name="connsiteX83" fmla="*/ 2928937 w 8801100"/>
                  <a:gd name="connsiteY83" fmla="*/ 409575 h 2014537"/>
                  <a:gd name="connsiteX84" fmla="*/ 2924175 w 8801100"/>
                  <a:gd name="connsiteY84" fmla="*/ 473869 h 2014537"/>
                  <a:gd name="connsiteX85" fmla="*/ 2897982 w 8801100"/>
                  <a:gd name="connsiteY85" fmla="*/ 511969 h 2014537"/>
                  <a:gd name="connsiteX86" fmla="*/ 2924175 w 8801100"/>
                  <a:gd name="connsiteY86" fmla="*/ 571500 h 2014537"/>
                  <a:gd name="connsiteX87" fmla="*/ 2926556 w 8801100"/>
                  <a:gd name="connsiteY87" fmla="*/ 640556 h 2014537"/>
                  <a:gd name="connsiteX88" fmla="*/ 2955131 w 8801100"/>
                  <a:gd name="connsiteY88" fmla="*/ 692944 h 2014537"/>
                  <a:gd name="connsiteX89" fmla="*/ 3002757 w 8801100"/>
                  <a:gd name="connsiteY89" fmla="*/ 747713 h 2014537"/>
                  <a:gd name="connsiteX90" fmla="*/ 2952750 w 8801100"/>
                  <a:gd name="connsiteY90" fmla="*/ 885825 h 2014537"/>
                  <a:gd name="connsiteX91" fmla="*/ 2883694 w 8801100"/>
                  <a:gd name="connsiteY91" fmla="*/ 952500 h 2014537"/>
                  <a:gd name="connsiteX92" fmla="*/ 2812256 w 8801100"/>
                  <a:gd name="connsiteY92" fmla="*/ 947738 h 2014537"/>
                  <a:gd name="connsiteX93" fmla="*/ 2774156 w 8801100"/>
                  <a:gd name="connsiteY93" fmla="*/ 1004888 h 2014537"/>
                  <a:gd name="connsiteX94" fmla="*/ 2714625 w 8801100"/>
                  <a:gd name="connsiteY94" fmla="*/ 1019175 h 2014537"/>
                  <a:gd name="connsiteX95" fmla="*/ 2645569 w 8801100"/>
                  <a:gd name="connsiteY95" fmla="*/ 959644 h 2014537"/>
                  <a:gd name="connsiteX96" fmla="*/ 2590800 w 8801100"/>
                  <a:gd name="connsiteY96" fmla="*/ 931069 h 2014537"/>
                  <a:gd name="connsiteX97" fmla="*/ 2547938 w 8801100"/>
                  <a:gd name="connsiteY97" fmla="*/ 945356 h 2014537"/>
                  <a:gd name="connsiteX98" fmla="*/ 2495550 w 8801100"/>
                  <a:gd name="connsiteY98" fmla="*/ 928688 h 2014537"/>
                  <a:gd name="connsiteX99" fmla="*/ 2428875 w 8801100"/>
                  <a:gd name="connsiteY99" fmla="*/ 873919 h 2014537"/>
                  <a:gd name="connsiteX100" fmla="*/ 2383631 w 8801100"/>
                  <a:gd name="connsiteY100" fmla="*/ 885825 h 2014537"/>
                  <a:gd name="connsiteX101" fmla="*/ 2362200 w 8801100"/>
                  <a:gd name="connsiteY101" fmla="*/ 854869 h 2014537"/>
                  <a:gd name="connsiteX102" fmla="*/ 2305050 w 8801100"/>
                  <a:gd name="connsiteY102" fmla="*/ 895350 h 2014537"/>
                  <a:gd name="connsiteX103" fmla="*/ 2188369 w 8801100"/>
                  <a:gd name="connsiteY103" fmla="*/ 873919 h 2014537"/>
                  <a:gd name="connsiteX104" fmla="*/ 2138363 w 8801100"/>
                  <a:gd name="connsiteY104" fmla="*/ 821531 h 2014537"/>
                  <a:gd name="connsiteX105" fmla="*/ 2095500 w 8801100"/>
                  <a:gd name="connsiteY105" fmla="*/ 807244 h 2014537"/>
                  <a:gd name="connsiteX106" fmla="*/ 2052638 w 8801100"/>
                  <a:gd name="connsiteY106" fmla="*/ 833438 h 2014537"/>
                  <a:gd name="connsiteX107" fmla="*/ 2000250 w 8801100"/>
                  <a:gd name="connsiteY107" fmla="*/ 742950 h 2014537"/>
                  <a:gd name="connsiteX108" fmla="*/ 1990725 w 8801100"/>
                  <a:gd name="connsiteY108" fmla="*/ 595312 h 2014537"/>
                  <a:gd name="connsiteX109" fmla="*/ 1938337 w 8801100"/>
                  <a:gd name="connsiteY109" fmla="*/ 588168 h 2014537"/>
                  <a:gd name="connsiteX110" fmla="*/ 1847850 w 8801100"/>
                  <a:gd name="connsiteY110" fmla="*/ 578644 h 2014537"/>
                  <a:gd name="connsiteX111" fmla="*/ 1793081 w 8801100"/>
                  <a:gd name="connsiteY111" fmla="*/ 540544 h 2014537"/>
                  <a:gd name="connsiteX112" fmla="*/ 1724025 w 8801100"/>
                  <a:gd name="connsiteY112" fmla="*/ 550069 h 2014537"/>
                  <a:gd name="connsiteX113" fmla="*/ 1678781 w 8801100"/>
                  <a:gd name="connsiteY113" fmla="*/ 523875 h 2014537"/>
                  <a:gd name="connsiteX114" fmla="*/ 1669257 w 8801100"/>
                  <a:gd name="connsiteY114" fmla="*/ 452438 h 2014537"/>
                  <a:gd name="connsiteX115" fmla="*/ 1645444 w 8801100"/>
                  <a:gd name="connsiteY115" fmla="*/ 438150 h 2014537"/>
                  <a:gd name="connsiteX116" fmla="*/ 1607344 w 8801100"/>
                  <a:gd name="connsiteY116" fmla="*/ 485774 h 2014537"/>
                  <a:gd name="connsiteX117" fmla="*/ 1528762 w 8801100"/>
                  <a:gd name="connsiteY117" fmla="*/ 411956 h 2014537"/>
                  <a:gd name="connsiteX118" fmla="*/ 1488281 w 8801100"/>
                  <a:gd name="connsiteY118" fmla="*/ 452438 h 2014537"/>
                  <a:gd name="connsiteX119" fmla="*/ 1412081 w 8801100"/>
                  <a:gd name="connsiteY119" fmla="*/ 438150 h 2014537"/>
                  <a:gd name="connsiteX120" fmla="*/ 1333500 w 8801100"/>
                  <a:gd name="connsiteY120" fmla="*/ 464344 h 2014537"/>
                  <a:gd name="connsiteX121" fmla="*/ 1273969 w 8801100"/>
                  <a:gd name="connsiteY121" fmla="*/ 511968 h 2014537"/>
                  <a:gd name="connsiteX122" fmla="*/ 1200150 w 8801100"/>
                  <a:gd name="connsiteY122" fmla="*/ 523875 h 2014537"/>
                  <a:gd name="connsiteX123" fmla="*/ 1164431 w 8801100"/>
                  <a:gd name="connsiteY123" fmla="*/ 516731 h 2014537"/>
                  <a:gd name="connsiteX124" fmla="*/ 1085851 w 8801100"/>
                  <a:gd name="connsiteY124" fmla="*/ 547688 h 2014537"/>
                  <a:gd name="connsiteX125" fmla="*/ 1064419 w 8801100"/>
                  <a:gd name="connsiteY125" fmla="*/ 576263 h 2014537"/>
                  <a:gd name="connsiteX126" fmla="*/ 997744 w 8801100"/>
                  <a:gd name="connsiteY126" fmla="*/ 566738 h 2014537"/>
                  <a:gd name="connsiteX127" fmla="*/ 928688 w 8801100"/>
                  <a:gd name="connsiteY127" fmla="*/ 590550 h 2014537"/>
                  <a:gd name="connsiteX128" fmla="*/ 873919 w 8801100"/>
                  <a:gd name="connsiteY128" fmla="*/ 628650 h 2014537"/>
                  <a:gd name="connsiteX129" fmla="*/ 778669 w 8801100"/>
                  <a:gd name="connsiteY129" fmla="*/ 642937 h 2014537"/>
                  <a:gd name="connsiteX130" fmla="*/ 764381 w 8801100"/>
                  <a:gd name="connsiteY130" fmla="*/ 664369 h 2014537"/>
                  <a:gd name="connsiteX131" fmla="*/ 776287 w 8801100"/>
                  <a:gd name="connsiteY131" fmla="*/ 709613 h 2014537"/>
                  <a:gd name="connsiteX132" fmla="*/ 676276 w 8801100"/>
                  <a:gd name="connsiteY132" fmla="*/ 762000 h 2014537"/>
                  <a:gd name="connsiteX133" fmla="*/ 638175 w 8801100"/>
                  <a:gd name="connsiteY133" fmla="*/ 733424 h 2014537"/>
                  <a:gd name="connsiteX134" fmla="*/ 607219 w 8801100"/>
                  <a:gd name="connsiteY134" fmla="*/ 790575 h 2014537"/>
                  <a:gd name="connsiteX135" fmla="*/ 550069 w 8801100"/>
                  <a:gd name="connsiteY135" fmla="*/ 752475 h 2014537"/>
                  <a:gd name="connsiteX136" fmla="*/ 514350 w 8801100"/>
                  <a:gd name="connsiteY136" fmla="*/ 781050 h 2014537"/>
                  <a:gd name="connsiteX137" fmla="*/ 478631 w 8801100"/>
                  <a:gd name="connsiteY137" fmla="*/ 745331 h 2014537"/>
                  <a:gd name="connsiteX138" fmla="*/ 426244 w 8801100"/>
                  <a:gd name="connsiteY138" fmla="*/ 757238 h 2014537"/>
                  <a:gd name="connsiteX139" fmla="*/ 381000 w 8801100"/>
                  <a:gd name="connsiteY139" fmla="*/ 728663 h 2014537"/>
                  <a:gd name="connsiteX140" fmla="*/ 357188 w 8801100"/>
                  <a:gd name="connsiteY140" fmla="*/ 747713 h 2014537"/>
                  <a:gd name="connsiteX141" fmla="*/ 333375 w 8801100"/>
                  <a:gd name="connsiteY141" fmla="*/ 807244 h 2014537"/>
                  <a:gd name="connsiteX142" fmla="*/ 261938 w 8801100"/>
                  <a:gd name="connsiteY142" fmla="*/ 845343 h 2014537"/>
                  <a:gd name="connsiteX143" fmla="*/ 209550 w 8801100"/>
                  <a:gd name="connsiteY143" fmla="*/ 816769 h 2014537"/>
                  <a:gd name="connsiteX144" fmla="*/ 119063 w 8801100"/>
                  <a:gd name="connsiteY144" fmla="*/ 826294 h 2014537"/>
                  <a:gd name="connsiteX145" fmla="*/ 71437 w 8801100"/>
                  <a:gd name="connsiteY145" fmla="*/ 792957 h 2014537"/>
                  <a:gd name="connsiteX146" fmla="*/ 0 w 8801100"/>
                  <a:gd name="connsiteY146" fmla="*/ 812006 h 2014537"/>
                  <a:gd name="connsiteX147" fmla="*/ 4762 w 8801100"/>
                  <a:gd name="connsiteY147" fmla="*/ 0 h 2014537"/>
                  <a:gd name="connsiteX148" fmla="*/ 8270082 w 8801100"/>
                  <a:gd name="connsiteY148" fmla="*/ 2014537 h 2014537"/>
                  <a:gd name="connsiteX149" fmla="*/ 8365331 w 8801100"/>
                  <a:gd name="connsiteY149" fmla="*/ 1945481 h 2014537"/>
                  <a:gd name="connsiteX150" fmla="*/ 8427244 w 8801100"/>
                  <a:gd name="connsiteY150" fmla="*/ 1952625 h 2014537"/>
                  <a:gd name="connsiteX151" fmla="*/ 8477250 w 8801100"/>
                  <a:gd name="connsiteY151" fmla="*/ 1933575 h 2014537"/>
                  <a:gd name="connsiteX152" fmla="*/ 8515350 w 8801100"/>
                  <a:gd name="connsiteY152" fmla="*/ 1905000 h 2014537"/>
                  <a:gd name="connsiteX153" fmla="*/ 8548688 w 8801100"/>
                  <a:gd name="connsiteY153" fmla="*/ 1902619 h 2014537"/>
                  <a:gd name="connsiteX154" fmla="*/ 8584406 w 8801100"/>
                  <a:gd name="connsiteY154" fmla="*/ 1933575 h 2014537"/>
                  <a:gd name="connsiteX155" fmla="*/ 8643938 w 8801100"/>
                  <a:gd name="connsiteY155" fmla="*/ 1933575 h 2014537"/>
                  <a:gd name="connsiteX156" fmla="*/ 8682037 w 8801100"/>
                  <a:gd name="connsiteY156" fmla="*/ 1914525 h 2014537"/>
                  <a:gd name="connsiteX157" fmla="*/ 8765381 w 8801100"/>
                  <a:gd name="connsiteY157" fmla="*/ 1916907 h 2014537"/>
                  <a:gd name="connsiteX158" fmla="*/ 8796338 w 8801100"/>
                  <a:gd name="connsiteY158" fmla="*/ 1871663 h 2014537"/>
                  <a:gd name="connsiteX159" fmla="*/ 8801100 w 8801100"/>
                  <a:gd name="connsiteY159" fmla="*/ 1809750 h 2014537"/>
                  <a:gd name="connsiteX160" fmla="*/ 8751093 w 8801100"/>
                  <a:gd name="connsiteY160" fmla="*/ 1769269 h 2014537"/>
                  <a:gd name="connsiteX161" fmla="*/ 8734425 w 8801100"/>
                  <a:gd name="connsiteY161" fmla="*/ 1714500 h 2014537"/>
                  <a:gd name="connsiteX162" fmla="*/ 8643938 w 8801100"/>
                  <a:gd name="connsiteY162" fmla="*/ 1652588 h 2014537"/>
                  <a:gd name="connsiteX163" fmla="*/ 8603456 w 8801100"/>
                  <a:gd name="connsiteY163" fmla="*/ 1631156 h 2014537"/>
                  <a:gd name="connsiteX164" fmla="*/ 8565356 w 8801100"/>
                  <a:gd name="connsiteY164" fmla="*/ 1585913 h 2014537"/>
                  <a:gd name="connsiteX165" fmla="*/ 8534400 w 8801100"/>
                  <a:gd name="connsiteY165" fmla="*/ 1583531 h 2014537"/>
                  <a:gd name="connsiteX166" fmla="*/ 8517731 w 8801100"/>
                  <a:gd name="connsiteY166" fmla="*/ 1531144 h 2014537"/>
                  <a:gd name="connsiteX167" fmla="*/ 8477250 w 8801100"/>
                  <a:gd name="connsiteY167" fmla="*/ 1514475 h 2014537"/>
                  <a:gd name="connsiteX168" fmla="*/ 8477250 w 8801100"/>
                  <a:gd name="connsiteY168" fmla="*/ 1514475 h 2014537"/>
                  <a:gd name="connsiteX169" fmla="*/ 8436769 w 8801100"/>
                  <a:gd name="connsiteY169" fmla="*/ 1519238 h 2014537"/>
                  <a:gd name="connsiteX170" fmla="*/ 8351043 w 8801100"/>
                  <a:gd name="connsiteY170" fmla="*/ 1445419 h 2014537"/>
                  <a:gd name="connsiteX171" fmla="*/ 8170069 w 8801100"/>
                  <a:gd name="connsiteY171" fmla="*/ 1445418 h 2014537"/>
                  <a:gd name="connsiteX172" fmla="*/ 8117681 w 8801100"/>
                  <a:gd name="connsiteY172" fmla="*/ 1483519 h 2014537"/>
                  <a:gd name="connsiteX173" fmla="*/ 8067675 w 8801100"/>
                  <a:gd name="connsiteY173" fmla="*/ 1562100 h 2014537"/>
                  <a:gd name="connsiteX174" fmla="*/ 8084344 w 8801100"/>
                  <a:gd name="connsiteY174" fmla="*/ 1583531 h 2014537"/>
                  <a:gd name="connsiteX175" fmla="*/ 8039100 w 8801100"/>
                  <a:gd name="connsiteY175" fmla="*/ 1633537 h 2014537"/>
                  <a:gd name="connsiteX176" fmla="*/ 7889081 w 8801100"/>
                  <a:gd name="connsiteY176" fmla="*/ 1557337 h 2014537"/>
                  <a:gd name="connsiteX177" fmla="*/ 7798594 w 8801100"/>
                  <a:gd name="connsiteY177" fmla="*/ 1593056 h 2014537"/>
                  <a:gd name="connsiteX178" fmla="*/ 7724775 w 8801100"/>
                  <a:gd name="connsiteY178" fmla="*/ 1590675 h 2014537"/>
                  <a:gd name="connsiteX179" fmla="*/ 7667625 w 8801100"/>
                  <a:gd name="connsiteY179" fmla="*/ 1685925 h 2014537"/>
                  <a:gd name="connsiteX180" fmla="*/ 7529513 w 8801100"/>
                  <a:gd name="connsiteY180" fmla="*/ 1588294 h 2014537"/>
                  <a:gd name="connsiteX0" fmla="*/ 7529513 w 8801100"/>
                  <a:gd name="connsiteY0" fmla="*/ 1588294 h 1952625"/>
                  <a:gd name="connsiteX1" fmla="*/ 7522369 w 8801100"/>
                  <a:gd name="connsiteY1" fmla="*/ 1533525 h 1952625"/>
                  <a:gd name="connsiteX2" fmla="*/ 7589044 w 8801100"/>
                  <a:gd name="connsiteY2" fmla="*/ 1459706 h 1952625"/>
                  <a:gd name="connsiteX3" fmla="*/ 7572375 w 8801100"/>
                  <a:gd name="connsiteY3" fmla="*/ 1388269 h 1952625"/>
                  <a:gd name="connsiteX4" fmla="*/ 7586663 w 8801100"/>
                  <a:gd name="connsiteY4" fmla="*/ 1293019 h 1952625"/>
                  <a:gd name="connsiteX5" fmla="*/ 7624763 w 8801100"/>
                  <a:gd name="connsiteY5" fmla="*/ 1235869 h 1952625"/>
                  <a:gd name="connsiteX6" fmla="*/ 7605712 w 8801100"/>
                  <a:gd name="connsiteY6" fmla="*/ 1202531 h 1952625"/>
                  <a:gd name="connsiteX7" fmla="*/ 7703343 w 8801100"/>
                  <a:gd name="connsiteY7" fmla="*/ 802481 h 1952625"/>
                  <a:gd name="connsiteX8" fmla="*/ 7696200 w 8801100"/>
                  <a:gd name="connsiteY8" fmla="*/ 773906 h 1952625"/>
                  <a:gd name="connsiteX9" fmla="*/ 7567613 w 8801100"/>
                  <a:gd name="connsiteY9" fmla="*/ 752475 h 1952625"/>
                  <a:gd name="connsiteX10" fmla="*/ 7384257 w 8801100"/>
                  <a:gd name="connsiteY10" fmla="*/ 831056 h 1952625"/>
                  <a:gd name="connsiteX11" fmla="*/ 7227093 w 8801100"/>
                  <a:gd name="connsiteY11" fmla="*/ 716756 h 1952625"/>
                  <a:gd name="connsiteX12" fmla="*/ 7150894 w 8801100"/>
                  <a:gd name="connsiteY12" fmla="*/ 723900 h 1952625"/>
                  <a:gd name="connsiteX13" fmla="*/ 7077075 w 8801100"/>
                  <a:gd name="connsiteY13" fmla="*/ 719138 h 1952625"/>
                  <a:gd name="connsiteX14" fmla="*/ 6938963 w 8801100"/>
                  <a:gd name="connsiteY14" fmla="*/ 823913 h 1952625"/>
                  <a:gd name="connsiteX15" fmla="*/ 6831806 w 8801100"/>
                  <a:gd name="connsiteY15" fmla="*/ 931069 h 1952625"/>
                  <a:gd name="connsiteX16" fmla="*/ 6788944 w 8801100"/>
                  <a:gd name="connsiteY16" fmla="*/ 1000125 h 1952625"/>
                  <a:gd name="connsiteX17" fmla="*/ 6796088 w 8801100"/>
                  <a:gd name="connsiteY17" fmla="*/ 1035844 h 1952625"/>
                  <a:gd name="connsiteX18" fmla="*/ 6734175 w 8801100"/>
                  <a:gd name="connsiteY18" fmla="*/ 1047750 h 1952625"/>
                  <a:gd name="connsiteX19" fmla="*/ 6753225 w 8801100"/>
                  <a:gd name="connsiteY19" fmla="*/ 1047750 h 1952625"/>
                  <a:gd name="connsiteX20" fmla="*/ 6719888 w 8801100"/>
                  <a:gd name="connsiteY20" fmla="*/ 1078706 h 1952625"/>
                  <a:gd name="connsiteX21" fmla="*/ 6619875 w 8801100"/>
                  <a:gd name="connsiteY21" fmla="*/ 1078707 h 1952625"/>
                  <a:gd name="connsiteX22" fmla="*/ 6524625 w 8801100"/>
                  <a:gd name="connsiteY22" fmla="*/ 1133475 h 1952625"/>
                  <a:gd name="connsiteX23" fmla="*/ 6443663 w 8801100"/>
                  <a:gd name="connsiteY23" fmla="*/ 1143000 h 1952625"/>
                  <a:gd name="connsiteX24" fmla="*/ 6403181 w 8801100"/>
                  <a:gd name="connsiteY24" fmla="*/ 1176338 h 1952625"/>
                  <a:gd name="connsiteX25" fmla="*/ 6353175 w 8801100"/>
                  <a:gd name="connsiteY25" fmla="*/ 1181100 h 1952625"/>
                  <a:gd name="connsiteX26" fmla="*/ 6231732 w 8801100"/>
                  <a:gd name="connsiteY26" fmla="*/ 1273969 h 1952625"/>
                  <a:gd name="connsiteX27" fmla="*/ 6172200 w 8801100"/>
                  <a:gd name="connsiteY27" fmla="*/ 1278731 h 1952625"/>
                  <a:gd name="connsiteX28" fmla="*/ 6119813 w 8801100"/>
                  <a:gd name="connsiteY28" fmla="*/ 1243013 h 1952625"/>
                  <a:gd name="connsiteX29" fmla="*/ 6093619 w 8801100"/>
                  <a:gd name="connsiteY29" fmla="*/ 1278731 h 1952625"/>
                  <a:gd name="connsiteX30" fmla="*/ 5895975 w 8801100"/>
                  <a:gd name="connsiteY30" fmla="*/ 1271588 h 1952625"/>
                  <a:gd name="connsiteX31" fmla="*/ 5834063 w 8801100"/>
                  <a:gd name="connsiteY31" fmla="*/ 1226344 h 1952625"/>
                  <a:gd name="connsiteX32" fmla="*/ 5636419 w 8801100"/>
                  <a:gd name="connsiteY32" fmla="*/ 1243013 h 1952625"/>
                  <a:gd name="connsiteX33" fmla="*/ 5548313 w 8801100"/>
                  <a:gd name="connsiteY33" fmla="*/ 1159668 h 1952625"/>
                  <a:gd name="connsiteX34" fmla="*/ 5472113 w 8801100"/>
                  <a:gd name="connsiteY34" fmla="*/ 1114425 h 1952625"/>
                  <a:gd name="connsiteX35" fmla="*/ 5474493 w 8801100"/>
                  <a:gd name="connsiteY35" fmla="*/ 1057275 h 1952625"/>
                  <a:gd name="connsiteX36" fmla="*/ 5455444 w 8801100"/>
                  <a:gd name="connsiteY36" fmla="*/ 1014412 h 1952625"/>
                  <a:gd name="connsiteX37" fmla="*/ 5360194 w 8801100"/>
                  <a:gd name="connsiteY37" fmla="*/ 1016794 h 1952625"/>
                  <a:gd name="connsiteX38" fmla="*/ 5264944 w 8801100"/>
                  <a:gd name="connsiteY38" fmla="*/ 995363 h 1952625"/>
                  <a:gd name="connsiteX39" fmla="*/ 5195887 w 8801100"/>
                  <a:gd name="connsiteY39" fmla="*/ 928687 h 1952625"/>
                  <a:gd name="connsiteX40" fmla="*/ 5160169 w 8801100"/>
                  <a:gd name="connsiteY40" fmla="*/ 885825 h 1952625"/>
                  <a:gd name="connsiteX41" fmla="*/ 5079206 w 8801100"/>
                  <a:gd name="connsiteY41" fmla="*/ 862012 h 1952625"/>
                  <a:gd name="connsiteX42" fmla="*/ 5005388 w 8801100"/>
                  <a:gd name="connsiteY42" fmla="*/ 873918 h 1952625"/>
                  <a:gd name="connsiteX43" fmla="*/ 4948237 w 8801100"/>
                  <a:gd name="connsiteY43" fmla="*/ 821531 h 1952625"/>
                  <a:gd name="connsiteX44" fmla="*/ 4852988 w 8801100"/>
                  <a:gd name="connsiteY44" fmla="*/ 833438 h 1952625"/>
                  <a:gd name="connsiteX45" fmla="*/ 4800600 w 8801100"/>
                  <a:gd name="connsiteY45" fmla="*/ 807244 h 1952625"/>
                  <a:gd name="connsiteX46" fmla="*/ 4719638 w 8801100"/>
                  <a:gd name="connsiteY46" fmla="*/ 850106 h 1952625"/>
                  <a:gd name="connsiteX47" fmla="*/ 4581525 w 8801100"/>
                  <a:gd name="connsiteY47" fmla="*/ 873919 h 1952625"/>
                  <a:gd name="connsiteX48" fmla="*/ 4452938 w 8801100"/>
                  <a:gd name="connsiteY48" fmla="*/ 966788 h 1952625"/>
                  <a:gd name="connsiteX49" fmla="*/ 4405312 w 8801100"/>
                  <a:gd name="connsiteY49" fmla="*/ 928688 h 1952625"/>
                  <a:gd name="connsiteX50" fmla="*/ 4383881 w 8801100"/>
                  <a:gd name="connsiteY50" fmla="*/ 959643 h 1952625"/>
                  <a:gd name="connsiteX51" fmla="*/ 4310063 w 8801100"/>
                  <a:gd name="connsiteY51" fmla="*/ 909638 h 1952625"/>
                  <a:gd name="connsiteX52" fmla="*/ 4271963 w 8801100"/>
                  <a:gd name="connsiteY52" fmla="*/ 916781 h 1952625"/>
                  <a:gd name="connsiteX53" fmla="*/ 4250531 w 8801100"/>
                  <a:gd name="connsiteY53" fmla="*/ 878681 h 1952625"/>
                  <a:gd name="connsiteX54" fmla="*/ 4191000 w 8801100"/>
                  <a:gd name="connsiteY54" fmla="*/ 883444 h 1952625"/>
                  <a:gd name="connsiteX55" fmla="*/ 4145756 w 8801100"/>
                  <a:gd name="connsiteY55" fmla="*/ 854869 h 1952625"/>
                  <a:gd name="connsiteX56" fmla="*/ 4107656 w 8801100"/>
                  <a:gd name="connsiteY56" fmla="*/ 852488 h 1952625"/>
                  <a:gd name="connsiteX57" fmla="*/ 4088606 w 8801100"/>
                  <a:gd name="connsiteY57" fmla="*/ 804862 h 1952625"/>
                  <a:gd name="connsiteX58" fmla="*/ 4074319 w 8801100"/>
                  <a:gd name="connsiteY58" fmla="*/ 773906 h 1952625"/>
                  <a:gd name="connsiteX59" fmla="*/ 4029075 w 8801100"/>
                  <a:gd name="connsiteY59" fmla="*/ 783431 h 1952625"/>
                  <a:gd name="connsiteX60" fmla="*/ 4010025 w 8801100"/>
                  <a:gd name="connsiteY60" fmla="*/ 747713 h 1952625"/>
                  <a:gd name="connsiteX61" fmla="*/ 4031457 w 8801100"/>
                  <a:gd name="connsiteY61" fmla="*/ 692944 h 1952625"/>
                  <a:gd name="connsiteX62" fmla="*/ 4000500 w 8801100"/>
                  <a:gd name="connsiteY62" fmla="*/ 666750 h 1952625"/>
                  <a:gd name="connsiteX63" fmla="*/ 4017169 w 8801100"/>
                  <a:gd name="connsiteY63" fmla="*/ 623888 h 1952625"/>
                  <a:gd name="connsiteX64" fmla="*/ 3990975 w 8801100"/>
                  <a:gd name="connsiteY64" fmla="*/ 581025 h 1952625"/>
                  <a:gd name="connsiteX65" fmla="*/ 3986213 w 8801100"/>
                  <a:gd name="connsiteY65" fmla="*/ 519113 h 1952625"/>
                  <a:gd name="connsiteX66" fmla="*/ 4010025 w 8801100"/>
                  <a:gd name="connsiteY66" fmla="*/ 454818 h 1952625"/>
                  <a:gd name="connsiteX67" fmla="*/ 3971925 w 8801100"/>
                  <a:gd name="connsiteY67" fmla="*/ 457200 h 1952625"/>
                  <a:gd name="connsiteX68" fmla="*/ 3852863 w 8801100"/>
                  <a:gd name="connsiteY68" fmla="*/ 400050 h 1952625"/>
                  <a:gd name="connsiteX69" fmla="*/ 3814762 w 8801100"/>
                  <a:gd name="connsiteY69" fmla="*/ 404812 h 1952625"/>
                  <a:gd name="connsiteX70" fmla="*/ 3609975 w 8801100"/>
                  <a:gd name="connsiteY70" fmla="*/ 295275 h 1952625"/>
                  <a:gd name="connsiteX71" fmla="*/ 3505200 w 8801100"/>
                  <a:gd name="connsiteY71" fmla="*/ 264319 h 1952625"/>
                  <a:gd name="connsiteX72" fmla="*/ 3440906 w 8801100"/>
                  <a:gd name="connsiteY72" fmla="*/ 273843 h 1952625"/>
                  <a:gd name="connsiteX73" fmla="*/ 3409950 w 8801100"/>
                  <a:gd name="connsiteY73" fmla="*/ 209550 h 1952625"/>
                  <a:gd name="connsiteX74" fmla="*/ 3352800 w 8801100"/>
                  <a:gd name="connsiteY74" fmla="*/ 209550 h 1952625"/>
                  <a:gd name="connsiteX75" fmla="*/ 3214687 w 8801100"/>
                  <a:gd name="connsiteY75" fmla="*/ 104775 h 1952625"/>
                  <a:gd name="connsiteX76" fmla="*/ 3181350 w 8801100"/>
                  <a:gd name="connsiteY76" fmla="*/ 164307 h 1952625"/>
                  <a:gd name="connsiteX77" fmla="*/ 3126581 w 8801100"/>
                  <a:gd name="connsiteY77" fmla="*/ 233363 h 1952625"/>
                  <a:gd name="connsiteX78" fmla="*/ 3083719 w 8801100"/>
                  <a:gd name="connsiteY78" fmla="*/ 250031 h 1952625"/>
                  <a:gd name="connsiteX79" fmla="*/ 3052763 w 8801100"/>
                  <a:gd name="connsiteY79" fmla="*/ 242888 h 1952625"/>
                  <a:gd name="connsiteX80" fmla="*/ 3028950 w 8801100"/>
                  <a:gd name="connsiteY80" fmla="*/ 271463 h 1952625"/>
                  <a:gd name="connsiteX81" fmla="*/ 3002756 w 8801100"/>
                  <a:gd name="connsiteY81" fmla="*/ 350044 h 1952625"/>
                  <a:gd name="connsiteX82" fmla="*/ 2959894 w 8801100"/>
                  <a:gd name="connsiteY82" fmla="*/ 347663 h 1952625"/>
                  <a:gd name="connsiteX83" fmla="*/ 2928937 w 8801100"/>
                  <a:gd name="connsiteY83" fmla="*/ 409575 h 1952625"/>
                  <a:gd name="connsiteX84" fmla="*/ 2924175 w 8801100"/>
                  <a:gd name="connsiteY84" fmla="*/ 473869 h 1952625"/>
                  <a:gd name="connsiteX85" fmla="*/ 2897982 w 8801100"/>
                  <a:gd name="connsiteY85" fmla="*/ 511969 h 1952625"/>
                  <a:gd name="connsiteX86" fmla="*/ 2924175 w 8801100"/>
                  <a:gd name="connsiteY86" fmla="*/ 571500 h 1952625"/>
                  <a:gd name="connsiteX87" fmla="*/ 2926556 w 8801100"/>
                  <a:gd name="connsiteY87" fmla="*/ 640556 h 1952625"/>
                  <a:gd name="connsiteX88" fmla="*/ 2955131 w 8801100"/>
                  <a:gd name="connsiteY88" fmla="*/ 692944 h 1952625"/>
                  <a:gd name="connsiteX89" fmla="*/ 3002757 w 8801100"/>
                  <a:gd name="connsiteY89" fmla="*/ 747713 h 1952625"/>
                  <a:gd name="connsiteX90" fmla="*/ 2952750 w 8801100"/>
                  <a:gd name="connsiteY90" fmla="*/ 885825 h 1952625"/>
                  <a:gd name="connsiteX91" fmla="*/ 2883694 w 8801100"/>
                  <a:gd name="connsiteY91" fmla="*/ 952500 h 1952625"/>
                  <a:gd name="connsiteX92" fmla="*/ 2812256 w 8801100"/>
                  <a:gd name="connsiteY92" fmla="*/ 947738 h 1952625"/>
                  <a:gd name="connsiteX93" fmla="*/ 2774156 w 8801100"/>
                  <a:gd name="connsiteY93" fmla="*/ 1004888 h 1952625"/>
                  <a:gd name="connsiteX94" fmla="*/ 2714625 w 8801100"/>
                  <a:gd name="connsiteY94" fmla="*/ 1019175 h 1952625"/>
                  <a:gd name="connsiteX95" fmla="*/ 2645569 w 8801100"/>
                  <a:gd name="connsiteY95" fmla="*/ 959644 h 1952625"/>
                  <a:gd name="connsiteX96" fmla="*/ 2590800 w 8801100"/>
                  <a:gd name="connsiteY96" fmla="*/ 931069 h 1952625"/>
                  <a:gd name="connsiteX97" fmla="*/ 2547938 w 8801100"/>
                  <a:gd name="connsiteY97" fmla="*/ 945356 h 1952625"/>
                  <a:gd name="connsiteX98" fmla="*/ 2495550 w 8801100"/>
                  <a:gd name="connsiteY98" fmla="*/ 928688 h 1952625"/>
                  <a:gd name="connsiteX99" fmla="*/ 2428875 w 8801100"/>
                  <a:gd name="connsiteY99" fmla="*/ 873919 h 1952625"/>
                  <a:gd name="connsiteX100" fmla="*/ 2383631 w 8801100"/>
                  <a:gd name="connsiteY100" fmla="*/ 885825 h 1952625"/>
                  <a:gd name="connsiteX101" fmla="*/ 2362200 w 8801100"/>
                  <a:gd name="connsiteY101" fmla="*/ 854869 h 1952625"/>
                  <a:gd name="connsiteX102" fmla="*/ 2305050 w 8801100"/>
                  <a:gd name="connsiteY102" fmla="*/ 895350 h 1952625"/>
                  <a:gd name="connsiteX103" fmla="*/ 2188369 w 8801100"/>
                  <a:gd name="connsiteY103" fmla="*/ 873919 h 1952625"/>
                  <a:gd name="connsiteX104" fmla="*/ 2138363 w 8801100"/>
                  <a:gd name="connsiteY104" fmla="*/ 821531 h 1952625"/>
                  <a:gd name="connsiteX105" fmla="*/ 2095500 w 8801100"/>
                  <a:gd name="connsiteY105" fmla="*/ 807244 h 1952625"/>
                  <a:gd name="connsiteX106" fmla="*/ 2052638 w 8801100"/>
                  <a:gd name="connsiteY106" fmla="*/ 833438 h 1952625"/>
                  <a:gd name="connsiteX107" fmla="*/ 2000250 w 8801100"/>
                  <a:gd name="connsiteY107" fmla="*/ 742950 h 1952625"/>
                  <a:gd name="connsiteX108" fmla="*/ 1990725 w 8801100"/>
                  <a:gd name="connsiteY108" fmla="*/ 595312 h 1952625"/>
                  <a:gd name="connsiteX109" fmla="*/ 1938337 w 8801100"/>
                  <a:gd name="connsiteY109" fmla="*/ 588168 h 1952625"/>
                  <a:gd name="connsiteX110" fmla="*/ 1847850 w 8801100"/>
                  <a:gd name="connsiteY110" fmla="*/ 578644 h 1952625"/>
                  <a:gd name="connsiteX111" fmla="*/ 1793081 w 8801100"/>
                  <a:gd name="connsiteY111" fmla="*/ 540544 h 1952625"/>
                  <a:gd name="connsiteX112" fmla="*/ 1724025 w 8801100"/>
                  <a:gd name="connsiteY112" fmla="*/ 550069 h 1952625"/>
                  <a:gd name="connsiteX113" fmla="*/ 1678781 w 8801100"/>
                  <a:gd name="connsiteY113" fmla="*/ 523875 h 1952625"/>
                  <a:gd name="connsiteX114" fmla="*/ 1669257 w 8801100"/>
                  <a:gd name="connsiteY114" fmla="*/ 452438 h 1952625"/>
                  <a:gd name="connsiteX115" fmla="*/ 1645444 w 8801100"/>
                  <a:gd name="connsiteY115" fmla="*/ 438150 h 1952625"/>
                  <a:gd name="connsiteX116" fmla="*/ 1607344 w 8801100"/>
                  <a:gd name="connsiteY116" fmla="*/ 485774 h 1952625"/>
                  <a:gd name="connsiteX117" fmla="*/ 1528762 w 8801100"/>
                  <a:gd name="connsiteY117" fmla="*/ 411956 h 1952625"/>
                  <a:gd name="connsiteX118" fmla="*/ 1488281 w 8801100"/>
                  <a:gd name="connsiteY118" fmla="*/ 452438 h 1952625"/>
                  <a:gd name="connsiteX119" fmla="*/ 1412081 w 8801100"/>
                  <a:gd name="connsiteY119" fmla="*/ 438150 h 1952625"/>
                  <a:gd name="connsiteX120" fmla="*/ 1333500 w 8801100"/>
                  <a:gd name="connsiteY120" fmla="*/ 464344 h 1952625"/>
                  <a:gd name="connsiteX121" fmla="*/ 1273969 w 8801100"/>
                  <a:gd name="connsiteY121" fmla="*/ 511968 h 1952625"/>
                  <a:gd name="connsiteX122" fmla="*/ 1200150 w 8801100"/>
                  <a:gd name="connsiteY122" fmla="*/ 523875 h 1952625"/>
                  <a:gd name="connsiteX123" fmla="*/ 1164431 w 8801100"/>
                  <a:gd name="connsiteY123" fmla="*/ 516731 h 1952625"/>
                  <a:gd name="connsiteX124" fmla="*/ 1085851 w 8801100"/>
                  <a:gd name="connsiteY124" fmla="*/ 547688 h 1952625"/>
                  <a:gd name="connsiteX125" fmla="*/ 1064419 w 8801100"/>
                  <a:gd name="connsiteY125" fmla="*/ 576263 h 1952625"/>
                  <a:gd name="connsiteX126" fmla="*/ 997744 w 8801100"/>
                  <a:gd name="connsiteY126" fmla="*/ 566738 h 1952625"/>
                  <a:gd name="connsiteX127" fmla="*/ 928688 w 8801100"/>
                  <a:gd name="connsiteY127" fmla="*/ 590550 h 1952625"/>
                  <a:gd name="connsiteX128" fmla="*/ 873919 w 8801100"/>
                  <a:gd name="connsiteY128" fmla="*/ 628650 h 1952625"/>
                  <a:gd name="connsiteX129" fmla="*/ 778669 w 8801100"/>
                  <a:gd name="connsiteY129" fmla="*/ 642937 h 1952625"/>
                  <a:gd name="connsiteX130" fmla="*/ 764381 w 8801100"/>
                  <a:gd name="connsiteY130" fmla="*/ 664369 h 1952625"/>
                  <a:gd name="connsiteX131" fmla="*/ 776287 w 8801100"/>
                  <a:gd name="connsiteY131" fmla="*/ 709613 h 1952625"/>
                  <a:gd name="connsiteX132" fmla="*/ 676276 w 8801100"/>
                  <a:gd name="connsiteY132" fmla="*/ 762000 h 1952625"/>
                  <a:gd name="connsiteX133" fmla="*/ 638175 w 8801100"/>
                  <a:gd name="connsiteY133" fmla="*/ 733424 h 1952625"/>
                  <a:gd name="connsiteX134" fmla="*/ 607219 w 8801100"/>
                  <a:gd name="connsiteY134" fmla="*/ 790575 h 1952625"/>
                  <a:gd name="connsiteX135" fmla="*/ 550069 w 8801100"/>
                  <a:gd name="connsiteY135" fmla="*/ 752475 h 1952625"/>
                  <a:gd name="connsiteX136" fmla="*/ 514350 w 8801100"/>
                  <a:gd name="connsiteY136" fmla="*/ 781050 h 1952625"/>
                  <a:gd name="connsiteX137" fmla="*/ 478631 w 8801100"/>
                  <a:gd name="connsiteY137" fmla="*/ 745331 h 1952625"/>
                  <a:gd name="connsiteX138" fmla="*/ 426244 w 8801100"/>
                  <a:gd name="connsiteY138" fmla="*/ 757238 h 1952625"/>
                  <a:gd name="connsiteX139" fmla="*/ 381000 w 8801100"/>
                  <a:gd name="connsiteY139" fmla="*/ 728663 h 1952625"/>
                  <a:gd name="connsiteX140" fmla="*/ 357188 w 8801100"/>
                  <a:gd name="connsiteY140" fmla="*/ 747713 h 1952625"/>
                  <a:gd name="connsiteX141" fmla="*/ 333375 w 8801100"/>
                  <a:gd name="connsiteY141" fmla="*/ 807244 h 1952625"/>
                  <a:gd name="connsiteX142" fmla="*/ 261938 w 8801100"/>
                  <a:gd name="connsiteY142" fmla="*/ 845343 h 1952625"/>
                  <a:gd name="connsiteX143" fmla="*/ 209550 w 8801100"/>
                  <a:gd name="connsiteY143" fmla="*/ 816769 h 1952625"/>
                  <a:gd name="connsiteX144" fmla="*/ 119063 w 8801100"/>
                  <a:gd name="connsiteY144" fmla="*/ 826294 h 1952625"/>
                  <a:gd name="connsiteX145" fmla="*/ 71437 w 8801100"/>
                  <a:gd name="connsiteY145" fmla="*/ 792957 h 1952625"/>
                  <a:gd name="connsiteX146" fmla="*/ 0 w 8801100"/>
                  <a:gd name="connsiteY146" fmla="*/ 812006 h 1952625"/>
                  <a:gd name="connsiteX147" fmla="*/ 4762 w 8801100"/>
                  <a:gd name="connsiteY147" fmla="*/ 0 h 1952625"/>
                  <a:gd name="connsiteX148" fmla="*/ 8365331 w 8801100"/>
                  <a:gd name="connsiteY148" fmla="*/ 1945481 h 1952625"/>
                  <a:gd name="connsiteX149" fmla="*/ 8427244 w 8801100"/>
                  <a:gd name="connsiteY149" fmla="*/ 1952625 h 1952625"/>
                  <a:gd name="connsiteX150" fmla="*/ 8477250 w 8801100"/>
                  <a:gd name="connsiteY150" fmla="*/ 1933575 h 1952625"/>
                  <a:gd name="connsiteX151" fmla="*/ 8515350 w 8801100"/>
                  <a:gd name="connsiteY151" fmla="*/ 1905000 h 1952625"/>
                  <a:gd name="connsiteX152" fmla="*/ 8548688 w 8801100"/>
                  <a:gd name="connsiteY152" fmla="*/ 1902619 h 1952625"/>
                  <a:gd name="connsiteX153" fmla="*/ 8584406 w 8801100"/>
                  <a:gd name="connsiteY153" fmla="*/ 1933575 h 1952625"/>
                  <a:gd name="connsiteX154" fmla="*/ 8643938 w 8801100"/>
                  <a:gd name="connsiteY154" fmla="*/ 1933575 h 1952625"/>
                  <a:gd name="connsiteX155" fmla="*/ 8682037 w 8801100"/>
                  <a:gd name="connsiteY155" fmla="*/ 1914525 h 1952625"/>
                  <a:gd name="connsiteX156" fmla="*/ 8765381 w 8801100"/>
                  <a:gd name="connsiteY156" fmla="*/ 1916907 h 1952625"/>
                  <a:gd name="connsiteX157" fmla="*/ 8796338 w 8801100"/>
                  <a:gd name="connsiteY157" fmla="*/ 1871663 h 1952625"/>
                  <a:gd name="connsiteX158" fmla="*/ 8801100 w 8801100"/>
                  <a:gd name="connsiteY158" fmla="*/ 1809750 h 1952625"/>
                  <a:gd name="connsiteX159" fmla="*/ 8751093 w 8801100"/>
                  <a:gd name="connsiteY159" fmla="*/ 1769269 h 1952625"/>
                  <a:gd name="connsiteX160" fmla="*/ 8734425 w 8801100"/>
                  <a:gd name="connsiteY160" fmla="*/ 1714500 h 1952625"/>
                  <a:gd name="connsiteX161" fmla="*/ 8643938 w 8801100"/>
                  <a:gd name="connsiteY161" fmla="*/ 1652588 h 1952625"/>
                  <a:gd name="connsiteX162" fmla="*/ 8603456 w 8801100"/>
                  <a:gd name="connsiteY162" fmla="*/ 1631156 h 1952625"/>
                  <a:gd name="connsiteX163" fmla="*/ 8565356 w 8801100"/>
                  <a:gd name="connsiteY163" fmla="*/ 1585913 h 1952625"/>
                  <a:gd name="connsiteX164" fmla="*/ 8534400 w 8801100"/>
                  <a:gd name="connsiteY164" fmla="*/ 1583531 h 1952625"/>
                  <a:gd name="connsiteX165" fmla="*/ 8517731 w 8801100"/>
                  <a:gd name="connsiteY165" fmla="*/ 1531144 h 1952625"/>
                  <a:gd name="connsiteX166" fmla="*/ 8477250 w 8801100"/>
                  <a:gd name="connsiteY166" fmla="*/ 1514475 h 1952625"/>
                  <a:gd name="connsiteX167" fmla="*/ 8477250 w 8801100"/>
                  <a:gd name="connsiteY167" fmla="*/ 1514475 h 1952625"/>
                  <a:gd name="connsiteX168" fmla="*/ 8436769 w 8801100"/>
                  <a:gd name="connsiteY168" fmla="*/ 1519238 h 1952625"/>
                  <a:gd name="connsiteX169" fmla="*/ 8351043 w 8801100"/>
                  <a:gd name="connsiteY169" fmla="*/ 1445419 h 1952625"/>
                  <a:gd name="connsiteX170" fmla="*/ 8170069 w 8801100"/>
                  <a:gd name="connsiteY170" fmla="*/ 1445418 h 1952625"/>
                  <a:gd name="connsiteX171" fmla="*/ 8117681 w 8801100"/>
                  <a:gd name="connsiteY171" fmla="*/ 1483519 h 1952625"/>
                  <a:gd name="connsiteX172" fmla="*/ 8067675 w 8801100"/>
                  <a:gd name="connsiteY172" fmla="*/ 1562100 h 1952625"/>
                  <a:gd name="connsiteX173" fmla="*/ 8084344 w 8801100"/>
                  <a:gd name="connsiteY173" fmla="*/ 1583531 h 1952625"/>
                  <a:gd name="connsiteX174" fmla="*/ 8039100 w 8801100"/>
                  <a:gd name="connsiteY174" fmla="*/ 1633537 h 1952625"/>
                  <a:gd name="connsiteX175" fmla="*/ 7889081 w 8801100"/>
                  <a:gd name="connsiteY175" fmla="*/ 1557337 h 1952625"/>
                  <a:gd name="connsiteX176" fmla="*/ 7798594 w 8801100"/>
                  <a:gd name="connsiteY176" fmla="*/ 1593056 h 1952625"/>
                  <a:gd name="connsiteX177" fmla="*/ 7724775 w 8801100"/>
                  <a:gd name="connsiteY177" fmla="*/ 1590675 h 1952625"/>
                  <a:gd name="connsiteX178" fmla="*/ 7667625 w 8801100"/>
                  <a:gd name="connsiteY178" fmla="*/ 1685925 h 1952625"/>
                  <a:gd name="connsiteX179" fmla="*/ 7529513 w 8801100"/>
                  <a:gd name="connsiteY179" fmla="*/ 1588294 h 1952625"/>
                  <a:gd name="connsiteX0" fmla="*/ 7529513 w 8801100"/>
                  <a:gd name="connsiteY0" fmla="*/ 1588294 h 1952625"/>
                  <a:gd name="connsiteX1" fmla="*/ 7522369 w 8801100"/>
                  <a:gd name="connsiteY1" fmla="*/ 1533525 h 1952625"/>
                  <a:gd name="connsiteX2" fmla="*/ 7589044 w 8801100"/>
                  <a:gd name="connsiteY2" fmla="*/ 1459706 h 1952625"/>
                  <a:gd name="connsiteX3" fmla="*/ 7572375 w 8801100"/>
                  <a:gd name="connsiteY3" fmla="*/ 1388269 h 1952625"/>
                  <a:gd name="connsiteX4" fmla="*/ 7586663 w 8801100"/>
                  <a:gd name="connsiteY4" fmla="*/ 1293019 h 1952625"/>
                  <a:gd name="connsiteX5" fmla="*/ 7624763 w 8801100"/>
                  <a:gd name="connsiteY5" fmla="*/ 1235869 h 1952625"/>
                  <a:gd name="connsiteX6" fmla="*/ 7605712 w 8801100"/>
                  <a:gd name="connsiteY6" fmla="*/ 1202531 h 1952625"/>
                  <a:gd name="connsiteX7" fmla="*/ 7703343 w 8801100"/>
                  <a:gd name="connsiteY7" fmla="*/ 802481 h 1952625"/>
                  <a:gd name="connsiteX8" fmla="*/ 7696200 w 8801100"/>
                  <a:gd name="connsiteY8" fmla="*/ 773906 h 1952625"/>
                  <a:gd name="connsiteX9" fmla="*/ 7567613 w 8801100"/>
                  <a:gd name="connsiteY9" fmla="*/ 752475 h 1952625"/>
                  <a:gd name="connsiteX10" fmla="*/ 7384257 w 8801100"/>
                  <a:gd name="connsiteY10" fmla="*/ 831056 h 1952625"/>
                  <a:gd name="connsiteX11" fmla="*/ 7227093 w 8801100"/>
                  <a:gd name="connsiteY11" fmla="*/ 716756 h 1952625"/>
                  <a:gd name="connsiteX12" fmla="*/ 7150894 w 8801100"/>
                  <a:gd name="connsiteY12" fmla="*/ 723900 h 1952625"/>
                  <a:gd name="connsiteX13" fmla="*/ 7077075 w 8801100"/>
                  <a:gd name="connsiteY13" fmla="*/ 719138 h 1952625"/>
                  <a:gd name="connsiteX14" fmla="*/ 6938963 w 8801100"/>
                  <a:gd name="connsiteY14" fmla="*/ 823913 h 1952625"/>
                  <a:gd name="connsiteX15" fmla="*/ 6831806 w 8801100"/>
                  <a:gd name="connsiteY15" fmla="*/ 931069 h 1952625"/>
                  <a:gd name="connsiteX16" fmla="*/ 6788944 w 8801100"/>
                  <a:gd name="connsiteY16" fmla="*/ 1000125 h 1952625"/>
                  <a:gd name="connsiteX17" fmla="*/ 6796088 w 8801100"/>
                  <a:gd name="connsiteY17" fmla="*/ 1035844 h 1952625"/>
                  <a:gd name="connsiteX18" fmla="*/ 6734175 w 8801100"/>
                  <a:gd name="connsiteY18" fmla="*/ 1047750 h 1952625"/>
                  <a:gd name="connsiteX19" fmla="*/ 6753225 w 8801100"/>
                  <a:gd name="connsiteY19" fmla="*/ 1047750 h 1952625"/>
                  <a:gd name="connsiteX20" fmla="*/ 6719888 w 8801100"/>
                  <a:gd name="connsiteY20" fmla="*/ 1078706 h 1952625"/>
                  <a:gd name="connsiteX21" fmla="*/ 6619875 w 8801100"/>
                  <a:gd name="connsiteY21" fmla="*/ 1078707 h 1952625"/>
                  <a:gd name="connsiteX22" fmla="*/ 6524625 w 8801100"/>
                  <a:gd name="connsiteY22" fmla="*/ 1133475 h 1952625"/>
                  <a:gd name="connsiteX23" fmla="*/ 6443663 w 8801100"/>
                  <a:gd name="connsiteY23" fmla="*/ 1143000 h 1952625"/>
                  <a:gd name="connsiteX24" fmla="*/ 6403181 w 8801100"/>
                  <a:gd name="connsiteY24" fmla="*/ 1176338 h 1952625"/>
                  <a:gd name="connsiteX25" fmla="*/ 6353175 w 8801100"/>
                  <a:gd name="connsiteY25" fmla="*/ 1181100 h 1952625"/>
                  <a:gd name="connsiteX26" fmla="*/ 6231732 w 8801100"/>
                  <a:gd name="connsiteY26" fmla="*/ 1273969 h 1952625"/>
                  <a:gd name="connsiteX27" fmla="*/ 6172200 w 8801100"/>
                  <a:gd name="connsiteY27" fmla="*/ 1278731 h 1952625"/>
                  <a:gd name="connsiteX28" fmla="*/ 6119813 w 8801100"/>
                  <a:gd name="connsiteY28" fmla="*/ 1243013 h 1952625"/>
                  <a:gd name="connsiteX29" fmla="*/ 6093619 w 8801100"/>
                  <a:gd name="connsiteY29" fmla="*/ 1278731 h 1952625"/>
                  <a:gd name="connsiteX30" fmla="*/ 5895975 w 8801100"/>
                  <a:gd name="connsiteY30" fmla="*/ 1271588 h 1952625"/>
                  <a:gd name="connsiteX31" fmla="*/ 5834063 w 8801100"/>
                  <a:gd name="connsiteY31" fmla="*/ 1226344 h 1952625"/>
                  <a:gd name="connsiteX32" fmla="*/ 5636419 w 8801100"/>
                  <a:gd name="connsiteY32" fmla="*/ 1243013 h 1952625"/>
                  <a:gd name="connsiteX33" fmla="*/ 5548313 w 8801100"/>
                  <a:gd name="connsiteY33" fmla="*/ 1159668 h 1952625"/>
                  <a:gd name="connsiteX34" fmla="*/ 5472113 w 8801100"/>
                  <a:gd name="connsiteY34" fmla="*/ 1114425 h 1952625"/>
                  <a:gd name="connsiteX35" fmla="*/ 5474493 w 8801100"/>
                  <a:gd name="connsiteY35" fmla="*/ 1057275 h 1952625"/>
                  <a:gd name="connsiteX36" fmla="*/ 5455444 w 8801100"/>
                  <a:gd name="connsiteY36" fmla="*/ 1014412 h 1952625"/>
                  <a:gd name="connsiteX37" fmla="*/ 5360194 w 8801100"/>
                  <a:gd name="connsiteY37" fmla="*/ 1016794 h 1952625"/>
                  <a:gd name="connsiteX38" fmla="*/ 5264944 w 8801100"/>
                  <a:gd name="connsiteY38" fmla="*/ 995363 h 1952625"/>
                  <a:gd name="connsiteX39" fmla="*/ 5195887 w 8801100"/>
                  <a:gd name="connsiteY39" fmla="*/ 928687 h 1952625"/>
                  <a:gd name="connsiteX40" fmla="*/ 5160169 w 8801100"/>
                  <a:gd name="connsiteY40" fmla="*/ 885825 h 1952625"/>
                  <a:gd name="connsiteX41" fmla="*/ 5079206 w 8801100"/>
                  <a:gd name="connsiteY41" fmla="*/ 862012 h 1952625"/>
                  <a:gd name="connsiteX42" fmla="*/ 5005388 w 8801100"/>
                  <a:gd name="connsiteY42" fmla="*/ 873918 h 1952625"/>
                  <a:gd name="connsiteX43" fmla="*/ 4948237 w 8801100"/>
                  <a:gd name="connsiteY43" fmla="*/ 821531 h 1952625"/>
                  <a:gd name="connsiteX44" fmla="*/ 4852988 w 8801100"/>
                  <a:gd name="connsiteY44" fmla="*/ 833438 h 1952625"/>
                  <a:gd name="connsiteX45" fmla="*/ 4800600 w 8801100"/>
                  <a:gd name="connsiteY45" fmla="*/ 807244 h 1952625"/>
                  <a:gd name="connsiteX46" fmla="*/ 4719638 w 8801100"/>
                  <a:gd name="connsiteY46" fmla="*/ 850106 h 1952625"/>
                  <a:gd name="connsiteX47" fmla="*/ 4581525 w 8801100"/>
                  <a:gd name="connsiteY47" fmla="*/ 873919 h 1952625"/>
                  <a:gd name="connsiteX48" fmla="*/ 4452938 w 8801100"/>
                  <a:gd name="connsiteY48" fmla="*/ 966788 h 1952625"/>
                  <a:gd name="connsiteX49" fmla="*/ 4405312 w 8801100"/>
                  <a:gd name="connsiteY49" fmla="*/ 928688 h 1952625"/>
                  <a:gd name="connsiteX50" fmla="*/ 4383881 w 8801100"/>
                  <a:gd name="connsiteY50" fmla="*/ 959643 h 1952625"/>
                  <a:gd name="connsiteX51" fmla="*/ 4310063 w 8801100"/>
                  <a:gd name="connsiteY51" fmla="*/ 909638 h 1952625"/>
                  <a:gd name="connsiteX52" fmla="*/ 4271963 w 8801100"/>
                  <a:gd name="connsiteY52" fmla="*/ 916781 h 1952625"/>
                  <a:gd name="connsiteX53" fmla="*/ 4250531 w 8801100"/>
                  <a:gd name="connsiteY53" fmla="*/ 878681 h 1952625"/>
                  <a:gd name="connsiteX54" fmla="*/ 4191000 w 8801100"/>
                  <a:gd name="connsiteY54" fmla="*/ 883444 h 1952625"/>
                  <a:gd name="connsiteX55" fmla="*/ 4145756 w 8801100"/>
                  <a:gd name="connsiteY55" fmla="*/ 854869 h 1952625"/>
                  <a:gd name="connsiteX56" fmla="*/ 4107656 w 8801100"/>
                  <a:gd name="connsiteY56" fmla="*/ 852488 h 1952625"/>
                  <a:gd name="connsiteX57" fmla="*/ 4088606 w 8801100"/>
                  <a:gd name="connsiteY57" fmla="*/ 804862 h 1952625"/>
                  <a:gd name="connsiteX58" fmla="*/ 4074319 w 8801100"/>
                  <a:gd name="connsiteY58" fmla="*/ 773906 h 1952625"/>
                  <a:gd name="connsiteX59" fmla="*/ 4029075 w 8801100"/>
                  <a:gd name="connsiteY59" fmla="*/ 783431 h 1952625"/>
                  <a:gd name="connsiteX60" fmla="*/ 4010025 w 8801100"/>
                  <a:gd name="connsiteY60" fmla="*/ 747713 h 1952625"/>
                  <a:gd name="connsiteX61" fmla="*/ 4031457 w 8801100"/>
                  <a:gd name="connsiteY61" fmla="*/ 692944 h 1952625"/>
                  <a:gd name="connsiteX62" fmla="*/ 4000500 w 8801100"/>
                  <a:gd name="connsiteY62" fmla="*/ 666750 h 1952625"/>
                  <a:gd name="connsiteX63" fmla="*/ 4017169 w 8801100"/>
                  <a:gd name="connsiteY63" fmla="*/ 623888 h 1952625"/>
                  <a:gd name="connsiteX64" fmla="*/ 3990975 w 8801100"/>
                  <a:gd name="connsiteY64" fmla="*/ 581025 h 1952625"/>
                  <a:gd name="connsiteX65" fmla="*/ 3986213 w 8801100"/>
                  <a:gd name="connsiteY65" fmla="*/ 519113 h 1952625"/>
                  <a:gd name="connsiteX66" fmla="*/ 4010025 w 8801100"/>
                  <a:gd name="connsiteY66" fmla="*/ 454818 h 1952625"/>
                  <a:gd name="connsiteX67" fmla="*/ 3971925 w 8801100"/>
                  <a:gd name="connsiteY67" fmla="*/ 457200 h 1952625"/>
                  <a:gd name="connsiteX68" fmla="*/ 3852863 w 8801100"/>
                  <a:gd name="connsiteY68" fmla="*/ 400050 h 1952625"/>
                  <a:gd name="connsiteX69" fmla="*/ 3814762 w 8801100"/>
                  <a:gd name="connsiteY69" fmla="*/ 404812 h 1952625"/>
                  <a:gd name="connsiteX70" fmla="*/ 3609975 w 8801100"/>
                  <a:gd name="connsiteY70" fmla="*/ 295275 h 1952625"/>
                  <a:gd name="connsiteX71" fmla="*/ 3505200 w 8801100"/>
                  <a:gd name="connsiteY71" fmla="*/ 264319 h 1952625"/>
                  <a:gd name="connsiteX72" fmla="*/ 3440906 w 8801100"/>
                  <a:gd name="connsiteY72" fmla="*/ 273843 h 1952625"/>
                  <a:gd name="connsiteX73" fmla="*/ 3409950 w 8801100"/>
                  <a:gd name="connsiteY73" fmla="*/ 209550 h 1952625"/>
                  <a:gd name="connsiteX74" fmla="*/ 3352800 w 8801100"/>
                  <a:gd name="connsiteY74" fmla="*/ 209550 h 1952625"/>
                  <a:gd name="connsiteX75" fmla="*/ 3214687 w 8801100"/>
                  <a:gd name="connsiteY75" fmla="*/ 104775 h 1952625"/>
                  <a:gd name="connsiteX76" fmla="*/ 3181350 w 8801100"/>
                  <a:gd name="connsiteY76" fmla="*/ 164307 h 1952625"/>
                  <a:gd name="connsiteX77" fmla="*/ 3126581 w 8801100"/>
                  <a:gd name="connsiteY77" fmla="*/ 233363 h 1952625"/>
                  <a:gd name="connsiteX78" fmla="*/ 3083719 w 8801100"/>
                  <a:gd name="connsiteY78" fmla="*/ 250031 h 1952625"/>
                  <a:gd name="connsiteX79" fmla="*/ 3052763 w 8801100"/>
                  <a:gd name="connsiteY79" fmla="*/ 242888 h 1952625"/>
                  <a:gd name="connsiteX80" fmla="*/ 3028950 w 8801100"/>
                  <a:gd name="connsiteY80" fmla="*/ 271463 h 1952625"/>
                  <a:gd name="connsiteX81" fmla="*/ 3002756 w 8801100"/>
                  <a:gd name="connsiteY81" fmla="*/ 350044 h 1952625"/>
                  <a:gd name="connsiteX82" fmla="*/ 2959894 w 8801100"/>
                  <a:gd name="connsiteY82" fmla="*/ 347663 h 1952625"/>
                  <a:gd name="connsiteX83" fmla="*/ 2928937 w 8801100"/>
                  <a:gd name="connsiteY83" fmla="*/ 409575 h 1952625"/>
                  <a:gd name="connsiteX84" fmla="*/ 2924175 w 8801100"/>
                  <a:gd name="connsiteY84" fmla="*/ 473869 h 1952625"/>
                  <a:gd name="connsiteX85" fmla="*/ 2897982 w 8801100"/>
                  <a:gd name="connsiteY85" fmla="*/ 511969 h 1952625"/>
                  <a:gd name="connsiteX86" fmla="*/ 2924175 w 8801100"/>
                  <a:gd name="connsiteY86" fmla="*/ 571500 h 1952625"/>
                  <a:gd name="connsiteX87" fmla="*/ 2926556 w 8801100"/>
                  <a:gd name="connsiteY87" fmla="*/ 640556 h 1952625"/>
                  <a:gd name="connsiteX88" fmla="*/ 2955131 w 8801100"/>
                  <a:gd name="connsiteY88" fmla="*/ 692944 h 1952625"/>
                  <a:gd name="connsiteX89" fmla="*/ 3002757 w 8801100"/>
                  <a:gd name="connsiteY89" fmla="*/ 747713 h 1952625"/>
                  <a:gd name="connsiteX90" fmla="*/ 2952750 w 8801100"/>
                  <a:gd name="connsiteY90" fmla="*/ 885825 h 1952625"/>
                  <a:gd name="connsiteX91" fmla="*/ 2883694 w 8801100"/>
                  <a:gd name="connsiteY91" fmla="*/ 952500 h 1952625"/>
                  <a:gd name="connsiteX92" fmla="*/ 2812256 w 8801100"/>
                  <a:gd name="connsiteY92" fmla="*/ 947738 h 1952625"/>
                  <a:gd name="connsiteX93" fmla="*/ 2774156 w 8801100"/>
                  <a:gd name="connsiteY93" fmla="*/ 1004888 h 1952625"/>
                  <a:gd name="connsiteX94" fmla="*/ 2714625 w 8801100"/>
                  <a:gd name="connsiteY94" fmla="*/ 1019175 h 1952625"/>
                  <a:gd name="connsiteX95" fmla="*/ 2645569 w 8801100"/>
                  <a:gd name="connsiteY95" fmla="*/ 959644 h 1952625"/>
                  <a:gd name="connsiteX96" fmla="*/ 2590800 w 8801100"/>
                  <a:gd name="connsiteY96" fmla="*/ 931069 h 1952625"/>
                  <a:gd name="connsiteX97" fmla="*/ 2547938 w 8801100"/>
                  <a:gd name="connsiteY97" fmla="*/ 945356 h 1952625"/>
                  <a:gd name="connsiteX98" fmla="*/ 2495550 w 8801100"/>
                  <a:gd name="connsiteY98" fmla="*/ 928688 h 1952625"/>
                  <a:gd name="connsiteX99" fmla="*/ 2428875 w 8801100"/>
                  <a:gd name="connsiteY99" fmla="*/ 873919 h 1952625"/>
                  <a:gd name="connsiteX100" fmla="*/ 2383631 w 8801100"/>
                  <a:gd name="connsiteY100" fmla="*/ 885825 h 1952625"/>
                  <a:gd name="connsiteX101" fmla="*/ 2362200 w 8801100"/>
                  <a:gd name="connsiteY101" fmla="*/ 854869 h 1952625"/>
                  <a:gd name="connsiteX102" fmla="*/ 2305050 w 8801100"/>
                  <a:gd name="connsiteY102" fmla="*/ 895350 h 1952625"/>
                  <a:gd name="connsiteX103" fmla="*/ 2188369 w 8801100"/>
                  <a:gd name="connsiteY103" fmla="*/ 873919 h 1952625"/>
                  <a:gd name="connsiteX104" fmla="*/ 2138363 w 8801100"/>
                  <a:gd name="connsiteY104" fmla="*/ 821531 h 1952625"/>
                  <a:gd name="connsiteX105" fmla="*/ 2095500 w 8801100"/>
                  <a:gd name="connsiteY105" fmla="*/ 807244 h 1952625"/>
                  <a:gd name="connsiteX106" fmla="*/ 2052638 w 8801100"/>
                  <a:gd name="connsiteY106" fmla="*/ 833438 h 1952625"/>
                  <a:gd name="connsiteX107" fmla="*/ 2000250 w 8801100"/>
                  <a:gd name="connsiteY107" fmla="*/ 742950 h 1952625"/>
                  <a:gd name="connsiteX108" fmla="*/ 1990725 w 8801100"/>
                  <a:gd name="connsiteY108" fmla="*/ 595312 h 1952625"/>
                  <a:gd name="connsiteX109" fmla="*/ 1938337 w 8801100"/>
                  <a:gd name="connsiteY109" fmla="*/ 588168 h 1952625"/>
                  <a:gd name="connsiteX110" fmla="*/ 1847850 w 8801100"/>
                  <a:gd name="connsiteY110" fmla="*/ 578644 h 1952625"/>
                  <a:gd name="connsiteX111" fmla="*/ 1793081 w 8801100"/>
                  <a:gd name="connsiteY111" fmla="*/ 540544 h 1952625"/>
                  <a:gd name="connsiteX112" fmla="*/ 1724025 w 8801100"/>
                  <a:gd name="connsiteY112" fmla="*/ 550069 h 1952625"/>
                  <a:gd name="connsiteX113" fmla="*/ 1678781 w 8801100"/>
                  <a:gd name="connsiteY113" fmla="*/ 523875 h 1952625"/>
                  <a:gd name="connsiteX114" fmla="*/ 1669257 w 8801100"/>
                  <a:gd name="connsiteY114" fmla="*/ 452438 h 1952625"/>
                  <a:gd name="connsiteX115" fmla="*/ 1645444 w 8801100"/>
                  <a:gd name="connsiteY115" fmla="*/ 438150 h 1952625"/>
                  <a:gd name="connsiteX116" fmla="*/ 1607344 w 8801100"/>
                  <a:gd name="connsiteY116" fmla="*/ 485774 h 1952625"/>
                  <a:gd name="connsiteX117" fmla="*/ 1528762 w 8801100"/>
                  <a:gd name="connsiteY117" fmla="*/ 411956 h 1952625"/>
                  <a:gd name="connsiteX118" fmla="*/ 1488281 w 8801100"/>
                  <a:gd name="connsiteY118" fmla="*/ 452438 h 1952625"/>
                  <a:gd name="connsiteX119" fmla="*/ 1412081 w 8801100"/>
                  <a:gd name="connsiteY119" fmla="*/ 438150 h 1952625"/>
                  <a:gd name="connsiteX120" fmla="*/ 1333500 w 8801100"/>
                  <a:gd name="connsiteY120" fmla="*/ 464344 h 1952625"/>
                  <a:gd name="connsiteX121" fmla="*/ 1273969 w 8801100"/>
                  <a:gd name="connsiteY121" fmla="*/ 511968 h 1952625"/>
                  <a:gd name="connsiteX122" fmla="*/ 1200150 w 8801100"/>
                  <a:gd name="connsiteY122" fmla="*/ 523875 h 1952625"/>
                  <a:gd name="connsiteX123" fmla="*/ 1164431 w 8801100"/>
                  <a:gd name="connsiteY123" fmla="*/ 516731 h 1952625"/>
                  <a:gd name="connsiteX124" fmla="*/ 1085851 w 8801100"/>
                  <a:gd name="connsiteY124" fmla="*/ 547688 h 1952625"/>
                  <a:gd name="connsiteX125" fmla="*/ 1064419 w 8801100"/>
                  <a:gd name="connsiteY125" fmla="*/ 576263 h 1952625"/>
                  <a:gd name="connsiteX126" fmla="*/ 997744 w 8801100"/>
                  <a:gd name="connsiteY126" fmla="*/ 566738 h 1952625"/>
                  <a:gd name="connsiteX127" fmla="*/ 928688 w 8801100"/>
                  <a:gd name="connsiteY127" fmla="*/ 590550 h 1952625"/>
                  <a:gd name="connsiteX128" fmla="*/ 873919 w 8801100"/>
                  <a:gd name="connsiteY128" fmla="*/ 628650 h 1952625"/>
                  <a:gd name="connsiteX129" fmla="*/ 778669 w 8801100"/>
                  <a:gd name="connsiteY129" fmla="*/ 642937 h 1952625"/>
                  <a:gd name="connsiteX130" fmla="*/ 764381 w 8801100"/>
                  <a:gd name="connsiteY130" fmla="*/ 664369 h 1952625"/>
                  <a:gd name="connsiteX131" fmla="*/ 776287 w 8801100"/>
                  <a:gd name="connsiteY131" fmla="*/ 709613 h 1952625"/>
                  <a:gd name="connsiteX132" fmla="*/ 676276 w 8801100"/>
                  <a:gd name="connsiteY132" fmla="*/ 762000 h 1952625"/>
                  <a:gd name="connsiteX133" fmla="*/ 638175 w 8801100"/>
                  <a:gd name="connsiteY133" fmla="*/ 733424 h 1952625"/>
                  <a:gd name="connsiteX134" fmla="*/ 607219 w 8801100"/>
                  <a:gd name="connsiteY134" fmla="*/ 790575 h 1952625"/>
                  <a:gd name="connsiteX135" fmla="*/ 550069 w 8801100"/>
                  <a:gd name="connsiteY135" fmla="*/ 752475 h 1952625"/>
                  <a:gd name="connsiteX136" fmla="*/ 514350 w 8801100"/>
                  <a:gd name="connsiteY136" fmla="*/ 781050 h 1952625"/>
                  <a:gd name="connsiteX137" fmla="*/ 478631 w 8801100"/>
                  <a:gd name="connsiteY137" fmla="*/ 745331 h 1952625"/>
                  <a:gd name="connsiteX138" fmla="*/ 426244 w 8801100"/>
                  <a:gd name="connsiteY138" fmla="*/ 757238 h 1952625"/>
                  <a:gd name="connsiteX139" fmla="*/ 381000 w 8801100"/>
                  <a:gd name="connsiteY139" fmla="*/ 728663 h 1952625"/>
                  <a:gd name="connsiteX140" fmla="*/ 357188 w 8801100"/>
                  <a:gd name="connsiteY140" fmla="*/ 747713 h 1952625"/>
                  <a:gd name="connsiteX141" fmla="*/ 333375 w 8801100"/>
                  <a:gd name="connsiteY141" fmla="*/ 807244 h 1952625"/>
                  <a:gd name="connsiteX142" fmla="*/ 261938 w 8801100"/>
                  <a:gd name="connsiteY142" fmla="*/ 845343 h 1952625"/>
                  <a:gd name="connsiteX143" fmla="*/ 209550 w 8801100"/>
                  <a:gd name="connsiteY143" fmla="*/ 816769 h 1952625"/>
                  <a:gd name="connsiteX144" fmla="*/ 119063 w 8801100"/>
                  <a:gd name="connsiteY144" fmla="*/ 826294 h 1952625"/>
                  <a:gd name="connsiteX145" fmla="*/ 71437 w 8801100"/>
                  <a:gd name="connsiteY145" fmla="*/ 792957 h 1952625"/>
                  <a:gd name="connsiteX146" fmla="*/ 0 w 8801100"/>
                  <a:gd name="connsiteY146" fmla="*/ 812006 h 1952625"/>
                  <a:gd name="connsiteX147" fmla="*/ 4762 w 8801100"/>
                  <a:gd name="connsiteY147" fmla="*/ 0 h 1952625"/>
                  <a:gd name="connsiteX148" fmla="*/ 8427244 w 8801100"/>
                  <a:gd name="connsiteY148" fmla="*/ 1952625 h 1952625"/>
                  <a:gd name="connsiteX149" fmla="*/ 8477250 w 8801100"/>
                  <a:gd name="connsiteY149" fmla="*/ 1933575 h 1952625"/>
                  <a:gd name="connsiteX150" fmla="*/ 8515350 w 8801100"/>
                  <a:gd name="connsiteY150" fmla="*/ 1905000 h 1952625"/>
                  <a:gd name="connsiteX151" fmla="*/ 8548688 w 8801100"/>
                  <a:gd name="connsiteY151" fmla="*/ 1902619 h 1952625"/>
                  <a:gd name="connsiteX152" fmla="*/ 8584406 w 8801100"/>
                  <a:gd name="connsiteY152" fmla="*/ 1933575 h 1952625"/>
                  <a:gd name="connsiteX153" fmla="*/ 8643938 w 8801100"/>
                  <a:gd name="connsiteY153" fmla="*/ 1933575 h 1952625"/>
                  <a:gd name="connsiteX154" fmla="*/ 8682037 w 8801100"/>
                  <a:gd name="connsiteY154" fmla="*/ 1914525 h 1952625"/>
                  <a:gd name="connsiteX155" fmla="*/ 8765381 w 8801100"/>
                  <a:gd name="connsiteY155" fmla="*/ 1916907 h 1952625"/>
                  <a:gd name="connsiteX156" fmla="*/ 8796338 w 8801100"/>
                  <a:gd name="connsiteY156" fmla="*/ 1871663 h 1952625"/>
                  <a:gd name="connsiteX157" fmla="*/ 8801100 w 8801100"/>
                  <a:gd name="connsiteY157" fmla="*/ 1809750 h 1952625"/>
                  <a:gd name="connsiteX158" fmla="*/ 8751093 w 8801100"/>
                  <a:gd name="connsiteY158" fmla="*/ 1769269 h 1952625"/>
                  <a:gd name="connsiteX159" fmla="*/ 8734425 w 8801100"/>
                  <a:gd name="connsiteY159" fmla="*/ 1714500 h 1952625"/>
                  <a:gd name="connsiteX160" fmla="*/ 8643938 w 8801100"/>
                  <a:gd name="connsiteY160" fmla="*/ 1652588 h 1952625"/>
                  <a:gd name="connsiteX161" fmla="*/ 8603456 w 8801100"/>
                  <a:gd name="connsiteY161" fmla="*/ 1631156 h 1952625"/>
                  <a:gd name="connsiteX162" fmla="*/ 8565356 w 8801100"/>
                  <a:gd name="connsiteY162" fmla="*/ 1585913 h 1952625"/>
                  <a:gd name="connsiteX163" fmla="*/ 8534400 w 8801100"/>
                  <a:gd name="connsiteY163" fmla="*/ 1583531 h 1952625"/>
                  <a:gd name="connsiteX164" fmla="*/ 8517731 w 8801100"/>
                  <a:gd name="connsiteY164" fmla="*/ 1531144 h 1952625"/>
                  <a:gd name="connsiteX165" fmla="*/ 8477250 w 8801100"/>
                  <a:gd name="connsiteY165" fmla="*/ 1514475 h 1952625"/>
                  <a:gd name="connsiteX166" fmla="*/ 8477250 w 8801100"/>
                  <a:gd name="connsiteY166" fmla="*/ 1514475 h 1952625"/>
                  <a:gd name="connsiteX167" fmla="*/ 8436769 w 8801100"/>
                  <a:gd name="connsiteY167" fmla="*/ 1519238 h 1952625"/>
                  <a:gd name="connsiteX168" fmla="*/ 8351043 w 8801100"/>
                  <a:gd name="connsiteY168" fmla="*/ 1445419 h 1952625"/>
                  <a:gd name="connsiteX169" fmla="*/ 8170069 w 8801100"/>
                  <a:gd name="connsiteY169" fmla="*/ 1445418 h 1952625"/>
                  <a:gd name="connsiteX170" fmla="*/ 8117681 w 8801100"/>
                  <a:gd name="connsiteY170" fmla="*/ 1483519 h 1952625"/>
                  <a:gd name="connsiteX171" fmla="*/ 8067675 w 8801100"/>
                  <a:gd name="connsiteY171" fmla="*/ 1562100 h 1952625"/>
                  <a:gd name="connsiteX172" fmla="*/ 8084344 w 8801100"/>
                  <a:gd name="connsiteY172" fmla="*/ 1583531 h 1952625"/>
                  <a:gd name="connsiteX173" fmla="*/ 8039100 w 8801100"/>
                  <a:gd name="connsiteY173" fmla="*/ 1633537 h 1952625"/>
                  <a:gd name="connsiteX174" fmla="*/ 7889081 w 8801100"/>
                  <a:gd name="connsiteY174" fmla="*/ 1557337 h 1952625"/>
                  <a:gd name="connsiteX175" fmla="*/ 7798594 w 8801100"/>
                  <a:gd name="connsiteY175" fmla="*/ 1593056 h 1952625"/>
                  <a:gd name="connsiteX176" fmla="*/ 7724775 w 8801100"/>
                  <a:gd name="connsiteY176" fmla="*/ 1590675 h 1952625"/>
                  <a:gd name="connsiteX177" fmla="*/ 7667625 w 8801100"/>
                  <a:gd name="connsiteY177" fmla="*/ 1685925 h 1952625"/>
                  <a:gd name="connsiteX178" fmla="*/ 7529513 w 8801100"/>
                  <a:gd name="connsiteY178" fmla="*/ 1588294 h 1952625"/>
                  <a:gd name="connsiteX0" fmla="*/ 7529513 w 8801100"/>
                  <a:gd name="connsiteY0" fmla="*/ 1588294 h 1933575"/>
                  <a:gd name="connsiteX1" fmla="*/ 7522369 w 8801100"/>
                  <a:gd name="connsiteY1" fmla="*/ 1533525 h 1933575"/>
                  <a:gd name="connsiteX2" fmla="*/ 7589044 w 8801100"/>
                  <a:gd name="connsiteY2" fmla="*/ 1459706 h 1933575"/>
                  <a:gd name="connsiteX3" fmla="*/ 7572375 w 8801100"/>
                  <a:gd name="connsiteY3" fmla="*/ 1388269 h 1933575"/>
                  <a:gd name="connsiteX4" fmla="*/ 7586663 w 8801100"/>
                  <a:gd name="connsiteY4" fmla="*/ 1293019 h 1933575"/>
                  <a:gd name="connsiteX5" fmla="*/ 7624763 w 8801100"/>
                  <a:gd name="connsiteY5" fmla="*/ 1235869 h 1933575"/>
                  <a:gd name="connsiteX6" fmla="*/ 7605712 w 8801100"/>
                  <a:gd name="connsiteY6" fmla="*/ 1202531 h 1933575"/>
                  <a:gd name="connsiteX7" fmla="*/ 7703343 w 8801100"/>
                  <a:gd name="connsiteY7" fmla="*/ 802481 h 1933575"/>
                  <a:gd name="connsiteX8" fmla="*/ 7696200 w 8801100"/>
                  <a:gd name="connsiteY8" fmla="*/ 773906 h 1933575"/>
                  <a:gd name="connsiteX9" fmla="*/ 7567613 w 8801100"/>
                  <a:gd name="connsiteY9" fmla="*/ 752475 h 1933575"/>
                  <a:gd name="connsiteX10" fmla="*/ 7384257 w 8801100"/>
                  <a:gd name="connsiteY10" fmla="*/ 831056 h 1933575"/>
                  <a:gd name="connsiteX11" fmla="*/ 7227093 w 8801100"/>
                  <a:gd name="connsiteY11" fmla="*/ 716756 h 1933575"/>
                  <a:gd name="connsiteX12" fmla="*/ 7150894 w 8801100"/>
                  <a:gd name="connsiteY12" fmla="*/ 723900 h 1933575"/>
                  <a:gd name="connsiteX13" fmla="*/ 7077075 w 8801100"/>
                  <a:gd name="connsiteY13" fmla="*/ 719138 h 1933575"/>
                  <a:gd name="connsiteX14" fmla="*/ 6938963 w 8801100"/>
                  <a:gd name="connsiteY14" fmla="*/ 823913 h 1933575"/>
                  <a:gd name="connsiteX15" fmla="*/ 6831806 w 8801100"/>
                  <a:gd name="connsiteY15" fmla="*/ 931069 h 1933575"/>
                  <a:gd name="connsiteX16" fmla="*/ 6788944 w 8801100"/>
                  <a:gd name="connsiteY16" fmla="*/ 1000125 h 1933575"/>
                  <a:gd name="connsiteX17" fmla="*/ 6796088 w 8801100"/>
                  <a:gd name="connsiteY17" fmla="*/ 1035844 h 1933575"/>
                  <a:gd name="connsiteX18" fmla="*/ 6734175 w 8801100"/>
                  <a:gd name="connsiteY18" fmla="*/ 1047750 h 1933575"/>
                  <a:gd name="connsiteX19" fmla="*/ 6753225 w 8801100"/>
                  <a:gd name="connsiteY19" fmla="*/ 1047750 h 1933575"/>
                  <a:gd name="connsiteX20" fmla="*/ 6719888 w 8801100"/>
                  <a:gd name="connsiteY20" fmla="*/ 1078706 h 1933575"/>
                  <a:gd name="connsiteX21" fmla="*/ 6619875 w 8801100"/>
                  <a:gd name="connsiteY21" fmla="*/ 1078707 h 1933575"/>
                  <a:gd name="connsiteX22" fmla="*/ 6524625 w 8801100"/>
                  <a:gd name="connsiteY22" fmla="*/ 1133475 h 1933575"/>
                  <a:gd name="connsiteX23" fmla="*/ 6443663 w 8801100"/>
                  <a:gd name="connsiteY23" fmla="*/ 1143000 h 1933575"/>
                  <a:gd name="connsiteX24" fmla="*/ 6403181 w 8801100"/>
                  <a:gd name="connsiteY24" fmla="*/ 1176338 h 1933575"/>
                  <a:gd name="connsiteX25" fmla="*/ 6353175 w 8801100"/>
                  <a:gd name="connsiteY25" fmla="*/ 1181100 h 1933575"/>
                  <a:gd name="connsiteX26" fmla="*/ 6231732 w 8801100"/>
                  <a:gd name="connsiteY26" fmla="*/ 1273969 h 1933575"/>
                  <a:gd name="connsiteX27" fmla="*/ 6172200 w 8801100"/>
                  <a:gd name="connsiteY27" fmla="*/ 1278731 h 1933575"/>
                  <a:gd name="connsiteX28" fmla="*/ 6119813 w 8801100"/>
                  <a:gd name="connsiteY28" fmla="*/ 1243013 h 1933575"/>
                  <a:gd name="connsiteX29" fmla="*/ 6093619 w 8801100"/>
                  <a:gd name="connsiteY29" fmla="*/ 1278731 h 1933575"/>
                  <a:gd name="connsiteX30" fmla="*/ 5895975 w 8801100"/>
                  <a:gd name="connsiteY30" fmla="*/ 1271588 h 1933575"/>
                  <a:gd name="connsiteX31" fmla="*/ 5834063 w 8801100"/>
                  <a:gd name="connsiteY31" fmla="*/ 1226344 h 1933575"/>
                  <a:gd name="connsiteX32" fmla="*/ 5636419 w 8801100"/>
                  <a:gd name="connsiteY32" fmla="*/ 1243013 h 1933575"/>
                  <a:gd name="connsiteX33" fmla="*/ 5548313 w 8801100"/>
                  <a:gd name="connsiteY33" fmla="*/ 1159668 h 1933575"/>
                  <a:gd name="connsiteX34" fmla="*/ 5472113 w 8801100"/>
                  <a:gd name="connsiteY34" fmla="*/ 1114425 h 1933575"/>
                  <a:gd name="connsiteX35" fmla="*/ 5474493 w 8801100"/>
                  <a:gd name="connsiteY35" fmla="*/ 1057275 h 1933575"/>
                  <a:gd name="connsiteX36" fmla="*/ 5455444 w 8801100"/>
                  <a:gd name="connsiteY36" fmla="*/ 1014412 h 1933575"/>
                  <a:gd name="connsiteX37" fmla="*/ 5360194 w 8801100"/>
                  <a:gd name="connsiteY37" fmla="*/ 1016794 h 1933575"/>
                  <a:gd name="connsiteX38" fmla="*/ 5264944 w 8801100"/>
                  <a:gd name="connsiteY38" fmla="*/ 995363 h 1933575"/>
                  <a:gd name="connsiteX39" fmla="*/ 5195887 w 8801100"/>
                  <a:gd name="connsiteY39" fmla="*/ 928687 h 1933575"/>
                  <a:gd name="connsiteX40" fmla="*/ 5160169 w 8801100"/>
                  <a:gd name="connsiteY40" fmla="*/ 885825 h 1933575"/>
                  <a:gd name="connsiteX41" fmla="*/ 5079206 w 8801100"/>
                  <a:gd name="connsiteY41" fmla="*/ 862012 h 1933575"/>
                  <a:gd name="connsiteX42" fmla="*/ 5005388 w 8801100"/>
                  <a:gd name="connsiteY42" fmla="*/ 873918 h 1933575"/>
                  <a:gd name="connsiteX43" fmla="*/ 4948237 w 8801100"/>
                  <a:gd name="connsiteY43" fmla="*/ 821531 h 1933575"/>
                  <a:gd name="connsiteX44" fmla="*/ 4852988 w 8801100"/>
                  <a:gd name="connsiteY44" fmla="*/ 833438 h 1933575"/>
                  <a:gd name="connsiteX45" fmla="*/ 4800600 w 8801100"/>
                  <a:gd name="connsiteY45" fmla="*/ 807244 h 1933575"/>
                  <a:gd name="connsiteX46" fmla="*/ 4719638 w 8801100"/>
                  <a:gd name="connsiteY46" fmla="*/ 850106 h 1933575"/>
                  <a:gd name="connsiteX47" fmla="*/ 4581525 w 8801100"/>
                  <a:gd name="connsiteY47" fmla="*/ 873919 h 1933575"/>
                  <a:gd name="connsiteX48" fmla="*/ 4452938 w 8801100"/>
                  <a:gd name="connsiteY48" fmla="*/ 966788 h 1933575"/>
                  <a:gd name="connsiteX49" fmla="*/ 4405312 w 8801100"/>
                  <a:gd name="connsiteY49" fmla="*/ 928688 h 1933575"/>
                  <a:gd name="connsiteX50" fmla="*/ 4383881 w 8801100"/>
                  <a:gd name="connsiteY50" fmla="*/ 959643 h 1933575"/>
                  <a:gd name="connsiteX51" fmla="*/ 4310063 w 8801100"/>
                  <a:gd name="connsiteY51" fmla="*/ 909638 h 1933575"/>
                  <a:gd name="connsiteX52" fmla="*/ 4271963 w 8801100"/>
                  <a:gd name="connsiteY52" fmla="*/ 916781 h 1933575"/>
                  <a:gd name="connsiteX53" fmla="*/ 4250531 w 8801100"/>
                  <a:gd name="connsiteY53" fmla="*/ 878681 h 1933575"/>
                  <a:gd name="connsiteX54" fmla="*/ 4191000 w 8801100"/>
                  <a:gd name="connsiteY54" fmla="*/ 883444 h 1933575"/>
                  <a:gd name="connsiteX55" fmla="*/ 4145756 w 8801100"/>
                  <a:gd name="connsiteY55" fmla="*/ 854869 h 1933575"/>
                  <a:gd name="connsiteX56" fmla="*/ 4107656 w 8801100"/>
                  <a:gd name="connsiteY56" fmla="*/ 852488 h 1933575"/>
                  <a:gd name="connsiteX57" fmla="*/ 4088606 w 8801100"/>
                  <a:gd name="connsiteY57" fmla="*/ 804862 h 1933575"/>
                  <a:gd name="connsiteX58" fmla="*/ 4074319 w 8801100"/>
                  <a:gd name="connsiteY58" fmla="*/ 773906 h 1933575"/>
                  <a:gd name="connsiteX59" fmla="*/ 4029075 w 8801100"/>
                  <a:gd name="connsiteY59" fmla="*/ 783431 h 1933575"/>
                  <a:gd name="connsiteX60" fmla="*/ 4010025 w 8801100"/>
                  <a:gd name="connsiteY60" fmla="*/ 747713 h 1933575"/>
                  <a:gd name="connsiteX61" fmla="*/ 4031457 w 8801100"/>
                  <a:gd name="connsiteY61" fmla="*/ 692944 h 1933575"/>
                  <a:gd name="connsiteX62" fmla="*/ 4000500 w 8801100"/>
                  <a:gd name="connsiteY62" fmla="*/ 666750 h 1933575"/>
                  <a:gd name="connsiteX63" fmla="*/ 4017169 w 8801100"/>
                  <a:gd name="connsiteY63" fmla="*/ 623888 h 1933575"/>
                  <a:gd name="connsiteX64" fmla="*/ 3990975 w 8801100"/>
                  <a:gd name="connsiteY64" fmla="*/ 581025 h 1933575"/>
                  <a:gd name="connsiteX65" fmla="*/ 3986213 w 8801100"/>
                  <a:gd name="connsiteY65" fmla="*/ 519113 h 1933575"/>
                  <a:gd name="connsiteX66" fmla="*/ 4010025 w 8801100"/>
                  <a:gd name="connsiteY66" fmla="*/ 454818 h 1933575"/>
                  <a:gd name="connsiteX67" fmla="*/ 3971925 w 8801100"/>
                  <a:gd name="connsiteY67" fmla="*/ 457200 h 1933575"/>
                  <a:gd name="connsiteX68" fmla="*/ 3852863 w 8801100"/>
                  <a:gd name="connsiteY68" fmla="*/ 400050 h 1933575"/>
                  <a:gd name="connsiteX69" fmla="*/ 3814762 w 8801100"/>
                  <a:gd name="connsiteY69" fmla="*/ 404812 h 1933575"/>
                  <a:gd name="connsiteX70" fmla="*/ 3609975 w 8801100"/>
                  <a:gd name="connsiteY70" fmla="*/ 295275 h 1933575"/>
                  <a:gd name="connsiteX71" fmla="*/ 3505200 w 8801100"/>
                  <a:gd name="connsiteY71" fmla="*/ 264319 h 1933575"/>
                  <a:gd name="connsiteX72" fmla="*/ 3440906 w 8801100"/>
                  <a:gd name="connsiteY72" fmla="*/ 273843 h 1933575"/>
                  <a:gd name="connsiteX73" fmla="*/ 3409950 w 8801100"/>
                  <a:gd name="connsiteY73" fmla="*/ 209550 h 1933575"/>
                  <a:gd name="connsiteX74" fmla="*/ 3352800 w 8801100"/>
                  <a:gd name="connsiteY74" fmla="*/ 209550 h 1933575"/>
                  <a:gd name="connsiteX75" fmla="*/ 3214687 w 8801100"/>
                  <a:gd name="connsiteY75" fmla="*/ 104775 h 1933575"/>
                  <a:gd name="connsiteX76" fmla="*/ 3181350 w 8801100"/>
                  <a:gd name="connsiteY76" fmla="*/ 164307 h 1933575"/>
                  <a:gd name="connsiteX77" fmla="*/ 3126581 w 8801100"/>
                  <a:gd name="connsiteY77" fmla="*/ 233363 h 1933575"/>
                  <a:gd name="connsiteX78" fmla="*/ 3083719 w 8801100"/>
                  <a:gd name="connsiteY78" fmla="*/ 250031 h 1933575"/>
                  <a:gd name="connsiteX79" fmla="*/ 3052763 w 8801100"/>
                  <a:gd name="connsiteY79" fmla="*/ 242888 h 1933575"/>
                  <a:gd name="connsiteX80" fmla="*/ 3028950 w 8801100"/>
                  <a:gd name="connsiteY80" fmla="*/ 271463 h 1933575"/>
                  <a:gd name="connsiteX81" fmla="*/ 3002756 w 8801100"/>
                  <a:gd name="connsiteY81" fmla="*/ 350044 h 1933575"/>
                  <a:gd name="connsiteX82" fmla="*/ 2959894 w 8801100"/>
                  <a:gd name="connsiteY82" fmla="*/ 347663 h 1933575"/>
                  <a:gd name="connsiteX83" fmla="*/ 2928937 w 8801100"/>
                  <a:gd name="connsiteY83" fmla="*/ 409575 h 1933575"/>
                  <a:gd name="connsiteX84" fmla="*/ 2924175 w 8801100"/>
                  <a:gd name="connsiteY84" fmla="*/ 473869 h 1933575"/>
                  <a:gd name="connsiteX85" fmla="*/ 2897982 w 8801100"/>
                  <a:gd name="connsiteY85" fmla="*/ 511969 h 1933575"/>
                  <a:gd name="connsiteX86" fmla="*/ 2924175 w 8801100"/>
                  <a:gd name="connsiteY86" fmla="*/ 571500 h 1933575"/>
                  <a:gd name="connsiteX87" fmla="*/ 2926556 w 8801100"/>
                  <a:gd name="connsiteY87" fmla="*/ 640556 h 1933575"/>
                  <a:gd name="connsiteX88" fmla="*/ 2955131 w 8801100"/>
                  <a:gd name="connsiteY88" fmla="*/ 692944 h 1933575"/>
                  <a:gd name="connsiteX89" fmla="*/ 3002757 w 8801100"/>
                  <a:gd name="connsiteY89" fmla="*/ 747713 h 1933575"/>
                  <a:gd name="connsiteX90" fmla="*/ 2952750 w 8801100"/>
                  <a:gd name="connsiteY90" fmla="*/ 885825 h 1933575"/>
                  <a:gd name="connsiteX91" fmla="*/ 2883694 w 8801100"/>
                  <a:gd name="connsiteY91" fmla="*/ 952500 h 1933575"/>
                  <a:gd name="connsiteX92" fmla="*/ 2812256 w 8801100"/>
                  <a:gd name="connsiteY92" fmla="*/ 947738 h 1933575"/>
                  <a:gd name="connsiteX93" fmla="*/ 2774156 w 8801100"/>
                  <a:gd name="connsiteY93" fmla="*/ 1004888 h 1933575"/>
                  <a:gd name="connsiteX94" fmla="*/ 2714625 w 8801100"/>
                  <a:gd name="connsiteY94" fmla="*/ 1019175 h 1933575"/>
                  <a:gd name="connsiteX95" fmla="*/ 2645569 w 8801100"/>
                  <a:gd name="connsiteY95" fmla="*/ 959644 h 1933575"/>
                  <a:gd name="connsiteX96" fmla="*/ 2590800 w 8801100"/>
                  <a:gd name="connsiteY96" fmla="*/ 931069 h 1933575"/>
                  <a:gd name="connsiteX97" fmla="*/ 2547938 w 8801100"/>
                  <a:gd name="connsiteY97" fmla="*/ 945356 h 1933575"/>
                  <a:gd name="connsiteX98" fmla="*/ 2495550 w 8801100"/>
                  <a:gd name="connsiteY98" fmla="*/ 928688 h 1933575"/>
                  <a:gd name="connsiteX99" fmla="*/ 2428875 w 8801100"/>
                  <a:gd name="connsiteY99" fmla="*/ 873919 h 1933575"/>
                  <a:gd name="connsiteX100" fmla="*/ 2383631 w 8801100"/>
                  <a:gd name="connsiteY100" fmla="*/ 885825 h 1933575"/>
                  <a:gd name="connsiteX101" fmla="*/ 2362200 w 8801100"/>
                  <a:gd name="connsiteY101" fmla="*/ 854869 h 1933575"/>
                  <a:gd name="connsiteX102" fmla="*/ 2305050 w 8801100"/>
                  <a:gd name="connsiteY102" fmla="*/ 895350 h 1933575"/>
                  <a:gd name="connsiteX103" fmla="*/ 2188369 w 8801100"/>
                  <a:gd name="connsiteY103" fmla="*/ 873919 h 1933575"/>
                  <a:gd name="connsiteX104" fmla="*/ 2138363 w 8801100"/>
                  <a:gd name="connsiteY104" fmla="*/ 821531 h 1933575"/>
                  <a:gd name="connsiteX105" fmla="*/ 2095500 w 8801100"/>
                  <a:gd name="connsiteY105" fmla="*/ 807244 h 1933575"/>
                  <a:gd name="connsiteX106" fmla="*/ 2052638 w 8801100"/>
                  <a:gd name="connsiteY106" fmla="*/ 833438 h 1933575"/>
                  <a:gd name="connsiteX107" fmla="*/ 2000250 w 8801100"/>
                  <a:gd name="connsiteY107" fmla="*/ 742950 h 1933575"/>
                  <a:gd name="connsiteX108" fmla="*/ 1990725 w 8801100"/>
                  <a:gd name="connsiteY108" fmla="*/ 595312 h 1933575"/>
                  <a:gd name="connsiteX109" fmla="*/ 1938337 w 8801100"/>
                  <a:gd name="connsiteY109" fmla="*/ 588168 h 1933575"/>
                  <a:gd name="connsiteX110" fmla="*/ 1847850 w 8801100"/>
                  <a:gd name="connsiteY110" fmla="*/ 578644 h 1933575"/>
                  <a:gd name="connsiteX111" fmla="*/ 1793081 w 8801100"/>
                  <a:gd name="connsiteY111" fmla="*/ 540544 h 1933575"/>
                  <a:gd name="connsiteX112" fmla="*/ 1724025 w 8801100"/>
                  <a:gd name="connsiteY112" fmla="*/ 550069 h 1933575"/>
                  <a:gd name="connsiteX113" fmla="*/ 1678781 w 8801100"/>
                  <a:gd name="connsiteY113" fmla="*/ 523875 h 1933575"/>
                  <a:gd name="connsiteX114" fmla="*/ 1669257 w 8801100"/>
                  <a:gd name="connsiteY114" fmla="*/ 452438 h 1933575"/>
                  <a:gd name="connsiteX115" fmla="*/ 1645444 w 8801100"/>
                  <a:gd name="connsiteY115" fmla="*/ 438150 h 1933575"/>
                  <a:gd name="connsiteX116" fmla="*/ 1607344 w 8801100"/>
                  <a:gd name="connsiteY116" fmla="*/ 485774 h 1933575"/>
                  <a:gd name="connsiteX117" fmla="*/ 1528762 w 8801100"/>
                  <a:gd name="connsiteY117" fmla="*/ 411956 h 1933575"/>
                  <a:gd name="connsiteX118" fmla="*/ 1488281 w 8801100"/>
                  <a:gd name="connsiteY118" fmla="*/ 452438 h 1933575"/>
                  <a:gd name="connsiteX119" fmla="*/ 1412081 w 8801100"/>
                  <a:gd name="connsiteY119" fmla="*/ 438150 h 1933575"/>
                  <a:gd name="connsiteX120" fmla="*/ 1333500 w 8801100"/>
                  <a:gd name="connsiteY120" fmla="*/ 464344 h 1933575"/>
                  <a:gd name="connsiteX121" fmla="*/ 1273969 w 8801100"/>
                  <a:gd name="connsiteY121" fmla="*/ 511968 h 1933575"/>
                  <a:gd name="connsiteX122" fmla="*/ 1200150 w 8801100"/>
                  <a:gd name="connsiteY122" fmla="*/ 523875 h 1933575"/>
                  <a:gd name="connsiteX123" fmla="*/ 1164431 w 8801100"/>
                  <a:gd name="connsiteY123" fmla="*/ 516731 h 1933575"/>
                  <a:gd name="connsiteX124" fmla="*/ 1085851 w 8801100"/>
                  <a:gd name="connsiteY124" fmla="*/ 547688 h 1933575"/>
                  <a:gd name="connsiteX125" fmla="*/ 1064419 w 8801100"/>
                  <a:gd name="connsiteY125" fmla="*/ 576263 h 1933575"/>
                  <a:gd name="connsiteX126" fmla="*/ 997744 w 8801100"/>
                  <a:gd name="connsiteY126" fmla="*/ 566738 h 1933575"/>
                  <a:gd name="connsiteX127" fmla="*/ 928688 w 8801100"/>
                  <a:gd name="connsiteY127" fmla="*/ 590550 h 1933575"/>
                  <a:gd name="connsiteX128" fmla="*/ 873919 w 8801100"/>
                  <a:gd name="connsiteY128" fmla="*/ 628650 h 1933575"/>
                  <a:gd name="connsiteX129" fmla="*/ 778669 w 8801100"/>
                  <a:gd name="connsiteY129" fmla="*/ 642937 h 1933575"/>
                  <a:gd name="connsiteX130" fmla="*/ 764381 w 8801100"/>
                  <a:gd name="connsiteY130" fmla="*/ 664369 h 1933575"/>
                  <a:gd name="connsiteX131" fmla="*/ 776287 w 8801100"/>
                  <a:gd name="connsiteY131" fmla="*/ 709613 h 1933575"/>
                  <a:gd name="connsiteX132" fmla="*/ 676276 w 8801100"/>
                  <a:gd name="connsiteY132" fmla="*/ 762000 h 1933575"/>
                  <a:gd name="connsiteX133" fmla="*/ 638175 w 8801100"/>
                  <a:gd name="connsiteY133" fmla="*/ 733424 h 1933575"/>
                  <a:gd name="connsiteX134" fmla="*/ 607219 w 8801100"/>
                  <a:gd name="connsiteY134" fmla="*/ 790575 h 1933575"/>
                  <a:gd name="connsiteX135" fmla="*/ 550069 w 8801100"/>
                  <a:gd name="connsiteY135" fmla="*/ 752475 h 1933575"/>
                  <a:gd name="connsiteX136" fmla="*/ 514350 w 8801100"/>
                  <a:gd name="connsiteY136" fmla="*/ 781050 h 1933575"/>
                  <a:gd name="connsiteX137" fmla="*/ 478631 w 8801100"/>
                  <a:gd name="connsiteY137" fmla="*/ 745331 h 1933575"/>
                  <a:gd name="connsiteX138" fmla="*/ 426244 w 8801100"/>
                  <a:gd name="connsiteY138" fmla="*/ 757238 h 1933575"/>
                  <a:gd name="connsiteX139" fmla="*/ 381000 w 8801100"/>
                  <a:gd name="connsiteY139" fmla="*/ 728663 h 1933575"/>
                  <a:gd name="connsiteX140" fmla="*/ 357188 w 8801100"/>
                  <a:gd name="connsiteY140" fmla="*/ 747713 h 1933575"/>
                  <a:gd name="connsiteX141" fmla="*/ 333375 w 8801100"/>
                  <a:gd name="connsiteY141" fmla="*/ 807244 h 1933575"/>
                  <a:gd name="connsiteX142" fmla="*/ 261938 w 8801100"/>
                  <a:gd name="connsiteY142" fmla="*/ 845343 h 1933575"/>
                  <a:gd name="connsiteX143" fmla="*/ 209550 w 8801100"/>
                  <a:gd name="connsiteY143" fmla="*/ 816769 h 1933575"/>
                  <a:gd name="connsiteX144" fmla="*/ 119063 w 8801100"/>
                  <a:gd name="connsiteY144" fmla="*/ 826294 h 1933575"/>
                  <a:gd name="connsiteX145" fmla="*/ 71437 w 8801100"/>
                  <a:gd name="connsiteY145" fmla="*/ 792957 h 1933575"/>
                  <a:gd name="connsiteX146" fmla="*/ 0 w 8801100"/>
                  <a:gd name="connsiteY146" fmla="*/ 812006 h 1933575"/>
                  <a:gd name="connsiteX147" fmla="*/ 4762 w 8801100"/>
                  <a:gd name="connsiteY147" fmla="*/ 0 h 1933575"/>
                  <a:gd name="connsiteX148" fmla="*/ 8477250 w 8801100"/>
                  <a:gd name="connsiteY148" fmla="*/ 1933575 h 1933575"/>
                  <a:gd name="connsiteX149" fmla="*/ 8515350 w 8801100"/>
                  <a:gd name="connsiteY149" fmla="*/ 1905000 h 1933575"/>
                  <a:gd name="connsiteX150" fmla="*/ 8548688 w 8801100"/>
                  <a:gd name="connsiteY150" fmla="*/ 1902619 h 1933575"/>
                  <a:gd name="connsiteX151" fmla="*/ 8584406 w 8801100"/>
                  <a:gd name="connsiteY151" fmla="*/ 1933575 h 1933575"/>
                  <a:gd name="connsiteX152" fmla="*/ 8643938 w 8801100"/>
                  <a:gd name="connsiteY152" fmla="*/ 1933575 h 1933575"/>
                  <a:gd name="connsiteX153" fmla="*/ 8682037 w 8801100"/>
                  <a:gd name="connsiteY153" fmla="*/ 1914525 h 1933575"/>
                  <a:gd name="connsiteX154" fmla="*/ 8765381 w 8801100"/>
                  <a:gd name="connsiteY154" fmla="*/ 1916907 h 1933575"/>
                  <a:gd name="connsiteX155" fmla="*/ 8796338 w 8801100"/>
                  <a:gd name="connsiteY155" fmla="*/ 1871663 h 1933575"/>
                  <a:gd name="connsiteX156" fmla="*/ 8801100 w 8801100"/>
                  <a:gd name="connsiteY156" fmla="*/ 1809750 h 1933575"/>
                  <a:gd name="connsiteX157" fmla="*/ 8751093 w 8801100"/>
                  <a:gd name="connsiteY157" fmla="*/ 1769269 h 1933575"/>
                  <a:gd name="connsiteX158" fmla="*/ 8734425 w 8801100"/>
                  <a:gd name="connsiteY158" fmla="*/ 1714500 h 1933575"/>
                  <a:gd name="connsiteX159" fmla="*/ 8643938 w 8801100"/>
                  <a:gd name="connsiteY159" fmla="*/ 1652588 h 1933575"/>
                  <a:gd name="connsiteX160" fmla="*/ 8603456 w 8801100"/>
                  <a:gd name="connsiteY160" fmla="*/ 1631156 h 1933575"/>
                  <a:gd name="connsiteX161" fmla="*/ 8565356 w 8801100"/>
                  <a:gd name="connsiteY161" fmla="*/ 1585913 h 1933575"/>
                  <a:gd name="connsiteX162" fmla="*/ 8534400 w 8801100"/>
                  <a:gd name="connsiteY162" fmla="*/ 1583531 h 1933575"/>
                  <a:gd name="connsiteX163" fmla="*/ 8517731 w 8801100"/>
                  <a:gd name="connsiteY163" fmla="*/ 1531144 h 1933575"/>
                  <a:gd name="connsiteX164" fmla="*/ 8477250 w 8801100"/>
                  <a:gd name="connsiteY164" fmla="*/ 1514475 h 1933575"/>
                  <a:gd name="connsiteX165" fmla="*/ 8477250 w 8801100"/>
                  <a:gd name="connsiteY165" fmla="*/ 1514475 h 1933575"/>
                  <a:gd name="connsiteX166" fmla="*/ 8436769 w 8801100"/>
                  <a:gd name="connsiteY166" fmla="*/ 1519238 h 1933575"/>
                  <a:gd name="connsiteX167" fmla="*/ 8351043 w 8801100"/>
                  <a:gd name="connsiteY167" fmla="*/ 1445419 h 1933575"/>
                  <a:gd name="connsiteX168" fmla="*/ 8170069 w 8801100"/>
                  <a:gd name="connsiteY168" fmla="*/ 1445418 h 1933575"/>
                  <a:gd name="connsiteX169" fmla="*/ 8117681 w 8801100"/>
                  <a:gd name="connsiteY169" fmla="*/ 1483519 h 1933575"/>
                  <a:gd name="connsiteX170" fmla="*/ 8067675 w 8801100"/>
                  <a:gd name="connsiteY170" fmla="*/ 1562100 h 1933575"/>
                  <a:gd name="connsiteX171" fmla="*/ 8084344 w 8801100"/>
                  <a:gd name="connsiteY171" fmla="*/ 1583531 h 1933575"/>
                  <a:gd name="connsiteX172" fmla="*/ 8039100 w 8801100"/>
                  <a:gd name="connsiteY172" fmla="*/ 1633537 h 1933575"/>
                  <a:gd name="connsiteX173" fmla="*/ 7889081 w 8801100"/>
                  <a:gd name="connsiteY173" fmla="*/ 1557337 h 1933575"/>
                  <a:gd name="connsiteX174" fmla="*/ 7798594 w 8801100"/>
                  <a:gd name="connsiteY174" fmla="*/ 1593056 h 1933575"/>
                  <a:gd name="connsiteX175" fmla="*/ 7724775 w 8801100"/>
                  <a:gd name="connsiteY175" fmla="*/ 1590675 h 1933575"/>
                  <a:gd name="connsiteX176" fmla="*/ 7667625 w 8801100"/>
                  <a:gd name="connsiteY176" fmla="*/ 1685925 h 1933575"/>
                  <a:gd name="connsiteX177" fmla="*/ 7529513 w 8801100"/>
                  <a:gd name="connsiteY177" fmla="*/ 1588294 h 1933575"/>
                  <a:gd name="connsiteX0" fmla="*/ 7529513 w 8801100"/>
                  <a:gd name="connsiteY0" fmla="*/ 1588294 h 1933575"/>
                  <a:gd name="connsiteX1" fmla="*/ 7522369 w 8801100"/>
                  <a:gd name="connsiteY1" fmla="*/ 1533525 h 1933575"/>
                  <a:gd name="connsiteX2" fmla="*/ 7589044 w 8801100"/>
                  <a:gd name="connsiteY2" fmla="*/ 1459706 h 1933575"/>
                  <a:gd name="connsiteX3" fmla="*/ 7572375 w 8801100"/>
                  <a:gd name="connsiteY3" fmla="*/ 1388269 h 1933575"/>
                  <a:gd name="connsiteX4" fmla="*/ 7586663 w 8801100"/>
                  <a:gd name="connsiteY4" fmla="*/ 1293019 h 1933575"/>
                  <a:gd name="connsiteX5" fmla="*/ 7624763 w 8801100"/>
                  <a:gd name="connsiteY5" fmla="*/ 1235869 h 1933575"/>
                  <a:gd name="connsiteX6" fmla="*/ 7605712 w 8801100"/>
                  <a:gd name="connsiteY6" fmla="*/ 1202531 h 1933575"/>
                  <a:gd name="connsiteX7" fmla="*/ 7703343 w 8801100"/>
                  <a:gd name="connsiteY7" fmla="*/ 802481 h 1933575"/>
                  <a:gd name="connsiteX8" fmla="*/ 7696200 w 8801100"/>
                  <a:gd name="connsiteY8" fmla="*/ 773906 h 1933575"/>
                  <a:gd name="connsiteX9" fmla="*/ 7567613 w 8801100"/>
                  <a:gd name="connsiteY9" fmla="*/ 752475 h 1933575"/>
                  <a:gd name="connsiteX10" fmla="*/ 7384257 w 8801100"/>
                  <a:gd name="connsiteY10" fmla="*/ 831056 h 1933575"/>
                  <a:gd name="connsiteX11" fmla="*/ 7227093 w 8801100"/>
                  <a:gd name="connsiteY11" fmla="*/ 716756 h 1933575"/>
                  <a:gd name="connsiteX12" fmla="*/ 7150894 w 8801100"/>
                  <a:gd name="connsiteY12" fmla="*/ 723900 h 1933575"/>
                  <a:gd name="connsiteX13" fmla="*/ 7077075 w 8801100"/>
                  <a:gd name="connsiteY13" fmla="*/ 719138 h 1933575"/>
                  <a:gd name="connsiteX14" fmla="*/ 6938963 w 8801100"/>
                  <a:gd name="connsiteY14" fmla="*/ 823913 h 1933575"/>
                  <a:gd name="connsiteX15" fmla="*/ 6831806 w 8801100"/>
                  <a:gd name="connsiteY15" fmla="*/ 931069 h 1933575"/>
                  <a:gd name="connsiteX16" fmla="*/ 6788944 w 8801100"/>
                  <a:gd name="connsiteY16" fmla="*/ 1000125 h 1933575"/>
                  <a:gd name="connsiteX17" fmla="*/ 6796088 w 8801100"/>
                  <a:gd name="connsiteY17" fmla="*/ 1035844 h 1933575"/>
                  <a:gd name="connsiteX18" fmla="*/ 6734175 w 8801100"/>
                  <a:gd name="connsiteY18" fmla="*/ 1047750 h 1933575"/>
                  <a:gd name="connsiteX19" fmla="*/ 6753225 w 8801100"/>
                  <a:gd name="connsiteY19" fmla="*/ 1047750 h 1933575"/>
                  <a:gd name="connsiteX20" fmla="*/ 6719888 w 8801100"/>
                  <a:gd name="connsiteY20" fmla="*/ 1078706 h 1933575"/>
                  <a:gd name="connsiteX21" fmla="*/ 6619875 w 8801100"/>
                  <a:gd name="connsiteY21" fmla="*/ 1078707 h 1933575"/>
                  <a:gd name="connsiteX22" fmla="*/ 6524625 w 8801100"/>
                  <a:gd name="connsiteY22" fmla="*/ 1133475 h 1933575"/>
                  <a:gd name="connsiteX23" fmla="*/ 6443663 w 8801100"/>
                  <a:gd name="connsiteY23" fmla="*/ 1143000 h 1933575"/>
                  <a:gd name="connsiteX24" fmla="*/ 6403181 w 8801100"/>
                  <a:gd name="connsiteY24" fmla="*/ 1176338 h 1933575"/>
                  <a:gd name="connsiteX25" fmla="*/ 6353175 w 8801100"/>
                  <a:gd name="connsiteY25" fmla="*/ 1181100 h 1933575"/>
                  <a:gd name="connsiteX26" fmla="*/ 6231732 w 8801100"/>
                  <a:gd name="connsiteY26" fmla="*/ 1273969 h 1933575"/>
                  <a:gd name="connsiteX27" fmla="*/ 6172200 w 8801100"/>
                  <a:gd name="connsiteY27" fmla="*/ 1278731 h 1933575"/>
                  <a:gd name="connsiteX28" fmla="*/ 6119813 w 8801100"/>
                  <a:gd name="connsiteY28" fmla="*/ 1243013 h 1933575"/>
                  <a:gd name="connsiteX29" fmla="*/ 6093619 w 8801100"/>
                  <a:gd name="connsiteY29" fmla="*/ 1278731 h 1933575"/>
                  <a:gd name="connsiteX30" fmla="*/ 5895975 w 8801100"/>
                  <a:gd name="connsiteY30" fmla="*/ 1271588 h 1933575"/>
                  <a:gd name="connsiteX31" fmla="*/ 5834063 w 8801100"/>
                  <a:gd name="connsiteY31" fmla="*/ 1226344 h 1933575"/>
                  <a:gd name="connsiteX32" fmla="*/ 5636419 w 8801100"/>
                  <a:gd name="connsiteY32" fmla="*/ 1243013 h 1933575"/>
                  <a:gd name="connsiteX33" fmla="*/ 5548313 w 8801100"/>
                  <a:gd name="connsiteY33" fmla="*/ 1159668 h 1933575"/>
                  <a:gd name="connsiteX34" fmla="*/ 5472113 w 8801100"/>
                  <a:gd name="connsiteY34" fmla="*/ 1114425 h 1933575"/>
                  <a:gd name="connsiteX35" fmla="*/ 5474493 w 8801100"/>
                  <a:gd name="connsiteY35" fmla="*/ 1057275 h 1933575"/>
                  <a:gd name="connsiteX36" fmla="*/ 5455444 w 8801100"/>
                  <a:gd name="connsiteY36" fmla="*/ 1014412 h 1933575"/>
                  <a:gd name="connsiteX37" fmla="*/ 5360194 w 8801100"/>
                  <a:gd name="connsiteY37" fmla="*/ 1016794 h 1933575"/>
                  <a:gd name="connsiteX38" fmla="*/ 5264944 w 8801100"/>
                  <a:gd name="connsiteY38" fmla="*/ 995363 h 1933575"/>
                  <a:gd name="connsiteX39" fmla="*/ 5195887 w 8801100"/>
                  <a:gd name="connsiteY39" fmla="*/ 928687 h 1933575"/>
                  <a:gd name="connsiteX40" fmla="*/ 5160169 w 8801100"/>
                  <a:gd name="connsiteY40" fmla="*/ 885825 h 1933575"/>
                  <a:gd name="connsiteX41" fmla="*/ 5079206 w 8801100"/>
                  <a:gd name="connsiteY41" fmla="*/ 862012 h 1933575"/>
                  <a:gd name="connsiteX42" fmla="*/ 5005388 w 8801100"/>
                  <a:gd name="connsiteY42" fmla="*/ 873918 h 1933575"/>
                  <a:gd name="connsiteX43" fmla="*/ 4948237 w 8801100"/>
                  <a:gd name="connsiteY43" fmla="*/ 821531 h 1933575"/>
                  <a:gd name="connsiteX44" fmla="*/ 4852988 w 8801100"/>
                  <a:gd name="connsiteY44" fmla="*/ 833438 h 1933575"/>
                  <a:gd name="connsiteX45" fmla="*/ 4800600 w 8801100"/>
                  <a:gd name="connsiteY45" fmla="*/ 807244 h 1933575"/>
                  <a:gd name="connsiteX46" fmla="*/ 4719638 w 8801100"/>
                  <a:gd name="connsiteY46" fmla="*/ 850106 h 1933575"/>
                  <a:gd name="connsiteX47" fmla="*/ 4581525 w 8801100"/>
                  <a:gd name="connsiteY47" fmla="*/ 873919 h 1933575"/>
                  <a:gd name="connsiteX48" fmla="*/ 4452938 w 8801100"/>
                  <a:gd name="connsiteY48" fmla="*/ 966788 h 1933575"/>
                  <a:gd name="connsiteX49" fmla="*/ 4405312 w 8801100"/>
                  <a:gd name="connsiteY49" fmla="*/ 928688 h 1933575"/>
                  <a:gd name="connsiteX50" fmla="*/ 4383881 w 8801100"/>
                  <a:gd name="connsiteY50" fmla="*/ 959643 h 1933575"/>
                  <a:gd name="connsiteX51" fmla="*/ 4310063 w 8801100"/>
                  <a:gd name="connsiteY51" fmla="*/ 909638 h 1933575"/>
                  <a:gd name="connsiteX52" fmla="*/ 4271963 w 8801100"/>
                  <a:gd name="connsiteY52" fmla="*/ 916781 h 1933575"/>
                  <a:gd name="connsiteX53" fmla="*/ 4250531 w 8801100"/>
                  <a:gd name="connsiteY53" fmla="*/ 878681 h 1933575"/>
                  <a:gd name="connsiteX54" fmla="*/ 4191000 w 8801100"/>
                  <a:gd name="connsiteY54" fmla="*/ 883444 h 1933575"/>
                  <a:gd name="connsiteX55" fmla="*/ 4145756 w 8801100"/>
                  <a:gd name="connsiteY55" fmla="*/ 854869 h 1933575"/>
                  <a:gd name="connsiteX56" fmla="*/ 4107656 w 8801100"/>
                  <a:gd name="connsiteY56" fmla="*/ 852488 h 1933575"/>
                  <a:gd name="connsiteX57" fmla="*/ 4088606 w 8801100"/>
                  <a:gd name="connsiteY57" fmla="*/ 804862 h 1933575"/>
                  <a:gd name="connsiteX58" fmla="*/ 4074319 w 8801100"/>
                  <a:gd name="connsiteY58" fmla="*/ 773906 h 1933575"/>
                  <a:gd name="connsiteX59" fmla="*/ 4029075 w 8801100"/>
                  <a:gd name="connsiteY59" fmla="*/ 783431 h 1933575"/>
                  <a:gd name="connsiteX60" fmla="*/ 4010025 w 8801100"/>
                  <a:gd name="connsiteY60" fmla="*/ 747713 h 1933575"/>
                  <a:gd name="connsiteX61" fmla="*/ 4031457 w 8801100"/>
                  <a:gd name="connsiteY61" fmla="*/ 692944 h 1933575"/>
                  <a:gd name="connsiteX62" fmla="*/ 4000500 w 8801100"/>
                  <a:gd name="connsiteY62" fmla="*/ 666750 h 1933575"/>
                  <a:gd name="connsiteX63" fmla="*/ 4017169 w 8801100"/>
                  <a:gd name="connsiteY63" fmla="*/ 623888 h 1933575"/>
                  <a:gd name="connsiteX64" fmla="*/ 3990975 w 8801100"/>
                  <a:gd name="connsiteY64" fmla="*/ 581025 h 1933575"/>
                  <a:gd name="connsiteX65" fmla="*/ 3986213 w 8801100"/>
                  <a:gd name="connsiteY65" fmla="*/ 519113 h 1933575"/>
                  <a:gd name="connsiteX66" fmla="*/ 4010025 w 8801100"/>
                  <a:gd name="connsiteY66" fmla="*/ 454818 h 1933575"/>
                  <a:gd name="connsiteX67" fmla="*/ 3971925 w 8801100"/>
                  <a:gd name="connsiteY67" fmla="*/ 457200 h 1933575"/>
                  <a:gd name="connsiteX68" fmla="*/ 3852863 w 8801100"/>
                  <a:gd name="connsiteY68" fmla="*/ 400050 h 1933575"/>
                  <a:gd name="connsiteX69" fmla="*/ 3814762 w 8801100"/>
                  <a:gd name="connsiteY69" fmla="*/ 404812 h 1933575"/>
                  <a:gd name="connsiteX70" fmla="*/ 3609975 w 8801100"/>
                  <a:gd name="connsiteY70" fmla="*/ 295275 h 1933575"/>
                  <a:gd name="connsiteX71" fmla="*/ 3505200 w 8801100"/>
                  <a:gd name="connsiteY71" fmla="*/ 264319 h 1933575"/>
                  <a:gd name="connsiteX72" fmla="*/ 3440906 w 8801100"/>
                  <a:gd name="connsiteY72" fmla="*/ 273843 h 1933575"/>
                  <a:gd name="connsiteX73" fmla="*/ 3409950 w 8801100"/>
                  <a:gd name="connsiteY73" fmla="*/ 209550 h 1933575"/>
                  <a:gd name="connsiteX74" fmla="*/ 3352800 w 8801100"/>
                  <a:gd name="connsiteY74" fmla="*/ 209550 h 1933575"/>
                  <a:gd name="connsiteX75" fmla="*/ 3214687 w 8801100"/>
                  <a:gd name="connsiteY75" fmla="*/ 104775 h 1933575"/>
                  <a:gd name="connsiteX76" fmla="*/ 3181350 w 8801100"/>
                  <a:gd name="connsiteY76" fmla="*/ 164307 h 1933575"/>
                  <a:gd name="connsiteX77" fmla="*/ 3126581 w 8801100"/>
                  <a:gd name="connsiteY77" fmla="*/ 233363 h 1933575"/>
                  <a:gd name="connsiteX78" fmla="*/ 3083719 w 8801100"/>
                  <a:gd name="connsiteY78" fmla="*/ 250031 h 1933575"/>
                  <a:gd name="connsiteX79" fmla="*/ 3052763 w 8801100"/>
                  <a:gd name="connsiteY79" fmla="*/ 242888 h 1933575"/>
                  <a:gd name="connsiteX80" fmla="*/ 3028950 w 8801100"/>
                  <a:gd name="connsiteY80" fmla="*/ 271463 h 1933575"/>
                  <a:gd name="connsiteX81" fmla="*/ 3002756 w 8801100"/>
                  <a:gd name="connsiteY81" fmla="*/ 350044 h 1933575"/>
                  <a:gd name="connsiteX82" fmla="*/ 2959894 w 8801100"/>
                  <a:gd name="connsiteY82" fmla="*/ 347663 h 1933575"/>
                  <a:gd name="connsiteX83" fmla="*/ 2928937 w 8801100"/>
                  <a:gd name="connsiteY83" fmla="*/ 409575 h 1933575"/>
                  <a:gd name="connsiteX84" fmla="*/ 2924175 w 8801100"/>
                  <a:gd name="connsiteY84" fmla="*/ 473869 h 1933575"/>
                  <a:gd name="connsiteX85" fmla="*/ 2897982 w 8801100"/>
                  <a:gd name="connsiteY85" fmla="*/ 511969 h 1933575"/>
                  <a:gd name="connsiteX86" fmla="*/ 2924175 w 8801100"/>
                  <a:gd name="connsiteY86" fmla="*/ 571500 h 1933575"/>
                  <a:gd name="connsiteX87" fmla="*/ 2926556 w 8801100"/>
                  <a:gd name="connsiteY87" fmla="*/ 640556 h 1933575"/>
                  <a:gd name="connsiteX88" fmla="*/ 2955131 w 8801100"/>
                  <a:gd name="connsiteY88" fmla="*/ 692944 h 1933575"/>
                  <a:gd name="connsiteX89" fmla="*/ 3002757 w 8801100"/>
                  <a:gd name="connsiteY89" fmla="*/ 747713 h 1933575"/>
                  <a:gd name="connsiteX90" fmla="*/ 2952750 w 8801100"/>
                  <a:gd name="connsiteY90" fmla="*/ 885825 h 1933575"/>
                  <a:gd name="connsiteX91" fmla="*/ 2883694 w 8801100"/>
                  <a:gd name="connsiteY91" fmla="*/ 952500 h 1933575"/>
                  <a:gd name="connsiteX92" fmla="*/ 2812256 w 8801100"/>
                  <a:gd name="connsiteY92" fmla="*/ 947738 h 1933575"/>
                  <a:gd name="connsiteX93" fmla="*/ 2774156 w 8801100"/>
                  <a:gd name="connsiteY93" fmla="*/ 1004888 h 1933575"/>
                  <a:gd name="connsiteX94" fmla="*/ 2714625 w 8801100"/>
                  <a:gd name="connsiteY94" fmla="*/ 1019175 h 1933575"/>
                  <a:gd name="connsiteX95" fmla="*/ 2645569 w 8801100"/>
                  <a:gd name="connsiteY95" fmla="*/ 959644 h 1933575"/>
                  <a:gd name="connsiteX96" fmla="*/ 2590800 w 8801100"/>
                  <a:gd name="connsiteY96" fmla="*/ 931069 h 1933575"/>
                  <a:gd name="connsiteX97" fmla="*/ 2547938 w 8801100"/>
                  <a:gd name="connsiteY97" fmla="*/ 945356 h 1933575"/>
                  <a:gd name="connsiteX98" fmla="*/ 2495550 w 8801100"/>
                  <a:gd name="connsiteY98" fmla="*/ 928688 h 1933575"/>
                  <a:gd name="connsiteX99" fmla="*/ 2428875 w 8801100"/>
                  <a:gd name="connsiteY99" fmla="*/ 873919 h 1933575"/>
                  <a:gd name="connsiteX100" fmla="*/ 2383631 w 8801100"/>
                  <a:gd name="connsiteY100" fmla="*/ 885825 h 1933575"/>
                  <a:gd name="connsiteX101" fmla="*/ 2362200 w 8801100"/>
                  <a:gd name="connsiteY101" fmla="*/ 854869 h 1933575"/>
                  <a:gd name="connsiteX102" fmla="*/ 2305050 w 8801100"/>
                  <a:gd name="connsiteY102" fmla="*/ 895350 h 1933575"/>
                  <a:gd name="connsiteX103" fmla="*/ 2188369 w 8801100"/>
                  <a:gd name="connsiteY103" fmla="*/ 873919 h 1933575"/>
                  <a:gd name="connsiteX104" fmla="*/ 2138363 w 8801100"/>
                  <a:gd name="connsiteY104" fmla="*/ 821531 h 1933575"/>
                  <a:gd name="connsiteX105" fmla="*/ 2095500 w 8801100"/>
                  <a:gd name="connsiteY105" fmla="*/ 807244 h 1933575"/>
                  <a:gd name="connsiteX106" fmla="*/ 2052638 w 8801100"/>
                  <a:gd name="connsiteY106" fmla="*/ 833438 h 1933575"/>
                  <a:gd name="connsiteX107" fmla="*/ 2000250 w 8801100"/>
                  <a:gd name="connsiteY107" fmla="*/ 742950 h 1933575"/>
                  <a:gd name="connsiteX108" fmla="*/ 1990725 w 8801100"/>
                  <a:gd name="connsiteY108" fmla="*/ 595312 h 1933575"/>
                  <a:gd name="connsiteX109" fmla="*/ 1938337 w 8801100"/>
                  <a:gd name="connsiteY109" fmla="*/ 588168 h 1933575"/>
                  <a:gd name="connsiteX110" fmla="*/ 1847850 w 8801100"/>
                  <a:gd name="connsiteY110" fmla="*/ 578644 h 1933575"/>
                  <a:gd name="connsiteX111" fmla="*/ 1793081 w 8801100"/>
                  <a:gd name="connsiteY111" fmla="*/ 540544 h 1933575"/>
                  <a:gd name="connsiteX112" fmla="*/ 1724025 w 8801100"/>
                  <a:gd name="connsiteY112" fmla="*/ 550069 h 1933575"/>
                  <a:gd name="connsiteX113" fmla="*/ 1678781 w 8801100"/>
                  <a:gd name="connsiteY113" fmla="*/ 523875 h 1933575"/>
                  <a:gd name="connsiteX114" fmla="*/ 1669257 w 8801100"/>
                  <a:gd name="connsiteY114" fmla="*/ 452438 h 1933575"/>
                  <a:gd name="connsiteX115" fmla="*/ 1645444 w 8801100"/>
                  <a:gd name="connsiteY115" fmla="*/ 438150 h 1933575"/>
                  <a:gd name="connsiteX116" fmla="*/ 1607344 w 8801100"/>
                  <a:gd name="connsiteY116" fmla="*/ 485774 h 1933575"/>
                  <a:gd name="connsiteX117" fmla="*/ 1528762 w 8801100"/>
                  <a:gd name="connsiteY117" fmla="*/ 411956 h 1933575"/>
                  <a:gd name="connsiteX118" fmla="*/ 1488281 w 8801100"/>
                  <a:gd name="connsiteY118" fmla="*/ 452438 h 1933575"/>
                  <a:gd name="connsiteX119" fmla="*/ 1412081 w 8801100"/>
                  <a:gd name="connsiteY119" fmla="*/ 438150 h 1933575"/>
                  <a:gd name="connsiteX120" fmla="*/ 1333500 w 8801100"/>
                  <a:gd name="connsiteY120" fmla="*/ 464344 h 1933575"/>
                  <a:gd name="connsiteX121" fmla="*/ 1273969 w 8801100"/>
                  <a:gd name="connsiteY121" fmla="*/ 511968 h 1933575"/>
                  <a:gd name="connsiteX122" fmla="*/ 1200150 w 8801100"/>
                  <a:gd name="connsiteY122" fmla="*/ 523875 h 1933575"/>
                  <a:gd name="connsiteX123" fmla="*/ 1164431 w 8801100"/>
                  <a:gd name="connsiteY123" fmla="*/ 516731 h 1933575"/>
                  <a:gd name="connsiteX124" fmla="*/ 1085851 w 8801100"/>
                  <a:gd name="connsiteY124" fmla="*/ 547688 h 1933575"/>
                  <a:gd name="connsiteX125" fmla="*/ 1064419 w 8801100"/>
                  <a:gd name="connsiteY125" fmla="*/ 576263 h 1933575"/>
                  <a:gd name="connsiteX126" fmla="*/ 997744 w 8801100"/>
                  <a:gd name="connsiteY126" fmla="*/ 566738 h 1933575"/>
                  <a:gd name="connsiteX127" fmla="*/ 928688 w 8801100"/>
                  <a:gd name="connsiteY127" fmla="*/ 590550 h 1933575"/>
                  <a:gd name="connsiteX128" fmla="*/ 873919 w 8801100"/>
                  <a:gd name="connsiteY128" fmla="*/ 628650 h 1933575"/>
                  <a:gd name="connsiteX129" fmla="*/ 778669 w 8801100"/>
                  <a:gd name="connsiteY129" fmla="*/ 642937 h 1933575"/>
                  <a:gd name="connsiteX130" fmla="*/ 764381 w 8801100"/>
                  <a:gd name="connsiteY130" fmla="*/ 664369 h 1933575"/>
                  <a:gd name="connsiteX131" fmla="*/ 776287 w 8801100"/>
                  <a:gd name="connsiteY131" fmla="*/ 709613 h 1933575"/>
                  <a:gd name="connsiteX132" fmla="*/ 676276 w 8801100"/>
                  <a:gd name="connsiteY132" fmla="*/ 762000 h 1933575"/>
                  <a:gd name="connsiteX133" fmla="*/ 638175 w 8801100"/>
                  <a:gd name="connsiteY133" fmla="*/ 733424 h 1933575"/>
                  <a:gd name="connsiteX134" fmla="*/ 607219 w 8801100"/>
                  <a:gd name="connsiteY134" fmla="*/ 790575 h 1933575"/>
                  <a:gd name="connsiteX135" fmla="*/ 550069 w 8801100"/>
                  <a:gd name="connsiteY135" fmla="*/ 752475 h 1933575"/>
                  <a:gd name="connsiteX136" fmla="*/ 514350 w 8801100"/>
                  <a:gd name="connsiteY136" fmla="*/ 781050 h 1933575"/>
                  <a:gd name="connsiteX137" fmla="*/ 478631 w 8801100"/>
                  <a:gd name="connsiteY137" fmla="*/ 745331 h 1933575"/>
                  <a:gd name="connsiteX138" fmla="*/ 426244 w 8801100"/>
                  <a:gd name="connsiteY138" fmla="*/ 757238 h 1933575"/>
                  <a:gd name="connsiteX139" fmla="*/ 381000 w 8801100"/>
                  <a:gd name="connsiteY139" fmla="*/ 728663 h 1933575"/>
                  <a:gd name="connsiteX140" fmla="*/ 357188 w 8801100"/>
                  <a:gd name="connsiteY140" fmla="*/ 747713 h 1933575"/>
                  <a:gd name="connsiteX141" fmla="*/ 333375 w 8801100"/>
                  <a:gd name="connsiteY141" fmla="*/ 807244 h 1933575"/>
                  <a:gd name="connsiteX142" fmla="*/ 261938 w 8801100"/>
                  <a:gd name="connsiteY142" fmla="*/ 845343 h 1933575"/>
                  <a:gd name="connsiteX143" fmla="*/ 209550 w 8801100"/>
                  <a:gd name="connsiteY143" fmla="*/ 816769 h 1933575"/>
                  <a:gd name="connsiteX144" fmla="*/ 119063 w 8801100"/>
                  <a:gd name="connsiteY144" fmla="*/ 826294 h 1933575"/>
                  <a:gd name="connsiteX145" fmla="*/ 71437 w 8801100"/>
                  <a:gd name="connsiteY145" fmla="*/ 792957 h 1933575"/>
                  <a:gd name="connsiteX146" fmla="*/ 0 w 8801100"/>
                  <a:gd name="connsiteY146" fmla="*/ 812006 h 1933575"/>
                  <a:gd name="connsiteX147" fmla="*/ 4762 w 8801100"/>
                  <a:gd name="connsiteY147" fmla="*/ 0 h 1933575"/>
                  <a:gd name="connsiteX148" fmla="*/ 8515350 w 8801100"/>
                  <a:gd name="connsiteY148" fmla="*/ 1905000 h 1933575"/>
                  <a:gd name="connsiteX149" fmla="*/ 8548688 w 8801100"/>
                  <a:gd name="connsiteY149" fmla="*/ 1902619 h 1933575"/>
                  <a:gd name="connsiteX150" fmla="*/ 8584406 w 8801100"/>
                  <a:gd name="connsiteY150" fmla="*/ 1933575 h 1933575"/>
                  <a:gd name="connsiteX151" fmla="*/ 8643938 w 8801100"/>
                  <a:gd name="connsiteY151" fmla="*/ 1933575 h 1933575"/>
                  <a:gd name="connsiteX152" fmla="*/ 8682037 w 8801100"/>
                  <a:gd name="connsiteY152" fmla="*/ 1914525 h 1933575"/>
                  <a:gd name="connsiteX153" fmla="*/ 8765381 w 8801100"/>
                  <a:gd name="connsiteY153" fmla="*/ 1916907 h 1933575"/>
                  <a:gd name="connsiteX154" fmla="*/ 8796338 w 8801100"/>
                  <a:gd name="connsiteY154" fmla="*/ 1871663 h 1933575"/>
                  <a:gd name="connsiteX155" fmla="*/ 8801100 w 8801100"/>
                  <a:gd name="connsiteY155" fmla="*/ 1809750 h 1933575"/>
                  <a:gd name="connsiteX156" fmla="*/ 8751093 w 8801100"/>
                  <a:gd name="connsiteY156" fmla="*/ 1769269 h 1933575"/>
                  <a:gd name="connsiteX157" fmla="*/ 8734425 w 8801100"/>
                  <a:gd name="connsiteY157" fmla="*/ 1714500 h 1933575"/>
                  <a:gd name="connsiteX158" fmla="*/ 8643938 w 8801100"/>
                  <a:gd name="connsiteY158" fmla="*/ 1652588 h 1933575"/>
                  <a:gd name="connsiteX159" fmla="*/ 8603456 w 8801100"/>
                  <a:gd name="connsiteY159" fmla="*/ 1631156 h 1933575"/>
                  <a:gd name="connsiteX160" fmla="*/ 8565356 w 8801100"/>
                  <a:gd name="connsiteY160" fmla="*/ 1585913 h 1933575"/>
                  <a:gd name="connsiteX161" fmla="*/ 8534400 w 8801100"/>
                  <a:gd name="connsiteY161" fmla="*/ 1583531 h 1933575"/>
                  <a:gd name="connsiteX162" fmla="*/ 8517731 w 8801100"/>
                  <a:gd name="connsiteY162" fmla="*/ 1531144 h 1933575"/>
                  <a:gd name="connsiteX163" fmla="*/ 8477250 w 8801100"/>
                  <a:gd name="connsiteY163" fmla="*/ 1514475 h 1933575"/>
                  <a:gd name="connsiteX164" fmla="*/ 8477250 w 8801100"/>
                  <a:gd name="connsiteY164" fmla="*/ 1514475 h 1933575"/>
                  <a:gd name="connsiteX165" fmla="*/ 8436769 w 8801100"/>
                  <a:gd name="connsiteY165" fmla="*/ 1519238 h 1933575"/>
                  <a:gd name="connsiteX166" fmla="*/ 8351043 w 8801100"/>
                  <a:gd name="connsiteY166" fmla="*/ 1445419 h 1933575"/>
                  <a:gd name="connsiteX167" fmla="*/ 8170069 w 8801100"/>
                  <a:gd name="connsiteY167" fmla="*/ 1445418 h 1933575"/>
                  <a:gd name="connsiteX168" fmla="*/ 8117681 w 8801100"/>
                  <a:gd name="connsiteY168" fmla="*/ 1483519 h 1933575"/>
                  <a:gd name="connsiteX169" fmla="*/ 8067675 w 8801100"/>
                  <a:gd name="connsiteY169" fmla="*/ 1562100 h 1933575"/>
                  <a:gd name="connsiteX170" fmla="*/ 8084344 w 8801100"/>
                  <a:gd name="connsiteY170" fmla="*/ 1583531 h 1933575"/>
                  <a:gd name="connsiteX171" fmla="*/ 8039100 w 8801100"/>
                  <a:gd name="connsiteY171" fmla="*/ 1633537 h 1933575"/>
                  <a:gd name="connsiteX172" fmla="*/ 7889081 w 8801100"/>
                  <a:gd name="connsiteY172" fmla="*/ 1557337 h 1933575"/>
                  <a:gd name="connsiteX173" fmla="*/ 7798594 w 8801100"/>
                  <a:gd name="connsiteY173" fmla="*/ 1593056 h 1933575"/>
                  <a:gd name="connsiteX174" fmla="*/ 7724775 w 8801100"/>
                  <a:gd name="connsiteY174" fmla="*/ 1590675 h 1933575"/>
                  <a:gd name="connsiteX175" fmla="*/ 7667625 w 8801100"/>
                  <a:gd name="connsiteY175" fmla="*/ 1685925 h 1933575"/>
                  <a:gd name="connsiteX176" fmla="*/ 7529513 w 8801100"/>
                  <a:gd name="connsiteY176" fmla="*/ 1588294 h 1933575"/>
                  <a:gd name="connsiteX0" fmla="*/ 7529513 w 8801100"/>
                  <a:gd name="connsiteY0" fmla="*/ 1588294 h 1933575"/>
                  <a:gd name="connsiteX1" fmla="*/ 7522369 w 8801100"/>
                  <a:gd name="connsiteY1" fmla="*/ 1533525 h 1933575"/>
                  <a:gd name="connsiteX2" fmla="*/ 7589044 w 8801100"/>
                  <a:gd name="connsiteY2" fmla="*/ 1459706 h 1933575"/>
                  <a:gd name="connsiteX3" fmla="*/ 7572375 w 8801100"/>
                  <a:gd name="connsiteY3" fmla="*/ 1388269 h 1933575"/>
                  <a:gd name="connsiteX4" fmla="*/ 7586663 w 8801100"/>
                  <a:gd name="connsiteY4" fmla="*/ 1293019 h 1933575"/>
                  <a:gd name="connsiteX5" fmla="*/ 7624763 w 8801100"/>
                  <a:gd name="connsiteY5" fmla="*/ 1235869 h 1933575"/>
                  <a:gd name="connsiteX6" fmla="*/ 7605712 w 8801100"/>
                  <a:gd name="connsiteY6" fmla="*/ 1202531 h 1933575"/>
                  <a:gd name="connsiteX7" fmla="*/ 7703343 w 8801100"/>
                  <a:gd name="connsiteY7" fmla="*/ 802481 h 1933575"/>
                  <a:gd name="connsiteX8" fmla="*/ 7696200 w 8801100"/>
                  <a:gd name="connsiteY8" fmla="*/ 773906 h 1933575"/>
                  <a:gd name="connsiteX9" fmla="*/ 7567613 w 8801100"/>
                  <a:gd name="connsiteY9" fmla="*/ 752475 h 1933575"/>
                  <a:gd name="connsiteX10" fmla="*/ 7384257 w 8801100"/>
                  <a:gd name="connsiteY10" fmla="*/ 831056 h 1933575"/>
                  <a:gd name="connsiteX11" fmla="*/ 7227093 w 8801100"/>
                  <a:gd name="connsiteY11" fmla="*/ 716756 h 1933575"/>
                  <a:gd name="connsiteX12" fmla="*/ 7150894 w 8801100"/>
                  <a:gd name="connsiteY12" fmla="*/ 723900 h 1933575"/>
                  <a:gd name="connsiteX13" fmla="*/ 7077075 w 8801100"/>
                  <a:gd name="connsiteY13" fmla="*/ 719138 h 1933575"/>
                  <a:gd name="connsiteX14" fmla="*/ 6938963 w 8801100"/>
                  <a:gd name="connsiteY14" fmla="*/ 823913 h 1933575"/>
                  <a:gd name="connsiteX15" fmla="*/ 6831806 w 8801100"/>
                  <a:gd name="connsiteY15" fmla="*/ 931069 h 1933575"/>
                  <a:gd name="connsiteX16" fmla="*/ 6788944 w 8801100"/>
                  <a:gd name="connsiteY16" fmla="*/ 1000125 h 1933575"/>
                  <a:gd name="connsiteX17" fmla="*/ 6796088 w 8801100"/>
                  <a:gd name="connsiteY17" fmla="*/ 1035844 h 1933575"/>
                  <a:gd name="connsiteX18" fmla="*/ 6734175 w 8801100"/>
                  <a:gd name="connsiteY18" fmla="*/ 1047750 h 1933575"/>
                  <a:gd name="connsiteX19" fmla="*/ 6753225 w 8801100"/>
                  <a:gd name="connsiteY19" fmla="*/ 1047750 h 1933575"/>
                  <a:gd name="connsiteX20" fmla="*/ 6719888 w 8801100"/>
                  <a:gd name="connsiteY20" fmla="*/ 1078706 h 1933575"/>
                  <a:gd name="connsiteX21" fmla="*/ 6619875 w 8801100"/>
                  <a:gd name="connsiteY21" fmla="*/ 1078707 h 1933575"/>
                  <a:gd name="connsiteX22" fmla="*/ 6524625 w 8801100"/>
                  <a:gd name="connsiteY22" fmla="*/ 1133475 h 1933575"/>
                  <a:gd name="connsiteX23" fmla="*/ 6443663 w 8801100"/>
                  <a:gd name="connsiteY23" fmla="*/ 1143000 h 1933575"/>
                  <a:gd name="connsiteX24" fmla="*/ 6403181 w 8801100"/>
                  <a:gd name="connsiteY24" fmla="*/ 1176338 h 1933575"/>
                  <a:gd name="connsiteX25" fmla="*/ 6353175 w 8801100"/>
                  <a:gd name="connsiteY25" fmla="*/ 1181100 h 1933575"/>
                  <a:gd name="connsiteX26" fmla="*/ 6231732 w 8801100"/>
                  <a:gd name="connsiteY26" fmla="*/ 1273969 h 1933575"/>
                  <a:gd name="connsiteX27" fmla="*/ 6172200 w 8801100"/>
                  <a:gd name="connsiteY27" fmla="*/ 1278731 h 1933575"/>
                  <a:gd name="connsiteX28" fmla="*/ 6119813 w 8801100"/>
                  <a:gd name="connsiteY28" fmla="*/ 1243013 h 1933575"/>
                  <a:gd name="connsiteX29" fmla="*/ 6093619 w 8801100"/>
                  <a:gd name="connsiteY29" fmla="*/ 1278731 h 1933575"/>
                  <a:gd name="connsiteX30" fmla="*/ 5895975 w 8801100"/>
                  <a:gd name="connsiteY30" fmla="*/ 1271588 h 1933575"/>
                  <a:gd name="connsiteX31" fmla="*/ 5834063 w 8801100"/>
                  <a:gd name="connsiteY31" fmla="*/ 1226344 h 1933575"/>
                  <a:gd name="connsiteX32" fmla="*/ 5636419 w 8801100"/>
                  <a:gd name="connsiteY32" fmla="*/ 1243013 h 1933575"/>
                  <a:gd name="connsiteX33" fmla="*/ 5548313 w 8801100"/>
                  <a:gd name="connsiteY33" fmla="*/ 1159668 h 1933575"/>
                  <a:gd name="connsiteX34" fmla="*/ 5472113 w 8801100"/>
                  <a:gd name="connsiteY34" fmla="*/ 1114425 h 1933575"/>
                  <a:gd name="connsiteX35" fmla="*/ 5474493 w 8801100"/>
                  <a:gd name="connsiteY35" fmla="*/ 1057275 h 1933575"/>
                  <a:gd name="connsiteX36" fmla="*/ 5455444 w 8801100"/>
                  <a:gd name="connsiteY36" fmla="*/ 1014412 h 1933575"/>
                  <a:gd name="connsiteX37" fmla="*/ 5360194 w 8801100"/>
                  <a:gd name="connsiteY37" fmla="*/ 1016794 h 1933575"/>
                  <a:gd name="connsiteX38" fmla="*/ 5264944 w 8801100"/>
                  <a:gd name="connsiteY38" fmla="*/ 995363 h 1933575"/>
                  <a:gd name="connsiteX39" fmla="*/ 5195887 w 8801100"/>
                  <a:gd name="connsiteY39" fmla="*/ 928687 h 1933575"/>
                  <a:gd name="connsiteX40" fmla="*/ 5160169 w 8801100"/>
                  <a:gd name="connsiteY40" fmla="*/ 885825 h 1933575"/>
                  <a:gd name="connsiteX41" fmla="*/ 5079206 w 8801100"/>
                  <a:gd name="connsiteY41" fmla="*/ 862012 h 1933575"/>
                  <a:gd name="connsiteX42" fmla="*/ 5005388 w 8801100"/>
                  <a:gd name="connsiteY42" fmla="*/ 873918 h 1933575"/>
                  <a:gd name="connsiteX43" fmla="*/ 4948237 w 8801100"/>
                  <a:gd name="connsiteY43" fmla="*/ 821531 h 1933575"/>
                  <a:gd name="connsiteX44" fmla="*/ 4852988 w 8801100"/>
                  <a:gd name="connsiteY44" fmla="*/ 833438 h 1933575"/>
                  <a:gd name="connsiteX45" fmla="*/ 4800600 w 8801100"/>
                  <a:gd name="connsiteY45" fmla="*/ 807244 h 1933575"/>
                  <a:gd name="connsiteX46" fmla="*/ 4719638 w 8801100"/>
                  <a:gd name="connsiteY46" fmla="*/ 850106 h 1933575"/>
                  <a:gd name="connsiteX47" fmla="*/ 4581525 w 8801100"/>
                  <a:gd name="connsiteY47" fmla="*/ 873919 h 1933575"/>
                  <a:gd name="connsiteX48" fmla="*/ 4452938 w 8801100"/>
                  <a:gd name="connsiteY48" fmla="*/ 966788 h 1933575"/>
                  <a:gd name="connsiteX49" fmla="*/ 4405312 w 8801100"/>
                  <a:gd name="connsiteY49" fmla="*/ 928688 h 1933575"/>
                  <a:gd name="connsiteX50" fmla="*/ 4383881 w 8801100"/>
                  <a:gd name="connsiteY50" fmla="*/ 959643 h 1933575"/>
                  <a:gd name="connsiteX51" fmla="*/ 4310063 w 8801100"/>
                  <a:gd name="connsiteY51" fmla="*/ 909638 h 1933575"/>
                  <a:gd name="connsiteX52" fmla="*/ 4271963 w 8801100"/>
                  <a:gd name="connsiteY52" fmla="*/ 916781 h 1933575"/>
                  <a:gd name="connsiteX53" fmla="*/ 4250531 w 8801100"/>
                  <a:gd name="connsiteY53" fmla="*/ 878681 h 1933575"/>
                  <a:gd name="connsiteX54" fmla="*/ 4191000 w 8801100"/>
                  <a:gd name="connsiteY54" fmla="*/ 883444 h 1933575"/>
                  <a:gd name="connsiteX55" fmla="*/ 4145756 w 8801100"/>
                  <a:gd name="connsiteY55" fmla="*/ 854869 h 1933575"/>
                  <a:gd name="connsiteX56" fmla="*/ 4107656 w 8801100"/>
                  <a:gd name="connsiteY56" fmla="*/ 852488 h 1933575"/>
                  <a:gd name="connsiteX57" fmla="*/ 4088606 w 8801100"/>
                  <a:gd name="connsiteY57" fmla="*/ 804862 h 1933575"/>
                  <a:gd name="connsiteX58" fmla="*/ 4074319 w 8801100"/>
                  <a:gd name="connsiteY58" fmla="*/ 773906 h 1933575"/>
                  <a:gd name="connsiteX59" fmla="*/ 4029075 w 8801100"/>
                  <a:gd name="connsiteY59" fmla="*/ 783431 h 1933575"/>
                  <a:gd name="connsiteX60" fmla="*/ 4010025 w 8801100"/>
                  <a:gd name="connsiteY60" fmla="*/ 747713 h 1933575"/>
                  <a:gd name="connsiteX61" fmla="*/ 4031457 w 8801100"/>
                  <a:gd name="connsiteY61" fmla="*/ 692944 h 1933575"/>
                  <a:gd name="connsiteX62" fmla="*/ 4000500 w 8801100"/>
                  <a:gd name="connsiteY62" fmla="*/ 666750 h 1933575"/>
                  <a:gd name="connsiteX63" fmla="*/ 4017169 w 8801100"/>
                  <a:gd name="connsiteY63" fmla="*/ 623888 h 1933575"/>
                  <a:gd name="connsiteX64" fmla="*/ 3990975 w 8801100"/>
                  <a:gd name="connsiteY64" fmla="*/ 581025 h 1933575"/>
                  <a:gd name="connsiteX65" fmla="*/ 3986213 w 8801100"/>
                  <a:gd name="connsiteY65" fmla="*/ 519113 h 1933575"/>
                  <a:gd name="connsiteX66" fmla="*/ 4010025 w 8801100"/>
                  <a:gd name="connsiteY66" fmla="*/ 454818 h 1933575"/>
                  <a:gd name="connsiteX67" fmla="*/ 3971925 w 8801100"/>
                  <a:gd name="connsiteY67" fmla="*/ 457200 h 1933575"/>
                  <a:gd name="connsiteX68" fmla="*/ 3852863 w 8801100"/>
                  <a:gd name="connsiteY68" fmla="*/ 400050 h 1933575"/>
                  <a:gd name="connsiteX69" fmla="*/ 3814762 w 8801100"/>
                  <a:gd name="connsiteY69" fmla="*/ 404812 h 1933575"/>
                  <a:gd name="connsiteX70" fmla="*/ 3609975 w 8801100"/>
                  <a:gd name="connsiteY70" fmla="*/ 295275 h 1933575"/>
                  <a:gd name="connsiteX71" fmla="*/ 3505200 w 8801100"/>
                  <a:gd name="connsiteY71" fmla="*/ 264319 h 1933575"/>
                  <a:gd name="connsiteX72" fmla="*/ 3440906 w 8801100"/>
                  <a:gd name="connsiteY72" fmla="*/ 273843 h 1933575"/>
                  <a:gd name="connsiteX73" fmla="*/ 3409950 w 8801100"/>
                  <a:gd name="connsiteY73" fmla="*/ 209550 h 1933575"/>
                  <a:gd name="connsiteX74" fmla="*/ 3352800 w 8801100"/>
                  <a:gd name="connsiteY74" fmla="*/ 209550 h 1933575"/>
                  <a:gd name="connsiteX75" fmla="*/ 3214687 w 8801100"/>
                  <a:gd name="connsiteY75" fmla="*/ 104775 h 1933575"/>
                  <a:gd name="connsiteX76" fmla="*/ 3181350 w 8801100"/>
                  <a:gd name="connsiteY76" fmla="*/ 164307 h 1933575"/>
                  <a:gd name="connsiteX77" fmla="*/ 3126581 w 8801100"/>
                  <a:gd name="connsiteY77" fmla="*/ 233363 h 1933575"/>
                  <a:gd name="connsiteX78" fmla="*/ 3083719 w 8801100"/>
                  <a:gd name="connsiteY78" fmla="*/ 250031 h 1933575"/>
                  <a:gd name="connsiteX79" fmla="*/ 3052763 w 8801100"/>
                  <a:gd name="connsiteY79" fmla="*/ 242888 h 1933575"/>
                  <a:gd name="connsiteX80" fmla="*/ 3028950 w 8801100"/>
                  <a:gd name="connsiteY80" fmla="*/ 271463 h 1933575"/>
                  <a:gd name="connsiteX81" fmla="*/ 3002756 w 8801100"/>
                  <a:gd name="connsiteY81" fmla="*/ 350044 h 1933575"/>
                  <a:gd name="connsiteX82" fmla="*/ 2959894 w 8801100"/>
                  <a:gd name="connsiteY82" fmla="*/ 347663 h 1933575"/>
                  <a:gd name="connsiteX83" fmla="*/ 2928937 w 8801100"/>
                  <a:gd name="connsiteY83" fmla="*/ 409575 h 1933575"/>
                  <a:gd name="connsiteX84" fmla="*/ 2924175 w 8801100"/>
                  <a:gd name="connsiteY84" fmla="*/ 473869 h 1933575"/>
                  <a:gd name="connsiteX85" fmla="*/ 2897982 w 8801100"/>
                  <a:gd name="connsiteY85" fmla="*/ 511969 h 1933575"/>
                  <a:gd name="connsiteX86" fmla="*/ 2924175 w 8801100"/>
                  <a:gd name="connsiteY86" fmla="*/ 571500 h 1933575"/>
                  <a:gd name="connsiteX87" fmla="*/ 2926556 w 8801100"/>
                  <a:gd name="connsiteY87" fmla="*/ 640556 h 1933575"/>
                  <a:gd name="connsiteX88" fmla="*/ 2955131 w 8801100"/>
                  <a:gd name="connsiteY88" fmla="*/ 692944 h 1933575"/>
                  <a:gd name="connsiteX89" fmla="*/ 3002757 w 8801100"/>
                  <a:gd name="connsiteY89" fmla="*/ 747713 h 1933575"/>
                  <a:gd name="connsiteX90" fmla="*/ 2952750 w 8801100"/>
                  <a:gd name="connsiteY90" fmla="*/ 885825 h 1933575"/>
                  <a:gd name="connsiteX91" fmla="*/ 2883694 w 8801100"/>
                  <a:gd name="connsiteY91" fmla="*/ 952500 h 1933575"/>
                  <a:gd name="connsiteX92" fmla="*/ 2812256 w 8801100"/>
                  <a:gd name="connsiteY92" fmla="*/ 947738 h 1933575"/>
                  <a:gd name="connsiteX93" fmla="*/ 2774156 w 8801100"/>
                  <a:gd name="connsiteY93" fmla="*/ 1004888 h 1933575"/>
                  <a:gd name="connsiteX94" fmla="*/ 2714625 w 8801100"/>
                  <a:gd name="connsiteY94" fmla="*/ 1019175 h 1933575"/>
                  <a:gd name="connsiteX95" fmla="*/ 2645569 w 8801100"/>
                  <a:gd name="connsiteY95" fmla="*/ 959644 h 1933575"/>
                  <a:gd name="connsiteX96" fmla="*/ 2590800 w 8801100"/>
                  <a:gd name="connsiteY96" fmla="*/ 931069 h 1933575"/>
                  <a:gd name="connsiteX97" fmla="*/ 2547938 w 8801100"/>
                  <a:gd name="connsiteY97" fmla="*/ 945356 h 1933575"/>
                  <a:gd name="connsiteX98" fmla="*/ 2495550 w 8801100"/>
                  <a:gd name="connsiteY98" fmla="*/ 928688 h 1933575"/>
                  <a:gd name="connsiteX99" fmla="*/ 2428875 w 8801100"/>
                  <a:gd name="connsiteY99" fmla="*/ 873919 h 1933575"/>
                  <a:gd name="connsiteX100" fmla="*/ 2383631 w 8801100"/>
                  <a:gd name="connsiteY100" fmla="*/ 885825 h 1933575"/>
                  <a:gd name="connsiteX101" fmla="*/ 2362200 w 8801100"/>
                  <a:gd name="connsiteY101" fmla="*/ 854869 h 1933575"/>
                  <a:gd name="connsiteX102" fmla="*/ 2305050 w 8801100"/>
                  <a:gd name="connsiteY102" fmla="*/ 895350 h 1933575"/>
                  <a:gd name="connsiteX103" fmla="*/ 2188369 w 8801100"/>
                  <a:gd name="connsiteY103" fmla="*/ 873919 h 1933575"/>
                  <a:gd name="connsiteX104" fmla="*/ 2138363 w 8801100"/>
                  <a:gd name="connsiteY104" fmla="*/ 821531 h 1933575"/>
                  <a:gd name="connsiteX105" fmla="*/ 2095500 w 8801100"/>
                  <a:gd name="connsiteY105" fmla="*/ 807244 h 1933575"/>
                  <a:gd name="connsiteX106" fmla="*/ 2052638 w 8801100"/>
                  <a:gd name="connsiteY106" fmla="*/ 833438 h 1933575"/>
                  <a:gd name="connsiteX107" fmla="*/ 2000250 w 8801100"/>
                  <a:gd name="connsiteY107" fmla="*/ 742950 h 1933575"/>
                  <a:gd name="connsiteX108" fmla="*/ 1990725 w 8801100"/>
                  <a:gd name="connsiteY108" fmla="*/ 595312 h 1933575"/>
                  <a:gd name="connsiteX109" fmla="*/ 1938337 w 8801100"/>
                  <a:gd name="connsiteY109" fmla="*/ 588168 h 1933575"/>
                  <a:gd name="connsiteX110" fmla="*/ 1847850 w 8801100"/>
                  <a:gd name="connsiteY110" fmla="*/ 578644 h 1933575"/>
                  <a:gd name="connsiteX111" fmla="*/ 1793081 w 8801100"/>
                  <a:gd name="connsiteY111" fmla="*/ 540544 h 1933575"/>
                  <a:gd name="connsiteX112" fmla="*/ 1724025 w 8801100"/>
                  <a:gd name="connsiteY112" fmla="*/ 550069 h 1933575"/>
                  <a:gd name="connsiteX113" fmla="*/ 1678781 w 8801100"/>
                  <a:gd name="connsiteY113" fmla="*/ 523875 h 1933575"/>
                  <a:gd name="connsiteX114" fmla="*/ 1669257 w 8801100"/>
                  <a:gd name="connsiteY114" fmla="*/ 452438 h 1933575"/>
                  <a:gd name="connsiteX115" fmla="*/ 1645444 w 8801100"/>
                  <a:gd name="connsiteY115" fmla="*/ 438150 h 1933575"/>
                  <a:gd name="connsiteX116" fmla="*/ 1607344 w 8801100"/>
                  <a:gd name="connsiteY116" fmla="*/ 485774 h 1933575"/>
                  <a:gd name="connsiteX117" fmla="*/ 1528762 w 8801100"/>
                  <a:gd name="connsiteY117" fmla="*/ 411956 h 1933575"/>
                  <a:gd name="connsiteX118" fmla="*/ 1488281 w 8801100"/>
                  <a:gd name="connsiteY118" fmla="*/ 452438 h 1933575"/>
                  <a:gd name="connsiteX119" fmla="*/ 1412081 w 8801100"/>
                  <a:gd name="connsiteY119" fmla="*/ 438150 h 1933575"/>
                  <a:gd name="connsiteX120" fmla="*/ 1333500 w 8801100"/>
                  <a:gd name="connsiteY120" fmla="*/ 464344 h 1933575"/>
                  <a:gd name="connsiteX121" fmla="*/ 1273969 w 8801100"/>
                  <a:gd name="connsiteY121" fmla="*/ 511968 h 1933575"/>
                  <a:gd name="connsiteX122" fmla="*/ 1200150 w 8801100"/>
                  <a:gd name="connsiteY122" fmla="*/ 523875 h 1933575"/>
                  <a:gd name="connsiteX123" fmla="*/ 1164431 w 8801100"/>
                  <a:gd name="connsiteY123" fmla="*/ 516731 h 1933575"/>
                  <a:gd name="connsiteX124" fmla="*/ 1085851 w 8801100"/>
                  <a:gd name="connsiteY124" fmla="*/ 547688 h 1933575"/>
                  <a:gd name="connsiteX125" fmla="*/ 1064419 w 8801100"/>
                  <a:gd name="connsiteY125" fmla="*/ 576263 h 1933575"/>
                  <a:gd name="connsiteX126" fmla="*/ 997744 w 8801100"/>
                  <a:gd name="connsiteY126" fmla="*/ 566738 h 1933575"/>
                  <a:gd name="connsiteX127" fmla="*/ 928688 w 8801100"/>
                  <a:gd name="connsiteY127" fmla="*/ 590550 h 1933575"/>
                  <a:gd name="connsiteX128" fmla="*/ 873919 w 8801100"/>
                  <a:gd name="connsiteY128" fmla="*/ 628650 h 1933575"/>
                  <a:gd name="connsiteX129" fmla="*/ 778669 w 8801100"/>
                  <a:gd name="connsiteY129" fmla="*/ 642937 h 1933575"/>
                  <a:gd name="connsiteX130" fmla="*/ 764381 w 8801100"/>
                  <a:gd name="connsiteY130" fmla="*/ 664369 h 1933575"/>
                  <a:gd name="connsiteX131" fmla="*/ 776287 w 8801100"/>
                  <a:gd name="connsiteY131" fmla="*/ 709613 h 1933575"/>
                  <a:gd name="connsiteX132" fmla="*/ 676276 w 8801100"/>
                  <a:gd name="connsiteY132" fmla="*/ 762000 h 1933575"/>
                  <a:gd name="connsiteX133" fmla="*/ 638175 w 8801100"/>
                  <a:gd name="connsiteY133" fmla="*/ 733424 h 1933575"/>
                  <a:gd name="connsiteX134" fmla="*/ 607219 w 8801100"/>
                  <a:gd name="connsiteY134" fmla="*/ 790575 h 1933575"/>
                  <a:gd name="connsiteX135" fmla="*/ 550069 w 8801100"/>
                  <a:gd name="connsiteY135" fmla="*/ 752475 h 1933575"/>
                  <a:gd name="connsiteX136" fmla="*/ 514350 w 8801100"/>
                  <a:gd name="connsiteY136" fmla="*/ 781050 h 1933575"/>
                  <a:gd name="connsiteX137" fmla="*/ 478631 w 8801100"/>
                  <a:gd name="connsiteY137" fmla="*/ 745331 h 1933575"/>
                  <a:gd name="connsiteX138" fmla="*/ 426244 w 8801100"/>
                  <a:gd name="connsiteY138" fmla="*/ 757238 h 1933575"/>
                  <a:gd name="connsiteX139" fmla="*/ 381000 w 8801100"/>
                  <a:gd name="connsiteY139" fmla="*/ 728663 h 1933575"/>
                  <a:gd name="connsiteX140" fmla="*/ 357188 w 8801100"/>
                  <a:gd name="connsiteY140" fmla="*/ 747713 h 1933575"/>
                  <a:gd name="connsiteX141" fmla="*/ 333375 w 8801100"/>
                  <a:gd name="connsiteY141" fmla="*/ 807244 h 1933575"/>
                  <a:gd name="connsiteX142" fmla="*/ 261938 w 8801100"/>
                  <a:gd name="connsiteY142" fmla="*/ 845343 h 1933575"/>
                  <a:gd name="connsiteX143" fmla="*/ 209550 w 8801100"/>
                  <a:gd name="connsiteY143" fmla="*/ 816769 h 1933575"/>
                  <a:gd name="connsiteX144" fmla="*/ 119063 w 8801100"/>
                  <a:gd name="connsiteY144" fmla="*/ 826294 h 1933575"/>
                  <a:gd name="connsiteX145" fmla="*/ 71437 w 8801100"/>
                  <a:gd name="connsiteY145" fmla="*/ 792957 h 1933575"/>
                  <a:gd name="connsiteX146" fmla="*/ 0 w 8801100"/>
                  <a:gd name="connsiteY146" fmla="*/ 812006 h 1933575"/>
                  <a:gd name="connsiteX147" fmla="*/ 4762 w 8801100"/>
                  <a:gd name="connsiteY147" fmla="*/ 0 h 1933575"/>
                  <a:gd name="connsiteX148" fmla="*/ 8548688 w 8801100"/>
                  <a:gd name="connsiteY148" fmla="*/ 1902619 h 1933575"/>
                  <a:gd name="connsiteX149" fmla="*/ 8584406 w 8801100"/>
                  <a:gd name="connsiteY149" fmla="*/ 1933575 h 1933575"/>
                  <a:gd name="connsiteX150" fmla="*/ 8643938 w 8801100"/>
                  <a:gd name="connsiteY150" fmla="*/ 1933575 h 1933575"/>
                  <a:gd name="connsiteX151" fmla="*/ 8682037 w 8801100"/>
                  <a:gd name="connsiteY151" fmla="*/ 1914525 h 1933575"/>
                  <a:gd name="connsiteX152" fmla="*/ 8765381 w 8801100"/>
                  <a:gd name="connsiteY152" fmla="*/ 1916907 h 1933575"/>
                  <a:gd name="connsiteX153" fmla="*/ 8796338 w 8801100"/>
                  <a:gd name="connsiteY153" fmla="*/ 1871663 h 1933575"/>
                  <a:gd name="connsiteX154" fmla="*/ 8801100 w 8801100"/>
                  <a:gd name="connsiteY154" fmla="*/ 1809750 h 1933575"/>
                  <a:gd name="connsiteX155" fmla="*/ 8751093 w 8801100"/>
                  <a:gd name="connsiteY155" fmla="*/ 1769269 h 1933575"/>
                  <a:gd name="connsiteX156" fmla="*/ 8734425 w 8801100"/>
                  <a:gd name="connsiteY156" fmla="*/ 1714500 h 1933575"/>
                  <a:gd name="connsiteX157" fmla="*/ 8643938 w 8801100"/>
                  <a:gd name="connsiteY157" fmla="*/ 1652588 h 1933575"/>
                  <a:gd name="connsiteX158" fmla="*/ 8603456 w 8801100"/>
                  <a:gd name="connsiteY158" fmla="*/ 1631156 h 1933575"/>
                  <a:gd name="connsiteX159" fmla="*/ 8565356 w 8801100"/>
                  <a:gd name="connsiteY159" fmla="*/ 1585913 h 1933575"/>
                  <a:gd name="connsiteX160" fmla="*/ 8534400 w 8801100"/>
                  <a:gd name="connsiteY160" fmla="*/ 1583531 h 1933575"/>
                  <a:gd name="connsiteX161" fmla="*/ 8517731 w 8801100"/>
                  <a:gd name="connsiteY161" fmla="*/ 1531144 h 1933575"/>
                  <a:gd name="connsiteX162" fmla="*/ 8477250 w 8801100"/>
                  <a:gd name="connsiteY162" fmla="*/ 1514475 h 1933575"/>
                  <a:gd name="connsiteX163" fmla="*/ 8477250 w 8801100"/>
                  <a:gd name="connsiteY163" fmla="*/ 1514475 h 1933575"/>
                  <a:gd name="connsiteX164" fmla="*/ 8436769 w 8801100"/>
                  <a:gd name="connsiteY164" fmla="*/ 1519238 h 1933575"/>
                  <a:gd name="connsiteX165" fmla="*/ 8351043 w 8801100"/>
                  <a:gd name="connsiteY165" fmla="*/ 1445419 h 1933575"/>
                  <a:gd name="connsiteX166" fmla="*/ 8170069 w 8801100"/>
                  <a:gd name="connsiteY166" fmla="*/ 1445418 h 1933575"/>
                  <a:gd name="connsiteX167" fmla="*/ 8117681 w 8801100"/>
                  <a:gd name="connsiteY167" fmla="*/ 1483519 h 1933575"/>
                  <a:gd name="connsiteX168" fmla="*/ 8067675 w 8801100"/>
                  <a:gd name="connsiteY168" fmla="*/ 1562100 h 1933575"/>
                  <a:gd name="connsiteX169" fmla="*/ 8084344 w 8801100"/>
                  <a:gd name="connsiteY169" fmla="*/ 1583531 h 1933575"/>
                  <a:gd name="connsiteX170" fmla="*/ 8039100 w 8801100"/>
                  <a:gd name="connsiteY170" fmla="*/ 1633537 h 1933575"/>
                  <a:gd name="connsiteX171" fmla="*/ 7889081 w 8801100"/>
                  <a:gd name="connsiteY171" fmla="*/ 1557337 h 1933575"/>
                  <a:gd name="connsiteX172" fmla="*/ 7798594 w 8801100"/>
                  <a:gd name="connsiteY172" fmla="*/ 1593056 h 1933575"/>
                  <a:gd name="connsiteX173" fmla="*/ 7724775 w 8801100"/>
                  <a:gd name="connsiteY173" fmla="*/ 1590675 h 1933575"/>
                  <a:gd name="connsiteX174" fmla="*/ 7667625 w 8801100"/>
                  <a:gd name="connsiteY174" fmla="*/ 1685925 h 1933575"/>
                  <a:gd name="connsiteX175" fmla="*/ 7529513 w 8801100"/>
                  <a:gd name="connsiteY175" fmla="*/ 1588294 h 1933575"/>
                  <a:gd name="connsiteX0" fmla="*/ 7529513 w 8801100"/>
                  <a:gd name="connsiteY0" fmla="*/ 1588294 h 1933575"/>
                  <a:gd name="connsiteX1" fmla="*/ 7522369 w 8801100"/>
                  <a:gd name="connsiteY1" fmla="*/ 1533525 h 1933575"/>
                  <a:gd name="connsiteX2" fmla="*/ 7589044 w 8801100"/>
                  <a:gd name="connsiteY2" fmla="*/ 1459706 h 1933575"/>
                  <a:gd name="connsiteX3" fmla="*/ 7572375 w 8801100"/>
                  <a:gd name="connsiteY3" fmla="*/ 1388269 h 1933575"/>
                  <a:gd name="connsiteX4" fmla="*/ 7586663 w 8801100"/>
                  <a:gd name="connsiteY4" fmla="*/ 1293019 h 1933575"/>
                  <a:gd name="connsiteX5" fmla="*/ 7624763 w 8801100"/>
                  <a:gd name="connsiteY5" fmla="*/ 1235869 h 1933575"/>
                  <a:gd name="connsiteX6" fmla="*/ 7605712 w 8801100"/>
                  <a:gd name="connsiteY6" fmla="*/ 1202531 h 1933575"/>
                  <a:gd name="connsiteX7" fmla="*/ 7703343 w 8801100"/>
                  <a:gd name="connsiteY7" fmla="*/ 802481 h 1933575"/>
                  <a:gd name="connsiteX8" fmla="*/ 7696200 w 8801100"/>
                  <a:gd name="connsiteY8" fmla="*/ 773906 h 1933575"/>
                  <a:gd name="connsiteX9" fmla="*/ 7567613 w 8801100"/>
                  <a:gd name="connsiteY9" fmla="*/ 752475 h 1933575"/>
                  <a:gd name="connsiteX10" fmla="*/ 7384257 w 8801100"/>
                  <a:gd name="connsiteY10" fmla="*/ 831056 h 1933575"/>
                  <a:gd name="connsiteX11" fmla="*/ 7227093 w 8801100"/>
                  <a:gd name="connsiteY11" fmla="*/ 716756 h 1933575"/>
                  <a:gd name="connsiteX12" fmla="*/ 7150894 w 8801100"/>
                  <a:gd name="connsiteY12" fmla="*/ 723900 h 1933575"/>
                  <a:gd name="connsiteX13" fmla="*/ 7077075 w 8801100"/>
                  <a:gd name="connsiteY13" fmla="*/ 719138 h 1933575"/>
                  <a:gd name="connsiteX14" fmla="*/ 6938963 w 8801100"/>
                  <a:gd name="connsiteY14" fmla="*/ 823913 h 1933575"/>
                  <a:gd name="connsiteX15" fmla="*/ 6831806 w 8801100"/>
                  <a:gd name="connsiteY15" fmla="*/ 931069 h 1933575"/>
                  <a:gd name="connsiteX16" fmla="*/ 6788944 w 8801100"/>
                  <a:gd name="connsiteY16" fmla="*/ 1000125 h 1933575"/>
                  <a:gd name="connsiteX17" fmla="*/ 6796088 w 8801100"/>
                  <a:gd name="connsiteY17" fmla="*/ 1035844 h 1933575"/>
                  <a:gd name="connsiteX18" fmla="*/ 6734175 w 8801100"/>
                  <a:gd name="connsiteY18" fmla="*/ 1047750 h 1933575"/>
                  <a:gd name="connsiteX19" fmla="*/ 6753225 w 8801100"/>
                  <a:gd name="connsiteY19" fmla="*/ 1047750 h 1933575"/>
                  <a:gd name="connsiteX20" fmla="*/ 6719888 w 8801100"/>
                  <a:gd name="connsiteY20" fmla="*/ 1078706 h 1933575"/>
                  <a:gd name="connsiteX21" fmla="*/ 6619875 w 8801100"/>
                  <a:gd name="connsiteY21" fmla="*/ 1078707 h 1933575"/>
                  <a:gd name="connsiteX22" fmla="*/ 6524625 w 8801100"/>
                  <a:gd name="connsiteY22" fmla="*/ 1133475 h 1933575"/>
                  <a:gd name="connsiteX23" fmla="*/ 6443663 w 8801100"/>
                  <a:gd name="connsiteY23" fmla="*/ 1143000 h 1933575"/>
                  <a:gd name="connsiteX24" fmla="*/ 6403181 w 8801100"/>
                  <a:gd name="connsiteY24" fmla="*/ 1176338 h 1933575"/>
                  <a:gd name="connsiteX25" fmla="*/ 6353175 w 8801100"/>
                  <a:gd name="connsiteY25" fmla="*/ 1181100 h 1933575"/>
                  <a:gd name="connsiteX26" fmla="*/ 6231732 w 8801100"/>
                  <a:gd name="connsiteY26" fmla="*/ 1273969 h 1933575"/>
                  <a:gd name="connsiteX27" fmla="*/ 6172200 w 8801100"/>
                  <a:gd name="connsiteY27" fmla="*/ 1278731 h 1933575"/>
                  <a:gd name="connsiteX28" fmla="*/ 6119813 w 8801100"/>
                  <a:gd name="connsiteY28" fmla="*/ 1243013 h 1933575"/>
                  <a:gd name="connsiteX29" fmla="*/ 6093619 w 8801100"/>
                  <a:gd name="connsiteY29" fmla="*/ 1278731 h 1933575"/>
                  <a:gd name="connsiteX30" fmla="*/ 5895975 w 8801100"/>
                  <a:gd name="connsiteY30" fmla="*/ 1271588 h 1933575"/>
                  <a:gd name="connsiteX31" fmla="*/ 5834063 w 8801100"/>
                  <a:gd name="connsiteY31" fmla="*/ 1226344 h 1933575"/>
                  <a:gd name="connsiteX32" fmla="*/ 5636419 w 8801100"/>
                  <a:gd name="connsiteY32" fmla="*/ 1243013 h 1933575"/>
                  <a:gd name="connsiteX33" fmla="*/ 5548313 w 8801100"/>
                  <a:gd name="connsiteY33" fmla="*/ 1159668 h 1933575"/>
                  <a:gd name="connsiteX34" fmla="*/ 5472113 w 8801100"/>
                  <a:gd name="connsiteY34" fmla="*/ 1114425 h 1933575"/>
                  <a:gd name="connsiteX35" fmla="*/ 5474493 w 8801100"/>
                  <a:gd name="connsiteY35" fmla="*/ 1057275 h 1933575"/>
                  <a:gd name="connsiteX36" fmla="*/ 5455444 w 8801100"/>
                  <a:gd name="connsiteY36" fmla="*/ 1014412 h 1933575"/>
                  <a:gd name="connsiteX37" fmla="*/ 5360194 w 8801100"/>
                  <a:gd name="connsiteY37" fmla="*/ 1016794 h 1933575"/>
                  <a:gd name="connsiteX38" fmla="*/ 5264944 w 8801100"/>
                  <a:gd name="connsiteY38" fmla="*/ 995363 h 1933575"/>
                  <a:gd name="connsiteX39" fmla="*/ 5195887 w 8801100"/>
                  <a:gd name="connsiteY39" fmla="*/ 928687 h 1933575"/>
                  <a:gd name="connsiteX40" fmla="*/ 5160169 w 8801100"/>
                  <a:gd name="connsiteY40" fmla="*/ 885825 h 1933575"/>
                  <a:gd name="connsiteX41" fmla="*/ 5079206 w 8801100"/>
                  <a:gd name="connsiteY41" fmla="*/ 862012 h 1933575"/>
                  <a:gd name="connsiteX42" fmla="*/ 5005388 w 8801100"/>
                  <a:gd name="connsiteY42" fmla="*/ 873918 h 1933575"/>
                  <a:gd name="connsiteX43" fmla="*/ 4948237 w 8801100"/>
                  <a:gd name="connsiteY43" fmla="*/ 821531 h 1933575"/>
                  <a:gd name="connsiteX44" fmla="*/ 4852988 w 8801100"/>
                  <a:gd name="connsiteY44" fmla="*/ 833438 h 1933575"/>
                  <a:gd name="connsiteX45" fmla="*/ 4800600 w 8801100"/>
                  <a:gd name="connsiteY45" fmla="*/ 807244 h 1933575"/>
                  <a:gd name="connsiteX46" fmla="*/ 4719638 w 8801100"/>
                  <a:gd name="connsiteY46" fmla="*/ 850106 h 1933575"/>
                  <a:gd name="connsiteX47" fmla="*/ 4581525 w 8801100"/>
                  <a:gd name="connsiteY47" fmla="*/ 873919 h 1933575"/>
                  <a:gd name="connsiteX48" fmla="*/ 4452938 w 8801100"/>
                  <a:gd name="connsiteY48" fmla="*/ 966788 h 1933575"/>
                  <a:gd name="connsiteX49" fmla="*/ 4405312 w 8801100"/>
                  <a:gd name="connsiteY49" fmla="*/ 928688 h 1933575"/>
                  <a:gd name="connsiteX50" fmla="*/ 4383881 w 8801100"/>
                  <a:gd name="connsiteY50" fmla="*/ 959643 h 1933575"/>
                  <a:gd name="connsiteX51" fmla="*/ 4310063 w 8801100"/>
                  <a:gd name="connsiteY51" fmla="*/ 909638 h 1933575"/>
                  <a:gd name="connsiteX52" fmla="*/ 4271963 w 8801100"/>
                  <a:gd name="connsiteY52" fmla="*/ 916781 h 1933575"/>
                  <a:gd name="connsiteX53" fmla="*/ 4250531 w 8801100"/>
                  <a:gd name="connsiteY53" fmla="*/ 878681 h 1933575"/>
                  <a:gd name="connsiteX54" fmla="*/ 4191000 w 8801100"/>
                  <a:gd name="connsiteY54" fmla="*/ 883444 h 1933575"/>
                  <a:gd name="connsiteX55" fmla="*/ 4145756 w 8801100"/>
                  <a:gd name="connsiteY55" fmla="*/ 854869 h 1933575"/>
                  <a:gd name="connsiteX56" fmla="*/ 4107656 w 8801100"/>
                  <a:gd name="connsiteY56" fmla="*/ 852488 h 1933575"/>
                  <a:gd name="connsiteX57" fmla="*/ 4088606 w 8801100"/>
                  <a:gd name="connsiteY57" fmla="*/ 804862 h 1933575"/>
                  <a:gd name="connsiteX58" fmla="*/ 4074319 w 8801100"/>
                  <a:gd name="connsiteY58" fmla="*/ 773906 h 1933575"/>
                  <a:gd name="connsiteX59" fmla="*/ 4029075 w 8801100"/>
                  <a:gd name="connsiteY59" fmla="*/ 783431 h 1933575"/>
                  <a:gd name="connsiteX60" fmla="*/ 4010025 w 8801100"/>
                  <a:gd name="connsiteY60" fmla="*/ 747713 h 1933575"/>
                  <a:gd name="connsiteX61" fmla="*/ 4031457 w 8801100"/>
                  <a:gd name="connsiteY61" fmla="*/ 692944 h 1933575"/>
                  <a:gd name="connsiteX62" fmla="*/ 4000500 w 8801100"/>
                  <a:gd name="connsiteY62" fmla="*/ 666750 h 1933575"/>
                  <a:gd name="connsiteX63" fmla="*/ 4017169 w 8801100"/>
                  <a:gd name="connsiteY63" fmla="*/ 623888 h 1933575"/>
                  <a:gd name="connsiteX64" fmla="*/ 3990975 w 8801100"/>
                  <a:gd name="connsiteY64" fmla="*/ 581025 h 1933575"/>
                  <a:gd name="connsiteX65" fmla="*/ 3986213 w 8801100"/>
                  <a:gd name="connsiteY65" fmla="*/ 519113 h 1933575"/>
                  <a:gd name="connsiteX66" fmla="*/ 4010025 w 8801100"/>
                  <a:gd name="connsiteY66" fmla="*/ 454818 h 1933575"/>
                  <a:gd name="connsiteX67" fmla="*/ 3971925 w 8801100"/>
                  <a:gd name="connsiteY67" fmla="*/ 457200 h 1933575"/>
                  <a:gd name="connsiteX68" fmla="*/ 3852863 w 8801100"/>
                  <a:gd name="connsiteY68" fmla="*/ 400050 h 1933575"/>
                  <a:gd name="connsiteX69" fmla="*/ 3814762 w 8801100"/>
                  <a:gd name="connsiteY69" fmla="*/ 404812 h 1933575"/>
                  <a:gd name="connsiteX70" fmla="*/ 3609975 w 8801100"/>
                  <a:gd name="connsiteY70" fmla="*/ 295275 h 1933575"/>
                  <a:gd name="connsiteX71" fmla="*/ 3505200 w 8801100"/>
                  <a:gd name="connsiteY71" fmla="*/ 264319 h 1933575"/>
                  <a:gd name="connsiteX72" fmla="*/ 3440906 w 8801100"/>
                  <a:gd name="connsiteY72" fmla="*/ 273843 h 1933575"/>
                  <a:gd name="connsiteX73" fmla="*/ 3409950 w 8801100"/>
                  <a:gd name="connsiteY73" fmla="*/ 209550 h 1933575"/>
                  <a:gd name="connsiteX74" fmla="*/ 3352800 w 8801100"/>
                  <a:gd name="connsiteY74" fmla="*/ 209550 h 1933575"/>
                  <a:gd name="connsiteX75" fmla="*/ 3214687 w 8801100"/>
                  <a:gd name="connsiteY75" fmla="*/ 104775 h 1933575"/>
                  <a:gd name="connsiteX76" fmla="*/ 3181350 w 8801100"/>
                  <a:gd name="connsiteY76" fmla="*/ 164307 h 1933575"/>
                  <a:gd name="connsiteX77" fmla="*/ 3126581 w 8801100"/>
                  <a:gd name="connsiteY77" fmla="*/ 233363 h 1933575"/>
                  <a:gd name="connsiteX78" fmla="*/ 3083719 w 8801100"/>
                  <a:gd name="connsiteY78" fmla="*/ 250031 h 1933575"/>
                  <a:gd name="connsiteX79" fmla="*/ 3052763 w 8801100"/>
                  <a:gd name="connsiteY79" fmla="*/ 242888 h 1933575"/>
                  <a:gd name="connsiteX80" fmla="*/ 3028950 w 8801100"/>
                  <a:gd name="connsiteY80" fmla="*/ 271463 h 1933575"/>
                  <a:gd name="connsiteX81" fmla="*/ 3002756 w 8801100"/>
                  <a:gd name="connsiteY81" fmla="*/ 350044 h 1933575"/>
                  <a:gd name="connsiteX82" fmla="*/ 2959894 w 8801100"/>
                  <a:gd name="connsiteY82" fmla="*/ 347663 h 1933575"/>
                  <a:gd name="connsiteX83" fmla="*/ 2928937 w 8801100"/>
                  <a:gd name="connsiteY83" fmla="*/ 409575 h 1933575"/>
                  <a:gd name="connsiteX84" fmla="*/ 2924175 w 8801100"/>
                  <a:gd name="connsiteY84" fmla="*/ 473869 h 1933575"/>
                  <a:gd name="connsiteX85" fmla="*/ 2897982 w 8801100"/>
                  <a:gd name="connsiteY85" fmla="*/ 511969 h 1933575"/>
                  <a:gd name="connsiteX86" fmla="*/ 2924175 w 8801100"/>
                  <a:gd name="connsiteY86" fmla="*/ 571500 h 1933575"/>
                  <a:gd name="connsiteX87" fmla="*/ 2926556 w 8801100"/>
                  <a:gd name="connsiteY87" fmla="*/ 640556 h 1933575"/>
                  <a:gd name="connsiteX88" fmla="*/ 2955131 w 8801100"/>
                  <a:gd name="connsiteY88" fmla="*/ 692944 h 1933575"/>
                  <a:gd name="connsiteX89" fmla="*/ 3002757 w 8801100"/>
                  <a:gd name="connsiteY89" fmla="*/ 747713 h 1933575"/>
                  <a:gd name="connsiteX90" fmla="*/ 2952750 w 8801100"/>
                  <a:gd name="connsiteY90" fmla="*/ 885825 h 1933575"/>
                  <a:gd name="connsiteX91" fmla="*/ 2883694 w 8801100"/>
                  <a:gd name="connsiteY91" fmla="*/ 952500 h 1933575"/>
                  <a:gd name="connsiteX92" fmla="*/ 2812256 w 8801100"/>
                  <a:gd name="connsiteY92" fmla="*/ 947738 h 1933575"/>
                  <a:gd name="connsiteX93" fmla="*/ 2774156 w 8801100"/>
                  <a:gd name="connsiteY93" fmla="*/ 1004888 h 1933575"/>
                  <a:gd name="connsiteX94" fmla="*/ 2714625 w 8801100"/>
                  <a:gd name="connsiteY94" fmla="*/ 1019175 h 1933575"/>
                  <a:gd name="connsiteX95" fmla="*/ 2645569 w 8801100"/>
                  <a:gd name="connsiteY95" fmla="*/ 959644 h 1933575"/>
                  <a:gd name="connsiteX96" fmla="*/ 2590800 w 8801100"/>
                  <a:gd name="connsiteY96" fmla="*/ 931069 h 1933575"/>
                  <a:gd name="connsiteX97" fmla="*/ 2547938 w 8801100"/>
                  <a:gd name="connsiteY97" fmla="*/ 945356 h 1933575"/>
                  <a:gd name="connsiteX98" fmla="*/ 2495550 w 8801100"/>
                  <a:gd name="connsiteY98" fmla="*/ 928688 h 1933575"/>
                  <a:gd name="connsiteX99" fmla="*/ 2428875 w 8801100"/>
                  <a:gd name="connsiteY99" fmla="*/ 873919 h 1933575"/>
                  <a:gd name="connsiteX100" fmla="*/ 2383631 w 8801100"/>
                  <a:gd name="connsiteY100" fmla="*/ 885825 h 1933575"/>
                  <a:gd name="connsiteX101" fmla="*/ 2362200 w 8801100"/>
                  <a:gd name="connsiteY101" fmla="*/ 854869 h 1933575"/>
                  <a:gd name="connsiteX102" fmla="*/ 2305050 w 8801100"/>
                  <a:gd name="connsiteY102" fmla="*/ 895350 h 1933575"/>
                  <a:gd name="connsiteX103" fmla="*/ 2188369 w 8801100"/>
                  <a:gd name="connsiteY103" fmla="*/ 873919 h 1933575"/>
                  <a:gd name="connsiteX104" fmla="*/ 2138363 w 8801100"/>
                  <a:gd name="connsiteY104" fmla="*/ 821531 h 1933575"/>
                  <a:gd name="connsiteX105" fmla="*/ 2095500 w 8801100"/>
                  <a:gd name="connsiteY105" fmla="*/ 807244 h 1933575"/>
                  <a:gd name="connsiteX106" fmla="*/ 2052638 w 8801100"/>
                  <a:gd name="connsiteY106" fmla="*/ 833438 h 1933575"/>
                  <a:gd name="connsiteX107" fmla="*/ 2000250 w 8801100"/>
                  <a:gd name="connsiteY107" fmla="*/ 742950 h 1933575"/>
                  <a:gd name="connsiteX108" fmla="*/ 1990725 w 8801100"/>
                  <a:gd name="connsiteY108" fmla="*/ 595312 h 1933575"/>
                  <a:gd name="connsiteX109" fmla="*/ 1938337 w 8801100"/>
                  <a:gd name="connsiteY109" fmla="*/ 588168 h 1933575"/>
                  <a:gd name="connsiteX110" fmla="*/ 1847850 w 8801100"/>
                  <a:gd name="connsiteY110" fmla="*/ 578644 h 1933575"/>
                  <a:gd name="connsiteX111" fmla="*/ 1793081 w 8801100"/>
                  <a:gd name="connsiteY111" fmla="*/ 540544 h 1933575"/>
                  <a:gd name="connsiteX112" fmla="*/ 1724025 w 8801100"/>
                  <a:gd name="connsiteY112" fmla="*/ 550069 h 1933575"/>
                  <a:gd name="connsiteX113" fmla="*/ 1678781 w 8801100"/>
                  <a:gd name="connsiteY113" fmla="*/ 523875 h 1933575"/>
                  <a:gd name="connsiteX114" fmla="*/ 1669257 w 8801100"/>
                  <a:gd name="connsiteY114" fmla="*/ 452438 h 1933575"/>
                  <a:gd name="connsiteX115" fmla="*/ 1645444 w 8801100"/>
                  <a:gd name="connsiteY115" fmla="*/ 438150 h 1933575"/>
                  <a:gd name="connsiteX116" fmla="*/ 1607344 w 8801100"/>
                  <a:gd name="connsiteY116" fmla="*/ 485774 h 1933575"/>
                  <a:gd name="connsiteX117" fmla="*/ 1528762 w 8801100"/>
                  <a:gd name="connsiteY117" fmla="*/ 411956 h 1933575"/>
                  <a:gd name="connsiteX118" fmla="*/ 1488281 w 8801100"/>
                  <a:gd name="connsiteY118" fmla="*/ 452438 h 1933575"/>
                  <a:gd name="connsiteX119" fmla="*/ 1412081 w 8801100"/>
                  <a:gd name="connsiteY119" fmla="*/ 438150 h 1933575"/>
                  <a:gd name="connsiteX120" fmla="*/ 1333500 w 8801100"/>
                  <a:gd name="connsiteY120" fmla="*/ 464344 h 1933575"/>
                  <a:gd name="connsiteX121" fmla="*/ 1273969 w 8801100"/>
                  <a:gd name="connsiteY121" fmla="*/ 511968 h 1933575"/>
                  <a:gd name="connsiteX122" fmla="*/ 1200150 w 8801100"/>
                  <a:gd name="connsiteY122" fmla="*/ 523875 h 1933575"/>
                  <a:gd name="connsiteX123" fmla="*/ 1164431 w 8801100"/>
                  <a:gd name="connsiteY123" fmla="*/ 516731 h 1933575"/>
                  <a:gd name="connsiteX124" fmla="*/ 1085851 w 8801100"/>
                  <a:gd name="connsiteY124" fmla="*/ 547688 h 1933575"/>
                  <a:gd name="connsiteX125" fmla="*/ 1064419 w 8801100"/>
                  <a:gd name="connsiteY125" fmla="*/ 576263 h 1933575"/>
                  <a:gd name="connsiteX126" fmla="*/ 997744 w 8801100"/>
                  <a:gd name="connsiteY126" fmla="*/ 566738 h 1933575"/>
                  <a:gd name="connsiteX127" fmla="*/ 928688 w 8801100"/>
                  <a:gd name="connsiteY127" fmla="*/ 590550 h 1933575"/>
                  <a:gd name="connsiteX128" fmla="*/ 873919 w 8801100"/>
                  <a:gd name="connsiteY128" fmla="*/ 628650 h 1933575"/>
                  <a:gd name="connsiteX129" fmla="*/ 778669 w 8801100"/>
                  <a:gd name="connsiteY129" fmla="*/ 642937 h 1933575"/>
                  <a:gd name="connsiteX130" fmla="*/ 764381 w 8801100"/>
                  <a:gd name="connsiteY130" fmla="*/ 664369 h 1933575"/>
                  <a:gd name="connsiteX131" fmla="*/ 776287 w 8801100"/>
                  <a:gd name="connsiteY131" fmla="*/ 709613 h 1933575"/>
                  <a:gd name="connsiteX132" fmla="*/ 676276 w 8801100"/>
                  <a:gd name="connsiteY132" fmla="*/ 762000 h 1933575"/>
                  <a:gd name="connsiteX133" fmla="*/ 638175 w 8801100"/>
                  <a:gd name="connsiteY133" fmla="*/ 733424 h 1933575"/>
                  <a:gd name="connsiteX134" fmla="*/ 607219 w 8801100"/>
                  <a:gd name="connsiteY134" fmla="*/ 790575 h 1933575"/>
                  <a:gd name="connsiteX135" fmla="*/ 550069 w 8801100"/>
                  <a:gd name="connsiteY135" fmla="*/ 752475 h 1933575"/>
                  <a:gd name="connsiteX136" fmla="*/ 514350 w 8801100"/>
                  <a:gd name="connsiteY136" fmla="*/ 781050 h 1933575"/>
                  <a:gd name="connsiteX137" fmla="*/ 478631 w 8801100"/>
                  <a:gd name="connsiteY137" fmla="*/ 745331 h 1933575"/>
                  <a:gd name="connsiteX138" fmla="*/ 426244 w 8801100"/>
                  <a:gd name="connsiteY138" fmla="*/ 757238 h 1933575"/>
                  <a:gd name="connsiteX139" fmla="*/ 381000 w 8801100"/>
                  <a:gd name="connsiteY139" fmla="*/ 728663 h 1933575"/>
                  <a:gd name="connsiteX140" fmla="*/ 357188 w 8801100"/>
                  <a:gd name="connsiteY140" fmla="*/ 747713 h 1933575"/>
                  <a:gd name="connsiteX141" fmla="*/ 333375 w 8801100"/>
                  <a:gd name="connsiteY141" fmla="*/ 807244 h 1933575"/>
                  <a:gd name="connsiteX142" fmla="*/ 261938 w 8801100"/>
                  <a:gd name="connsiteY142" fmla="*/ 845343 h 1933575"/>
                  <a:gd name="connsiteX143" fmla="*/ 209550 w 8801100"/>
                  <a:gd name="connsiteY143" fmla="*/ 816769 h 1933575"/>
                  <a:gd name="connsiteX144" fmla="*/ 119063 w 8801100"/>
                  <a:gd name="connsiteY144" fmla="*/ 826294 h 1933575"/>
                  <a:gd name="connsiteX145" fmla="*/ 71437 w 8801100"/>
                  <a:gd name="connsiteY145" fmla="*/ 792957 h 1933575"/>
                  <a:gd name="connsiteX146" fmla="*/ 0 w 8801100"/>
                  <a:gd name="connsiteY146" fmla="*/ 812006 h 1933575"/>
                  <a:gd name="connsiteX147" fmla="*/ 4762 w 8801100"/>
                  <a:gd name="connsiteY147" fmla="*/ 0 h 1933575"/>
                  <a:gd name="connsiteX148" fmla="*/ 8584406 w 8801100"/>
                  <a:gd name="connsiteY148" fmla="*/ 1933575 h 1933575"/>
                  <a:gd name="connsiteX149" fmla="*/ 8643938 w 8801100"/>
                  <a:gd name="connsiteY149" fmla="*/ 1933575 h 1933575"/>
                  <a:gd name="connsiteX150" fmla="*/ 8682037 w 8801100"/>
                  <a:gd name="connsiteY150" fmla="*/ 1914525 h 1933575"/>
                  <a:gd name="connsiteX151" fmla="*/ 8765381 w 8801100"/>
                  <a:gd name="connsiteY151" fmla="*/ 1916907 h 1933575"/>
                  <a:gd name="connsiteX152" fmla="*/ 8796338 w 8801100"/>
                  <a:gd name="connsiteY152" fmla="*/ 1871663 h 1933575"/>
                  <a:gd name="connsiteX153" fmla="*/ 8801100 w 8801100"/>
                  <a:gd name="connsiteY153" fmla="*/ 1809750 h 1933575"/>
                  <a:gd name="connsiteX154" fmla="*/ 8751093 w 8801100"/>
                  <a:gd name="connsiteY154" fmla="*/ 1769269 h 1933575"/>
                  <a:gd name="connsiteX155" fmla="*/ 8734425 w 8801100"/>
                  <a:gd name="connsiteY155" fmla="*/ 1714500 h 1933575"/>
                  <a:gd name="connsiteX156" fmla="*/ 8643938 w 8801100"/>
                  <a:gd name="connsiteY156" fmla="*/ 1652588 h 1933575"/>
                  <a:gd name="connsiteX157" fmla="*/ 8603456 w 8801100"/>
                  <a:gd name="connsiteY157" fmla="*/ 1631156 h 1933575"/>
                  <a:gd name="connsiteX158" fmla="*/ 8565356 w 8801100"/>
                  <a:gd name="connsiteY158" fmla="*/ 1585913 h 1933575"/>
                  <a:gd name="connsiteX159" fmla="*/ 8534400 w 8801100"/>
                  <a:gd name="connsiteY159" fmla="*/ 1583531 h 1933575"/>
                  <a:gd name="connsiteX160" fmla="*/ 8517731 w 8801100"/>
                  <a:gd name="connsiteY160" fmla="*/ 1531144 h 1933575"/>
                  <a:gd name="connsiteX161" fmla="*/ 8477250 w 8801100"/>
                  <a:gd name="connsiteY161" fmla="*/ 1514475 h 1933575"/>
                  <a:gd name="connsiteX162" fmla="*/ 8477250 w 8801100"/>
                  <a:gd name="connsiteY162" fmla="*/ 1514475 h 1933575"/>
                  <a:gd name="connsiteX163" fmla="*/ 8436769 w 8801100"/>
                  <a:gd name="connsiteY163" fmla="*/ 1519238 h 1933575"/>
                  <a:gd name="connsiteX164" fmla="*/ 8351043 w 8801100"/>
                  <a:gd name="connsiteY164" fmla="*/ 1445419 h 1933575"/>
                  <a:gd name="connsiteX165" fmla="*/ 8170069 w 8801100"/>
                  <a:gd name="connsiteY165" fmla="*/ 1445418 h 1933575"/>
                  <a:gd name="connsiteX166" fmla="*/ 8117681 w 8801100"/>
                  <a:gd name="connsiteY166" fmla="*/ 1483519 h 1933575"/>
                  <a:gd name="connsiteX167" fmla="*/ 8067675 w 8801100"/>
                  <a:gd name="connsiteY167" fmla="*/ 1562100 h 1933575"/>
                  <a:gd name="connsiteX168" fmla="*/ 8084344 w 8801100"/>
                  <a:gd name="connsiteY168" fmla="*/ 1583531 h 1933575"/>
                  <a:gd name="connsiteX169" fmla="*/ 8039100 w 8801100"/>
                  <a:gd name="connsiteY169" fmla="*/ 1633537 h 1933575"/>
                  <a:gd name="connsiteX170" fmla="*/ 7889081 w 8801100"/>
                  <a:gd name="connsiteY170" fmla="*/ 1557337 h 1933575"/>
                  <a:gd name="connsiteX171" fmla="*/ 7798594 w 8801100"/>
                  <a:gd name="connsiteY171" fmla="*/ 1593056 h 1933575"/>
                  <a:gd name="connsiteX172" fmla="*/ 7724775 w 8801100"/>
                  <a:gd name="connsiteY172" fmla="*/ 1590675 h 1933575"/>
                  <a:gd name="connsiteX173" fmla="*/ 7667625 w 8801100"/>
                  <a:gd name="connsiteY173" fmla="*/ 1685925 h 1933575"/>
                  <a:gd name="connsiteX174" fmla="*/ 7529513 w 8801100"/>
                  <a:gd name="connsiteY174" fmla="*/ 1588294 h 1933575"/>
                  <a:gd name="connsiteX0" fmla="*/ 7529513 w 8801100"/>
                  <a:gd name="connsiteY0" fmla="*/ 1588294 h 1933575"/>
                  <a:gd name="connsiteX1" fmla="*/ 7522369 w 8801100"/>
                  <a:gd name="connsiteY1" fmla="*/ 1533525 h 1933575"/>
                  <a:gd name="connsiteX2" fmla="*/ 7589044 w 8801100"/>
                  <a:gd name="connsiteY2" fmla="*/ 1459706 h 1933575"/>
                  <a:gd name="connsiteX3" fmla="*/ 7572375 w 8801100"/>
                  <a:gd name="connsiteY3" fmla="*/ 1388269 h 1933575"/>
                  <a:gd name="connsiteX4" fmla="*/ 7586663 w 8801100"/>
                  <a:gd name="connsiteY4" fmla="*/ 1293019 h 1933575"/>
                  <a:gd name="connsiteX5" fmla="*/ 7624763 w 8801100"/>
                  <a:gd name="connsiteY5" fmla="*/ 1235869 h 1933575"/>
                  <a:gd name="connsiteX6" fmla="*/ 7605712 w 8801100"/>
                  <a:gd name="connsiteY6" fmla="*/ 1202531 h 1933575"/>
                  <a:gd name="connsiteX7" fmla="*/ 7703343 w 8801100"/>
                  <a:gd name="connsiteY7" fmla="*/ 802481 h 1933575"/>
                  <a:gd name="connsiteX8" fmla="*/ 7696200 w 8801100"/>
                  <a:gd name="connsiteY8" fmla="*/ 773906 h 1933575"/>
                  <a:gd name="connsiteX9" fmla="*/ 7567613 w 8801100"/>
                  <a:gd name="connsiteY9" fmla="*/ 752475 h 1933575"/>
                  <a:gd name="connsiteX10" fmla="*/ 7384257 w 8801100"/>
                  <a:gd name="connsiteY10" fmla="*/ 831056 h 1933575"/>
                  <a:gd name="connsiteX11" fmla="*/ 7227093 w 8801100"/>
                  <a:gd name="connsiteY11" fmla="*/ 716756 h 1933575"/>
                  <a:gd name="connsiteX12" fmla="*/ 7150894 w 8801100"/>
                  <a:gd name="connsiteY12" fmla="*/ 723900 h 1933575"/>
                  <a:gd name="connsiteX13" fmla="*/ 7077075 w 8801100"/>
                  <a:gd name="connsiteY13" fmla="*/ 719138 h 1933575"/>
                  <a:gd name="connsiteX14" fmla="*/ 6938963 w 8801100"/>
                  <a:gd name="connsiteY14" fmla="*/ 823913 h 1933575"/>
                  <a:gd name="connsiteX15" fmla="*/ 6831806 w 8801100"/>
                  <a:gd name="connsiteY15" fmla="*/ 931069 h 1933575"/>
                  <a:gd name="connsiteX16" fmla="*/ 6788944 w 8801100"/>
                  <a:gd name="connsiteY16" fmla="*/ 1000125 h 1933575"/>
                  <a:gd name="connsiteX17" fmla="*/ 6796088 w 8801100"/>
                  <a:gd name="connsiteY17" fmla="*/ 1035844 h 1933575"/>
                  <a:gd name="connsiteX18" fmla="*/ 6734175 w 8801100"/>
                  <a:gd name="connsiteY18" fmla="*/ 1047750 h 1933575"/>
                  <a:gd name="connsiteX19" fmla="*/ 6753225 w 8801100"/>
                  <a:gd name="connsiteY19" fmla="*/ 1047750 h 1933575"/>
                  <a:gd name="connsiteX20" fmla="*/ 6719888 w 8801100"/>
                  <a:gd name="connsiteY20" fmla="*/ 1078706 h 1933575"/>
                  <a:gd name="connsiteX21" fmla="*/ 6619875 w 8801100"/>
                  <a:gd name="connsiteY21" fmla="*/ 1078707 h 1933575"/>
                  <a:gd name="connsiteX22" fmla="*/ 6524625 w 8801100"/>
                  <a:gd name="connsiteY22" fmla="*/ 1133475 h 1933575"/>
                  <a:gd name="connsiteX23" fmla="*/ 6443663 w 8801100"/>
                  <a:gd name="connsiteY23" fmla="*/ 1143000 h 1933575"/>
                  <a:gd name="connsiteX24" fmla="*/ 6403181 w 8801100"/>
                  <a:gd name="connsiteY24" fmla="*/ 1176338 h 1933575"/>
                  <a:gd name="connsiteX25" fmla="*/ 6353175 w 8801100"/>
                  <a:gd name="connsiteY25" fmla="*/ 1181100 h 1933575"/>
                  <a:gd name="connsiteX26" fmla="*/ 6231732 w 8801100"/>
                  <a:gd name="connsiteY26" fmla="*/ 1273969 h 1933575"/>
                  <a:gd name="connsiteX27" fmla="*/ 6172200 w 8801100"/>
                  <a:gd name="connsiteY27" fmla="*/ 1278731 h 1933575"/>
                  <a:gd name="connsiteX28" fmla="*/ 6119813 w 8801100"/>
                  <a:gd name="connsiteY28" fmla="*/ 1243013 h 1933575"/>
                  <a:gd name="connsiteX29" fmla="*/ 6093619 w 8801100"/>
                  <a:gd name="connsiteY29" fmla="*/ 1278731 h 1933575"/>
                  <a:gd name="connsiteX30" fmla="*/ 5895975 w 8801100"/>
                  <a:gd name="connsiteY30" fmla="*/ 1271588 h 1933575"/>
                  <a:gd name="connsiteX31" fmla="*/ 5834063 w 8801100"/>
                  <a:gd name="connsiteY31" fmla="*/ 1226344 h 1933575"/>
                  <a:gd name="connsiteX32" fmla="*/ 5636419 w 8801100"/>
                  <a:gd name="connsiteY32" fmla="*/ 1243013 h 1933575"/>
                  <a:gd name="connsiteX33" fmla="*/ 5548313 w 8801100"/>
                  <a:gd name="connsiteY33" fmla="*/ 1159668 h 1933575"/>
                  <a:gd name="connsiteX34" fmla="*/ 5472113 w 8801100"/>
                  <a:gd name="connsiteY34" fmla="*/ 1114425 h 1933575"/>
                  <a:gd name="connsiteX35" fmla="*/ 5474493 w 8801100"/>
                  <a:gd name="connsiteY35" fmla="*/ 1057275 h 1933575"/>
                  <a:gd name="connsiteX36" fmla="*/ 5455444 w 8801100"/>
                  <a:gd name="connsiteY36" fmla="*/ 1014412 h 1933575"/>
                  <a:gd name="connsiteX37" fmla="*/ 5360194 w 8801100"/>
                  <a:gd name="connsiteY37" fmla="*/ 1016794 h 1933575"/>
                  <a:gd name="connsiteX38" fmla="*/ 5264944 w 8801100"/>
                  <a:gd name="connsiteY38" fmla="*/ 995363 h 1933575"/>
                  <a:gd name="connsiteX39" fmla="*/ 5195887 w 8801100"/>
                  <a:gd name="connsiteY39" fmla="*/ 928687 h 1933575"/>
                  <a:gd name="connsiteX40" fmla="*/ 5160169 w 8801100"/>
                  <a:gd name="connsiteY40" fmla="*/ 885825 h 1933575"/>
                  <a:gd name="connsiteX41" fmla="*/ 5079206 w 8801100"/>
                  <a:gd name="connsiteY41" fmla="*/ 862012 h 1933575"/>
                  <a:gd name="connsiteX42" fmla="*/ 5005388 w 8801100"/>
                  <a:gd name="connsiteY42" fmla="*/ 873918 h 1933575"/>
                  <a:gd name="connsiteX43" fmla="*/ 4948237 w 8801100"/>
                  <a:gd name="connsiteY43" fmla="*/ 821531 h 1933575"/>
                  <a:gd name="connsiteX44" fmla="*/ 4852988 w 8801100"/>
                  <a:gd name="connsiteY44" fmla="*/ 833438 h 1933575"/>
                  <a:gd name="connsiteX45" fmla="*/ 4800600 w 8801100"/>
                  <a:gd name="connsiteY45" fmla="*/ 807244 h 1933575"/>
                  <a:gd name="connsiteX46" fmla="*/ 4719638 w 8801100"/>
                  <a:gd name="connsiteY46" fmla="*/ 850106 h 1933575"/>
                  <a:gd name="connsiteX47" fmla="*/ 4581525 w 8801100"/>
                  <a:gd name="connsiteY47" fmla="*/ 873919 h 1933575"/>
                  <a:gd name="connsiteX48" fmla="*/ 4452938 w 8801100"/>
                  <a:gd name="connsiteY48" fmla="*/ 966788 h 1933575"/>
                  <a:gd name="connsiteX49" fmla="*/ 4405312 w 8801100"/>
                  <a:gd name="connsiteY49" fmla="*/ 928688 h 1933575"/>
                  <a:gd name="connsiteX50" fmla="*/ 4383881 w 8801100"/>
                  <a:gd name="connsiteY50" fmla="*/ 959643 h 1933575"/>
                  <a:gd name="connsiteX51" fmla="*/ 4310063 w 8801100"/>
                  <a:gd name="connsiteY51" fmla="*/ 909638 h 1933575"/>
                  <a:gd name="connsiteX52" fmla="*/ 4271963 w 8801100"/>
                  <a:gd name="connsiteY52" fmla="*/ 916781 h 1933575"/>
                  <a:gd name="connsiteX53" fmla="*/ 4250531 w 8801100"/>
                  <a:gd name="connsiteY53" fmla="*/ 878681 h 1933575"/>
                  <a:gd name="connsiteX54" fmla="*/ 4191000 w 8801100"/>
                  <a:gd name="connsiteY54" fmla="*/ 883444 h 1933575"/>
                  <a:gd name="connsiteX55" fmla="*/ 4145756 w 8801100"/>
                  <a:gd name="connsiteY55" fmla="*/ 854869 h 1933575"/>
                  <a:gd name="connsiteX56" fmla="*/ 4107656 w 8801100"/>
                  <a:gd name="connsiteY56" fmla="*/ 852488 h 1933575"/>
                  <a:gd name="connsiteX57" fmla="*/ 4088606 w 8801100"/>
                  <a:gd name="connsiteY57" fmla="*/ 804862 h 1933575"/>
                  <a:gd name="connsiteX58" fmla="*/ 4074319 w 8801100"/>
                  <a:gd name="connsiteY58" fmla="*/ 773906 h 1933575"/>
                  <a:gd name="connsiteX59" fmla="*/ 4029075 w 8801100"/>
                  <a:gd name="connsiteY59" fmla="*/ 783431 h 1933575"/>
                  <a:gd name="connsiteX60" fmla="*/ 4010025 w 8801100"/>
                  <a:gd name="connsiteY60" fmla="*/ 747713 h 1933575"/>
                  <a:gd name="connsiteX61" fmla="*/ 4031457 w 8801100"/>
                  <a:gd name="connsiteY61" fmla="*/ 692944 h 1933575"/>
                  <a:gd name="connsiteX62" fmla="*/ 4000500 w 8801100"/>
                  <a:gd name="connsiteY62" fmla="*/ 666750 h 1933575"/>
                  <a:gd name="connsiteX63" fmla="*/ 4017169 w 8801100"/>
                  <a:gd name="connsiteY63" fmla="*/ 623888 h 1933575"/>
                  <a:gd name="connsiteX64" fmla="*/ 3990975 w 8801100"/>
                  <a:gd name="connsiteY64" fmla="*/ 581025 h 1933575"/>
                  <a:gd name="connsiteX65" fmla="*/ 3986213 w 8801100"/>
                  <a:gd name="connsiteY65" fmla="*/ 519113 h 1933575"/>
                  <a:gd name="connsiteX66" fmla="*/ 4010025 w 8801100"/>
                  <a:gd name="connsiteY66" fmla="*/ 454818 h 1933575"/>
                  <a:gd name="connsiteX67" fmla="*/ 3971925 w 8801100"/>
                  <a:gd name="connsiteY67" fmla="*/ 457200 h 1933575"/>
                  <a:gd name="connsiteX68" fmla="*/ 3852863 w 8801100"/>
                  <a:gd name="connsiteY68" fmla="*/ 400050 h 1933575"/>
                  <a:gd name="connsiteX69" fmla="*/ 3814762 w 8801100"/>
                  <a:gd name="connsiteY69" fmla="*/ 404812 h 1933575"/>
                  <a:gd name="connsiteX70" fmla="*/ 3609975 w 8801100"/>
                  <a:gd name="connsiteY70" fmla="*/ 295275 h 1933575"/>
                  <a:gd name="connsiteX71" fmla="*/ 3505200 w 8801100"/>
                  <a:gd name="connsiteY71" fmla="*/ 264319 h 1933575"/>
                  <a:gd name="connsiteX72" fmla="*/ 3440906 w 8801100"/>
                  <a:gd name="connsiteY72" fmla="*/ 273843 h 1933575"/>
                  <a:gd name="connsiteX73" fmla="*/ 3409950 w 8801100"/>
                  <a:gd name="connsiteY73" fmla="*/ 209550 h 1933575"/>
                  <a:gd name="connsiteX74" fmla="*/ 3352800 w 8801100"/>
                  <a:gd name="connsiteY74" fmla="*/ 209550 h 1933575"/>
                  <a:gd name="connsiteX75" fmla="*/ 3214687 w 8801100"/>
                  <a:gd name="connsiteY75" fmla="*/ 104775 h 1933575"/>
                  <a:gd name="connsiteX76" fmla="*/ 3181350 w 8801100"/>
                  <a:gd name="connsiteY76" fmla="*/ 164307 h 1933575"/>
                  <a:gd name="connsiteX77" fmla="*/ 3126581 w 8801100"/>
                  <a:gd name="connsiteY77" fmla="*/ 233363 h 1933575"/>
                  <a:gd name="connsiteX78" fmla="*/ 3083719 w 8801100"/>
                  <a:gd name="connsiteY78" fmla="*/ 250031 h 1933575"/>
                  <a:gd name="connsiteX79" fmla="*/ 3052763 w 8801100"/>
                  <a:gd name="connsiteY79" fmla="*/ 242888 h 1933575"/>
                  <a:gd name="connsiteX80" fmla="*/ 3028950 w 8801100"/>
                  <a:gd name="connsiteY80" fmla="*/ 271463 h 1933575"/>
                  <a:gd name="connsiteX81" fmla="*/ 3002756 w 8801100"/>
                  <a:gd name="connsiteY81" fmla="*/ 350044 h 1933575"/>
                  <a:gd name="connsiteX82" fmla="*/ 2959894 w 8801100"/>
                  <a:gd name="connsiteY82" fmla="*/ 347663 h 1933575"/>
                  <a:gd name="connsiteX83" fmla="*/ 2928937 w 8801100"/>
                  <a:gd name="connsiteY83" fmla="*/ 409575 h 1933575"/>
                  <a:gd name="connsiteX84" fmla="*/ 2924175 w 8801100"/>
                  <a:gd name="connsiteY84" fmla="*/ 473869 h 1933575"/>
                  <a:gd name="connsiteX85" fmla="*/ 2897982 w 8801100"/>
                  <a:gd name="connsiteY85" fmla="*/ 511969 h 1933575"/>
                  <a:gd name="connsiteX86" fmla="*/ 2924175 w 8801100"/>
                  <a:gd name="connsiteY86" fmla="*/ 571500 h 1933575"/>
                  <a:gd name="connsiteX87" fmla="*/ 2926556 w 8801100"/>
                  <a:gd name="connsiteY87" fmla="*/ 640556 h 1933575"/>
                  <a:gd name="connsiteX88" fmla="*/ 2955131 w 8801100"/>
                  <a:gd name="connsiteY88" fmla="*/ 692944 h 1933575"/>
                  <a:gd name="connsiteX89" fmla="*/ 3002757 w 8801100"/>
                  <a:gd name="connsiteY89" fmla="*/ 747713 h 1933575"/>
                  <a:gd name="connsiteX90" fmla="*/ 2952750 w 8801100"/>
                  <a:gd name="connsiteY90" fmla="*/ 885825 h 1933575"/>
                  <a:gd name="connsiteX91" fmla="*/ 2883694 w 8801100"/>
                  <a:gd name="connsiteY91" fmla="*/ 952500 h 1933575"/>
                  <a:gd name="connsiteX92" fmla="*/ 2812256 w 8801100"/>
                  <a:gd name="connsiteY92" fmla="*/ 947738 h 1933575"/>
                  <a:gd name="connsiteX93" fmla="*/ 2774156 w 8801100"/>
                  <a:gd name="connsiteY93" fmla="*/ 1004888 h 1933575"/>
                  <a:gd name="connsiteX94" fmla="*/ 2714625 w 8801100"/>
                  <a:gd name="connsiteY94" fmla="*/ 1019175 h 1933575"/>
                  <a:gd name="connsiteX95" fmla="*/ 2645569 w 8801100"/>
                  <a:gd name="connsiteY95" fmla="*/ 959644 h 1933575"/>
                  <a:gd name="connsiteX96" fmla="*/ 2590800 w 8801100"/>
                  <a:gd name="connsiteY96" fmla="*/ 931069 h 1933575"/>
                  <a:gd name="connsiteX97" fmla="*/ 2547938 w 8801100"/>
                  <a:gd name="connsiteY97" fmla="*/ 945356 h 1933575"/>
                  <a:gd name="connsiteX98" fmla="*/ 2495550 w 8801100"/>
                  <a:gd name="connsiteY98" fmla="*/ 928688 h 1933575"/>
                  <a:gd name="connsiteX99" fmla="*/ 2428875 w 8801100"/>
                  <a:gd name="connsiteY99" fmla="*/ 873919 h 1933575"/>
                  <a:gd name="connsiteX100" fmla="*/ 2383631 w 8801100"/>
                  <a:gd name="connsiteY100" fmla="*/ 885825 h 1933575"/>
                  <a:gd name="connsiteX101" fmla="*/ 2362200 w 8801100"/>
                  <a:gd name="connsiteY101" fmla="*/ 854869 h 1933575"/>
                  <a:gd name="connsiteX102" fmla="*/ 2305050 w 8801100"/>
                  <a:gd name="connsiteY102" fmla="*/ 895350 h 1933575"/>
                  <a:gd name="connsiteX103" fmla="*/ 2188369 w 8801100"/>
                  <a:gd name="connsiteY103" fmla="*/ 873919 h 1933575"/>
                  <a:gd name="connsiteX104" fmla="*/ 2138363 w 8801100"/>
                  <a:gd name="connsiteY104" fmla="*/ 821531 h 1933575"/>
                  <a:gd name="connsiteX105" fmla="*/ 2095500 w 8801100"/>
                  <a:gd name="connsiteY105" fmla="*/ 807244 h 1933575"/>
                  <a:gd name="connsiteX106" fmla="*/ 2052638 w 8801100"/>
                  <a:gd name="connsiteY106" fmla="*/ 833438 h 1933575"/>
                  <a:gd name="connsiteX107" fmla="*/ 2000250 w 8801100"/>
                  <a:gd name="connsiteY107" fmla="*/ 742950 h 1933575"/>
                  <a:gd name="connsiteX108" fmla="*/ 1990725 w 8801100"/>
                  <a:gd name="connsiteY108" fmla="*/ 595312 h 1933575"/>
                  <a:gd name="connsiteX109" fmla="*/ 1938337 w 8801100"/>
                  <a:gd name="connsiteY109" fmla="*/ 588168 h 1933575"/>
                  <a:gd name="connsiteX110" fmla="*/ 1847850 w 8801100"/>
                  <a:gd name="connsiteY110" fmla="*/ 578644 h 1933575"/>
                  <a:gd name="connsiteX111" fmla="*/ 1793081 w 8801100"/>
                  <a:gd name="connsiteY111" fmla="*/ 540544 h 1933575"/>
                  <a:gd name="connsiteX112" fmla="*/ 1724025 w 8801100"/>
                  <a:gd name="connsiteY112" fmla="*/ 550069 h 1933575"/>
                  <a:gd name="connsiteX113" fmla="*/ 1678781 w 8801100"/>
                  <a:gd name="connsiteY113" fmla="*/ 523875 h 1933575"/>
                  <a:gd name="connsiteX114" fmla="*/ 1669257 w 8801100"/>
                  <a:gd name="connsiteY114" fmla="*/ 452438 h 1933575"/>
                  <a:gd name="connsiteX115" fmla="*/ 1645444 w 8801100"/>
                  <a:gd name="connsiteY115" fmla="*/ 438150 h 1933575"/>
                  <a:gd name="connsiteX116" fmla="*/ 1607344 w 8801100"/>
                  <a:gd name="connsiteY116" fmla="*/ 485774 h 1933575"/>
                  <a:gd name="connsiteX117" fmla="*/ 1528762 w 8801100"/>
                  <a:gd name="connsiteY117" fmla="*/ 411956 h 1933575"/>
                  <a:gd name="connsiteX118" fmla="*/ 1488281 w 8801100"/>
                  <a:gd name="connsiteY118" fmla="*/ 452438 h 1933575"/>
                  <a:gd name="connsiteX119" fmla="*/ 1412081 w 8801100"/>
                  <a:gd name="connsiteY119" fmla="*/ 438150 h 1933575"/>
                  <a:gd name="connsiteX120" fmla="*/ 1333500 w 8801100"/>
                  <a:gd name="connsiteY120" fmla="*/ 464344 h 1933575"/>
                  <a:gd name="connsiteX121" fmla="*/ 1273969 w 8801100"/>
                  <a:gd name="connsiteY121" fmla="*/ 511968 h 1933575"/>
                  <a:gd name="connsiteX122" fmla="*/ 1200150 w 8801100"/>
                  <a:gd name="connsiteY122" fmla="*/ 523875 h 1933575"/>
                  <a:gd name="connsiteX123" fmla="*/ 1164431 w 8801100"/>
                  <a:gd name="connsiteY123" fmla="*/ 516731 h 1933575"/>
                  <a:gd name="connsiteX124" fmla="*/ 1085851 w 8801100"/>
                  <a:gd name="connsiteY124" fmla="*/ 547688 h 1933575"/>
                  <a:gd name="connsiteX125" fmla="*/ 1064419 w 8801100"/>
                  <a:gd name="connsiteY125" fmla="*/ 576263 h 1933575"/>
                  <a:gd name="connsiteX126" fmla="*/ 997744 w 8801100"/>
                  <a:gd name="connsiteY126" fmla="*/ 566738 h 1933575"/>
                  <a:gd name="connsiteX127" fmla="*/ 928688 w 8801100"/>
                  <a:gd name="connsiteY127" fmla="*/ 590550 h 1933575"/>
                  <a:gd name="connsiteX128" fmla="*/ 873919 w 8801100"/>
                  <a:gd name="connsiteY128" fmla="*/ 628650 h 1933575"/>
                  <a:gd name="connsiteX129" fmla="*/ 778669 w 8801100"/>
                  <a:gd name="connsiteY129" fmla="*/ 642937 h 1933575"/>
                  <a:gd name="connsiteX130" fmla="*/ 764381 w 8801100"/>
                  <a:gd name="connsiteY130" fmla="*/ 664369 h 1933575"/>
                  <a:gd name="connsiteX131" fmla="*/ 776287 w 8801100"/>
                  <a:gd name="connsiteY131" fmla="*/ 709613 h 1933575"/>
                  <a:gd name="connsiteX132" fmla="*/ 676276 w 8801100"/>
                  <a:gd name="connsiteY132" fmla="*/ 762000 h 1933575"/>
                  <a:gd name="connsiteX133" fmla="*/ 638175 w 8801100"/>
                  <a:gd name="connsiteY133" fmla="*/ 733424 h 1933575"/>
                  <a:gd name="connsiteX134" fmla="*/ 607219 w 8801100"/>
                  <a:gd name="connsiteY134" fmla="*/ 790575 h 1933575"/>
                  <a:gd name="connsiteX135" fmla="*/ 550069 w 8801100"/>
                  <a:gd name="connsiteY135" fmla="*/ 752475 h 1933575"/>
                  <a:gd name="connsiteX136" fmla="*/ 514350 w 8801100"/>
                  <a:gd name="connsiteY136" fmla="*/ 781050 h 1933575"/>
                  <a:gd name="connsiteX137" fmla="*/ 478631 w 8801100"/>
                  <a:gd name="connsiteY137" fmla="*/ 745331 h 1933575"/>
                  <a:gd name="connsiteX138" fmla="*/ 426244 w 8801100"/>
                  <a:gd name="connsiteY138" fmla="*/ 757238 h 1933575"/>
                  <a:gd name="connsiteX139" fmla="*/ 381000 w 8801100"/>
                  <a:gd name="connsiteY139" fmla="*/ 728663 h 1933575"/>
                  <a:gd name="connsiteX140" fmla="*/ 357188 w 8801100"/>
                  <a:gd name="connsiteY140" fmla="*/ 747713 h 1933575"/>
                  <a:gd name="connsiteX141" fmla="*/ 333375 w 8801100"/>
                  <a:gd name="connsiteY141" fmla="*/ 807244 h 1933575"/>
                  <a:gd name="connsiteX142" fmla="*/ 261938 w 8801100"/>
                  <a:gd name="connsiteY142" fmla="*/ 845343 h 1933575"/>
                  <a:gd name="connsiteX143" fmla="*/ 209550 w 8801100"/>
                  <a:gd name="connsiteY143" fmla="*/ 816769 h 1933575"/>
                  <a:gd name="connsiteX144" fmla="*/ 119063 w 8801100"/>
                  <a:gd name="connsiteY144" fmla="*/ 826294 h 1933575"/>
                  <a:gd name="connsiteX145" fmla="*/ 71437 w 8801100"/>
                  <a:gd name="connsiteY145" fmla="*/ 792957 h 1933575"/>
                  <a:gd name="connsiteX146" fmla="*/ 0 w 8801100"/>
                  <a:gd name="connsiteY146" fmla="*/ 812006 h 1933575"/>
                  <a:gd name="connsiteX147" fmla="*/ 4762 w 8801100"/>
                  <a:gd name="connsiteY147" fmla="*/ 0 h 1933575"/>
                  <a:gd name="connsiteX148" fmla="*/ 8643938 w 8801100"/>
                  <a:gd name="connsiteY148" fmla="*/ 1933575 h 1933575"/>
                  <a:gd name="connsiteX149" fmla="*/ 8682037 w 8801100"/>
                  <a:gd name="connsiteY149" fmla="*/ 1914525 h 1933575"/>
                  <a:gd name="connsiteX150" fmla="*/ 8765381 w 8801100"/>
                  <a:gd name="connsiteY150" fmla="*/ 1916907 h 1933575"/>
                  <a:gd name="connsiteX151" fmla="*/ 8796338 w 8801100"/>
                  <a:gd name="connsiteY151" fmla="*/ 1871663 h 1933575"/>
                  <a:gd name="connsiteX152" fmla="*/ 8801100 w 8801100"/>
                  <a:gd name="connsiteY152" fmla="*/ 1809750 h 1933575"/>
                  <a:gd name="connsiteX153" fmla="*/ 8751093 w 8801100"/>
                  <a:gd name="connsiteY153" fmla="*/ 1769269 h 1933575"/>
                  <a:gd name="connsiteX154" fmla="*/ 8734425 w 8801100"/>
                  <a:gd name="connsiteY154" fmla="*/ 1714500 h 1933575"/>
                  <a:gd name="connsiteX155" fmla="*/ 8643938 w 8801100"/>
                  <a:gd name="connsiteY155" fmla="*/ 1652588 h 1933575"/>
                  <a:gd name="connsiteX156" fmla="*/ 8603456 w 8801100"/>
                  <a:gd name="connsiteY156" fmla="*/ 1631156 h 1933575"/>
                  <a:gd name="connsiteX157" fmla="*/ 8565356 w 8801100"/>
                  <a:gd name="connsiteY157" fmla="*/ 1585913 h 1933575"/>
                  <a:gd name="connsiteX158" fmla="*/ 8534400 w 8801100"/>
                  <a:gd name="connsiteY158" fmla="*/ 1583531 h 1933575"/>
                  <a:gd name="connsiteX159" fmla="*/ 8517731 w 8801100"/>
                  <a:gd name="connsiteY159" fmla="*/ 1531144 h 1933575"/>
                  <a:gd name="connsiteX160" fmla="*/ 8477250 w 8801100"/>
                  <a:gd name="connsiteY160" fmla="*/ 1514475 h 1933575"/>
                  <a:gd name="connsiteX161" fmla="*/ 8477250 w 8801100"/>
                  <a:gd name="connsiteY161" fmla="*/ 1514475 h 1933575"/>
                  <a:gd name="connsiteX162" fmla="*/ 8436769 w 8801100"/>
                  <a:gd name="connsiteY162" fmla="*/ 1519238 h 1933575"/>
                  <a:gd name="connsiteX163" fmla="*/ 8351043 w 8801100"/>
                  <a:gd name="connsiteY163" fmla="*/ 1445419 h 1933575"/>
                  <a:gd name="connsiteX164" fmla="*/ 8170069 w 8801100"/>
                  <a:gd name="connsiteY164" fmla="*/ 1445418 h 1933575"/>
                  <a:gd name="connsiteX165" fmla="*/ 8117681 w 8801100"/>
                  <a:gd name="connsiteY165" fmla="*/ 1483519 h 1933575"/>
                  <a:gd name="connsiteX166" fmla="*/ 8067675 w 8801100"/>
                  <a:gd name="connsiteY166" fmla="*/ 1562100 h 1933575"/>
                  <a:gd name="connsiteX167" fmla="*/ 8084344 w 8801100"/>
                  <a:gd name="connsiteY167" fmla="*/ 1583531 h 1933575"/>
                  <a:gd name="connsiteX168" fmla="*/ 8039100 w 8801100"/>
                  <a:gd name="connsiteY168" fmla="*/ 1633537 h 1933575"/>
                  <a:gd name="connsiteX169" fmla="*/ 7889081 w 8801100"/>
                  <a:gd name="connsiteY169" fmla="*/ 1557337 h 1933575"/>
                  <a:gd name="connsiteX170" fmla="*/ 7798594 w 8801100"/>
                  <a:gd name="connsiteY170" fmla="*/ 1593056 h 1933575"/>
                  <a:gd name="connsiteX171" fmla="*/ 7724775 w 8801100"/>
                  <a:gd name="connsiteY171" fmla="*/ 1590675 h 1933575"/>
                  <a:gd name="connsiteX172" fmla="*/ 7667625 w 8801100"/>
                  <a:gd name="connsiteY172" fmla="*/ 1685925 h 1933575"/>
                  <a:gd name="connsiteX173" fmla="*/ 7529513 w 8801100"/>
                  <a:gd name="connsiteY173" fmla="*/ 1588294 h 1933575"/>
                  <a:gd name="connsiteX0" fmla="*/ 7529513 w 8801100"/>
                  <a:gd name="connsiteY0" fmla="*/ 1588294 h 1916907"/>
                  <a:gd name="connsiteX1" fmla="*/ 7522369 w 8801100"/>
                  <a:gd name="connsiteY1" fmla="*/ 1533525 h 1916907"/>
                  <a:gd name="connsiteX2" fmla="*/ 7589044 w 8801100"/>
                  <a:gd name="connsiteY2" fmla="*/ 1459706 h 1916907"/>
                  <a:gd name="connsiteX3" fmla="*/ 7572375 w 8801100"/>
                  <a:gd name="connsiteY3" fmla="*/ 1388269 h 1916907"/>
                  <a:gd name="connsiteX4" fmla="*/ 7586663 w 8801100"/>
                  <a:gd name="connsiteY4" fmla="*/ 1293019 h 1916907"/>
                  <a:gd name="connsiteX5" fmla="*/ 7624763 w 8801100"/>
                  <a:gd name="connsiteY5" fmla="*/ 1235869 h 1916907"/>
                  <a:gd name="connsiteX6" fmla="*/ 7605712 w 8801100"/>
                  <a:gd name="connsiteY6" fmla="*/ 1202531 h 1916907"/>
                  <a:gd name="connsiteX7" fmla="*/ 7703343 w 8801100"/>
                  <a:gd name="connsiteY7" fmla="*/ 802481 h 1916907"/>
                  <a:gd name="connsiteX8" fmla="*/ 7696200 w 8801100"/>
                  <a:gd name="connsiteY8" fmla="*/ 773906 h 1916907"/>
                  <a:gd name="connsiteX9" fmla="*/ 7567613 w 8801100"/>
                  <a:gd name="connsiteY9" fmla="*/ 752475 h 1916907"/>
                  <a:gd name="connsiteX10" fmla="*/ 7384257 w 8801100"/>
                  <a:gd name="connsiteY10" fmla="*/ 831056 h 1916907"/>
                  <a:gd name="connsiteX11" fmla="*/ 7227093 w 8801100"/>
                  <a:gd name="connsiteY11" fmla="*/ 716756 h 1916907"/>
                  <a:gd name="connsiteX12" fmla="*/ 7150894 w 8801100"/>
                  <a:gd name="connsiteY12" fmla="*/ 723900 h 1916907"/>
                  <a:gd name="connsiteX13" fmla="*/ 7077075 w 8801100"/>
                  <a:gd name="connsiteY13" fmla="*/ 719138 h 1916907"/>
                  <a:gd name="connsiteX14" fmla="*/ 6938963 w 8801100"/>
                  <a:gd name="connsiteY14" fmla="*/ 823913 h 1916907"/>
                  <a:gd name="connsiteX15" fmla="*/ 6831806 w 8801100"/>
                  <a:gd name="connsiteY15" fmla="*/ 931069 h 1916907"/>
                  <a:gd name="connsiteX16" fmla="*/ 6788944 w 8801100"/>
                  <a:gd name="connsiteY16" fmla="*/ 1000125 h 1916907"/>
                  <a:gd name="connsiteX17" fmla="*/ 6796088 w 8801100"/>
                  <a:gd name="connsiteY17" fmla="*/ 1035844 h 1916907"/>
                  <a:gd name="connsiteX18" fmla="*/ 6734175 w 8801100"/>
                  <a:gd name="connsiteY18" fmla="*/ 1047750 h 1916907"/>
                  <a:gd name="connsiteX19" fmla="*/ 6753225 w 8801100"/>
                  <a:gd name="connsiteY19" fmla="*/ 1047750 h 1916907"/>
                  <a:gd name="connsiteX20" fmla="*/ 6719888 w 8801100"/>
                  <a:gd name="connsiteY20" fmla="*/ 1078706 h 1916907"/>
                  <a:gd name="connsiteX21" fmla="*/ 6619875 w 8801100"/>
                  <a:gd name="connsiteY21" fmla="*/ 1078707 h 1916907"/>
                  <a:gd name="connsiteX22" fmla="*/ 6524625 w 8801100"/>
                  <a:gd name="connsiteY22" fmla="*/ 1133475 h 1916907"/>
                  <a:gd name="connsiteX23" fmla="*/ 6443663 w 8801100"/>
                  <a:gd name="connsiteY23" fmla="*/ 1143000 h 1916907"/>
                  <a:gd name="connsiteX24" fmla="*/ 6403181 w 8801100"/>
                  <a:gd name="connsiteY24" fmla="*/ 1176338 h 1916907"/>
                  <a:gd name="connsiteX25" fmla="*/ 6353175 w 8801100"/>
                  <a:gd name="connsiteY25" fmla="*/ 1181100 h 1916907"/>
                  <a:gd name="connsiteX26" fmla="*/ 6231732 w 8801100"/>
                  <a:gd name="connsiteY26" fmla="*/ 1273969 h 1916907"/>
                  <a:gd name="connsiteX27" fmla="*/ 6172200 w 8801100"/>
                  <a:gd name="connsiteY27" fmla="*/ 1278731 h 1916907"/>
                  <a:gd name="connsiteX28" fmla="*/ 6119813 w 8801100"/>
                  <a:gd name="connsiteY28" fmla="*/ 1243013 h 1916907"/>
                  <a:gd name="connsiteX29" fmla="*/ 6093619 w 8801100"/>
                  <a:gd name="connsiteY29" fmla="*/ 1278731 h 1916907"/>
                  <a:gd name="connsiteX30" fmla="*/ 5895975 w 8801100"/>
                  <a:gd name="connsiteY30" fmla="*/ 1271588 h 1916907"/>
                  <a:gd name="connsiteX31" fmla="*/ 5834063 w 8801100"/>
                  <a:gd name="connsiteY31" fmla="*/ 1226344 h 1916907"/>
                  <a:gd name="connsiteX32" fmla="*/ 5636419 w 8801100"/>
                  <a:gd name="connsiteY32" fmla="*/ 1243013 h 1916907"/>
                  <a:gd name="connsiteX33" fmla="*/ 5548313 w 8801100"/>
                  <a:gd name="connsiteY33" fmla="*/ 1159668 h 1916907"/>
                  <a:gd name="connsiteX34" fmla="*/ 5472113 w 8801100"/>
                  <a:gd name="connsiteY34" fmla="*/ 1114425 h 1916907"/>
                  <a:gd name="connsiteX35" fmla="*/ 5474493 w 8801100"/>
                  <a:gd name="connsiteY35" fmla="*/ 1057275 h 1916907"/>
                  <a:gd name="connsiteX36" fmla="*/ 5455444 w 8801100"/>
                  <a:gd name="connsiteY36" fmla="*/ 1014412 h 1916907"/>
                  <a:gd name="connsiteX37" fmla="*/ 5360194 w 8801100"/>
                  <a:gd name="connsiteY37" fmla="*/ 1016794 h 1916907"/>
                  <a:gd name="connsiteX38" fmla="*/ 5264944 w 8801100"/>
                  <a:gd name="connsiteY38" fmla="*/ 995363 h 1916907"/>
                  <a:gd name="connsiteX39" fmla="*/ 5195887 w 8801100"/>
                  <a:gd name="connsiteY39" fmla="*/ 928687 h 1916907"/>
                  <a:gd name="connsiteX40" fmla="*/ 5160169 w 8801100"/>
                  <a:gd name="connsiteY40" fmla="*/ 885825 h 1916907"/>
                  <a:gd name="connsiteX41" fmla="*/ 5079206 w 8801100"/>
                  <a:gd name="connsiteY41" fmla="*/ 862012 h 1916907"/>
                  <a:gd name="connsiteX42" fmla="*/ 5005388 w 8801100"/>
                  <a:gd name="connsiteY42" fmla="*/ 873918 h 1916907"/>
                  <a:gd name="connsiteX43" fmla="*/ 4948237 w 8801100"/>
                  <a:gd name="connsiteY43" fmla="*/ 821531 h 1916907"/>
                  <a:gd name="connsiteX44" fmla="*/ 4852988 w 8801100"/>
                  <a:gd name="connsiteY44" fmla="*/ 833438 h 1916907"/>
                  <a:gd name="connsiteX45" fmla="*/ 4800600 w 8801100"/>
                  <a:gd name="connsiteY45" fmla="*/ 807244 h 1916907"/>
                  <a:gd name="connsiteX46" fmla="*/ 4719638 w 8801100"/>
                  <a:gd name="connsiteY46" fmla="*/ 850106 h 1916907"/>
                  <a:gd name="connsiteX47" fmla="*/ 4581525 w 8801100"/>
                  <a:gd name="connsiteY47" fmla="*/ 873919 h 1916907"/>
                  <a:gd name="connsiteX48" fmla="*/ 4452938 w 8801100"/>
                  <a:gd name="connsiteY48" fmla="*/ 966788 h 1916907"/>
                  <a:gd name="connsiteX49" fmla="*/ 4405312 w 8801100"/>
                  <a:gd name="connsiteY49" fmla="*/ 928688 h 1916907"/>
                  <a:gd name="connsiteX50" fmla="*/ 4383881 w 8801100"/>
                  <a:gd name="connsiteY50" fmla="*/ 959643 h 1916907"/>
                  <a:gd name="connsiteX51" fmla="*/ 4310063 w 8801100"/>
                  <a:gd name="connsiteY51" fmla="*/ 909638 h 1916907"/>
                  <a:gd name="connsiteX52" fmla="*/ 4271963 w 8801100"/>
                  <a:gd name="connsiteY52" fmla="*/ 916781 h 1916907"/>
                  <a:gd name="connsiteX53" fmla="*/ 4250531 w 8801100"/>
                  <a:gd name="connsiteY53" fmla="*/ 878681 h 1916907"/>
                  <a:gd name="connsiteX54" fmla="*/ 4191000 w 8801100"/>
                  <a:gd name="connsiteY54" fmla="*/ 883444 h 1916907"/>
                  <a:gd name="connsiteX55" fmla="*/ 4145756 w 8801100"/>
                  <a:gd name="connsiteY55" fmla="*/ 854869 h 1916907"/>
                  <a:gd name="connsiteX56" fmla="*/ 4107656 w 8801100"/>
                  <a:gd name="connsiteY56" fmla="*/ 852488 h 1916907"/>
                  <a:gd name="connsiteX57" fmla="*/ 4088606 w 8801100"/>
                  <a:gd name="connsiteY57" fmla="*/ 804862 h 1916907"/>
                  <a:gd name="connsiteX58" fmla="*/ 4074319 w 8801100"/>
                  <a:gd name="connsiteY58" fmla="*/ 773906 h 1916907"/>
                  <a:gd name="connsiteX59" fmla="*/ 4029075 w 8801100"/>
                  <a:gd name="connsiteY59" fmla="*/ 783431 h 1916907"/>
                  <a:gd name="connsiteX60" fmla="*/ 4010025 w 8801100"/>
                  <a:gd name="connsiteY60" fmla="*/ 747713 h 1916907"/>
                  <a:gd name="connsiteX61" fmla="*/ 4031457 w 8801100"/>
                  <a:gd name="connsiteY61" fmla="*/ 692944 h 1916907"/>
                  <a:gd name="connsiteX62" fmla="*/ 4000500 w 8801100"/>
                  <a:gd name="connsiteY62" fmla="*/ 666750 h 1916907"/>
                  <a:gd name="connsiteX63" fmla="*/ 4017169 w 8801100"/>
                  <a:gd name="connsiteY63" fmla="*/ 623888 h 1916907"/>
                  <a:gd name="connsiteX64" fmla="*/ 3990975 w 8801100"/>
                  <a:gd name="connsiteY64" fmla="*/ 581025 h 1916907"/>
                  <a:gd name="connsiteX65" fmla="*/ 3986213 w 8801100"/>
                  <a:gd name="connsiteY65" fmla="*/ 519113 h 1916907"/>
                  <a:gd name="connsiteX66" fmla="*/ 4010025 w 8801100"/>
                  <a:gd name="connsiteY66" fmla="*/ 454818 h 1916907"/>
                  <a:gd name="connsiteX67" fmla="*/ 3971925 w 8801100"/>
                  <a:gd name="connsiteY67" fmla="*/ 457200 h 1916907"/>
                  <a:gd name="connsiteX68" fmla="*/ 3852863 w 8801100"/>
                  <a:gd name="connsiteY68" fmla="*/ 400050 h 1916907"/>
                  <a:gd name="connsiteX69" fmla="*/ 3814762 w 8801100"/>
                  <a:gd name="connsiteY69" fmla="*/ 404812 h 1916907"/>
                  <a:gd name="connsiteX70" fmla="*/ 3609975 w 8801100"/>
                  <a:gd name="connsiteY70" fmla="*/ 295275 h 1916907"/>
                  <a:gd name="connsiteX71" fmla="*/ 3505200 w 8801100"/>
                  <a:gd name="connsiteY71" fmla="*/ 264319 h 1916907"/>
                  <a:gd name="connsiteX72" fmla="*/ 3440906 w 8801100"/>
                  <a:gd name="connsiteY72" fmla="*/ 273843 h 1916907"/>
                  <a:gd name="connsiteX73" fmla="*/ 3409950 w 8801100"/>
                  <a:gd name="connsiteY73" fmla="*/ 209550 h 1916907"/>
                  <a:gd name="connsiteX74" fmla="*/ 3352800 w 8801100"/>
                  <a:gd name="connsiteY74" fmla="*/ 209550 h 1916907"/>
                  <a:gd name="connsiteX75" fmla="*/ 3214687 w 8801100"/>
                  <a:gd name="connsiteY75" fmla="*/ 104775 h 1916907"/>
                  <a:gd name="connsiteX76" fmla="*/ 3181350 w 8801100"/>
                  <a:gd name="connsiteY76" fmla="*/ 164307 h 1916907"/>
                  <a:gd name="connsiteX77" fmla="*/ 3126581 w 8801100"/>
                  <a:gd name="connsiteY77" fmla="*/ 233363 h 1916907"/>
                  <a:gd name="connsiteX78" fmla="*/ 3083719 w 8801100"/>
                  <a:gd name="connsiteY78" fmla="*/ 250031 h 1916907"/>
                  <a:gd name="connsiteX79" fmla="*/ 3052763 w 8801100"/>
                  <a:gd name="connsiteY79" fmla="*/ 242888 h 1916907"/>
                  <a:gd name="connsiteX80" fmla="*/ 3028950 w 8801100"/>
                  <a:gd name="connsiteY80" fmla="*/ 271463 h 1916907"/>
                  <a:gd name="connsiteX81" fmla="*/ 3002756 w 8801100"/>
                  <a:gd name="connsiteY81" fmla="*/ 350044 h 1916907"/>
                  <a:gd name="connsiteX82" fmla="*/ 2959894 w 8801100"/>
                  <a:gd name="connsiteY82" fmla="*/ 347663 h 1916907"/>
                  <a:gd name="connsiteX83" fmla="*/ 2928937 w 8801100"/>
                  <a:gd name="connsiteY83" fmla="*/ 409575 h 1916907"/>
                  <a:gd name="connsiteX84" fmla="*/ 2924175 w 8801100"/>
                  <a:gd name="connsiteY84" fmla="*/ 473869 h 1916907"/>
                  <a:gd name="connsiteX85" fmla="*/ 2897982 w 8801100"/>
                  <a:gd name="connsiteY85" fmla="*/ 511969 h 1916907"/>
                  <a:gd name="connsiteX86" fmla="*/ 2924175 w 8801100"/>
                  <a:gd name="connsiteY86" fmla="*/ 571500 h 1916907"/>
                  <a:gd name="connsiteX87" fmla="*/ 2926556 w 8801100"/>
                  <a:gd name="connsiteY87" fmla="*/ 640556 h 1916907"/>
                  <a:gd name="connsiteX88" fmla="*/ 2955131 w 8801100"/>
                  <a:gd name="connsiteY88" fmla="*/ 692944 h 1916907"/>
                  <a:gd name="connsiteX89" fmla="*/ 3002757 w 8801100"/>
                  <a:gd name="connsiteY89" fmla="*/ 747713 h 1916907"/>
                  <a:gd name="connsiteX90" fmla="*/ 2952750 w 8801100"/>
                  <a:gd name="connsiteY90" fmla="*/ 885825 h 1916907"/>
                  <a:gd name="connsiteX91" fmla="*/ 2883694 w 8801100"/>
                  <a:gd name="connsiteY91" fmla="*/ 952500 h 1916907"/>
                  <a:gd name="connsiteX92" fmla="*/ 2812256 w 8801100"/>
                  <a:gd name="connsiteY92" fmla="*/ 947738 h 1916907"/>
                  <a:gd name="connsiteX93" fmla="*/ 2774156 w 8801100"/>
                  <a:gd name="connsiteY93" fmla="*/ 1004888 h 1916907"/>
                  <a:gd name="connsiteX94" fmla="*/ 2714625 w 8801100"/>
                  <a:gd name="connsiteY94" fmla="*/ 1019175 h 1916907"/>
                  <a:gd name="connsiteX95" fmla="*/ 2645569 w 8801100"/>
                  <a:gd name="connsiteY95" fmla="*/ 959644 h 1916907"/>
                  <a:gd name="connsiteX96" fmla="*/ 2590800 w 8801100"/>
                  <a:gd name="connsiteY96" fmla="*/ 931069 h 1916907"/>
                  <a:gd name="connsiteX97" fmla="*/ 2547938 w 8801100"/>
                  <a:gd name="connsiteY97" fmla="*/ 945356 h 1916907"/>
                  <a:gd name="connsiteX98" fmla="*/ 2495550 w 8801100"/>
                  <a:gd name="connsiteY98" fmla="*/ 928688 h 1916907"/>
                  <a:gd name="connsiteX99" fmla="*/ 2428875 w 8801100"/>
                  <a:gd name="connsiteY99" fmla="*/ 873919 h 1916907"/>
                  <a:gd name="connsiteX100" fmla="*/ 2383631 w 8801100"/>
                  <a:gd name="connsiteY100" fmla="*/ 885825 h 1916907"/>
                  <a:gd name="connsiteX101" fmla="*/ 2362200 w 8801100"/>
                  <a:gd name="connsiteY101" fmla="*/ 854869 h 1916907"/>
                  <a:gd name="connsiteX102" fmla="*/ 2305050 w 8801100"/>
                  <a:gd name="connsiteY102" fmla="*/ 895350 h 1916907"/>
                  <a:gd name="connsiteX103" fmla="*/ 2188369 w 8801100"/>
                  <a:gd name="connsiteY103" fmla="*/ 873919 h 1916907"/>
                  <a:gd name="connsiteX104" fmla="*/ 2138363 w 8801100"/>
                  <a:gd name="connsiteY104" fmla="*/ 821531 h 1916907"/>
                  <a:gd name="connsiteX105" fmla="*/ 2095500 w 8801100"/>
                  <a:gd name="connsiteY105" fmla="*/ 807244 h 1916907"/>
                  <a:gd name="connsiteX106" fmla="*/ 2052638 w 8801100"/>
                  <a:gd name="connsiteY106" fmla="*/ 833438 h 1916907"/>
                  <a:gd name="connsiteX107" fmla="*/ 2000250 w 8801100"/>
                  <a:gd name="connsiteY107" fmla="*/ 742950 h 1916907"/>
                  <a:gd name="connsiteX108" fmla="*/ 1990725 w 8801100"/>
                  <a:gd name="connsiteY108" fmla="*/ 595312 h 1916907"/>
                  <a:gd name="connsiteX109" fmla="*/ 1938337 w 8801100"/>
                  <a:gd name="connsiteY109" fmla="*/ 588168 h 1916907"/>
                  <a:gd name="connsiteX110" fmla="*/ 1847850 w 8801100"/>
                  <a:gd name="connsiteY110" fmla="*/ 578644 h 1916907"/>
                  <a:gd name="connsiteX111" fmla="*/ 1793081 w 8801100"/>
                  <a:gd name="connsiteY111" fmla="*/ 540544 h 1916907"/>
                  <a:gd name="connsiteX112" fmla="*/ 1724025 w 8801100"/>
                  <a:gd name="connsiteY112" fmla="*/ 550069 h 1916907"/>
                  <a:gd name="connsiteX113" fmla="*/ 1678781 w 8801100"/>
                  <a:gd name="connsiteY113" fmla="*/ 523875 h 1916907"/>
                  <a:gd name="connsiteX114" fmla="*/ 1669257 w 8801100"/>
                  <a:gd name="connsiteY114" fmla="*/ 452438 h 1916907"/>
                  <a:gd name="connsiteX115" fmla="*/ 1645444 w 8801100"/>
                  <a:gd name="connsiteY115" fmla="*/ 438150 h 1916907"/>
                  <a:gd name="connsiteX116" fmla="*/ 1607344 w 8801100"/>
                  <a:gd name="connsiteY116" fmla="*/ 485774 h 1916907"/>
                  <a:gd name="connsiteX117" fmla="*/ 1528762 w 8801100"/>
                  <a:gd name="connsiteY117" fmla="*/ 411956 h 1916907"/>
                  <a:gd name="connsiteX118" fmla="*/ 1488281 w 8801100"/>
                  <a:gd name="connsiteY118" fmla="*/ 452438 h 1916907"/>
                  <a:gd name="connsiteX119" fmla="*/ 1412081 w 8801100"/>
                  <a:gd name="connsiteY119" fmla="*/ 438150 h 1916907"/>
                  <a:gd name="connsiteX120" fmla="*/ 1333500 w 8801100"/>
                  <a:gd name="connsiteY120" fmla="*/ 464344 h 1916907"/>
                  <a:gd name="connsiteX121" fmla="*/ 1273969 w 8801100"/>
                  <a:gd name="connsiteY121" fmla="*/ 511968 h 1916907"/>
                  <a:gd name="connsiteX122" fmla="*/ 1200150 w 8801100"/>
                  <a:gd name="connsiteY122" fmla="*/ 523875 h 1916907"/>
                  <a:gd name="connsiteX123" fmla="*/ 1164431 w 8801100"/>
                  <a:gd name="connsiteY123" fmla="*/ 516731 h 1916907"/>
                  <a:gd name="connsiteX124" fmla="*/ 1085851 w 8801100"/>
                  <a:gd name="connsiteY124" fmla="*/ 547688 h 1916907"/>
                  <a:gd name="connsiteX125" fmla="*/ 1064419 w 8801100"/>
                  <a:gd name="connsiteY125" fmla="*/ 576263 h 1916907"/>
                  <a:gd name="connsiteX126" fmla="*/ 997744 w 8801100"/>
                  <a:gd name="connsiteY126" fmla="*/ 566738 h 1916907"/>
                  <a:gd name="connsiteX127" fmla="*/ 928688 w 8801100"/>
                  <a:gd name="connsiteY127" fmla="*/ 590550 h 1916907"/>
                  <a:gd name="connsiteX128" fmla="*/ 873919 w 8801100"/>
                  <a:gd name="connsiteY128" fmla="*/ 628650 h 1916907"/>
                  <a:gd name="connsiteX129" fmla="*/ 778669 w 8801100"/>
                  <a:gd name="connsiteY129" fmla="*/ 642937 h 1916907"/>
                  <a:gd name="connsiteX130" fmla="*/ 764381 w 8801100"/>
                  <a:gd name="connsiteY130" fmla="*/ 664369 h 1916907"/>
                  <a:gd name="connsiteX131" fmla="*/ 776287 w 8801100"/>
                  <a:gd name="connsiteY131" fmla="*/ 709613 h 1916907"/>
                  <a:gd name="connsiteX132" fmla="*/ 676276 w 8801100"/>
                  <a:gd name="connsiteY132" fmla="*/ 762000 h 1916907"/>
                  <a:gd name="connsiteX133" fmla="*/ 638175 w 8801100"/>
                  <a:gd name="connsiteY133" fmla="*/ 733424 h 1916907"/>
                  <a:gd name="connsiteX134" fmla="*/ 607219 w 8801100"/>
                  <a:gd name="connsiteY134" fmla="*/ 790575 h 1916907"/>
                  <a:gd name="connsiteX135" fmla="*/ 550069 w 8801100"/>
                  <a:gd name="connsiteY135" fmla="*/ 752475 h 1916907"/>
                  <a:gd name="connsiteX136" fmla="*/ 514350 w 8801100"/>
                  <a:gd name="connsiteY136" fmla="*/ 781050 h 1916907"/>
                  <a:gd name="connsiteX137" fmla="*/ 478631 w 8801100"/>
                  <a:gd name="connsiteY137" fmla="*/ 745331 h 1916907"/>
                  <a:gd name="connsiteX138" fmla="*/ 426244 w 8801100"/>
                  <a:gd name="connsiteY138" fmla="*/ 757238 h 1916907"/>
                  <a:gd name="connsiteX139" fmla="*/ 381000 w 8801100"/>
                  <a:gd name="connsiteY139" fmla="*/ 728663 h 1916907"/>
                  <a:gd name="connsiteX140" fmla="*/ 357188 w 8801100"/>
                  <a:gd name="connsiteY140" fmla="*/ 747713 h 1916907"/>
                  <a:gd name="connsiteX141" fmla="*/ 333375 w 8801100"/>
                  <a:gd name="connsiteY141" fmla="*/ 807244 h 1916907"/>
                  <a:gd name="connsiteX142" fmla="*/ 261938 w 8801100"/>
                  <a:gd name="connsiteY142" fmla="*/ 845343 h 1916907"/>
                  <a:gd name="connsiteX143" fmla="*/ 209550 w 8801100"/>
                  <a:gd name="connsiteY143" fmla="*/ 816769 h 1916907"/>
                  <a:gd name="connsiteX144" fmla="*/ 119063 w 8801100"/>
                  <a:gd name="connsiteY144" fmla="*/ 826294 h 1916907"/>
                  <a:gd name="connsiteX145" fmla="*/ 71437 w 8801100"/>
                  <a:gd name="connsiteY145" fmla="*/ 792957 h 1916907"/>
                  <a:gd name="connsiteX146" fmla="*/ 0 w 8801100"/>
                  <a:gd name="connsiteY146" fmla="*/ 812006 h 1916907"/>
                  <a:gd name="connsiteX147" fmla="*/ 4762 w 8801100"/>
                  <a:gd name="connsiteY147" fmla="*/ 0 h 1916907"/>
                  <a:gd name="connsiteX148" fmla="*/ 8682037 w 8801100"/>
                  <a:gd name="connsiteY148" fmla="*/ 1914525 h 1916907"/>
                  <a:gd name="connsiteX149" fmla="*/ 8765381 w 8801100"/>
                  <a:gd name="connsiteY149" fmla="*/ 1916907 h 1916907"/>
                  <a:gd name="connsiteX150" fmla="*/ 8796338 w 8801100"/>
                  <a:gd name="connsiteY150" fmla="*/ 1871663 h 1916907"/>
                  <a:gd name="connsiteX151" fmla="*/ 8801100 w 8801100"/>
                  <a:gd name="connsiteY151" fmla="*/ 1809750 h 1916907"/>
                  <a:gd name="connsiteX152" fmla="*/ 8751093 w 8801100"/>
                  <a:gd name="connsiteY152" fmla="*/ 1769269 h 1916907"/>
                  <a:gd name="connsiteX153" fmla="*/ 8734425 w 8801100"/>
                  <a:gd name="connsiteY153" fmla="*/ 1714500 h 1916907"/>
                  <a:gd name="connsiteX154" fmla="*/ 8643938 w 8801100"/>
                  <a:gd name="connsiteY154" fmla="*/ 1652588 h 1916907"/>
                  <a:gd name="connsiteX155" fmla="*/ 8603456 w 8801100"/>
                  <a:gd name="connsiteY155" fmla="*/ 1631156 h 1916907"/>
                  <a:gd name="connsiteX156" fmla="*/ 8565356 w 8801100"/>
                  <a:gd name="connsiteY156" fmla="*/ 1585913 h 1916907"/>
                  <a:gd name="connsiteX157" fmla="*/ 8534400 w 8801100"/>
                  <a:gd name="connsiteY157" fmla="*/ 1583531 h 1916907"/>
                  <a:gd name="connsiteX158" fmla="*/ 8517731 w 8801100"/>
                  <a:gd name="connsiteY158" fmla="*/ 1531144 h 1916907"/>
                  <a:gd name="connsiteX159" fmla="*/ 8477250 w 8801100"/>
                  <a:gd name="connsiteY159" fmla="*/ 1514475 h 1916907"/>
                  <a:gd name="connsiteX160" fmla="*/ 8477250 w 8801100"/>
                  <a:gd name="connsiteY160" fmla="*/ 1514475 h 1916907"/>
                  <a:gd name="connsiteX161" fmla="*/ 8436769 w 8801100"/>
                  <a:gd name="connsiteY161" fmla="*/ 1519238 h 1916907"/>
                  <a:gd name="connsiteX162" fmla="*/ 8351043 w 8801100"/>
                  <a:gd name="connsiteY162" fmla="*/ 1445419 h 1916907"/>
                  <a:gd name="connsiteX163" fmla="*/ 8170069 w 8801100"/>
                  <a:gd name="connsiteY163" fmla="*/ 1445418 h 1916907"/>
                  <a:gd name="connsiteX164" fmla="*/ 8117681 w 8801100"/>
                  <a:gd name="connsiteY164" fmla="*/ 1483519 h 1916907"/>
                  <a:gd name="connsiteX165" fmla="*/ 8067675 w 8801100"/>
                  <a:gd name="connsiteY165" fmla="*/ 1562100 h 1916907"/>
                  <a:gd name="connsiteX166" fmla="*/ 8084344 w 8801100"/>
                  <a:gd name="connsiteY166" fmla="*/ 1583531 h 1916907"/>
                  <a:gd name="connsiteX167" fmla="*/ 8039100 w 8801100"/>
                  <a:gd name="connsiteY167" fmla="*/ 1633537 h 1916907"/>
                  <a:gd name="connsiteX168" fmla="*/ 7889081 w 8801100"/>
                  <a:gd name="connsiteY168" fmla="*/ 1557337 h 1916907"/>
                  <a:gd name="connsiteX169" fmla="*/ 7798594 w 8801100"/>
                  <a:gd name="connsiteY169" fmla="*/ 1593056 h 1916907"/>
                  <a:gd name="connsiteX170" fmla="*/ 7724775 w 8801100"/>
                  <a:gd name="connsiteY170" fmla="*/ 1590675 h 1916907"/>
                  <a:gd name="connsiteX171" fmla="*/ 7667625 w 8801100"/>
                  <a:gd name="connsiteY171" fmla="*/ 1685925 h 1916907"/>
                  <a:gd name="connsiteX172" fmla="*/ 7529513 w 8801100"/>
                  <a:gd name="connsiteY172" fmla="*/ 1588294 h 1916907"/>
                  <a:gd name="connsiteX0" fmla="*/ 7529513 w 8801100"/>
                  <a:gd name="connsiteY0" fmla="*/ 1588294 h 1916907"/>
                  <a:gd name="connsiteX1" fmla="*/ 7522369 w 8801100"/>
                  <a:gd name="connsiteY1" fmla="*/ 1533525 h 1916907"/>
                  <a:gd name="connsiteX2" fmla="*/ 7589044 w 8801100"/>
                  <a:gd name="connsiteY2" fmla="*/ 1459706 h 1916907"/>
                  <a:gd name="connsiteX3" fmla="*/ 7572375 w 8801100"/>
                  <a:gd name="connsiteY3" fmla="*/ 1388269 h 1916907"/>
                  <a:gd name="connsiteX4" fmla="*/ 7586663 w 8801100"/>
                  <a:gd name="connsiteY4" fmla="*/ 1293019 h 1916907"/>
                  <a:gd name="connsiteX5" fmla="*/ 7624763 w 8801100"/>
                  <a:gd name="connsiteY5" fmla="*/ 1235869 h 1916907"/>
                  <a:gd name="connsiteX6" fmla="*/ 7605712 w 8801100"/>
                  <a:gd name="connsiteY6" fmla="*/ 1202531 h 1916907"/>
                  <a:gd name="connsiteX7" fmla="*/ 7703343 w 8801100"/>
                  <a:gd name="connsiteY7" fmla="*/ 802481 h 1916907"/>
                  <a:gd name="connsiteX8" fmla="*/ 7696200 w 8801100"/>
                  <a:gd name="connsiteY8" fmla="*/ 773906 h 1916907"/>
                  <a:gd name="connsiteX9" fmla="*/ 7567613 w 8801100"/>
                  <a:gd name="connsiteY9" fmla="*/ 752475 h 1916907"/>
                  <a:gd name="connsiteX10" fmla="*/ 7384257 w 8801100"/>
                  <a:gd name="connsiteY10" fmla="*/ 831056 h 1916907"/>
                  <a:gd name="connsiteX11" fmla="*/ 7227093 w 8801100"/>
                  <a:gd name="connsiteY11" fmla="*/ 716756 h 1916907"/>
                  <a:gd name="connsiteX12" fmla="*/ 7150894 w 8801100"/>
                  <a:gd name="connsiteY12" fmla="*/ 723900 h 1916907"/>
                  <a:gd name="connsiteX13" fmla="*/ 7077075 w 8801100"/>
                  <a:gd name="connsiteY13" fmla="*/ 719138 h 1916907"/>
                  <a:gd name="connsiteX14" fmla="*/ 6938963 w 8801100"/>
                  <a:gd name="connsiteY14" fmla="*/ 823913 h 1916907"/>
                  <a:gd name="connsiteX15" fmla="*/ 6831806 w 8801100"/>
                  <a:gd name="connsiteY15" fmla="*/ 931069 h 1916907"/>
                  <a:gd name="connsiteX16" fmla="*/ 6788944 w 8801100"/>
                  <a:gd name="connsiteY16" fmla="*/ 1000125 h 1916907"/>
                  <a:gd name="connsiteX17" fmla="*/ 6796088 w 8801100"/>
                  <a:gd name="connsiteY17" fmla="*/ 1035844 h 1916907"/>
                  <a:gd name="connsiteX18" fmla="*/ 6734175 w 8801100"/>
                  <a:gd name="connsiteY18" fmla="*/ 1047750 h 1916907"/>
                  <a:gd name="connsiteX19" fmla="*/ 6753225 w 8801100"/>
                  <a:gd name="connsiteY19" fmla="*/ 1047750 h 1916907"/>
                  <a:gd name="connsiteX20" fmla="*/ 6719888 w 8801100"/>
                  <a:gd name="connsiteY20" fmla="*/ 1078706 h 1916907"/>
                  <a:gd name="connsiteX21" fmla="*/ 6619875 w 8801100"/>
                  <a:gd name="connsiteY21" fmla="*/ 1078707 h 1916907"/>
                  <a:gd name="connsiteX22" fmla="*/ 6524625 w 8801100"/>
                  <a:gd name="connsiteY22" fmla="*/ 1133475 h 1916907"/>
                  <a:gd name="connsiteX23" fmla="*/ 6443663 w 8801100"/>
                  <a:gd name="connsiteY23" fmla="*/ 1143000 h 1916907"/>
                  <a:gd name="connsiteX24" fmla="*/ 6403181 w 8801100"/>
                  <a:gd name="connsiteY24" fmla="*/ 1176338 h 1916907"/>
                  <a:gd name="connsiteX25" fmla="*/ 6353175 w 8801100"/>
                  <a:gd name="connsiteY25" fmla="*/ 1181100 h 1916907"/>
                  <a:gd name="connsiteX26" fmla="*/ 6231732 w 8801100"/>
                  <a:gd name="connsiteY26" fmla="*/ 1273969 h 1916907"/>
                  <a:gd name="connsiteX27" fmla="*/ 6172200 w 8801100"/>
                  <a:gd name="connsiteY27" fmla="*/ 1278731 h 1916907"/>
                  <a:gd name="connsiteX28" fmla="*/ 6119813 w 8801100"/>
                  <a:gd name="connsiteY28" fmla="*/ 1243013 h 1916907"/>
                  <a:gd name="connsiteX29" fmla="*/ 6093619 w 8801100"/>
                  <a:gd name="connsiteY29" fmla="*/ 1278731 h 1916907"/>
                  <a:gd name="connsiteX30" fmla="*/ 5895975 w 8801100"/>
                  <a:gd name="connsiteY30" fmla="*/ 1271588 h 1916907"/>
                  <a:gd name="connsiteX31" fmla="*/ 5834063 w 8801100"/>
                  <a:gd name="connsiteY31" fmla="*/ 1226344 h 1916907"/>
                  <a:gd name="connsiteX32" fmla="*/ 5636419 w 8801100"/>
                  <a:gd name="connsiteY32" fmla="*/ 1243013 h 1916907"/>
                  <a:gd name="connsiteX33" fmla="*/ 5548313 w 8801100"/>
                  <a:gd name="connsiteY33" fmla="*/ 1159668 h 1916907"/>
                  <a:gd name="connsiteX34" fmla="*/ 5472113 w 8801100"/>
                  <a:gd name="connsiteY34" fmla="*/ 1114425 h 1916907"/>
                  <a:gd name="connsiteX35" fmla="*/ 5474493 w 8801100"/>
                  <a:gd name="connsiteY35" fmla="*/ 1057275 h 1916907"/>
                  <a:gd name="connsiteX36" fmla="*/ 5455444 w 8801100"/>
                  <a:gd name="connsiteY36" fmla="*/ 1014412 h 1916907"/>
                  <a:gd name="connsiteX37" fmla="*/ 5360194 w 8801100"/>
                  <a:gd name="connsiteY37" fmla="*/ 1016794 h 1916907"/>
                  <a:gd name="connsiteX38" fmla="*/ 5264944 w 8801100"/>
                  <a:gd name="connsiteY38" fmla="*/ 995363 h 1916907"/>
                  <a:gd name="connsiteX39" fmla="*/ 5195887 w 8801100"/>
                  <a:gd name="connsiteY39" fmla="*/ 928687 h 1916907"/>
                  <a:gd name="connsiteX40" fmla="*/ 5160169 w 8801100"/>
                  <a:gd name="connsiteY40" fmla="*/ 885825 h 1916907"/>
                  <a:gd name="connsiteX41" fmla="*/ 5079206 w 8801100"/>
                  <a:gd name="connsiteY41" fmla="*/ 862012 h 1916907"/>
                  <a:gd name="connsiteX42" fmla="*/ 5005388 w 8801100"/>
                  <a:gd name="connsiteY42" fmla="*/ 873918 h 1916907"/>
                  <a:gd name="connsiteX43" fmla="*/ 4948237 w 8801100"/>
                  <a:gd name="connsiteY43" fmla="*/ 821531 h 1916907"/>
                  <a:gd name="connsiteX44" fmla="*/ 4852988 w 8801100"/>
                  <a:gd name="connsiteY44" fmla="*/ 833438 h 1916907"/>
                  <a:gd name="connsiteX45" fmla="*/ 4800600 w 8801100"/>
                  <a:gd name="connsiteY45" fmla="*/ 807244 h 1916907"/>
                  <a:gd name="connsiteX46" fmla="*/ 4719638 w 8801100"/>
                  <a:gd name="connsiteY46" fmla="*/ 850106 h 1916907"/>
                  <a:gd name="connsiteX47" fmla="*/ 4581525 w 8801100"/>
                  <a:gd name="connsiteY47" fmla="*/ 873919 h 1916907"/>
                  <a:gd name="connsiteX48" fmla="*/ 4452938 w 8801100"/>
                  <a:gd name="connsiteY48" fmla="*/ 966788 h 1916907"/>
                  <a:gd name="connsiteX49" fmla="*/ 4405312 w 8801100"/>
                  <a:gd name="connsiteY49" fmla="*/ 928688 h 1916907"/>
                  <a:gd name="connsiteX50" fmla="*/ 4383881 w 8801100"/>
                  <a:gd name="connsiteY50" fmla="*/ 959643 h 1916907"/>
                  <a:gd name="connsiteX51" fmla="*/ 4310063 w 8801100"/>
                  <a:gd name="connsiteY51" fmla="*/ 909638 h 1916907"/>
                  <a:gd name="connsiteX52" fmla="*/ 4271963 w 8801100"/>
                  <a:gd name="connsiteY52" fmla="*/ 916781 h 1916907"/>
                  <a:gd name="connsiteX53" fmla="*/ 4250531 w 8801100"/>
                  <a:gd name="connsiteY53" fmla="*/ 878681 h 1916907"/>
                  <a:gd name="connsiteX54" fmla="*/ 4191000 w 8801100"/>
                  <a:gd name="connsiteY54" fmla="*/ 883444 h 1916907"/>
                  <a:gd name="connsiteX55" fmla="*/ 4145756 w 8801100"/>
                  <a:gd name="connsiteY55" fmla="*/ 854869 h 1916907"/>
                  <a:gd name="connsiteX56" fmla="*/ 4107656 w 8801100"/>
                  <a:gd name="connsiteY56" fmla="*/ 852488 h 1916907"/>
                  <a:gd name="connsiteX57" fmla="*/ 4088606 w 8801100"/>
                  <a:gd name="connsiteY57" fmla="*/ 804862 h 1916907"/>
                  <a:gd name="connsiteX58" fmla="*/ 4074319 w 8801100"/>
                  <a:gd name="connsiteY58" fmla="*/ 773906 h 1916907"/>
                  <a:gd name="connsiteX59" fmla="*/ 4029075 w 8801100"/>
                  <a:gd name="connsiteY59" fmla="*/ 783431 h 1916907"/>
                  <a:gd name="connsiteX60" fmla="*/ 4010025 w 8801100"/>
                  <a:gd name="connsiteY60" fmla="*/ 747713 h 1916907"/>
                  <a:gd name="connsiteX61" fmla="*/ 4031457 w 8801100"/>
                  <a:gd name="connsiteY61" fmla="*/ 692944 h 1916907"/>
                  <a:gd name="connsiteX62" fmla="*/ 4000500 w 8801100"/>
                  <a:gd name="connsiteY62" fmla="*/ 666750 h 1916907"/>
                  <a:gd name="connsiteX63" fmla="*/ 4017169 w 8801100"/>
                  <a:gd name="connsiteY63" fmla="*/ 623888 h 1916907"/>
                  <a:gd name="connsiteX64" fmla="*/ 3990975 w 8801100"/>
                  <a:gd name="connsiteY64" fmla="*/ 581025 h 1916907"/>
                  <a:gd name="connsiteX65" fmla="*/ 3986213 w 8801100"/>
                  <a:gd name="connsiteY65" fmla="*/ 519113 h 1916907"/>
                  <a:gd name="connsiteX66" fmla="*/ 4010025 w 8801100"/>
                  <a:gd name="connsiteY66" fmla="*/ 454818 h 1916907"/>
                  <a:gd name="connsiteX67" fmla="*/ 3971925 w 8801100"/>
                  <a:gd name="connsiteY67" fmla="*/ 457200 h 1916907"/>
                  <a:gd name="connsiteX68" fmla="*/ 3852863 w 8801100"/>
                  <a:gd name="connsiteY68" fmla="*/ 400050 h 1916907"/>
                  <a:gd name="connsiteX69" fmla="*/ 3814762 w 8801100"/>
                  <a:gd name="connsiteY69" fmla="*/ 404812 h 1916907"/>
                  <a:gd name="connsiteX70" fmla="*/ 3609975 w 8801100"/>
                  <a:gd name="connsiteY70" fmla="*/ 295275 h 1916907"/>
                  <a:gd name="connsiteX71" fmla="*/ 3505200 w 8801100"/>
                  <a:gd name="connsiteY71" fmla="*/ 264319 h 1916907"/>
                  <a:gd name="connsiteX72" fmla="*/ 3440906 w 8801100"/>
                  <a:gd name="connsiteY72" fmla="*/ 273843 h 1916907"/>
                  <a:gd name="connsiteX73" fmla="*/ 3409950 w 8801100"/>
                  <a:gd name="connsiteY73" fmla="*/ 209550 h 1916907"/>
                  <a:gd name="connsiteX74" fmla="*/ 3352800 w 8801100"/>
                  <a:gd name="connsiteY74" fmla="*/ 209550 h 1916907"/>
                  <a:gd name="connsiteX75" fmla="*/ 3214687 w 8801100"/>
                  <a:gd name="connsiteY75" fmla="*/ 104775 h 1916907"/>
                  <a:gd name="connsiteX76" fmla="*/ 3181350 w 8801100"/>
                  <a:gd name="connsiteY76" fmla="*/ 164307 h 1916907"/>
                  <a:gd name="connsiteX77" fmla="*/ 3126581 w 8801100"/>
                  <a:gd name="connsiteY77" fmla="*/ 233363 h 1916907"/>
                  <a:gd name="connsiteX78" fmla="*/ 3083719 w 8801100"/>
                  <a:gd name="connsiteY78" fmla="*/ 250031 h 1916907"/>
                  <a:gd name="connsiteX79" fmla="*/ 3052763 w 8801100"/>
                  <a:gd name="connsiteY79" fmla="*/ 242888 h 1916907"/>
                  <a:gd name="connsiteX80" fmla="*/ 3028950 w 8801100"/>
                  <a:gd name="connsiteY80" fmla="*/ 271463 h 1916907"/>
                  <a:gd name="connsiteX81" fmla="*/ 3002756 w 8801100"/>
                  <a:gd name="connsiteY81" fmla="*/ 350044 h 1916907"/>
                  <a:gd name="connsiteX82" fmla="*/ 2959894 w 8801100"/>
                  <a:gd name="connsiteY82" fmla="*/ 347663 h 1916907"/>
                  <a:gd name="connsiteX83" fmla="*/ 2928937 w 8801100"/>
                  <a:gd name="connsiteY83" fmla="*/ 409575 h 1916907"/>
                  <a:gd name="connsiteX84" fmla="*/ 2924175 w 8801100"/>
                  <a:gd name="connsiteY84" fmla="*/ 473869 h 1916907"/>
                  <a:gd name="connsiteX85" fmla="*/ 2897982 w 8801100"/>
                  <a:gd name="connsiteY85" fmla="*/ 511969 h 1916907"/>
                  <a:gd name="connsiteX86" fmla="*/ 2924175 w 8801100"/>
                  <a:gd name="connsiteY86" fmla="*/ 571500 h 1916907"/>
                  <a:gd name="connsiteX87" fmla="*/ 2926556 w 8801100"/>
                  <a:gd name="connsiteY87" fmla="*/ 640556 h 1916907"/>
                  <a:gd name="connsiteX88" fmla="*/ 2955131 w 8801100"/>
                  <a:gd name="connsiteY88" fmla="*/ 692944 h 1916907"/>
                  <a:gd name="connsiteX89" fmla="*/ 3002757 w 8801100"/>
                  <a:gd name="connsiteY89" fmla="*/ 747713 h 1916907"/>
                  <a:gd name="connsiteX90" fmla="*/ 2952750 w 8801100"/>
                  <a:gd name="connsiteY90" fmla="*/ 885825 h 1916907"/>
                  <a:gd name="connsiteX91" fmla="*/ 2883694 w 8801100"/>
                  <a:gd name="connsiteY91" fmla="*/ 952500 h 1916907"/>
                  <a:gd name="connsiteX92" fmla="*/ 2812256 w 8801100"/>
                  <a:gd name="connsiteY92" fmla="*/ 947738 h 1916907"/>
                  <a:gd name="connsiteX93" fmla="*/ 2774156 w 8801100"/>
                  <a:gd name="connsiteY93" fmla="*/ 1004888 h 1916907"/>
                  <a:gd name="connsiteX94" fmla="*/ 2714625 w 8801100"/>
                  <a:gd name="connsiteY94" fmla="*/ 1019175 h 1916907"/>
                  <a:gd name="connsiteX95" fmla="*/ 2645569 w 8801100"/>
                  <a:gd name="connsiteY95" fmla="*/ 959644 h 1916907"/>
                  <a:gd name="connsiteX96" fmla="*/ 2590800 w 8801100"/>
                  <a:gd name="connsiteY96" fmla="*/ 931069 h 1916907"/>
                  <a:gd name="connsiteX97" fmla="*/ 2547938 w 8801100"/>
                  <a:gd name="connsiteY97" fmla="*/ 945356 h 1916907"/>
                  <a:gd name="connsiteX98" fmla="*/ 2495550 w 8801100"/>
                  <a:gd name="connsiteY98" fmla="*/ 928688 h 1916907"/>
                  <a:gd name="connsiteX99" fmla="*/ 2428875 w 8801100"/>
                  <a:gd name="connsiteY99" fmla="*/ 873919 h 1916907"/>
                  <a:gd name="connsiteX100" fmla="*/ 2383631 w 8801100"/>
                  <a:gd name="connsiteY100" fmla="*/ 885825 h 1916907"/>
                  <a:gd name="connsiteX101" fmla="*/ 2362200 w 8801100"/>
                  <a:gd name="connsiteY101" fmla="*/ 854869 h 1916907"/>
                  <a:gd name="connsiteX102" fmla="*/ 2305050 w 8801100"/>
                  <a:gd name="connsiteY102" fmla="*/ 895350 h 1916907"/>
                  <a:gd name="connsiteX103" fmla="*/ 2188369 w 8801100"/>
                  <a:gd name="connsiteY103" fmla="*/ 873919 h 1916907"/>
                  <a:gd name="connsiteX104" fmla="*/ 2138363 w 8801100"/>
                  <a:gd name="connsiteY104" fmla="*/ 821531 h 1916907"/>
                  <a:gd name="connsiteX105" fmla="*/ 2095500 w 8801100"/>
                  <a:gd name="connsiteY105" fmla="*/ 807244 h 1916907"/>
                  <a:gd name="connsiteX106" fmla="*/ 2052638 w 8801100"/>
                  <a:gd name="connsiteY106" fmla="*/ 833438 h 1916907"/>
                  <a:gd name="connsiteX107" fmla="*/ 2000250 w 8801100"/>
                  <a:gd name="connsiteY107" fmla="*/ 742950 h 1916907"/>
                  <a:gd name="connsiteX108" fmla="*/ 1990725 w 8801100"/>
                  <a:gd name="connsiteY108" fmla="*/ 595312 h 1916907"/>
                  <a:gd name="connsiteX109" fmla="*/ 1938337 w 8801100"/>
                  <a:gd name="connsiteY109" fmla="*/ 588168 h 1916907"/>
                  <a:gd name="connsiteX110" fmla="*/ 1847850 w 8801100"/>
                  <a:gd name="connsiteY110" fmla="*/ 578644 h 1916907"/>
                  <a:gd name="connsiteX111" fmla="*/ 1793081 w 8801100"/>
                  <a:gd name="connsiteY111" fmla="*/ 540544 h 1916907"/>
                  <a:gd name="connsiteX112" fmla="*/ 1724025 w 8801100"/>
                  <a:gd name="connsiteY112" fmla="*/ 550069 h 1916907"/>
                  <a:gd name="connsiteX113" fmla="*/ 1678781 w 8801100"/>
                  <a:gd name="connsiteY113" fmla="*/ 523875 h 1916907"/>
                  <a:gd name="connsiteX114" fmla="*/ 1669257 w 8801100"/>
                  <a:gd name="connsiteY114" fmla="*/ 452438 h 1916907"/>
                  <a:gd name="connsiteX115" fmla="*/ 1645444 w 8801100"/>
                  <a:gd name="connsiteY115" fmla="*/ 438150 h 1916907"/>
                  <a:gd name="connsiteX116" fmla="*/ 1607344 w 8801100"/>
                  <a:gd name="connsiteY116" fmla="*/ 485774 h 1916907"/>
                  <a:gd name="connsiteX117" fmla="*/ 1528762 w 8801100"/>
                  <a:gd name="connsiteY117" fmla="*/ 411956 h 1916907"/>
                  <a:gd name="connsiteX118" fmla="*/ 1488281 w 8801100"/>
                  <a:gd name="connsiteY118" fmla="*/ 452438 h 1916907"/>
                  <a:gd name="connsiteX119" fmla="*/ 1412081 w 8801100"/>
                  <a:gd name="connsiteY119" fmla="*/ 438150 h 1916907"/>
                  <a:gd name="connsiteX120" fmla="*/ 1333500 w 8801100"/>
                  <a:gd name="connsiteY120" fmla="*/ 464344 h 1916907"/>
                  <a:gd name="connsiteX121" fmla="*/ 1273969 w 8801100"/>
                  <a:gd name="connsiteY121" fmla="*/ 511968 h 1916907"/>
                  <a:gd name="connsiteX122" fmla="*/ 1200150 w 8801100"/>
                  <a:gd name="connsiteY122" fmla="*/ 523875 h 1916907"/>
                  <a:gd name="connsiteX123" fmla="*/ 1164431 w 8801100"/>
                  <a:gd name="connsiteY123" fmla="*/ 516731 h 1916907"/>
                  <a:gd name="connsiteX124" fmla="*/ 1085851 w 8801100"/>
                  <a:gd name="connsiteY124" fmla="*/ 547688 h 1916907"/>
                  <a:gd name="connsiteX125" fmla="*/ 1064419 w 8801100"/>
                  <a:gd name="connsiteY125" fmla="*/ 576263 h 1916907"/>
                  <a:gd name="connsiteX126" fmla="*/ 997744 w 8801100"/>
                  <a:gd name="connsiteY126" fmla="*/ 566738 h 1916907"/>
                  <a:gd name="connsiteX127" fmla="*/ 928688 w 8801100"/>
                  <a:gd name="connsiteY127" fmla="*/ 590550 h 1916907"/>
                  <a:gd name="connsiteX128" fmla="*/ 873919 w 8801100"/>
                  <a:gd name="connsiteY128" fmla="*/ 628650 h 1916907"/>
                  <a:gd name="connsiteX129" fmla="*/ 778669 w 8801100"/>
                  <a:gd name="connsiteY129" fmla="*/ 642937 h 1916907"/>
                  <a:gd name="connsiteX130" fmla="*/ 764381 w 8801100"/>
                  <a:gd name="connsiteY130" fmla="*/ 664369 h 1916907"/>
                  <a:gd name="connsiteX131" fmla="*/ 776287 w 8801100"/>
                  <a:gd name="connsiteY131" fmla="*/ 709613 h 1916907"/>
                  <a:gd name="connsiteX132" fmla="*/ 676276 w 8801100"/>
                  <a:gd name="connsiteY132" fmla="*/ 762000 h 1916907"/>
                  <a:gd name="connsiteX133" fmla="*/ 638175 w 8801100"/>
                  <a:gd name="connsiteY133" fmla="*/ 733424 h 1916907"/>
                  <a:gd name="connsiteX134" fmla="*/ 607219 w 8801100"/>
                  <a:gd name="connsiteY134" fmla="*/ 790575 h 1916907"/>
                  <a:gd name="connsiteX135" fmla="*/ 550069 w 8801100"/>
                  <a:gd name="connsiteY135" fmla="*/ 752475 h 1916907"/>
                  <a:gd name="connsiteX136" fmla="*/ 514350 w 8801100"/>
                  <a:gd name="connsiteY136" fmla="*/ 781050 h 1916907"/>
                  <a:gd name="connsiteX137" fmla="*/ 478631 w 8801100"/>
                  <a:gd name="connsiteY137" fmla="*/ 745331 h 1916907"/>
                  <a:gd name="connsiteX138" fmla="*/ 426244 w 8801100"/>
                  <a:gd name="connsiteY138" fmla="*/ 757238 h 1916907"/>
                  <a:gd name="connsiteX139" fmla="*/ 381000 w 8801100"/>
                  <a:gd name="connsiteY139" fmla="*/ 728663 h 1916907"/>
                  <a:gd name="connsiteX140" fmla="*/ 357188 w 8801100"/>
                  <a:gd name="connsiteY140" fmla="*/ 747713 h 1916907"/>
                  <a:gd name="connsiteX141" fmla="*/ 333375 w 8801100"/>
                  <a:gd name="connsiteY141" fmla="*/ 807244 h 1916907"/>
                  <a:gd name="connsiteX142" fmla="*/ 261938 w 8801100"/>
                  <a:gd name="connsiteY142" fmla="*/ 845343 h 1916907"/>
                  <a:gd name="connsiteX143" fmla="*/ 209550 w 8801100"/>
                  <a:gd name="connsiteY143" fmla="*/ 816769 h 1916907"/>
                  <a:gd name="connsiteX144" fmla="*/ 119063 w 8801100"/>
                  <a:gd name="connsiteY144" fmla="*/ 826294 h 1916907"/>
                  <a:gd name="connsiteX145" fmla="*/ 71437 w 8801100"/>
                  <a:gd name="connsiteY145" fmla="*/ 792957 h 1916907"/>
                  <a:gd name="connsiteX146" fmla="*/ 0 w 8801100"/>
                  <a:gd name="connsiteY146" fmla="*/ 812006 h 1916907"/>
                  <a:gd name="connsiteX147" fmla="*/ 4762 w 8801100"/>
                  <a:gd name="connsiteY147" fmla="*/ 0 h 1916907"/>
                  <a:gd name="connsiteX148" fmla="*/ 8765381 w 8801100"/>
                  <a:gd name="connsiteY148" fmla="*/ 1916907 h 1916907"/>
                  <a:gd name="connsiteX149" fmla="*/ 8796338 w 8801100"/>
                  <a:gd name="connsiteY149" fmla="*/ 1871663 h 1916907"/>
                  <a:gd name="connsiteX150" fmla="*/ 8801100 w 8801100"/>
                  <a:gd name="connsiteY150" fmla="*/ 1809750 h 1916907"/>
                  <a:gd name="connsiteX151" fmla="*/ 8751093 w 8801100"/>
                  <a:gd name="connsiteY151" fmla="*/ 1769269 h 1916907"/>
                  <a:gd name="connsiteX152" fmla="*/ 8734425 w 8801100"/>
                  <a:gd name="connsiteY152" fmla="*/ 1714500 h 1916907"/>
                  <a:gd name="connsiteX153" fmla="*/ 8643938 w 8801100"/>
                  <a:gd name="connsiteY153" fmla="*/ 1652588 h 1916907"/>
                  <a:gd name="connsiteX154" fmla="*/ 8603456 w 8801100"/>
                  <a:gd name="connsiteY154" fmla="*/ 1631156 h 1916907"/>
                  <a:gd name="connsiteX155" fmla="*/ 8565356 w 8801100"/>
                  <a:gd name="connsiteY155" fmla="*/ 1585913 h 1916907"/>
                  <a:gd name="connsiteX156" fmla="*/ 8534400 w 8801100"/>
                  <a:gd name="connsiteY156" fmla="*/ 1583531 h 1916907"/>
                  <a:gd name="connsiteX157" fmla="*/ 8517731 w 8801100"/>
                  <a:gd name="connsiteY157" fmla="*/ 1531144 h 1916907"/>
                  <a:gd name="connsiteX158" fmla="*/ 8477250 w 8801100"/>
                  <a:gd name="connsiteY158" fmla="*/ 1514475 h 1916907"/>
                  <a:gd name="connsiteX159" fmla="*/ 8477250 w 8801100"/>
                  <a:gd name="connsiteY159" fmla="*/ 1514475 h 1916907"/>
                  <a:gd name="connsiteX160" fmla="*/ 8436769 w 8801100"/>
                  <a:gd name="connsiteY160" fmla="*/ 1519238 h 1916907"/>
                  <a:gd name="connsiteX161" fmla="*/ 8351043 w 8801100"/>
                  <a:gd name="connsiteY161" fmla="*/ 1445419 h 1916907"/>
                  <a:gd name="connsiteX162" fmla="*/ 8170069 w 8801100"/>
                  <a:gd name="connsiteY162" fmla="*/ 1445418 h 1916907"/>
                  <a:gd name="connsiteX163" fmla="*/ 8117681 w 8801100"/>
                  <a:gd name="connsiteY163" fmla="*/ 1483519 h 1916907"/>
                  <a:gd name="connsiteX164" fmla="*/ 8067675 w 8801100"/>
                  <a:gd name="connsiteY164" fmla="*/ 1562100 h 1916907"/>
                  <a:gd name="connsiteX165" fmla="*/ 8084344 w 8801100"/>
                  <a:gd name="connsiteY165" fmla="*/ 1583531 h 1916907"/>
                  <a:gd name="connsiteX166" fmla="*/ 8039100 w 8801100"/>
                  <a:gd name="connsiteY166" fmla="*/ 1633537 h 1916907"/>
                  <a:gd name="connsiteX167" fmla="*/ 7889081 w 8801100"/>
                  <a:gd name="connsiteY167" fmla="*/ 1557337 h 1916907"/>
                  <a:gd name="connsiteX168" fmla="*/ 7798594 w 8801100"/>
                  <a:gd name="connsiteY168" fmla="*/ 1593056 h 1916907"/>
                  <a:gd name="connsiteX169" fmla="*/ 7724775 w 8801100"/>
                  <a:gd name="connsiteY169" fmla="*/ 1590675 h 1916907"/>
                  <a:gd name="connsiteX170" fmla="*/ 7667625 w 8801100"/>
                  <a:gd name="connsiteY170" fmla="*/ 1685925 h 1916907"/>
                  <a:gd name="connsiteX171" fmla="*/ 7529513 w 8801100"/>
                  <a:gd name="connsiteY171" fmla="*/ 1588294 h 1916907"/>
                  <a:gd name="connsiteX0" fmla="*/ 7529513 w 8801100"/>
                  <a:gd name="connsiteY0" fmla="*/ 1588294 h 1871663"/>
                  <a:gd name="connsiteX1" fmla="*/ 7522369 w 8801100"/>
                  <a:gd name="connsiteY1" fmla="*/ 1533525 h 1871663"/>
                  <a:gd name="connsiteX2" fmla="*/ 7589044 w 8801100"/>
                  <a:gd name="connsiteY2" fmla="*/ 1459706 h 1871663"/>
                  <a:gd name="connsiteX3" fmla="*/ 7572375 w 8801100"/>
                  <a:gd name="connsiteY3" fmla="*/ 1388269 h 1871663"/>
                  <a:gd name="connsiteX4" fmla="*/ 7586663 w 8801100"/>
                  <a:gd name="connsiteY4" fmla="*/ 1293019 h 1871663"/>
                  <a:gd name="connsiteX5" fmla="*/ 7624763 w 8801100"/>
                  <a:gd name="connsiteY5" fmla="*/ 1235869 h 1871663"/>
                  <a:gd name="connsiteX6" fmla="*/ 7605712 w 8801100"/>
                  <a:gd name="connsiteY6" fmla="*/ 1202531 h 1871663"/>
                  <a:gd name="connsiteX7" fmla="*/ 7703343 w 8801100"/>
                  <a:gd name="connsiteY7" fmla="*/ 802481 h 1871663"/>
                  <a:gd name="connsiteX8" fmla="*/ 7696200 w 8801100"/>
                  <a:gd name="connsiteY8" fmla="*/ 773906 h 1871663"/>
                  <a:gd name="connsiteX9" fmla="*/ 7567613 w 8801100"/>
                  <a:gd name="connsiteY9" fmla="*/ 752475 h 1871663"/>
                  <a:gd name="connsiteX10" fmla="*/ 7384257 w 8801100"/>
                  <a:gd name="connsiteY10" fmla="*/ 831056 h 1871663"/>
                  <a:gd name="connsiteX11" fmla="*/ 7227093 w 8801100"/>
                  <a:gd name="connsiteY11" fmla="*/ 716756 h 1871663"/>
                  <a:gd name="connsiteX12" fmla="*/ 7150894 w 8801100"/>
                  <a:gd name="connsiteY12" fmla="*/ 723900 h 1871663"/>
                  <a:gd name="connsiteX13" fmla="*/ 7077075 w 8801100"/>
                  <a:gd name="connsiteY13" fmla="*/ 719138 h 1871663"/>
                  <a:gd name="connsiteX14" fmla="*/ 6938963 w 8801100"/>
                  <a:gd name="connsiteY14" fmla="*/ 823913 h 1871663"/>
                  <a:gd name="connsiteX15" fmla="*/ 6831806 w 8801100"/>
                  <a:gd name="connsiteY15" fmla="*/ 931069 h 1871663"/>
                  <a:gd name="connsiteX16" fmla="*/ 6788944 w 8801100"/>
                  <a:gd name="connsiteY16" fmla="*/ 1000125 h 1871663"/>
                  <a:gd name="connsiteX17" fmla="*/ 6796088 w 8801100"/>
                  <a:gd name="connsiteY17" fmla="*/ 1035844 h 1871663"/>
                  <a:gd name="connsiteX18" fmla="*/ 6734175 w 8801100"/>
                  <a:gd name="connsiteY18" fmla="*/ 1047750 h 1871663"/>
                  <a:gd name="connsiteX19" fmla="*/ 6753225 w 8801100"/>
                  <a:gd name="connsiteY19" fmla="*/ 1047750 h 1871663"/>
                  <a:gd name="connsiteX20" fmla="*/ 6719888 w 8801100"/>
                  <a:gd name="connsiteY20" fmla="*/ 1078706 h 1871663"/>
                  <a:gd name="connsiteX21" fmla="*/ 6619875 w 8801100"/>
                  <a:gd name="connsiteY21" fmla="*/ 1078707 h 1871663"/>
                  <a:gd name="connsiteX22" fmla="*/ 6524625 w 8801100"/>
                  <a:gd name="connsiteY22" fmla="*/ 1133475 h 1871663"/>
                  <a:gd name="connsiteX23" fmla="*/ 6443663 w 8801100"/>
                  <a:gd name="connsiteY23" fmla="*/ 1143000 h 1871663"/>
                  <a:gd name="connsiteX24" fmla="*/ 6403181 w 8801100"/>
                  <a:gd name="connsiteY24" fmla="*/ 1176338 h 1871663"/>
                  <a:gd name="connsiteX25" fmla="*/ 6353175 w 8801100"/>
                  <a:gd name="connsiteY25" fmla="*/ 1181100 h 1871663"/>
                  <a:gd name="connsiteX26" fmla="*/ 6231732 w 8801100"/>
                  <a:gd name="connsiteY26" fmla="*/ 1273969 h 1871663"/>
                  <a:gd name="connsiteX27" fmla="*/ 6172200 w 8801100"/>
                  <a:gd name="connsiteY27" fmla="*/ 1278731 h 1871663"/>
                  <a:gd name="connsiteX28" fmla="*/ 6119813 w 8801100"/>
                  <a:gd name="connsiteY28" fmla="*/ 1243013 h 1871663"/>
                  <a:gd name="connsiteX29" fmla="*/ 6093619 w 8801100"/>
                  <a:gd name="connsiteY29" fmla="*/ 1278731 h 1871663"/>
                  <a:gd name="connsiteX30" fmla="*/ 5895975 w 8801100"/>
                  <a:gd name="connsiteY30" fmla="*/ 1271588 h 1871663"/>
                  <a:gd name="connsiteX31" fmla="*/ 5834063 w 8801100"/>
                  <a:gd name="connsiteY31" fmla="*/ 1226344 h 1871663"/>
                  <a:gd name="connsiteX32" fmla="*/ 5636419 w 8801100"/>
                  <a:gd name="connsiteY32" fmla="*/ 1243013 h 1871663"/>
                  <a:gd name="connsiteX33" fmla="*/ 5548313 w 8801100"/>
                  <a:gd name="connsiteY33" fmla="*/ 1159668 h 1871663"/>
                  <a:gd name="connsiteX34" fmla="*/ 5472113 w 8801100"/>
                  <a:gd name="connsiteY34" fmla="*/ 1114425 h 1871663"/>
                  <a:gd name="connsiteX35" fmla="*/ 5474493 w 8801100"/>
                  <a:gd name="connsiteY35" fmla="*/ 1057275 h 1871663"/>
                  <a:gd name="connsiteX36" fmla="*/ 5455444 w 8801100"/>
                  <a:gd name="connsiteY36" fmla="*/ 1014412 h 1871663"/>
                  <a:gd name="connsiteX37" fmla="*/ 5360194 w 8801100"/>
                  <a:gd name="connsiteY37" fmla="*/ 1016794 h 1871663"/>
                  <a:gd name="connsiteX38" fmla="*/ 5264944 w 8801100"/>
                  <a:gd name="connsiteY38" fmla="*/ 995363 h 1871663"/>
                  <a:gd name="connsiteX39" fmla="*/ 5195887 w 8801100"/>
                  <a:gd name="connsiteY39" fmla="*/ 928687 h 1871663"/>
                  <a:gd name="connsiteX40" fmla="*/ 5160169 w 8801100"/>
                  <a:gd name="connsiteY40" fmla="*/ 885825 h 1871663"/>
                  <a:gd name="connsiteX41" fmla="*/ 5079206 w 8801100"/>
                  <a:gd name="connsiteY41" fmla="*/ 862012 h 1871663"/>
                  <a:gd name="connsiteX42" fmla="*/ 5005388 w 8801100"/>
                  <a:gd name="connsiteY42" fmla="*/ 873918 h 1871663"/>
                  <a:gd name="connsiteX43" fmla="*/ 4948237 w 8801100"/>
                  <a:gd name="connsiteY43" fmla="*/ 821531 h 1871663"/>
                  <a:gd name="connsiteX44" fmla="*/ 4852988 w 8801100"/>
                  <a:gd name="connsiteY44" fmla="*/ 833438 h 1871663"/>
                  <a:gd name="connsiteX45" fmla="*/ 4800600 w 8801100"/>
                  <a:gd name="connsiteY45" fmla="*/ 807244 h 1871663"/>
                  <a:gd name="connsiteX46" fmla="*/ 4719638 w 8801100"/>
                  <a:gd name="connsiteY46" fmla="*/ 850106 h 1871663"/>
                  <a:gd name="connsiteX47" fmla="*/ 4581525 w 8801100"/>
                  <a:gd name="connsiteY47" fmla="*/ 873919 h 1871663"/>
                  <a:gd name="connsiteX48" fmla="*/ 4452938 w 8801100"/>
                  <a:gd name="connsiteY48" fmla="*/ 966788 h 1871663"/>
                  <a:gd name="connsiteX49" fmla="*/ 4405312 w 8801100"/>
                  <a:gd name="connsiteY49" fmla="*/ 928688 h 1871663"/>
                  <a:gd name="connsiteX50" fmla="*/ 4383881 w 8801100"/>
                  <a:gd name="connsiteY50" fmla="*/ 959643 h 1871663"/>
                  <a:gd name="connsiteX51" fmla="*/ 4310063 w 8801100"/>
                  <a:gd name="connsiteY51" fmla="*/ 909638 h 1871663"/>
                  <a:gd name="connsiteX52" fmla="*/ 4271963 w 8801100"/>
                  <a:gd name="connsiteY52" fmla="*/ 916781 h 1871663"/>
                  <a:gd name="connsiteX53" fmla="*/ 4250531 w 8801100"/>
                  <a:gd name="connsiteY53" fmla="*/ 878681 h 1871663"/>
                  <a:gd name="connsiteX54" fmla="*/ 4191000 w 8801100"/>
                  <a:gd name="connsiteY54" fmla="*/ 883444 h 1871663"/>
                  <a:gd name="connsiteX55" fmla="*/ 4145756 w 8801100"/>
                  <a:gd name="connsiteY55" fmla="*/ 854869 h 1871663"/>
                  <a:gd name="connsiteX56" fmla="*/ 4107656 w 8801100"/>
                  <a:gd name="connsiteY56" fmla="*/ 852488 h 1871663"/>
                  <a:gd name="connsiteX57" fmla="*/ 4088606 w 8801100"/>
                  <a:gd name="connsiteY57" fmla="*/ 804862 h 1871663"/>
                  <a:gd name="connsiteX58" fmla="*/ 4074319 w 8801100"/>
                  <a:gd name="connsiteY58" fmla="*/ 773906 h 1871663"/>
                  <a:gd name="connsiteX59" fmla="*/ 4029075 w 8801100"/>
                  <a:gd name="connsiteY59" fmla="*/ 783431 h 1871663"/>
                  <a:gd name="connsiteX60" fmla="*/ 4010025 w 8801100"/>
                  <a:gd name="connsiteY60" fmla="*/ 747713 h 1871663"/>
                  <a:gd name="connsiteX61" fmla="*/ 4031457 w 8801100"/>
                  <a:gd name="connsiteY61" fmla="*/ 692944 h 1871663"/>
                  <a:gd name="connsiteX62" fmla="*/ 4000500 w 8801100"/>
                  <a:gd name="connsiteY62" fmla="*/ 666750 h 1871663"/>
                  <a:gd name="connsiteX63" fmla="*/ 4017169 w 8801100"/>
                  <a:gd name="connsiteY63" fmla="*/ 623888 h 1871663"/>
                  <a:gd name="connsiteX64" fmla="*/ 3990975 w 8801100"/>
                  <a:gd name="connsiteY64" fmla="*/ 581025 h 1871663"/>
                  <a:gd name="connsiteX65" fmla="*/ 3986213 w 8801100"/>
                  <a:gd name="connsiteY65" fmla="*/ 519113 h 1871663"/>
                  <a:gd name="connsiteX66" fmla="*/ 4010025 w 8801100"/>
                  <a:gd name="connsiteY66" fmla="*/ 454818 h 1871663"/>
                  <a:gd name="connsiteX67" fmla="*/ 3971925 w 8801100"/>
                  <a:gd name="connsiteY67" fmla="*/ 457200 h 1871663"/>
                  <a:gd name="connsiteX68" fmla="*/ 3852863 w 8801100"/>
                  <a:gd name="connsiteY68" fmla="*/ 400050 h 1871663"/>
                  <a:gd name="connsiteX69" fmla="*/ 3814762 w 8801100"/>
                  <a:gd name="connsiteY69" fmla="*/ 404812 h 1871663"/>
                  <a:gd name="connsiteX70" fmla="*/ 3609975 w 8801100"/>
                  <a:gd name="connsiteY70" fmla="*/ 295275 h 1871663"/>
                  <a:gd name="connsiteX71" fmla="*/ 3505200 w 8801100"/>
                  <a:gd name="connsiteY71" fmla="*/ 264319 h 1871663"/>
                  <a:gd name="connsiteX72" fmla="*/ 3440906 w 8801100"/>
                  <a:gd name="connsiteY72" fmla="*/ 273843 h 1871663"/>
                  <a:gd name="connsiteX73" fmla="*/ 3409950 w 8801100"/>
                  <a:gd name="connsiteY73" fmla="*/ 209550 h 1871663"/>
                  <a:gd name="connsiteX74" fmla="*/ 3352800 w 8801100"/>
                  <a:gd name="connsiteY74" fmla="*/ 209550 h 1871663"/>
                  <a:gd name="connsiteX75" fmla="*/ 3214687 w 8801100"/>
                  <a:gd name="connsiteY75" fmla="*/ 104775 h 1871663"/>
                  <a:gd name="connsiteX76" fmla="*/ 3181350 w 8801100"/>
                  <a:gd name="connsiteY76" fmla="*/ 164307 h 1871663"/>
                  <a:gd name="connsiteX77" fmla="*/ 3126581 w 8801100"/>
                  <a:gd name="connsiteY77" fmla="*/ 233363 h 1871663"/>
                  <a:gd name="connsiteX78" fmla="*/ 3083719 w 8801100"/>
                  <a:gd name="connsiteY78" fmla="*/ 250031 h 1871663"/>
                  <a:gd name="connsiteX79" fmla="*/ 3052763 w 8801100"/>
                  <a:gd name="connsiteY79" fmla="*/ 242888 h 1871663"/>
                  <a:gd name="connsiteX80" fmla="*/ 3028950 w 8801100"/>
                  <a:gd name="connsiteY80" fmla="*/ 271463 h 1871663"/>
                  <a:gd name="connsiteX81" fmla="*/ 3002756 w 8801100"/>
                  <a:gd name="connsiteY81" fmla="*/ 350044 h 1871663"/>
                  <a:gd name="connsiteX82" fmla="*/ 2959894 w 8801100"/>
                  <a:gd name="connsiteY82" fmla="*/ 347663 h 1871663"/>
                  <a:gd name="connsiteX83" fmla="*/ 2928937 w 8801100"/>
                  <a:gd name="connsiteY83" fmla="*/ 409575 h 1871663"/>
                  <a:gd name="connsiteX84" fmla="*/ 2924175 w 8801100"/>
                  <a:gd name="connsiteY84" fmla="*/ 473869 h 1871663"/>
                  <a:gd name="connsiteX85" fmla="*/ 2897982 w 8801100"/>
                  <a:gd name="connsiteY85" fmla="*/ 511969 h 1871663"/>
                  <a:gd name="connsiteX86" fmla="*/ 2924175 w 8801100"/>
                  <a:gd name="connsiteY86" fmla="*/ 571500 h 1871663"/>
                  <a:gd name="connsiteX87" fmla="*/ 2926556 w 8801100"/>
                  <a:gd name="connsiteY87" fmla="*/ 640556 h 1871663"/>
                  <a:gd name="connsiteX88" fmla="*/ 2955131 w 8801100"/>
                  <a:gd name="connsiteY88" fmla="*/ 692944 h 1871663"/>
                  <a:gd name="connsiteX89" fmla="*/ 3002757 w 8801100"/>
                  <a:gd name="connsiteY89" fmla="*/ 747713 h 1871663"/>
                  <a:gd name="connsiteX90" fmla="*/ 2952750 w 8801100"/>
                  <a:gd name="connsiteY90" fmla="*/ 885825 h 1871663"/>
                  <a:gd name="connsiteX91" fmla="*/ 2883694 w 8801100"/>
                  <a:gd name="connsiteY91" fmla="*/ 952500 h 1871663"/>
                  <a:gd name="connsiteX92" fmla="*/ 2812256 w 8801100"/>
                  <a:gd name="connsiteY92" fmla="*/ 947738 h 1871663"/>
                  <a:gd name="connsiteX93" fmla="*/ 2774156 w 8801100"/>
                  <a:gd name="connsiteY93" fmla="*/ 1004888 h 1871663"/>
                  <a:gd name="connsiteX94" fmla="*/ 2714625 w 8801100"/>
                  <a:gd name="connsiteY94" fmla="*/ 1019175 h 1871663"/>
                  <a:gd name="connsiteX95" fmla="*/ 2645569 w 8801100"/>
                  <a:gd name="connsiteY95" fmla="*/ 959644 h 1871663"/>
                  <a:gd name="connsiteX96" fmla="*/ 2590800 w 8801100"/>
                  <a:gd name="connsiteY96" fmla="*/ 931069 h 1871663"/>
                  <a:gd name="connsiteX97" fmla="*/ 2547938 w 8801100"/>
                  <a:gd name="connsiteY97" fmla="*/ 945356 h 1871663"/>
                  <a:gd name="connsiteX98" fmla="*/ 2495550 w 8801100"/>
                  <a:gd name="connsiteY98" fmla="*/ 928688 h 1871663"/>
                  <a:gd name="connsiteX99" fmla="*/ 2428875 w 8801100"/>
                  <a:gd name="connsiteY99" fmla="*/ 873919 h 1871663"/>
                  <a:gd name="connsiteX100" fmla="*/ 2383631 w 8801100"/>
                  <a:gd name="connsiteY100" fmla="*/ 885825 h 1871663"/>
                  <a:gd name="connsiteX101" fmla="*/ 2362200 w 8801100"/>
                  <a:gd name="connsiteY101" fmla="*/ 854869 h 1871663"/>
                  <a:gd name="connsiteX102" fmla="*/ 2305050 w 8801100"/>
                  <a:gd name="connsiteY102" fmla="*/ 895350 h 1871663"/>
                  <a:gd name="connsiteX103" fmla="*/ 2188369 w 8801100"/>
                  <a:gd name="connsiteY103" fmla="*/ 873919 h 1871663"/>
                  <a:gd name="connsiteX104" fmla="*/ 2138363 w 8801100"/>
                  <a:gd name="connsiteY104" fmla="*/ 821531 h 1871663"/>
                  <a:gd name="connsiteX105" fmla="*/ 2095500 w 8801100"/>
                  <a:gd name="connsiteY105" fmla="*/ 807244 h 1871663"/>
                  <a:gd name="connsiteX106" fmla="*/ 2052638 w 8801100"/>
                  <a:gd name="connsiteY106" fmla="*/ 833438 h 1871663"/>
                  <a:gd name="connsiteX107" fmla="*/ 2000250 w 8801100"/>
                  <a:gd name="connsiteY107" fmla="*/ 742950 h 1871663"/>
                  <a:gd name="connsiteX108" fmla="*/ 1990725 w 8801100"/>
                  <a:gd name="connsiteY108" fmla="*/ 595312 h 1871663"/>
                  <a:gd name="connsiteX109" fmla="*/ 1938337 w 8801100"/>
                  <a:gd name="connsiteY109" fmla="*/ 588168 h 1871663"/>
                  <a:gd name="connsiteX110" fmla="*/ 1847850 w 8801100"/>
                  <a:gd name="connsiteY110" fmla="*/ 578644 h 1871663"/>
                  <a:gd name="connsiteX111" fmla="*/ 1793081 w 8801100"/>
                  <a:gd name="connsiteY111" fmla="*/ 540544 h 1871663"/>
                  <a:gd name="connsiteX112" fmla="*/ 1724025 w 8801100"/>
                  <a:gd name="connsiteY112" fmla="*/ 550069 h 1871663"/>
                  <a:gd name="connsiteX113" fmla="*/ 1678781 w 8801100"/>
                  <a:gd name="connsiteY113" fmla="*/ 523875 h 1871663"/>
                  <a:gd name="connsiteX114" fmla="*/ 1669257 w 8801100"/>
                  <a:gd name="connsiteY114" fmla="*/ 452438 h 1871663"/>
                  <a:gd name="connsiteX115" fmla="*/ 1645444 w 8801100"/>
                  <a:gd name="connsiteY115" fmla="*/ 438150 h 1871663"/>
                  <a:gd name="connsiteX116" fmla="*/ 1607344 w 8801100"/>
                  <a:gd name="connsiteY116" fmla="*/ 485774 h 1871663"/>
                  <a:gd name="connsiteX117" fmla="*/ 1528762 w 8801100"/>
                  <a:gd name="connsiteY117" fmla="*/ 411956 h 1871663"/>
                  <a:gd name="connsiteX118" fmla="*/ 1488281 w 8801100"/>
                  <a:gd name="connsiteY118" fmla="*/ 452438 h 1871663"/>
                  <a:gd name="connsiteX119" fmla="*/ 1412081 w 8801100"/>
                  <a:gd name="connsiteY119" fmla="*/ 438150 h 1871663"/>
                  <a:gd name="connsiteX120" fmla="*/ 1333500 w 8801100"/>
                  <a:gd name="connsiteY120" fmla="*/ 464344 h 1871663"/>
                  <a:gd name="connsiteX121" fmla="*/ 1273969 w 8801100"/>
                  <a:gd name="connsiteY121" fmla="*/ 511968 h 1871663"/>
                  <a:gd name="connsiteX122" fmla="*/ 1200150 w 8801100"/>
                  <a:gd name="connsiteY122" fmla="*/ 523875 h 1871663"/>
                  <a:gd name="connsiteX123" fmla="*/ 1164431 w 8801100"/>
                  <a:gd name="connsiteY123" fmla="*/ 516731 h 1871663"/>
                  <a:gd name="connsiteX124" fmla="*/ 1085851 w 8801100"/>
                  <a:gd name="connsiteY124" fmla="*/ 547688 h 1871663"/>
                  <a:gd name="connsiteX125" fmla="*/ 1064419 w 8801100"/>
                  <a:gd name="connsiteY125" fmla="*/ 576263 h 1871663"/>
                  <a:gd name="connsiteX126" fmla="*/ 997744 w 8801100"/>
                  <a:gd name="connsiteY126" fmla="*/ 566738 h 1871663"/>
                  <a:gd name="connsiteX127" fmla="*/ 928688 w 8801100"/>
                  <a:gd name="connsiteY127" fmla="*/ 590550 h 1871663"/>
                  <a:gd name="connsiteX128" fmla="*/ 873919 w 8801100"/>
                  <a:gd name="connsiteY128" fmla="*/ 628650 h 1871663"/>
                  <a:gd name="connsiteX129" fmla="*/ 778669 w 8801100"/>
                  <a:gd name="connsiteY129" fmla="*/ 642937 h 1871663"/>
                  <a:gd name="connsiteX130" fmla="*/ 764381 w 8801100"/>
                  <a:gd name="connsiteY130" fmla="*/ 664369 h 1871663"/>
                  <a:gd name="connsiteX131" fmla="*/ 776287 w 8801100"/>
                  <a:gd name="connsiteY131" fmla="*/ 709613 h 1871663"/>
                  <a:gd name="connsiteX132" fmla="*/ 676276 w 8801100"/>
                  <a:gd name="connsiteY132" fmla="*/ 762000 h 1871663"/>
                  <a:gd name="connsiteX133" fmla="*/ 638175 w 8801100"/>
                  <a:gd name="connsiteY133" fmla="*/ 733424 h 1871663"/>
                  <a:gd name="connsiteX134" fmla="*/ 607219 w 8801100"/>
                  <a:gd name="connsiteY134" fmla="*/ 790575 h 1871663"/>
                  <a:gd name="connsiteX135" fmla="*/ 550069 w 8801100"/>
                  <a:gd name="connsiteY135" fmla="*/ 752475 h 1871663"/>
                  <a:gd name="connsiteX136" fmla="*/ 514350 w 8801100"/>
                  <a:gd name="connsiteY136" fmla="*/ 781050 h 1871663"/>
                  <a:gd name="connsiteX137" fmla="*/ 478631 w 8801100"/>
                  <a:gd name="connsiteY137" fmla="*/ 745331 h 1871663"/>
                  <a:gd name="connsiteX138" fmla="*/ 426244 w 8801100"/>
                  <a:gd name="connsiteY138" fmla="*/ 757238 h 1871663"/>
                  <a:gd name="connsiteX139" fmla="*/ 381000 w 8801100"/>
                  <a:gd name="connsiteY139" fmla="*/ 728663 h 1871663"/>
                  <a:gd name="connsiteX140" fmla="*/ 357188 w 8801100"/>
                  <a:gd name="connsiteY140" fmla="*/ 747713 h 1871663"/>
                  <a:gd name="connsiteX141" fmla="*/ 333375 w 8801100"/>
                  <a:gd name="connsiteY141" fmla="*/ 807244 h 1871663"/>
                  <a:gd name="connsiteX142" fmla="*/ 261938 w 8801100"/>
                  <a:gd name="connsiteY142" fmla="*/ 845343 h 1871663"/>
                  <a:gd name="connsiteX143" fmla="*/ 209550 w 8801100"/>
                  <a:gd name="connsiteY143" fmla="*/ 816769 h 1871663"/>
                  <a:gd name="connsiteX144" fmla="*/ 119063 w 8801100"/>
                  <a:gd name="connsiteY144" fmla="*/ 826294 h 1871663"/>
                  <a:gd name="connsiteX145" fmla="*/ 71437 w 8801100"/>
                  <a:gd name="connsiteY145" fmla="*/ 792957 h 1871663"/>
                  <a:gd name="connsiteX146" fmla="*/ 0 w 8801100"/>
                  <a:gd name="connsiteY146" fmla="*/ 812006 h 1871663"/>
                  <a:gd name="connsiteX147" fmla="*/ 4762 w 8801100"/>
                  <a:gd name="connsiteY147" fmla="*/ 0 h 1871663"/>
                  <a:gd name="connsiteX148" fmla="*/ 8796338 w 8801100"/>
                  <a:gd name="connsiteY148" fmla="*/ 1871663 h 1871663"/>
                  <a:gd name="connsiteX149" fmla="*/ 8801100 w 8801100"/>
                  <a:gd name="connsiteY149" fmla="*/ 1809750 h 1871663"/>
                  <a:gd name="connsiteX150" fmla="*/ 8751093 w 8801100"/>
                  <a:gd name="connsiteY150" fmla="*/ 1769269 h 1871663"/>
                  <a:gd name="connsiteX151" fmla="*/ 8734425 w 8801100"/>
                  <a:gd name="connsiteY151" fmla="*/ 1714500 h 1871663"/>
                  <a:gd name="connsiteX152" fmla="*/ 8643938 w 8801100"/>
                  <a:gd name="connsiteY152" fmla="*/ 1652588 h 1871663"/>
                  <a:gd name="connsiteX153" fmla="*/ 8603456 w 8801100"/>
                  <a:gd name="connsiteY153" fmla="*/ 1631156 h 1871663"/>
                  <a:gd name="connsiteX154" fmla="*/ 8565356 w 8801100"/>
                  <a:gd name="connsiteY154" fmla="*/ 1585913 h 1871663"/>
                  <a:gd name="connsiteX155" fmla="*/ 8534400 w 8801100"/>
                  <a:gd name="connsiteY155" fmla="*/ 1583531 h 1871663"/>
                  <a:gd name="connsiteX156" fmla="*/ 8517731 w 8801100"/>
                  <a:gd name="connsiteY156" fmla="*/ 1531144 h 1871663"/>
                  <a:gd name="connsiteX157" fmla="*/ 8477250 w 8801100"/>
                  <a:gd name="connsiteY157" fmla="*/ 1514475 h 1871663"/>
                  <a:gd name="connsiteX158" fmla="*/ 8477250 w 8801100"/>
                  <a:gd name="connsiteY158" fmla="*/ 1514475 h 1871663"/>
                  <a:gd name="connsiteX159" fmla="*/ 8436769 w 8801100"/>
                  <a:gd name="connsiteY159" fmla="*/ 1519238 h 1871663"/>
                  <a:gd name="connsiteX160" fmla="*/ 8351043 w 8801100"/>
                  <a:gd name="connsiteY160" fmla="*/ 1445419 h 1871663"/>
                  <a:gd name="connsiteX161" fmla="*/ 8170069 w 8801100"/>
                  <a:gd name="connsiteY161" fmla="*/ 1445418 h 1871663"/>
                  <a:gd name="connsiteX162" fmla="*/ 8117681 w 8801100"/>
                  <a:gd name="connsiteY162" fmla="*/ 1483519 h 1871663"/>
                  <a:gd name="connsiteX163" fmla="*/ 8067675 w 8801100"/>
                  <a:gd name="connsiteY163" fmla="*/ 1562100 h 1871663"/>
                  <a:gd name="connsiteX164" fmla="*/ 8084344 w 8801100"/>
                  <a:gd name="connsiteY164" fmla="*/ 1583531 h 1871663"/>
                  <a:gd name="connsiteX165" fmla="*/ 8039100 w 8801100"/>
                  <a:gd name="connsiteY165" fmla="*/ 1633537 h 1871663"/>
                  <a:gd name="connsiteX166" fmla="*/ 7889081 w 8801100"/>
                  <a:gd name="connsiteY166" fmla="*/ 1557337 h 1871663"/>
                  <a:gd name="connsiteX167" fmla="*/ 7798594 w 8801100"/>
                  <a:gd name="connsiteY167" fmla="*/ 1593056 h 1871663"/>
                  <a:gd name="connsiteX168" fmla="*/ 7724775 w 8801100"/>
                  <a:gd name="connsiteY168" fmla="*/ 1590675 h 1871663"/>
                  <a:gd name="connsiteX169" fmla="*/ 7667625 w 8801100"/>
                  <a:gd name="connsiteY169" fmla="*/ 1685925 h 1871663"/>
                  <a:gd name="connsiteX170" fmla="*/ 7529513 w 8801100"/>
                  <a:gd name="connsiteY170" fmla="*/ 1588294 h 1871663"/>
                  <a:gd name="connsiteX0" fmla="*/ 7529513 w 8801100"/>
                  <a:gd name="connsiteY0" fmla="*/ 1588294 h 1809750"/>
                  <a:gd name="connsiteX1" fmla="*/ 7522369 w 8801100"/>
                  <a:gd name="connsiteY1" fmla="*/ 1533525 h 1809750"/>
                  <a:gd name="connsiteX2" fmla="*/ 7589044 w 8801100"/>
                  <a:gd name="connsiteY2" fmla="*/ 1459706 h 1809750"/>
                  <a:gd name="connsiteX3" fmla="*/ 7572375 w 8801100"/>
                  <a:gd name="connsiteY3" fmla="*/ 1388269 h 1809750"/>
                  <a:gd name="connsiteX4" fmla="*/ 7586663 w 8801100"/>
                  <a:gd name="connsiteY4" fmla="*/ 1293019 h 1809750"/>
                  <a:gd name="connsiteX5" fmla="*/ 7624763 w 8801100"/>
                  <a:gd name="connsiteY5" fmla="*/ 1235869 h 1809750"/>
                  <a:gd name="connsiteX6" fmla="*/ 7605712 w 8801100"/>
                  <a:gd name="connsiteY6" fmla="*/ 1202531 h 1809750"/>
                  <a:gd name="connsiteX7" fmla="*/ 7703343 w 8801100"/>
                  <a:gd name="connsiteY7" fmla="*/ 802481 h 1809750"/>
                  <a:gd name="connsiteX8" fmla="*/ 7696200 w 8801100"/>
                  <a:gd name="connsiteY8" fmla="*/ 773906 h 1809750"/>
                  <a:gd name="connsiteX9" fmla="*/ 7567613 w 8801100"/>
                  <a:gd name="connsiteY9" fmla="*/ 752475 h 1809750"/>
                  <a:gd name="connsiteX10" fmla="*/ 7384257 w 8801100"/>
                  <a:gd name="connsiteY10" fmla="*/ 831056 h 1809750"/>
                  <a:gd name="connsiteX11" fmla="*/ 7227093 w 8801100"/>
                  <a:gd name="connsiteY11" fmla="*/ 716756 h 1809750"/>
                  <a:gd name="connsiteX12" fmla="*/ 7150894 w 8801100"/>
                  <a:gd name="connsiteY12" fmla="*/ 723900 h 1809750"/>
                  <a:gd name="connsiteX13" fmla="*/ 7077075 w 8801100"/>
                  <a:gd name="connsiteY13" fmla="*/ 719138 h 1809750"/>
                  <a:gd name="connsiteX14" fmla="*/ 6938963 w 8801100"/>
                  <a:gd name="connsiteY14" fmla="*/ 823913 h 1809750"/>
                  <a:gd name="connsiteX15" fmla="*/ 6831806 w 8801100"/>
                  <a:gd name="connsiteY15" fmla="*/ 931069 h 1809750"/>
                  <a:gd name="connsiteX16" fmla="*/ 6788944 w 8801100"/>
                  <a:gd name="connsiteY16" fmla="*/ 1000125 h 1809750"/>
                  <a:gd name="connsiteX17" fmla="*/ 6796088 w 8801100"/>
                  <a:gd name="connsiteY17" fmla="*/ 1035844 h 1809750"/>
                  <a:gd name="connsiteX18" fmla="*/ 6734175 w 8801100"/>
                  <a:gd name="connsiteY18" fmla="*/ 1047750 h 1809750"/>
                  <a:gd name="connsiteX19" fmla="*/ 6753225 w 8801100"/>
                  <a:gd name="connsiteY19" fmla="*/ 1047750 h 1809750"/>
                  <a:gd name="connsiteX20" fmla="*/ 6719888 w 8801100"/>
                  <a:gd name="connsiteY20" fmla="*/ 1078706 h 1809750"/>
                  <a:gd name="connsiteX21" fmla="*/ 6619875 w 8801100"/>
                  <a:gd name="connsiteY21" fmla="*/ 1078707 h 1809750"/>
                  <a:gd name="connsiteX22" fmla="*/ 6524625 w 8801100"/>
                  <a:gd name="connsiteY22" fmla="*/ 1133475 h 1809750"/>
                  <a:gd name="connsiteX23" fmla="*/ 6443663 w 8801100"/>
                  <a:gd name="connsiteY23" fmla="*/ 1143000 h 1809750"/>
                  <a:gd name="connsiteX24" fmla="*/ 6403181 w 8801100"/>
                  <a:gd name="connsiteY24" fmla="*/ 1176338 h 1809750"/>
                  <a:gd name="connsiteX25" fmla="*/ 6353175 w 8801100"/>
                  <a:gd name="connsiteY25" fmla="*/ 1181100 h 1809750"/>
                  <a:gd name="connsiteX26" fmla="*/ 6231732 w 8801100"/>
                  <a:gd name="connsiteY26" fmla="*/ 1273969 h 1809750"/>
                  <a:gd name="connsiteX27" fmla="*/ 6172200 w 8801100"/>
                  <a:gd name="connsiteY27" fmla="*/ 1278731 h 1809750"/>
                  <a:gd name="connsiteX28" fmla="*/ 6119813 w 8801100"/>
                  <a:gd name="connsiteY28" fmla="*/ 1243013 h 1809750"/>
                  <a:gd name="connsiteX29" fmla="*/ 6093619 w 8801100"/>
                  <a:gd name="connsiteY29" fmla="*/ 1278731 h 1809750"/>
                  <a:gd name="connsiteX30" fmla="*/ 5895975 w 8801100"/>
                  <a:gd name="connsiteY30" fmla="*/ 1271588 h 1809750"/>
                  <a:gd name="connsiteX31" fmla="*/ 5834063 w 8801100"/>
                  <a:gd name="connsiteY31" fmla="*/ 1226344 h 1809750"/>
                  <a:gd name="connsiteX32" fmla="*/ 5636419 w 8801100"/>
                  <a:gd name="connsiteY32" fmla="*/ 1243013 h 1809750"/>
                  <a:gd name="connsiteX33" fmla="*/ 5548313 w 8801100"/>
                  <a:gd name="connsiteY33" fmla="*/ 1159668 h 1809750"/>
                  <a:gd name="connsiteX34" fmla="*/ 5472113 w 8801100"/>
                  <a:gd name="connsiteY34" fmla="*/ 1114425 h 1809750"/>
                  <a:gd name="connsiteX35" fmla="*/ 5474493 w 8801100"/>
                  <a:gd name="connsiteY35" fmla="*/ 1057275 h 1809750"/>
                  <a:gd name="connsiteX36" fmla="*/ 5455444 w 8801100"/>
                  <a:gd name="connsiteY36" fmla="*/ 1014412 h 1809750"/>
                  <a:gd name="connsiteX37" fmla="*/ 5360194 w 8801100"/>
                  <a:gd name="connsiteY37" fmla="*/ 1016794 h 1809750"/>
                  <a:gd name="connsiteX38" fmla="*/ 5264944 w 8801100"/>
                  <a:gd name="connsiteY38" fmla="*/ 995363 h 1809750"/>
                  <a:gd name="connsiteX39" fmla="*/ 5195887 w 8801100"/>
                  <a:gd name="connsiteY39" fmla="*/ 928687 h 1809750"/>
                  <a:gd name="connsiteX40" fmla="*/ 5160169 w 8801100"/>
                  <a:gd name="connsiteY40" fmla="*/ 885825 h 1809750"/>
                  <a:gd name="connsiteX41" fmla="*/ 5079206 w 8801100"/>
                  <a:gd name="connsiteY41" fmla="*/ 862012 h 1809750"/>
                  <a:gd name="connsiteX42" fmla="*/ 5005388 w 8801100"/>
                  <a:gd name="connsiteY42" fmla="*/ 873918 h 1809750"/>
                  <a:gd name="connsiteX43" fmla="*/ 4948237 w 8801100"/>
                  <a:gd name="connsiteY43" fmla="*/ 821531 h 1809750"/>
                  <a:gd name="connsiteX44" fmla="*/ 4852988 w 8801100"/>
                  <a:gd name="connsiteY44" fmla="*/ 833438 h 1809750"/>
                  <a:gd name="connsiteX45" fmla="*/ 4800600 w 8801100"/>
                  <a:gd name="connsiteY45" fmla="*/ 807244 h 1809750"/>
                  <a:gd name="connsiteX46" fmla="*/ 4719638 w 8801100"/>
                  <a:gd name="connsiteY46" fmla="*/ 850106 h 1809750"/>
                  <a:gd name="connsiteX47" fmla="*/ 4581525 w 8801100"/>
                  <a:gd name="connsiteY47" fmla="*/ 873919 h 1809750"/>
                  <a:gd name="connsiteX48" fmla="*/ 4452938 w 8801100"/>
                  <a:gd name="connsiteY48" fmla="*/ 966788 h 1809750"/>
                  <a:gd name="connsiteX49" fmla="*/ 4405312 w 8801100"/>
                  <a:gd name="connsiteY49" fmla="*/ 928688 h 1809750"/>
                  <a:gd name="connsiteX50" fmla="*/ 4383881 w 8801100"/>
                  <a:gd name="connsiteY50" fmla="*/ 959643 h 1809750"/>
                  <a:gd name="connsiteX51" fmla="*/ 4310063 w 8801100"/>
                  <a:gd name="connsiteY51" fmla="*/ 909638 h 1809750"/>
                  <a:gd name="connsiteX52" fmla="*/ 4271963 w 8801100"/>
                  <a:gd name="connsiteY52" fmla="*/ 916781 h 1809750"/>
                  <a:gd name="connsiteX53" fmla="*/ 4250531 w 8801100"/>
                  <a:gd name="connsiteY53" fmla="*/ 878681 h 1809750"/>
                  <a:gd name="connsiteX54" fmla="*/ 4191000 w 8801100"/>
                  <a:gd name="connsiteY54" fmla="*/ 883444 h 1809750"/>
                  <a:gd name="connsiteX55" fmla="*/ 4145756 w 8801100"/>
                  <a:gd name="connsiteY55" fmla="*/ 854869 h 1809750"/>
                  <a:gd name="connsiteX56" fmla="*/ 4107656 w 8801100"/>
                  <a:gd name="connsiteY56" fmla="*/ 852488 h 1809750"/>
                  <a:gd name="connsiteX57" fmla="*/ 4088606 w 8801100"/>
                  <a:gd name="connsiteY57" fmla="*/ 804862 h 1809750"/>
                  <a:gd name="connsiteX58" fmla="*/ 4074319 w 8801100"/>
                  <a:gd name="connsiteY58" fmla="*/ 773906 h 1809750"/>
                  <a:gd name="connsiteX59" fmla="*/ 4029075 w 8801100"/>
                  <a:gd name="connsiteY59" fmla="*/ 783431 h 1809750"/>
                  <a:gd name="connsiteX60" fmla="*/ 4010025 w 8801100"/>
                  <a:gd name="connsiteY60" fmla="*/ 747713 h 1809750"/>
                  <a:gd name="connsiteX61" fmla="*/ 4031457 w 8801100"/>
                  <a:gd name="connsiteY61" fmla="*/ 692944 h 1809750"/>
                  <a:gd name="connsiteX62" fmla="*/ 4000500 w 8801100"/>
                  <a:gd name="connsiteY62" fmla="*/ 666750 h 1809750"/>
                  <a:gd name="connsiteX63" fmla="*/ 4017169 w 8801100"/>
                  <a:gd name="connsiteY63" fmla="*/ 623888 h 1809750"/>
                  <a:gd name="connsiteX64" fmla="*/ 3990975 w 8801100"/>
                  <a:gd name="connsiteY64" fmla="*/ 581025 h 1809750"/>
                  <a:gd name="connsiteX65" fmla="*/ 3986213 w 8801100"/>
                  <a:gd name="connsiteY65" fmla="*/ 519113 h 1809750"/>
                  <a:gd name="connsiteX66" fmla="*/ 4010025 w 8801100"/>
                  <a:gd name="connsiteY66" fmla="*/ 454818 h 1809750"/>
                  <a:gd name="connsiteX67" fmla="*/ 3971925 w 8801100"/>
                  <a:gd name="connsiteY67" fmla="*/ 457200 h 1809750"/>
                  <a:gd name="connsiteX68" fmla="*/ 3852863 w 8801100"/>
                  <a:gd name="connsiteY68" fmla="*/ 400050 h 1809750"/>
                  <a:gd name="connsiteX69" fmla="*/ 3814762 w 8801100"/>
                  <a:gd name="connsiteY69" fmla="*/ 404812 h 1809750"/>
                  <a:gd name="connsiteX70" fmla="*/ 3609975 w 8801100"/>
                  <a:gd name="connsiteY70" fmla="*/ 295275 h 1809750"/>
                  <a:gd name="connsiteX71" fmla="*/ 3505200 w 8801100"/>
                  <a:gd name="connsiteY71" fmla="*/ 264319 h 1809750"/>
                  <a:gd name="connsiteX72" fmla="*/ 3440906 w 8801100"/>
                  <a:gd name="connsiteY72" fmla="*/ 273843 h 1809750"/>
                  <a:gd name="connsiteX73" fmla="*/ 3409950 w 8801100"/>
                  <a:gd name="connsiteY73" fmla="*/ 209550 h 1809750"/>
                  <a:gd name="connsiteX74" fmla="*/ 3352800 w 8801100"/>
                  <a:gd name="connsiteY74" fmla="*/ 209550 h 1809750"/>
                  <a:gd name="connsiteX75" fmla="*/ 3214687 w 8801100"/>
                  <a:gd name="connsiteY75" fmla="*/ 104775 h 1809750"/>
                  <a:gd name="connsiteX76" fmla="*/ 3181350 w 8801100"/>
                  <a:gd name="connsiteY76" fmla="*/ 164307 h 1809750"/>
                  <a:gd name="connsiteX77" fmla="*/ 3126581 w 8801100"/>
                  <a:gd name="connsiteY77" fmla="*/ 233363 h 1809750"/>
                  <a:gd name="connsiteX78" fmla="*/ 3083719 w 8801100"/>
                  <a:gd name="connsiteY78" fmla="*/ 250031 h 1809750"/>
                  <a:gd name="connsiteX79" fmla="*/ 3052763 w 8801100"/>
                  <a:gd name="connsiteY79" fmla="*/ 242888 h 1809750"/>
                  <a:gd name="connsiteX80" fmla="*/ 3028950 w 8801100"/>
                  <a:gd name="connsiteY80" fmla="*/ 271463 h 1809750"/>
                  <a:gd name="connsiteX81" fmla="*/ 3002756 w 8801100"/>
                  <a:gd name="connsiteY81" fmla="*/ 350044 h 1809750"/>
                  <a:gd name="connsiteX82" fmla="*/ 2959894 w 8801100"/>
                  <a:gd name="connsiteY82" fmla="*/ 347663 h 1809750"/>
                  <a:gd name="connsiteX83" fmla="*/ 2928937 w 8801100"/>
                  <a:gd name="connsiteY83" fmla="*/ 409575 h 1809750"/>
                  <a:gd name="connsiteX84" fmla="*/ 2924175 w 8801100"/>
                  <a:gd name="connsiteY84" fmla="*/ 473869 h 1809750"/>
                  <a:gd name="connsiteX85" fmla="*/ 2897982 w 8801100"/>
                  <a:gd name="connsiteY85" fmla="*/ 511969 h 1809750"/>
                  <a:gd name="connsiteX86" fmla="*/ 2924175 w 8801100"/>
                  <a:gd name="connsiteY86" fmla="*/ 571500 h 1809750"/>
                  <a:gd name="connsiteX87" fmla="*/ 2926556 w 8801100"/>
                  <a:gd name="connsiteY87" fmla="*/ 640556 h 1809750"/>
                  <a:gd name="connsiteX88" fmla="*/ 2955131 w 8801100"/>
                  <a:gd name="connsiteY88" fmla="*/ 692944 h 1809750"/>
                  <a:gd name="connsiteX89" fmla="*/ 3002757 w 8801100"/>
                  <a:gd name="connsiteY89" fmla="*/ 747713 h 1809750"/>
                  <a:gd name="connsiteX90" fmla="*/ 2952750 w 8801100"/>
                  <a:gd name="connsiteY90" fmla="*/ 885825 h 1809750"/>
                  <a:gd name="connsiteX91" fmla="*/ 2883694 w 8801100"/>
                  <a:gd name="connsiteY91" fmla="*/ 952500 h 1809750"/>
                  <a:gd name="connsiteX92" fmla="*/ 2812256 w 8801100"/>
                  <a:gd name="connsiteY92" fmla="*/ 947738 h 1809750"/>
                  <a:gd name="connsiteX93" fmla="*/ 2774156 w 8801100"/>
                  <a:gd name="connsiteY93" fmla="*/ 1004888 h 1809750"/>
                  <a:gd name="connsiteX94" fmla="*/ 2714625 w 8801100"/>
                  <a:gd name="connsiteY94" fmla="*/ 1019175 h 1809750"/>
                  <a:gd name="connsiteX95" fmla="*/ 2645569 w 8801100"/>
                  <a:gd name="connsiteY95" fmla="*/ 959644 h 1809750"/>
                  <a:gd name="connsiteX96" fmla="*/ 2590800 w 8801100"/>
                  <a:gd name="connsiteY96" fmla="*/ 931069 h 1809750"/>
                  <a:gd name="connsiteX97" fmla="*/ 2547938 w 8801100"/>
                  <a:gd name="connsiteY97" fmla="*/ 945356 h 1809750"/>
                  <a:gd name="connsiteX98" fmla="*/ 2495550 w 8801100"/>
                  <a:gd name="connsiteY98" fmla="*/ 928688 h 1809750"/>
                  <a:gd name="connsiteX99" fmla="*/ 2428875 w 8801100"/>
                  <a:gd name="connsiteY99" fmla="*/ 873919 h 1809750"/>
                  <a:gd name="connsiteX100" fmla="*/ 2383631 w 8801100"/>
                  <a:gd name="connsiteY100" fmla="*/ 885825 h 1809750"/>
                  <a:gd name="connsiteX101" fmla="*/ 2362200 w 8801100"/>
                  <a:gd name="connsiteY101" fmla="*/ 854869 h 1809750"/>
                  <a:gd name="connsiteX102" fmla="*/ 2305050 w 8801100"/>
                  <a:gd name="connsiteY102" fmla="*/ 895350 h 1809750"/>
                  <a:gd name="connsiteX103" fmla="*/ 2188369 w 8801100"/>
                  <a:gd name="connsiteY103" fmla="*/ 873919 h 1809750"/>
                  <a:gd name="connsiteX104" fmla="*/ 2138363 w 8801100"/>
                  <a:gd name="connsiteY104" fmla="*/ 821531 h 1809750"/>
                  <a:gd name="connsiteX105" fmla="*/ 2095500 w 8801100"/>
                  <a:gd name="connsiteY105" fmla="*/ 807244 h 1809750"/>
                  <a:gd name="connsiteX106" fmla="*/ 2052638 w 8801100"/>
                  <a:gd name="connsiteY106" fmla="*/ 833438 h 1809750"/>
                  <a:gd name="connsiteX107" fmla="*/ 2000250 w 8801100"/>
                  <a:gd name="connsiteY107" fmla="*/ 742950 h 1809750"/>
                  <a:gd name="connsiteX108" fmla="*/ 1990725 w 8801100"/>
                  <a:gd name="connsiteY108" fmla="*/ 595312 h 1809750"/>
                  <a:gd name="connsiteX109" fmla="*/ 1938337 w 8801100"/>
                  <a:gd name="connsiteY109" fmla="*/ 588168 h 1809750"/>
                  <a:gd name="connsiteX110" fmla="*/ 1847850 w 8801100"/>
                  <a:gd name="connsiteY110" fmla="*/ 578644 h 1809750"/>
                  <a:gd name="connsiteX111" fmla="*/ 1793081 w 8801100"/>
                  <a:gd name="connsiteY111" fmla="*/ 540544 h 1809750"/>
                  <a:gd name="connsiteX112" fmla="*/ 1724025 w 8801100"/>
                  <a:gd name="connsiteY112" fmla="*/ 550069 h 1809750"/>
                  <a:gd name="connsiteX113" fmla="*/ 1678781 w 8801100"/>
                  <a:gd name="connsiteY113" fmla="*/ 523875 h 1809750"/>
                  <a:gd name="connsiteX114" fmla="*/ 1669257 w 8801100"/>
                  <a:gd name="connsiteY114" fmla="*/ 452438 h 1809750"/>
                  <a:gd name="connsiteX115" fmla="*/ 1645444 w 8801100"/>
                  <a:gd name="connsiteY115" fmla="*/ 438150 h 1809750"/>
                  <a:gd name="connsiteX116" fmla="*/ 1607344 w 8801100"/>
                  <a:gd name="connsiteY116" fmla="*/ 485774 h 1809750"/>
                  <a:gd name="connsiteX117" fmla="*/ 1528762 w 8801100"/>
                  <a:gd name="connsiteY117" fmla="*/ 411956 h 1809750"/>
                  <a:gd name="connsiteX118" fmla="*/ 1488281 w 8801100"/>
                  <a:gd name="connsiteY118" fmla="*/ 452438 h 1809750"/>
                  <a:gd name="connsiteX119" fmla="*/ 1412081 w 8801100"/>
                  <a:gd name="connsiteY119" fmla="*/ 438150 h 1809750"/>
                  <a:gd name="connsiteX120" fmla="*/ 1333500 w 8801100"/>
                  <a:gd name="connsiteY120" fmla="*/ 464344 h 1809750"/>
                  <a:gd name="connsiteX121" fmla="*/ 1273969 w 8801100"/>
                  <a:gd name="connsiteY121" fmla="*/ 511968 h 1809750"/>
                  <a:gd name="connsiteX122" fmla="*/ 1200150 w 8801100"/>
                  <a:gd name="connsiteY122" fmla="*/ 523875 h 1809750"/>
                  <a:gd name="connsiteX123" fmla="*/ 1164431 w 8801100"/>
                  <a:gd name="connsiteY123" fmla="*/ 516731 h 1809750"/>
                  <a:gd name="connsiteX124" fmla="*/ 1085851 w 8801100"/>
                  <a:gd name="connsiteY124" fmla="*/ 547688 h 1809750"/>
                  <a:gd name="connsiteX125" fmla="*/ 1064419 w 8801100"/>
                  <a:gd name="connsiteY125" fmla="*/ 576263 h 1809750"/>
                  <a:gd name="connsiteX126" fmla="*/ 997744 w 8801100"/>
                  <a:gd name="connsiteY126" fmla="*/ 566738 h 1809750"/>
                  <a:gd name="connsiteX127" fmla="*/ 928688 w 8801100"/>
                  <a:gd name="connsiteY127" fmla="*/ 590550 h 1809750"/>
                  <a:gd name="connsiteX128" fmla="*/ 873919 w 8801100"/>
                  <a:gd name="connsiteY128" fmla="*/ 628650 h 1809750"/>
                  <a:gd name="connsiteX129" fmla="*/ 778669 w 8801100"/>
                  <a:gd name="connsiteY129" fmla="*/ 642937 h 1809750"/>
                  <a:gd name="connsiteX130" fmla="*/ 764381 w 8801100"/>
                  <a:gd name="connsiteY130" fmla="*/ 664369 h 1809750"/>
                  <a:gd name="connsiteX131" fmla="*/ 776287 w 8801100"/>
                  <a:gd name="connsiteY131" fmla="*/ 709613 h 1809750"/>
                  <a:gd name="connsiteX132" fmla="*/ 676276 w 8801100"/>
                  <a:gd name="connsiteY132" fmla="*/ 762000 h 1809750"/>
                  <a:gd name="connsiteX133" fmla="*/ 638175 w 8801100"/>
                  <a:gd name="connsiteY133" fmla="*/ 733424 h 1809750"/>
                  <a:gd name="connsiteX134" fmla="*/ 607219 w 8801100"/>
                  <a:gd name="connsiteY134" fmla="*/ 790575 h 1809750"/>
                  <a:gd name="connsiteX135" fmla="*/ 550069 w 8801100"/>
                  <a:gd name="connsiteY135" fmla="*/ 752475 h 1809750"/>
                  <a:gd name="connsiteX136" fmla="*/ 514350 w 8801100"/>
                  <a:gd name="connsiteY136" fmla="*/ 781050 h 1809750"/>
                  <a:gd name="connsiteX137" fmla="*/ 478631 w 8801100"/>
                  <a:gd name="connsiteY137" fmla="*/ 745331 h 1809750"/>
                  <a:gd name="connsiteX138" fmla="*/ 426244 w 8801100"/>
                  <a:gd name="connsiteY138" fmla="*/ 757238 h 1809750"/>
                  <a:gd name="connsiteX139" fmla="*/ 381000 w 8801100"/>
                  <a:gd name="connsiteY139" fmla="*/ 728663 h 1809750"/>
                  <a:gd name="connsiteX140" fmla="*/ 357188 w 8801100"/>
                  <a:gd name="connsiteY140" fmla="*/ 747713 h 1809750"/>
                  <a:gd name="connsiteX141" fmla="*/ 333375 w 8801100"/>
                  <a:gd name="connsiteY141" fmla="*/ 807244 h 1809750"/>
                  <a:gd name="connsiteX142" fmla="*/ 261938 w 8801100"/>
                  <a:gd name="connsiteY142" fmla="*/ 845343 h 1809750"/>
                  <a:gd name="connsiteX143" fmla="*/ 209550 w 8801100"/>
                  <a:gd name="connsiteY143" fmla="*/ 816769 h 1809750"/>
                  <a:gd name="connsiteX144" fmla="*/ 119063 w 8801100"/>
                  <a:gd name="connsiteY144" fmla="*/ 826294 h 1809750"/>
                  <a:gd name="connsiteX145" fmla="*/ 71437 w 8801100"/>
                  <a:gd name="connsiteY145" fmla="*/ 792957 h 1809750"/>
                  <a:gd name="connsiteX146" fmla="*/ 0 w 8801100"/>
                  <a:gd name="connsiteY146" fmla="*/ 812006 h 1809750"/>
                  <a:gd name="connsiteX147" fmla="*/ 4762 w 8801100"/>
                  <a:gd name="connsiteY147" fmla="*/ 0 h 1809750"/>
                  <a:gd name="connsiteX148" fmla="*/ 8801100 w 8801100"/>
                  <a:gd name="connsiteY148" fmla="*/ 1809750 h 1809750"/>
                  <a:gd name="connsiteX149" fmla="*/ 8751093 w 8801100"/>
                  <a:gd name="connsiteY149" fmla="*/ 1769269 h 1809750"/>
                  <a:gd name="connsiteX150" fmla="*/ 8734425 w 8801100"/>
                  <a:gd name="connsiteY150" fmla="*/ 1714500 h 1809750"/>
                  <a:gd name="connsiteX151" fmla="*/ 8643938 w 8801100"/>
                  <a:gd name="connsiteY151" fmla="*/ 1652588 h 1809750"/>
                  <a:gd name="connsiteX152" fmla="*/ 8603456 w 8801100"/>
                  <a:gd name="connsiteY152" fmla="*/ 1631156 h 1809750"/>
                  <a:gd name="connsiteX153" fmla="*/ 8565356 w 8801100"/>
                  <a:gd name="connsiteY153" fmla="*/ 1585913 h 1809750"/>
                  <a:gd name="connsiteX154" fmla="*/ 8534400 w 8801100"/>
                  <a:gd name="connsiteY154" fmla="*/ 1583531 h 1809750"/>
                  <a:gd name="connsiteX155" fmla="*/ 8517731 w 8801100"/>
                  <a:gd name="connsiteY155" fmla="*/ 1531144 h 1809750"/>
                  <a:gd name="connsiteX156" fmla="*/ 8477250 w 8801100"/>
                  <a:gd name="connsiteY156" fmla="*/ 1514475 h 1809750"/>
                  <a:gd name="connsiteX157" fmla="*/ 8477250 w 8801100"/>
                  <a:gd name="connsiteY157" fmla="*/ 1514475 h 1809750"/>
                  <a:gd name="connsiteX158" fmla="*/ 8436769 w 8801100"/>
                  <a:gd name="connsiteY158" fmla="*/ 1519238 h 1809750"/>
                  <a:gd name="connsiteX159" fmla="*/ 8351043 w 8801100"/>
                  <a:gd name="connsiteY159" fmla="*/ 1445419 h 1809750"/>
                  <a:gd name="connsiteX160" fmla="*/ 8170069 w 8801100"/>
                  <a:gd name="connsiteY160" fmla="*/ 1445418 h 1809750"/>
                  <a:gd name="connsiteX161" fmla="*/ 8117681 w 8801100"/>
                  <a:gd name="connsiteY161" fmla="*/ 1483519 h 1809750"/>
                  <a:gd name="connsiteX162" fmla="*/ 8067675 w 8801100"/>
                  <a:gd name="connsiteY162" fmla="*/ 1562100 h 1809750"/>
                  <a:gd name="connsiteX163" fmla="*/ 8084344 w 8801100"/>
                  <a:gd name="connsiteY163" fmla="*/ 1583531 h 1809750"/>
                  <a:gd name="connsiteX164" fmla="*/ 8039100 w 8801100"/>
                  <a:gd name="connsiteY164" fmla="*/ 1633537 h 1809750"/>
                  <a:gd name="connsiteX165" fmla="*/ 7889081 w 8801100"/>
                  <a:gd name="connsiteY165" fmla="*/ 1557337 h 1809750"/>
                  <a:gd name="connsiteX166" fmla="*/ 7798594 w 8801100"/>
                  <a:gd name="connsiteY166" fmla="*/ 1593056 h 1809750"/>
                  <a:gd name="connsiteX167" fmla="*/ 7724775 w 8801100"/>
                  <a:gd name="connsiteY167" fmla="*/ 1590675 h 1809750"/>
                  <a:gd name="connsiteX168" fmla="*/ 7667625 w 8801100"/>
                  <a:gd name="connsiteY168" fmla="*/ 1685925 h 1809750"/>
                  <a:gd name="connsiteX169" fmla="*/ 7529513 w 8801100"/>
                  <a:gd name="connsiteY169" fmla="*/ 1588294 h 1809750"/>
                  <a:gd name="connsiteX0" fmla="*/ 7529513 w 8751093"/>
                  <a:gd name="connsiteY0" fmla="*/ 1588294 h 1769269"/>
                  <a:gd name="connsiteX1" fmla="*/ 7522369 w 8751093"/>
                  <a:gd name="connsiteY1" fmla="*/ 1533525 h 1769269"/>
                  <a:gd name="connsiteX2" fmla="*/ 7589044 w 8751093"/>
                  <a:gd name="connsiteY2" fmla="*/ 1459706 h 1769269"/>
                  <a:gd name="connsiteX3" fmla="*/ 7572375 w 8751093"/>
                  <a:gd name="connsiteY3" fmla="*/ 1388269 h 1769269"/>
                  <a:gd name="connsiteX4" fmla="*/ 7586663 w 8751093"/>
                  <a:gd name="connsiteY4" fmla="*/ 1293019 h 1769269"/>
                  <a:gd name="connsiteX5" fmla="*/ 7624763 w 8751093"/>
                  <a:gd name="connsiteY5" fmla="*/ 1235869 h 1769269"/>
                  <a:gd name="connsiteX6" fmla="*/ 7605712 w 8751093"/>
                  <a:gd name="connsiteY6" fmla="*/ 1202531 h 1769269"/>
                  <a:gd name="connsiteX7" fmla="*/ 7703343 w 8751093"/>
                  <a:gd name="connsiteY7" fmla="*/ 802481 h 1769269"/>
                  <a:gd name="connsiteX8" fmla="*/ 7696200 w 8751093"/>
                  <a:gd name="connsiteY8" fmla="*/ 773906 h 1769269"/>
                  <a:gd name="connsiteX9" fmla="*/ 7567613 w 8751093"/>
                  <a:gd name="connsiteY9" fmla="*/ 752475 h 1769269"/>
                  <a:gd name="connsiteX10" fmla="*/ 7384257 w 8751093"/>
                  <a:gd name="connsiteY10" fmla="*/ 831056 h 1769269"/>
                  <a:gd name="connsiteX11" fmla="*/ 7227093 w 8751093"/>
                  <a:gd name="connsiteY11" fmla="*/ 716756 h 1769269"/>
                  <a:gd name="connsiteX12" fmla="*/ 7150894 w 8751093"/>
                  <a:gd name="connsiteY12" fmla="*/ 723900 h 1769269"/>
                  <a:gd name="connsiteX13" fmla="*/ 7077075 w 8751093"/>
                  <a:gd name="connsiteY13" fmla="*/ 719138 h 1769269"/>
                  <a:gd name="connsiteX14" fmla="*/ 6938963 w 8751093"/>
                  <a:gd name="connsiteY14" fmla="*/ 823913 h 1769269"/>
                  <a:gd name="connsiteX15" fmla="*/ 6831806 w 8751093"/>
                  <a:gd name="connsiteY15" fmla="*/ 931069 h 1769269"/>
                  <a:gd name="connsiteX16" fmla="*/ 6788944 w 8751093"/>
                  <a:gd name="connsiteY16" fmla="*/ 1000125 h 1769269"/>
                  <a:gd name="connsiteX17" fmla="*/ 6796088 w 8751093"/>
                  <a:gd name="connsiteY17" fmla="*/ 1035844 h 1769269"/>
                  <a:gd name="connsiteX18" fmla="*/ 6734175 w 8751093"/>
                  <a:gd name="connsiteY18" fmla="*/ 1047750 h 1769269"/>
                  <a:gd name="connsiteX19" fmla="*/ 6753225 w 8751093"/>
                  <a:gd name="connsiteY19" fmla="*/ 1047750 h 1769269"/>
                  <a:gd name="connsiteX20" fmla="*/ 6719888 w 8751093"/>
                  <a:gd name="connsiteY20" fmla="*/ 1078706 h 1769269"/>
                  <a:gd name="connsiteX21" fmla="*/ 6619875 w 8751093"/>
                  <a:gd name="connsiteY21" fmla="*/ 1078707 h 1769269"/>
                  <a:gd name="connsiteX22" fmla="*/ 6524625 w 8751093"/>
                  <a:gd name="connsiteY22" fmla="*/ 1133475 h 1769269"/>
                  <a:gd name="connsiteX23" fmla="*/ 6443663 w 8751093"/>
                  <a:gd name="connsiteY23" fmla="*/ 1143000 h 1769269"/>
                  <a:gd name="connsiteX24" fmla="*/ 6403181 w 8751093"/>
                  <a:gd name="connsiteY24" fmla="*/ 1176338 h 1769269"/>
                  <a:gd name="connsiteX25" fmla="*/ 6353175 w 8751093"/>
                  <a:gd name="connsiteY25" fmla="*/ 1181100 h 1769269"/>
                  <a:gd name="connsiteX26" fmla="*/ 6231732 w 8751093"/>
                  <a:gd name="connsiteY26" fmla="*/ 1273969 h 1769269"/>
                  <a:gd name="connsiteX27" fmla="*/ 6172200 w 8751093"/>
                  <a:gd name="connsiteY27" fmla="*/ 1278731 h 1769269"/>
                  <a:gd name="connsiteX28" fmla="*/ 6119813 w 8751093"/>
                  <a:gd name="connsiteY28" fmla="*/ 1243013 h 1769269"/>
                  <a:gd name="connsiteX29" fmla="*/ 6093619 w 8751093"/>
                  <a:gd name="connsiteY29" fmla="*/ 1278731 h 1769269"/>
                  <a:gd name="connsiteX30" fmla="*/ 5895975 w 8751093"/>
                  <a:gd name="connsiteY30" fmla="*/ 1271588 h 1769269"/>
                  <a:gd name="connsiteX31" fmla="*/ 5834063 w 8751093"/>
                  <a:gd name="connsiteY31" fmla="*/ 1226344 h 1769269"/>
                  <a:gd name="connsiteX32" fmla="*/ 5636419 w 8751093"/>
                  <a:gd name="connsiteY32" fmla="*/ 1243013 h 1769269"/>
                  <a:gd name="connsiteX33" fmla="*/ 5548313 w 8751093"/>
                  <a:gd name="connsiteY33" fmla="*/ 1159668 h 1769269"/>
                  <a:gd name="connsiteX34" fmla="*/ 5472113 w 8751093"/>
                  <a:gd name="connsiteY34" fmla="*/ 1114425 h 1769269"/>
                  <a:gd name="connsiteX35" fmla="*/ 5474493 w 8751093"/>
                  <a:gd name="connsiteY35" fmla="*/ 1057275 h 1769269"/>
                  <a:gd name="connsiteX36" fmla="*/ 5455444 w 8751093"/>
                  <a:gd name="connsiteY36" fmla="*/ 1014412 h 1769269"/>
                  <a:gd name="connsiteX37" fmla="*/ 5360194 w 8751093"/>
                  <a:gd name="connsiteY37" fmla="*/ 1016794 h 1769269"/>
                  <a:gd name="connsiteX38" fmla="*/ 5264944 w 8751093"/>
                  <a:gd name="connsiteY38" fmla="*/ 995363 h 1769269"/>
                  <a:gd name="connsiteX39" fmla="*/ 5195887 w 8751093"/>
                  <a:gd name="connsiteY39" fmla="*/ 928687 h 1769269"/>
                  <a:gd name="connsiteX40" fmla="*/ 5160169 w 8751093"/>
                  <a:gd name="connsiteY40" fmla="*/ 885825 h 1769269"/>
                  <a:gd name="connsiteX41" fmla="*/ 5079206 w 8751093"/>
                  <a:gd name="connsiteY41" fmla="*/ 862012 h 1769269"/>
                  <a:gd name="connsiteX42" fmla="*/ 5005388 w 8751093"/>
                  <a:gd name="connsiteY42" fmla="*/ 873918 h 1769269"/>
                  <a:gd name="connsiteX43" fmla="*/ 4948237 w 8751093"/>
                  <a:gd name="connsiteY43" fmla="*/ 821531 h 1769269"/>
                  <a:gd name="connsiteX44" fmla="*/ 4852988 w 8751093"/>
                  <a:gd name="connsiteY44" fmla="*/ 833438 h 1769269"/>
                  <a:gd name="connsiteX45" fmla="*/ 4800600 w 8751093"/>
                  <a:gd name="connsiteY45" fmla="*/ 807244 h 1769269"/>
                  <a:gd name="connsiteX46" fmla="*/ 4719638 w 8751093"/>
                  <a:gd name="connsiteY46" fmla="*/ 850106 h 1769269"/>
                  <a:gd name="connsiteX47" fmla="*/ 4581525 w 8751093"/>
                  <a:gd name="connsiteY47" fmla="*/ 873919 h 1769269"/>
                  <a:gd name="connsiteX48" fmla="*/ 4452938 w 8751093"/>
                  <a:gd name="connsiteY48" fmla="*/ 966788 h 1769269"/>
                  <a:gd name="connsiteX49" fmla="*/ 4405312 w 8751093"/>
                  <a:gd name="connsiteY49" fmla="*/ 928688 h 1769269"/>
                  <a:gd name="connsiteX50" fmla="*/ 4383881 w 8751093"/>
                  <a:gd name="connsiteY50" fmla="*/ 959643 h 1769269"/>
                  <a:gd name="connsiteX51" fmla="*/ 4310063 w 8751093"/>
                  <a:gd name="connsiteY51" fmla="*/ 909638 h 1769269"/>
                  <a:gd name="connsiteX52" fmla="*/ 4271963 w 8751093"/>
                  <a:gd name="connsiteY52" fmla="*/ 916781 h 1769269"/>
                  <a:gd name="connsiteX53" fmla="*/ 4250531 w 8751093"/>
                  <a:gd name="connsiteY53" fmla="*/ 878681 h 1769269"/>
                  <a:gd name="connsiteX54" fmla="*/ 4191000 w 8751093"/>
                  <a:gd name="connsiteY54" fmla="*/ 883444 h 1769269"/>
                  <a:gd name="connsiteX55" fmla="*/ 4145756 w 8751093"/>
                  <a:gd name="connsiteY55" fmla="*/ 854869 h 1769269"/>
                  <a:gd name="connsiteX56" fmla="*/ 4107656 w 8751093"/>
                  <a:gd name="connsiteY56" fmla="*/ 852488 h 1769269"/>
                  <a:gd name="connsiteX57" fmla="*/ 4088606 w 8751093"/>
                  <a:gd name="connsiteY57" fmla="*/ 804862 h 1769269"/>
                  <a:gd name="connsiteX58" fmla="*/ 4074319 w 8751093"/>
                  <a:gd name="connsiteY58" fmla="*/ 773906 h 1769269"/>
                  <a:gd name="connsiteX59" fmla="*/ 4029075 w 8751093"/>
                  <a:gd name="connsiteY59" fmla="*/ 783431 h 1769269"/>
                  <a:gd name="connsiteX60" fmla="*/ 4010025 w 8751093"/>
                  <a:gd name="connsiteY60" fmla="*/ 747713 h 1769269"/>
                  <a:gd name="connsiteX61" fmla="*/ 4031457 w 8751093"/>
                  <a:gd name="connsiteY61" fmla="*/ 692944 h 1769269"/>
                  <a:gd name="connsiteX62" fmla="*/ 4000500 w 8751093"/>
                  <a:gd name="connsiteY62" fmla="*/ 666750 h 1769269"/>
                  <a:gd name="connsiteX63" fmla="*/ 4017169 w 8751093"/>
                  <a:gd name="connsiteY63" fmla="*/ 623888 h 1769269"/>
                  <a:gd name="connsiteX64" fmla="*/ 3990975 w 8751093"/>
                  <a:gd name="connsiteY64" fmla="*/ 581025 h 1769269"/>
                  <a:gd name="connsiteX65" fmla="*/ 3986213 w 8751093"/>
                  <a:gd name="connsiteY65" fmla="*/ 519113 h 1769269"/>
                  <a:gd name="connsiteX66" fmla="*/ 4010025 w 8751093"/>
                  <a:gd name="connsiteY66" fmla="*/ 454818 h 1769269"/>
                  <a:gd name="connsiteX67" fmla="*/ 3971925 w 8751093"/>
                  <a:gd name="connsiteY67" fmla="*/ 457200 h 1769269"/>
                  <a:gd name="connsiteX68" fmla="*/ 3852863 w 8751093"/>
                  <a:gd name="connsiteY68" fmla="*/ 400050 h 1769269"/>
                  <a:gd name="connsiteX69" fmla="*/ 3814762 w 8751093"/>
                  <a:gd name="connsiteY69" fmla="*/ 404812 h 1769269"/>
                  <a:gd name="connsiteX70" fmla="*/ 3609975 w 8751093"/>
                  <a:gd name="connsiteY70" fmla="*/ 295275 h 1769269"/>
                  <a:gd name="connsiteX71" fmla="*/ 3505200 w 8751093"/>
                  <a:gd name="connsiteY71" fmla="*/ 264319 h 1769269"/>
                  <a:gd name="connsiteX72" fmla="*/ 3440906 w 8751093"/>
                  <a:gd name="connsiteY72" fmla="*/ 273843 h 1769269"/>
                  <a:gd name="connsiteX73" fmla="*/ 3409950 w 8751093"/>
                  <a:gd name="connsiteY73" fmla="*/ 209550 h 1769269"/>
                  <a:gd name="connsiteX74" fmla="*/ 3352800 w 8751093"/>
                  <a:gd name="connsiteY74" fmla="*/ 209550 h 1769269"/>
                  <a:gd name="connsiteX75" fmla="*/ 3214687 w 8751093"/>
                  <a:gd name="connsiteY75" fmla="*/ 104775 h 1769269"/>
                  <a:gd name="connsiteX76" fmla="*/ 3181350 w 8751093"/>
                  <a:gd name="connsiteY76" fmla="*/ 164307 h 1769269"/>
                  <a:gd name="connsiteX77" fmla="*/ 3126581 w 8751093"/>
                  <a:gd name="connsiteY77" fmla="*/ 233363 h 1769269"/>
                  <a:gd name="connsiteX78" fmla="*/ 3083719 w 8751093"/>
                  <a:gd name="connsiteY78" fmla="*/ 250031 h 1769269"/>
                  <a:gd name="connsiteX79" fmla="*/ 3052763 w 8751093"/>
                  <a:gd name="connsiteY79" fmla="*/ 242888 h 1769269"/>
                  <a:gd name="connsiteX80" fmla="*/ 3028950 w 8751093"/>
                  <a:gd name="connsiteY80" fmla="*/ 271463 h 1769269"/>
                  <a:gd name="connsiteX81" fmla="*/ 3002756 w 8751093"/>
                  <a:gd name="connsiteY81" fmla="*/ 350044 h 1769269"/>
                  <a:gd name="connsiteX82" fmla="*/ 2959894 w 8751093"/>
                  <a:gd name="connsiteY82" fmla="*/ 347663 h 1769269"/>
                  <a:gd name="connsiteX83" fmla="*/ 2928937 w 8751093"/>
                  <a:gd name="connsiteY83" fmla="*/ 409575 h 1769269"/>
                  <a:gd name="connsiteX84" fmla="*/ 2924175 w 8751093"/>
                  <a:gd name="connsiteY84" fmla="*/ 473869 h 1769269"/>
                  <a:gd name="connsiteX85" fmla="*/ 2897982 w 8751093"/>
                  <a:gd name="connsiteY85" fmla="*/ 511969 h 1769269"/>
                  <a:gd name="connsiteX86" fmla="*/ 2924175 w 8751093"/>
                  <a:gd name="connsiteY86" fmla="*/ 571500 h 1769269"/>
                  <a:gd name="connsiteX87" fmla="*/ 2926556 w 8751093"/>
                  <a:gd name="connsiteY87" fmla="*/ 640556 h 1769269"/>
                  <a:gd name="connsiteX88" fmla="*/ 2955131 w 8751093"/>
                  <a:gd name="connsiteY88" fmla="*/ 692944 h 1769269"/>
                  <a:gd name="connsiteX89" fmla="*/ 3002757 w 8751093"/>
                  <a:gd name="connsiteY89" fmla="*/ 747713 h 1769269"/>
                  <a:gd name="connsiteX90" fmla="*/ 2952750 w 8751093"/>
                  <a:gd name="connsiteY90" fmla="*/ 885825 h 1769269"/>
                  <a:gd name="connsiteX91" fmla="*/ 2883694 w 8751093"/>
                  <a:gd name="connsiteY91" fmla="*/ 952500 h 1769269"/>
                  <a:gd name="connsiteX92" fmla="*/ 2812256 w 8751093"/>
                  <a:gd name="connsiteY92" fmla="*/ 947738 h 1769269"/>
                  <a:gd name="connsiteX93" fmla="*/ 2774156 w 8751093"/>
                  <a:gd name="connsiteY93" fmla="*/ 1004888 h 1769269"/>
                  <a:gd name="connsiteX94" fmla="*/ 2714625 w 8751093"/>
                  <a:gd name="connsiteY94" fmla="*/ 1019175 h 1769269"/>
                  <a:gd name="connsiteX95" fmla="*/ 2645569 w 8751093"/>
                  <a:gd name="connsiteY95" fmla="*/ 959644 h 1769269"/>
                  <a:gd name="connsiteX96" fmla="*/ 2590800 w 8751093"/>
                  <a:gd name="connsiteY96" fmla="*/ 931069 h 1769269"/>
                  <a:gd name="connsiteX97" fmla="*/ 2547938 w 8751093"/>
                  <a:gd name="connsiteY97" fmla="*/ 945356 h 1769269"/>
                  <a:gd name="connsiteX98" fmla="*/ 2495550 w 8751093"/>
                  <a:gd name="connsiteY98" fmla="*/ 928688 h 1769269"/>
                  <a:gd name="connsiteX99" fmla="*/ 2428875 w 8751093"/>
                  <a:gd name="connsiteY99" fmla="*/ 873919 h 1769269"/>
                  <a:gd name="connsiteX100" fmla="*/ 2383631 w 8751093"/>
                  <a:gd name="connsiteY100" fmla="*/ 885825 h 1769269"/>
                  <a:gd name="connsiteX101" fmla="*/ 2362200 w 8751093"/>
                  <a:gd name="connsiteY101" fmla="*/ 854869 h 1769269"/>
                  <a:gd name="connsiteX102" fmla="*/ 2305050 w 8751093"/>
                  <a:gd name="connsiteY102" fmla="*/ 895350 h 1769269"/>
                  <a:gd name="connsiteX103" fmla="*/ 2188369 w 8751093"/>
                  <a:gd name="connsiteY103" fmla="*/ 873919 h 1769269"/>
                  <a:gd name="connsiteX104" fmla="*/ 2138363 w 8751093"/>
                  <a:gd name="connsiteY104" fmla="*/ 821531 h 1769269"/>
                  <a:gd name="connsiteX105" fmla="*/ 2095500 w 8751093"/>
                  <a:gd name="connsiteY105" fmla="*/ 807244 h 1769269"/>
                  <a:gd name="connsiteX106" fmla="*/ 2052638 w 8751093"/>
                  <a:gd name="connsiteY106" fmla="*/ 833438 h 1769269"/>
                  <a:gd name="connsiteX107" fmla="*/ 2000250 w 8751093"/>
                  <a:gd name="connsiteY107" fmla="*/ 742950 h 1769269"/>
                  <a:gd name="connsiteX108" fmla="*/ 1990725 w 8751093"/>
                  <a:gd name="connsiteY108" fmla="*/ 595312 h 1769269"/>
                  <a:gd name="connsiteX109" fmla="*/ 1938337 w 8751093"/>
                  <a:gd name="connsiteY109" fmla="*/ 588168 h 1769269"/>
                  <a:gd name="connsiteX110" fmla="*/ 1847850 w 8751093"/>
                  <a:gd name="connsiteY110" fmla="*/ 578644 h 1769269"/>
                  <a:gd name="connsiteX111" fmla="*/ 1793081 w 8751093"/>
                  <a:gd name="connsiteY111" fmla="*/ 540544 h 1769269"/>
                  <a:gd name="connsiteX112" fmla="*/ 1724025 w 8751093"/>
                  <a:gd name="connsiteY112" fmla="*/ 550069 h 1769269"/>
                  <a:gd name="connsiteX113" fmla="*/ 1678781 w 8751093"/>
                  <a:gd name="connsiteY113" fmla="*/ 523875 h 1769269"/>
                  <a:gd name="connsiteX114" fmla="*/ 1669257 w 8751093"/>
                  <a:gd name="connsiteY114" fmla="*/ 452438 h 1769269"/>
                  <a:gd name="connsiteX115" fmla="*/ 1645444 w 8751093"/>
                  <a:gd name="connsiteY115" fmla="*/ 438150 h 1769269"/>
                  <a:gd name="connsiteX116" fmla="*/ 1607344 w 8751093"/>
                  <a:gd name="connsiteY116" fmla="*/ 485774 h 1769269"/>
                  <a:gd name="connsiteX117" fmla="*/ 1528762 w 8751093"/>
                  <a:gd name="connsiteY117" fmla="*/ 411956 h 1769269"/>
                  <a:gd name="connsiteX118" fmla="*/ 1488281 w 8751093"/>
                  <a:gd name="connsiteY118" fmla="*/ 452438 h 1769269"/>
                  <a:gd name="connsiteX119" fmla="*/ 1412081 w 8751093"/>
                  <a:gd name="connsiteY119" fmla="*/ 438150 h 1769269"/>
                  <a:gd name="connsiteX120" fmla="*/ 1333500 w 8751093"/>
                  <a:gd name="connsiteY120" fmla="*/ 464344 h 1769269"/>
                  <a:gd name="connsiteX121" fmla="*/ 1273969 w 8751093"/>
                  <a:gd name="connsiteY121" fmla="*/ 511968 h 1769269"/>
                  <a:gd name="connsiteX122" fmla="*/ 1200150 w 8751093"/>
                  <a:gd name="connsiteY122" fmla="*/ 523875 h 1769269"/>
                  <a:gd name="connsiteX123" fmla="*/ 1164431 w 8751093"/>
                  <a:gd name="connsiteY123" fmla="*/ 516731 h 1769269"/>
                  <a:gd name="connsiteX124" fmla="*/ 1085851 w 8751093"/>
                  <a:gd name="connsiteY124" fmla="*/ 547688 h 1769269"/>
                  <a:gd name="connsiteX125" fmla="*/ 1064419 w 8751093"/>
                  <a:gd name="connsiteY125" fmla="*/ 576263 h 1769269"/>
                  <a:gd name="connsiteX126" fmla="*/ 997744 w 8751093"/>
                  <a:gd name="connsiteY126" fmla="*/ 566738 h 1769269"/>
                  <a:gd name="connsiteX127" fmla="*/ 928688 w 8751093"/>
                  <a:gd name="connsiteY127" fmla="*/ 590550 h 1769269"/>
                  <a:gd name="connsiteX128" fmla="*/ 873919 w 8751093"/>
                  <a:gd name="connsiteY128" fmla="*/ 628650 h 1769269"/>
                  <a:gd name="connsiteX129" fmla="*/ 778669 w 8751093"/>
                  <a:gd name="connsiteY129" fmla="*/ 642937 h 1769269"/>
                  <a:gd name="connsiteX130" fmla="*/ 764381 w 8751093"/>
                  <a:gd name="connsiteY130" fmla="*/ 664369 h 1769269"/>
                  <a:gd name="connsiteX131" fmla="*/ 776287 w 8751093"/>
                  <a:gd name="connsiteY131" fmla="*/ 709613 h 1769269"/>
                  <a:gd name="connsiteX132" fmla="*/ 676276 w 8751093"/>
                  <a:gd name="connsiteY132" fmla="*/ 762000 h 1769269"/>
                  <a:gd name="connsiteX133" fmla="*/ 638175 w 8751093"/>
                  <a:gd name="connsiteY133" fmla="*/ 733424 h 1769269"/>
                  <a:gd name="connsiteX134" fmla="*/ 607219 w 8751093"/>
                  <a:gd name="connsiteY134" fmla="*/ 790575 h 1769269"/>
                  <a:gd name="connsiteX135" fmla="*/ 550069 w 8751093"/>
                  <a:gd name="connsiteY135" fmla="*/ 752475 h 1769269"/>
                  <a:gd name="connsiteX136" fmla="*/ 514350 w 8751093"/>
                  <a:gd name="connsiteY136" fmla="*/ 781050 h 1769269"/>
                  <a:gd name="connsiteX137" fmla="*/ 478631 w 8751093"/>
                  <a:gd name="connsiteY137" fmla="*/ 745331 h 1769269"/>
                  <a:gd name="connsiteX138" fmla="*/ 426244 w 8751093"/>
                  <a:gd name="connsiteY138" fmla="*/ 757238 h 1769269"/>
                  <a:gd name="connsiteX139" fmla="*/ 381000 w 8751093"/>
                  <a:gd name="connsiteY139" fmla="*/ 728663 h 1769269"/>
                  <a:gd name="connsiteX140" fmla="*/ 357188 w 8751093"/>
                  <a:gd name="connsiteY140" fmla="*/ 747713 h 1769269"/>
                  <a:gd name="connsiteX141" fmla="*/ 333375 w 8751093"/>
                  <a:gd name="connsiteY141" fmla="*/ 807244 h 1769269"/>
                  <a:gd name="connsiteX142" fmla="*/ 261938 w 8751093"/>
                  <a:gd name="connsiteY142" fmla="*/ 845343 h 1769269"/>
                  <a:gd name="connsiteX143" fmla="*/ 209550 w 8751093"/>
                  <a:gd name="connsiteY143" fmla="*/ 816769 h 1769269"/>
                  <a:gd name="connsiteX144" fmla="*/ 119063 w 8751093"/>
                  <a:gd name="connsiteY144" fmla="*/ 826294 h 1769269"/>
                  <a:gd name="connsiteX145" fmla="*/ 71437 w 8751093"/>
                  <a:gd name="connsiteY145" fmla="*/ 792957 h 1769269"/>
                  <a:gd name="connsiteX146" fmla="*/ 0 w 8751093"/>
                  <a:gd name="connsiteY146" fmla="*/ 812006 h 1769269"/>
                  <a:gd name="connsiteX147" fmla="*/ 4762 w 8751093"/>
                  <a:gd name="connsiteY147" fmla="*/ 0 h 1769269"/>
                  <a:gd name="connsiteX148" fmla="*/ 8751093 w 8751093"/>
                  <a:gd name="connsiteY148" fmla="*/ 1769269 h 1769269"/>
                  <a:gd name="connsiteX149" fmla="*/ 8734425 w 8751093"/>
                  <a:gd name="connsiteY149" fmla="*/ 1714500 h 1769269"/>
                  <a:gd name="connsiteX150" fmla="*/ 8643938 w 8751093"/>
                  <a:gd name="connsiteY150" fmla="*/ 1652588 h 1769269"/>
                  <a:gd name="connsiteX151" fmla="*/ 8603456 w 8751093"/>
                  <a:gd name="connsiteY151" fmla="*/ 1631156 h 1769269"/>
                  <a:gd name="connsiteX152" fmla="*/ 8565356 w 8751093"/>
                  <a:gd name="connsiteY152" fmla="*/ 1585913 h 1769269"/>
                  <a:gd name="connsiteX153" fmla="*/ 8534400 w 8751093"/>
                  <a:gd name="connsiteY153" fmla="*/ 1583531 h 1769269"/>
                  <a:gd name="connsiteX154" fmla="*/ 8517731 w 8751093"/>
                  <a:gd name="connsiteY154" fmla="*/ 1531144 h 1769269"/>
                  <a:gd name="connsiteX155" fmla="*/ 8477250 w 8751093"/>
                  <a:gd name="connsiteY155" fmla="*/ 1514475 h 1769269"/>
                  <a:gd name="connsiteX156" fmla="*/ 8477250 w 8751093"/>
                  <a:gd name="connsiteY156" fmla="*/ 1514475 h 1769269"/>
                  <a:gd name="connsiteX157" fmla="*/ 8436769 w 8751093"/>
                  <a:gd name="connsiteY157" fmla="*/ 1519238 h 1769269"/>
                  <a:gd name="connsiteX158" fmla="*/ 8351043 w 8751093"/>
                  <a:gd name="connsiteY158" fmla="*/ 1445419 h 1769269"/>
                  <a:gd name="connsiteX159" fmla="*/ 8170069 w 8751093"/>
                  <a:gd name="connsiteY159" fmla="*/ 1445418 h 1769269"/>
                  <a:gd name="connsiteX160" fmla="*/ 8117681 w 8751093"/>
                  <a:gd name="connsiteY160" fmla="*/ 1483519 h 1769269"/>
                  <a:gd name="connsiteX161" fmla="*/ 8067675 w 8751093"/>
                  <a:gd name="connsiteY161" fmla="*/ 1562100 h 1769269"/>
                  <a:gd name="connsiteX162" fmla="*/ 8084344 w 8751093"/>
                  <a:gd name="connsiteY162" fmla="*/ 1583531 h 1769269"/>
                  <a:gd name="connsiteX163" fmla="*/ 8039100 w 8751093"/>
                  <a:gd name="connsiteY163" fmla="*/ 1633537 h 1769269"/>
                  <a:gd name="connsiteX164" fmla="*/ 7889081 w 8751093"/>
                  <a:gd name="connsiteY164" fmla="*/ 1557337 h 1769269"/>
                  <a:gd name="connsiteX165" fmla="*/ 7798594 w 8751093"/>
                  <a:gd name="connsiteY165" fmla="*/ 1593056 h 1769269"/>
                  <a:gd name="connsiteX166" fmla="*/ 7724775 w 8751093"/>
                  <a:gd name="connsiteY166" fmla="*/ 1590675 h 1769269"/>
                  <a:gd name="connsiteX167" fmla="*/ 7667625 w 8751093"/>
                  <a:gd name="connsiteY167" fmla="*/ 1685925 h 1769269"/>
                  <a:gd name="connsiteX168" fmla="*/ 7529513 w 8751093"/>
                  <a:gd name="connsiteY168" fmla="*/ 1588294 h 1769269"/>
                  <a:gd name="connsiteX0" fmla="*/ 7529513 w 8734425"/>
                  <a:gd name="connsiteY0" fmla="*/ 1588294 h 1714500"/>
                  <a:gd name="connsiteX1" fmla="*/ 7522369 w 8734425"/>
                  <a:gd name="connsiteY1" fmla="*/ 1533525 h 1714500"/>
                  <a:gd name="connsiteX2" fmla="*/ 7589044 w 8734425"/>
                  <a:gd name="connsiteY2" fmla="*/ 1459706 h 1714500"/>
                  <a:gd name="connsiteX3" fmla="*/ 7572375 w 8734425"/>
                  <a:gd name="connsiteY3" fmla="*/ 1388269 h 1714500"/>
                  <a:gd name="connsiteX4" fmla="*/ 7586663 w 8734425"/>
                  <a:gd name="connsiteY4" fmla="*/ 1293019 h 1714500"/>
                  <a:gd name="connsiteX5" fmla="*/ 7624763 w 8734425"/>
                  <a:gd name="connsiteY5" fmla="*/ 1235869 h 1714500"/>
                  <a:gd name="connsiteX6" fmla="*/ 7605712 w 8734425"/>
                  <a:gd name="connsiteY6" fmla="*/ 1202531 h 1714500"/>
                  <a:gd name="connsiteX7" fmla="*/ 7703343 w 8734425"/>
                  <a:gd name="connsiteY7" fmla="*/ 802481 h 1714500"/>
                  <a:gd name="connsiteX8" fmla="*/ 7696200 w 8734425"/>
                  <a:gd name="connsiteY8" fmla="*/ 773906 h 1714500"/>
                  <a:gd name="connsiteX9" fmla="*/ 7567613 w 8734425"/>
                  <a:gd name="connsiteY9" fmla="*/ 752475 h 1714500"/>
                  <a:gd name="connsiteX10" fmla="*/ 7384257 w 8734425"/>
                  <a:gd name="connsiteY10" fmla="*/ 831056 h 1714500"/>
                  <a:gd name="connsiteX11" fmla="*/ 7227093 w 8734425"/>
                  <a:gd name="connsiteY11" fmla="*/ 716756 h 1714500"/>
                  <a:gd name="connsiteX12" fmla="*/ 7150894 w 8734425"/>
                  <a:gd name="connsiteY12" fmla="*/ 723900 h 1714500"/>
                  <a:gd name="connsiteX13" fmla="*/ 7077075 w 8734425"/>
                  <a:gd name="connsiteY13" fmla="*/ 719138 h 1714500"/>
                  <a:gd name="connsiteX14" fmla="*/ 6938963 w 8734425"/>
                  <a:gd name="connsiteY14" fmla="*/ 823913 h 1714500"/>
                  <a:gd name="connsiteX15" fmla="*/ 6831806 w 8734425"/>
                  <a:gd name="connsiteY15" fmla="*/ 931069 h 1714500"/>
                  <a:gd name="connsiteX16" fmla="*/ 6788944 w 8734425"/>
                  <a:gd name="connsiteY16" fmla="*/ 1000125 h 1714500"/>
                  <a:gd name="connsiteX17" fmla="*/ 6796088 w 8734425"/>
                  <a:gd name="connsiteY17" fmla="*/ 1035844 h 1714500"/>
                  <a:gd name="connsiteX18" fmla="*/ 6734175 w 8734425"/>
                  <a:gd name="connsiteY18" fmla="*/ 1047750 h 1714500"/>
                  <a:gd name="connsiteX19" fmla="*/ 6753225 w 8734425"/>
                  <a:gd name="connsiteY19" fmla="*/ 1047750 h 1714500"/>
                  <a:gd name="connsiteX20" fmla="*/ 6719888 w 8734425"/>
                  <a:gd name="connsiteY20" fmla="*/ 1078706 h 1714500"/>
                  <a:gd name="connsiteX21" fmla="*/ 6619875 w 8734425"/>
                  <a:gd name="connsiteY21" fmla="*/ 1078707 h 1714500"/>
                  <a:gd name="connsiteX22" fmla="*/ 6524625 w 8734425"/>
                  <a:gd name="connsiteY22" fmla="*/ 1133475 h 1714500"/>
                  <a:gd name="connsiteX23" fmla="*/ 6443663 w 8734425"/>
                  <a:gd name="connsiteY23" fmla="*/ 1143000 h 1714500"/>
                  <a:gd name="connsiteX24" fmla="*/ 6403181 w 8734425"/>
                  <a:gd name="connsiteY24" fmla="*/ 1176338 h 1714500"/>
                  <a:gd name="connsiteX25" fmla="*/ 6353175 w 8734425"/>
                  <a:gd name="connsiteY25" fmla="*/ 1181100 h 1714500"/>
                  <a:gd name="connsiteX26" fmla="*/ 6231732 w 8734425"/>
                  <a:gd name="connsiteY26" fmla="*/ 1273969 h 1714500"/>
                  <a:gd name="connsiteX27" fmla="*/ 6172200 w 8734425"/>
                  <a:gd name="connsiteY27" fmla="*/ 1278731 h 1714500"/>
                  <a:gd name="connsiteX28" fmla="*/ 6119813 w 8734425"/>
                  <a:gd name="connsiteY28" fmla="*/ 1243013 h 1714500"/>
                  <a:gd name="connsiteX29" fmla="*/ 6093619 w 8734425"/>
                  <a:gd name="connsiteY29" fmla="*/ 1278731 h 1714500"/>
                  <a:gd name="connsiteX30" fmla="*/ 5895975 w 8734425"/>
                  <a:gd name="connsiteY30" fmla="*/ 1271588 h 1714500"/>
                  <a:gd name="connsiteX31" fmla="*/ 5834063 w 8734425"/>
                  <a:gd name="connsiteY31" fmla="*/ 1226344 h 1714500"/>
                  <a:gd name="connsiteX32" fmla="*/ 5636419 w 8734425"/>
                  <a:gd name="connsiteY32" fmla="*/ 1243013 h 1714500"/>
                  <a:gd name="connsiteX33" fmla="*/ 5548313 w 8734425"/>
                  <a:gd name="connsiteY33" fmla="*/ 1159668 h 1714500"/>
                  <a:gd name="connsiteX34" fmla="*/ 5472113 w 8734425"/>
                  <a:gd name="connsiteY34" fmla="*/ 1114425 h 1714500"/>
                  <a:gd name="connsiteX35" fmla="*/ 5474493 w 8734425"/>
                  <a:gd name="connsiteY35" fmla="*/ 1057275 h 1714500"/>
                  <a:gd name="connsiteX36" fmla="*/ 5455444 w 8734425"/>
                  <a:gd name="connsiteY36" fmla="*/ 1014412 h 1714500"/>
                  <a:gd name="connsiteX37" fmla="*/ 5360194 w 8734425"/>
                  <a:gd name="connsiteY37" fmla="*/ 1016794 h 1714500"/>
                  <a:gd name="connsiteX38" fmla="*/ 5264944 w 8734425"/>
                  <a:gd name="connsiteY38" fmla="*/ 995363 h 1714500"/>
                  <a:gd name="connsiteX39" fmla="*/ 5195887 w 8734425"/>
                  <a:gd name="connsiteY39" fmla="*/ 928687 h 1714500"/>
                  <a:gd name="connsiteX40" fmla="*/ 5160169 w 8734425"/>
                  <a:gd name="connsiteY40" fmla="*/ 885825 h 1714500"/>
                  <a:gd name="connsiteX41" fmla="*/ 5079206 w 8734425"/>
                  <a:gd name="connsiteY41" fmla="*/ 862012 h 1714500"/>
                  <a:gd name="connsiteX42" fmla="*/ 5005388 w 8734425"/>
                  <a:gd name="connsiteY42" fmla="*/ 873918 h 1714500"/>
                  <a:gd name="connsiteX43" fmla="*/ 4948237 w 8734425"/>
                  <a:gd name="connsiteY43" fmla="*/ 821531 h 1714500"/>
                  <a:gd name="connsiteX44" fmla="*/ 4852988 w 8734425"/>
                  <a:gd name="connsiteY44" fmla="*/ 833438 h 1714500"/>
                  <a:gd name="connsiteX45" fmla="*/ 4800600 w 8734425"/>
                  <a:gd name="connsiteY45" fmla="*/ 807244 h 1714500"/>
                  <a:gd name="connsiteX46" fmla="*/ 4719638 w 8734425"/>
                  <a:gd name="connsiteY46" fmla="*/ 850106 h 1714500"/>
                  <a:gd name="connsiteX47" fmla="*/ 4581525 w 8734425"/>
                  <a:gd name="connsiteY47" fmla="*/ 873919 h 1714500"/>
                  <a:gd name="connsiteX48" fmla="*/ 4452938 w 8734425"/>
                  <a:gd name="connsiteY48" fmla="*/ 966788 h 1714500"/>
                  <a:gd name="connsiteX49" fmla="*/ 4405312 w 8734425"/>
                  <a:gd name="connsiteY49" fmla="*/ 928688 h 1714500"/>
                  <a:gd name="connsiteX50" fmla="*/ 4383881 w 8734425"/>
                  <a:gd name="connsiteY50" fmla="*/ 959643 h 1714500"/>
                  <a:gd name="connsiteX51" fmla="*/ 4310063 w 8734425"/>
                  <a:gd name="connsiteY51" fmla="*/ 909638 h 1714500"/>
                  <a:gd name="connsiteX52" fmla="*/ 4271963 w 8734425"/>
                  <a:gd name="connsiteY52" fmla="*/ 916781 h 1714500"/>
                  <a:gd name="connsiteX53" fmla="*/ 4250531 w 8734425"/>
                  <a:gd name="connsiteY53" fmla="*/ 878681 h 1714500"/>
                  <a:gd name="connsiteX54" fmla="*/ 4191000 w 8734425"/>
                  <a:gd name="connsiteY54" fmla="*/ 883444 h 1714500"/>
                  <a:gd name="connsiteX55" fmla="*/ 4145756 w 8734425"/>
                  <a:gd name="connsiteY55" fmla="*/ 854869 h 1714500"/>
                  <a:gd name="connsiteX56" fmla="*/ 4107656 w 8734425"/>
                  <a:gd name="connsiteY56" fmla="*/ 852488 h 1714500"/>
                  <a:gd name="connsiteX57" fmla="*/ 4088606 w 8734425"/>
                  <a:gd name="connsiteY57" fmla="*/ 804862 h 1714500"/>
                  <a:gd name="connsiteX58" fmla="*/ 4074319 w 8734425"/>
                  <a:gd name="connsiteY58" fmla="*/ 773906 h 1714500"/>
                  <a:gd name="connsiteX59" fmla="*/ 4029075 w 8734425"/>
                  <a:gd name="connsiteY59" fmla="*/ 783431 h 1714500"/>
                  <a:gd name="connsiteX60" fmla="*/ 4010025 w 8734425"/>
                  <a:gd name="connsiteY60" fmla="*/ 747713 h 1714500"/>
                  <a:gd name="connsiteX61" fmla="*/ 4031457 w 8734425"/>
                  <a:gd name="connsiteY61" fmla="*/ 692944 h 1714500"/>
                  <a:gd name="connsiteX62" fmla="*/ 4000500 w 8734425"/>
                  <a:gd name="connsiteY62" fmla="*/ 666750 h 1714500"/>
                  <a:gd name="connsiteX63" fmla="*/ 4017169 w 8734425"/>
                  <a:gd name="connsiteY63" fmla="*/ 623888 h 1714500"/>
                  <a:gd name="connsiteX64" fmla="*/ 3990975 w 8734425"/>
                  <a:gd name="connsiteY64" fmla="*/ 581025 h 1714500"/>
                  <a:gd name="connsiteX65" fmla="*/ 3986213 w 8734425"/>
                  <a:gd name="connsiteY65" fmla="*/ 519113 h 1714500"/>
                  <a:gd name="connsiteX66" fmla="*/ 4010025 w 8734425"/>
                  <a:gd name="connsiteY66" fmla="*/ 454818 h 1714500"/>
                  <a:gd name="connsiteX67" fmla="*/ 3971925 w 8734425"/>
                  <a:gd name="connsiteY67" fmla="*/ 457200 h 1714500"/>
                  <a:gd name="connsiteX68" fmla="*/ 3852863 w 8734425"/>
                  <a:gd name="connsiteY68" fmla="*/ 400050 h 1714500"/>
                  <a:gd name="connsiteX69" fmla="*/ 3814762 w 8734425"/>
                  <a:gd name="connsiteY69" fmla="*/ 404812 h 1714500"/>
                  <a:gd name="connsiteX70" fmla="*/ 3609975 w 8734425"/>
                  <a:gd name="connsiteY70" fmla="*/ 295275 h 1714500"/>
                  <a:gd name="connsiteX71" fmla="*/ 3505200 w 8734425"/>
                  <a:gd name="connsiteY71" fmla="*/ 264319 h 1714500"/>
                  <a:gd name="connsiteX72" fmla="*/ 3440906 w 8734425"/>
                  <a:gd name="connsiteY72" fmla="*/ 273843 h 1714500"/>
                  <a:gd name="connsiteX73" fmla="*/ 3409950 w 8734425"/>
                  <a:gd name="connsiteY73" fmla="*/ 209550 h 1714500"/>
                  <a:gd name="connsiteX74" fmla="*/ 3352800 w 8734425"/>
                  <a:gd name="connsiteY74" fmla="*/ 209550 h 1714500"/>
                  <a:gd name="connsiteX75" fmla="*/ 3214687 w 8734425"/>
                  <a:gd name="connsiteY75" fmla="*/ 104775 h 1714500"/>
                  <a:gd name="connsiteX76" fmla="*/ 3181350 w 8734425"/>
                  <a:gd name="connsiteY76" fmla="*/ 164307 h 1714500"/>
                  <a:gd name="connsiteX77" fmla="*/ 3126581 w 8734425"/>
                  <a:gd name="connsiteY77" fmla="*/ 233363 h 1714500"/>
                  <a:gd name="connsiteX78" fmla="*/ 3083719 w 8734425"/>
                  <a:gd name="connsiteY78" fmla="*/ 250031 h 1714500"/>
                  <a:gd name="connsiteX79" fmla="*/ 3052763 w 8734425"/>
                  <a:gd name="connsiteY79" fmla="*/ 242888 h 1714500"/>
                  <a:gd name="connsiteX80" fmla="*/ 3028950 w 8734425"/>
                  <a:gd name="connsiteY80" fmla="*/ 271463 h 1714500"/>
                  <a:gd name="connsiteX81" fmla="*/ 3002756 w 8734425"/>
                  <a:gd name="connsiteY81" fmla="*/ 350044 h 1714500"/>
                  <a:gd name="connsiteX82" fmla="*/ 2959894 w 8734425"/>
                  <a:gd name="connsiteY82" fmla="*/ 347663 h 1714500"/>
                  <a:gd name="connsiteX83" fmla="*/ 2928937 w 8734425"/>
                  <a:gd name="connsiteY83" fmla="*/ 409575 h 1714500"/>
                  <a:gd name="connsiteX84" fmla="*/ 2924175 w 8734425"/>
                  <a:gd name="connsiteY84" fmla="*/ 473869 h 1714500"/>
                  <a:gd name="connsiteX85" fmla="*/ 2897982 w 8734425"/>
                  <a:gd name="connsiteY85" fmla="*/ 511969 h 1714500"/>
                  <a:gd name="connsiteX86" fmla="*/ 2924175 w 8734425"/>
                  <a:gd name="connsiteY86" fmla="*/ 571500 h 1714500"/>
                  <a:gd name="connsiteX87" fmla="*/ 2926556 w 8734425"/>
                  <a:gd name="connsiteY87" fmla="*/ 640556 h 1714500"/>
                  <a:gd name="connsiteX88" fmla="*/ 2955131 w 8734425"/>
                  <a:gd name="connsiteY88" fmla="*/ 692944 h 1714500"/>
                  <a:gd name="connsiteX89" fmla="*/ 3002757 w 8734425"/>
                  <a:gd name="connsiteY89" fmla="*/ 747713 h 1714500"/>
                  <a:gd name="connsiteX90" fmla="*/ 2952750 w 8734425"/>
                  <a:gd name="connsiteY90" fmla="*/ 885825 h 1714500"/>
                  <a:gd name="connsiteX91" fmla="*/ 2883694 w 8734425"/>
                  <a:gd name="connsiteY91" fmla="*/ 952500 h 1714500"/>
                  <a:gd name="connsiteX92" fmla="*/ 2812256 w 8734425"/>
                  <a:gd name="connsiteY92" fmla="*/ 947738 h 1714500"/>
                  <a:gd name="connsiteX93" fmla="*/ 2774156 w 8734425"/>
                  <a:gd name="connsiteY93" fmla="*/ 1004888 h 1714500"/>
                  <a:gd name="connsiteX94" fmla="*/ 2714625 w 8734425"/>
                  <a:gd name="connsiteY94" fmla="*/ 1019175 h 1714500"/>
                  <a:gd name="connsiteX95" fmla="*/ 2645569 w 8734425"/>
                  <a:gd name="connsiteY95" fmla="*/ 959644 h 1714500"/>
                  <a:gd name="connsiteX96" fmla="*/ 2590800 w 8734425"/>
                  <a:gd name="connsiteY96" fmla="*/ 931069 h 1714500"/>
                  <a:gd name="connsiteX97" fmla="*/ 2547938 w 8734425"/>
                  <a:gd name="connsiteY97" fmla="*/ 945356 h 1714500"/>
                  <a:gd name="connsiteX98" fmla="*/ 2495550 w 8734425"/>
                  <a:gd name="connsiteY98" fmla="*/ 928688 h 1714500"/>
                  <a:gd name="connsiteX99" fmla="*/ 2428875 w 8734425"/>
                  <a:gd name="connsiteY99" fmla="*/ 873919 h 1714500"/>
                  <a:gd name="connsiteX100" fmla="*/ 2383631 w 8734425"/>
                  <a:gd name="connsiteY100" fmla="*/ 885825 h 1714500"/>
                  <a:gd name="connsiteX101" fmla="*/ 2362200 w 8734425"/>
                  <a:gd name="connsiteY101" fmla="*/ 854869 h 1714500"/>
                  <a:gd name="connsiteX102" fmla="*/ 2305050 w 8734425"/>
                  <a:gd name="connsiteY102" fmla="*/ 895350 h 1714500"/>
                  <a:gd name="connsiteX103" fmla="*/ 2188369 w 8734425"/>
                  <a:gd name="connsiteY103" fmla="*/ 873919 h 1714500"/>
                  <a:gd name="connsiteX104" fmla="*/ 2138363 w 8734425"/>
                  <a:gd name="connsiteY104" fmla="*/ 821531 h 1714500"/>
                  <a:gd name="connsiteX105" fmla="*/ 2095500 w 8734425"/>
                  <a:gd name="connsiteY105" fmla="*/ 807244 h 1714500"/>
                  <a:gd name="connsiteX106" fmla="*/ 2052638 w 8734425"/>
                  <a:gd name="connsiteY106" fmla="*/ 833438 h 1714500"/>
                  <a:gd name="connsiteX107" fmla="*/ 2000250 w 8734425"/>
                  <a:gd name="connsiteY107" fmla="*/ 742950 h 1714500"/>
                  <a:gd name="connsiteX108" fmla="*/ 1990725 w 8734425"/>
                  <a:gd name="connsiteY108" fmla="*/ 595312 h 1714500"/>
                  <a:gd name="connsiteX109" fmla="*/ 1938337 w 8734425"/>
                  <a:gd name="connsiteY109" fmla="*/ 588168 h 1714500"/>
                  <a:gd name="connsiteX110" fmla="*/ 1847850 w 8734425"/>
                  <a:gd name="connsiteY110" fmla="*/ 578644 h 1714500"/>
                  <a:gd name="connsiteX111" fmla="*/ 1793081 w 8734425"/>
                  <a:gd name="connsiteY111" fmla="*/ 540544 h 1714500"/>
                  <a:gd name="connsiteX112" fmla="*/ 1724025 w 8734425"/>
                  <a:gd name="connsiteY112" fmla="*/ 550069 h 1714500"/>
                  <a:gd name="connsiteX113" fmla="*/ 1678781 w 8734425"/>
                  <a:gd name="connsiteY113" fmla="*/ 523875 h 1714500"/>
                  <a:gd name="connsiteX114" fmla="*/ 1669257 w 8734425"/>
                  <a:gd name="connsiteY114" fmla="*/ 452438 h 1714500"/>
                  <a:gd name="connsiteX115" fmla="*/ 1645444 w 8734425"/>
                  <a:gd name="connsiteY115" fmla="*/ 438150 h 1714500"/>
                  <a:gd name="connsiteX116" fmla="*/ 1607344 w 8734425"/>
                  <a:gd name="connsiteY116" fmla="*/ 485774 h 1714500"/>
                  <a:gd name="connsiteX117" fmla="*/ 1528762 w 8734425"/>
                  <a:gd name="connsiteY117" fmla="*/ 411956 h 1714500"/>
                  <a:gd name="connsiteX118" fmla="*/ 1488281 w 8734425"/>
                  <a:gd name="connsiteY118" fmla="*/ 452438 h 1714500"/>
                  <a:gd name="connsiteX119" fmla="*/ 1412081 w 8734425"/>
                  <a:gd name="connsiteY119" fmla="*/ 438150 h 1714500"/>
                  <a:gd name="connsiteX120" fmla="*/ 1333500 w 8734425"/>
                  <a:gd name="connsiteY120" fmla="*/ 464344 h 1714500"/>
                  <a:gd name="connsiteX121" fmla="*/ 1273969 w 8734425"/>
                  <a:gd name="connsiteY121" fmla="*/ 511968 h 1714500"/>
                  <a:gd name="connsiteX122" fmla="*/ 1200150 w 8734425"/>
                  <a:gd name="connsiteY122" fmla="*/ 523875 h 1714500"/>
                  <a:gd name="connsiteX123" fmla="*/ 1164431 w 8734425"/>
                  <a:gd name="connsiteY123" fmla="*/ 516731 h 1714500"/>
                  <a:gd name="connsiteX124" fmla="*/ 1085851 w 8734425"/>
                  <a:gd name="connsiteY124" fmla="*/ 547688 h 1714500"/>
                  <a:gd name="connsiteX125" fmla="*/ 1064419 w 8734425"/>
                  <a:gd name="connsiteY125" fmla="*/ 576263 h 1714500"/>
                  <a:gd name="connsiteX126" fmla="*/ 997744 w 8734425"/>
                  <a:gd name="connsiteY126" fmla="*/ 566738 h 1714500"/>
                  <a:gd name="connsiteX127" fmla="*/ 928688 w 8734425"/>
                  <a:gd name="connsiteY127" fmla="*/ 590550 h 1714500"/>
                  <a:gd name="connsiteX128" fmla="*/ 873919 w 8734425"/>
                  <a:gd name="connsiteY128" fmla="*/ 628650 h 1714500"/>
                  <a:gd name="connsiteX129" fmla="*/ 778669 w 8734425"/>
                  <a:gd name="connsiteY129" fmla="*/ 642937 h 1714500"/>
                  <a:gd name="connsiteX130" fmla="*/ 764381 w 8734425"/>
                  <a:gd name="connsiteY130" fmla="*/ 664369 h 1714500"/>
                  <a:gd name="connsiteX131" fmla="*/ 776287 w 8734425"/>
                  <a:gd name="connsiteY131" fmla="*/ 709613 h 1714500"/>
                  <a:gd name="connsiteX132" fmla="*/ 676276 w 8734425"/>
                  <a:gd name="connsiteY132" fmla="*/ 762000 h 1714500"/>
                  <a:gd name="connsiteX133" fmla="*/ 638175 w 8734425"/>
                  <a:gd name="connsiteY133" fmla="*/ 733424 h 1714500"/>
                  <a:gd name="connsiteX134" fmla="*/ 607219 w 8734425"/>
                  <a:gd name="connsiteY134" fmla="*/ 790575 h 1714500"/>
                  <a:gd name="connsiteX135" fmla="*/ 550069 w 8734425"/>
                  <a:gd name="connsiteY135" fmla="*/ 752475 h 1714500"/>
                  <a:gd name="connsiteX136" fmla="*/ 514350 w 8734425"/>
                  <a:gd name="connsiteY136" fmla="*/ 781050 h 1714500"/>
                  <a:gd name="connsiteX137" fmla="*/ 478631 w 8734425"/>
                  <a:gd name="connsiteY137" fmla="*/ 745331 h 1714500"/>
                  <a:gd name="connsiteX138" fmla="*/ 426244 w 8734425"/>
                  <a:gd name="connsiteY138" fmla="*/ 757238 h 1714500"/>
                  <a:gd name="connsiteX139" fmla="*/ 381000 w 8734425"/>
                  <a:gd name="connsiteY139" fmla="*/ 728663 h 1714500"/>
                  <a:gd name="connsiteX140" fmla="*/ 357188 w 8734425"/>
                  <a:gd name="connsiteY140" fmla="*/ 747713 h 1714500"/>
                  <a:gd name="connsiteX141" fmla="*/ 333375 w 8734425"/>
                  <a:gd name="connsiteY141" fmla="*/ 807244 h 1714500"/>
                  <a:gd name="connsiteX142" fmla="*/ 261938 w 8734425"/>
                  <a:gd name="connsiteY142" fmla="*/ 845343 h 1714500"/>
                  <a:gd name="connsiteX143" fmla="*/ 209550 w 8734425"/>
                  <a:gd name="connsiteY143" fmla="*/ 816769 h 1714500"/>
                  <a:gd name="connsiteX144" fmla="*/ 119063 w 8734425"/>
                  <a:gd name="connsiteY144" fmla="*/ 826294 h 1714500"/>
                  <a:gd name="connsiteX145" fmla="*/ 71437 w 8734425"/>
                  <a:gd name="connsiteY145" fmla="*/ 792957 h 1714500"/>
                  <a:gd name="connsiteX146" fmla="*/ 0 w 8734425"/>
                  <a:gd name="connsiteY146" fmla="*/ 812006 h 1714500"/>
                  <a:gd name="connsiteX147" fmla="*/ 4762 w 8734425"/>
                  <a:gd name="connsiteY147" fmla="*/ 0 h 1714500"/>
                  <a:gd name="connsiteX148" fmla="*/ 8734425 w 8734425"/>
                  <a:gd name="connsiteY148" fmla="*/ 1714500 h 1714500"/>
                  <a:gd name="connsiteX149" fmla="*/ 8643938 w 8734425"/>
                  <a:gd name="connsiteY149" fmla="*/ 1652588 h 1714500"/>
                  <a:gd name="connsiteX150" fmla="*/ 8603456 w 8734425"/>
                  <a:gd name="connsiteY150" fmla="*/ 1631156 h 1714500"/>
                  <a:gd name="connsiteX151" fmla="*/ 8565356 w 8734425"/>
                  <a:gd name="connsiteY151" fmla="*/ 1585913 h 1714500"/>
                  <a:gd name="connsiteX152" fmla="*/ 8534400 w 8734425"/>
                  <a:gd name="connsiteY152" fmla="*/ 1583531 h 1714500"/>
                  <a:gd name="connsiteX153" fmla="*/ 8517731 w 8734425"/>
                  <a:gd name="connsiteY153" fmla="*/ 1531144 h 1714500"/>
                  <a:gd name="connsiteX154" fmla="*/ 8477250 w 8734425"/>
                  <a:gd name="connsiteY154" fmla="*/ 1514475 h 1714500"/>
                  <a:gd name="connsiteX155" fmla="*/ 8477250 w 8734425"/>
                  <a:gd name="connsiteY155" fmla="*/ 1514475 h 1714500"/>
                  <a:gd name="connsiteX156" fmla="*/ 8436769 w 8734425"/>
                  <a:gd name="connsiteY156" fmla="*/ 1519238 h 1714500"/>
                  <a:gd name="connsiteX157" fmla="*/ 8351043 w 8734425"/>
                  <a:gd name="connsiteY157" fmla="*/ 1445419 h 1714500"/>
                  <a:gd name="connsiteX158" fmla="*/ 8170069 w 8734425"/>
                  <a:gd name="connsiteY158" fmla="*/ 1445418 h 1714500"/>
                  <a:gd name="connsiteX159" fmla="*/ 8117681 w 8734425"/>
                  <a:gd name="connsiteY159" fmla="*/ 1483519 h 1714500"/>
                  <a:gd name="connsiteX160" fmla="*/ 8067675 w 8734425"/>
                  <a:gd name="connsiteY160" fmla="*/ 1562100 h 1714500"/>
                  <a:gd name="connsiteX161" fmla="*/ 8084344 w 8734425"/>
                  <a:gd name="connsiteY161" fmla="*/ 1583531 h 1714500"/>
                  <a:gd name="connsiteX162" fmla="*/ 8039100 w 8734425"/>
                  <a:gd name="connsiteY162" fmla="*/ 1633537 h 1714500"/>
                  <a:gd name="connsiteX163" fmla="*/ 7889081 w 8734425"/>
                  <a:gd name="connsiteY163" fmla="*/ 1557337 h 1714500"/>
                  <a:gd name="connsiteX164" fmla="*/ 7798594 w 8734425"/>
                  <a:gd name="connsiteY164" fmla="*/ 1593056 h 1714500"/>
                  <a:gd name="connsiteX165" fmla="*/ 7724775 w 8734425"/>
                  <a:gd name="connsiteY165" fmla="*/ 1590675 h 1714500"/>
                  <a:gd name="connsiteX166" fmla="*/ 7667625 w 8734425"/>
                  <a:gd name="connsiteY166" fmla="*/ 1685925 h 1714500"/>
                  <a:gd name="connsiteX167" fmla="*/ 7529513 w 8734425"/>
                  <a:gd name="connsiteY167" fmla="*/ 1588294 h 1714500"/>
                  <a:gd name="connsiteX0" fmla="*/ 7529513 w 8643938"/>
                  <a:gd name="connsiteY0" fmla="*/ 1588294 h 1685925"/>
                  <a:gd name="connsiteX1" fmla="*/ 7522369 w 8643938"/>
                  <a:gd name="connsiteY1" fmla="*/ 1533525 h 1685925"/>
                  <a:gd name="connsiteX2" fmla="*/ 7589044 w 8643938"/>
                  <a:gd name="connsiteY2" fmla="*/ 1459706 h 1685925"/>
                  <a:gd name="connsiteX3" fmla="*/ 7572375 w 8643938"/>
                  <a:gd name="connsiteY3" fmla="*/ 1388269 h 1685925"/>
                  <a:gd name="connsiteX4" fmla="*/ 7586663 w 8643938"/>
                  <a:gd name="connsiteY4" fmla="*/ 1293019 h 1685925"/>
                  <a:gd name="connsiteX5" fmla="*/ 7624763 w 8643938"/>
                  <a:gd name="connsiteY5" fmla="*/ 1235869 h 1685925"/>
                  <a:gd name="connsiteX6" fmla="*/ 7605712 w 8643938"/>
                  <a:gd name="connsiteY6" fmla="*/ 1202531 h 1685925"/>
                  <a:gd name="connsiteX7" fmla="*/ 7703343 w 8643938"/>
                  <a:gd name="connsiteY7" fmla="*/ 802481 h 1685925"/>
                  <a:gd name="connsiteX8" fmla="*/ 7696200 w 8643938"/>
                  <a:gd name="connsiteY8" fmla="*/ 773906 h 1685925"/>
                  <a:gd name="connsiteX9" fmla="*/ 7567613 w 8643938"/>
                  <a:gd name="connsiteY9" fmla="*/ 752475 h 1685925"/>
                  <a:gd name="connsiteX10" fmla="*/ 7384257 w 8643938"/>
                  <a:gd name="connsiteY10" fmla="*/ 831056 h 1685925"/>
                  <a:gd name="connsiteX11" fmla="*/ 7227093 w 8643938"/>
                  <a:gd name="connsiteY11" fmla="*/ 716756 h 1685925"/>
                  <a:gd name="connsiteX12" fmla="*/ 7150894 w 8643938"/>
                  <a:gd name="connsiteY12" fmla="*/ 723900 h 1685925"/>
                  <a:gd name="connsiteX13" fmla="*/ 7077075 w 8643938"/>
                  <a:gd name="connsiteY13" fmla="*/ 719138 h 1685925"/>
                  <a:gd name="connsiteX14" fmla="*/ 6938963 w 8643938"/>
                  <a:gd name="connsiteY14" fmla="*/ 823913 h 1685925"/>
                  <a:gd name="connsiteX15" fmla="*/ 6831806 w 8643938"/>
                  <a:gd name="connsiteY15" fmla="*/ 931069 h 1685925"/>
                  <a:gd name="connsiteX16" fmla="*/ 6788944 w 8643938"/>
                  <a:gd name="connsiteY16" fmla="*/ 1000125 h 1685925"/>
                  <a:gd name="connsiteX17" fmla="*/ 6796088 w 8643938"/>
                  <a:gd name="connsiteY17" fmla="*/ 1035844 h 1685925"/>
                  <a:gd name="connsiteX18" fmla="*/ 6734175 w 8643938"/>
                  <a:gd name="connsiteY18" fmla="*/ 1047750 h 1685925"/>
                  <a:gd name="connsiteX19" fmla="*/ 6753225 w 8643938"/>
                  <a:gd name="connsiteY19" fmla="*/ 1047750 h 1685925"/>
                  <a:gd name="connsiteX20" fmla="*/ 6719888 w 8643938"/>
                  <a:gd name="connsiteY20" fmla="*/ 1078706 h 1685925"/>
                  <a:gd name="connsiteX21" fmla="*/ 6619875 w 8643938"/>
                  <a:gd name="connsiteY21" fmla="*/ 1078707 h 1685925"/>
                  <a:gd name="connsiteX22" fmla="*/ 6524625 w 8643938"/>
                  <a:gd name="connsiteY22" fmla="*/ 1133475 h 1685925"/>
                  <a:gd name="connsiteX23" fmla="*/ 6443663 w 8643938"/>
                  <a:gd name="connsiteY23" fmla="*/ 1143000 h 1685925"/>
                  <a:gd name="connsiteX24" fmla="*/ 6403181 w 8643938"/>
                  <a:gd name="connsiteY24" fmla="*/ 1176338 h 1685925"/>
                  <a:gd name="connsiteX25" fmla="*/ 6353175 w 8643938"/>
                  <a:gd name="connsiteY25" fmla="*/ 1181100 h 1685925"/>
                  <a:gd name="connsiteX26" fmla="*/ 6231732 w 8643938"/>
                  <a:gd name="connsiteY26" fmla="*/ 1273969 h 1685925"/>
                  <a:gd name="connsiteX27" fmla="*/ 6172200 w 8643938"/>
                  <a:gd name="connsiteY27" fmla="*/ 1278731 h 1685925"/>
                  <a:gd name="connsiteX28" fmla="*/ 6119813 w 8643938"/>
                  <a:gd name="connsiteY28" fmla="*/ 1243013 h 1685925"/>
                  <a:gd name="connsiteX29" fmla="*/ 6093619 w 8643938"/>
                  <a:gd name="connsiteY29" fmla="*/ 1278731 h 1685925"/>
                  <a:gd name="connsiteX30" fmla="*/ 5895975 w 8643938"/>
                  <a:gd name="connsiteY30" fmla="*/ 1271588 h 1685925"/>
                  <a:gd name="connsiteX31" fmla="*/ 5834063 w 8643938"/>
                  <a:gd name="connsiteY31" fmla="*/ 1226344 h 1685925"/>
                  <a:gd name="connsiteX32" fmla="*/ 5636419 w 8643938"/>
                  <a:gd name="connsiteY32" fmla="*/ 1243013 h 1685925"/>
                  <a:gd name="connsiteX33" fmla="*/ 5548313 w 8643938"/>
                  <a:gd name="connsiteY33" fmla="*/ 1159668 h 1685925"/>
                  <a:gd name="connsiteX34" fmla="*/ 5472113 w 8643938"/>
                  <a:gd name="connsiteY34" fmla="*/ 1114425 h 1685925"/>
                  <a:gd name="connsiteX35" fmla="*/ 5474493 w 8643938"/>
                  <a:gd name="connsiteY35" fmla="*/ 1057275 h 1685925"/>
                  <a:gd name="connsiteX36" fmla="*/ 5455444 w 8643938"/>
                  <a:gd name="connsiteY36" fmla="*/ 1014412 h 1685925"/>
                  <a:gd name="connsiteX37" fmla="*/ 5360194 w 8643938"/>
                  <a:gd name="connsiteY37" fmla="*/ 1016794 h 1685925"/>
                  <a:gd name="connsiteX38" fmla="*/ 5264944 w 8643938"/>
                  <a:gd name="connsiteY38" fmla="*/ 995363 h 1685925"/>
                  <a:gd name="connsiteX39" fmla="*/ 5195887 w 8643938"/>
                  <a:gd name="connsiteY39" fmla="*/ 928687 h 1685925"/>
                  <a:gd name="connsiteX40" fmla="*/ 5160169 w 8643938"/>
                  <a:gd name="connsiteY40" fmla="*/ 885825 h 1685925"/>
                  <a:gd name="connsiteX41" fmla="*/ 5079206 w 8643938"/>
                  <a:gd name="connsiteY41" fmla="*/ 862012 h 1685925"/>
                  <a:gd name="connsiteX42" fmla="*/ 5005388 w 8643938"/>
                  <a:gd name="connsiteY42" fmla="*/ 873918 h 1685925"/>
                  <a:gd name="connsiteX43" fmla="*/ 4948237 w 8643938"/>
                  <a:gd name="connsiteY43" fmla="*/ 821531 h 1685925"/>
                  <a:gd name="connsiteX44" fmla="*/ 4852988 w 8643938"/>
                  <a:gd name="connsiteY44" fmla="*/ 833438 h 1685925"/>
                  <a:gd name="connsiteX45" fmla="*/ 4800600 w 8643938"/>
                  <a:gd name="connsiteY45" fmla="*/ 807244 h 1685925"/>
                  <a:gd name="connsiteX46" fmla="*/ 4719638 w 8643938"/>
                  <a:gd name="connsiteY46" fmla="*/ 850106 h 1685925"/>
                  <a:gd name="connsiteX47" fmla="*/ 4581525 w 8643938"/>
                  <a:gd name="connsiteY47" fmla="*/ 873919 h 1685925"/>
                  <a:gd name="connsiteX48" fmla="*/ 4452938 w 8643938"/>
                  <a:gd name="connsiteY48" fmla="*/ 966788 h 1685925"/>
                  <a:gd name="connsiteX49" fmla="*/ 4405312 w 8643938"/>
                  <a:gd name="connsiteY49" fmla="*/ 928688 h 1685925"/>
                  <a:gd name="connsiteX50" fmla="*/ 4383881 w 8643938"/>
                  <a:gd name="connsiteY50" fmla="*/ 959643 h 1685925"/>
                  <a:gd name="connsiteX51" fmla="*/ 4310063 w 8643938"/>
                  <a:gd name="connsiteY51" fmla="*/ 909638 h 1685925"/>
                  <a:gd name="connsiteX52" fmla="*/ 4271963 w 8643938"/>
                  <a:gd name="connsiteY52" fmla="*/ 916781 h 1685925"/>
                  <a:gd name="connsiteX53" fmla="*/ 4250531 w 8643938"/>
                  <a:gd name="connsiteY53" fmla="*/ 878681 h 1685925"/>
                  <a:gd name="connsiteX54" fmla="*/ 4191000 w 8643938"/>
                  <a:gd name="connsiteY54" fmla="*/ 883444 h 1685925"/>
                  <a:gd name="connsiteX55" fmla="*/ 4145756 w 8643938"/>
                  <a:gd name="connsiteY55" fmla="*/ 854869 h 1685925"/>
                  <a:gd name="connsiteX56" fmla="*/ 4107656 w 8643938"/>
                  <a:gd name="connsiteY56" fmla="*/ 852488 h 1685925"/>
                  <a:gd name="connsiteX57" fmla="*/ 4088606 w 8643938"/>
                  <a:gd name="connsiteY57" fmla="*/ 804862 h 1685925"/>
                  <a:gd name="connsiteX58" fmla="*/ 4074319 w 8643938"/>
                  <a:gd name="connsiteY58" fmla="*/ 773906 h 1685925"/>
                  <a:gd name="connsiteX59" fmla="*/ 4029075 w 8643938"/>
                  <a:gd name="connsiteY59" fmla="*/ 783431 h 1685925"/>
                  <a:gd name="connsiteX60" fmla="*/ 4010025 w 8643938"/>
                  <a:gd name="connsiteY60" fmla="*/ 747713 h 1685925"/>
                  <a:gd name="connsiteX61" fmla="*/ 4031457 w 8643938"/>
                  <a:gd name="connsiteY61" fmla="*/ 692944 h 1685925"/>
                  <a:gd name="connsiteX62" fmla="*/ 4000500 w 8643938"/>
                  <a:gd name="connsiteY62" fmla="*/ 666750 h 1685925"/>
                  <a:gd name="connsiteX63" fmla="*/ 4017169 w 8643938"/>
                  <a:gd name="connsiteY63" fmla="*/ 623888 h 1685925"/>
                  <a:gd name="connsiteX64" fmla="*/ 3990975 w 8643938"/>
                  <a:gd name="connsiteY64" fmla="*/ 581025 h 1685925"/>
                  <a:gd name="connsiteX65" fmla="*/ 3986213 w 8643938"/>
                  <a:gd name="connsiteY65" fmla="*/ 519113 h 1685925"/>
                  <a:gd name="connsiteX66" fmla="*/ 4010025 w 8643938"/>
                  <a:gd name="connsiteY66" fmla="*/ 454818 h 1685925"/>
                  <a:gd name="connsiteX67" fmla="*/ 3971925 w 8643938"/>
                  <a:gd name="connsiteY67" fmla="*/ 457200 h 1685925"/>
                  <a:gd name="connsiteX68" fmla="*/ 3852863 w 8643938"/>
                  <a:gd name="connsiteY68" fmla="*/ 400050 h 1685925"/>
                  <a:gd name="connsiteX69" fmla="*/ 3814762 w 8643938"/>
                  <a:gd name="connsiteY69" fmla="*/ 404812 h 1685925"/>
                  <a:gd name="connsiteX70" fmla="*/ 3609975 w 8643938"/>
                  <a:gd name="connsiteY70" fmla="*/ 295275 h 1685925"/>
                  <a:gd name="connsiteX71" fmla="*/ 3505200 w 8643938"/>
                  <a:gd name="connsiteY71" fmla="*/ 264319 h 1685925"/>
                  <a:gd name="connsiteX72" fmla="*/ 3440906 w 8643938"/>
                  <a:gd name="connsiteY72" fmla="*/ 273843 h 1685925"/>
                  <a:gd name="connsiteX73" fmla="*/ 3409950 w 8643938"/>
                  <a:gd name="connsiteY73" fmla="*/ 209550 h 1685925"/>
                  <a:gd name="connsiteX74" fmla="*/ 3352800 w 8643938"/>
                  <a:gd name="connsiteY74" fmla="*/ 209550 h 1685925"/>
                  <a:gd name="connsiteX75" fmla="*/ 3214687 w 8643938"/>
                  <a:gd name="connsiteY75" fmla="*/ 104775 h 1685925"/>
                  <a:gd name="connsiteX76" fmla="*/ 3181350 w 8643938"/>
                  <a:gd name="connsiteY76" fmla="*/ 164307 h 1685925"/>
                  <a:gd name="connsiteX77" fmla="*/ 3126581 w 8643938"/>
                  <a:gd name="connsiteY77" fmla="*/ 233363 h 1685925"/>
                  <a:gd name="connsiteX78" fmla="*/ 3083719 w 8643938"/>
                  <a:gd name="connsiteY78" fmla="*/ 250031 h 1685925"/>
                  <a:gd name="connsiteX79" fmla="*/ 3052763 w 8643938"/>
                  <a:gd name="connsiteY79" fmla="*/ 242888 h 1685925"/>
                  <a:gd name="connsiteX80" fmla="*/ 3028950 w 8643938"/>
                  <a:gd name="connsiteY80" fmla="*/ 271463 h 1685925"/>
                  <a:gd name="connsiteX81" fmla="*/ 3002756 w 8643938"/>
                  <a:gd name="connsiteY81" fmla="*/ 350044 h 1685925"/>
                  <a:gd name="connsiteX82" fmla="*/ 2959894 w 8643938"/>
                  <a:gd name="connsiteY82" fmla="*/ 347663 h 1685925"/>
                  <a:gd name="connsiteX83" fmla="*/ 2928937 w 8643938"/>
                  <a:gd name="connsiteY83" fmla="*/ 409575 h 1685925"/>
                  <a:gd name="connsiteX84" fmla="*/ 2924175 w 8643938"/>
                  <a:gd name="connsiteY84" fmla="*/ 473869 h 1685925"/>
                  <a:gd name="connsiteX85" fmla="*/ 2897982 w 8643938"/>
                  <a:gd name="connsiteY85" fmla="*/ 511969 h 1685925"/>
                  <a:gd name="connsiteX86" fmla="*/ 2924175 w 8643938"/>
                  <a:gd name="connsiteY86" fmla="*/ 571500 h 1685925"/>
                  <a:gd name="connsiteX87" fmla="*/ 2926556 w 8643938"/>
                  <a:gd name="connsiteY87" fmla="*/ 640556 h 1685925"/>
                  <a:gd name="connsiteX88" fmla="*/ 2955131 w 8643938"/>
                  <a:gd name="connsiteY88" fmla="*/ 692944 h 1685925"/>
                  <a:gd name="connsiteX89" fmla="*/ 3002757 w 8643938"/>
                  <a:gd name="connsiteY89" fmla="*/ 747713 h 1685925"/>
                  <a:gd name="connsiteX90" fmla="*/ 2952750 w 8643938"/>
                  <a:gd name="connsiteY90" fmla="*/ 885825 h 1685925"/>
                  <a:gd name="connsiteX91" fmla="*/ 2883694 w 8643938"/>
                  <a:gd name="connsiteY91" fmla="*/ 952500 h 1685925"/>
                  <a:gd name="connsiteX92" fmla="*/ 2812256 w 8643938"/>
                  <a:gd name="connsiteY92" fmla="*/ 947738 h 1685925"/>
                  <a:gd name="connsiteX93" fmla="*/ 2774156 w 8643938"/>
                  <a:gd name="connsiteY93" fmla="*/ 1004888 h 1685925"/>
                  <a:gd name="connsiteX94" fmla="*/ 2714625 w 8643938"/>
                  <a:gd name="connsiteY94" fmla="*/ 1019175 h 1685925"/>
                  <a:gd name="connsiteX95" fmla="*/ 2645569 w 8643938"/>
                  <a:gd name="connsiteY95" fmla="*/ 959644 h 1685925"/>
                  <a:gd name="connsiteX96" fmla="*/ 2590800 w 8643938"/>
                  <a:gd name="connsiteY96" fmla="*/ 931069 h 1685925"/>
                  <a:gd name="connsiteX97" fmla="*/ 2547938 w 8643938"/>
                  <a:gd name="connsiteY97" fmla="*/ 945356 h 1685925"/>
                  <a:gd name="connsiteX98" fmla="*/ 2495550 w 8643938"/>
                  <a:gd name="connsiteY98" fmla="*/ 928688 h 1685925"/>
                  <a:gd name="connsiteX99" fmla="*/ 2428875 w 8643938"/>
                  <a:gd name="connsiteY99" fmla="*/ 873919 h 1685925"/>
                  <a:gd name="connsiteX100" fmla="*/ 2383631 w 8643938"/>
                  <a:gd name="connsiteY100" fmla="*/ 885825 h 1685925"/>
                  <a:gd name="connsiteX101" fmla="*/ 2362200 w 8643938"/>
                  <a:gd name="connsiteY101" fmla="*/ 854869 h 1685925"/>
                  <a:gd name="connsiteX102" fmla="*/ 2305050 w 8643938"/>
                  <a:gd name="connsiteY102" fmla="*/ 895350 h 1685925"/>
                  <a:gd name="connsiteX103" fmla="*/ 2188369 w 8643938"/>
                  <a:gd name="connsiteY103" fmla="*/ 873919 h 1685925"/>
                  <a:gd name="connsiteX104" fmla="*/ 2138363 w 8643938"/>
                  <a:gd name="connsiteY104" fmla="*/ 821531 h 1685925"/>
                  <a:gd name="connsiteX105" fmla="*/ 2095500 w 8643938"/>
                  <a:gd name="connsiteY105" fmla="*/ 807244 h 1685925"/>
                  <a:gd name="connsiteX106" fmla="*/ 2052638 w 8643938"/>
                  <a:gd name="connsiteY106" fmla="*/ 833438 h 1685925"/>
                  <a:gd name="connsiteX107" fmla="*/ 2000250 w 8643938"/>
                  <a:gd name="connsiteY107" fmla="*/ 742950 h 1685925"/>
                  <a:gd name="connsiteX108" fmla="*/ 1990725 w 8643938"/>
                  <a:gd name="connsiteY108" fmla="*/ 595312 h 1685925"/>
                  <a:gd name="connsiteX109" fmla="*/ 1938337 w 8643938"/>
                  <a:gd name="connsiteY109" fmla="*/ 588168 h 1685925"/>
                  <a:gd name="connsiteX110" fmla="*/ 1847850 w 8643938"/>
                  <a:gd name="connsiteY110" fmla="*/ 578644 h 1685925"/>
                  <a:gd name="connsiteX111" fmla="*/ 1793081 w 8643938"/>
                  <a:gd name="connsiteY111" fmla="*/ 540544 h 1685925"/>
                  <a:gd name="connsiteX112" fmla="*/ 1724025 w 8643938"/>
                  <a:gd name="connsiteY112" fmla="*/ 550069 h 1685925"/>
                  <a:gd name="connsiteX113" fmla="*/ 1678781 w 8643938"/>
                  <a:gd name="connsiteY113" fmla="*/ 523875 h 1685925"/>
                  <a:gd name="connsiteX114" fmla="*/ 1669257 w 8643938"/>
                  <a:gd name="connsiteY114" fmla="*/ 452438 h 1685925"/>
                  <a:gd name="connsiteX115" fmla="*/ 1645444 w 8643938"/>
                  <a:gd name="connsiteY115" fmla="*/ 438150 h 1685925"/>
                  <a:gd name="connsiteX116" fmla="*/ 1607344 w 8643938"/>
                  <a:gd name="connsiteY116" fmla="*/ 485774 h 1685925"/>
                  <a:gd name="connsiteX117" fmla="*/ 1528762 w 8643938"/>
                  <a:gd name="connsiteY117" fmla="*/ 411956 h 1685925"/>
                  <a:gd name="connsiteX118" fmla="*/ 1488281 w 8643938"/>
                  <a:gd name="connsiteY118" fmla="*/ 452438 h 1685925"/>
                  <a:gd name="connsiteX119" fmla="*/ 1412081 w 8643938"/>
                  <a:gd name="connsiteY119" fmla="*/ 438150 h 1685925"/>
                  <a:gd name="connsiteX120" fmla="*/ 1333500 w 8643938"/>
                  <a:gd name="connsiteY120" fmla="*/ 464344 h 1685925"/>
                  <a:gd name="connsiteX121" fmla="*/ 1273969 w 8643938"/>
                  <a:gd name="connsiteY121" fmla="*/ 511968 h 1685925"/>
                  <a:gd name="connsiteX122" fmla="*/ 1200150 w 8643938"/>
                  <a:gd name="connsiteY122" fmla="*/ 523875 h 1685925"/>
                  <a:gd name="connsiteX123" fmla="*/ 1164431 w 8643938"/>
                  <a:gd name="connsiteY123" fmla="*/ 516731 h 1685925"/>
                  <a:gd name="connsiteX124" fmla="*/ 1085851 w 8643938"/>
                  <a:gd name="connsiteY124" fmla="*/ 547688 h 1685925"/>
                  <a:gd name="connsiteX125" fmla="*/ 1064419 w 8643938"/>
                  <a:gd name="connsiteY125" fmla="*/ 576263 h 1685925"/>
                  <a:gd name="connsiteX126" fmla="*/ 997744 w 8643938"/>
                  <a:gd name="connsiteY126" fmla="*/ 566738 h 1685925"/>
                  <a:gd name="connsiteX127" fmla="*/ 928688 w 8643938"/>
                  <a:gd name="connsiteY127" fmla="*/ 590550 h 1685925"/>
                  <a:gd name="connsiteX128" fmla="*/ 873919 w 8643938"/>
                  <a:gd name="connsiteY128" fmla="*/ 628650 h 1685925"/>
                  <a:gd name="connsiteX129" fmla="*/ 778669 w 8643938"/>
                  <a:gd name="connsiteY129" fmla="*/ 642937 h 1685925"/>
                  <a:gd name="connsiteX130" fmla="*/ 764381 w 8643938"/>
                  <a:gd name="connsiteY130" fmla="*/ 664369 h 1685925"/>
                  <a:gd name="connsiteX131" fmla="*/ 776287 w 8643938"/>
                  <a:gd name="connsiteY131" fmla="*/ 709613 h 1685925"/>
                  <a:gd name="connsiteX132" fmla="*/ 676276 w 8643938"/>
                  <a:gd name="connsiteY132" fmla="*/ 762000 h 1685925"/>
                  <a:gd name="connsiteX133" fmla="*/ 638175 w 8643938"/>
                  <a:gd name="connsiteY133" fmla="*/ 733424 h 1685925"/>
                  <a:gd name="connsiteX134" fmla="*/ 607219 w 8643938"/>
                  <a:gd name="connsiteY134" fmla="*/ 790575 h 1685925"/>
                  <a:gd name="connsiteX135" fmla="*/ 550069 w 8643938"/>
                  <a:gd name="connsiteY135" fmla="*/ 752475 h 1685925"/>
                  <a:gd name="connsiteX136" fmla="*/ 514350 w 8643938"/>
                  <a:gd name="connsiteY136" fmla="*/ 781050 h 1685925"/>
                  <a:gd name="connsiteX137" fmla="*/ 478631 w 8643938"/>
                  <a:gd name="connsiteY137" fmla="*/ 745331 h 1685925"/>
                  <a:gd name="connsiteX138" fmla="*/ 426244 w 8643938"/>
                  <a:gd name="connsiteY138" fmla="*/ 757238 h 1685925"/>
                  <a:gd name="connsiteX139" fmla="*/ 381000 w 8643938"/>
                  <a:gd name="connsiteY139" fmla="*/ 728663 h 1685925"/>
                  <a:gd name="connsiteX140" fmla="*/ 357188 w 8643938"/>
                  <a:gd name="connsiteY140" fmla="*/ 747713 h 1685925"/>
                  <a:gd name="connsiteX141" fmla="*/ 333375 w 8643938"/>
                  <a:gd name="connsiteY141" fmla="*/ 807244 h 1685925"/>
                  <a:gd name="connsiteX142" fmla="*/ 261938 w 8643938"/>
                  <a:gd name="connsiteY142" fmla="*/ 845343 h 1685925"/>
                  <a:gd name="connsiteX143" fmla="*/ 209550 w 8643938"/>
                  <a:gd name="connsiteY143" fmla="*/ 816769 h 1685925"/>
                  <a:gd name="connsiteX144" fmla="*/ 119063 w 8643938"/>
                  <a:gd name="connsiteY144" fmla="*/ 826294 h 1685925"/>
                  <a:gd name="connsiteX145" fmla="*/ 71437 w 8643938"/>
                  <a:gd name="connsiteY145" fmla="*/ 792957 h 1685925"/>
                  <a:gd name="connsiteX146" fmla="*/ 0 w 8643938"/>
                  <a:gd name="connsiteY146" fmla="*/ 812006 h 1685925"/>
                  <a:gd name="connsiteX147" fmla="*/ 4762 w 8643938"/>
                  <a:gd name="connsiteY147" fmla="*/ 0 h 1685925"/>
                  <a:gd name="connsiteX148" fmla="*/ 8643938 w 8643938"/>
                  <a:gd name="connsiteY148" fmla="*/ 1652588 h 1685925"/>
                  <a:gd name="connsiteX149" fmla="*/ 8603456 w 8643938"/>
                  <a:gd name="connsiteY149" fmla="*/ 1631156 h 1685925"/>
                  <a:gd name="connsiteX150" fmla="*/ 8565356 w 8643938"/>
                  <a:gd name="connsiteY150" fmla="*/ 1585913 h 1685925"/>
                  <a:gd name="connsiteX151" fmla="*/ 8534400 w 8643938"/>
                  <a:gd name="connsiteY151" fmla="*/ 1583531 h 1685925"/>
                  <a:gd name="connsiteX152" fmla="*/ 8517731 w 8643938"/>
                  <a:gd name="connsiteY152" fmla="*/ 1531144 h 1685925"/>
                  <a:gd name="connsiteX153" fmla="*/ 8477250 w 8643938"/>
                  <a:gd name="connsiteY153" fmla="*/ 1514475 h 1685925"/>
                  <a:gd name="connsiteX154" fmla="*/ 8477250 w 8643938"/>
                  <a:gd name="connsiteY154" fmla="*/ 1514475 h 1685925"/>
                  <a:gd name="connsiteX155" fmla="*/ 8436769 w 8643938"/>
                  <a:gd name="connsiteY155" fmla="*/ 1519238 h 1685925"/>
                  <a:gd name="connsiteX156" fmla="*/ 8351043 w 8643938"/>
                  <a:gd name="connsiteY156" fmla="*/ 1445419 h 1685925"/>
                  <a:gd name="connsiteX157" fmla="*/ 8170069 w 8643938"/>
                  <a:gd name="connsiteY157" fmla="*/ 1445418 h 1685925"/>
                  <a:gd name="connsiteX158" fmla="*/ 8117681 w 8643938"/>
                  <a:gd name="connsiteY158" fmla="*/ 1483519 h 1685925"/>
                  <a:gd name="connsiteX159" fmla="*/ 8067675 w 8643938"/>
                  <a:gd name="connsiteY159" fmla="*/ 1562100 h 1685925"/>
                  <a:gd name="connsiteX160" fmla="*/ 8084344 w 8643938"/>
                  <a:gd name="connsiteY160" fmla="*/ 1583531 h 1685925"/>
                  <a:gd name="connsiteX161" fmla="*/ 8039100 w 8643938"/>
                  <a:gd name="connsiteY161" fmla="*/ 1633537 h 1685925"/>
                  <a:gd name="connsiteX162" fmla="*/ 7889081 w 8643938"/>
                  <a:gd name="connsiteY162" fmla="*/ 1557337 h 1685925"/>
                  <a:gd name="connsiteX163" fmla="*/ 7798594 w 8643938"/>
                  <a:gd name="connsiteY163" fmla="*/ 1593056 h 1685925"/>
                  <a:gd name="connsiteX164" fmla="*/ 7724775 w 8643938"/>
                  <a:gd name="connsiteY164" fmla="*/ 1590675 h 1685925"/>
                  <a:gd name="connsiteX165" fmla="*/ 7667625 w 8643938"/>
                  <a:gd name="connsiteY165" fmla="*/ 1685925 h 1685925"/>
                  <a:gd name="connsiteX166" fmla="*/ 7529513 w 8643938"/>
                  <a:gd name="connsiteY166" fmla="*/ 1588294 h 1685925"/>
                  <a:gd name="connsiteX0" fmla="*/ 7529513 w 8603456"/>
                  <a:gd name="connsiteY0" fmla="*/ 1588294 h 1685925"/>
                  <a:gd name="connsiteX1" fmla="*/ 7522369 w 8603456"/>
                  <a:gd name="connsiteY1" fmla="*/ 1533525 h 1685925"/>
                  <a:gd name="connsiteX2" fmla="*/ 7589044 w 8603456"/>
                  <a:gd name="connsiteY2" fmla="*/ 1459706 h 1685925"/>
                  <a:gd name="connsiteX3" fmla="*/ 7572375 w 8603456"/>
                  <a:gd name="connsiteY3" fmla="*/ 1388269 h 1685925"/>
                  <a:gd name="connsiteX4" fmla="*/ 7586663 w 8603456"/>
                  <a:gd name="connsiteY4" fmla="*/ 1293019 h 1685925"/>
                  <a:gd name="connsiteX5" fmla="*/ 7624763 w 8603456"/>
                  <a:gd name="connsiteY5" fmla="*/ 1235869 h 1685925"/>
                  <a:gd name="connsiteX6" fmla="*/ 7605712 w 8603456"/>
                  <a:gd name="connsiteY6" fmla="*/ 1202531 h 1685925"/>
                  <a:gd name="connsiteX7" fmla="*/ 7703343 w 8603456"/>
                  <a:gd name="connsiteY7" fmla="*/ 802481 h 1685925"/>
                  <a:gd name="connsiteX8" fmla="*/ 7696200 w 8603456"/>
                  <a:gd name="connsiteY8" fmla="*/ 773906 h 1685925"/>
                  <a:gd name="connsiteX9" fmla="*/ 7567613 w 8603456"/>
                  <a:gd name="connsiteY9" fmla="*/ 752475 h 1685925"/>
                  <a:gd name="connsiteX10" fmla="*/ 7384257 w 8603456"/>
                  <a:gd name="connsiteY10" fmla="*/ 831056 h 1685925"/>
                  <a:gd name="connsiteX11" fmla="*/ 7227093 w 8603456"/>
                  <a:gd name="connsiteY11" fmla="*/ 716756 h 1685925"/>
                  <a:gd name="connsiteX12" fmla="*/ 7150894 w 8603456"/>
                  <a:gd name="connsiteY12" fmla="*/ 723900 h 1685925"/>
                  <a:gd name="connsiteX13" fmla="*/ 7077075 w 8603456"/>
                  <a:gd name="connsiteY13" fmla="*/ 719138 h 1685925"/>
                  <a:gd name="connsiteX14" fmla="*/ 6938963 w 8603456"/>
                  <a:gd name="connsiteY14" fmla="*/ 823913 h 1685925"/>
                  <a:gd name="connsiteX15" fmla="*/ 6831806 w 8603456"/>
                  <a:gd name="connsiteY15" fmla="*/ 931069 h 1685925"/>
                  <a:gd name="connsiteX16" fmla="*/ 6788944 w 8603456"/>
                  <a:gd name="connsiteY16" fmla="*/ 1000125 h 1685925"/>
                  <a:gd name="connsiteX17" fmla="*/ 6796088 w 8603456"/>
                  <a:gd name="connsiteY17" fmla="*/ 1035844 h 1685925"/>
                  <a:gd name="connsiteX18" fmla="*/ 6734175 w 8603456"/>
                  <a:gd name="connsiteY18" fmla="*/ 1047750 h 1685925"/>
                  <a:gd name="connsiteX19" fmla="*/ 6753225 w 8603456"/>
                  <a:gd name="connsiteY19" fmla="*/ 1047750 h 1685925"/>
                  <a:gd name="connsiteX20" fmla="*/ 6719888 w 8603456"/>
                  <a:gd name="connsiteY20" fmla="*/ 1078706 h 1685925"/>
                  <a:gd name="connsiteX21" fmla="*/ 6619875 w 8603456"/>
                  <a:gd name="connsiteY21" fmla="*/ 1078707 h 1685925"/>
                  <a:gd name="connsiteX22" fmla="*/ 6524625 w 8603456"/>
                  <a:gd name="connsiteY22" fmla="*/ 1133475 h 1685925"/>
                  <a:gd name="connsiteX23" fmla="*/ 6443663 w 8603456"/>
                  <a:gd name="connsiteY23" fmla="*/ 1143000 h 1685925"/>
                  <a:gd name="connsiteX24" fmla="*/ 6403181 w 8603456"/>
                  <a:gd name="connsiteY24" fmla="*/ 1176338 h 1685925"/>
                  <a:gd name="connsiteX25" fmla="*/ 6353175 w 8603456"/>
                  <a:gd name="connsiteY25" fmla="*/ 1181100 h 1685925"/>
                  <a:gd name="connsiteX26" fmla="*/ 6231732 w 8603456"/>
                  <a:gd name="connsiteY26" fmla="*/ 1273969 h 1685925"/>
                  <a:gd name="connsiteX27" fmla="*/ 6172200 w 8603456"/>
                  <a:gd name="connsiteY27" fmla="*/ 1278731 h 1685925"/>
                  <a:gd name="connsiteX28" fmla="*/ 6119813 w 8603456"/>
                  <a:gd name="connsiteY28" fmla="*/ 1243013 h 1685925"/>
                  <a:gd name="connsiteX29" fmla="*/ 6093619 w 8603456"/>
                  <a:gd name="connsiteY29" fmla="*/ 1278731 h 1685925"/>
                  <a:gd name="connsiteX30" fmla="*/ 5895975 w 8603456"/>
                  <a:gd name="connsiteY30" fmla="*/ 1271588 h 1685925"/>
                  <a:gd name="connsiteX31" fmla="*/ 5834063 w 8603456"/>
                  <a:gd name="connsiteY31" fmla="*/ 1226344 h 1685925"/>
                  <a:gd name="connsiteX32" fmla="*/ 5636419 w 8603456"/>
                  <a:gd name="connsiteY32" fmla="*/ 1243013 h 1685925"/>
                  <a:gd name="connsiteX33" fmla="*/ 5548313 w 8603456"/>
                  <a:gd name="connsiteY33" fmla="*/ 1159668 h 1685925"/>
                  <a:gd name="connsiteX34" fmla="*/ 5472113 w 8603456"/>
                  <a:gd name="connsiteY34" fmla="*/ 1114425 h 1685925"/>
                  <a:gd name="connsiteX35" fmla="*/ 5474493 w 8603456"/>
                  <a:gd name="connsiteY35" fmla="*/ 1057275 h 1685925"/>
                  <a:gd name="connsiteX36" fmla="*/ 5455444 w 8603456"/>
                  <a:gd name="connsiteY36" fmla="*/ 1014412 h 1685925"/>
                  <a:gd name="connsiteX37" fmla="*/ 5360194 w 8603456"/>
                  <a:gd name="connsiteY37" fmla="*/ 1016794 h 1685925"/>
                  <a:gd name="connsiteX38" fmla="*/ 5264944 w 8603456"/>
                  <a:gd name="connsiteY38" fmla="*/ 995363 h 1685925"/>
                  <a:gd name="connsiteX39" fmla="*/ 5195887 w 8603456"/>
                  <a:gd name="connsiteY39" fmla="*/ 928687 h 1685925"/>
                  <a:gd name="connsiteX40" fmla="*/ 5160169 w 8603456"/>
                  <a:gd name="connsiteY40" fmla="*/ 885825 h 1685925"/>
                  <a:gd name="connsiteX41" fmla="*/ 5079206 w 8603456"/>
                  <a:gd name="connsiteY41" fmla="*/ 862012 h 1685925"/>
                  <a:gd name="connsiteX42" fmla="*/ 5005388 w 8603456"/>
                  <a:gd name="connsiteY42" fmla="*/ 873918 h 1685925"/>
                  <a:gd name="connsiteX43" fmla="*/ 4948237 w 8603456"/>
                  <a:gd name="connsiteY43" fmla="*/ 821531 h 1685925"/>
                  <a:gd name="connsiteX44" fmla="*/ 4852988 w 8603456"/>
                  <a:gd name="connsiteY44" fmla="*/ 833438 h 1685925"/>
                  <a:gd name="connsiteX45" fmla="*/ 4800600 w 8603456"/>
                  <a:gd name="connsiteY45" fmla="*/ 807244 h 1685925"/>
                  <a:gd name="connsiteX46" fmla="*/ 4719638 w 8603456"/>
                  <a:gd name="connsiteY46" fmla="*/ 850106 h 1685925"/>
                  <a:gd name="connsiteX47" fmla="*/ 4581525 w 8603456"/>
                  <a:gd name="connsiteY47" fmla="*/ 873919 h 1685925"/>
                  <a:gd name="connsiteX48" fmla="*/ 4452938 w 8603456"/>
                  <a:gd name="connsiteY48" fmla="*/ 966788 h 1685925"/>
                  <a:gd name="connsiteX49" fmla="*/ 4405312 w 8603456"/>
                  <a:gd name="connsiteY49" fmla="*/ 928688 h 1685925"/>
                  <a:gd name="connsiteX50" fmla="*/ 4383881 w 8603456"/>
                  <a:gd name="connsiteY50" fmla="*/ 959643 h 1685925"/>
                  <a:gd name="connsiteX51" fmla="*/ 4310063 w 8603456"/>
                  <a:gd name="connsiteY51" fmla="*/ 909638 h 1685925"/>
                  <a:gd name="connsiteX52" fmla="*/ 4271963 w 8603456"/>
                  <a:gd name="connsiteY52" fmla="*/ 916781 h 1685925"/>
                  <a:gd name="connsiteX53" fmla="*/ 4250531 w 8603456"/>
                  <a:gd name="connsiteY53" fmla="*/ 878681 h 1685925"/>
                  <a:gd name="connsiteX54" fmla="*/ 4191000 w 8603456"/>
                  <a:gd name="connsiteY54" fmla="*/ 883444 h 1685925"/>
                  <a:gd name="connsiteX55" fmla="*/ 4145756 w 8603456"/>
                  <a:gd name="connsiteY55" fmla="*/ 854869 h 1685925"/>
                  <a:gd name="connsiteX56" fmla="*/ 4107656 w 8603456"/>
                  <a:gd name="connsiteY56" fmla="*/ 852488 h 1685925"/>
                  <a:gd name="connsiteX57" fmla="*/ 4088606 w 8603456"/>
                  <a:gd name="connsiteY57" fmla="*/ 804862 h 1685925"/>
                  <a:gd name="connsiteX58" fmla="*/ 4074319 w 8603456"/>
                  <a:gd name="connsiteY58" fmla="*/ 773906 h 1685925"/>
                  <a:gd name="connsiteX59" fmla="*/ 4029075 w 8603456"/>
                  <a:gd name="connsiteY59" fmla="*/ 783431 h 1685925"/>
                  <a:gd name="connsiteX60" fmla="*/ 4010025 w 8603456"/>
                  <a:gd name="connsiteY60" fmla="*/ 747713 h 1685925"/>
                  <a:gd name="connsiteX61" fmla="*/ 4031457 w 8603456"/>
                  <a:gd name="connsiteY61" fmla="*/ 692944 h 1685925"/>
                  <a:gd name="connsiteX62" fmla="*/ 4000500 w 8603456"/>
                  <a:gd name="connsiteY62" fmla="*/ 666750 h 1685925"/>
                  <a:gd name="connsiteX63" fmla="*/ 4017169 w 8603456"/>
                  <a:gd name="connsiteY63" fmla="*/ 623888 h 1685925"/>
                  <a:gd name="connsiteX64" fmla="*/ 3990975 w 8603456"/>
                  <a:gd name="connsiteY64" fmla="*/ 581025 h 1685925"/>
                  <a:gd name="connsiteX65" fmla="*/ 3986213 w 8603456"/>
                  <a:gd name="connsiteY65" fmla="*/ 519113 h 1685925"/>
                  <a:gd name="connsiteX66" fmla="*/ 4010025 w 8603456"/>
                  <a:gd name="connsiteY66" fmla="*/ 454818 h 1685925"/>
                  <a:gd name="connsiteX67" fmla="*/ 3971925 w 8603456"/>
                  <a:gd name="connsiteY67" fmla="*/ 457200 h 1685925"/>
                  <a:gd name="connsiteX68" fmla="*/ 3852863 w 8603456"/>
                  <a:gd name="connsiteY68" fmla="*/ 400050 h 1685925"/>
                  <a:gd name="connsiteX69" fmla="*/ 3814762 w 8603456"/>
                  <a:gd name="connsiteY69" fmla="*/ 404812 h 1685925"/>
                  <a:gd name="connsiteX70" fmla="*/ 3609975 w 8603456"/>
                  <a:gd name="connsiteY70" fmla="*/ 295275 h 1685925"/>
                  <a:gd name="connsiteX71" fmla="*/ 3505200 w 8603456"/>
                  <a:gd name="connsiteY71" fmla="*/ 264319 h 1685925"/>
                  <a:gd name="connsiteX72" fmla="*/ 3440906 w 8603456"/>
                  <a:gd name="connsiteY72" fmla="*/ 273843 h 1685925"/>
                  <a:gd name="connsiteX73" fmla="*/ 3409950 w 8603456"/>
                  <a:gd name="connsiteY73" fmla="*/ 209550 h 1685925"/>
                  <a:gd name="connsiteX74" fmla="*/ 3352800 w 8603456"/>
                  <a:gd name="connsiteY74" fmla="*/ 209550 h 1685925"/>
                  <a:gd name="connsiteX75" fmla="*/ 3214687 w 8603456"/>
                  <a:gd name="connsiteY75" fmla="*/ 104775 h 1685925"/>
                  <a:gd name="connsiteX76" fmla="*/ 3181350 w 8603456"/>
                  <a:gd name="connsiteY76" fmla="*/ 164307 h 1685925"/>
                  <a:gd name="connsiteX77" fmla="*/ 3126581 w 8603456"/>
                  <a:gd name="connsiteY77" fmla="*/ 233363 h 1685925"/>
                  <a:gd name="connsiteX78" fmla="*/ 3083719 w 8603456"/>
                  <a:gd name="connsiteY78" fmla="*/ 250031 h 1685925"/>
                  <a:gd name="connsiteX79" fmla="*/ 3052763 w 8603456"/>
                  <a:gd name="connsiteY79" fmla="*/ 242888 h 1685925"/>
                  <a:gd name="connsiteX80" fmla="*/ 3028950 w 8603456"/>
                  <a:gd name="connsiteY80" fmla="*/ 271463 h 1685925"/>
                  <a:gd name="connsiteX81" fmla="*/ 3002756 w 8603456"/>
                  <a:gd name="connsiteY81" fmla="*/ 350044 h 1685925"/>
                  <a:gd name="connsiteX82" fmla="*/ 2959894 w 8603456"/>
                  <a:gd name="connsiteY82" fmla="*/ 347663 h 1685925"/>
                  <a:gd name="connsiteX83" fmla="*/ 2928937 w 8603456"/>
                  <a:gd name="connsiteY83" fmla="*/ 409575 h 1685925"/>
                  <a:gd name="connsiteX84" fmla="*/ 2924175 w 8603456"/>
                  <a:gd name="connsiteY84" fmla="*/ 473869 h 1685925"/>
                  <a:gd name="connsiteX85" fmla="*/ 2897982 w 8603456"/>
                  <a:gd name="connsiteY85" fmla="*/ 511969 h 1685925"/>
                  <a:gd name="connsiteX86" fmla="*/ 2924175 w 8603456"/>
                  <a:gd name="connsiteY86" fmla="*/ 571500 h 1685925"/>
                  <a:gd name="connsiteX87" fmla="*/ 2926556 w 8603456"/>
                  <a:gd name="connsiteY87" fmla="*/ 640556 h 1685925"/>
                  <a:gd name="connsiteX88" fmla="*/ 2955131 w 8603456"/>
                  <a:gd name="connsiteY88" fmla="*/ 692944 h 1685925"/>
                  <a:gd name="connsiteX89" fmla="*/ 3002757 w 8603456"/>
                  <a:gd name="connsiteY89" fmla="*/ 747713 h 1685925"/>
                  <a:gd name="connsiteX90" fmla="*/ 2952750 w 8603456"/>
                  <a:gd name="connsiteY90" fmla="*/ 885825 h 1685925"/>
                  <a:gd name="connsiteX91" fmla="*/ 2883694 w 8603456"/>
                  <a:gd name="connsiteY91" fmla="*/ 952500 h 1685925"/>
                  <a:gd name="connsiteX92" fmla="*/ 2812256 w 8603456"/>
                  <a:gd name="connsiteY92" fmla="*/ 947738 h 1685925"/>
                  <a:gd name="connsiteX93" fmla="*/ 2774156 w 8603456"/>
                  <a:gd name="connsiteY93" fmla="*/ 1004888 h 1685925"/>
                  <a:gd name="connsiteX94" fmla="*/ 2714625 w 8603456"/>
                  <a:gd name="connsiteY94" fmla="*/ 1019175 h 1685925"/>
                  <a:gd name="connsiteX95" fmla="*/ 2645569 w 8603456"/>
                  <a:gd name="connsiteY95" fmla="*/ 959644 h 1685925"/>
                  <a:gd name="connsiteX96" fmla="*/ 2590800 w 8603456"/>
                  <a:gd name="connsiteY96" fmla="*/ 931069 h 1685925"/>
                  <a:gd name="connsiteX97" fmla="*/ 2547938 w 8603456"/>
                  <a:gd name="connsiteY97" fmla="*/ 945356 h 1685925"/>
                  <a:gd name="connsiteX98" fmla="*/ 2495550 w 8603456"/>
                  <a:gd name="connsiteY98" fmla="*/ 928688 h 1685925"/>
                  <a:gd name="connsiteX99" fmla="*/ 2428875 w 8603456"/>
                  <a:gd name="connsiteY99" fmla="*/ 873919 h 1685925"/>
                  <a:gd name="connsiteX100" fmla="*/ 2383631 w 8603456"/>
                  <a:gd name="connsiteY100" fmla="*/ 885825 h 1685925"/>
                  <a:gd name="connsiteX101" fmla="*/ 2362200 w 8603456"/>
                  <a:gd name="connsiteY101" fmla="*/ 854869 h 1685925"/>
                  <a:gd name="connsiteX102" fmla="*/ 2305050 w 8603456"/>
                  <a:gd name="connsiteY102" fmla="*/ 895350 h 1685925"/>
                  <a:gd name="connsiteX103" fmla="*/ 2188369 w 8603456"/>
                  <a:gd name="connsiteY103" fmla="*/ 873919 h 1685925"/>
                  <a:gd name="connsiteX104" fmla="*/ 2138363 w 8603456"/>
                  <a:gd name="connsiteY104" fmla="*/ 821531 h 1685925"/>
                  <a:gd name="connsiteX105" fmla="*/ 2095500 w 8603456"/>
                  <a:gd name="connsiteY105" fmla="*/ 807244 h 1685925"/>
                  <a:gd name="connsiteX106" fmla="*/ 2052638 w 8603456"/>
                  <a:gd name="connsiteY106" fmla="*/ 833438 h 1685925"/>
                  <a:gd name="connsiteX107" fmla="*/ 2000250 w 8603456"/>
                  <a:gd name="connsiteY107" fmla="*/ 742950 h 1685925"/>
                  <a:gd name="connsiteX108" fmla="*/ 1990725 w 8603456"/>
                  <a:gd name="connsiteY108" fmla="*/ 595312 h 1685925"/>
                  <a:gd name="connsiteX109" fmla="*/ 1938337 w 8603456"/>
                  <a:gd name="connsiteY109" fmla="*/ 588168 h 1685925"/>
                  <a:gd name="connsiteX110" fmla="*/ 1847850 w 8603456"/>
                  <a:gd name="connsiteY110" fmla="*/ 578644 h 1685925"/>
                  <a:gd name="connsiteX111" fmla="*/ 1793081 w 8603456"/>
                  <a:gd name="connsiteY111" fmla="*/ 540544 h 1685925"/>
                  <a:gd name="connsiteX112" fmla="*/ 1724025 w 8603456"/>
                  <a:gd name="connsiteY112" fmla="*/ 550069 h 1685925"/>
                  <a:gd name="connsiteX113" fmla="*/ 1678781 w 8603456"/>
                  <a:gd name="connsiteY113" fmla="*/ 523875 h 1685925"/>
                  <a:gd name="connsiteX114" fmla="*/ 1669257 w 8603456"/>
                  <a:gd name="connsiteY114" fmla="*/ 452438 h 1685925"/>
                  <a:gd name="connsiteX115" fmla="*/ 1645444 w 8603456"/>
                  <a:gd name="connsiteY115" fmla="*/ 438150 h 1685925"/>
                  <a:gd name="connsiteX116" fmla="*/ 1607344 w 8603456"/>
                  <a:gd name="connsiteY116" fmla="*/ 485774 h 1685925"/>
                  <a:gd name="connsiteX117" fmla="*/ 1528762 w 8603456"/>
                  <a:gd name="connsiteY117" fmla="*/ 411956 h 1685925"/>
                  <a:gd name="connsiteX118" fmla="*/ 1488281 w 8603456"/>
                  <a:gd name="connsiteY118" fmla="*/ 452438 h 1685925"/>
                  <a:gd name="connsiteX119" fmla="*/ 1412081 w 8603456"/>
                  <a:gd name="connsiteY119" fmla="*/ 438150 h 1685925"/>
                  <a:gd name="connsiteX120" fmla="*/ 1333500 w 8603456"/>
                  <a:gd name="connsiteY120" fmla="*/ 464344 h 1685925"/>
                  <a:gd name="connsiteX121" fmla="*/ 1273969 w 8603456"/>
                  <a:gd name="connsiteY121" fmla="*/ 511968 h 1685925"/>
                  <a:gd name="connsiteX122" fmla="*/ 1200150 w 8603456"/>
                  <a:gd name="connsiteY122" fmla="*/ 523875 h 1685925"/>
                  <a:gd name="connsiteX123" fmla="*/ 1164431 w 8603456"/>
                  <a:gd name="connsiteY123" fmla="*/ 516731 h 1685925"/>
                  <a:gd name="connsiteX124" fmla="*/ 1085851 w 8603456"/>
                  <a:gd name="connsiteY124" fmla="*/ 547688 h 1685925"/>
                  <a:gd name="connsiteX125" fmla="*/ 1064419 w 8603456"/>
                  <a:gd name="connsiteY125" fmla="*/ 576263 h 1685925"/>
                  <a:gd name="connsiteX126" fmla="*/ 997744 w 8603456"/>
                  <a:gd name="connsiteY126" fmla="*/ 566738 h 1685925"/>
                  <a:gd name="connsiteX127" fmla="*/ 928688 w 8603456"/>
                  <a:gd name="connsiteY127" fmla="*/ 590550 h 1685925"/>
                  <a:gd name="connsiteX128" fmla="*/ 873919 w 8603456"/>
                  <a:gd name="connsiteY128" fmla="*/ 628650 h 1685925"/>
                  <a:gd name="connsiteX129" fmla="*/ 778669 w 8603456"/>
                  <a:gd name="connsiteY129" fmla="*/ 642937 h 1685925"/>
                  <a:gd name="connsiteX130" fmla="*/ 764381 w 8603456"/>
                  <a:gd name="connsiteY130" fmla="*/ 664369 h 1685925"/>
                  <a:gd name="connsiteX131" fmla="*/ 776287 w 8603456"/>
                  <a:gd name="connsiteY131" fmla="*/ 709613 h 1685925"/>
                  <a:gd name="connsiteX132" fmla="*/ 676276 w 8603456"/>
                  <a:gd name="connsiteY132" fmla="*/ 762000 h 1685925"/>
                  <a:gd name="connsiteX133" fmla="*/ 638175 w 8603456"/>
                  <a:gd name="connsiteY133" fmla="*/ 733424 h 1685925"/>
                  <a:gd name="connsiteX134" fmla="*/ 607219 w 8603456"/>
                  <a:gd name="connsiteY134" fmla="*/ 790575 h 1685925"/>
                  <a:gd name="connsiteX135" fmla="*/ 550069 w 8603456"/>
                  <a:gd name="connsiteY135" fmla="*/ 752475 h 1685925"/>
                  <a:gd name="connsiteX136" fmla="*/ 514350 w 8603456"/>
                  <a:gd name="connsiteY136" fmla="*/ 781050 h 1685925"/>
                  <a:gd name="connsiteX137" fmla="*/ 478631 w 8603456"/>
                  <a:gd name="connsiteY137" fmla="*/ 745331 h 1685925"/>
                  <a:gd name="connsiteX138" fmla="*/ 426244 w 8603456"/>
                  <a:gd name="connsiteY138" fmla="*/ 757238 h 1685925"/>
                  <a:gd name="connsiteX139" fmla="*/ 381000 w 8603456"/>
                  <a:gd name="connsiteY139" fmla="*/ 728663 h 1685925"/>
                  <a:gd name="connsiteX140" fmla="*/ 357188 w 8603456"/>
                  <a:gd name="connsiteY140" fmla="*/ 747713 h 1685925"/>
                  <a:gd name="connsiteX141" fmla="*/ 333375 w 8603456"/>
                  <a:gd name="connsiteY141" fmla="*/ 807244 h 1685925"/>
                  <a:gd name="connsiteX142" fmla="*/ 261938 w 8603456"/>
                  <a:gd name="connsiteY142" fmla="*/ 845343 h 1685925"/>
                  <a:gd name="connsiteX143" fmla="*/ 209550 w 8603456"/>
                  <a:gd name="connsiteY143" fmla="*/ 816769 h 1685925"/>
                  <a:gd name="connsiteX144" fmla="*/ 119063 w 8603456"/>
                  <a:gd name="connsiteY144" fmla="*/ 826294 h 1685925"/>
                  <a:gd name="connsiteX145" fmla="*/ 71437 w 8603456"/>
                  <a:gd name="connsiteY145" fmla="*/ 792957 h 1685925"/>
                  <a:gd name="connsiteX146" fmla="*/ 0 w 8603456"/>
                  <a:gd name="connsiteY146" fmla="*/ 812006 h 1685925"/>
                  <a:gd name="connsiteX147" fmla="*/ 4762 w 8603456"/>
                  <a:gd name="connsiteY147" fmla="*/ 0 h 1685925"/>
                  <a:gd name="connsiteX148" fmla="*/ 8603456 w 8603456"/>
                  <a:gd name="connsiteY148" fmla="*/ 1631156 h 1685925"/>
                  <a:gd name="connsiteX149" fmla="*/ 8565356 w 8603456"/>
                  <a:gd name="connsiteY149" fmla="*/ 1585913 h 1685925"/>
                  <a:gd name="connsiteX150" fmla="*/ 8534400 w 8603456"/>
                  <a:gd name="connsiteY150" fmla="*/ 1583531 h 1685925"/>
                  <a:gd name="connsiteX151" fmla="*/ 8517731 w 8603456"/>
                  <a:gd name="connsiteY151" fmla="*/ 1531144 h 1685925"/>
                  <a:gd name="connsiteX152" fmla="*/ 8477250 w 8603456"/>
                  <a:gd name="connsiteY152" fmla="*/ 1514475 h 1685925"/>
                  <a:gd name="connsiteX153" fmla="*/ 8477250 w 8603456"/>
                  <a:gd name="connsiteY153" fmla="*/ 1514475 h 1685925"/>
                  <a:gd name="connsiteX154" fmla="*/ 8436769 w 8603456"/>
                  <a:gd name="connsiteY154" fmla="*/ 1519238 h 1685925"/>
                  <a:gd name="connsiteX155" fmla="*/ 8351043 w 8603456"/>
                  <a:gd name="connsiteY155" fmla="*/ 1445419 h 1685925"/>
                  <a:gd name="connsiteX156" fmla="*/ 8170069 w 8603456"/>
                  <a:gd name="connsiteY156" fmla="*/ 1445418 h 1685925"/>
                  <a:gd name="connsiteX157" fmla="*/ 8117681 w 8603456"/>
                  <a:gd name="connsiteY157" fmla="*/ 1483519 h 1685925"/>
                  <a:gd name="connsiteX158" fmla="*/ 8067675 w 8603456"/>
                  <a:gd name="connsiteY158" fmla="*/ 1562100 h 1685925"/>
                  <a:gd name="connsiteX159" fmla="*/ 8084344 w 8603456"/>
                  <a:gd name="connsiteY159" fmla="*/ 1583531 h 1685925"/>
                  <a:gd name="connsiteX160" fmla="*/ 8039100 w 8603456"/>
                  <a:gd name="connsiteY160" fmla="*/ 1633537 h 1685925"/>
                  <a:gd name="connsiteX161" fmla="*/ 7889081 w 8603456"/>
                  <a:gd name="connsiteY161" fmla="*/ 1557337 h 1685925"/>
                  <a:gd name="connsiteX162" fmla="*/ 7798594 w 8603456"/>
                  <a:gd name="connsiteY162" fmla="*/ 1593056 h 1685925"/>
                  <a:gd name="connsiteX163" fmla="*/ 7724775 w 8603456"/>
                  <a:gd name="connsiteY163" fmla="*/ 1590675 h 1685925"/>
                  <a:gd name="connsiteX164" fmla="*/ 7667625 w 8603456"/>
                  <a:gd name="connsiteY164" fmla="*/ 1685925 h 1685925"/>
                  <a:gd name="connsiteX165" fmla="*/ 7529513 w 8603456"/>
                  <a:gd name="connsiteY165" fmla="*/ 1588294 h 1685925"/>
                  <a:gd name="connsiteX0" fmla="*/ 7529513 w 8565356"/>
                  <a:gd name="connsiteY0" fmla="*/ 1588294 h 1685925"/>
                  <a:gd name="connsiteX1" fmla="*/ 7522369 w 8565356"/>
                  <a:gd name="connsiteY1" fmla="*/ 1533525 h 1685925"/>
                  <a:gd name="connsiteX2" fmla="*/ 7589044 w 8565356"/>
                  <a:gd name="connsiteY2" fmla="*/ 1459706 h 1685925"/>
                  <a:gd name="connsiteX3" fmla="*/ 7572375 w 8565356"/>
                  <a:gd name="connsiteY3" fmla="*/ 1388269 h 1685925"/>
                  <a:gd name="connsiteX4" fmla="*/ 7586663 w 8565356"/>
                  <a:gd name="connsiteY4" fmla="*/ 1293019 h 1685925"/>
                  <a:gd name="connsiteX5" fmla="*/ 7624763 w 8565356"/>
                  <a:gd name="connsiteY5" fmla="*/ 1235869 h 1685925"/>
                  <a:gd name="connsiteX6" fmla="*/ 7605712 w 8565356"/>
                  <a:gd name="connsiteY6" fmla="*/ 1202531 h 1685925"/>
                  <a:gd name="connsiteX7" fmla="*/ 7703343 w 8565356"/>
                  <a:gd name="connsiteY7" fmla="*/ 802481 h 1685925"/>
                  <a:gd name="connsiteX8" fmla="*/ 7696200 w 8565356"/>
                  <a:gd name="connsiteY8" fmla="*/ 773906 h 1685925"/>
                  <a:gd name="connsiteX9" fmla="*/ 7567613 w 8565356"/>
                  <a:gd name="connsiteY9" fmla="*/ 752475 h 1685925"/>
                  <a:gd name="connsiteX10" fmla="*/ 7384257 w 8565356"/>
                  <a:gd name="connsiteY10" fmla="*/ 831056 h 1685925"/>
                  <a:gd name="connsiteX11" fmla="*/ 7227093 w 8565356"/>
                  <a:gd name="connsiteY11" fmla="*/ 716756 h 1685925"/>
                  <a:gd name="connsiteX12" fmla="*/ 7150894 w 8565356"/>
                  <a:gd name="connsiteY12" fmla="*/ 723900 h 1685925"/>
                  <a:gd name="connsiteX13" fmla="*/ 7077075 w 8565356"/>
                  <a:gd name="connsiteY13" fmla="*/ 719138 h 1685925"/>
                  <a:gd name="connsiteX14" fmla="*/ 6938963 w 8565356"/>
                  <a:gd name="connsiteY14" fmla="*/ 823913 h 1685925"/>
                  <a:gd name="connsiteX15" fmla="*/ 6831806 w 8565356"/>
                  <a:gd name="connsiteY15" fmla="*/ 931069 h 1685925"/>
                  <a:gd name="connsiteX16" fmla="*/ 6788944 w 8565356"/>
                  <a:gd name="connsiteY16" fmla="*/ 1000125 h 1685925"/>
                  <a:gd name="connsiteX17" fmla="*/ 6796088 w 8565356"/>
                  <a:gd name="connsiteY17" fmla="*/ 1035844 h 1685925"/>
                  <a:gd name="connsiteX18" fmla="*/ 6734175 w 8565356"/>
                  <a:gd name="connsiteY18" fmla="*/ 1047750 h 1685925"/>
                  <a:gd name="connsiteX19" fmla="*/ 6753225 w 8565356"/>
                  <a:gd name="connsiteY19" fmla="*/ 1047750 h 1685925"/>
                  <a:gd name="connsiteX20" fmla="*/ 6719888 w 8565356"/>
                  <a:gd name="connsiteY20" fmla="*/ 1078706 h 1685925"/>
                  <a:gd name="connsiteX21" fmla="*/ 6619875 w 8565356"/>
                  <a:gd name="connsiteY21" fmla="*/ 1078707 h 1685925"/>
                  <a:gd name="connsiteX22" fmla="*/ 6524625 w 8565356"/>
                  <a:gd name="connsiteY22" fmla="*/ 1133475 h 1685925"/>
                  <a:gd name="connsiteX23" fmla="*/ 6443663 w 8565356"/>
                  <a:gd name="connsiteY23" fmla="*/ 1143000 h 1685925"/>
                  <a:gd name="connsiteX24" fmla="*/ 6403181 w 8565356"/>
                  <a:gd name="connsiteY24" fmla="*/ 1176338 h 1685925"/>
                  <a:gd name="connsiteX25" fmla="*/ 6353175 w 8565356"/>
                  <a:gd name="connsiteY25" fmla="*/ 1181100 h 1685925"/>
                  <a:gd name="connsiteX26" fmla="*/ 6231732 w 8565356"/>
                  <a:gd name="connsiteY26" fmla="*/ 1273969 h 1685925"/>
                  <a:gd name="connsiteX27" fmla="*/ 6172200 w 8565356"/>
                  <a:gd name="connsiteY27" fmla="*/ 1278731 h 1685925"/>
                  <a:gd name="connsiteX28" fmla="*/ 6119813 w 8565356"/>
                  <a:gd name="connsiteY28" fmla="*/ 1243013 h 1685925"/>
                  <a:gd name="connsiteX29" fmla="*/ 6093619 w 8565356"/>
                  <a:gd name="connsiteY29" fmla="*/ 1278731 h 1685925"/>
                  <a:gd name="connsiteX30" fmla="*/ 5895975 w 8565356"/>
                  <a:gd name="connsiteY30" fmla="*/ 1271588 h 1685925"/>
                  <a:gd name="connsiteX31" fmla="*/ 5834063 w 8565356"/>
                  <a:gd name="connsiteY31" fmla="*/ 1226344 h 1685925"/>
                  <a:gd name="connsiteX32" fmla="*/ 5636419 w 8565356"/>
                  <a:gd name="connsiteY32" fmla="*/ 1243013 h 1685925"/>
                  <a:gd name="connsiteX33" fmla="*/ 5548313 w 8565356"/>
                  <a:gd name="connsiteY33" fmla="*/ 1159668 h 1685925"/>
                  <a:gd name="connsiteX34" fmla="*/ 5472113 w 8565356"/>
                  <a:gd name="connsiteY34" fmla="*/ 1114425 h 1685925"/>
                  <a:gd name="connsiteX35" fmla="*/ 5474493 w 8565356"/>
                  <a:gd name="connsiteY35" fmla="*/ 1057275 h 1685925"/>
                  <a:gd name="connsiteX36" fmla="*/ 5455444 w 8565356"/>
                  <a:gd name="connsiteY36" fmla="*/ 1014412 h 1685925"/>
                  <a:gd name="connsiteX37" fmla="*/ 5360194 w 8565356"/>
                  <a:gd name="connsiteY37" fmla="*/ 1016794 h 1685925"/>
                  <a:gd name="connsiteX38" fmla="*/ 5264944 w 8565356"/>
                  <a:gd name="connsiteY38" fmla="*/ 995363 h 1685925"/>
                  <a:gd name="connsiteX39" fmla="*/ 5195887 w 8565356"/>
                  <a:gd name="connsiteY39" fmla="*/ 928687 h 1685925"/>
                  <a:gd name="connsiteX40" fmla="*/ 5160169 w 8565356"/>
                  <a:gd name="connsiteY40" fmla="*/ 885825 h 1685925"/>
                  <a:gd name="connsiteX41" fmla="*/ 5079206 w 8565356"/>
                  <a:gd name="connsiteY41" fmla="*/ 862012 h 1685925"/>
                  <a:gd name="connsiteX42" fmla="*/ 5005388 w 8565356"/>
                  <a:gd name="connsiteY42" fmla="*/ 873918 h 1685925"/>
                  <a:gd name="connsiteX43" fmla="*/ 4948237 w 8565356"/>
                  <a:gd name="connsiteY43" fmla="*/ 821531 h 1685925"/>
                  <a:gd name="connsiteX44" fmla="*/ 4852988 w 8565356"/>
                  <a:gd name="connsiteY44" fmla="*/ 833438 h 1685925"/>
                  <a:gd name="connsiteX45" fmla="*/ 4800600 w 8565356"/>
                  <a:gd name="connsiteY45" fmla="*/ 807244 h 1685925"/>
                  <a:gd name="connsiteX46" fmla="*/ 4719638 w 8565356"/>
                  <a:gd name="connsiteY46" fmla="*/ 850106 h 1685925"/>
                  <a:gd name="connsiteX47" fmla="*/ 4581525 w 8565356"/>
                  <a:gd name="connsiteY47" fmla="*/ 873919 h 1685925"/>
                  <a:gd name="connsiteX48" fmla="*/ 4452938 w 8565356"/>
                  <a:gd name="connsiteY48" fmla="*/ 966788 h 1685925"/>
                  <a:gd name="connsiteX49" fmla="*/ 4405312 w 8565356"/>
                  <a:gd name="connsiteY49" fmla="*/ 928688 h 1685925"/>
                  <a:gd name="connsiteX50" fmla="*/ 4383881 w 8565356"/>
                  <a:gd name="connsiteY50" fmla="*/ 959643 h 1685925"/>
                  <a:gd name="connsiteX51" fmla="*/ 4310063 w 8565356"/>
                  <a:gd name="connsiteY51" fmla="*/ 909638 h 1685925"/>
                  <a:gd name="connsiteX52" fmla="*/ 4271963 w 8565356"/>
                  <a:gd name="connsiteY52" fmla="*/ 916781 h 1685925"/>
                  <a:gd name="connsiteX53" fmla="*/ 4250531 w 8565356"/>
                  <a:gd name="connsiteY53" fmla="*/ 878681 h 1685925"/>
                  <a:gd name="connsiteX54" fmla="*/ 4191000 w 8565356"/>
                  <a:gd name="connsiteY54" fmla="*/ 883444 h 1685925"/>
                  <a:gd name="connsiteX55" fmla="*/ 4145756 w 8565356"/>
                  <a:gd name="connsiteY55" fmla="*/ 854869 h 1685925"/>
                  <a:gd name="connsiteX56" fmla="*/ 4107656 w 8565356"/>
                  <a:gd name="connsiteY56" fmla="*/ 852488 h 1685925"/>
                  <a:gd name="connsiteX57" fmla="*/ 4088606 w 8565356"/>
                  <a:gd name="connsiteY57" fmla="*/ 804862 h 1685925"/>
                  <a:gd name="connsiteX58" fmla="*/ 4074319 w 8565356"/>
                  <a:gd name="connsiteY58" fmla="*/ 773906 h 1685925"/>
                  <a:gd name="connsiteX59" fmla="*/ 4029075 w 8565356"/>
                  <a:gd name="connsiteY59" fmla="*/ 783431 h 1685925"/>
                  <a:gd name="connsiteX60" fmla="*/ 4010025 w 8565356"/>
                  <a:gd name="connsiteY60" fmla="*/ 747713 h 1685925"/>
                  <a:gd name="connsiteX61" fmla="*/ 4031457 w 8565356"/>
                  <a:gd name="connsiteY61" fmla="*/ 692944 h 1685925"/>
                  <a:gd name="connsiteX62" fmla="*/ 4000500 w 8565356"/>
                  <a:gd name="connsiteY62" fmla="*/ 666750 h 1685925"/>
                  <a:gd name="connsiteX63" fmla="*/ 4017169 w 8565356"/>
                  <a:gd name="connsiteY63" fmla="*/ 623888 h 1685925"/>
                  <a:gd name="connsiteX64" fmla="*/ 3990975 w 8565356"/>
                  <a:gd name="connsiteY64" fmla="*/ 581025 h 1685925"/>
                  <a:gd name="connsiteX65" fmla="*/ 3986213 w 8565356"/>
                  <a:gd name="connsiteY65" fmla="*/ 519113 h 1685925"/>
                  <a:gd name="connsiteX66" fmla="*/ 4010025 w 8565356"/>
                  <a:gd name="connsiteY66" fmla="*/ 454818 h 1685925"/>
                  <a:gd name="connsiteX67" fmla="*/ 3971925 w 8565356"/>
                  <a:gd name="connsiteY67" fmla="*/ 457200 h 1685925"/>
                  <a:gd name="connsiteX68" fmla="*/ 3852863 w 8565356"/>
                  <a:gd name="connsiteY68" fmla="*/ 400050 h 1685925"/>
                  <a:gd name="connsiteX69" fmla="*/ 3814762 w 8565356"/>
                  <a:gd name="connsiteY69" fmla="*/ 404812 h 1685925"/>
                  <a:gd name="connsiteX70" fmla="*/ 3609975 w 8565356"/>
                  <a:gd name="connsiteY70" fmla="*/ 295275 h 1685925"/>
                  <a:gd name="connsiteX71" fmla="*/ 3505200 w 8565356"/>
                  <a:gd name="connsiteY71" fmla="*/ 264319 h 1685925"/>
                  <a:gd name="connsiteX72" fmla="*/ 3440906 w 8565356"/>
                  <a:gd name="connsiteY72" fmla="*/ 273843 h 1685925"/>
                  <a:gd name="connsiteX73" fmla="*/ 3409950 w 8565356"/>
                  <a:gd name="connsiteY73" fmla="*/ 209550 h 1685925"/>
                  <a:gd name="connsiteX74" fmla="*/ 3352800 w 8565356"/>
                  <a:gd name="connsiteY74" fmla="*/ 209550 h 1685925"/>
                  <a:gd name="connsiteX75" fmla="*/ 3214687 w 8565356"/>
                  <a:gd name="connsiteY75" fmla="*/ 104775 h 1685925"/>
                  <a:gd name="connsiteX76" fmla="*/ 3181350 w 8565356"/>
                  <a:gd name="connsiteY76" fmla="*/ 164307 h 1685925"/>
                  <a:gd name="connsiteX77" fmla="*/ 3126581 w 8565356"/>
                  <a:gd name="connsiteY77" fmla="*/ 233363 h 1685925"/>
                  <a:gd name="connsiteX78" fmla="*/ 3083719 w 8565356"/>
                  <a:gd name="connsiteY78" fmla="*/ 250031 h 1685925"/>
                  <a:gd name="connsiteX79" fmla="*/ 3052763 w 8565356"/>
                  <a:gd name="connsiteY79" fmla="*/ 242888 h 1685925"/>
                  <a:gd name="connsiteX80" fmla="*/ 3028950 w 8565356"/>
                  <a:gd name="connsiteY80" fmla="*/ 271463 h 1685925"/>
                  <a:gd name="connsiteX81" fmla="*/ 3002756 w 8565356"/>
                  <a:gd name="connsiteY81" fmla="*/ 350044 h 1685925"/>
                  <a:gd name="connsiteX82" fmla="*/ 2959894 w 8565356"/>
                  <a:gd name="connsiteY82" fmla="*/ 347663 h 1685925"/>
                  <a:gd name="connsiteX83" fmla="*/ 2928937 w 8565356"/>
                  <a:gd name="connsiteY83" fmla="*/ 409575 h 1685925"/>
                  <a:gd name="connsiteX84" fmla="*/ 2924175 w 8565356"/>
                  <a:gd name="connsiteY84" fmla="*/ 473869 h 1685925"/>
                  <a:gd name="connsiteX85" fmla="*/ 2897982 w 8565356"/>
                  <a:gd name="connsiteY85" fmla="*/ 511969 h 1685925"/>
                  <a:gd name="connsiteX86" fmla="*/ 2924175 w 8565356"/>
                  <a:gd name="connsiteY86" fmla="*/ 571500 h 1685925"/>
                  <a:gd name="connsiteX87" fmla="*/ 2926556 w 8565356"/>
                  <a:gd name="connsiteY87" fmla="*/ 640556 h 1685925"/>
                  <a:gd name="connsiteX88" fmla="*/ 2955131 w 8565356"/>
                  <a:gd name="connsiteY88" fmla="*/ 692944 h 1685925"/>
                  <a:gd name="connsiteX89" fmla="*/ 3002757 w 8565356"/>
                  <a:gd name="connsiteY89" fmla="*/ 747713 h 1685925"/>
                  <a:gd name="connsiteX90" fmla="*/ 2952750 w 8565356"/>
                  <a:gd name="connsiteY90" fmla="*/ 885825 h 1685925"/>
                  <a:gd name="connsiteX91" fmla="*/ 2883694 w 8565356"/>
                  <a:gd name="connsiteY91" fmla="*/ 952500 h 1685925"/>
                  <a:gd name="connsiteX92" fmla="*/ 2812256 w 8565356"/>
                  <a:gd name="connsiteY92" fmla="*/ 947738 h 1685925"/>
                  <a:gd name="connsiteX93" fmla="*/ 2774156 w 8565356"/>
                  <a:gd name="connsiteY93" fmla="*/ 1004888 h 1685925"/>
                  <a:gd name="connsiteX94" fmla="*/ 2714625 w 8565356"/>
                  <a:gd name="connsiteY94" fmla="*/ 1019175 h 1685925"/>
                  <a:gd name="connsiteX95" fmla="*/ 2645569 w 8565356"/>
                  <a:gd name="connsiteY95" fmla="*/ 959644 h 1685925"/>
                  <a:gd name="connsiteX96" fmla="*/ 2590800 w 8565356"/>
                  <a:gd name="connsiteY96" fmla="*/ 931069 h 1685925"/>
                  <a:gd name="connsiteX97" fmla="*/ 2547938 w 8565356"/>
                  <a:gd name="connsiteY97" fmla="*/ 945356 h 1685925"/>
                  <a:gd name="connsiteX98" fmla="*/ 2495550 w 8565356"/>
                  <a:gd name="connsiteY98" fmla="*/ 928688 h 1685925"/>
                  <a:gd name="connsiteX99" fmla="*/ 2428875 w 8565356"/>
                  <a:gd name="connsiteY99" fmla="*/ 873919 h 1685925"/>
                  <a:gd name="connsiteX100" fmla="*/ 2383631 w 8565356"/>
                  <a:gd name="connsiteY100" fmla="*/ 885825 h 1685925"/>
                  <a:gd name="connsiteX101" fmla="*/ 2362200 w 8565356"/>
                  <a:gd name="connsiteY101" fmla="*/ 854869 h 1685925"/>
                  <a:gd name="connsiteX102" fmla="*/ 2305050 w 8565356"/>
                  <a:gd name="connsiteY102" fmla="*/ 895350 h 1685925"/>
                  <a:gd name="connsiteX103" fmla="*/ 2188369 w 8565356"/>
                  <a:gd name="connsiteY103" fmla="*/ 873919 h 1685925"/>
                  <a:gd name="connsiteX104" fmla="*/ 2138363 w 8565356"/>
                  <a:gd name="connsiteY104" fmla="*/ 821531 h 1685925"/>
                  <a:gd name="connsiteX105" fmla="*/ 2095500 w 8565356"/>
                  <a:gd name="connsiteY105" fmla="*/ 807244 h 1685925"/>
                  <a:gd name="connsiteX106" fmla="*/ 2052638 w 8565356"/>
                  <a:gd name="connsiteY106" fmla="*/ 833438 h 1685925"/>
                  <a:gd name="connsiteX107" fmla="*/ 2000250 w 8565356"/>
                  <a:gd name="connsiteY107" fmla="*/ 742950 h 1685925"/>
                  <a:gd name="connsiteX108" fmla="*/ 1990725 w 8565356"/>
                  <a:gd name="connsiteY108" fmla="*/ 595312 h 1685925"/>
                  <a:gd name="connsiteX109" fmla="*/ 1938337 w 8565356"/>
                  <a:gd name="connsiteY109" fmla="*/ 588168 h 1685925"/>
                  <a:gd name="connsiteX110" fmla="*/ 1847850 w 8565356"/>
                  <a:gd name="connsiteY110" fmla="*/ 578644 h 1685925"/>
                  <a:gd name="connsiteX111" fmla="*/ 1793081 w 8565356"/>
                  <a:gd name="connsiteY111" fmla="*/ 540544 h 1685925"/>
                  <a:gd name="connsiteX112" fmla="*/ 1724025 w 8565356"/>
                  <a:gd name="connsiteY112" fmla="*/ 550069 h 1685925"/>
                  <a:gd name="connsiteX113" fmla="*/ 1678781 w 8565356"/>
                  <a:gd name="connsiteY113" fmla="*/ 523875 h 1685925"/>
                  <a:gd name="connsiteX114" fmla="*/ 1669257 w 8565356"/>
                  <a:gd name="connsiteY114" fmla="*/ 452438 h 1685925"/>
                  <a:gd name="connsiteX115" fmla="*/ 1645444 w 8565356"/>
                  <a:gd name="connsiteY115" fmla="*/ 438150 h 1685925"/>
                  <a:gd name="connsiteX116" fmla="*/ 1607344 w 8565356"/>
                  <a:gd name="connsiteY116" fmla="*/ 485774 h 1685925"/>
                  <a:gd name="connsiteX117" fmla="*/ 1528762 w 8565356"/>
                  <a:gd name="connsiteY117" fmla="*/ 411956 h 1685925"/>
                  <a:gd name="connsiteX118" fmla="*/ 1488281 w 8565356"/>
                  <a:gd name="connsiteY118" fmla="*/ 452438 h 1685925"/>
                  <a:gd name="connsiteX119" fmla="*/ 1412081 w 8565356"/>
                  <a:gd name="connsiteY119" fmla="*/ 438150 h 1685925"/>
                  <a:gd name="connsiteX120" fmla="*/ 1333500 w 8565356"/>
                  <a:gd name="connsiteY120" fmla="*/ 464344 h 1685925"/>
                  <a:gd name="connsiteX121" fmla="*/ 1273969 w 8565356"/>
                  <a:gd name="connsiteY121" fmla="*/ 511968 h 1685925"/>
                  <a:gd name="connsiteX122" fmla="*/ 1200150 w 8565356"/>
                  <a:gd name="connsiteY122" fmla="*/ 523875 h 1685925"/>
                  <a:gd name="connsiteX123" fmla="*/ 1164431 w 8565356"/>
                  <a:gd name="connsiteY123" fmla="*/ 516731 h 1685925"/>
                  <a:gd name="connsiteX124" fmla="*/ 1085851 w 8565356"/>
                  <a:gd name="connsiteY124" fmla="*/ 547688 h 1685925"/>
                  <a:gd name="connsiteX125" fmla="*/ 1064419 w 8565356"/>
                  <a:gd name="connsiteY125" fmla="*/ 576263 h 1685925"/>
                  <a:gd name="connsiteX126" fmla="*/ 997744 w 8565356"/>
                  <a:gd name="connsiteY126" fmla="*/ 566738 h 1685925"/>
                  <a:gd name="connsiteX127" fmla="*/ 928688 w 8565356"/>
                  <a:gd name="connsiteY127" fmla="*/ 590550 h 1685925"/>
                  <a:gd name="connsiteX128" fmla="*/ 873919 w 8565356"/>
                  <a:gd name="connsiteY128" fmla="*/ 628650 h 1685925"/>
                  <a:gd name="connsiteX129" fmla="*/ 778669 w 8565356"/>
                  <a:gd name="connsiteY129" fmla="*/ 642937 h 1685925"/>
                  <a:gd name="connsiteX130" fmla="*/ 764381 w 8565356"/>
                  <a:gd name="connsiteY130" fmla="*/ 664369 h 1685925"/>
                  <a:gd name="connsiteX131" fmla="*/ 776287 w 8565356"/>
                  <a:gd name="connsiteY131" fmla="*/ 709613 h 1685925"/>
                  <a:gd name="connsiteX132" fmla="*/ 676276 w 8565356"/>
                  <a:gd name="connsiteY132" fmla="*/ 762000 h 1685925"/>
                  <a:gd name="connsiteX133" fmla="*/ 638175 w 8565356"/>
                  <a:gd name="connsiteY133" fmla="*/ 733424 h 1685925"/>
                  <a:gd name="connsiteX134" fmla="*/ 607219 w 8565356"/>
                  <a:gd name="connsiteY134" fmla="*/ 790575 h 1685925"/>
                  <a:gd name="connsiteX135" fmla="*/ 550069 w 8565356"/>
                  <a:gd name="connsiteY135" fmla="*/ 752475 h 1685925"/>
                  <a:gd name="connsiteX136" fmla="*/ 514350 w 8565356"/>
                  <a:gd name="connsiteY136" fmla="*/ 781050 h 1685925"/>
                  <a:gd name="connsiteX137" fmla="*/ 478631 w 8565356"/>
                  <a:gd name="connsiteY137" fmla="*/ 745331 h 1685925"/>
                  <a:gd name="connsiteX138" fmla="*/ 426244 w 8565356"/>
                  <a:gd name="connsiteY138" fmla="*/ 757238 h 1685925"/>
                  <a:gd name="connsiteX139" fmla="*/ 381000 w 8565356"/>
                  <a:gd name="connsiteY139" fmla="*/ 728663 h 1685925"/>
                  <a:gd name="connsiteX140" fmla="*/ 357188 w 8565356"/>
                  <a:gd name="connsiteY140" fmla="*/ 747713 h 1685925"/>
                  <a:gd name="connsiteX141" fmla="*/ 333375 w 8565356"/>
                  <a:gd name="connsiteY141" fmla="*/ 807244 h 1685925"/>
                  <a:gd name="connsiteX142" fmla="*/ 261938 w 8565356"/>
                  <a:gd name="connsiteY142" fmla="*/ 845343 h 1685925"/>
                  <a:gd name="connsiteX143" fmla="*/ 209550 w 8565356"/>
                  <a:gd name="connsiteY143" fmla="*/ 816769 h 1685925"/>
                  <a:gd name="connsiteX144" fmla="*/ 119063 w 8565356"/>
                  <a:gd name="connsiteY144" fmla="*/ 826294 h 1685925"/>
                  <a:gd name="connsiteX145" fmla="*/ 71437 w 8565356"/>
                  <a:gd name="connsiteY145" fmla="*/ 792957 h 1685925"/>
                  <a:gd name="connsiteX146" fmla="*/ 0 w 8565356"/>
                  <a:gd name="connsiteY146" fmla="*/ 812006 h 1685925"/>
                  <a:gd name="connsiteX147" fmla="*/ 4762 w 8565356"/>
                  <a:gd name="connsiteY147" fmla="*/ 0 h 1685925"/>
                  <a:gd name="connsiteX148" fmla="*/ 8565356 w 8565356"/>
                  <a:gd name="connsiteY148" fmla="*/ 1585913 h 1685925"/>
                  <a:gd name="connsiteX149" fmla="*/ 8534400 w 8565356"/>
                  <a:gd name="connsiteY149" fmla="*/ 1583531 h 1685925"/>
                  <a:gd name="connsiteX150" fmla="*/ 8517731 w 8565356"/>
                  <a:gd name="connsiteY150" fmla="*/ 1531144 h 1685925"/>
                  <a:gd name="connsiteX151" fmla="*/ 8477250 w 8565356"/>
                  <a:gd name="connsiteY151" fmla="*/ 1514475 h 1685925"/>
                  <a:gd name="connsiteX152" fmla="*/ 8477250 w 8565356"/>
                  <a:gd name="connsiteY152" fmla="*/ 1514475 h 1685925"/>
                  <a:gd name="connsiteX153" fmla="*/ 8436769 w 8565356"/>
                  <a:gd name="connsiteY153" fmla="*/ 1519238 h 1685925"/>
                  <a:gd name="connsiteX154" fmla="*/ 8351043 w 8565356"/>
                  <a:gd name="connsiteY154" fmla="*/ 1445419 h 1685925"/>
                  <a:gd name="connsiteX155" fmla="*/ 8170069 w 8565356"/>
                  <a:gd name="connsiteY155" fmla="*/ 1445418 h 1685925"/>
                  <a:gd name="connsiteX156" fmla="*/ 8117681 w 8565356"/>
                  <a:gd name="connsiteY156" fmla="*/ 1483519 h 1685925"/>
                  <a:gd name="connsiteX157" fmla="*/ 8067675 w 8565356"/>
                  <a:gd name="connsiteY157" fmla="*/ 1562100 h 1685925"/>
                  <a:gd name="connsiteX158" fmla="*/ 8084344 w 8565356"/>
                  <a:gd name="connsiteY158" fmla="*/ 1583531 h 1685925"/>
                  <a:gd name="connsiteX159" fmla="*/ 8039100 w 8565356"/>
                  <a:gd name="connsiteY159" fmla="*/ 1633537 h 1685925"/>
                  <a:gd name="connsiteX160" fmla="*/ 7889081 w 8565356"/>
                  <a:gd name="connsiteY160" fmla="*/ 1557337 h 1685925"/>
                  <a:gd name="connsiteX161" fmla="*/ 7798594 w 8565356"/>
                  <a:gd name="connsiteY161" fmla="*/ 1593056 h 1685925"/>
                  <a:gd name="connsiteX162" fmla="*/ 7724775 w 8565356"/>
                  <a:gd name="connsiteY162" fmla="*/ 1590675 h 1685925"/>
                  <a:gd name="connsiteX163" fmla="*/ 7667625 w 8565356"/>
                  <a:gd name="connsiteY163" fmla="*/ 1685925 h 1685925"/>
                  <a:gd name="connsiteX164" fmla="*/ 7529513 w 8565356"/>
                  <a:gd name="connsiteY164" fmla="*/ 1588294 h 1685925"/>
                  <a:gd name="connsiteX0" fmla="*/ 7529513 w 8534400"/>
                  <a:gd name="connsiteY0" fmla="*/ 1588294 h 1685925"/>
                  <a:gd name="connsiteX1" fmla="*/ 7522369 w 8534400"/>
                  <a:gd name="connsiteY1" fmla="*/ 1533525 h 1685925"/>
                  <a:gd name="connsiteX2" fmla="*/ 7589044 w 8534400"/>
                  <a:gd name="connsiteY2" fmla="*/ 1459706 h 1685925"/>
                  <a:gd name="connsiteX3" fmla="*/ 7572375 w 8534400"/>
                  <a:gd name="connsiteY3" fmla="*/ 1388269 h 1685925"/>
                  <a:gd name="connsiteX4" fmla="*/ 7586663 w 8534400"/>
                  <a:gd name="connsiteY4" fmla="*/ 1293019 h 1685925"/>
                  <a:gd name="connsiteX5" fmla="*/ 7624763 w 8534400"/>
                  <a:gd name="connsiteY5" fmla="*/ 1235869 h 1685925"/>
                  <a:gd name="connsiteX6" fmla="*/ 7605712 w 8534400"/>
                  <a:gd name="connsiteY6" fmla="*/ 1202531 h 1685925"/>
                  <a:gd name="connsiteX7" fmla="*/ 7703343 w 8534400"/>
                  <a:gd name="connsiteY7" fmla="*/ 802481 h 1685925"/>
                  <a:gd name="connsiteX8" fmla="*/ 7696200 w 8534400"/>
                  <a:gd name="connsiteY8" fmla="*/ 773906 h 1685925"/>
                  <a:gd name="connsiteX9" fmla="*/ 7567613 w 8534400"/>
                  <a:gd name="connsiteY9" fmla="*/ 752475 h 1685925"/>
                  <a:gd name="connsiteX10" fmla="*/ 7384257 w 8534400"/>
                  <a:gd name="connsiteY10" fmla="*/ 831056 h 1685925"/>
                  <a:gd name="connsiteX11" fmla="*/ 7227093 w 8534400"/>
                  <a:gd name="connsiteY11" fmla="*/ 716756 h 1685925"/>
                  <a:gd name="connsiteX12" fmla="*/ 7150894 w 8534400"/>
                  <a:gd name="connsiteY12" fmla="*/ 723900 h 1685925"/>
                  <a:gd name="connsiteX13" fmla="*/ 7077075 w 8534400"/>
                  <a:gd name="connsiteY13" fmla="*/ 719138 h 1685925"/>
                  <a:gd name="connsiteX14" fmla="*/ 6938963 w 8534400"/>
                  <a:gd name="connsiteY14" fmla="*/ 823913 h 1685925"/>
                  <a:gd name="connsiteX15" fmla="*/ 6831806 w 8534400"/>
                  <a:gd name="connsiteY15" fmla="*/ 931069 h 1685925"/>
                  <a:gd name="connsiteX16" fmla="*/ 6788944 w 8534400"/>
                  <a:gd name="connsiteY16" fmla="*/ 1000125 h 1685925"/>
                  <a:gd name="connsiteX17" fmla="*/ 6796088 w 8534400"/>
                  <a:gd name="connsiteY17" fmla="*/ 1035844 h 1685925"/>
                  <a:gd name="connsiteX18" fmla="*/ 6734175 w 8534400"/>
                  <a:gd name="connsiteY18" fmla="*/ 1047750 h 1685925"/>
                  <a:gd name="connsiteX19" fmla="*/ 6753225 w 8534400"/>
                  <a:gd name="connsiteY19" fmla="*/ 1047750 h 1685925"/>
                  <a:gd name="connsiteX20" fmla="*/ 6719888 w 8534400"/>
                  <a:gd name="connsiteY20" fmla="*/ 1078706 h 1685925"/>
                  <a:gd name="connsiteX21" fmla="*/ 6619875 w 8534400"/>
                  <a:gd name="connsiteY21" fmla="*/ 1078707 h 1685925"/>
                  <a:gd name="connsiteX22" fmla="*/ 6524625 w 8534400"/>
                  <a:gd name="connsiteY22" fmla="*/ 1133475 h 1685925"/>
                  <a:gd name="connsiteX23" fmla="*/ 6443663 w 8534400"/>
                  <a:gd name="connsiteY23" fmla="*/ 1143000 h 1685925"/>
                  <a:gd name="connsiteX24" fmla="*/ 6403181 w 8534400"/>
                  <a:gd name="connsiteY24" fmla="*/ 1176338 h 1685925"/>
                  <a:gd name="connsiteX25" fmla="*/ 6353175 w 8534400"/>
                  <a:gd name="connsiteY25" fmla="*/ 1181100 h 1685925"/>
                  <a:gd name="connsiteX26" fmla="*/ 6231732 w 8534400"/>
                  <a:gd name="connsiteY26" fmla="*/ 1273969 h 1685925"/>
                  <a:gd name="connsiteX27" fmla="*/ 6172200 w 8534400"/>
                  <a:gd name="connsiteY27" fmla="*/ 1278731 h 1685925"/>
                  <a:gd name="connsiteX28" fmla="*/ 6119813 w 8534400"/>
                  <a:gd name="connsiteY28" fmla="*/ 1243013 h 1685925"/>
                  <a:gd name="connsiteX29" fmla="*/ 6093619 w 8534400"/>
                  <a:gd name="connsiteY29" fmla="*/ 1278731 h 1685925"/>
                  <a:gd name="connsiteX30" fmla="*/ 5895975 w 8534400"/>
                  <a:gd name="connsiteY30" fmla="*/ 1271588 h 1685925"/>
                  <a:gd name="connsiteX31" fmla="*/ 5834063 w 8534400"/>
                  <a:gd name="connsiteY31" fmla="*/ 1226344 h 1685925"/>
                  <a:gd name="connsiteX32" fmla="*/ 5636419 w 8534400"/>
                  <a:gd name="connsiteY32" fmla="*/ 1243013 h 1685925"/>
                  <a:gd name="connsiteX33" fmla="*/ 5548313 w 8534400"/>
                  <a:gd name="connsiteY33" fmla="*/ 1159668 h 1685925"/>
                  <a:gd name="connsiteX34" fmla="*/ 5472113 w 8534400"/>
                  <a:gd name="connsiteY34" fmla="*/ 1114425 h 1685925"/>
                  <a:gd name="connsiteX35" fmla="*/ 5474493 w 8534400"/>
                  <a:gd name="connsiteY35" fmla="*/ 1057275 h 1685925"/>
                  <a:gd name="connsiteX36" fmla="*/ 5455444 w 8534400"/>
                  <a:gd name="connsiteY36" fmla="*/ 1014412 h 1685925"/>
                  <a:gd name="connsiteX37" fmla="*/ 5360194 w 8534400"/>
                  <a:gd name="connsiteY37" fmla="*/ 1016794 h 1685925"/>
                  <a:gd name="connsiteX38" fmla="*/ 5264944 w 8534400"/>
                  <a:gd name="connsiteY38" fmla="*/ 995363 h 1685925"/>
                  <a:gd name="connsiteX39" fmla="*/ 5195887 w 8534400"/>
                  <a:gd name="connsiteY39" fmla="*/ 928687 h 1685925"/>
                  <a:gd name="connsiteX40" fmla="*/ 5160169 w 8534400"/>
                  <a:gd name="connsiteY40" fmla="*/ 885825 h 1685925"/>
                  <a:gd name="connsiteX41" fmla="*/ 5079206 w 8534400"/>
                  <a:gd name="connsiteY41" fmla="*/ 862012 h 1685925"/>
                  <a:gd name="connsiteX42" fmla="*/ 5005388 w 8534400"/>
                  <a:gd name="connsiteY42" fmla="*/ 873918 h 1685925"/>
                  <a:gd name="connsiteX43" fmla="*/ 4948237 w 8534400"/>
                  <a:gd name="connsiteY43" fmla="*/ 821531 h 1685925"/>
                  <a:gd name="connsiteX44" fmla="*/ 4852988 w 8534400"/>
                  <a:gd name="connsiteY44" fmla="*/ 833438 h 1685925"/>
                  <a:gd name="connsiteX45" fmla="*/ 4800600 w 8534400"/>
                  <a:gd name="connsiteY45" fmla="*/ 807244 h 1685925"/>
                  <a:gd name="connsiteX46" fmla="*/ 4719638 w 8534400"/>
                  <a:gd name="connsiteY46" fmla="*/ 850106 h 1685925"/>
                  <a:gd name="connsiteX47" fmla="*/ 4581525 w 8534400"/>
                  <a:gd name="connsiteY47" fmla="*/ 873919 h 1685925"/>
                  <a:gd name="connsiteX48" fmla="*/ 4452938 w 8534400"/>
                  <a:gd name="connsiteY48" fmla="*/ 966788 h 1685925"/>
                  <a:gd name="connsiteX49" fmla="*/ 4405312 w 8534400"/>
                  <a:gd name="connsiteY49" fmla="*/ 928688 h 1685925"/>
                  <a:gd name="connsiteX50" fmla="*/ 4383881 w 8534400"/>
                  <a:gd name="connsiteY50" fmla="*/ 959643 h 1685925"/>
                  <a:gd name="connsiteX51" fmla="*/ 4310063 w 8534400"/>
                  <a:gd name="connsiteY51" fmla="*/ 909638 h 1685925"/>
                  <a:gd name="connsiteX52" fmla="*/ 4271963 w 8534400"/>
                  <a:gd name="connsiteY52" fmla="*/ 916781 h 1685925"/>
                  <a:gd name="connsiteX53" fmla="*/ 4250531 w 8534400"/>
                  <a:gd name="connsiteY53" fmla="*/ 878681 h 1685925"/>
                  <a:gd name="connsiteX54" fmla="*/ 4191000 w 8534400"/>
                  <a:gd name="connsiteY54" fmla="*/ 883444 h 1685925"/>
                  <a:gd name="connsiteX55" fmla="*/ 4145756 w 8534400"/>
                  <a:gd name="connsiteY55" fmla="*/ 854869 h 1685925"/>
                  <a:gd name="connsiteX56" fmla="*/ 4107656 w 8534400"/>
                  <a:gd name="connsiteY56" fmla="*/ 852488 h 1685925"/>
                  <a:gd name="connsiteX57" fmla="*/ 4088606 w 8534400"/>
                  <a:gd name="connsiteY57" fmla="*/ 804862 h 1685925"/>
                  <a:gd name="connsiteX58" fmla="*/ 4074319 w 8534400"/>
                  <a:gd name="connsiteY58" fmla="*/ 773906 h 1685925"/>
                  <a:gd name="connsiteX59" fmla="*/ 4029075 w 8534400"/>
                  <a:gd name="connsiteY59" fmla="*/ 783431 h 1685925"/>
                  <a:gd name="connsiteX60" fmla="*/ 4010025 w 8534400"/>
                  <a:gd name="connsiteY60" fmla="*/ 747713 h 1685925"/>
                  <a:gd name="connsiteX61" fmla="*/ 4031457 w 8534400"/>
                  <a:gd name="connsiteY61" fmla="*/ 692944 h 1685925"/>
                  <a:gd name="connsiteX62" fmla="*/ 4000500 w 8534400"/>
                  <a:gd name="connsiteY62" fmla="*/ 666750 h 1685925"/>
                  <a:gd name="connsiteX63" fmla="*/ 4017169 w 8534400"/>
                  <a:gd name="connsiteY63" fmla="*/ 623888 h 1685925"/>
                  <a:gd name="connsiteX64" fmla="*/ 3990975 w 8534400"/>
                  <a:gd name="connsiteY64" fmla="*/ 581025 h 1685925"/>
                  <a:gd name="connsiteX65" fmla="*/ 3986213 w 8534400"/>
                  <a:gd name="connsiteY65" fmla="*/ 519113 h 1685925"/>
                  <a:gd name="connsiteX66" fmla="*/ 4010025 w 8534400"/>
                  <a:gd name="connsiteY66" fmla="*/ 454818 h 1685925"/>
                  <a:gd name="connsiteX67" fmla="*/ 3971925 w 8534400"/>
                  <a:gd name="connsiteY67" fmla="*/ 457200 h 1685925"/>
                  <a:gd name="connsiteX68" fmla="*/ 3852863 w 8534400"/>
                  <a:gd name="connsiteY68" fmla="*/ 400050 h 1685925"/>
                  <a:gd name="connsiteX69" fmla="*/ 3814762 w 8534400"/>
                  <a:gd name="connsiteY69" fmla="*/ 404812 h 1685925"/>
                  <a:gd name="connsiteX70" fmla="*/ 3609975 w 8534400"/>
                  <a:gd name="connsiteY70" fmla="*/ 295275 h 1685925"/>
                  <a:gd name="connsiteX71" fmla="*/ 3505200 w 8534400"/>
                  <a:gd name="connsiteY71" fmla="*/ 264319 h 1685925"/>
                  <a:gd name="connsiteX72" fmla="*/ 3440906 w 8534400"/>
                  <a:gd name="connsiteY72" fmla="*/ 273843 h 1685925"/>
                  <a:gd name="connsiteX73" fmla="*/ 3409950 w 8534400"/>
                  <a:gd name="connsiteY73" fmla="*/ 209550 h 1685925"/>
                  <a:gd name="connsiteX74" fmla="*/ 3352800 w 8534400"/>
                  <a:gd name="connsiteY74" fmla="*/ 209550 h 1685925"/>
                  <a:gd name="connsiteX75" fmla="*/ 3214687 w 8534400"/>
                  <a:gd name="connsiteY75" fmla="*/ 104775 h 1685925"/>
                  <a:gd name="connsiteX76" fmla="*/ 3181350 w 8534400"/>
                  <a:gd name="connsiteY76" fmla="*/ 164307 h 1685925"/>
                  <a:gd name="connsiteX77" fmla="*/ 3126581 w 8534400"/>
                  <a:gd name="connsiteY77" fmla="*/ 233363 h 1685925"/>
                  <a:gd name="connsiteX78" fmla="*/ 3083719 w 8534400"/>
                  <a:gd name="connsiteY78" fmla="*/ 250031 h 1685925"/>
                  <a:gd name="connsiteX79" fmla="*/ 3052763 w 8534400"/>
                  <a:gd name="connsiteY79" fmla="*/ 242888 h 1685925"/>
                  <a:gd name="connsiteX80" fmla="*/ 3028950 w 8534400"/>
                  <a:gd name="connsiteY80" fmla="*/ 271463 h 1685925"/>
                  <a:gd name="connsiteX81" fmla="*/ 3002756 w 8534400"/>
                  <a:gd name="connsiteY81" fmla="*/ 350044 h 1685925"/>
                  <a:gd name="connsiteX82" fmla="*/ 2959894 w 8534400"/>
                  <a:gd name="connsiteY82" fmla="*/ 347663 h 1685925"/>
                  <a:gd name="connsiteX83" fmla="*/ 2928937 w 8534400"/>
                  <a:gd name="connsiteY83" fmla="*/ 409575 h 1685925"/>
                  <a:gd name="connsiteX84" fmla="*/ 2924175 w 8534400"/>
                  <a:gd name="connsiteY84" fmla="*/ 473869 h 1685925"/>
                  <a:gd name="connsiteX85" fmla="*/ 2897982 w 8534400"/>
                  <a:gd name="connsiteY85" fmla="*/ 511969 h 1685925"/>
                  <a:gd name="connsiteX86" fmla="*/ 2924175 w 8534400"/>
                  <a:gd name="connsiteY86" fmla="*/ 571500 h 1685925"/>
                  <a:gd name="connsiteX87" fmla="*/ 2926556 w 8534400"/>
                  <a:gd name="connsiteY87" fmla="*/ 640556 h 1685925"/>
                  <a:gd name="connsiteX88" fmla="*/ 2955131 w 8534400"/>
                  <a:gd name="connsiteY88" fmla="*/ 692944 h 1685925"/>
                  <a:gd name="connsiteX89" fmla="*/ 3002757 w 8534400"/>
                  <a:gd name="connsiteY89" fmla="*/ 747713 h 1685925"/>
                  <a:gd name="connsiteX90" fmla="*/ 2952750 w 8534400"/>
                  <a:gd name="connsiteY90" fmla="*/ 885825 h 1685925"/>
                  <a:gd name="connsiteX91" fmla="*/ 2883694 w 8534400"/>
                  <a:gd name="connsiteY91" fmla="*/ 952500 h 1685925"/>
                  <a:gd name="connsiteX92" fmla="*/ 2812256 w 8534400"/>
                  <a:gd name="connsiteY92" fmla="*/ 947738 h 1685925"/>
                  <a:gd name="connsiteX93" fmla="*/ 2774156 w 8534400"/>
                  <a:gd name="connsiteY93" fmla="*/ 1004888 h 1685925"/>
                  <a:gd name="connsiteX94" fmla="*/ 2714625 w 8534400"/>
                  <a:gd name="connsiteY94" fmla="*/ 1019175 h 1685925"/>
                  <a:gd name="connsiteX95" fmla="*/ 2645569 w 8534400"/>
                  <a:gd name="connsiteY95" fmla="*/ 959644 h 1685925"/>
                  <a:gd name="connsiteX96" fmla="*/ 2590800 w 8534400"/>
                  <a:gd name="connsiteY96" fmla="*/ 931069 h 1685925"/>
                  <a:gd name="connsiteX97" fmla="*/ 2547938 w 8534400"/>
                  <a:gd name="connsiteY97" fmla="*/ 945356 h 1685925"/>
                  <a:gd name="connsiteX98" fmla="*/ 2495550 w 8534400"/>
                  <a:gd name="connsiteY98" fmla="*/ 928688 h 1685925"/>
                  <a:gd name="connsiteX99" fmla="*/ 2428875 w 8534400"/>
                  <a:gd name="connsiteY99" fmla="*/ 873919 h 1685925"/>
                  <a:gd name="connsiteX100" fmla="*/ 2383631 w 8534400"/>
                  <a:gd name="connsiteY100" fmla="*/ 885825 h 1685925"/>
                  <a:gd name="connsiteX101" fmla="*/ 2362200 w 8534400"/>
                  <a:gd name="connsiteY101" fmla="*/ 854869 h 1685925"/>
                  <a:gd name="connsiteX102" fmla="*/ 2305050 w 8534400"/>
                  <a:gd name="connsiteY102" fmla="*/ 895350 h 1685925"/>
                  <a:gd name="connsiteX103" fmla="*/ 2188369 w 8534400"/>
                  <a:gd name="connsiteY103" fmla="*/ 873919 h 1685925"/>
                  <a:gd name="connsiteX104" fmla="*/ 2138363 w 8534400"/>
                  <a:gd name="connsiteY104" fmla="*/ 821531 h 1685925"/>
                  <a:gd name="connsiteX105" fmla="*/ 2095500 w 8534400"/>
                  <a:gd name="connsiteY105" fmla="*/ 807244 h 1685925"/>
                  <a:gd name="connsiteX106" fmla="*/ 2052638 w 8534400"/>
                  <a:gd name="connsiteY106" fmla="*/ 833438 h 1685925"/>
                  <a:gd name="connsiteX107" fmla="*/ 2000250 w 8534400"/>
                  <a:gd name="connsiteY107" fmla="*/ 742950 h 1685925"/>
                  <a:gd name="connsiteX108" fmla="*/ 1990725 w 8534400"/>
                  <a:gd name="connsiteY108" fmla="*/ 595312 h 1685925"/>
                  <a:gd name="connsiteX109" fmla="*/ 1938337 w 8534400"/>
                  <a:gd name="connsiteY109" fmla="*/ 588168 h 1685925"/>
                  <a:gd name="connsiteX110" fmla="*/ 1847850 w 8534400"/>
                  <a:gd name="connsiteY110" fmla="*/ 578644 h 1685925"/>
                  <a:gd name="connsiteX111" fmla="*/ 1793081 w 8534400"/>
                  <a:gd name="connsiteY111" fmla="*/ 540544 h 1685925"/>
                  <a:gd name="connsiteX112" fmla="*/ 1724025 w 8534400"/>
                  <a:gd name="connsiteY112" fmla="*/ 550069 h 1685925"/>
                  <a:gd name="connsiteX113" fmla="*/ 1678781 w 8534400"/>
                  <a:gd name="connsiteY113" fmla="*/ 523875 h 1685925"/>
                  <a:gd name="connsiteX114" fmla="*/ 1669257 w 8534400"/>
                  <a:gd name="connsiteY114" fmla="*/ 452438 h 1685925"/>
                  <a:gd name="connsiteX115" fmla="*/ 1645444 w 8534400"/>
                  <a:gd name="connsiteY115" fmla="*/ 438150 h 1685925"/>
                  <a:gd name="connsiteX116" fmla="*/ 1607344 w 8534400"/>
                  <a:gd name="connsiteY116" fmla="*/ 485774 h 1685925"/>
                  <a:gd name="connsiteX117" fmla="*/ 1528762 w 8534400"/>
                  <a:gd name="connsiteY117" fmla="*/ 411956 h 1685925"/>
                  <a:gd name="connsiteX118" fmla="*/ 1488281 w 8534400"/>
                  <a:gd name="connsiteY118" fmla="*/ 452438 h 1685925"/>
                  <a:gd name="connsiteX119" fmla="*/ 1412081 w 8534400"/>
                  <a:gd name="connsiteY119" fmla="*/ 438150 h 1685925"/>
                  <a:gd name="connsiteX120" fmla="*/ 1333500 w 8534400"/>
                  <a:gd name="connsiteY120" fmla="*/ 464344 h 1685925"/>
                  <a:gd name="connsiteX121" fmla="*/ 1273969 w 8534400"/>
                  <a:gd name="connsiteY121" fmla="*/ 511968 h 1685925"/>
                  <a:gd name="connsiteX122" fmla="*/ 1200150 w 8534400"/>
                  <a:gd name="connsiteY122" fmla="*/ 523875 h 1685925"/>
                  <a:gd name="connsiteX123" fmla="*/ 1164431 w 8534400"/>
                  <a:gd name="connsiteY123" fmla="*/ 516731 h 1685925"/>
                  <a:gd name="connsiteX124" fmla="*/ 1085851 w 8534400"/>
                  <a:gd name="connsiteY124" fmla="*/ 547688 h 1685925"/>
                  <a:gd name="connsiteX125" fmla="*/ 1064419 w 8534400"/>
                  <a:gd name="connsiteY125" fmla="*/ 576263 h 1685925"/>
                  <a:gd name="connsiteX126" fmla="*/ 997744 w 8534400"/>
                  <a:gd name="connsiteY126" fmla="*/ 566738 h 1685925"/>
                  <a:gd name="connsiteX127" fmla="*/ 928688 w 8534400"/>
                  <a:gd name="connsiteY127" fmla="*/ 590550 h 1685925"/>
                  <a:gd name="connsiteX128" fmla="*/ 873919 w 8534400"/>
                  <a:gd name="connsiteY128" fmla="*/ 628650 h 1685925"/>
                  <a:gd name="connsiteX129" fmla="*/ 778669 w 8534400"/>
                  <a:gd name="connsiteY129" fmla="*/ 642937 h 1685925"/>
                  <a:gd name="connsiteX130" fmla="*/ 764381 w 8534400"/>
                  <a:gd name="connsiteY130" fmla="*/ 664369 h 1685925"/>
                  <a:gd name="connsiteX131" fmla="*/ 776287 w 8534400"/>
                  <a:gd name="connsiteY131" fmla="*/ 709613 h 1685925"/>
                  <a:gd name="connsiteX132" fmla="*/ 676276 w 8534400"/>
                  <a:gd name="connsiteY132" fmla="*/ 762000 h 1685925"/>
                  <a:gd name="connsiteX133" fmla="*/ 638175 w 8534400"/>
                  <a:gd name="connsiteY133" fmla="*/ 733424 h 1685925"/>
                  <a:gd name="connsiteX134" fmla="*/ 607219 w 8534400"/>
                  <a:gd name="connsiteY134" fmla="*/ 790575 h 1685925"/>
                  <a:gd name="connsiteX135" fmla="*/ 550069 w 8534400"/>
                  <a:gd name="connsiteY135" fmla="*/ 752475 h 1685925"/>
                  <a:gd name="connsiteX136" fmla="*/ 514350 w 8534400"/>
                  <a:gd name="connsiteY136" fmla="*/ 781050 h 1685925"/>
                  <a:gd name="connsiteX137" fmla="*/ 478631 w 8534400"/>
                  <a:gd name="connsiteY137" fmla="*/ 745331 h 1685925"/>
                  <a:gd name="connsiteX138" fmla="*/ 426244 w 8534400"/>
                  <a:gd name="connsiteY138" fmla="*/ 757238 h 1685925"/>
                  <a:gd name="connsiteX139" fmla="*/ 381000 w 8534400"/>
                  <a:gd name="connsiteY139" fmla="*/ 728663 h 1685925"/>
                  <a:gd name="connsiteX140" fmla="*/ 357188 w 8534400"/>
                  <a:gd name="connsiteY140" fmla="*/ 747713 h 1685925"/>
                  <a:gd name="connsiteX141" fmla="*/ 333375 w 8534400"/>
                  <a:gd name="connsiteY141" fmla="*/ 807244 h 1685925"/>
                  <a:gd name="connsiteX142" fmla="*/ 261938 w 8534400"/>
                  <a:gd name="connsiteY142" fmla="*/ 845343 h 1685925"/>
                  <a:gd name="connsiteX143" fmla="*/ 209550 w 8534400"/>
                  <a:gd name="connsiteY143" fmla="*/ 816769 h 1685925"/>
                  <a:gd name="connsiteX144" fmla="*/ 119063 w 8534400"/>
                  <a:gd name="connsiteY144" fmla="*/ 826294 h 1685925"/>
                  <a:gd name="connsiteX145" fmla="*/ 71437 w 8534400"/>
                  <a:gd name="connsiteY145" fmla="*/ 792957 h 1685925"/>
                  <a:gd name="connsiteX146" fmla="*/ 0 w 8534400"/>
                  <a:gd name="connsiteY146" fmla="*/ 812006 h 1685925"/>
                  <a:gd name="connsiteX147" fmla="*/ 4762 w 8534400"/>
                  <a:gd name="connsiteY147" fmla="*/ 0 h 1685925"/>
                  <a:gd name="connsiteX148" fmla="*/ 8534400 w 8534400"/>
                  <a:gd name="connsiteY148" fmla="*/ 1583531 h 1685925"/>
                  <a:gd name="connsiteX149" fmla="*/ 8517731 w 8534400"/>
                  <a:gd name="connsiteY149" fmla="*/ 1531144 h 1685925"/>
                  <a:gd name="connsiteX150" fmla="*/ 8477250 w 8534400"/>
                  <a:gd name="connsiteY150" fmla="*/ 1514475 h 1685925"/>
                  <a:gd name="connsiteX151" fmla="*/ 8477250 w 8534400"/>
                  <a:gd name="connsiteY151" fmla="*/ 1514475 h 1685925"/>
                  <a:gd name="connsiteX152" fmla="*/ 8436769 w 8534400"/>
                  <a:gd name="connsiteY152" fmla="*/ 1519238 h 1685925"/>
                  <a:gd name="connsiteX153" fmla="*/ 8351043 w 8534400"/>
                  <a:gd name="connsiteY153" fmla="*/ 1445419 h 1685925"/>
                  <a:gd name="connsiteX154" fmla="*/ 8170069 w 8534400"/>
                  <a:gd name="connsiteY154" fmla="*/ 1445418 h 1685925"/>
                  <a:gd name="connsiteX155" fmla="*/ 8117681 w 8534400"/>
                  <a:gd name="connsiteY155" fmla="*/ 1483519 h 1685925"/>
                  <a:gd name="connsiteX156" fmla="*/ 8067675 w 8534400"/>
                  <a:gd name="connsiteY156" fmla="*/ 1562100 h 1685925"/>
                  <a:gd name="connsiteX157" fmla="*/ 8084344 w 8534400"/>
                  <a:gd name="connsiteY157" fmla="*/ 1583531 h 1685925"/>
                  <a:gd name="connsiteX158" fmla="*/ 8039100 w 8534400"/>
                  <a:gd name="connsiteY158" fmla="*/ 1633537 h 1685925"/>
                  <a:gd name="connsiteX159" fmla="*/ 7889081 w 8534400"/>
                  <a:gd name="connsiteY159" fmla="*/ 1557337 h 1685925"/>
                  <a:gd name="connsiteX160" fmla="*/ 7798594 w 8534400"/>
                  <a:gd name="connsiteY160" fmla="*/ 1593056 h 1685925"/>
                  <a:gd name="connsiteX161" fmla="*/ 7724775 w 8534400"/>
                  <a:gd name="connsiteY161" fmla="*/ 1590675 h 1685925"/>
                  <a:gd name="connsiteX162" fmla="*/ 7667625 w 8534400"/>
                  <a:gd name="connsiteY162" fmla="*/ 1685925 h 1685925"/>
                  <a:gd name="connsiteX163" fmla="*/ 7529513 w 8534400"/>
                  <a:gd name="connsiteY163" fmla="*/ 1588294 h 1685925"/>
                  <a:gd name="connsiteX0" fmla="*/ 7529513 w 8517731"/>
                  <a:gd name="connsiteY0" fmla="*/ 1588294 h 1685925"/>
                  <a:gd name="connsiteX1" fmla="*/ 7522369 w 8517731"/>
                  <a:gd name="connsiteY1" fmla="*/ 1533525 h 1685925"/>
                  <a:gd name="connsiteX2" fmla="*/ 7589044 w 8517731"/>
                  <a:gd name="connsiteY2" fmla="*/ 1459706 h 1685925"/>
                  <a:gd name="connsiteX3" fmla="*/ 7572375 w 8517731"/>
                  <a:gd name="connsiteY3" fmla="*/ 1388269 h 1685925"/>
                  <a:gd name="connsiteX4" fmla="*/ 7586663 w 8517731"/>
                  <a:gd name="connsiteY4" fmla="*/ 1293019 h 1685925"/>
                  <a:gd name="connsiteX5" fmla="*/ 7624763 w 8517731"/>
                  <a:gd name="connsiteY5" fmla="*/ 1235869 h 1685925"/>
                  <a:gd name="connsiteX6" fmla="*/ 7605712 w 8517731"/>
                  <a:gd name="connsiteY6" fmla="*/ 1202531 h 1685925"/>
                  <a:gd name="connsiteX7" fmla="*/ 7703343 w 8517731"/>
                  <a:gd name="connsiteY7" fmla="*/ 802481 h 1685925"/>
                  <a:gd name="connsiteX8" fmla="*/ 7696200 w 8517731"/>
                  <a:gd name="connsiteY8" fmla="*/ 773906 h 1685925"/>
                  <a:gd name="connsiteX9" fmla="*/ 7567613 w 8517731"/>
                  <a:gd name="connsiteY9" fmla="*/ 752475 h 1685925"/>
                  <a:gd name="connsiteX10" fmla="*/ 7384257 w 8517731"/>
                  <a:gd name="connsiteY10" fmla="*/ 831056 h 1685925"/>
                  <a:gd name="connsiteX11" fmla="*/ 7227093 w 8517731"/>
                  <a:gd name="connsiteY11" fmla="*/ 716756 h 1685925"/>
                  <a:gd name="connsiteX12" fmla="*/ 7150894 w 8517731"/>
                  <a:gd name="connsiteY12" fmla="*/ 723900 h 1685925"/>
                  <a:gd name="connsiteX13" fmla="*/ 7077075 w 8517731"/>
                  <a:gd name="connsiteY13" fmla="*/ 719138 h 1685925"/>
                  <a:gd name="connsiteX14" fmla="*/ 6938963 w 8517731"/>
                  <a:gd name="connsiteY14" fmla="*/ 823913 h 1685925"/>
                  <a:gd name="connsiteX15" fmla="*/ 6831806 w 8517731"/>
                  <a:gd name="connsiteY15" fmla="*/ 931069 h 1685925"/>
                  <a:gd name="connsiteX16" fmla="*/ 6788944 w 8517731"/>
                  <a:gd name="connsiteY16" fmla="*/ 1000125 h 1685925"/>
                  <a:gd name="connsiteX17" fmla="*/ 6796088 w 8517731"/>
                  <a:gd name="connsiteY17" fmla="*/ 1035844 h 1685925"/>
                  <a:gd name="connsiteX18" fmla="*/ 6734175 w 8517731"/>
                  <a:gd name="connsiteY18" fmla="*/ 1047750 h 1685925"/>
                  <a:gd name="connsiteX19" fmla="*/ 6753225 w 8517731"/>
                  <a:gd name="connsiteY19" fmla="*/ 1047750 h 1685925"/>
                  <a:gd name="connsiteX20" fmla="*/ 6719888 w 8517731"/>
                  <a:gd name="connsiteY20" fmla="*/ 1078706 h 1685925"/>
                  <a:gd name="connsiteX21" fmla="*/ 6619875 w 8517731"/>
                  <a:gd name="connsiteY21" fmla="*/ 1078707 h 1685925"/>
                  <a:gd name="connsiteX22" fmla="*/ 6524625 w 8517731"/>
                  <a:gd name="connsiteY22" fmla="*/ 1133475 h 1685925"/>
                  <a:gd name="connsiteX23" fmla="*/ 6443663 w 8517731"/>
                  <a:gd name="connsiteY23" fmla="*/ 1143000 h 1685925"/>
                  <a:gd name="connsiteX24" fmla="*/ 6403181 w 8517731"/>
                  <a:gd name="connsiteY24" fmla="*/ 1176338 h 1685925"/>
                  <a:gd name="connsiteX25" fmla="*/ 6353175 w 8517731"/>
                  <a:gd name="connsiteY25" fmla="*/ 1181100 h 1685925"/>
                  <a:gd name="connsiteX26" fmla="*/ 6231732 w 8517731"/>
                  <a:gd name="connsiteY26" fmla="*/ 1273969 h 1685925"/>
                  <a:gd name="connsiteX27" fmla="*/ 6172200 w 8517731"/>
                  <a:gd name="connsiteY27" fmla="*/ 1278731 h 1685925"/>
                  <a:gd name="connsiteX28" fmla="*/ 6119813 w 8517731"/>
                  <a:gd name="connsiteY28" fmla="*/ 1243013 h 1685925"/>
                  <a:gd name="connsiteX29" fmla="*/ 6093619 w 8517731"/>
                  <a:gd name="connsiteY29" fmla="*/ 1278731 h 1685925"/>
                  <a:gd name="connsiteX30" fmla="*/ 5895975 w 8517731"/>
                  <a:gd name="connsiteY30" fmla="*/ 1271588 h 1685925"/>
                  <a:gd name="connsiteX31" fmla="*/ 5834063 w 8517731"/>
                  <a:gd name="connsiteY31" fmla="*/ 1226344 h 1685925"/>
                  <a:gd name="connsiteX32" fmla="*/ 5636419 w 8517731"/>
                  <a:gd name="connsiteY32" fmla="*/ 1243013 h 1685925"/>
                  <a:gd name="connsiteX33" fmla="*/ 5548313 w 8517731"/>
                  <a:gd name="connsiteY33" fmla="*/ 1159668 h 1685925"/>
                  <a:gd name="connsiteX34" fmla="*/ 5472113 w 8517731"/>
                  <a:gd name="connsiteY34" fmla="*/ 1114425 h 1685925"/>
                  <a:gd name="connsiteX35" fmla="*/ 5474493 w 8517731"/>
                  <a:gd name="connsiteY35" fmla="*/ 1057275 h 1685925"/>
                  <a:gd name="connsiteX36" fmla="*/ 5455444 w 8517731"/>
                  <a:gd name="connsiteY36" fmla="*/ 1014412 h 1685925"/>
                  <a:gd name="connsiteX37" fmla="*/ 5360194 w 8517731"/>
                  <a:gd name="connsiteY37" fmla="*/ 1016794 h 1685925"/>
                  <a:gd name="connsiteX38" fmla="*/ 5264944 w 8517731"/>
                  <a:gd name="connsiteY38" fmla="*/ 995363 h 1685925"/>
                  <a:gd name="connsiteX39" fmla="*/ 5195887 w 8517731"/>
                  <a:gd name="connsiteY39" fmla="*/ 928687 h 1685925"/>
                  <a:gd name="connsiteX40" fmla="*/ 5160169 w 8517731"/>
                  <a:gd name="connsiteY40" fmla="*/ 885825 h 1685925"/>
                  <a:gd name="connsiteX41" fmla="*/ 5079206 w 8517731"/>
                  <a:gd name="connsiteY41" fmla="*/ 862012 h 1685925"/>
                  <a:gd name="connsiteX42" fmla="*/ 5005388 w 8517731"/>
                  <a:gd name="connsiteY42" fmla="*/ 873918 h 1685925"/>
                  <a:gd name="connsiteX43" fmla="*/ 4948237 w 8517731"/>
                  <a:gd name="connsiteY43" fmla="*/ 821531 h 1685925"/>
                  <a:gd name="connsiteX44" fmla="*/ 4852988 w 8517731"/>
                  <a:gd name="connsiteY44" fmla="*/ 833438 h 1685925"/>
                  <a:gd name="connsiteX45" fmla="*/ 4800600 w 8517731"/>
                  <a:gd name="connsiteY45" fmla="*/ 807244 h 1685925"/>
                  <a:gd name="connsiteX46" fmla="*/ 4719638 w 8517731"/>
                  <a:gd name="connsiteY46" fmla="*/ 850106 h 1685925"/>
                  <a:gd name="connsiteX47" fmla="*/ 4581525 w 8517731"/>
                  <a:gd name="connsiteY47" fmla="*/ 873919 h 1685925"/>
                  <a:gd name="connsiteX48" fmla="*/ 4452938 w 8517731"/>
                  <a:gd name="connsiteY48" fmla="*/ 966788 h 1685925"/>
                  <a:gd name="connsiteX49" fmla="*/ 4405312 w 8517731"/>
                  <a:gd name="connsiteY49" fmla="*/ 928688 h 1685925"/>
                  <a:gd name="connsiteX50" fmla="*/ 4383881 w 8517731"/>
                  <a:gd name="connsiteY50" fmla="*/ 959643 h 1685925"/>
                  <a:gd name="connsiteX51" fmla="*/ 4310063 w 8517731"/>
                  <a:gd name="connsiteY51" fmla="*/ 909638 h 1685925"/>
                  <a:gd name="connsiteX52" fmla="*/ 4271963 w 8517731"/>
                  <a:gd name="connsiteY52" fmla="*/ 916781 h 1685925"/>
                  <a:gd name="connsiteX53" fmla="*/ 4250531 w 8517731"/>
                  <a:gd name="connsiteY53" fmla="*/ 878681 h 1685925"/>
                  <a:gd name="connsiteX54" fmla="*/ 4191000 w 8517731"/>
                  <a:gd name="connsiteY54" fmla="*/ 883444 h 1685925"/>
                  <a:gd name="connsiteX55" fmla="*/ 4145756 w 8517731"/>
                  <a:gd name="connsiteY55" fmla="*/ 854869 h 1685925"/>
                  <a:gd name="connsiteX56" fmla="*/ 4107656 w 8517731"/>
                  <a:gd name="connsiteY56" fmla="*/ 852488 h 1685925"/>
                  <a:gd name="connsiteX57" fmla="*/ 4088606 w 8517731"/>
                  <a:gd name="connsiteY57" fmla="*/ 804862 h 1685925"/>
                  <a:gd name="connsiteX58" fmla="*/ 4074319 w 8517731"/>
                  <a:gd name="connsiteY58" fmla="*/ 773906 h 1685925"/>
                  <a:gd name="connsiteX59" fmla="*/ 4029075 w 8517731"/>
                  <a:gd name="connsiteY59" fmla="*/ 783431 h 1685925"/>
                  <a:gd name="connsiteX60" fmla="*/ 4010025 w 8517731"/>
                  <a:gd name="connsiteY60" fmla="*/ 747713 h 1685925"/>
                  <a:gd name="connsiteX61" fmla="*/ 4031457 w 8517731"/>
                  <a:gd name="connsiteY61" fmla="*/ 692944 h 1685925"/>
                  <a:gd name="connsiteX62" fmla="*/ 4000500 w 8517731"/>
                  <a:gd name="connsiteY62" fmla="*/ 666750 h 1685925"/>
                  <a:gd name="connsiteX63" fmla="*/ 4017169 w 8517731"/>
                  <a:gd name="connsiteY63" fmla="*/ 623888 h 1685925"/>
                  <a:gd name="connsiteX64" fmla="*/ 3990975 w 8517731"/>
                  <a:gd name="connsiteY64" fmla="*/ 581025 h 1685925"/>
                  <a:gd name="connsiteX65" fmla="*/ 3986213 w 8517731"/>
                  <a:gd name="connsiteY65" fmla="*/ 519113 h 1685925"/>
                  <a:gd name="connsiteX66" fmla="*/ 4010025 w 8517731"/>
                  <a:gd name="connsiteY66" fmla="*/ 454818 h 1685925"/>
                  <a:gd name="connsiteX67" fmla="*/ 3971925 w 8517731"/>
                  <a:gd name="connsiteY67" fmla="*/ 457200 h 1685925"/>
                  <a:gd name="connsiteX68" fmla="*/ 3852863 w 8517731"/>
                  <a:gd name="connsiteY68" fmla="*/ 400050 h 1685925"/>
                  <a:gd name="connsiteX69" fmla="*/ 3814762 w 8517731"/>
                  <a:gd name="connsiteY69" fmla="*/ 404812 h 1685925"/>
                  <a:gd name="connsiteX70" fmla="*/ 3609975 w 8517731"/>
                  <a:gd name="connsiteY70" fmla="*/ 295275 h 1685925"/>
                  <a:gd name="connsiteX71" fmla="*/ 3505200 w 8517731"/>
                  <a:gd name="connsiteY71" fmla="*/ 264319 h 1685925"/>
                  <a:gd name="connsiteX72" fmla="*/ 3440906 w 8517731"/>
                  <a:gd name="connsiteY72" fmla="*/ 273843 h 1685925"/>
                  <a:gd name="connsiteX73" fmla="*/ 3409950 w 8517731"/>
                  <a:gd name="connsiteY73" fmla="*/ 209550 h 1685925"/>
                  <a:gd name="connsiteX74" fmla="*/ 3352800 w 8517731"/>
                  <a:gd name="connsiteY74" fmla="*/ 209550 h 1685925"/>
                  <a:gd name="connsiteX75" fmla="*/ 3214687 w 8517731"/>
                  <a:gd name="connsiteY75" fmla="*/ 104775 h 1685925"/>
                  <a:gd name="connsiteX76" fmla="*/ 3181350 w 8517731"/>
                  <a:gd name="connsiteY76" fmla="*/ 164307 h 1685925"/>
                  <a:gd name="connsiteX77" fmla="*/ 3126581 w 8517731"/>
                  <a:gd name="connsiteY77" fmla="*/ 233363 h 1685925"/>
                  <a:gd name="connsiteX78" fmla="*/ 3083719 w 8517731"/>
                  <a:gd name="connsiteY78" fmla="*/ 250031 h 1685925"/>
                  <a:gd name="connsiteX79" fmla="*/ 3052763 w 8517731"/>
                  <a:gd name="connsiteY79" fmla="*/ 242888 h 1685925"/>
                  <a:gd name="connsiteX80" fmla="*/ 3028950 w 8517731"/>
                  <a:gd name="connsiteY80" fmla="*/ 271463 h 1685925"/>
                  <a:gd name="connsiteX81" fmla="*/ 3002756 w 8517731"/>
                  <a:gd name="connsiteY81" fmla="*/ 350044 h 1685925"/>
                  <a:gd name="connsiteX82" fmla="*/ 2959894 w 8517731"/>
                  <a:gd name="connsiteY82" fmla="*/ 347663 h 1685925"/>
                  <a:gd name="connsiteX83" fmla="*/ 2928937 w 8517731"/>
                  <a:gd name="connsiteY83" fmla="*/ 409575 h 1685925"/>
                  <a:gd name="connsiteX84" fmla="*/ 2924175 w 8517731"/>
                  <a:gd name="connsiteY84" fmla="*/ 473869 h 1685925"/>
                  <a:gd name="connsiteX85" fmla="*/ 2897982 w 8517731"/>
                  <a:gd name="connsiteY85" fmla="*/ 511969 h 1685925"/>
                  <a:gd name="connsiteX86" fmla="*/ 2924175 w 8517731"/>
                  <a:gd name="connsiteY86" fmla="*/ 571500 h 1685925"/>
                  <a:gd name="connsiteX87" fmla="*/ 2926556 w 8517731"/>
                  <a:gd name="connsiteY87" fmla="*/ 640556 h 1685925"/>
                  <a:gd name="connsiteX88" fmla="*/ 2955131 w 8517731"/>
                  <a:gd name="connsiteY88" fmla="*/ 692944 h 1685925"/>
                  <a:gd name="connsiteX89" fmla="*/ 3002757 w 8517731"/>
                  <a:gd name="connsiteY89" fmla="*/ 747713 h 1685925"/>
                  <a:gd name="connsiteX90" fmla="*/ 2952750 w 8517731"/>
                  <a:gd name="connsiteY90" fmla="*/ 885825 h 1685925"/>
                  <a:gd name="connsiteX91" fmla="*/ 2883694 w 8517731"/>
                  <a:gd name="connsiteY91" fmla="*/ 952500 h 1685925"/>
                  <a:gd name="connsiteX92" fmla="*/ 2812256 w 8517731"/>
                  <a:gd name="connsiteY92" fmla="*/ 947738 h 1685925"/>
                  <a:gd name="connsiteX93" fmla="*/ 2774156 w 8517731"/>
                  <a:gd name="connsiteY93" fmla="*/ 1004888 h 1685925"/>
                  <a:gd name="connsiteX94" fmla="*/ 2714625 w 8517731"/>
                  <a:gd name="connsiteY94" fmla="*/ 1019175 h 1685925"/>
                  <a:gd name="connsiteX95" fmla="*/ 2645569 w 8517731"/>
                  <a:gd name="connsiteY95" fmla="*/ 959644 h 1685925"/>
                  <a:gd name="connsiteX96" fmla="*/ 2590800 w 8517731"/>
                  <a:gd name="connsiteY96" fmla="*/ 931069 h 1685925"/>
                  <a:gd name="connsiteX97" fmla="*/ 2547938 w 8517731"/>
                  <a:gd name="connsiteY97" fmla="*/ 945356 h 1685925"/>
                  <a:gd name="connsiteX98" fmla="*/ 2495550 w 8517731"/>
                  <a:gd name="connsiteY98" fmla="*/ 928688 h 1685925"/>
                  <a:gd name="connsiteX99" fmla="*/ 2428875 w 8517731"/>
                  <a:gd name="connsiteY99" fmla="*/ 873919 h 1685925"/>
                  <a:gd name="connsiteX100" fmla="*/ 2383631 w 8517731"/>
                  <a:gd name="connsiteY100" fmla="*/ 885825 h 1685925"/>
                  <a:gd name="connsiteX101" fmla="*/ 2362200 w 8517731"/>
                  <a:gd name="connsiteY101" fmla="*/ 854869 h 1685925"/>
                  <a:gd name="connsiteX102" fmla="*/ 2305050 w 8517731"/>
                  <a:gd name="connsiteY102" fmla="*/ 895350 h 1685925"/>
                  <a:gd name="connsiteX103" fmla="*/ 2188369 w 8517731"/>
                  <a:gd name="connsiteY103" fmla="*/ 873919 h 1685925"/>
                  <a:gd name="connsiteX104" fmla="*/ 2138363 w 8517731"/>
                  <a:gd name="connsiteY104" fmla="*/ 821531 h 1685925"/>
                  <a:gd name="connsiteX105" fmla="*/ 2095500 w 8517731"/>
                  <a:gd name="connsiteY105" fmla="*/ 807244 h 1685925"/>
                  <a:gd name="connsiteX106" fmla="*/ 2052638 w 8517731"/>
                  <a:gd name="connsiteY106" fmla="*/ 833438 h 1685925"/>
                  <a:gd name="connsiteX107" fmla="*/ 2000250 w 8517731"/>
                  <a:gd name="connsiteY107" fmla="*/ 742950 h 1685925"/>
                  <a:gd name="connsiteX108" fmla="*/ 1990725 w 8517731"/>
                  <a:gd name="connsiteY108" fmla="*/ 595312 h 1685925"/>
                  <a:gd name="connsiteX109" fmla="*/ 1938337 w 8517731"/>
                  <a:gd name="connsiteY109" fmla="*/ 588168 h 1685925"/>
                  <a:gd name="connsiteX110" fmla="*/ 1847850 w 8517731"/>
                  <a:gd name="connsiteY110" fmla="*/ 578644 h 1685925"/>
                  <a:gd name="connsiteX111" fmla="*/ 1793081 w 8517731"/>
                  <a:gd name="connsiteY111" fmla="*/ 540544 h 1685925"/>
                  <a:gd name="connsiteX112" fmla="*/ 1724025 w 8517731"/>
                  <a:gd name="connsiteY112" fmla="*/ 550069 h 1685925"/>
                  <a:gd name="connsiteX113" fmla="*/ 1678781 w 8517731"/>
                  <a:gd name="connsiteY113" fmla="*/ 523875 h 1685925"/>
                  <a:gd name="connsiteX114" fmla="*/ 1669257 w 8517731"/>
                  <a:gd name="connsiteY114" fmla="*/ 452438 h 1685925"/>
                  <a:gd name="connsiteX115" fmla="*/ 1645444 w 8517731"/>
                  <a:gd name="connsiteY115" fmla="*/ 438150 h 1685925"/>
                  <a:gd name="connsiteX116" fmla="*/ 1607344 w 8517731"/>
                  <a:gd name="connsiteY116" fmla="*/ 485774 h 1685925"/>
                  <a:gd name="connsiteX117" fmla="*/ 1528762 w 8517731"/>
                  <a:gd name="connsiteY117" fmla="*/ 411956 h 1685925"/>
                  <a:gd name="connsiteX118" fmla="*/ 1488281 w 8517731"/>
                  <a:gd name="connsiteY118" fmla="*/ 452438 h 1685925"/>
                  <a:gd name="connsiteX119" fmla="*/ 1412081 w 8517731"/>
                  <a:gd name="connsiteY119" fmla="*/ 438150 h 1685925"/>
                  <a:gd name="connsiteX120" fmla="*/ 1333500 w 8517731"/>
                  <a:gd name="connsiteY120" fmla="*/ 464344 h 1685925"/>
                  <a:gd name="connsiteX121" fmla="*/ 1273969 w 8517731"/>
                  <a:gd name="connsiteY121" fmla="*/ 511968 h 1685925"/>
                  <a:gd name="connsiteX122" fmla="*/ 1200150 w 8517731"/>
                  <a:gd name="connsiteY122" fmla="*/ 523875 h 1685925"/>
                  <a:gd name="connsiteX123" fmla="*/ 1164431 w 8517731"/>
                  <a:gd name="connsiteY123" fmla="*/ 516731 h 1685925"/>
                  <a:gd name="connsiteX124" fmla="*/ 1085851 w 8517731"/>
                  <a:gd name="connsiteY124" fmla="*/ 547688 h 1685925"/>
                  <a:gd name="connsiteX125" fmla="*/ 1064419 w 8517731"/>
                  <a:gd name="connsiteY125" fmla="*/ 576263 h 1685925"/>
                  <a:gd name="connsiteX126" fmla="*/ 997744 w 8517731"/>
                  <a:gd name="connsiteY126" fmla="*/ 566738 h 1685925"/>
                  <a:gd name="connsiteX127" fmla="*/ 928688 w 8517731"/>
                  <a:gd name="connsiteY127" fmla="*/ 590550 h 1685925"/>
                  <a:gd name="connsiteX128" fmla="*/ 873919 w 8517731"/>
                  <a:gd name="connsiteY128" fmla="*/ 628650 h 1685925"/>
                  <a:gd name="connsiteX129" fmla="*/ 778669 w 8517731"/>
                  <a:gd name="connsiteY129" fmla="*/ 642937 h 1685925"/>
                  <a:gd name="connsiteX130" fmla="*/ 764381 w 8517731"/>
                  <a:gd name="connsiteY130" fmla="*/ 664369 h 1685925"/>
                  <a:gd name="connsiteX131" fmla="*/ 776287 w 8517731"/>
                  <a:gd name="connsiteY131" fmla="*/ 709613 h 1685925"/>
                  <a:gd name="connsiteX132" fmla="*/ 676276 w 8517731"/>
                  <a:gd name="connsiteY132" fmla="*/ 762000 h 1685925"/>
                  <a:gd name="connsiteX133" fmla="*/ 638175 w 8517731"/>
                  <a:gd name="connsiteY133" fmla="*/ 733424 h 1685925"/>
                  <a:gd name="connsiteX134" fmla="*/ 607219 w 8517731"/>
                  <a:gd name="connsiteY134" fmla="*/ 790575 h 1685925"/>
                  <a:gd name="connsiteX135" fmla="*/ 550069 w 8517731"/>
                  <a:gd name="connsiteY135" fmla="*/ 752475 h 1685925"/>
                  <a:gd name="connsiteX136" fmla="*/ 514350 w 8517731"/>
                  <a:gd name="connsiteY136" fmla="*/ 781050 h 1685925"/>
                  <a:gd name="connsiteX137" fmla="*/ 478631 w 8517731"/>
                  <a:gd name="connsiteY137" fmla="*/ 745331 h 1685925"/>
                  <a:gd name="connsiteX138" fmla="*/ 426244 w 8517731"/>
                  <a:gd name="connsiteY138" fmla="*/ 757238 h 1685925"/>
                  <a:gd name="connsiteX139" fmla="*/ 381000 w 8517731"/>
                  <a:gd name="connsiteY139" fmla="*/ 728663 h 1685925"/>
                  <a:gd name="connsiteX140" fmla="*/ 357188 w 8517731"/>
                  <a:gd name="connsiteY140" fmla="*/ 747713 h 1685925"/>
                  <a:gd name="connsiteX141" fmla="*/ 333375 w 8517731"/>
                  <a:gd name="connsiteY141" fmla="*/ 807244 h 1685925"/>
                  <a:gd name="connsiteX142" fmla="*/ 261938 w 8517731"/>
                  <a:gd name="connsiteY142" fmla="*/ 845343 h 1685925"/>
                  <a:gd name="connsiteX143" fmla="*/ 209550 w 8517731"/>
                  <a:gd name="connsiteY143" fmla="*/ 816769 h 1685925"/>
                  <a:gd name="connsiteX144" fmla="*/ 119063 w 8517731"/>
                  <a:gd name="connsiteY144" fmla="*/ 826294 h 1685925"/>
                  <a:gd name="connsiteX145" fmla="*/ 71437 w 8517731"/>
                  <a:gd name="connsiteY145" fmla="*/ 792957 h 1685925"/>
                  <a:gd name="connsiteX146" fmla="*/ 0 w 8517731"/>
                  <a:gd name="connsiteY146" fmla="*/ 812006 h 1685925"/>
                  <a:gd name="connsiteX147" fmla="*/ 4762 w 8517731"/>
                  <a:gd name="connsiteY147" fmla="*/ 0 h 1685925"/>
                  <a:gd name="connsiteX148" fmla="*/ 8517731 w 8517731"/>
                  <a:gd name="connsiteY148" fmla="*/ 1531144 h 1685925"/>
                  <a:gd name="connsiteX149" fmla="*/ 8477250 w 8517731"/>
                  <a:gd name="connsiteY149" fmla="*/ 1514475 h 1685925"/>
                  <a:gd name="connsiteX150" fmla="*/ 8477250 w 8517731"/>
                  <a:gd name="connsiteY150" fmla="*/ 1514475 h 1685925"/>
                  <a:gd name="connsiteX151" fmla="*/ 8436769 w 8517731"/>
                  <a:gd name="connsiteY151" fmla="*/ 1519238 h 1685925"/>
                  <a:gd name="connsiteX152" fmla="*/ 8351043 w 8517731"/>
                  <a:gd name="connsiteY152" fmla="*/ 1445419 h 1685925"/>
                  <a:gd name="connsiteX153" fmla="*/ 8170069 w 8517731"/>
                  <a:gd name="connsiteY153" fmla="*/ 1445418 h 1685925"/>
                  <a:gd name="connsiteX154" fmla="*/ 8117681 w 8517731"/>
                  <a:gd name="connsiteY154" fmla="*/ 1483519 h 1685925"/>
                  <a:gd name="connsiteX155" fmla="*/ 8067675 w 8517731"/>
                  <a:gd name="connsiteY155" fmla="*/ 1562100 h 1685925"/>
                  <a:gd name="connsiteX156" fmla="*/ 8084344 w 8517731"/>
                  <a:gd name="connsiteY156" fmla="*/ 1583531 h 1685925"/>
                  <a:gd name="connsiteX157" fmla="*/ 8039100 w 8517731"/>
                  <a:gd name="connsiteY157" fmla="*/ 1633537 h 1685925"/>
                  <a:gd name="connsiteX158" fmla="*/ 7889081 w 8517731"/>
                  <a:gd name="connsiteY158" fmla="*/ 1557337 h 1685925"/>
                  <a:gd name="connsiteX159" fmla="*/ 7798594 w 8517731"/>
                  <a:gd name="connsiteY159" fmla="*/ 1593056 h 1685925"/>
                  <a:gd name="connsiteX160" fmla="*/ 7724775 w 8517731"/>
                  <a:gd name="connsiteY160" fmla="*/ 1590675 h 1685925"/>
                  <a:gd name="connsiteX161" fmla="*/ 7667625 w 8517731"/>
                  <a:gd name="connsiteY161" fmla="*/ 1685925 h 1685925"/>
                  <a:gd name="connsiteX162" fmla="*/ 7529513 w 8517731"/>
                  <a:gd name="connsiteY162" fmla="*/ 1588294 h 1685925"/>
                  <a:gd name="connsiteX0" fmla="*/ 7529513 w 8477250"/>
                  <a:gd name="connsiteY0" fmla="*/ 1588294 h 1685925"/>
                  <a:gd name="connsiteX1" fmla="*/ 7522369 w 8477250"/>
                  <a:gd name="connsiteY1" fmla="*/ 1533525 h 1685925"/>
                  <a:gd name="connsiteX2" fmla="*/ 7589044 w 8477250"/>
                  <a:gd name="connsiteY2" fmla="*/ 1459706 h 1685925"/>
                  <a:gd name="connsiteX3" fmla="*/ 7572375 w 8477250"/>
                  <a:gd name="connsiteY3" fmla="*/ 1388269 h 1685925"/>
                  <a:gd name="connsiteX4" fmla="*/ 7586663 w 8477250"/>
                  <a:gd name="connsiteY4" fmla="*/ 1293019 h 1685925"/>
                  <a:gd name="connsiteX5" fmla="*/ 7624763 w 8477250"/>
                  <a:gd name="connsiteY5" fmla="*/ 1235869 h 1685925"/>
                  <a:gd name="connsiteX6" fmla="*/ 7605712 w 8477250"/>
                  <a:gd name="connsiteY6" fmla="*/ 1202531 h 1685925"/>
                  <a:gd name="connsiteX7" fmla="*/ 7703343 w 8477250"/>
                  <a:gd name="connsiteY7" fmla="*/ 802481 h 1685925"/>
                  <a:gd name="connsiteX8" fmla="*/ 7696200 w 8477250"/>
                  <a:gd name="connsiteY8" fmla="*/ 773906 h 1685925"/>
                  <a:gd name="connsiteX9" fmla="*/ 7567613 w 8477250"/>
                  <a:gd name="connsiteY9" fmla="*/ 752475 h 1685925"/>
                  <a:gd name="connsiteX10" fmla="*/ 7384257 w 8477250"/>
                  <a:gd name="connsiteY10" fmla="*/ 831056 h 1685925"/>
                  <a:gd name="connsiteX11" fmla="*/ 7227093 w 8477250"/>
                  <a:gd name="connsiteY11" fmla="*/ 716756 h 1685925"/>
                  <a:gd name="connsiteX12" fmla="*/ 7150894 w 8477250"/>
                  <a:gd name="connsiteY12" fmla="*/ 723900 h 1685925"/>
                  <a:gd name="connsiteX13" fmla="*/ 7077075 w 8477250"/>
                  <a:gd name="connsiteY13" fmla="*/ 719138 h 1685925"/>
                  <a:gd name="connsiteX14" fmla="*/ 6938963 w 8477250"/>
                  <a:gd name="connsiteY14" fmla="*/ 823913 h 1685925"/>
                  <a:gd name="connsiteX15" fmla="*/ 6831806 w 8477250"/>
                  <a:gd name="connsiteY15" fmla="*/ 931069 h 1685925"/>
                  <a:gd name="connsiteX16" fmla="*/ 6788944 w 8477250"/>
                  <a:gd name="connsiteY16" fmla="*/ 1000125 h 1685925"/>
                  <a:gd name="connsiteX17" fmla="*/ 6796088 w 8477250"/>
                  <a:gd name="connsiteY17" fmla="*/ 1035844 h 1685925"/>
                  <a:gd name="connsiteX18" fmla="*/ 6734175 w 8477250"/>
                  <a:gd name="connsiteY18" fmla="*/ 1047750 h 1685925"/>
                  <a:gd name="connsiteX19" fmla="*/ 6753225 w 8477250"/>
                  <a:gd name="connsiteY19" fmla="*/ 1047750 h 1685925"/>
                  <a:gd name="connsiteX20" fmla="*/ 6719888 w 8477250"/>
                  <a:gd name="connsiteY20" fmla="*/ 1078706 h 1685925"/>
                  <a:gd name="connsiteX21" fmla="*/ 6619875 w 8477250"/>
                  <a:gd name="connsiteY21" fmla="*/ 1078707 h 1685925"/>
                  <a:gd name="connsiteX22" fmla="*/ 6524625 w 8477250"/>
                  <a:gd name="connsiteY22" fmla="*/ 1133475 h 1685925"/>
                  <a:gd name="connsiteX23" fmla="*/ 6443663 w 8477250"/>
                  <a:gd name="connsiteY23" fmla="*/ 1143000 h 1685925"/>
                  <a:gd name="connsiteX24" fmla="*/ 6403181 w 8477250"/>
                  <a:gd name="connsiteY24" fmla="*/ 1176338 h 1685925"/>
                  <a:gd name="connsiteX25" fmla="*/ 6353175 w 8477250"/>
                  <a:gd name="connsiteY25" fmla="*/ 1181100 h 1685925"/>
                  <a:gd name="connsiteX26" fmla="*/ 6231732 w 8477250"/>
                  <a:gd name="connsiteY26" fmla="*/ 1273969 h 1685925"/>
                  <a:gd name="connsiteX27" fmla="*/ 6172200 w 8477250"/>
                  <a:gd name="connsiteY27" fmla="*/ 1278731 h 1685925"/>
                  <a:gd name="connsiteX28" fmla="*/ 6119813 w 8477250"/>
                  <a:gd name="connsiteY28" fmla="*/ 1243013 h 1685925"/>
                  <a:gd name="connsiteX29" fmla="*/ 6093619 w 8477250"/>
                  <a:gd name="connsiteY29" fmla="*/ 1278731 h 1685925"/>
                  <a:gd name="connsiteX30" fmla="*/ 5895975 w 8477250"/>
                  <a:gd name="connsiteY30" fmla="*/ 1271588 h 1685925"/>
                  <a:gd name="connsiteX31" fmla="*/ 5834063 w 8477250"/>
                  <a:gd name="connsiteY31" fmla="*/ 1226344 h 1685925"/>
                  <a:gd name="connsiteX32" fmla="*/ 5636419 w 8477250"/>
                  <a:gd name="connsiteY32" fmla="*/ 1243013 h 1685925"/>
                  <a:gd name="connsiteX33" fmla="*/ 5548313 w 8477250"/>
                  <a:gd name="connsiteY33" fmla="*/ 1159668 h 1685925"/>
                  <a:gd name="connsiteX34" fmla="*/ 5472113 w 8477250"/>
                  <a:gd name="connsiteY34" fmla="*/ 1114425 h 1685925"/>
                  <a:gd name="connsiteX35" fmla="*/ 5474493 w 8477250"/>
                  <a:gd name="connsiteY35" fmla="*/ 1057275 h 1685925"/>
                  <a:gd name="connsiteX36" fmla="*/ 5455444 w 8477250"/>
                  <a:gd name="connsiteY36" fmla="*/ 1014412 h 1685925"/>
                  <a:gd name="connsiteX37" fmla="*/ 5360194 w 8477250"/>
                  <a:gd name="connsiteY37" fmla="*/ 1016794 h 1685925"/>
                  <a:gd name="connsiteX38" fmla="*/ 5264944 w 8477250"/>
                  <a:gd name="connsiteY38" fmla="*/ 995363 h 1685925"/>
                  <a:gd name="connsiteX39" fmla="*/ 5195887 w 8477250"/>
                  <a:gd name="connsiteY39" fmla="*/ 928687 h 1685925"/>
                  <a:gd name="connsiteX40" fmla="*/ 5160169 w 8477250"/>
                  <a:gd name="connsiteY40" fmla="*/ 885825 h 1685925"/>
                  <a:gd name="connsiteX41" fmla="*/ 5079206 w 8477250"/>
                  <a:gd name="connsiteY41" fmla="*/ 862012 h 1685925"/>
                  <a:gd name="connsiteX42" fmla="*/ 5005388 w 8477250"/>
                  <a:gd name="connsiteY42" fmla="*/ 873918 h 1685925"/>
                  <a:gd name="connsiteX43" fmla="*/ 4948237 w 8477250"/>
                  <a:gd name="connsiteY43" fmla="*/ 821531 h 1685925"/>
                  <a:gd name="connsiteX44" fmla="*/ 4852988 w 8477250"/>
                  <a:gd name="connsiteY44" fmla="*/ 833438 h 1685925"/>
                  <a:gd name="connsiteX45" fmla="*/ 4800600 w 8477250"/>
                  <a:gd name="connsiteY45" fmla="*/ 807244 h 1685925"/>
                  <a:gd name="connsiteX46" fmla="*/ 4719638 w 8477250"/>
                  <a:gd name="connsiteY46" fmla="*/ 850106 h 1685925"/>
                  <a:gd name="connsiteX47" fmla="*/ 4581525 w 8477250"/>
                  <a:gd name="connsiteY47" fmla="*/ 873919 h 1685925"/>
                  <a:gd name="connsiteX48" fmla="*/ 4452938 w 8477250"/>
                  <a:gd name="connsiteY48" fmla="*/ 966788 h 1685925"/>
                  <a:gd name="connsiteX49" fmla="*/ 4405312 w 8477250"/>
                  <a:gd name="connsiteY49" fmla="*/ 928688 h 1685925"/>
                  <a:gd name="connsiteX50" fmla="*/ 4383881 w 8477250"/>
                  <a:gd name="connsiteY50" fmla="*/ 959643 h 1685925"/>
                  <a:gd name="connsiteX51" fmla="*/ 4310063 w 8477250"/>
                  <a:gd name="connsiteY51" fmla="*/ 909638 h 1685925"/>
                  <a:gd name="connsiteX52" fmla="*/ 4271963 w 8477250"/>
                  <a:gd name="connsiteY52" fmla="*/ 916781 h 1685925"/>
                  <a:gd name="connsiteX53" fmla="*/ 4250531 w 8477250"/>
                  <a:gd name="connsiteY53" fmla="*/ 878681 h 1685925"/>
                  <a:gd name="connsiteX54" fmla="*/ 4191000 w 8477250"/>
                  <a:gd name="connsiteY54" fmla="*/ 883444 h 1685925"/>
                  <a:gd name="connsiteX55" fmla="*/ 4145756 w 8477250"/>
                  <a:gd name="connsiteY55" fmla="*/ 854869 h 1685925"/>
                  <a:gd name="connsiteX56" fmla="*/ 4107656 w 8477250"/>
                  <a:gd name="connsiteY56" fmla="*/ 852488 h 1685925"/>
                  <a:gd name="connsiteX57" fmla="*/ 4088606 w 8477250"/>
                  <a:gd name="connsiteY57" fmla="*/ 804862 h 1685925"/>
                  <a:gd name="connsiteX58" fmla="*/ 4074319 w 8477250"/>
                  <a:gd name="connsiteY58" fmla="*/ 773906 h 1685925"/>
                  <a:gd name="connsiteX59" fmla="*/ 4029075 w 8477250"/>
                  <a:gd name="connsiteY59" fmla="*/ 783431 h 1685925"/>
                  <a:gd name="connsiteX60" fmla="*/ 4010025 w 8477250"/>
                  <a:gd name="connsiteY60" fmla="*/ 747713 h 1685925"/>
                  <a:gd name="connsiteX61" fmla="*/ 4031457 w 8477250"/>
                  <a:gd name="connsiteY61" fmla="*/ 692944 h 1685925"/>
                  <a:gd name="connsiteX62" fmla="*/ 4000500 w 8477250"/>
                  <a:gd name="connsiteY62" fmla="*/ 666750 h 1685925"/>
                  <a:gd name="connsiteX63" fmla="*/ 4017169 w 8477250"/>
                  <a:gd name="connsiteY63" fmla="*/ 623888 h 1685925"/>
                  <a:gd name="connsiteX64" fmla="*/ 3990975 w 8477250"/>
                  <a:gd name="connsiteY64" fmla="*/ 581025 h 1685925"/>
                  <a:gd name="connsiteX65" fmla="*/ 3986213 w 8477250"/>
                  <a:gd name="connsiteY65" fmla="*/ 519113 h 1685925"/>
                  <a:gd name="connsiteX66" fmla="*/ 4010025 w 8477250"/>
                  <a:gd name="connsiteY66" fmla="*/ 454818 h 1685925"/>
                  <a:gd name="connsiteX67" fmla="*/ 3971925 w 8477250"/>
                  <a:gd name="connsiteY67" fmla="*/ 457200 h 1685925"/>
                  <a:gd name="connsiteX68" fmla="*/ 3852863 w 8477250"/>
                  <a:gd name="connsiteY68" fmla="*/ 400050 h 1685925"/>
                  <a:gd name="connsiteX69" fmla="*/ 3814762 w 8477250"/>
                  <a:gd name="connsiteY69" fmla="*/ 404812 h 1685925"/>
                  <a:gd name="connsiteX70" fmla="*/ 3609975 w 8477250"/>
                  <a:gd name="connsiteY70" fmla="*/ 295275 h 1685925"/>
                  <a:gd name="connsiteX71" fmla="*/ 3505200 w 8477250"/>
                  <a:gd name="connsiteY71" fmla="*/ 264319 h 1685925"/>
                  <a:gd name="connsiteX72" fmla="*/ 3440906 w 8477250"/>
                  <a:gd name="connsiteY72" fmla="*/ 273843 h 1685925"/>
                  <a:gd name="connsiteX73" fmla="*/ 3409950 w 8477250"/>
                  <a:gd name="connsiteY73" fmla="*/ 209550 h 1685925"/>
                  <a:gd name="connsiteX74" fmla="*/ 3352800 w 8477250"/>
                  <a:gd name="connsiteY74" fmla="*/ 209550 h 1685925"/>
                  <a:gd name="connsiteX75" fmla="*/ 3214687 w 8477250"/>
                  <a:gd name="connsiteY75" fmla="*/ 104775 h 1685925"/>
                  <a:gd name="connsiteX76" fmla="*/ 3181350 w 8477250"/>
                  <a:gd name="connsiteY76" fmla="*/ 164307 h 1685925"/>
                  <a:gd name="connsiteX77" fmla="*/ 3126581 w 8477250"/>
                  <a:gd name="connsiteY77" fmla="*/ 233363 h 1685925"/>
                  <a:gd name="connsiteX78" fmla="*/ 3083719 w 8477250"/>
                  <a:gd name="connsiteY78" fmla="*/ 250031 h 1685925"/>
                  <a:gd name="connsiteX79" fmla="*/ 3052763 w 8477250"/>
                  <a:gd name="connsiteY79" fmla="*/ 242888 h 1685925"/>
                  <a:gd name="connsiteX80" fmla="*/ 3028950 w 8477250"/>
                  <a:gd name="connsiteY80" fmla="*/ 271463 h 1685925"/>
                  <a:gd name="connsiteX81" fmla="*/ 3002756 w 8477250"/>
                  <a:gd name="connsiteY81" fmla="*/ 350044 h 1685925"/>
                  <a:gd name="connsiteX82" fmla="*/ 2959894 w 8477250"/>
                  <a:gd name="connsiteY82" fmla="*/ 347663 h 1685925"/>
                  <a:gd name="connsiteX83" fmla="*/ 2928937 w 8477250"/>
                  <a:gd name="connsiteY83" fmla="*/ 409575 h 1685925"/>
                  <a:gd name="connsiteX84" fmla="*/ 2924175 w 8477250"/>
                  <a:gd name="connsiteY84" fmla="*/ 473869 h 1685925"/>
                  <a:gd name="connsiteX85" fmla="*/ 2897982 w 8477250"/>
                  <a:gd name="connsiteY85" fmla="*/ 511969 h 1685925"/>
                  <a:gd name="connsiteX86" fmla="*/ 2924175 w 8477250"/>
                  <a:gd name="connsiteY86" fmla="*/ 571500 h 1685925"/>
                  <a:gd name="connsiteX87" fmla="*/ 2926556 w 8477250"/>
                  <a:gd name="connsiteY87" fmla="*/ 640556 h 1685925"/>
                  <a:gd name="connsiteX88" fmla="*/ 2955131 w 8477250"/>
                  <a:gd name="connsiteY88" fmla="*/ 692944 h 1685925"/>
                  <a:gd name="connsiteX89" fmla="*/ 3002757 w 8477250"/>
                  <a:gd name="connsiteY89" fmla="*/ 747713 h 1685925"/>
                  <a:gd name="connsiteX90" fmla="*/ 2952750 w 8477250"/>
                  <a:gd name="connsiteY90" fmla="*/ 885825 h 1685925"/>
                  <a:gd name="connsiteX91" fmla="*/ 2883694 w 8477250"/>
                  <a:gd name="connsiteY91" fmla="*/ 952500 h 1685925"/>
                  <a:gd name="connsiteX92" fmla="*/ 2812256 w 8477250"/>
                  <a:gd name="connsiteY92" fmla="*/ 947738 h 1685925"/>
                  <a:gd name="connsiteX93" fmla="*/ 2774156 w 8477250"/>
                  <a:gd name="connsiteY93" fmla="*/ 1004888 h 1685925"/>
                  <a:gd name="connsiteX94" fmla="*/ 2714625 w 8477250"/>
                  <a:gd name="connsiteY94" fmla="*/ 1019175 h 1685925"/>
                  <a:gd name="connsiteX95" fmla="*/ 2645569 w 8477250"/>
                  <a:gd name="connsiteY95" fmla="*/ 959644 h 1685925"/>
                  <a:gd name="connsiteX96" fmla="*/ 2590800 w 8477250"/>
                  <a:gd name="connsiteY96" fmla="*/ 931069 h 1685925"/>
                  <a:gd name="connsiteX97" fmla="*/ 2547938 w 8477250"/>
                  <a:gd name="connsiteY97" fmla="*/ 945356 h 1685925"/>
                  <a:gd name="connsiteX98" fmla="*/ 2495550 w 8477250"/>
                  <a:gd name="connsiteY98" fmla="*/ 928688 h 1685925"/>
                  <a:gd name="connsiteX99" fmla="*/ 2428875 w 8477250"/>
                  <a:gd name="connsiteY99" fmla="*/ 873919 h 1685925"/>
                  <a:gd name="connsiteX100" fmla="*/ 2383631 w 8477250"/>
                  <a:gd name="connsiteY100" fmla="*/ 885825 h 1685925"/>
                  <a:gd name="connsiteX101" fmla="*/ 2362200 w 8477250"/>
                  <a:gd name="connsiteY101" fmla="*/ 854869 h 1685925"/>
                  <a:gd name="connsiteX102" fmla="*/ 2305050 w 8477250"/>
                  <a:gd name="connsiteY102" fmla="*/ 895350 h 1685925"/>
                  <a:gd name="connsiteX103" fmla="*/ 2188369 w 8477250"/>
                  <a:gd name="connsiteY103" fmla="*/ 873919 h 1685925"/>
                  <a:gd name="connsiteX104" fmla="*/ 2138363 w 8477250"/>
                  <a:gd name="connsiteY104" fmla="*/ 821531 h 1685925"/>
                  <a:gd name="connsiteX105" fmla="*/ 2095500 w 8477250"/>
                  <a:gd name="connsiteY105" fmla="*/ 807244 h 1685925"/>
                  <a:gd name="connsiteX106" fmla="*/ 2052638 w 8477250"/>
                  <a:gd name="connsiteY106" fmla="*/ 833438 h 1685925"/>
                  <a:gd name="connsiteX107" fmla="*/ 2000250 w 8477250"/>
                  <a:gd name="connsiteY107" fmla="*/ 742950 h 1685925"/>
                  <a:gd name="connsiteX108" fmla="*/ 1990725 w 8477250"/>
                  <a:gd name="connsiteY108" fmla="*/ 595312 h 1685925"/>
                  <a:gd name="connsiteX109" fmla="*/ 1938337 w 8477250"/>
                  <a:gd name="connsiteY109" fmla="*/ 588168 h 1685925"/>
                  <a:gd name="connsiteX110" fmla="*/ 1847850 w 8477250"/>
                  <a:gd name="connsiteY110" fmla="*/ 578644 h 1685925"/>
                  <a:gd name="connsiteX111" fmla="*/ 1793081 w 8477250"/>
                  <a:gd name="connsiteY111" fmla="*/ 540544 h 1685925"/>
                  <a:gd name="connsiteX112" fmla="*/ 1724025 w 8477250"/>
                  <a:gd name="connsiteY112" fmla="*/ 550069 h 1685925"/>
                  <a:gd name="connsiteX113" fmla="*/ 1678781 w 8477250"/>
                  <a:gd name="connsiteY113" fmla="*/ 523875 h 1685925"/>
                  <a:gd name="connsiteX114" fmla="*/ 1669257 w 8477250"/>
                  <a:gd name="connsiteY114" fmla="*/ 452438 h 1685925"/>
                  <a:gd name="connsiteX115" fmla="*/ 1645444 w 8477250"/>
                  <a:gd name="connsiteY115" fmla="*/ 438150 h 1685925"/>
                  <a:gd name="connsiteX116" fmla="*/ 1607344 w 8477250"/>
                  <a:gd name="connsiteY116" fmla="*/ 485774 h 1685925"/>
                  <a:gd name="connsiteX117" fmla="*/ 1528762 w 8477250"/>
                  <a:gd name="connsiteY117" fmla="*/ 411956 h 1685925"/>
                  <a:gd name="connsiteX118" fmla="*/ 1488281 w 8477250"/>
                  <a:gd name="connsiteY118" fmla="*/ 452438 h 1685925"/>
                  <a:gd name="connsiteX119" fmla="*/ 1412081 w 8477250"/>
                  <a:gd name="connsiteY119" fmla="*/ 438150 h 1685925"/>
                  <a:gd name="connsiteX120" fmla="*/ 1333500 w 8477250"/>
                  <a:gd name="connsiteY120" fmla="*/ 464344 h 1685925"/>
                  <a:gd name="connsiteX121" fmla="*/ 1273969 w 8477250"/>
                  <a:gd name="connsiteY121" fmla="*/ 511968 h 1685925"/>
                  <a:gd name="connsiteX122" fmla="*/ 1200150 w 8477250"/>
                  <a:gd name="connsiteY122" fmla="*/ 523875 h 1685925"/>
                  <a:gd name="connsiteX123" fmla="*/ 1164431 w 8477250"/>
                  <a:gd name="connsiteY123" fmla="*/ 516731 h 1685925"/>
                  <a:gd name="connsiteX124" fmla="*/ 1085851 w 8477250"/>
                  <a:gd name="connsiteY124" fmla="*/ 547688 h 1685925"/>
                  <a:gd name="connsiteX125" fmla="*/ 1064419 w 8477250"/>
                  <a:gd name="connsiteY125" fmla="*/ 576263 h 1685925"/>
                  <a:gd name="connsiteX126" fmla="*/ 997744 w 8477250"/>
                  <a:gd name="connsiteY126" fmla="*/ 566738 h 1685925"/>
                  <a:gd name="connsiteX127" fmla="*/ 928688 w 8477250"/>
                  <a:gd name="connsiteY127" fmla="*/ 590550 h 1685925"/>
                  <a:gd name="connsiteX128" fmla="*/ 873919 w 8477250"/>
                  <a:gd name="connsiteY128" fmla="*/ 628650 h 1685925"/>
                  <a:gd name="connsiteX129" fmla="*/ 778669 w 8477250"/>
                  <a:gd name="connsiteY129" fmla="*/ 642937 h 1685925"/>
                  <a:gd name="connsiteX130" fmla="*/ 764381 w 8477250"/>
                  <a:gd name="connsiteY130" fmla="*/ 664369 h 1685925"/>
                  <a:gd name="connsiteX131" fmla="*/ 776287 w 8477250"/>
                  <a:gd name="connsiteY131" fmla="*/ 709613 h 1685925"/>
                  <a:gd name="connsiteX132" fmla="*/ 676276 w 8477250"/>
                  <a:gd name="connsiteY132" fmla="*/ 762000 h 1685925"/>
                  <a:gd name="connsiteX133" fmla="*/ 638175 w 8477250"/>
                  <a:gd name="connsiteY133" fmla="*/ 733424 h 1685925"/>
                  <a:gd name="connsiteX134" fmla="*/ 607219 w 8477250"/>
                  <a:gd name="connsiteY134" fmla="*/ 790575 h 1685925"/>
                  <a:gd name="connsiteX135" fmla="*/ 550069 w 8477250"/>
                  <a:gd name="connsiteY135" fmla="*/ 752475 h 1685925"/>
                  <a:gd name="connsiteX136" fmla="*/ 514350 w 8477250"/>
                  <a:gd name="connsiteY136" fmla="*/ 781050 h 1685925"/>
                  <a:gd name="connsiteX137" fmla="*/ 478631 w 8477250"/>
                  <a:gd name="connsiteY137" fmla="*/ 745331 h 1685925"/>
                  <a:gd name="connsiteX138" fmla="*/ 426244 w 8477250"/>
                  <a:gd name="connsiteY138" fmla="*/ 757238 h 1685925"/>
                  <a:gd name="connsiteX139" fmla="*/ 381000 w 8477250"/>
                  <a:gd name="connsiteY139" fmla="*/ 728663 h 1685925"/>
                  <a:gd name="connsiteX140" fmla="*/ 357188 w 8477250"/>
                  <a:gd name="connsiteY140" fmla="*/ 747713 h 1685925"/>
                  <a:gd name="connsiteX141" fmla="*/ 333375 w 8477250"/>
                  <a:gd name="connsiteY141" fmla="*/ 807244 h 1685925"/>
                  <a:gd name="connsiteX142" fmla="*/ 261938 w 8477250"/>
                  <a:gd name="connsiteY142" fmla="*/ 845343 h 1685925"/>
                  <a:gd name="connsiteX143" fmla="*/ 209550 w 8477250"/>
                  <a:gd name="connsiteY143" fmla="*/ 816769 h 1685925"/>
                  <a:gd name="connsiteX144" fmla="*/ 119063 w 8477250"/>
                  <a:gd name="connsiteY144" fmla="*/ 826294 h 1685925"/>
                  <a:gd name="connsiteX145" fmla="*/ 71437 w 8477250"/>
                  <a:gd name="connsiteY145" fmla="*/ 792957 h 1685925"/>
                  <a:gd name="connsiteX146" fmla="*/ 0 w 8477250"/>
                  <a:gd name="connsiteY146" fmla="*/ 812006 h 1685925"/>
                  <a:gd name="connsiteX147" fmla="*/ 4762 w 8477250"/>
                  <a:gd name="connsiteY147" fmla="*/ 0 h 1685925"/>
                  <a:gd name="connsiteX148" fmla="*/ 8477250 w 8477250"/>
                  <a:gd name="connsiteY148" fmla="*/ 1514475 h 1685925"/>
                  <a:gd name="connsiteX149" fmla="*/ 8477250 w 8477250"/>
                  <a:gd name="connsiteY149" fmla="*/ 1514475 h 1685925"/>
                  <a:gd name="connsiteX150" fmla="*/ 8436769 w 8477250"/>
                  <a:gd name="connsiteY150" fmla="*/ 1519238 h 1685925"/>
                  <a:gd name="connsiteX151" fmla="*/ 8351043 w 8477250"/>
                  <a:gd name="connsiteY151" fmla="*/ 1445419 h 1685925"/>
                  <a:gd name="connsiteX152" fmla="*/ 8170069 w 8477250"/>
                  <a:gd name="connsiteY152" fmla="*/ 1445418 h 1685925"/>
                  <a:gd name="connsiteX153" fmla="*/ 8117681 w 8477250"/>
                  <a:gd name="connsiteY153" fmla="*/ 1483519 h 1685925"/>
                  <a:gd name="connsiteX154" fmla="*/ 8067675 w 8477250"/>
                  <a:gd name="connsiteY154" fmla="*/ 1562100 h 1685925"/>
                  <a:gd name="connsiteX155" fmla="*/ 8084344 w 8477250"/>
                  <a:gd name="connsiteY155" fmla="*/ 1583531 h 1685925"/>
                  <a:gd name="connsiteX156" fmla="*/ 8039100 w 8477250"/>
                  <a:gd name="connsiteY156" fmla="*/ 1633537 h 1685925"/>
                  <a:gd name="connsiteX157" fmla="*/ 7889081 w 8477250"/>
                  <a:gd name="connsiteY157" fmla="*/ 1557337 h 1685925"/>
                  <a:gd name="connsiteX158" fmla="*/ 7798594 w 8477250"/>
                  <a:gd name="connsiteY158" fmla="*/ 1593056 h 1685925"/>
                  <a:gd name="connsiteX159" fmla="*/ 7724775 w 8477250"/>
                  <a:gd name="connsiteY159" fmla="*/ 1590675 h 1685925"/>
                  <a:gd name="connsiteX160" fmla="*/ 7667625 w 8477250"/>
                  <a:gd name="connsiteY160" fmla="*/ 1685925 h 1685925"/>
                  <a:gd name="connsiteX161" fmla="*/ 7529513 w 8477250"/>
                  <a:gd name="connsiteY161" fmla="*/ 1588294 h 1685925"/>
                  <a:gd name="connsiteX0" fmla="*/ 7529513 w 8477250"/>
                  <a:gd name="connsiteY0" fmla="*/ 1588294 h 1685925"/>
                  <a:gd name="connsiteX1" fmla="*/ 7522369 w 8477250"/>
                  <a:gd name="connsiteY1" fmla="*/ 1533525 h 1685925"/>
                  <a:gd name="connsiteX2" fmla="*/ 7589044 w 8477250"/>
                  <a:gd name="connsiteY2" fmla="*/ 1459706 h 1685925"/>
                  <a:gd name="connsiteX3" fmla="*/ 7572375 w 8477250"/>
                  <a:gd name="connsiteY3" fmla="*/ 1388269 h 1685925"/>
                  <a:gd name="connsiteX4" fmla="*/ 7586663 w 8477250"/>
                  <a:gd name="connsiteY4" fmla="*/ 1293019 h 1685925"/>
                  <a:gd name="connsiteX5" fmla="*/ 7624763 w 8477250"/>
                  <a:gd name="connsiteY5" fmla="*/ 1235869 h 1685925"/>
                  <a:gd name="connsiteX6" fmla="*/ 7605712 w 8477250"/>
                  <a:gd name="connsiteY6" fmla="*/ 1202531 h 1685925"/>
                  <a:gd name="connsiteX7" fmla="*/ 7703343 w 8477250"/>
                  <a:gd name="connsiteY7" fmla="*/ 802481 h 1685925"/>
                  <a:gd name="connsiteX8" fmla="*/ 7696200 w 8477250"/>
                  <a:gd name="connsiteY8" fmla="*/ 773906 h 1685925"/>
                  <a:gd name="connsiteX9" fmla="*/ 7567613 w 8477250"/>
                  <a:gd name="connsiteY9" fmla="*/ 752475 h 1685925"/>
                  <a:gd name="connsiteX10" fmla="*/ 7384257 w 8477250"/>
                  <a:gd name="connsiteY10" fmla="*/ 831056 h 1685925"/>
                  <a:gd name="connsiteX11" fmla="*/ 7227093 w 8477250"/>
                  <a:gd name="connsiteY11" fmla="*/ 716756 h 1685925"/>
                  <a:gd name="connsiteX12" fmla="*/ 7150894 w 8477250"/>
                  <a:gd name="connsiteY12" fmla="*/ 723900 h 1685925"/>
                  <a:gd name="connsiteX13" fmla="*/ 7077075 w 8477250"/>
                  <a:gd name="connsiteY13" fmla="*/ 719138 h 1685925"/>
                  <a:gd name="connsiteX14" fmla="*/ 6938963 w 8477250"/>
                  <a:gd name="connsiteY14" fmla="*/ 823913 h 1685925"/>
                  <a:gd name="connsiteX15" fmla="*/ 6831806 w 8477250"/>
                  <a:gd name="connsiteY15" fmla="*/ 931069 h 1685925"/>
                  <a:gd name="connsiteX16" fmla="*/ 6788944 w 8477250"/>
                  <a:gd name="connsiteY16" fmla="*/ 1000125 h 1685925"/>
                  <a:gd name="connsiteX17" fmla="*/ 6796088 w 8477250"/>
                  <a:gd name="connsiteY17" fmla="*/ 1035844 h 1685925"/>
                  <a:gd name="connsiteX18" fmla="*/ 6734175 w 8477250"/>
                  <a:gd name="connsiteY18" fmla="*/ 1047750 h 1685925"/>
                  <a:gd name="connsiteX19" fmla="*/ 6753225 w 8477250"/>
                  <a:gd name="connsiteY19" fmla="*/ 1047750 h 1685925"/>
                  <a:gd name="connsiteX20" fmla="*/ 6719888 w 8477250"/>
                  <a:gd name="connsiteY20" fmla="*/ 1078706 h 1685925"/>
                  <a:gd name="connsiteX21" fmla="*/ 6619875 w 8477250"/>
                  <a:gd name="connsiteY21" fmla="*/ 1078707 h 1685925"/>
                  <a:gd name="connsiteX22" fmla="*/ 6524625 w 8477250"/>
                  <a:gd name="connsiteY22" fmla="*/ 1133475 h 1685925"/>
                  <a:gd name="connsiteX23" fmla="*/ 6443663 w 8477250"/>
                  <a:gd name="connsiteY23" fmla="*/ 1143000 h 1685925"/>
                  <a:gd name="connsiteX24" fmla="*/ 6403181 w 8477250"/>
                  <a:gd name="connsiteY24" fmla="*/ 1176338 h 1685925"/>
                  <a:gd name="connsiteX25" fmla="*/ 6353175 w 8477250"/>
                  <a:gd name="connsiteY25" fmla="*/ 1181100 h 1685925"/>
                  <a:gd name="connsiteX26" fmla="*/ 6231732 w 8477250"/>
                  <a:gd name="connsiteY26" fmla="*/ 1273969 h 1685925"/>
                  <a:gd name="connsiteX27" fmla="*/ 6172200 w 8477250"/>
                  <a:gd name="connsiteY27" fmla="*/ 1278731 h 1685925"/>
                  <a:gd name="connsiteX28" fmla="*/ 6119813 w 8477250"/>
                  <a:gd name="connsiteY28" fmla="*/ 1243013 h 1685925"/>
                  <a:gd name="connsiteX29" fmla="*/ 6093619 w 8477250"/>
                  <a:gd name="connsiteY29" fmla="*/ 1278731 h 1685925"/>
                  <a:gd name="connsiteX30" fmla="*/ 5895975 w 8477250"/>
                  <a:gd name="connsiteY30" fmla="*/ 1271588 h 1685925"/>
                  <a:gd name="connsiteX31" fmla="*/ 5834063 w 8477250"/>
                  <a:gd name="connsiteY31" fmla="*/ 1226344 h 1685925"/>
                  <a:gd name="connsiteX32" fmla="*/ 5636419 w 8477250"/>
                  <a:gd name="connsiteY32" fmla="*/ 1243013 h 1685925"/>
                  <a:gd name="connsiteX33" fmla="*/ 5548313 w 8477250"/>
                  <a:gd name="connsiteY33" fmla="*/ 1159668 h 1685925"/>
                  <a:gd name="connsiteX34" fmla="*/ 5472113 w 8477250"/>
                  <a:gd name="connsiteY34" fmla="*/ 1114425 h 1685925"/>
                  <a:gd name="connsiteX35" fmla="*/ 5474493 w 8477250"/>
                  <a:gd name="connsiteY35" fmla="*/ 1057275 h 1685925"/>
                  <a:gd name="connsiteX36" fmla="*/ 5455444 w 8477250"/>
                  <a:gd name="connsiteY36" fmla="*/ 1014412 h 1685925"/>
                  <a:gd name="connsiteX37" fmla="*/ 5360194 w 8477250"/>
                  <a:gd name="connsiteY37" fmla="*/ 1016794 h 1685925"/>
                  <a:gd name="connsiteX38" fmla="*/ 5264944 w 8477250"/>
                  <a:gd name="connsiteY38" fmla="*/ 995363 h 1685925"/>
                  <a:gd name="connsiteX39" fmla="*/ 5195887 w 8477250"/>
                  <a:gd name="connsiteY39" fmla="*/ 928687 h 1685925"/>
                  <a:gd name="connsiteX40" fmla="*/ 5160169 w 8477250"/>
                  <a:gd name="connsiteY40" fmla="*/ 885825 h 1685925"/>
                  <a:gd name="connsiteX41" fmla="*/ 5079206 w 8477250"/>
                  <a:gd name="connsiteY41" fmla="*/ 862012 h 1685925"/>
                  <a:gd name="connsiteX42" fmla="*/ 5005388 w 8477250"/>
                  <a:gd name="connsiteY42" fmla="*/ 873918 h 1685925"/>
                  <a:gd name="connsiteX43" fmla="*/ 4948237 w 8477250"/>
                  <a:gd name="connsiteY43" fmla="*/ 821531 h 1685925"/>
                  <a:gd name="connsiteX44" fmla="*/ 4852988 w 8477250"/>
                  <a:gd name="connsiteY44" fmla="*/ 833438 h 1685925"/>
                  <a:gd name="connsiteX45" fmla="*/ 4800600 w 8477250"/>
                  <a:gd name="connsiteY45" fmla="*/ 807244 h 1685925"/>
                  <a:gd name="connsiteX46" fmla="*/ 4719638 w 8477250"/>
                  <a:gd name="connsiteY46" fmla="*/ 850106 h 1685925"/>
                  <a:gd name="connsiteX47" fmla="*/ 4581525 w 8477250"/>
                  <a:gd name="connsiteY47" fmla="*/ 873919 h 1685925"/>
                  <a:gd name="connsiteX48" fmla="*/ 4452938 w 8477250"/>
                  <a:gd name="connsiteY48" fmla="*/ 966788 h 1685925"/>
                  <a:gd name="connsiteX49" fmla="*/ 4405312 w 8477250"/>
                  <a:gd name="connsiteY49" fmla="*/ 928688 h 1685925"/>
                  <a:gd name="connsiteX50" fmla="*/ 4383881 w 8477250"/>
                  <a:gd name="connsiteY50" fmla="*/ 959643 h 1685925"/>
                  <a:gd name="connsiteX51" fmla="*/ 4310063 w 8477250"/>
                  <a:gd name="connsiteY51" fmla="*/ 909638 h 1685925"/>
                  <a:gd name="connsiteX52" fmla="*/ 4271963 w 8477250"/>
                  <a:gd name="connsiteY52" fmla="*/ 916781 h 1685925"/>
                  <a:gd name="connsiteX53" fmla="*/ 4250531 w 8477250"/>
                  <a:gd name="connsiteY53" fmla="*/ 878681 h 1685925"/>
                  <a:gd name="connsiteX54" fmla="*/ 4191000 w 8477250"/>
                  <a:gd name="connsiteY54" fmla="*/ 883444 h 1685925"/>
                  <a:gd name="connsiteX55" fmla="*/ 4145756 w 8477250"/>
                  <a:gd name="connsiteY55" fmla="*/ 854869 h 1685925"/>
                  <a:gd name="connsiteX56" fmla="*/ 4107656 w 8477250"/>
                  <a:gd name="connsiteY56" fmla="*/ 852488 h 1685925"/>
                  <a:gd name="connsiteX57" fmla="*/ 4088606 w 8477250"/>
                  <a:gd name="connsiteY57" fmla="*/ 804862 h 1685925"/>
                  <a:gd name="connsiteX58" fmla="*/ 4074319 w 8477250"/>
                  <a:gd name="connsiteY58" fmla="*/ 773906 h 1685925"/>
                  <a:gd name="connsiteX59" fmla="*/ 4029075 w 8477250"/>
                  <a:gd name="connsiteY59" fmla="*/ 783431 h 1685925"/>
                  <a:gd name="connsiteX60" fmla="*/ 4010025 w 8477250"/>
                  <a:gd name="connsiteY60" fmla="*/ 747713 h 1685925"/>
                  <a:gd name="connsiteX61" fmla="*/ 4031457 w 8477250"/>
                  <a:gd name="connsiteY61" fmla="*/ 692944 h 1685925"/>
                  <a:gd name="connsiteX62" fmla="*/ 4000500 w 8477250"/>
                  <a:gd name="connsiteY62" fmla="*/ 666750 h 1685925"/>
                  <a:gd name="connsiteX63" fmla="*/ 4017169 w 8477250"/>
                  <a:gd name="connsiteY63" fmla="*/ 623888 h 1685925"/>
                  <a:gd name="connsiteX64" fmla="*/ 3990975 w 8477250"/>
                  <a:gd name="connsiteY64" fmla="*/ 581025 h 1685925"/>
                  <a:gd name="connsiteX65" fmla="*/ 3986213 w 8477250"/>
                  <a:gd name="connsiteY65" fmla="*/ 519113 h 1685925"/>
                  <a:gd name="connsiteX66" fmla="*/ 4010025 w 8477250"/>
                  <a:gd name="connsiteY66" fmla="*/ 454818 h 1685925"/>
                  <a:gd name="connsiteX67" fmla="*/ 3971925 w 8477250"/>
                  <a:gd name="connsiteY67" fmla="*/ 457200 h 1685925"/>
                  <a:gd name="connsiteX68" fmla="*/ 3852863 w 8477250"/>
                  <a:gd name="connsiteY68" fmla="*/ 400050 h 1685925"/>
                  <a:gd name="connsiteX69" fmla="*/ 3814762 w 8477250"/>
                  <a:gd name="connsiteY69" fmla="*/ 404812 h 1685925"/>
                  <a:gd name="connsiteX70" fmla="*/ 3609975 w 8477250"/>
                  <a:gd name="connsiteY70" fmla="*/ 295275 h 1685925"/>
                  <a:gd name="connsiteX71" fmla="*/ 3505200 w 8477250"/>
                  <a:gd name="connsiteY71" fmla="*/ 264319 h 1685925"/>
                  <a:gd name="connsiteX72" fmla="*/ 3440906 w 8477250"/>
                  <a:gd name="connsiteY72" fmla="*/ 273843 h 1685925"/>
                  <a:gd name="connsiteX73" fmla="*/ 3409950 w 8477250"/>
                  <a:gd name="connsiteY73" fmla="*/ 209550 h 1685925"/>
                  <a:gd name="connsiteX74" fmla="*/ 3352800 w 8477250"/>
                  <a:gd name="connsiteY74" fmla="*/ 209550 h 1685925"/>
                  <a:gd name="connsiteX75" fmla="*/ 3214687 w 8477250"/>
                  <a:gd name="connsiteY75" fmla="*/ 104775 h 1685925"/>
                  <a:gd name="connsiteX76" fmla="*/ 3181350 w 8477250"/>
                  <a:gd name="connsiteY76" fmla="*/ 164307 h 1685925"/>
                  <a:gd name="connsiteX77" fmla="*/ 3126581 w 8477250"/>
                  <a:gd name="connsiteY77" fmla="*/ 233363 h 1685925"/>
                  <a:gd name="connsiteX78" fmla="*/ 3083719 w 8477250"/>
                  <a:gd name="connsiteY78" fmla="*/ 250031 h 1685925"/>
                  <a:gd name="connsiteX79" fmla="*/ 3052763 w 8477250"/>
                  <a:gd name="connsiteY79" fmla="*/ 242888 h 1685925"/>
                  <a:gd name="connsiteX80" fmla="*/ 3028950 w 8477250"/>
                  <a:gd name="connsiteY80" fmla="*/ 271463 h 1685925"/>
                  <a:gd name="connsiteX81" fmla="*/ 3002756 w 8477250"/>
                  <a:gd name="connsiteY81" fmla="*/ 350044 h 1685925"/>
                  <a:gd name="connsiteX82" fmla="*/ 2959894 w 8477250"/>
                  <a:gd name="connsiteY82" fmla="*/ 347663 h 1685925"/>
                  <a:gd name="connsiteX83" fmla="*/ 2928937 w 8477250"/>
                  <a:gd name="connsiteY83" fmla="*/ 409575 h 1685925"/>
                  <a:gd name="connsiteX84" fmla="*/ 2924175 w 8477250"/>
                  <a:gd name="connsiteY84" fmla="*/ 473869 h 1685925"/>
                  <a:gd name="connsiteX85" fmla="*/ 2897982 w 8477250"/>
                  <a:gd name="connsiteY85" fmla="*/ 511969 h 1685925"/>
                  <a:gd name="connsiteX86" fmla="*/ 2924175 w 8477250"/>
                  <a:gd name="connsiteY86" fmla="*/ 571500 h 1685925"/>
                  <a:gd name="connsiteX87" fmla="*/ 2926556 w 8477250"/>
                  <a:gd name="connsiteY87" fmla="*/ 640556 h 1685925"/>
                  <a:gd name="connsiteX88" fmla="*/ 2955131 w 8477250"/>
                  <a:gd name="connsiteY88" fmla="*/ 692944 h 1685925"/>
                  <a:gd name="connsiteX89" fmla="*/ 3002757 w 8477250"/>
                  <a:gd name="connsiteY89" fmla="*/ 747713 h 1685925"/>
                  <a:gd name="connsiteX90" fmla="*/ 2952750 w 8477250"/>
                  <a:gd name="connsiteY90" fmla="*/ 885825 h 1685925"/>
                  <a:gd name="connsiteX91" fmla="*/ 2883694 w 8477250"/>
                  <a:gd name="connsiteY91" fmla="*/ 952500 h 1685925"/>
                  <a:gd name="connsiteX92" fmla="*/ 2812256 w 8477250"/>
                  <a:gd name="connsiteY92" fmla="*/ 947738 h 1685925"/>
                  <a:gd name="connsiteX93" fmla="*/ 2774156 w 8477250"/>
                  <a:gd name="connsiteY93" fmla="*/ 1004888 h 1685925"/>
                  <a:gd name="connsiteX94" fmla="*/ 2714625 w 8477250"/>
                  <a:gd name="connsiteY94" fmla="*/ 1019175 h 1685925"/>
                  <a:gd name="connsiteX95" fmla="*/ 2645569 w 8477250"/>
                  <a:gd name="connsiteY95" fmla="*/ 959644 h 1685925"/>
                  <a:gd name="connsiteX96" fmla="*/ 2590800 w 8477250"/>
                  <a:gd name="connsiteY96" fmla="*/ 931069 h 1685925"/>
                  <a:gd name="connsiteX97" fmla="*/ 2547938 w 8477250"/>
                  <a:gd name="connsiteY97" fmla="*/ 945356 h 1685925"/>
                  <a:gd name="connsiteX98" fmla="*/ 2495550 w 8477250"/>
                  <a:gd name="connsiteY98" fmla="*/ 928688 h 1685925"/>
                  <a:gd name="connsiteX99" fmla="*/ 2428875 w 8477250"/>
                  <a:gd name="connsiteY99" fmla="*/ 873919 h 1685925"/>
                  <a:gd name="connsiteX100" fmla="*/ 2383631 w 8477250"/>
                  <a:gd name="connsiteY100" fmla="*/ 885825 h 1685925"/>
                  <a:gd name="connsiteX101" fmla="*/ 2362200 w 8477250"/>
                  <a:gd name="connsiteY101" fmla="*/ 854869 h 1685925"/>
                  <a:gd name="connsiteX102" fmla="*/ 2305050 w 8477250"/>
                  <a:gd name="connsiteY102" fmla="*/ 895350 h 1685925"/>
                  <a:gd name="connsiteX103" fmla="*/ 2188369 w 8477250"/>
                  <a:gd name="connsiteY103" fmla="*/ 873919 h 1685925"/>
                  <a:gd name="connsiteX104" fmla="*/ 2138363 w 8477250"/>
                  <a:gd name="connsiteY104" fmla="*/ 821531 h 1685925"/>
                  <a:gd name="connsiteX105" fmla="*/ 2095500 w 8477250"/>
                  <a:gd name="connsiteY105" fmla="*/ 807244 h 1685925"/>
                  <a:gd name="connsiteX106" fmla="*/ 2052638 w 8477250"/>
                  <a:gd name="connsiteY106" fmla="*/ 833438 h 1685925"/>
                  <a:gd name="connsiteX107" fmla="*/ 2000250 w 8477250"/>
                  <a:gd name="connsiteY107" fmla="*/ 742950 h 1685925"/>
                  <a:gd name="connsiteX108" fmla="*/ 1990725 w 8477250"/>
                  <a:gd name="connsiteY108" fmla="*/ 595312 h 1685925"/>
                  <a:gd name="connsiteX109" fmla="*/ 1938337 w 8477250"/>
                  <a:gd name="connsiteY109" fmla="*/ 588168 h 1685925"/>
                  <a:gd name="connsiteX110" fmla="*/ 1847850 w 8477250"/>
                  <a:gd name="connsiteY110" fmla="*/ 578644 h 1685925"/>
                  <a:gd name="connsiteX111" fmla="*/ 1793081 w 8477250"/>
                  <a:gd name="connsiteY111" fmla="*/ 540544 h 1685925"/>
                  <a:gd name="connsiteX112" fmla="*/ 1724025 w 8477250"/>
                  <a:gd name="connsiteY112" fmla="*/ 550069 h 1685925"/>
                  <a:gd name="connsiteX113" fmla="*/ 1678781 w 8477250"/>
                  <a:gd name="connsiteY113" fmla="*/ 523875 h 1685925"/>
                  <a:gd name="connsiteX114" fmla="*/ 1669257 w 8477250"/>
                  <a:gd name="connsiteY114" fmla="*/ 452438 h 1685925"/>
                  <a:gd name="connsiteX115" fmla="*/ 1645444 w 8477250"/>
                  <a:gd name="connsiteY115" fmla="*/ 438150 h 1685925"/>
                  <a:gd name="connsiteX116" fmla="*/ 1607344 w 8477250"/>
                  <a:gd name="connsiteY116" fmla="*/ 485774 h 1685925"/>
                  <a:gd name="connsiteX117" fmla="*/ 1528762 w 8477250"/>
                  <a:gd name="connsiteY117" fmla="*/ 411956 h 1685925"/>
                  <a:gd name="connsiteX118" fmla="*/ 1488281 w 8477250"/>
                  <a:gd name="connsiteY118" fmla="*/ 452438 h 1685925"/>
                  <a:gd name="connsiteX119" fmla="*/ 1412081 w 8477250"/>
                  <a:gd name="connsiteY119" fmla="*/ 438150 h 1685925"/>
                  <a:gd name="connsiteX120" fmla="*/ 1333500 w 8477250"/>
                  <a:gd name="connsiteY120" fmla="*/ 464344 h 1685925"/>
                  <a:gd name="connsiteX121" fmla="*/ 1273969 w 8477250"/>
                  <a:gd name="connsiteY121" fmla="*/ 511968 h 1685925"/>
                  <a:gd name="connsiteX122" fmla="*/ 1200150 w 8477250"/>
                  <a:gd name="connsiteY122" fmla="*/ 523875 h 1685925"/>
                  <a:gd name="connsiteX123" fmla="*/ 1164431 w 8477250"/>
                  <a:gd name="connsiteY123" fmla="*/ 516731 h 1685925"/>
                  <a:gd name="connsiteX124" fmla="*/ 1085851 w 8477250"/>
                  <a:gd name="connsiteY124" fmla="*/ 547688 h 1685925"/>
                  <a:gd name="connsiteX125" fmla="*/ 1064419 w 8477250"/>
                  <a:gd name="connsiteY125" fmla="*/ 576263 h 1685925"/>
                  <a:gd name="connsiteX126" fmla="*/ 997744 w 8477250"/>
                  <a:gd name="connsiteY126" fmla="*/ 566738 h 1685925"/>
                  <a:gd name="connsiteX127" fmla="*/ 928688 w 8477250"/>
                  <a:gd name="connsiteY127" fmla="*/ 590550 h 1685925"/>
                  <a:gd name="connsiteX128" fmla="*/ 873919 w 8477250"/>
                  <a:gd name="connsiteY128" fmla="*/ 628650 h 1685925"/>
                  <a:gd name="connsiteX129" fmla="*/ 778669 w 8477250"/>
                  <a:gd name="connsiteY129" fmla="*/ 642937 h 1685925"/>
                  <a:gd name="connsiteX130" fmla="*/ 764381 w 8477250"/>
                  <a:gd name="connsiteY130" fmla="*/ 664369 h 1685925"/>
                  <a:gd name="connsiteX131" fmla="*/ 776287 w 8477250"/>
                  <a:gd name="connsiteY131" fmla="*/ 709613 h 1685925"/>
                  <a:gd name="connsiteX132" fmla="*/ 676276 w 8477250"/>
                  <a:gd name="connsiteY132" fmla="*/ 762000 h 1685925"/>
                  <a:gd name="connsiteX133" fmla="*/ 638175 w 8477250"/>
                  <a:gd name="connsiteY133" fmla="*/ 733424 h 1685925"/>
                  <a:gd name="connsiteX134" fmla="*/ 607219 w 8477250"/>
                  <a:gd name="connsiteY134" fmla="*/ 790575 h 1685925"/>
                  <a:gd name="connsiteX135" fmla="*/ 550069 w 8477250"/>
                  <a:gd name="connsiteY135" fmla="*/ 752475 h 1685925"/>
                  <a:gd name="connsiteX136" fmla="*/ 514350 w 8477250"/>
                  <a:gd name="connsiteY136" fmla="*/ 781050 h 1685925"/>
                  <a:gd name="connsiteX137" fmla="*/ 478631 w 8477250"/>
                  <a:gd name="connsiteY137" fmla="*/ 745331 h 1685925"/>
                  <a:gd name="connsiteX138" fmla="*/ 426244 w 8477250"/>
                  <a:gd name="connsiteY138" fmla="*/ 757238 h 1685925"/>
                  <a:gd name="connsiteX139" fmla="*/ 381000 w 8477250"/>
                  <a:gd name="connsiteY139" fmla="*/ 728663 h 1685925"/>
                  <a:gd name="connsiteX140" fmla="*/ 357188 w 8477250"/>
                  <a:gd name="connsiteY140" fmla="*/ 747713 h 1685925"/>
                  <a:gd name="connsiteX141" fmla="*/ 333375 w 8477250"/>
                  <a:gd name="connsiteY141" fmla="*/ 807244 h 1685925"/>
                  <a:gd name="connsiteX142" fmla="*/ 261938 w 8477250"/>
                  <a:gd name="connsiteY142" fmla="*/ 845343 h 1685925"/>
                  <a:gd name="connsiteX143" fmla="*/ 209550 w 8477250"/>
                  <a:gd name="connsiteY143" fmla="*/ 816769 h 1685925"/>
                  <a:gd name="connsiteX144" fmla="*/ 119063 w 8477250"/>
                  <a:gd name="connsiteY144" fmla="*/ 826294 h 1685925"/>
                  <a:gd name="connsiteX145" fmla="*/ 71437 w 8477250"/>
                  <a:gd name="connsiteY145" fmla="*/ 792957 h 1685925"/>
                  <a:gd name="connsiteX146" fmla="*/ 0 w 8477250"/>
                  <a:gd name="connsiteY146" fmla="*/ 812006 h 1685925"/>
                  <a:gd name="connsiteX147" fmla="*/ 4762 w 8477250"/>
                  <a:gd name="connsiteY147" fmla="*/ 0 h 1685925"/>
                  <a:gd name="connsiteX148" fmla="*/ 8477250 w 8477250"/>
                  <a:gd name="connsiteY148" fmla="*/ 1514475 h 1685925"/>
                  <a:gd name="connsiteX149" fmla="*/ 8436769 w 8477250"/>
                  <a:gd name="connsiteY149" fmla="*/ 1519238 h 1685925"/>
                  <a:gd name="connsiteX150" fmla="*/ 8351043 w 8477250"/>
                  <a:gd name="connsiteY150" fmla="*/ 1445419 h 1685925"/>
                  <a:gd name="connsiteX151" fmla="*/ 8170069 w 8477250"/>
                  <a:gd name="connsiteY151" fmla="*/ 1445418 h 1685925"/>
                  <a:gd name="connsiteX152" fmla="*/ 8117681 w 8477250"/>
                  <a:gd name="connsiteY152" fmla="*/ 1483519 h 1685925"/>
                  <a:gd name="connsiteX153" fmla="*/ 8067675 w 8477250"/>
                  <a:gd name="connsiteY153" fmla="*/ 1562100 h 1685925"/>
                  <a:gd name="connsiteX154" fmla="*/ 8084344 w 8477250"/>
                  <a:gd name="connsiteY154" fmla="*/ 1583531 h 1685925"/>
                  <a:gd name="connsiteX155" fmla="*/ 8039100 w 8477250"/>
                  <a:gd name="connsiteY155" fmla="*/ 1633537 h 1685925"/>
                  <a:gd name="connsiteX156" fmla="*/ 7889081 w 8477250"/>
                  <a:gd name="connsiteY156" fmla="*/ 1557337 h 1685925"/>
                  <a:gd name="connsiteX157" fmla="*/ 7798594 w 8477250"/>
                  <a:gd name="connsiteY157" fmla="*/ 1593056 h 1685925"/>
                  <a:gd name="connsiteX158" fmla="*/ 7724775 w 8477250"/>
                  <a:gd name="connsiteY158" fmla="*/ 1590675 h 1685925"/>
                  <a:gd name="connsiteX159" fmla="*/ 7667625 w 8477250"/>
                  <a:gd name="connsiteY159" fmla="*/ 1685925 h 1685925"/>
                  <a:gd name="connsiteX160" fmla="*/ 7529513 w 8477250"/>
                  <a:gd name="connsiteY160" fmla="*/ 1588294 h 1685925"/>
                  <a:gd name="connsiteX0" fmla="*/ 7529513 w 8477250"/>
                  <a:gd name="connsiteY0" fmla="*/ 1588294 h 1685925"/>
                  <a:gd name="connsiteX1" fmla="*/ 7522369 w 8477250"/>
                  <a:gd name="connsiteY1" fmla="*/ 1533525 h 1685925"/>
                  <a:gd name="connsiteX2" fmla="*/ 7589044 w 8477250"/>
                  <a:gd name="connsiteY2" fmla="*/ 1459706 h 1685925"/>
                  <a:gd name="connsiteX3" fmla="*/ 7572375 w 8477250"/>
                  <a:gd name="connsiteY3" fmla="*/ 1388269 h 1685925"/>
                  <a:gd name="connsiteX4" fmla="*/ 7586663 w 8477250"/>
                  <a:gd name="connsiteY4" fmla="*/ 1293019 h 1685925"/>
                  <a:gd name="connsiteX5" fmla="*/ 7624763 w 8477250"/>
                  <a:gd name="connsiteY5" fmla="*/ 1235869 h 1685925"/>
                  <a:gd name="connsiteX6" fmla="*/ 7605712 w 8477250"/>
                  <a:gd name="connsiteY6" fmla="*/ 1202531 h 1685925"/>
                  <a:gd name="connsiteX7" fmla="*/ 7703343 w 8477250"/>
                  <a:gd name="connsiteY7" fmla="*/ 802481 h 1685925"/>
                  <a:gd name="connsiteX8" fmla="*/ 7696200 w 8477250"/>
                  <a:gd name="connsiteY8" fmla="*/ 773906 h 1685925"/>
                  <a:gd name="connsiteX9" fmla="*/ 7567613 w 8477250"/>
                  <a:gd name="connsiteY9" fmla="*/ 752475 h 1685925"/>
                  <a:gd name="connsiteX10" fmla="*/ 7384257 w 8477250"/>
                  <a:gd name="connsiteY10" fmla="*/ 831056 h 1685925"/>
                  <a:gd name="connsiteX11" fmla="*/ 7227093 w 8477250"/>
                  <a:gd name="connsiteY11" fmla="*/ 716756 h 1685925"/>
                  <a:gd name="connsiteX12" fmla="*/ 7150894 w 8477250"/>
                  <a:gd name="connsiteY12" fmla="*/ 723900 h 1685925"/>
                  <a:gd name="connsiteX13" fmla="*/ 7077075 w 8477250"/>
                  <a:gd name="connsiteY13" fmla="*/ 719138 h 1685925"/>
                  <a:gd name="connsiteX14" fmla="*/ 6938963 w 8477250"/>
                  <a:gd name="connsiteY14" fmla="*/ 823913 h 1685925"/>
                  <a:gd name="connsiteX15" fmla="*/ 6831806 w 8477250"/>
                  <a:gd name="connsiteY15" fmla="*/ 931069 h 1685925"/>
                  <a:gd name="connsiteX16" fmla="*/ 6788944 w 8477250"/>
                  <a:gd name="connsiteY16" fmla="*/ 1000125 h 1685925"/>
                  <a:gd name="connsiteX17" fmla="*/ 6796088 w 8477250"/>
                  <a:gd name="connsiteY17" fmla="*/ 1035844 h 1685925"/>
                  <a:gd name="connsiteX18" fmla="*/ 6734175 w 8477250"/>
                  <a:gd name="connsiteY18" fmla="*/ 1047750 h 1685925"/>
                  <a:gd name="connsiteX19" fmla="*/ 6753225 w 8477250"/>
                  <a:gd name="connsiteY19" fmla="*/ 1047750 h 1685925"/>
                  <a:gd name="connsiteX20" fmla="*/ 6719888 w 8477250"/>
                  <a:gd name="connsiteY20" fmla="*/ 1078706 h 1685925"/>
                  <a:gd name="connsiteX21" fmla="*/ 6619875 w 8477250"/>
                  <a:gd name="connsiteY21" fmla="*/ 1078707 h 1685925"/>
                  <a:gd name="connsiteX22" fmla="*/ 6524625 w 8477250"/>
                  <a:gd name="connsiteY22" fmla="*/ 1133475 h 1685925"/>
                  <a:gd name="connsiteX23" fmla="*/ 6443663 w 8477250"/>
                  <a:gd name="connsiteY23" fmla="*/ 1143000 h 1685925"/>
                  <a:gd name="connsiteX24" fmla="*/ 6403181 w 8477250"/>
                  <a:gd name="connsiteY24" fmla="*/ 1176338 h 1685925"/>
                  <a:gd name="connsiteX25" fmla="*/ 6353175 w 8477250"/>
                  <a:gd name="connsiteY25" fmla="*/ 1181100 h 1685925"/>
                  <a:gd name="connsiteX26" fmla="*/ 6231732 w 8477250"/>
                  <a:gd name="connsiteY26" fmla="*/ 1273969 h 1685925"/>
                  <a:gd name="connsiteX27" fmla="*/ 6172200 w 8477250"/>
                  <a:gd name="connsiteY27" fmla="*/ 1278731 h 1685925"/>
                  <a:gd name="connsiteX28" fmla="*/ 6119813 w 8477250"/>
                  <a:gd name="connsiteY28" fmla="*/ 1243013 h 1685925"/>
                  <a:gd name="connsiteX29" fmla="*/ 6093619 w 8477250"/>
                  <a:gd name="connsiteY29" fmla="*/ 1278731 h 1685925"/>
                  <a:gd name="connsiteX30" fmla="*/ 5895975 w 8477250"/>
                  <a:gd name="connsiteY30" fmla="*/ 1271588 h 1685925"/>
                  <a:gd name="connsiteX31" fmla="*/ 5834063 w 8477250"/>
                  <a:gd name="connsiteY31" fmla="*/ 1226344 h 1685925"/>
                  <a:gd name="connsiteX32" fmla="*/ 5636419 w 8477250"/>
                  <a:gd name="connsiteY32" fmla="*/ 1243013 h 1685925"/>
                  <a:gd name="connsiteX33" fmla="*/ 5548313 w 8477250"/>
                  <a:gd name="connsiteY33" fmla="*/ 1159668 h 1685925"/>
                  <a:gd name="connsiteX34" fmla="*/ 5472113 w 8477250"/>
                  <a:gd name="connsiteY34" fmla="*/ 1114425 h 1685925"/>
                  <a:gd name="connsiteX35" fmla="*/ 5474493 w 8477250"/>
                  <a:gd name="connsiteY35" fmla="*/ 1057275 h 1685925"/>
                  <a:gd name="connsiteX36" fmla="*/ 5455444 w 8477250"/>
                  <a:gd name="connsiteY36" fmla="*/ 1014412 h 1685925"/>
                  <a:gd name="connsiteX37" fmla="*/ 5360194 w 8477250"/>
                  <a:gd name="connsiteY37" fmla="*/ 1016794 h 1685925"/>
                  <a:gd name="connsiteX38" fmla="*/ 5264944 w 8477250"/>
                  <a:gd name="connsiteY38" fmla="*/ 995363 h 1685925"/>
                  <a:gd name="connsiteX39" fmla="*/ 5195887 w 8477250"/>
                  <a:gd name="connsiteY39" fmla="*/ 928687 h 1685925"/>
                  <a:gd name="connsiteX40" fmla="*/ 5160169 w 8477250"/>
                  <a:gd name="connsiteY40" fmla="*/ 885825 h 1685925"/>
                  <a:gd name="connsiteX41" fmla="*/ 5079206 w 8477250"/>
                  <a:gd name="connsiteY41" fmla="*/ 862012 h 1685925"/>
                  <a:gd name="connsiteX42" fmla="*/ 5005388 w 8477250"/>
                  <a:gd name="connsiteY42" fmla="*/ 873918 h 1685925"/>
                  <a:gd name="connsiteX43" fmla="*/ 4948237 w 8477250"/>
                  <a:gd name="connsiteY43" fmla="*/ 821531 h 1685925"/>
                  <a:gd name="connsiteX44" fmla="*/ 4852988 w 8477250"/>
                  <a:gd name="connsiteY44" fmla="*/ 833438 h 1685925"/>
                  <a:gd name="connsiteX45" fmla="*/ 4800600 w 8477250"/>
                  <a:gd name="connsiteY45" fmla="*/ 807244 h 1685925"/>
                  <a:gd name="connsiteX46" fmla="*/ 4719638 w 8477250"/>
                  <a:gd name="connsiteY46" fmla="*/ 850106 h 1685925"/>
                  <a:gd name="connsiteX47" fmla="*/ 4581525 w 8477250"/>
                  <a:gd name="connsiteY47" fmla="*/ 873919 h 1685925"/>
                  <a:gd name="connsiteX48" fmla="*/ 4452938 w 8477250"/>
                  <a:gd name="connsiteY48" fmla="*/ 966788 h 1685925"/>
                  <a:gd name="connsiteX49" fmla="*/ 4405312 w 8477250"/>
                  <a:gd name="connsiteY49" fmla="*/ 928688 h 1685925"/>
                  <a:gd name="connsiteX50" fmla="*/ 4383881 w 8477250"/>
                  <a:gd name="connsiteY50" fmla="*/ 959643 h 1685925"/>
                  <a:gd name="connsiteX51" fmla="*/ 4310063 w 8477250"/>
                  <a:gd name="connsiteY51" fmla="*/ 909638 h 1685925"/>
                  <a:gd name="connsiteX52" fmla="*/ 4271963 w 8477250"/>
                  <a:gd name="connsiteY52" fmla="*/ 916781 h 1685925"/>
                  <a:gd name="connsiteX53" fmla="*/ 4250531 w 8477250"/>
                  <a:gd name="connsiteY53" fmla="*/ 878681 h 1685925"/>
                  <a:gd name="connsiteX54" fmla="*/ 4191000 w 8477250"/>
                  <a:gd name="connsiteY54" fmla="*/ 883444 h 1685925"/>
                  <a:gd name="connsiteX55" fmla="*/ 4145756 w 8477250"/>
                  <a:gd name="connsiteY55" fmla="*/ 854869 h 1685925"/>
                  <a:gd name="connsiteX56" fmla="*/ 4107656 w 8477250"/>
                  <a:gd name="connsiteY56" fmla="*/ 852488 h 1685925"/>
                  <a:gd name="connsiteX57" fmla="*/ 4088606 w 8477250"/>
                  <a:gd name="connsiteY57" fmla="*/ 804862 h 1685925"/>
                  <a:gd name="connsiteX58" fmla="*/ 4074319 w 8477250"/>
                  <a:gd name="connsiteY58" fmla="*/ 773906 h 1685925"/>
                  <a:gd name="connsiteX59" fmla="*/ 4029075 w 8477250"/>
                  <a:gd name="connsiteY59" fmla="*/ 783431 h 1685925"/>
                  <a:gd name="connsiteX60" fmla="*/ 4010025 w 8477250"/>
                  <a:gd name="connsiteY60" fmla="*/ 747713 h 1685925"/>
                  <a:gd name="connsiteX61" fmla="*/ 4031457 w 8477250"/>
                  <a:gd name="connsiteY61" fmla="*/ 692944 h 1685925"/>
                  <a:gd name="connsiteX62" fmla="*/ 4000500 w 8477250"/>
                  <a:gd name="connsiteY62" fmla="*/ 666750 h 1685925"/>
                  <a:gd name="connsiteX63" fmla="*/ 4017169 w 8477250"/>
                  <a:gd name="connsiteY63" fmla="*/ 623888 h 1685925"/>
                  <a:gd name="connsiteX64" fmla="*/ 3990975 w 8477250"/>
                  <a:gd name="connsiteY64" fmla="*/ 581025 h 1685925"/>
                  <a:gd name="connsiteX65" fmla="*/ 3986213 w 8477250"/>
                  <a:gd name="connsiteY65" fmla="*/ 519113 h 1685925"/>
                  <a:gd name="connsiteX66" fmla="*/ 4010025 w 8477250"/>
                  <a:gd name="connsiteY66" fmla="*/ 454818 h 1685925"/>
                  <a:gd name="connsiteX67" fmla="*/ 3971925 w 8477250"/>
                  <a:gd name="connsiteY67" fmla="*/ 457200 h 1685925"/>
                  <a:gd name="connsiteX68" fmla="*/ 3852863 w 8477250"/>
                  <a:gd name="connsiteY68" fmla="*/ 400050 h 1685925"/>
                  <a:gd name="connsiteX69" fmla="*/ 3814762 w 8477250"/>
                  <a:gd name="connsiteY69" fmla="*/ 404812 h 1685925"/>
                  <a:gd name="connsiteX70" fmla="*/ 3609975 w 8477250"/>
                  <a:gd name="connsiteY70" fmla="*/ 295275 h 1685925"/>
                  <a:gd name="connsiteX71" fmla="*/ 3505200 w 8477250"/>
                  <a:gd name="connsiteY71" fmla="*/ 264319 h 1685925"/>
                  <a:gd name="connsiteX72" fmla="*/ 3440906 w 8477250"/>
                  <a:gd name="connsiteY72" fmla="*/ 273843 h 1685925"/>
                  <a:gd name="connsiteX73" fmla="*/ 3409950 w 8477250"/>
                  <a:gd name="connsiteY73" fmla="*/ 209550 h 1685925"/>
                  <a:gd name="connsiteX74" fmla="*/ 3352800 w 8477250"/>
                  <a:gd name="connsiteY74" fmla="*/ 209550 h 1685925"/>
                  <a:gd name="connsiteX75" fmla="*/ 3214687 w 8477250"/>
                  <a:gd name="connsiteY75" fmla="*/ 104775 h 1685925"/>
                  <a:gd name="connsiteX76" fmla="*/ 3181350 w 8477250"/>
                  <a:gd name="connsiteY76" fmla="*/ 164307 h 1685925"/>
                  <a:gd name="connsiteX77" fmla="*/ 3126581 w 8477250"/>
                  <a:gd name="connsiteY77" fmla="*/ 233363 h 1685925"/>
                  <a:gd name="connsiteX78" fmla="*/ 3083719 w 8477250"/>
                  <a:gd name="connsiteY78" fmla="*/ 250031 h 1685925"/>
                  <a:gd name="connsiteX79" fmla="*/ 3052763 w 8477250"/>
                  <a:gd name="connsiteY79" fmla="*/ 242888 h 1685925"/>
                  <a:gd name="connsiteX80" fmla="*/ 3028950 w 8477250"/>
                  <a:gd name="connsiteY80" fmla="*/ 271463 h 1685925"/>
                  <a:gd name="connsiteX81" fmla="*/ 3002756 w 8477250"/>
                  <a:gd name="connsiteY81" fmla="*/ 350044 h 1685925"/>
                  <a:gd name="connsiteX82" fmla="*/ 2959894 w 8477250"/>
                  <a:gd name="connsiteY82" fmla="*/ 347663 h 1685925"/>
                  <a:gd name="connsiteX83" fmla="*/ 2928937 w 8477250"/>
                  <a:gd name="connsiteY83" fmla="*/ 409575 h 1685925"/>
                  <a:gd name="connsiteX84" fmla="*/ 2924175 w 8477250"/>
                  <a:gd name="connsiteY84" fmla="*/ 473869 h 1685925"/>
                  <a:gd name="connsiteX85" fmla="*/ 2897982 w 8477250"/>
                  <a:gd name="connsiteY85" fmla="*/ 511969 h 1685925"/>
                  <a:gd name="connsiteX86" fmla="*/ 2924175 w 8477250"/>
                  <a:gd name="connsiteY86" fmla="*/ 571500 h 1685925"/>
                  <a:gd name="connsiteX87" fmla="*/ 2926556 w 8477250"/>
                  <a:gd name="connsiteY87" fmla="*/ 640556 h 1685925"/>
                  <a:gd name="connsiteX88" fmla="*/ 2955131 w 8477250"/>
                  <a:gd name="connsiteY88" fmla="*/ 692944 h 1685925"/>
                  <a:gd name="connsiteX89" fmla="*/ 3002757 w 8477250"/>
                  <a:gd name="connsiteY89" fmla="*/ 747713 h 1685925"/>
                  <a:gd name="connsiteX90" fmla="*/ 2952750 w 8477250"/>
                  <a:gd name="connsiteY90" fmla="*/ 885825 h 1685925"/>
                  <a:gd name="connsiteX91" fmla="*/ 2883694 w 8477250"/>
                  <a:gd name="connsiteY91" fmla="*/ 952500 h 1685925"/>
                  <a:gd name="connsiteX92" fmla="*/ 2812256 w 8477250"/>
                  <a:gd name="connsiteY92" fmla="*/ 947738 h 1685925"/>
                  <a:gd name="connsiteX93" fmla="*/ 2774156 w 8477250"/>
                  <a:gd name="connsiteY93" fmla="*/ 1004888 h 1685925"/>
                  <a:gd name="connsiteX94" fmla="*/ 2714625 w 8477250"/>
                  <a:gd name="connsiteY94" fmla="*/ 1019175 h 1685925"/>
                  <a:gd name="connsiteX95" fmla="*/ 2645569 w 8477250"/>
                  <a:gd name="connsiteY95" fmla="*/ 959644 h 1685925"/>
                  <a:gd name="connsiteX96" fmla="*/ 2590800 w 8477250"/>
                  <a:gd name="connsiteY96" fmla="*/ 931069 h 1685925"/>
                  <a:gd name="connsiteX97" fmla="*/ 2547938 w 8477250"/>
                  <a:gd name="connsiteY97" fmla="*/ 945356 h 1685925"/>
                  <a:gd name="connsiteX98" fmla="*/ 2495550 w 8477250"/>
                  <a:gd name="connsiteY98" fmla="*/ 928688 h 1685925"/>
                  <a:gd name="connsiteX99" fmla="*/ 2428875 w 8477250"/>
                  <a:gd name="connsiteY99" fmla="*/ 873919 h 1685925"/>
                  <a:gd name="connsiteX100" fmla="*/ 2383631 w 8477250"/>
                  <a:gd name="connsiteY100" fmla="*/ 885825 h 1685925"/>
                  <a:gd name="connsiteX101" fmla="*/ 2362200 w 8477250"/>
                  <a:gd name="connsiteY101" fmla="*/ 854869 h 1685925"/>
                  <a:gd name="connsiteX102" fmla="*/ 2305050 w 8477250"/>
                  <a:gd name="connsiteY102" fmla="*/ 895350 h 1685925"/>
                  <a:gd name="connsiteX103" fmla="*/ 2188369 w 8477250"/>
                  <a:gd name="connsiteY103" fmla="*/ 873919 h 1685925"/>
                  <a:gd name="connsiteX104" fmla="*/ 2138363 w 8477250"/>
                  <a:gd name="connsiteY104" fmla="*/ 821531 h 1685925"/>
                  <a:gd name="connsiteX105" fmla="*/ 2095500 w 8477250"/>
                  <a:gd name="connsiteY105" fmla="*/ 807244 h 1685925"/>
                  <a:gd name="connsiteX106" fmla="*/ 2052638 w 8477250"/>
                  <a:gd name="connsiteY106" fmla="*/ 833438 h 1685925"/>
                  <a:gd name="connsiteX107" fmla="*/ 2000250 w 8477250"/>
                  <a:gd name="connsiteY107" fmla="*/ 742950 h 1685925"/>
                  <a:gd name="connsiteX108" fmla="*/ 1990725 w 8477250"/>
                  <a:gd name="connsiteY108" fmla="*/ 595312 h 1685925"/>
                  <a:gd name="connsiteX109" fmla="*/ 1938337 w 8477250"/>
                  <a:gd name="connsiteY109" fmla="*/ 588168 h 1685925"/>
                  <a:gd name="connsiteX110" fmla="*/ 1847850 w 8477250"/>
                  <a:gd name="connsiteY110" fmla="*/ 578644 h 1685925"/>
                  <a:gd name="connsiteX111" fmla="*/ 1793081 w 8477250"/>
                  <a:gd name="connsiteY111" fmla="*/ 540544 h 1685925"/>
                  <a:gd name="connsiteX112" fmla="*/ 1724025 w 8477250"/>
                  <a:gd name="connsiteY112" fmla="*/ 550069 h 1685925"/>
                  <a:gd name="connsiteX113" fmla="*/ 1678781 w 8477250"/>
                  <a:gd name="connsiteY113" fmla="*/ 523875 h 1685925"/>
                  <a:gd name="connsiteX114" fmla="*/ 1669257 w 8477250"/>
                  <a:gd name="connsiteY114" fmla="*/ 452438 h 1685925"/>
                  <a:gd name="connsiteX115" fmla="*/ 1645444 w 8477250"/>
                  <a:gd name="connsiteY115" fmla="*/ 438150 h 1685925"/>
                  <a:gd name="connsiteX116" fmla="*/ 1607344 w 8477250"/>
                  <a:gd name="connsiteY116" fmla="*/ 485774 h 1685925"/>
                  <a:gd name="connsiteX117" fmla="*/ 1528762 w 8477250"/>
                  <a:gd name="connsiteY117" fmla="*/ 411956 h 1685925"/>
                  <a:gd name="connsiteX118" fmla="*/ 1488281 w 8477250"/>
                  <a:gd name="connsiteY118" fmla="*/ 452438 h 1685925"/>
                  <a:gd name="connsiteX119" fmla="*/ 1412081 w 8477250"/>
                  <a:gd name="connsiteY119" fmla="*/ 438150 h 1685925"/>
                  <a:gd name="connsiteX120" fmla="*/ 1333500 w 8477250"/>
                  <a:gd name="connsiteY120" fmla="*/ 464344 h 1685925"/>
                  <a:gd name="connsiteX121" fmla="*/ 1273969 w 8477250"/>
                  <a:gd name="connsiteY121" fmla="*/ 511968 h 1685925"/>
                  <a:gd name="connsiteX122" fmla="*/ 1200150 w 8477250"/>
                  <a:gd name="connsiteY122" fmla="*/ 523875 h 1685925"/>
                  <a:gd name="connsiteX123" fmla="*/ 1164431 w 8477250"/>
                  <a:gd name="connsiteY123" fmla="*/ 516731 h 1685925"/>
                  <a:gd name="connsiteX124" fmla="*/ 1085851 w 8477250"/>
                  <a:gd name="connsiteY124" fmla="*/ 547688 h 1685925"/>
                  <a:gd name="connsiteX125" fmla="*/ 1064419 w 8477250"/>
                  <a:gd name="connsiteY125" fmla="*/ 576263 h 1685925"/>
                  <a:gd name="connsiteX126" fmla="*/ 997744 w 8477250"/>
                  <a:gd name="connsiteY126" fmla="*/ 566738 h 1685925"/>
                  <a:gd name="connsiteX127" fmla="*/ 928688 w 8477250"/>
                  <a:gd name="connsiteY127" fmla="*/ 590550 h 1685925"/>
                  <a:gd name="connsiteX128" fmla="*/ 873919 w 8477250"/>
                  <a:gd name="connsiteY128" fmla="*/ 628650 h 1685925"/>
                  <a:gd name="connsiteX129" fmla="*/ 778669 w 8477250"/>
                  <a:gd name="connsiteY129" fmla="*/ 642937 h 1685925"/>
                  <a:gd name="connsiteX130" fmla="*/ 764381 w 8477250"/>
                  <a:gd name="connsiteY130" fmla="*/ 664369 h 1685925"/>
                  <a:gd name="connsiteX131" fmla="*/ 776287 w 8477250"/>
                  <a:gd name="connsiteY131" fmla="*/ 709613 h 1685925"/>
                  <a:gd name="connsiteX132" fmla="*/ 676276 w 8477250"/>
                  <a:gd name="connsiteY132" fmla="*/ 762000 h 1685925"/>
                  <a:gd name="connsiteX133" fmla="*/ 638175 w 8477250"/>
                  <a:gd name="connsiteY133" fmla="*/ 733424 h 1685925"/>
                  <a:gd name="connsiteX134" fmla="*/ 607219 w 8477250"/>
                  <a:gd name="connsiteY134" fmla="*/ 790575 h 1685925"/>
                  <a:gd name="connsiteX135" fmla="*/ 550069 w 8477250"/>
                  <a:gd name="connsiteY135" fmla="*/ 752475 h 1685925"/>
                  <a:gd name="connsiteX136" fmla="*/ 514350 w 8477250"/>
                  <a:gd name="connsiteY136" fmla="*/ 781050 h 1685925"/>
                  <a:gd name="connsiteX137" fmla="*/ 478631 w 8477250"/>
                  <a:gd name="connsiteY137" fmla="*/ 745331 h 1685925"/>
                  <a:gd name="connsiteX138" fmla="*/ 426244 w 8477250"/>
                  <a:gd name="connsiteY138" fmla="*/ 757238 h 1685925"/>
                  <a:gd name="connsiteX139" fmla="*/ 381000 w 8477250"/>
                  <a:gd name="connsiteY139" fmla="*/ 728663 h 1685925"/>
                  <a:gd name="connsiteX140" fmla="*/ 357188 w 8477250"/>
                  <a:gd name="connsiteY140" fmla="*/ 747713 h 1685925"/>
                  <a:gd name="connsiteX141" fmla="*/ 333375 w 8477250"/>
                  <a:gd name="connsiteY141" fmla="*/ 807244 h 1685925"/>
                  <a:gd name="connsiteX142" fmla="*/ 261938 w 8477250"/>
                  <a:gd name="connsiteY142" fmla="*/ 845343 h 1685925"/>
                  <a:gd name="connsiteX143" fmla="*/ 209550 w 8477250"/>
                  <a:gd name="connsiteY143" fmla="*/ 816769 h 1685925"/>
                  <a:gd name="connsiteX144" fmla="*/ 119063 w 8477250"/>
                  <a:gd name="connsiteY144" fmla="*/ 826294 h 1685925"/>
                  <a:gd name="connsiteX145" fmla="*/ 71437 w 8477250"/>
                  <a:gd name="connsiteY145" fmla="*/ 792957 h 1685925"/>
                  <a:gd name="connsiteX146" fmla="*/ 0 w 8477250"/>
                  <a:gd name="connsiteY146" fmla="*/ 812006 h 1685925"/>
                  <a:gd name="connsiteX147" fmla="*/ 4762 w 8477250"/>
                  <a:gd name="connsiteY147" fmla="*/ 0 h 1685925"/>
                  <a:gd name="connsiteX148" fmla="*/ 8477250 w 8477250"/>
                  <a:gd name="connsiteY148" fmla="*/ 1514475 h 1685925"/>
                  <a:gd name="connsiteX149" fmla="*/ 8351043 w 8477250"/>
                  <a:gd name="connsiteY149" fmla="*/ 1445419 h 1685925"/>
                  <a:gd name="connsiteX150" fmla="*/ 8170069 w 8477250"/>
                  <a:gd name="connsiteY150" fmla="*/ 1445418 h 1685925"/>
                  <a:gd name="connsiteX151" fmla="*/ 8117681 w 8477250"/>
                  <a:gd name="connsiteY151" fmla="*/ 1483519 h 1685925"/>
                  <a:gd name="connsiteX152" fmla="*/ 8067675 w 8477250"/>
                  <a:gd name="connsiteY152" fmla="*/ 1562100 h 1685925"/>
                  <a:gd name="connsiteX153" fmla="*/ 8084344 w 8477250"/>
                  <a:gd name="connsiteY153" fmla="*/ 1583531 h 1685925"/>
                  <a:gd name="connsiteX154" fmla="*/ 8039100 w 8477250"/>
                  <a:gd name="connsiteY154" fmla="*/ 1633537 h 1685925"/>
                  <a:gd name="connsiteX155" fmla="*/ 7889081 w 8477250"/>
                  <a:gd name="connsiteY155" fmla="*/ 1557337 h 1685925"/>
                  <a:gd name="connsiteX156" fmla="*/ 7798594 w 8477250"/>
                  <a:gd name="connsiteY156" fmla="*/ 1593056 h 1685925"/>
                  <a:gd name="connsiteX157" fmla="*/ 7724775 w 8477250"/>
                  <a:gd name="connsiteY157" fmla="*/ 1590675 h 1685925"/>
                  <a:gd name="connsiteX158" fmla="*/ 7667625 w 8477250"/>
                  <a:gd name="connsiteY158" fmla="*/ 1685925 h 1685925"/>
                  <a:gd name="connsiteX159" fmla="*/ 7529513 w 8477250"/>
                  <a:gd name="connsiteY159" fmla="*/ 1588294 h 1685925"/>
                  <a:gd name="connsiteX0" fmla="*/ 7529513 w 8477250"/>
                  <a:gd name="connsiteY0" fmla="*/ 1588294 h 1685925"/>
                  <a:gd name="connsiteX1" fmla="*/ 7522369 w 8477250"/>
                  <a:gd name="connsiteY1" fmla="*/ 1533525 h 1685925"/>
                  <a:gd name="connsiteX2" fmla="*/ 7589044 w 8477250"/>
                  <a:gd name="connsiteY2" fmla="*/ 1459706 h 1685925"/>
                  <a:gd name="connsiteX3" fmla="*/ 7572375 w 8477250"/>
                  <a:gd name="connsiteY3" fmla="*/ 1388269 h 1685925"/>
                  <a:gd name="connsiteX4" fmla="*/ 7586663 w 8477250"/>
                  <a:gd name="connsiteY4" fmla="*/ 1293019 h 1685925"/>
                  <a:gd name="connsiteX5" fmla="*/ 7624763 w 8477250"/>
                  <a:gd name="connsiteY5" fmla="*/ 1235869 h 1685925"/>
                  <a:gd name="connsiteX6" fmla="*/ 7605712 w 8477250"/>
                  <a:gd name="connsiteY6" fmla="*/ 1202531 h 1685925"/>
                  <a:gd name="connsiteX7" fmla="*/ 7703343 w 8477250"/>
                  <a:gd name="connsiteY7" fmla="*/ 802481 h 1685925"/>
                  <a:gd name="connsiteX8" fmla="*/ 7696200 w 8477250"/>
                  <a:gd name="connsiteY8" fmla="*/ 773906 h 1685925"/>
                  <a:gd name="connsiteX9" fmla="*/ 7567613 w 8477250"/>
                  <a:gd name="connsiteY9" fmla="*/ 752475 h 1685925"/>
                  <a:gd name="connsiteX10" fmla="*/ 7384257 w 8477250"/>
                  <a:gd name="connsiteY10" fmla="*/ 831056 h 1685925"/>
                  <a:gd name="connsiteX11" fmla="*/ 7227093 w 8477250"/>
                  <a:gd name="connsiteY11" fmla="*/ 716756 h 1685925"/>
                  <a:gd name="connsiteX12" fmla="*/ 7150894 w 8477250"/>
                  <a:gd name="connsiteY12" fmla="*/ 723900 h 1685925"/>
                  <a:gd name="connsiteX13" fmla="*/ 7077075 w 8477250"/>
                  <a:gd name="connsiteY13" fmla="*/ 719138 h 1685925"/>
                  <a:gd name="connsiteX14" fmla="*/ 6938963 w 8477250"/>
                  <a:gd name="connsiteY14" fmla="*/ 823913 h 1685925"/>
                  <a:gd name="connsiteX15" fmla="*/ 6831806 w 8477250"/>
                  <a:gd name="connsiteY15" fmla="*/ 931069 h 1685925"/>
                  <a:gd name="connsiteX16" fmla="*/ 6788944 w 8477250"/>
                  <a:gd name="connsiteY16" fmla="*/ 1000125 h 1685925"/>
                  <a:gd name="connsiteX17" fmla="*/ 6796088 w 8477250"/>
                  <a:gd name="connsiteY17" fmla="*/ 1035844 h 1685925"/>
                  <a:gd name="connsiteX18" fmla="*/ 6734175 w 8477250"/>
                  <a:gd name="connsiteY18" fmla="*/ 1047750 h 1685925"/>
                  <a:gd name="connsiteX19" fmla="*/ 6753225 w 8477250"/>
                  <a:gd name="connsiteY19" fmla="*/ 1047750 h 1685925"/>
                  <a:gd name="connsiteX20" fmla="*/ 6719888 w 8477250"/>
                  <a:gd name="connsiteY20" fmla="*/ 1078706 h 1685925"/>
                  <a:gd name="connsiteX21" fmla="*/ 6619875 w 8477250"/>
                  <a:gd name="connsiteY21" fmla="*/ 1078707 h 1685925"/>
                  <a:gd name="connsiteX22" fmla="*/ 6524625 w 8477250"/>
                  <a:gd name="connsiteY22" fmla="*/ 1133475 h 1685925"/>
                  <a:gd name="connsiteX23" fmla="*/ 6443663 w 8477250"/>
                  <a:gd name="connsiteY23" fmla="*/ 1143000 h 1685925"/>
                  <a:gd name="connsiteX24" fmla="*/ 6403181 w 8477250"/>
                  <a:gd name="connsiteY24" fmla="*/ 1176338 h 1685925"/>
                  <a:gd name="connsiteX25" fmla="*/ 6353175 w 8477250"/>
                  <a:gd name="connsiteY25" fmla="*/ 1181100 h 1685925"/>
                  <a:gd name="connsiteX26" fmla="*/ 6231732 w 8477250"/>
                  <a:gd name="connsiteY26" fmla="*/ 1273969 h 1685925"/>
                  <a:gd name="connsiteX27" fmla="*/ 6172200 w 8477250"/>
                  <a:gd name="connsiteY27" fmla="*/ 1278731 h 1685925"/>
                  <a:gd name="connsiteX28" fmla="*/ 6119813 w 8477250"/>
                  <a:gd name="connsiteY28" fmla="*/ 1243013 h 1685925"/>
                  <a:gd name="connsiteX29" fmla="*/ 6093619 w 8477250"/>
                  <a:gd name="connsiteY29" fmla="*/ 1278731 h 1685925"/>
                  <a:gd name="connsiteX30" fmla="*/ 5895975 w 8477250"/>
                  <a:gd name="connsiteY30" fmla="*/ 1271588 h 1685925"/>
                  <a:gd name="connsiteX31" fmla="*/ 5834063 w 8477250"/>
                  <a:gd name="connsiteY31" fmla="*/ 1226344 h 1685925"/>
                  <a:gd name="connsiteX32" fmla="*/ 5636419 w 8477250"/>
                  <a:gd name="connsiteY32" fmla="*/ 1243013 h 1685925"/>
                  <a:gd name="connsiteX33" fmla="*/ 5548313 w 8477250"/>
                  <a:gd name="connsiteY33" fmla="*/ 1159668 h 1685925"/>
                  <a:gd name="connsiteX34" fmla="*/ 5472113 w 8477250"/>
                  <a:gd name="connsiteY34" fmla="*/ 1114425 h 1685925"/>
                  <a:gd name="connsiteX35" fmla="*/ 5474493 w 8477250"/>
                  <a:gd name="connsiteY35" fmla="*/ 1057275 h 1685925"/>
                  <a:gd name="connsiteX36" fmla="*/ 5455444 w 8477250"/>
                  <a:gd name="connsiteY36" fmla="*/ 1014412 h 1685925"/>
                  <a:gd name="connsiteX37" fmla="*/ 5360194 w 8477250"/>
                  <a:gd name="connsiteY37" fmla="*/ 1016794 h 1685925"/>
                  <a:gd name="connsiteX38" fmla="*/ 5264944 w 8477250"/>
                  <a:gd name="connsiteY38" fmla="*/ 995363 h 1685925"/>
                  <a:gd name="connsiteX39" fmla="*/ 5195887 w 8477250"/>
                  <a:gd name="connsiteY39" fmla="*/ 928687 h 1685925"/>
                  <a:gd name="connsiteX40" fmla="*/ 5160169 w 8477250"/>
                  <a:gd name="connsiteY40" fmla="*/ 885825 h 1685925"/>
                  <a:gd name="connsiteX41" fmla="*/ 5079206 w 8477250"/>
                  <a:gd name="connsiteY41" fmla="*/ 862012 h 1685925"/>
                  <a:gd name="connsiteX42" fmla="*/ 5005388 w 8477250"/>
                  <a:gd name="connsiteY42" fmla="*/ 873918 h 1685925"/>
                  <a:gd name="connsiteX43" fmla="*/ 4948237 w 8477250"/>
                  <a:gd name="connsiteY43" fmla="*/ 821531 h 1685925"/>
                  <a:gd name="connsiteX44" fmla="*/ 4852988 w 8477250"/>
                  <a:gd name="connsiteY44" fmla="*/ 833438 h 1685925"/>
                  <a:gd name="connsiteX45" fmla="*/ 4800600 w 8477250"/>
                  <a:gd name="connsiteY45" fmla="*/ 807244 h 1685925"/>
                  <a:gd name="connsiteX46" fmla="*/ 4719638 w 8477250"/>
                  <a:gd name="connsiteY46" fmla="*/ 850106 h 1685925"/>
                  <a:gd name="connsiteX47" fmla="*/ 4581525 w 8477250"/>
                  <a:gd name="connsiteY47" fmla="*/ 873919 h 1685925"/>
                  <a:gd name="connsiteX48" fmla="*/ 4452938 w 8477250"/>
                  <a:gd name="connsiteY48" fmla="*/ 966788 h 1685925"/>
                  <a:gd name="connsiteX49" fmla="*/ 4405312 w 8477250"/>
                  <a:gd name="connsiteY49" fmla="*/ 928688 h 1685925"/>
                  <a:gd name="connsiteX50" fmla="*/ 4383881 w 8477250"/>
                  <a:gd name="connsiteY50" fmla="*/ 959643 h 1685925"/>
                  <a:gd name="connsiteX51" fmla="*/ 4310063 w 8477250"/>
                  <a:gd name="connsiteY51" fmla="*/ 909638 h 1685925"/>
                  <a:gd name="connsiteX52" fmla="*/ 4271963 w 8477250"/>
                  <a:gd name="connsiteY52" fmla="*/ 916781 h 1685925"/>
                  <a:gd name="connsiteX53" fmla="*/ 4250531 w 8477250"/>
                  <a:gd name="connsiteY53" fmla="*/ 878681 h 1685925"/>
                  <a:gd name="connsiteX54" fmla="*/ 4191000 w 8477250"/>
                  <a:gd name="connsiteY54" fmla="*/ 883444 h 1685925"/>
                  <a:gd name="connsiteX55" fmla="*/ 4145756 w 8477250"/>
                  <a:gd name="connsiteY55" fmla="*/ 854869 h 1685925"/>
                  <a:gd name="connsiteX56" fmla="*/ 4107656 w 8477250"/>
                  <a:gd name="connsiteY56" fmla="*/ 852488 h 1685925"/>
                  <a:gd name="connsiteX57" fmla="*/ 4088606 w 8477250"/>
                  <a:gd name="connsiteY57" fmla="*/ 804862 h 1685925"/>
                  <a:gd name="connsiteX58" fmla="*/ 4074319 w 8477250"/>
                  <a:gd name="connsiteY58" fmla="*/ 773906 h 1685925"/>
                  <a:gd name="connsiteX59" fmla="*/ 4029075 w 8477250"/>
                  <a:gd name="connsiteY59" fmla="*/ 783431 h 1685925"/>
                  <a:gd name="connsiteX60" fmla="*/ 4010025 w 8477250"/>
                  <a:gd name="connsiteY60" fmla="*/ 747713 h 1685925"/>
                  <a:gd name="connsiteX61" fmla="*/ 4031457 w 8477250"/>
                  <a:gd name="connsiteY61" fmla="*/ 692944 h 1685925"/>
                  <a:gd name="connsiteX62" fmla="*/ 4000500 w 8477250"/>
                  <a:gd name="connsiteY62" fmla="*/ 666750 h 1685925"/>
                  <a:gd name="connsiteX63" fmla="*/ 4017169 w 8477250"/>
                  <a:gd name="connsiteY63" fmla="*/ 623888 h 1685925"/>
                  <a:gd name="connsiteX64" fmla="*/ 3990975 w 8477250"/>
                  <a:gd name="connsiteY64" fmla="*/ 581025 h 1685925"/>
                  <a:gd name="connsiteX65" fmla="*/ 3986213 w 8477250"/>
                  <a:gd name="connsiteY65" fmla="*/ 519113 h 1685925"/>
                  <a:gd name="connsiteX66" fmla="*/ 4010025 w 8477250"/>
                  <a:gd name="connsiteY66" fmla="*/ 454818 h 1685925"/>
                  <a:gd name="connsiteX67" fmla="*/ 3971925 w 8477250"/>
                  <a:gd name="connsiteY67" fmla="*/ 457200 h 1685925"/>
                  <a:gd name="connsiteX68" fmla="*/ 3852863 w 8477250"/>
                  <a:gd name="connsiteY68" fmla="*/ 400050 h 1685925"/>
                  <a:gd name="connsiteX69" fmla="*/ 3814762 w 8477250"/>
                  <a:gd name="connsiteY69" fmla="*/ 404812 h 1685925"/>
                  <a:gd name="connsiteX70" fmla="*/ 3609975 w 8477250"/>
                  <a:gd name="connsiteY70" fmla="*/ 295275 h 1685925"/>
                  <a:gd name="connsiteX71" fmla="*/ 3505200 w 8477250"/>
                  <a:gd name="connsiteY71" fmla="*/ 264319 h 1685925"/>
                  <a:gd name="connsiteX72" fmla="*/ 3440906 w 8477250"/>
                  <a:gd name="connsiteY72" fmla="*/ 273843 h 1685925"/>
                  <a:gd name="connsiteX73" fmla="*/ 3409950 w 8477250"/>
                  <a:gd name="connsiteY73" fmla="*/ 209550 h 1685925"/>
                  <a:gd name="connsiteX74" fmla="*/ 3352800 w 8477250"/>
                  <a:gd name="connsiteY74" fmla="*/ 209550 h 1685925"/>
                  <a:gd name="connsiteX75" fmla="*/ 3214687 w 8477250"/>
                  <a:gd name="connsiteY75" fmla="*/ 104775 h 1685925"/>
                  <a:gd name="connsiteX76" fmla="*/ 3181350 w 8477250"/>
                  <a:gd name="connsiteY76" fmla="*/ 164307 h 1685925"/>
                  <a:gd name="connsiteX77" fmla="*/ 3126581 w 8477250"/>
                  <a:gd name="connsiteY77" fmla="*/ 233363 h 1685925"/>
                  <a:gd name="connsiteX78" fmla="*/ 3083719 w 8477250"/>
                  <a:gd name="connsiteY78" fmla="*/ 250031 h 1685925"/>
                  <a:gd name="connsiteX79" fmla="*/ 3052763 w 8477250"/>
                  <a:gd name="connsiteY79" fmla="*/ 242888 h 1685925"/>
                  <a:gd name="connsiteX80" fmla="*/ 3028950 w 8477250"/>
                  <a:gd name="connsiteY80" fmla="*/ 271463 h 1685925"/>
                  <a:gd name="connsiteX81" fmla="*/ 3002756 w 8477250"/>
                  <a:gd name="connsiteY81" fmla="*/ 350044 h 1685925"/>
                  <a:gd name="connsiteX82" fmla="*/ 2959894 w 8477250"/>
                  <a:gd name="connsiteY82" fmla="*/ 347663 h 1685925"/>
                  <a:gd name="connsiteX83" fmla="*/ 2928937 w 8477250"/>
                  <a:gd name="connsiteY83" fmla="*/ 409575 h 1685925"/>
                  <a:gd name="connsiteX84" fmla="*/ 2924175 w 8477250"/>
                  <a:gd name="connsiteY84" fmla="*/ 473869 h 1685925"/>
                  <a:gd name="connsiteX85" fmla="*/ 2897982 w 8477250"/>
                  <a:gd name="connsiteY85" fmla="*/ 511969 h 1685925"/>
                  <a:gd name="connsiteX86" fmla="*/ 2924175 w 8477250"/>
                  <a:gd name="connsiteY86" fmla="*/ 571500 h 1685925"/>
                  <a:gd name="connsiteX87" fmla="*/ 2926556 w 8477250"/>
                  <a:gd name="connsiteY87" fmla="*/ 640556 h 1685925"/>
                  <a:gd name="connsiteX88" fmla="*/ 2955131 w 8477250"/>
                  <a:gd name="connsiteY88" fmla="*/ 692944 h 1685925"/>
                  <a:gd name="connsiteX89" fmla="*/ 3002757 w 8477250"/>
                  <a:gd name="connsiteY89" fmla="*/ 747713 h 1685925"/>
                  <a:gd name="connsiteX90" fmla="*/ 2952750 w 8477250"/>
                  <a:gd name="connsiteY90" fmla="*/ 885825 h 1685925"/>
                  <a:gd name="connsiteX91" fmla="*/ 2883694 w 8477250"/>
                  <a:gd name="connsiteY91" fmla="*/ 952500 h 1685925"/>
                  <a:gd name="connsiteX92" fmla="*/ 2812256 w 8477250"/>
                  <a:gd name="connsiteY92" fmla="*/ 947738 h 1685925"/>
                  <a:gd name="connsiteX93" fmla="*/ 2774156 w 8477250"/>
                  <a:gd name="connsiteY93" fmla="*/ 1004888 h 1685925"/>
                  <a:gd name="connsiteX94" fmla="*/ 2714625 w 8477250"/>
                  <a:gd name="connsiteY94" fmla="*/ 1019175 h 1685925"/>
                  <a:gd name="connsiteX95" fmla="*/ 2645569 w 8477250"/>
                  <a:gd name="connsiteY95" fmla="*/ 959644 h 1685925"/>
                  <a:gd name="connsiteX96" fmla="*/ 2590800 w 8477250"/>
                  <a:gd name="connsiteY96" fmla="*/ 931069 h 1685925"/>
                  <a:gd name="connsiteX97" fmla="*/ 2547938 w 8477250"/>
                  <a:gd name="connsiteY97" fmla="*/ 945356 h 1685925"/>
                  <a:gd name="connsiteX98" fmla="*/ 2495550 w 8477250"/>
                  <a:gd name="connsiteY98" fmla="*/ 928688 h 1685925"/>
                  <a:gd name="connsiteX99" fmla="*/ 2428875 w 8477250"/>
                  <a:gd name="connsiteY99" fmla="*/ 873919 h 1685925"/>
                  <a:gd name="connsiteX100" fmla="*/ 2383631 w 8477250"/>
                  <a:gd name="connsiteY100" fmla="*/ 885825 h 1685925"/>
                  <a:gd name="connsiteX101" fmla="*/ 2362200 w 8477250"/>
                  <a:gd name="connsiteY101" fmla="*/ 854869 h 1685925"/>
                  <a:gd name="connsiteX102" fmla="*/ 2305050 w 8477250"/>
                  <a:gd name="connsiteY102" fmla="*/ 895350 h 1685925"/>
                  <a:gd name="connsiteX103" fmla="*/ 2188369 w 8477250"/>
                  <a:gd name="connsiteY103" fmla="*/ 873919 h 1685925"/>
                  <a:gd name="connsiteX104" fmla="*/ 2138363 w 8477250"/>
                  <a:gd name="connsiteY104" fmla="*/ 821531 h 1685925"/>
                  <a:gd name="connsiteX105" fmla="*/ 2095500 w 8477250"/>
                  <a:gd name="connsiteY105" fmla="*/ 807244 h 1685925"/>
                  <a:gd name="connsiteX106" fmla="*/ 2052638 w 8477250"/>
                  <a:gd name="connsiteY106" fmla="*/ 833438 h 1685925"/>
                  <a:gd name="connsiteX107" fmla="*/ 2000250 w 8477250"/>
                  <a:gd name="connsiteY107" fmla="*/ 742950 h 1685925"/>
                  <a:gd name="connsiteX108" fmla="*/ 1990725 w 8477250"/>
                  <a:gd name="connsiteY108" fmla="*/ 595312 h 1685925"/>
                  <a:gd name="connsiteX109" fmla="*/ 1938337 w 8477250"/>
                  <a:gd name="connsiteY109" fmla="*/ 588168 h 1685925"/>
                  <a:gd name="connsiteX110" fmla="*/ 1847850 w 8477250"/>
                  <a:gd name="connsiteY110" fmla="*/ 578644 h 1685925"/>
                  <a:gd name="connsiteX111" fmla="*/ 1793081 w 8477250"/>
                  <a:gd name="connsiteY111" fmla="*/ 540544 h 1685925"/>
                  <a:gd name="connsiteX112" fmla="*/ 1724025 w 8477250"/>
                  <a:gd name="connsiteY112" fmla="*/ 550069 h 1685925"/>
                  <a:gd name="connsiteX113" fmla="*/ 1678781 w 8477250"/>
                  <a:gd name="connsiteY113" fmla="*/ 523875 h 1685925"/>
                  <a:gd name="connsiteX114" fmla="*/ 1669257 w 8477250"/>
                  <a:gd name="connsiteY114" fmla="*/ 452438 h 1685925"/>
                  <a:gd name="connsiteX115" fmla="*/ 1645444 w 8477250"/>
                  <a:gd name="connsiteY115" fmla="*/ 438150 h 1685925"/>
                  <a:gd name="connsiteX116" fmla="*/ 1607344 w 8477250"/>
                  <a:gd name="connsiteY116" fmla="*/ 485774 h 1685925"/>
                  <a:gd name="connsiteX117" fmla="*/ 1528762 w 8477250"/>
                  <a:gd name="connsiteY117" fmla="*/ 411956 h 1685925"/>
                  <a:gd name="connsiteX118" fmla="*/ 1488281 w 8477250"/>
                  <a:gd name="connsiteY118" fmla="*/ 452438 h 1685925"/>
                  <a:gd name="connsiteX119" fmla="*/ 1412081 w 8477250"/>
                  <a:gd name="connsiteY119" fmla="*/ 438150 h 1685925"/>
                  <a:gd name="connsiteX120" fmla="*/ 1333500 w 8477250"/>
                  <a:gd name="connsiteY120" fmla="*/ 464344 h 1685925"/>
                  <a:gd name="connsiteX121" fmla="*/ 1273969 w 8477250"/>
                  <a:gd name="connsiteY121" fmla="*/ 511968 h 1685925"/>
                  <a:gd name="connsiteX122" fmla="*/ 1200150 w 8477250"/>
                  <a:gd name="connsiteY122" fmla="*/ 523875 h 1685925"/>
                  <a:gd name="connsiteX123" fmla="*/ 1164431 w 8477250"/>
                  <a:gd name="connsiteY123" fmla="*/ 516731 h 1685925"/>
                  <a:gd name="connsiteX124" fmla="*/ 1085851 w 8477250"/>
                  <a:gd name="connsiteY124" fmla="*/ 547688 h 1685925"/>
                  <a:gd name="connsiteX125" fmla="*/ 1064419 w 8477250"/>
                  <a:gd name="connsiteY125" fmla="*/ 576263 h 1685925"/>
                  <a:gd name="connsiteX126" fmla="*/ 997744 w 8477250"/>
                  <a:gd name="connsiteY126" fmla="*/ 566738 h 1685925"/>
                  <a:gd name="connsiteX127" fmla="*/ 928688 w 8477250"/>
                  <a:gd name="connsiteY127" fmla="*/ 590550 h 1685925"/>
                  <a:gd name="connsiteX128" fmla="*/ 873919 w 8477250"/>
                  <a:gd name="connsiteY128" fmla="*/ 628650 h 1685925"/>
                  <a:gd name="connsiteX129" fmla="*/ 778669 w 8477250"/>
                  <a:gd name="connsiteY129" fmla="*/ 642937 h 1685925"/>
                  <a:gd name="connsiteX130" fmla="*/ 764381 w 8477250"/>
                  <a:gd name="connsiteY130" fmla="*/ 664369 h 1685925"/>
                  <a:gd name="connsiteX131" fmla="*/ 776287 w 8477250"/>
                  <a:gd name="connsiteY131" fmla="*/ 709613 h 1685925"/>
                  <a:gd name="connsiteX132" fmla="*/ 676276 w 8477250"/>
                  <a:gd name="connsiteY132" fmla="*/ 762000 h 1685925"/>
                  <a:gd name="connsiteX133" fmla="*/ 638175 w 8477250"/>
                  <a:gd name="connsiteY133" fmla="*/ 733424 h 1685925"/>
                  <a:gd name="connsiteX134" fmla="*/ 607219 w 8477250"/>
                  <a:gd name="connsiteY134" fmla="*/ 790575 h 1685925"/>
                  <a:gd name="connsiteX135" fmla="*/ 550069 w 8477250"/>
                  <a:gd name="connsiteY135" fmla="*/ 752475 h 1685925"/>
                  <a:gd name="connsiteX136" fmla="*/ 514350 w 8477250"/>
                  <a:gd name="connsiteY136" fmla="*/ 781050 h 1685925"/>
                  <a:gd name="connsiteX137" fmla="*/ 478631 w 8477250"/>
                  <a:gd name="connsiteY137" fmla="*/ 745331 h 1685925"/>
                  <a:gd name="connsiteX138" fmla="*/ 426244 w 8477250"/>
                  <a:gd name="connsiteY138" fmla="*/ 757238 h 1685925"/>
                  <a:gd name="connsiteX139" fmla="*/ 381000 w 8477250"/>
                  <a:gd name="connsiteY139" fmla="*/ 728663 h 1685925"/>
                  <a:gd name="connsiteX140" fmla="*/ 357188 w 8477250"/>
                  <a:gd name="connsiteY140" fmla="*/ 747713 h 1685925"/>
                  <a:gd name="connsiteX141" fmla="*/ 333375 w 8477250"/>
                  <a:gd name="connsiteY141" fmla="*/ 807244 h 1685925"/>
                  <a:gd name="connsiteX142" fmla="*/ 261938 w 8477250"/>
                  <a:gd name="connsiteY142" fmla="*/ 845343 h 1685925"/>
                  <a:gd name="connsiteX143" fmla="*/ 209550 w 8477250"/>
                  <a:gd name="connsiteY143" fmla="*/ 816769 h 1685925"/>
                  <a:gd name="connsiteX144" fmla="*/ 119063 w 8477250"/>
                  <a:gd name="connsiteY144" fmla="*/ 826294 h 1685925"/>
                  <a:gd name="connsiteX145" fmla="*/ 71437 w 8477250"/>
                  <a:gd name="connsiteY145" fmla="*/ 792957 h 1685925"/>
                  <a:gd name="connsiteX146" fmla="*/ 0 w 8477250"/>
                  <a:gd name="connsiteY146" fmla="*/ 812006 h 1685925"/>
                  <a:gd name="connsiteX147" fmla="*/ 4762 w 8477250"/>
                  <a:gd name="connsiteY147" fmla="*/ 0 h 1685925"/>
                  <a:gd name="connsiteX148" fmla="*/ 8477250 w 8477250"/>
                  <a:gd name="connsiteY148" fmla="*/ 1514475 h 1685925"/>
                  <a:gd name="connsiteX149" fmla="*/ 8170069 w 8477250"/>
                  <a:gd name="connsiteY149" fmla="*/ 1445418 h 1685925"/>
                  <a:gd name="connsiteX150" fmla="*/ 8117681 w 8477250"/>
                  <a:gd name="connsiteY150" fmla="*/ 1483519 h 1685925"/>
                  <a:gd name="connsiteX151" fmla="*/ 8067675 w 8477250"/>
                  <a:gd name="connsiteY151" fmla="*/ 1562100 h 1685925"/>
                  <a:gd name="connsiteX152" fmla="*/ 8084344 w 8477250"/>
                  <a:gd name="connsiteY152" fmla="*/ 1583531 h 1685925"/>
                  <a:gd name="connsiteX153" fmla="*/ 8039100 w 8477250"/>
                  <a:gd name="connsiteY153" fmla="*/ 1633537 h 1685925"/>
                  <a:gd name="connsiteX154" fmla="*/ 7889081 w 8477250"/>
                  <a:gd name="connsiteY154" fmla="*/ 1557337 h 1685925"/>
                  <a:gd name="connsiteX155" fmla="*/ 7798594 w 8477250"/>
                  <a:gd name="connsiteY155" fmla="*/ 1593056 h 1685925"/>
                  <a:gd name="connsiteX156" fmla="*/ 7724775 w 8477250"/>
                  <a:gd name="connsiteY156" fmla="*/ 1590675 h 1685925"/>
                  <a:gd name="connsiteX157" fmla="*/ 7667625 w 8477250"/>
                  <a:gd name="connsiteY157" fmla="*/ 1685925 h 1685925"/>
                  <a:gd name="connsiteX158" fmla="*/ 7529513 w 8477250"/>
                  <a:gd name="connsiteY158" fmla="*/ 1588294 h 1685925"/>
                  <a:gd name="connsiteX0" fmla="*/ 7529513 w 8170069"/>
                  <a:gd name="connsiteY0" fmla="*/ 1588294 h 1685925"/>
                  <a:gd name="connsiteX1" fmla="*/ 7522369 w 8170069"/>
                  <a:gd name="connsiteY1" fmla="*/ 1533525 h 1685925"/>
                  <a:gd name="connsiteX2" fmla="*/ 7589044 w 8170069"/>
                  <a:gd name="connsiteY2" fmla="*/ 1459706 h 1685925"/>
                  <a:gd name="connsiteX3" fmla="*/ 7572375 w 8170069"/>
                  <a:gd name="connsiteY3" fmla="*/ 1388269 h 1685925"/>
                  <a:gd name="connsiteX4" fmla="*/ 7586663 w 8170069"/>
                  <a:gd name="connsiteY4" fmla="*/ 1293019 h 1685925"/>
                  <a:gd name="connsiteX5" fmla="*/ 7624763 w 8170069"/>
                  <a:gd name="connsiteY5" fmla="*/ 1235869 h 1685925"/>
                  <a:gd name="connsiteX6" fmla="*/ 7605712 w 8170069"/>
                  <a:gd name="connsiteY6" fmla="*/ 1202531 h 1685925"/>
                  <a:gd name="connsiteX7" fmla="*/ 7703343 w 8170069"/>
                  <a:gd name="connsiteY7" fmla="*/ 802481 h 1685925"/>
                  <a:gd name="connsiteX8" fmla="*/ 7696200 w 8170069"/>
                  <a:gd name="connsiteY8" fmla="*/ 773906 h 1685925"/>
                  <a:gd name="connsiteX9" fmla="*/ 7567613 w 8170069"/>
                  <a:gd name="connsiteY9" fmla="*/ 752475 h 1685925"/>
                  <a:gd name="connsiteX10" fmla="*/ 7384257 w 8170069"/>
                  <a:gd name="connsiteY10" fmla="*/ 831056 h 1685925"/>
                  <a:gd name="connsiteX11" fmla="*/ 7227093 w 8170069"/>
                  <a:gd name="connsiteY11" fmla="*/ 716756 h 1685925"/>
                  <a:gd name="connsiteX12" fmla="*/ 7150894 w 8170069"/>
                  <a:gd name="connsiteY12" fmla="*/ 723900 h 1685925"/>
                  <a:gd name="connsiteX13" fmla="*/ 7077075 w 8170069"/>
                  <a:gd name="connsiteY13" fmla="*/ 719138 h 1685925"/>
                  <a:gd name="connsiteX14" fmla="*/ 6938963 w 8170069"/>
                  <a:gd name="connsiteY14" fmla="*/ 823913 h 1685925"/>
                  <a:gd name="connsiteX15" fmla="*/ 6831806 w 8170069"/>
                  <a:gd name="connsiteY15" fmla="*/ 931069 h 1685925"/>
                  <a:gd name="connsiteX16" fmla="*/ 6788944 w 8170069"/>
                  <a:gd name="connsiteY16" fmla="*/ 1000125 h 1685925"/>
                  <a:gd name="connsiteX17" fmla="*/ 6796088 w 8170069"/>
                  <a:gd name="connsiteY17" fmla="*/ 1035844 h 1685925"/>
                  <a:gd name="connsiteX18" fmla="*/ 6734175 w 8170069"/>
                  <a:gd name="connsiteY18" fmla="*/ 1047750 h 1685925"/>
                  <a:gd name="connsiteX19" fmla="*/ 6753225 w 8170069"/>
                  <a:gd name="connsiteY19" fmla="*/ 1047750 h 1685925"/>
                  <a:gd name="connsiteX20" fmla="*/ 6719888 w 8170069"/>
                  <a:gd name="connsiteY20" fmla="*/ 1078706 h 1685925"/>
                  <a:gd name="connsiteX21" fmla="*/ 6619875 w 8170069"/>
                  <a:gd name="connsiteY21" fmla="*/ 1078707 h 1685925"/>
                  <a:gd name="connsiteX22" fmla="*/ 6524625 w 8170069"/>
                  <a:gd name="connsiteY22" fmla="*/ 1133475 h 1685925"/>
                  <a:gd name="connsiteX23" fmla="*/ 6443663 w 8170069"/>
                  <a:gd name="connsiteY23" fmla="*/ 1143000 h 1685925"/>
                  <a:gd name="connsiteX24" fmla="*/ 6403181 w 8170069"/>
                  <a:gd name="connsiteY24" fmla="*/ 1176338 h 1685925"/>
                  <a:gd name="connsiteX25" fmla="*/ 6353175 w 8170069"/>
                  <a:gd name="connsiteY25" fmla="*/ 1181100 h 1685925"/>
                  <a:gd name="connsiteX26" fmla="*/ 6231732 w 8170069"/>
                  <a:gd name="connsiteY26" fmla="*/ 1273969 h 1685925"/>
                  <a:gd name="connsiteX27" fmla="*/ 6172200 w 8170069"/>
                  <a:gd name="connsiteY27" fmla="*/ 1278731 h 1685925"/>
                  <a:gd name="connsiteX28" fmla="*/ 6119813 w 8170069"/>
                  <a:gd name="connsiteY28" fmla="*/ 1243013 h 1685925"/>
                  <a:gd name="connsiteX29" fmla="*/ 6093619 w 8170069"/>
                  <a:gd name="connsiteY29" fmla="*/ 1278731 h 1685925"/>
                  <a:gd name="connsiteX30" fmla="*/ 5895975 w 8170069"/>
                  <a:gd name="connsiteY30" fmla="*/ 1271588 h 1685925"/>
                  <a:gd name="connsiteX31" fmla="*/ 5834063 w 8170069"/>
                  <a:gd name="connsiteY31" fmla="*/ 1226344 h 1685925"/>
                  <a:gd name="connsiteX32" fmla="*/ 5636419 w 8170069"/>
                  <a:gd name="connsiteY32" fmla="*/ 1243013 h 1685925"/>
                  <a:gd name="connsiteX33" fmla="*/ 5548313 w 8170069"/>
                  <a:gd name="connsiteY33" fmla="*/ 1159668 h 1685925"/>
                  <a:gd name="connsiteX34" fmla="*/ 5472113 w 8170069"/>
                  <a:gd name="connsiteY34" fmla="*/ 1114425 h 1685925"/>
                  <a:gd name="connsiteX35" fmla="*/ 5474493 w 8170069"/>
                  <a:gd name="connsiteY35" fmla="*/ 1057275 h 1685925"/>
                  <a:gd name="connsiteX36" fmla="*/ 5455444 w 8170069"/>
                  <a:gd name="connsiteY36" fmla="*/ 1014412 h 1685925"/>
                  <a:gd name="connsiteX37" fmla="*/ 5360194 w 8170069"/>
                  <a:gd name="connsiteY37" fmla="*/ 1016794 h 1685925"/>
                  <a:gd name="connsiteX38" fmla="*/ 5264944 w 8170069"/>
                  <a:gd name="connsiteY38" fmla="*/ 995363 h 1685925"/>
                  <a:gd name="connsiteX39" fmla="*/ 5195887 w 8170069"/>
                  <a:gd name="connsiteY39" fmla="*/ 928687 h 1685925"/>
                  <a:gd name="connsiteX40" fmla="*/ 5160169 w 8170069"/>
                  <a:gd name="connsiteY40" fmla="*/ 885825 h 1685925"/>
                  <a:gd name="connsiteX41" fmla="*/ 5079206 w 8170069"/>
                  <a:gd name="connsiteY41" fmla="*/ 862012 h 1685925"/>
                  <a:gd name="connsiteX42" fmla="*/ 5005388 w 8170069"/>
                  <a:gd name="connsiteY42" fmla="*/ 873918 h 1685925"/>
                  <a:gd name="connsiteX43" fmla="*/ 4948237 w 8170069"/>
                  <a:gd name="connsiteY43" fmla="*/ 821531 h 1685925"/>
                  <a:gd name="connsiteX44" fmla="*/ 4852988 w 8170069"/>
                  <a:gd name="connsiteY44" fmla="*/ 833438 h 1685925"/>
                  <a:gd name="connsiteX45" fmla="*/ 4800600 w 8170069"/>
                  <a:gd name="connsiteY45" fmla="*/ 807244 h 1685925"/>
                  <a:gd name="connsiteX46" fmla="*/ 4719638 w 8170069"/>
                  <a:gd name="connsiteY46" fmla="*/ 850106 h 1685925"/>
                  <a:gd name="connsiteX47" fmla="*/ 4581525 w 8170069"/>
                  <a:gd name="connsiteY47" fmla="*/ 873919 h 1685925"/>
                  <a:gd name="connsiteX48" fmla="*/ 4452938 w 8170069"/>
                  <a:gd name="connsiteY48" fmla="*/ 966788 h 1685925"/>
                  <a:gd name="connsiteX49" fmla="*/ 4405312 w 8170069"/>
                  <a:gd name="connsiteY49" fmla="*/ 928688 h 1685925"/>
                  <a:gd name="connsiteX50" fmla="*/ 4383881 w 8170069"/>
                  <a:gd name="connsiteY50" fmla="*/ 959643 h 1685925"/>
                  <a:gd name="connsiteX51" fmla="*/ 4310063 w 8170069"/>
                  <a:gd name="connsiteY51" fmla="*/ 909638 h 1685925"/>
                  <a:gd name="connsiteX52" fmla="*/ 4271963 w 8170069"/>
                  <a:gd name="connsiteY52" fmla="*/ 916781 h 1685925"/>
                  <a:gd name="connsiteX53" fmla="*/ 4250531 w 8170069"/>
                  <a:gd name="connsiteY53" fmla="*/ 878681 h 1685925"/>
                  <a:gd name="connsiteX54" fmla="*/ 4191000 w 8170069"/>
                  <a:gd name="connsiteY54" fmla="*/ 883444 h 1685925"/>
                  <a:gd name="connsiteX55" fmla="*/ 4145756 w 8170069"/>
                  <a:gd name="connsiteY55" fmla="*/ 854869 h 1685925"/>
                  <a:gd name="connsiteX56" fmla="*/ 4107656 w 8170069"/>
                  <a:gd name="connsiteY56" fmla="*/ 852488 h 1685925"/>
                  <a:gd name="connsiteX57" fmla="*/ 4088606 w 8170069"/>
                  <a:gd name="connsiteY57" fmla="*/ 804862 h 1685925"/>
                  <a:gd name="connsiteX58" fmla="*/ 4074319 w 8170069"/>
                  <a:gd name="connsiteY58" fmla="*/ 773906 h 1685925"/>
                  <a:gd name="connsiteX59" fmla="*/ 4029075 w 8170069"/>
                  <a:gd name="connsiteY59" fmla="*/ 783431 h 1685925"/>
                  <a:gd name="connsiteX60" fmla="*/ 4010025 w 8170069"/>
                  <a:gd name="connsiteY60" fmla="*/ 747713 h 1685925"/>
                  <a:gd name="connsiteX61" fmla="*/ 4031457 w 8170069"/>
                  <a:gd name="connsiteY61" fmla="*/ 692944 h 1685925"/>
                  <a:gd name="connsiteX62" fmla="*/ 4000500 w 8170069"/>
                  <a:gd name="connsiteY62" fmla="*/ 666750 h 1685925"/>
                  <a:gd name="connsiteX63" fmla="*/ 4017169 w 8170069"/>
                  <a:gd name="connsiteY63" fmla="*/ 623888 h 1685925"/>
                  <a:gd name="connsiteX64" fmla="*/ 3990975 w 8170069"/>
                  <a:gd name="connsiteY64" fmla="*/ 581025 h 1685925"/>
                  <a:gd name="connsiteX65" fmla="*/ 3986213 w 8170069"/>
                  <a:gd name="connsiteY65" fmla="*/ 519113 h 1685925"/>
                  <a:gd name="connsiteX66" fmla="*/ 4010025 w 8170069"/>
                  <a:gd name="connsiteY66" fmla="*/ 454818 h 1685925"/>
                  <a:gd name="connsiteX67" fmla="*/ 3971925 w 8170069"/>
                  <a:gd name="connsiteY67" fmla="*/ 457200 h 1685925"/>
                  <a:gd name="connsiteX68" fmla="*/ 3852863 w 8170069"/>
                  <a:gd name="connsiteY68" fmla="*/ 400050 h 1685925"/>
                  <a:gd name="connsiteX69" fmla="*/ 3814762 w 8170069"/>
                  <a:gd name="connsiteY69" fmla="*/ 404812 h 1685925"/>
                  <a:gd name="connsiteX70" fmla="*/ 3609975 w 8170069"/>
                  <a:gd name="connsiteY70" fmla="*/ 295275 h 1685925"/>
                  <a:gd name="connsiteX71" fmla="*/ 3505200 w 8170069"/>
                  <a:gd name="connsiteY71" fmla="*/ 264319 h 1685925"/>
                  <a:gd name="connsiteX72" fmla="*/ 3440906 w 8170069"/>
                  <a:gd name="connsiteY72" fmla="*/ 273843 h 1685925"/>
                  <a:gd name="connsiteX73" fmla="*/ 3409950 w 8170069"/>
                  <a:gd name="connsiteY73" fmla="*/ 209550 h 1685925"/>
                  <a:gd name="connsiteX74" fmla="*/ 3352800 w 8170069"/>
                  <a:gd name="connsiteY74" fmla="*/ 209550 h 1685925"/>
                  <a:gd name="connsiteX75" fmla="*/ 3214687 w 8170069"/>
                  <a:gd name="connsiteY75" fmla="*/ 104775 h 1685925"/>
                  <a:gd name="connsiteX76" fmla="*/ 3181350 w 8170069"/>
                  <a:gd name="connsiteY76" fmla="*/ 164307 h 1685925"/>
                  <a:gd name="connsiteX77" fmla="*/ 3126581 w 8170069"/>
                  <a:gd name="connsiteY77" fmla="*/ 233363 h 1685925"/>
                  <a:gd name="connsiteX78" fmla="*/ 3083719 w 8170069"/>
                  <a:gd name="connsiteY78" fmla="*/ 250031 h 1685925"/>
                  <a:gd name="connsiteX79" fmla="*/ 3052763 w 8170069"/>
                  <a:gd name="connsiteY79" fmla="*/ 242888 h 1685925"/>
                  <a:gd name="connsiteX80" fmla="*/ 3028950 w 8170069"/>
                  <a:gd name="connsiteY80" fmla="*/ 271463 h 1685925"/>
                  <a:gd name="connsiteX81" fmla="*/ 3002756 w 8170069"/>
                  <a:gd name="connsiteY81" fmla="*/ 350044 h 1685925"/>
                  <a:gd name="connsiteX82" fmla="*/ 2959894 w 8170069"/>
                  <a:gd name="connsiteY82" fmla="*/ 347663 h 1685925"/>
                  <a:gd name="connsiteX83" fmla="*/ 2928937 w 8170069"/>
                  <a:gd name="connsiteY83" fmla="*/ 409575 h 1685925"/>
                  <a:gd name="connsiteX84" fmla="*/ 2924175 w 8170069"/>
                  <a:gd name="connsiteY84" fmla="*/ 473869 h 1685925"/>
                  <a:gd name="connsiteX85" fmla="*/ 2897982 w 8170069"/>
                  <a:gd name="connsiteY85" fmla="*/ 511969 h 1685925"/>
                  <a:gd name="connsiteX86" fmla="*/ 2924175 w 8170069"/>
                  <a:gd name="connsiteY86" fmla="*/ 571500 h 1685925"/>
                  <a:gd name="connsiteX87" fmla="*/ 2926556 w 8170069"/>
                  <a:gd name="connsiteY87" fmla="*/ 640556 h 1685925"/>
                  <a:gd name="connsiteX88" fmla="*/ 2955131 w 8170069"/>
                  <a:gd name="connsiteY88" fmla="*/ 692944 h 1685925"/>
                  <a:gd name="connsiteX89" fmla="*/ 3002757 w 8170069"/>
                  <a:gd name="connsiteY89" fmla="*/ 747713 h 1685925"/>
                  <a:gd name="connsiteX90" fmla="*/ 2952750 w 8170069"/>
                  <a:gd name="connsiteY90" fmla="*/ 885825 h 1685925"/>
                  <a:gd name="connsiteX91" fmla="*/ 2883694 w 8170069"/>
                  <a:gd name="connsiteY91" fmla="*/ 952500 h 1685925"/>
                  <a:gd name="connsiteX92" fmla="*/ 2812256 w 8170069"/>
                  <a:gd name="connsiteY92" fmla="*/ 947738 h 1685925"/>
                  <a:gd name="connsiteX93" fmla="*/ 2774156 w 8170069"/>
                  <a:gd name="connsiteY93" fmla="*/ 1004888 h 1685925"/>
                  <a:gd name="connsiteX94" fmla="*/ 2714625 w 8170069"/>
                  <a:gd name="connsiteY94" fmla="*/ 1019175 h 1685925"/>
                  <a:gd name="connsiteX95" fmla="*/ 2645569 w 8170069"/>
                  <a:gd name="connsiteY95" fmla="*/ 959644 h 1685925"/>
                  <a:gd name="connsiteX96" fmla="*/ 2590800 w 8170069"/>
                  <a:gd name="connsiteY96" fmla="*/ 931069 h 1685925"/>
                  <a:gd name="connsiteX97" fmla="*/ 2547938 w 8170069"/>
                  <a:gd name="connsiteY97" fmla="*/ 945356 h 1685925"/>
                  <a:gd name="connsiteX98" fmla="*/ 2495550 w 8170069"/>
                  <a:gd name="connsiteY98" fmla="*/ 928688 h 1685925"/>
                  <a:gd name="connsiteX99" fmla="*/ 2428875 w 8170069"/>
                  <a:gd name="connsiteY99" fmla="*/ 873919 h 1685925"/>
                  <a:gd name="connsiteX100" fmla="*/ 2383631 w 8170069"/>
                  <a:gd name="connsiteY100" fmla="*/ 885825 h 1685925"/>
                  <a:gd name="connsiteX101" fmla="*/ 2362200 w 8170069"/>
                  <a:gd name="connsiteY101" fmla="*/ 854869 h 1685925"/>
                  <a:gd name="connsiteX102" fmla="*/ 2305050 w 8170069"/>
                  <a:gd name="connsiteY102" fmla="*/ 895350 h 1685925"/>
                  <a:gd name="connsiteX103" fmla="*/ 2188369 w 8170069"/>
                  <a:gd name="connsiteY103" fmla="*/ 873919 h 1685925"/>
                  <a:gd name="connsiteX104" fmla="*/ 2138363 w 8170069"/>
                  <a:gd name="connsiteY104" fmla="*/ 821531 h 1685925"/>
                  <a:gd name="connsiteX105" fmla="*/ 2095500 w 8170069"/>
                  <a:gd name="connsiteY105" fmla="*/ 807244 h 1685925"/>
                  <a:gd name="connsiteX106" fmla="*/ 2052638 w 8170069"/>
                  <a:gd name="connsiteY106" fmla="*/ 833438 h 1685925"/>
                  <a:gd name="connsiteX107" fmla="*/ 2000250 w 8170069"/>
                  <a:gd name="connsiteY107" fmla="*/ 742950 h 1685925"/>
                  <a:gd name="connsiteX108" fmla="*/ 1990725 w 8170069"/>
                  <a:gd name="connsiteY108" fmla="*/ 595312 h 1685925"/>
                  <a:gd name="connsiteX109" fmla="*/ 1938337 w 8170069"/>
                  <a:gd name="connsiteY109" fmla="*/ 588168 h 1685925"/>
                  <a:gd name="connsiteX110" fmla="*/ 1847850 w 8170069"/>
                  <a:gd name="connsiteY110" fmla="*/ 578644 h 1685925"/>
                  <a:gd name="connsiteX111" fmla="*/ 1793081 w 8170069"/>
                  <a:gd name="connsiteY111" fmla="*/ 540544 h 1685925"/>
                  <a:gd name="connsiteX112" fmla="*/ 1724025 w 8170069"/>
                  <a:gd name="connsiteY112" fmla="*/ 550069 h 1685925"/>
                  <a:gd name="connsiteX113" fmla="*/ 1678781 w 8170069"/>
                  <a:gd name="connsiteY113" fmla="*/ 523875 h 1685925"/>
                  <a:gd name="connsiteX114" fmla="*/ 1669257 w 8170069"/>
                  <a:gd name="connsiteY114" fmla="*/ 452438 h 1685925"/>
                  <a:gd name="connsiteX115" fmla="*/ 1645444 w 8170069"/>
                  <a:gd name="connsiteY115" fmla="*/ 438150 h 1685925"/>
                  <a:gd name="connsiteX116" fmla="*/ 1607344 w 8170069"/>
                  <a:gd name="connsiteY116" fmla="*/ 485774 h 1685925"/>
                  <a:gd name="connsiteX117" fmla="*/ 1528762 w 8170069"/>
                  <a:gd name="connsiteY117" fmla="*/ 411956 h 1685925"/>
                  <a:gd name="connsiteX118" fmla="*/ 1488281 w 8170069"/>
                  <a:gd name="connsiteY118" fmla="*/ 452438 h 1685925"/>
                  <a:gd name="connsiteX119" fmla="*/ 1412081 w 8170069"/>
                  <a:gd name="connsiteY119" fmla="*/ 438150 h 1685925"/>
                  <a:gd name="connsiteX120" fmla="*/ 1333500 w 8170069"/>
                  <a:gd name="connsiteY120" fmla="*/ 464344 h 1685925"/>
                  <a:gd name="connsiteX121" fmla="*/ 1273969 w 8170069"/>
                  <a:gd name="connsiteY121" fmla="*/ 511968 h 1685925"/>
                  <a:gd name="connsiteX122" fmla="*/ 1200150 w 8170069"/>
                  <a:gd name="connsiteY122" fmla="*/ 523875 h 1685925"/>
                  <a:gd name="connsiteX123" fmla="*/ 1164431 w 8170069"/>
                  <a:gd name="connsiteY123" fmla="*/ 516731 h 1685925"/>
                  <a:gd name="connsiteX124" fmla="*/ 1085851 w 8170069"/>
                  <a:gd name="connsiteY124" fmla="*/ 547688 h 1685925"/>
                  <a:gd name="connsiteX125" fmla="*/ 1064419 w 8170069"/>
                  <a:gd name="connsiteY125" fmla="*/ 576263 h 1685925"/>
                  <a:gd name="connsiteX126" fmla="*/ 997744 w 8170069"/>
                  <a:gd name="connsiteY126" fmla="*/ 566738 h 1685925"/>
                  <a:gd name="connsiteX127" fmla="*/ 928688 w 8170069"/>
                  <a:gd name="connsiteY127" fmla="*/ 590550 h 1685925"/>
                  <a:gd name="connsiteX128" fmla="*/ 873919 w 8170069"/>
                  <a:gd name="connsiteY128" fmla="*/ 628650 h 1685925"/>
                  <a:gd name="connsiteX129" fmla="*/ 778669 w 8170069"/>
                  <a:gd name="connsiteY129" fmla="*/ 642937 h 1685925"/>
                  <a:gd name="connsiteX130" fmla="*/ 764381 w 8170069"/>
                  <a:gd name="connsiteY130" fmla="*/ 664369 h 1685925"/>
                  <a:gd name="connsiteX131" fmla="*/ 776287 w 8170069"/>
                  <a:gd name="connsiteY131" fmla="*/ 709613 h 1685925"/>
                  <a:gd name="connsiteX132" fmla="*/ 676276 w 8170069"/>
                  <a:gd name="connsiteY132" fmla="*/ 762000 h 1685925"/>
                  <a:gd name="connsiteX133" fmla="*/ 638175 w 8170069"/>
                  <a:gd name="connsiteY133" fmla="*/ 733424 h 1685925"/>
                  <a:gd name="connsiteX134" fmla="*/ 607219 w 8170069"/>
                  <a:gd name="connsiteY134" fmla="*/ 790575 h 1685925"/>
                  <a:gd name="connsiteX135" fmla="*/ 550069 w 8170069"/>
                  <a:gd name="connsiteY135" fmla="*/ 752475 h 1685925"/>
                  <a:gd name="connsiteX136" fmla="*/ 514350 w 8170069"/>
                  <a:gd name="connsiteY136" fmla="*/ 781050 h 1685925"/>
                  <a:gd name="connsiteX137" fmla="*/ 478631 w 8170069"/>
                  <a:gd name="connsiteY137" fmla="*/ 745331 h 1685925"/>
                  <a:gd name="connsiteX138" fmla="*/ 426244 w 8170069"/>
                  <a:gd name="connsiteY138" fmla="*/ 757238 h 1685925"/>
                  <a:gd name="connsiteX139" fmla="*/ 381000 w 8170069"/>
                  <a:gd name="connsiteY139" fmla="*/ 728663 h 1685925"/>
                  <a:gd name="connsiteX140" fmla="*/ 357188 w 8170069"/>
                  <a:gd name="connsiteY140" fmla="*/ 747713 h 1685925"/>
                  <a:gd name="connsiteX141" fmla="*/ 333375 w 8170069"/>
                  <a:gd name="connsiteY141" fmla="*/ 807244 h 1685925"/>
                  <a:gd name="connsiteX142" fmla="*/ 261938 w 8170069"/>
                  <a:gd name="connsiteY142" fmla="*/ 845343 h 1685925"/>
                  <a:gd name="connsiteX143" fmla="*/ 209550 w 8170069"/>
                  <a:gd name="connsiteY143" fmla="*/ 816769 h 1685925"/>
                  <a:gd name="connsiteX144" fmla="*/ 119063 w 8170069"/>
                  <a:gd name="connsiteY144" fmla="*/ 826294 h 1685925"/>
                  <a:gd name="connsiteX145" fmla="*/ 71437 w 8170069"/>
                  <a:gd name="connsiteY145" fmla="*/ 792957 h 1685925"/>
                  <a:gd name="connsiteX146" fmla="*/ 0 w 8170069"/>
                  <a:gd name="connsiteY146" fmla="*/ 812006 h 1685925"/>
                  <a:gd name="connsiteX147" fmla="*/ 4762 w 8170069"/>
                  <a:gd name="connsiteY147" fmla="*/ 0 h 1685925"/>
                  <a:gd name="connsiteX148" fmla="*/ 8170069 w 8170069"/>
                  <a:gd name="connsiteY148" fmla="*/ 1445418 h 1685925"/>
                  <a:gd name="connsiteX149" fmla="*/ 8117681 w 8170069"/>
                  <a:gd name="connsiteY149" fmla="*/ 1483519 h 1685925"/>
                  <a:gd name="connsiteX150" fmla="*/ 8067675 w 8170069"/>
                  <a:gd name="connsiteY150" fmla="*/ 1562100 h 1685925"/>
                  <a:gd name="connsiteX151" fmla="*/ 8084344 w 8170069"/>
                  <a:gd name="connsiteY151" fmla="*/ 1583531 h 1685925"/>
                  <a:gd name="connsiteX152" fmla="*/ 8039100 w 8170069"/>
                  <a:gd name="connsiteY152" fmla="*/ 1633537 h 1685925"/>
                  <a:gd name="connsiteX153" fmla="*/ 7889081 w 8170069"/>
                  <a:gd name="connsiteY153" fmla="*/ 1557337 h 1685925"/>
                  <a:gd name="connsiteX154" fmla="*/ 7798594 w 8170069"/>
                  <a:gd name="connsiteY154" fmla="*/ 1593056 h 1685925"/>
                  <a:gd name="connsiteX155" fmla="*/ 7724775 w 8170069"/>
                  <a:gd name="connsiteY155" fmla="*/ 1590675 h 1685925"/>
                  <a:gd name="connsiteX156" fmla="*/ 7667625 w 8170069"/>
                  <a:gd name="connsiteY156" fmla="*/ 1685925 h 1685925"/>
                  <a:gd name="connsiteX157" fmla="*/ 7529513 w 8170069"/>
                  <a:gd name="connsiteY157" fmla="*/ 1588294 h 1685925"/>
                  <a:gd name="connsiteX0" fmla="*/ 7529513 w 8117681"/>
                  <a:gd name="connsiteY0" fmla="*/ 1588294 h 1685925"/>
                  <a:gd name="connsiteX1" fmla="*/ 7522369 w 8117681"/>
                  <a:gd name="connsiteY1" fmla="*/ 1533525 h 1685925"/>
                  <a:gd name="connsiteX2" fmla="*/ 7589044 w 8117681"/>
                  <a:gd name="connsiteY2" fmla="*/ 1459706 h 1685925"/>
                  <a:gd name="connsiteX3" fmla="*/ 7572375 w 8117681"/>
                  <a:gd name="connsiteY3" fmla="*/ 1388269 h 1685925"/>
                  <a:gd name="connsiteX4" fmla="*/ 7586663 w 8117681"/>
                  <a:gd name="connsiteY4" fmla="*/ 1293019 h 1685925"/>
                  <a:gd name="connsiteX5" fmla="*/ 7624763 w 8117681"/>
                  <a:gd name="connsiteY5" fmla="*/ 1235869 h 1685925"/>
                  <a:gd name="connsiteX6" fmla="*/ 7605712 w 8117681"/>
                  <a:gd name="connsiteY6" fmla="*/ 1202531 h 1685925"/>
                  <a:gd name="connsiteX7" fmla="*/ 7703343 w 8117681"/>
                  <a:gd name="connsiteY7" fmla="*/ 802481 h 1685925"/>
                  <a:gd name="connsiteX8" fmla="*/ 7696200 w 8117681"/>
                  <a:gd name="connsiteY8" fmla="*/ 773906 h 1685925"/>
                  <a:gd name="connsiteX9" fmla="*/ 7567613 w 8117681"/>
                  <a:gd name="connsiteY9" fmla="*/ 752475 h 1685925"/>
                  <a:gd name="connsiteX10" fmla="*/ 7384257 w 8117681"/>
                  <a:gd name="connsiteY10" fmla="*/ 831056 h 1685925"/>
                  <a:gd name="connsiteX11" fmla="*/ 7227093 w 8117681"/>
                  <a:gd name="connsiteY11" fmla="*/ 716756 h 1685925"/>
                  <a:gd name="connsiteX12" fmla="*/ 7150894 w 8117681"/>
                  <a:gd name="connsiteY12" fmla="*/ 723900 h 1685925"/>
                  <a:gd name="connsiteX13" fmla="*/ 7077075 w 8117681"/>
                  <a:gd name="connsiteY13" fmla="*/ 719138 h 1685925"/>
                  <a:gd name="connsiteX14" fmla="*/ 6938963 w 8117681"/>
                  <a:gd name="connsiteY14" fmla="*/ 823913 h 1685925"/>
                  <a:gd name="connsiteX15" fmla="*/ 6831806 w 8117681"/>
                  <a:gd name="connsiteY15" fmla="*/ 931069 h 1685925"/>
                  <a:gd name="connsiteX16" fmla="*/ 6788944 w 8117681"/>
                  <a:gd name="connsiteY16" fmla="*/ 1000125 h 1685925"/>
                  <a:gd name="connsiteX17" fmla="*/ 6796088 w 8117681"/>
                  <a:gd name="connsiteY17" fmla="*/ 1035844 h 1685925"/>
                  <a:gd name="connsiteX18" fmla="*/ 6734175 w 8117681"/>
                  <a:gd name="connsiteY18" fmla="*/ 1047750 h 1685925"/>
                  <a:gd name="connsiteX19" fmla="*/ 6753225 w 8117681"/>
                  <a:gd name="connsiteY19" fmla="*/ 1047750 h 1685925"/>
                  <a:gd name="connsiteX20" fmla="*/ 6719888 w 8117681"/>
                  <a:gd name="connsiteY20" fmla="*/ 1078706 h 1685925"/>
                  <a:gd name="connsiteX21" fmla="*/ 6619875 w 8117681"/>
                  <a:gd name="connsiteY21" fmla="*/ 1078707 h 1685925"/>
                  <a:gd name="connsiteX22" fmla="*/ 6524625 w 8117681"/>
                  <a:gd name="connsiteY22" fmla="*/ 1133475 h 1685925"/>
                  <a:gd name="connsiteX23" fmla="*/ 6443663 w 8117681"/>
                  <a:gd name="connsiteY23" fmla="*/ 1143000 h 1685925"/>
                  <a:gd name="connsiteX24" fmla="*/ 6403181 w 8117681"/>
                  <a:gd name="connsiteY24" fmla="*/ 1176338 h 1685925"/>
                  <a:gd name="connsiteX25" fmla="*/ 6353175 w 8117681"/>
                  <a:gd name="connsiteY25" fmla="*/ 1181100 h 1685925"/>
                  <a:gd name="connsiteX26" fmla="*/ 6231732 w 8117681"/>
                  <a:gd name="connsiteY26" fmla="*/ 1273969 h 1685925"/>
                  <a:gd name="connsiteX27" fmla="*/ 6172200 w 8117681"/>
                  <a:gd name="connsiteY27" fmla="*/ 1278731 h 1685925"/>
                  <a:gd name="connsiteX28" fmla="*/ 6119813 w 8117681"/>
                  <a:gd name="connsiteY28" fmla="*/ 1243013 h 1685925"/>
                  <a:gd name="connsiteX29" fmla="*/ 6093619 w 8117681"/>
                  <a:gd name="connsiteY29" fmla="*/ 1278731 h 1685925"/>
                  <a:gd name="connsiteX30" fmla="*/ 5895975 w 8117681"/>
                  <a:gd name="connsiteY30" fmla="*/ 1271588 h 1685925"/>
                  <a:gd name="connsiteX31" fmla="*/ 5834063 w 8117681"/>
                  <a:gd name="connsiteY31" fmla="*/ 1226344 h 1685925"/>
                  <a:gd name="connsiteX32" fmla="*/ 5636419 w 8117681"/>
                  <a:gd name="connsiteY32" fmla="*/ 1243013 h 1685925"/>
                  <a:gd name="connsiteX33" fmla="*/ 5548313 w 8117681"/>
                  <a:gd name="connsiteY33" fmla="*/ 1159668 h 1685925"/>
                  <a:gd name="connsiteX34" fmla="*/ 5472113 w 8117681"/>
                  <a:gd name="connsiteY34" fmla="*/ 1114425 h 1685925"/>
                  <a:gd name="connsiteX35" fmla="*/ 5474493 w 8117681"/>
                  <a:gd name="connsiteY35" fmla="*/ 1057275 h 1685925"/>
                  <a:gd name="connsiteX36" fmla="*/ 5455444 w 8117681"/>
                  <a:gd name="connsiteY36" fmla="*/ 1014412 h 1685925"/>
                  <a:gd name="connsiteX37" fmla="*/ 5360194 w 8117681"/>
                  <a:gd name="connsiteY37" fmla="*/ 1016794 h 1685925"/>
                  <a:gd name="connsiteX38" fmla="*/ 5264944 w 8117681"/>
                  <a:gd name="connsiteY38" fmla="*/ 995363 h 1685925"/>
                  <a:gd name="connsiteX39" fmla="*/ 5195887 w 8117681"/>
                  <a:gd name="connsiteY39" fmla="*/ 928687 h 1685925"/>
                  <a:gd name="connsiteX40" fmla="*/ 5160169 w 8117681"/>
                  <a:gd name="connsiteY40" fmla="*/ 885825 h 1685925"/>
                  <a:gd name="connsiteX41" fmla="*/ 5079206 w 8117681"/>
                  <a:gd name="connsiteY41" fmla="*/ 862012 h 1685925"/>
                  <a:gd name="connsiteX42" fmla="*/ 5005388 w 8117681"/>
                  <a:gd name="connsiteY42" fmla="*/ 873918 h 1685925"/>
                  <a:gd name="connsiteX43" fmla="*/ 4948237 w 8117681"/>
                  <a:gd name="connsiteY43" fmla="*/ 821531 h 1685925"/>
                  <a:gd name="connsiteX44" fmla="*/ 4852988 w 8117681"/>
                  <a:gd name="connsiteY44" fmla="*/ 833438 h 1685925"/>
                  <a:gd name="connsiteX45" fmla="*/ 4800600 w 8117681"/>
                  <a:gd name="connsiteY45" fmla="*/ 807244 h 1685925"/>
                  <a:gd name="connsiteX46" fmla="*/ 4719638 w 8117681"/>
                  <a:gd name="connsiteY46" fmla="*/ 850106 h 1685925"/>
                  <a:gd name="connsiteX47" fmla="*/ 4581525 w 8117681"/>
                  <a:gd name="connsiteY47" fmla="*/ 873919 h 1685925"/>
                  <a:gd name="connsiteX48" fmla="*/ 4452938 w 8117681"/>
                  <a:gd name="connsiteY48" fmla="*/ 966788 h 1685925"/>
                  <a:gd name="connsiteX49" fmla="*/ 4405312 w 8117681"/>
                  <a:gd name="connsiteY49" fmla="*/ 928688 h 1685925"/>
                  <a:gd name="connsiteX50" fmla="*/ 4383881 w 8117681"/>
                  <a:gd name="connsiteY50" fmla="*/ 959643 h 1685925"/>
                  <a:gd name="connsiteX51" fmla="*/ 4310063 w 8117681"/>
                  <a:gd name="connsiteY51" fmla="*/ 909638 h 1685925"/>
                  <a:gd name="connsiteX52" fmla="*/ 4271963 w 8117681"/>
                  <a:gd name="connsiteY52" fmla="*/ 916781 h 1685925"/>
                  <a:gd name="connsiteX53" fmla="*/ 4250531 w 8117681"/>
                  <a:gd name="connsiteY53" fmla="*/ 878681 h 1685925"/>
                  <a:gd name="connsiteX54" fmla="*/ 4191000 w 8117681"/>
                  <a:gd name="connsiteY54" fmla="*/ 883444 h 1685925"/>
                  <a:gd name="connsiteX55" fmla="*/ 4145756 w 8117681"/>
                  <a:gd name="connsiteY55" fmla="*/ 854869 h 1685925"/>
                  <a:gd name="connsiteX56" fmla="*/ 4107656 w 8117681"/>
                  <a:gd name="connsiteY56" fmla="*/ 852488 h 1685925"/>
                  <a:gd name="connsiteX57" fmla="*/ 4088606 w 8117681"/>
                  <a:gd name="connsiteY57" fmla="*/ 804862 h 1685925"/>
                  <a:gd name="connsiteX58" fmla="*/ 4074319 w 8117681"/>
                  <a:gd name="connsiteY58" fmla="*/ 773906 h 1685925"/>
                  <a:gd name="connsiteX59" fmla="*/ 4029075 w 8117681"/>
                  <a:gd name="connsiteY59" fmla="*/ 783431 h 1685925"/>
                  <a:gd name="connsiteX60" fmla="*/ 4010025 w 8117681"/>
                  <a:gd name="connsiteY60" fmla="*/ 747713 h 1685925"/>
                  <a:gd name="connsiteX61" fmla="*/ 4031457 w 8117681"/>
                  <a:gd name="connsiteY61" fmla="*/ 692944 h 1685925"/>
                  <a:gd name="connsiteX62" fmla="*/ 4000500 w 8117681"/>
                  <a:gd name="connsiteY62" fmla="*/ 666750 h 1685925"/>
                  <a:gd name="connsiteX63" fmla="*/ 4017169 w 8117681"/>
                  <a:gd name="connsiteY63" fmla="*/ 623888 h 1685925"/>
                  <a:gd name="connsiteX64" fmla="*/ 3990975 w 8117681"/>
                  <a:gd name="connsiteY64" fmla="*/ 581025 h 1685925"/>
                  <a:gd name="connsiteX65" fmla="*/ 3986213 w 8117681"/>
                  <a:gd name="connsiteY65" fmla="*/ 519113 h 1685925"/>
                  <a:gd name="connsiteX66" fmla="*/ 4010025 w 8117681"/>
                  <a:gd name="connsiteY66" fmla="*/ 454818 h 1685925"/>
                  <a:gd name="connsiteX67" fmla="*/ 3971925 w 8117681"/>
                  <a:gd name="connsiteY67" fmla="*/ 457200 h 1685925"/>
                  <a:gd name="connsiteX68" fmla="*/ 3852863 w 8117681"/>
                  <a:gd name="connsiteY68" fmla="*/ 400050 h 1685925"/>
                  <a:gd name="connsiteX69" fmla="*/ 3814762 w 8117681"/>
                  <a:gd name="connsiteY69" fmla="*/ 404812 h 1685925"/>
                  <a:gd name="connsiteX70" fmla="*/ 3609975 w 8117681"/>
                  <a:gd name="connsiteY70" fmla="*/ 295275 h 1685925"/>
                  <a:gd name="connsiteX71" fmla="*/ 3505200 w 8117681"/>
                  <a:gd name="connsiteY71" fmla="*/ 264319 h 1685925"/>
                  <a:gd name="connsiteX72" fmla="*/ 3440906 w 8117681"/>
                  <a:gd name="connsiteY72" fmla="*/ 273843 h 1685925"/>
                  <a:gd name="connsiteX73" fmla="*/ 3409950 w 8117681"/>
                  <a:gd name="connsiteY73" fmla="*/ 209550 h 1685925"/>
                  <a:gd name="connsiteX74" fmla="*/ 3352800 w 8117681"/>
                  <a:gd name="connsiteY74" fmla="*/ 209550 h 1685925"/>
                  <a:gd name="connsiteX75" fmla="*/ 3214687 w 8117681"/>
                  <a:gd name="connsiteY75" fmla="*/ 104775 h 1685925"/>
                  <a:gd name="connsiteX76" fmla="*/ 3181350 w 8117681"/>
                  <a:gd name="connsiteY76" fmla="*/ 164307 h 1685925"/>
                  <a:gd name="connsiteX77" fmla="*/ 3126581 w 8117681"/>
                  <a:gd name="connsiteY77" fmla="*/ 233363 h 1685925"/>
                  <a:gd name="connsiteX78" fmla="*/ 3083719 w 8117681"/>
                  <a:gd name="connsiteY78" fmla="*/ 250031 h 1685925"/>
                  <a:gd name="connsiteX79" fmla="*/ 3052763 w 8117681"/>
                  <a:gd name="connsiteY79" fmla="*/ 242888 h 1685925"/>
                  <a:gd name="connsiteX80" fmla="*/ 3028950 w 8117681"/>
                  <a:gd name="connsiteY80" fmla="*/ 271463 h 1685925"/>
                  <a:gd name="connsiteX81" fmla="*/ 3002756 w 8117681"/>
                  <a:gd name="connsiteY81" fmla="*/ 350044 h 1685925"/>
                  <a:gd name="connsiteX82" fmla="*/ 2959894 w 8117681"/>
                  <a:gd name="connsiteY82" fmla="*/ 347663 h 1685925"/>
                  <a:gd name="connsiteX83" fmla="*/ 2928937 w 8117681"/>
                  <a:gd name="connsiteY83" fmla="*/ 409575 h 1685925"/>
                  <a:gd name="connsiteX84" fmla="*/ 2924175 w 8117681"/>
                  <a:gd name="connsiteY84" fmla="*/ 473869 h 1685925"/>
                  <a:gd name="connsiteX85" fmla="*/ 2897982 w 8117681"/>
                  <a:gd name="connsiteY85" fmla="*/ 511969 h 1685925"/>
                  <a:gd name="connsiteX86" fmla="*/ 2924175 w 8117681"/>
                  <a:gd name="connsiteY86" fmla="*/ 571500 h 1685925"/>
                  <a:gd name="connsiteX87" fmla="*/ 2926556 w 8117681"/>
                  <a:gd name="connsiteY87" fmla="*/ 640556 h 1685925"/>
                  <a:gd name="connsiteX88" fmla="*/ 2955131 w 8117681"/>
                  <a:gd name="connsiteY88" fmla="*/ 692944 h 1685925"/>
                  <a:gd name="connsiteX89" fmla="*/ 3002757 w 8117681"/>
                  <a:gd name="connsiteY89" fmla="*/ 747713 h 1685925"/>
                  <a:gd name="connsiteX90" fmla="*/ 2952750 w 8117681"/>
                  <a:gd name="connsiteY90" fmla="*/ 885825 h 1685925"/>
                  <a:gd name="connsiteX91" fmla="*/ 2883694 w 8117681"/>
                  <a:gd name="connsiteY91" fmla="*/ 952500 h 1685925"/>
                  <a:gd name="connsiteX92" fmla="*/ 2812256 w 8117681"/>
                  <a:gd name="connsiteY92" fmla="*/ 947738 h 1685925"/>
                  <a:gd name="connsiteX93" fmla="*/ 2774156 w 8117681"/>
                  <a:gd name="connsiteY93" fmla="*/ 1004888 h 1685925"/>
                  <a:gd name="connsiteX94" fmla="*/ 2714625 w 8117681"/>
                  <a:gd name="connsiteY94" fmla="*/ 1019175 h 1685925"/>
                  <a:gd name="connsiteX95" fmla="*/ 2645569 w 8117681"/>
                  <a:gd name="connsiteY95" fmla="*/ 959644 h 1685925"/>
                  <a:gd name="connsiteX96" fmla="*/ 2590800 w 8117681"/>
                  <a:gd name="connsiteY96" fmla="*/ 931069 h 1685925"/>
                  <a:gd name="connsiteX97" fmla="*/ 2547938 w 8117681"/>
                  <a:gd name="connsiteY97" fmla="*/ 945356 h 1685925"/>
                  <a:gd name="connsiteX98" fmla="*/ 2495550 w 8117681"/>
                  <a:gd name="connsiteY98" fmla="*/ 928688 h 1685925"/>
                  <a:gd name="connsiteX99" fmla="*/ 2428875 w 8117681"/>
                  <a:gd name="connsiteY99" fmla="*/ 873919 h 1685925"/>
                  <a:gd name="connsiteX100" fmla="*/ 2383631 w 8117681"/>
                  <a:gd name="connsiteY100" fmla="*/ 885825 h 1685925"/>
                  <a:gd name="connsiteX101" fmla="*/ 2362200 w 8117681"/>
                  <a:gd name="connsiteY101" fmla="*/ 854869 h 1685925"/>
                  <a:gd name="connsiteX102" fmla="*/ 2305050 w 8117681"/>
                  <a:gd name="connsiteY102" fmla="*/ 895350 h 1685925"/>
                  <a:gd name="connsiteX103" fmla="*/ 2188369 w 8117681"/>
                  <a:gd name="connsiteY103" fmla="*/ 873919 h 1685925"/>
                  <a:gd name="connsiteX104" fmla="*/ 2138363 w 8117681"/>
                  <a:gd name="connsiteY104" fmla="*/ 821531 h 1685925"/>
                  <a:gd name="connsiteX105" fmla="*/ 2095500 w 8117681"/>
                  <a:gd name="connsiteY105" fmla="*/ 807244 h 1685925"/>
                  <a:gd name="connsiteX106" fmla="*/ 2052638 w 8117681"/>
                  <a:gd name="connsiteY106" fmla="*/ 833438 h 1685925"/>
                  <a:gd name="connsiteX107" fmla="*/ 2000250 w 8117681"/>
                  <a:gd name="connsiteY107" fmla="*/ 742950 h 1685925"/>
                  <a:gd name="connsiteX108" fmla="*/ 1990725 w 8117681"/>
                  <a:gd name="connsiteY108" fmla="*/ 595312 h 1685925"/>
                  <a:gd name="connsiteX109" fmla="*/ 1938337 w 8117681"/>
                  <a:gd name="connsiteY109" fmla="*/ 588168 h 1685925"/>
                  <a:gd name="connsiteX110" fmla="*/ 1847850 w 8117681"/>
                  <a:gd name="connsiteY110" fmla="*/ 578644 h 1685925"/>
                  <a:gd name="connsiteX111" fmla="*/ 1793081 w 8117681"/>
                  <a:gd name="connsiteY111" fmla="*/ 540544 h 1685925"/>
                  <a:gd name="connsiteX112" fmla="*/ 1724025 w 8117681"/>
                  <a:gd name="connsiteY112" fmla="*/ 550069 h 1685925"/>
                  <a:gd name="connsiteX113" fmla="*/ 1678781 w 8117681"/>
                  <a:gd name="connsiteY113" fmla="*/ 523875 h 1685925"/>
                  <a:gd name="connsiteX114" fmla="*/ 1669257 w 8117681"/>
                  <a:gd name="connsiteY114" fmla="*/ 452438 h 1685925"/>
                  <a:gd name="connsiteX115" fmla="*/ 1645444 w 8117681"/>
                  <a:gd name="connsiteY115" fmla="*/ 438150 h 1685925"/>
                  <a:gd name="connsiteX116" fmla="*/ 1607344 w 8117681"/>
                  <a:gd name="connsiteY116" fmla="*/ 485774 h 1685925"/>
                  <a:gd name="connsiteX117" fmla="*/ 1528762 w 8117681"/>
                  <a:gd name="connsiteY117" fmla="*/ 411956 h 1685925"/>
                  <a:gd name="connsiteX118" fmla="*/ 1488281 w 8117681"/>
                  <a:gd name="connsiteY118" fmla="*/ 452438 h 1685925"/>
                  <a:gd name="connsiteX119" fmla="*/ 1412081 w 8117681"/>
                  <a:gd name="connsiteY119" fmla="*/ 438150 h 1685925"/>
                  <a:gd name="connsiteX120" fmla="*/ 1333500 w 8117681"/>
                  <a:gd name="connsiteY120" fmla="*/ 464344 h 1685925"/>
                  <a:gd name="connsiteX121" fmla="*/ 1273969 w 8117681"/>
                  <a:gd name="connsiteY121" fmla="*/ 511968 h 1685925"/>
                  <a:gd name="connsiteX122" fmla="*/ 1200150 w 8117681"/>
                  <a:gd name="connsiteY122" fmla="*/ 523875 h 1685925"/>
                  <a:gd name="connsiteX123" fmla="*/ 1164431 w 8117681"/>
                  <a:gd name="connsiteY123" fmla="*/ 516731 h 1685925"/>
                  <a:gd name="connsiteX124" fmla="*/ 1085851 w 8117681"/>
                  <a:gd name="connsiteY124" fmla="*/ 547688 h 1685925"/>
                  <a:gd name="connsiteX125" fmla="*/ 1064419 w 8117681"/>
                  <a:gd name="connsiteY125" fmla="*/ 576263 h 1685925"/>
                  <a:gd name="connsiteX126" fmla="*/ 997744 w 8117681"/>
                  <a:gd name="connsiteY126" fmla="*/ 566738 h 1685925"/>
                  <a:gd name="connsiteX127" fmla="*/ 928688 w 8117681"/>
                  <a:gd name="connsiteY127" fmla="*/ 590550 h 1685925"/>
                  <a:gd name="connsiteX128" fmla="*/ 873919 w 8117681"/>
                  <a:gd name="connsiteY128" fmla="*/ 628650 h 1685925"/>
                  <a:gd name="connsiteX129" fmla="*/ 778669 w 8117681"/>
                  <a:gd name="connsiteY129" fmla="*/ 642937 h 1685925"/>
                  <a:gd name="connsiteX130" fmla="*/ 764381 w 8117681"/>
                  <a:gd name="connsiteY130" fmla="*/ 664369 h 1685925"/>
                  <a:gd name="connsiteX131" fmla="*/ 776287 w 8117681"/>
                  <a:gd name="connsiteY131" fmla="*/ 709613 h 1685925"/>
                  <a:gd name="connsiteX132" fmla="*/ 676276 w 8117681"/>
                  <a:gd name="connsiteY132" fmla="*/ 762000 h 1685925"/>
                  <a:gd name="connsiteX133" fmla="*/ 638175 w 8117681"/>
                  <a:gd name="connsiteY133" fmla="*/ 733424 h 1685925"/>
                  <a:gd name="connsiteX134" fmla="*/ 607219 w 8117681"/>
                  <a:gd name="connsiteY134" fmla="*/ 790575 h 1685925"/>
                  <a:gd name="connsiteX135" fmla="*/ 550069 w 8117681"/>
                  <a:gd name="connsiteY135" fmla="*/ 752475 h 1685925"/>
                  <a:gd name="connsiteX136" fmla="*/ 514350 w 8117681"/>
                  <a:gd name="connsiteY136" fmla="*/ 781050 h 1685925"/>
                  <a:gd name="connsiteX137" fmla="*/ 478631 w 8117681"/>
                  <a:gd name="connsiteY137" fmla="*/ 745331 h 1685925"/>
                  <a:gd name="connsiteX138" fmla="*/ 426244 w 8117681"/>
                  <a:gd name="connsiteY138" fmla="*/ 757238 h 1685925"/>
                  <a:gd name="connsiteX139" fmla="*/ 381000 w 8117681"/>
                  <a:gd name="connsiteY139" fmla="*/ 728663 h 1685925"/>
                  <a:gd name="connsiteX140" fmla="*/ 357188 w 8117681"/>
                  <a:gd name="connsiteY140" fmla="*/ 747713 h 1685925"/>
                  <a:gd name="connsiteX141" fmla="*/ 333375 w 8117681"/>
                  <a:gd name="connsiteY141" fmla="*/ 807244 h 1685925"/>
                  <a:gd name="connsiteX142" fmla="*/ 261938 w 8117681"/>
                  <a:gd name="connsiteY142" fmla="*/ 845343 h 1685925"/>
                  <a:gd name="connsiteX143" fmla="*/ 209550 w 8117681"/>
                  <a:gd name="connsiteY143" fmla="*/ 816769 h 1685925"/>
                  <a:gd name="connsiteX144" fmla="*/ 119063 w 8117681"/>
                  <a:gd name="connsiteY144" fmla="*/ 826294 h 1685925"/>
                  <a:gd name="connsiteX145" fmla="*/ 71437 w 8117681"/>
                  <a:gd name="connsiteY145" fmla="*/ 792957 h 1685925"/>
                  <a:gd name="connsiteX146" fmla="*/ 0 w 8117681"/>
                  <a:gd name="connsiteY146" fmla="*/ 812006 h 1685925"/>
                  <a:gd name="connsiteX147" fmla="*/ 4762 w 8117681"/>
                  <a:gd name="connsiteY147" fmla="*/ 0 h 1685925"/>
                  <a:gd name="connsiteX148" fmla="*/ 8117681 w 8117681"/>
                  <a:gd name="connsiteY148" fmla="*/ 1483519 h 1685925"/>
                  <a:gd name="connsiteX149" fmla="*/ 8067675 w 8117681"/>
                  <a:gd name="connsiteY149" fmla="*/ 1562100 h 1685925"/>
                  <a:gd name="connsiteX150" fmla="*/ 8084344 w 8117681"/>
                  <a:gd name="connsiteY150" fmla="*/ 1583531 h 1685925"/>
                  <a:gd name="connsiteX151" fmla="*/ 8039100 w 8117681"/>
                  <a:gd name="connsiteY151" fmla="*/ 1633537 h 1685925"/>
                  <a:gd name="connsiteX152" fmla="*/ 7889081 w 8117681"/>
                  <a:gd name="connsiteY152" fmla="*/ 1557337 h 1685925"/>
                  <a:gd name="connsiteX153" fmla="*/ 7798594 w 8117681"/>
                  <a:gd name="connsiteY153" fmla="*/ 1593056 h 1685925"/>
                  <a:gd name="connsiteX154" fmla="*/ 7724775 w 8117681"/>
                  <a:gd name="connsiteY154" fmla="*/ 1590675 h 1685925"/>
                  <a:gd name="connsiteX155" fmla="*/ 7667625 w 8117681"/>
                  <a:gd name="connsiteY155" fmla="*/ 1685925 h 1685925"/>
                  <a:gd name="connsiteX156" fmla="*/ 7529513 w 8117681"/>
                  <a:gd name="connsiteY156" fmla="*/ 1588294 h 1685925"/>
                  <a:gd name="connsiteX0" fmla="*/ 7529513 w 8084344"/>
                  <a:gd name="connsiteY0" fmla="*/ 1588294 h 1685925"/>
                  <a:gd name="connsiteX1" fmla="*/ 7522369 w 8084344"/>
                  <a:gd name="connsiteY1" fmla="*/ 1533525 h 1685925"/>
                  <a:gd name="connsiteX2" fmla="*/ 7589044 w 8084344"/>
                  <a:gd name="connsiteY2" fmla="*/ 1459706 h 1685925"/>
                  <a:gd name="connsiteX3" fmla="*/ 7572375 w 8084344"/>
                  <a:gd name="connsiteY3" fmla="*/ 1388269 h 1685925"/>
                  <a:gd name="connsiteX4" fmla="*/ 7586663 w 8084344"/>
                  <a:gd name="connsiteY4" fmla="*/ 1293019 h 1685925"/>
                  <a:gd name="connsiteX5" fmla="*/ 7624763 w 8084344"/>
                  <a:gd name="connsiteY5" fmla="*/ 1235869 h 1685925"/>
                  <a:gd name="connsiteX6" fmla="*/ 7605712 w 8084344"/>
                  <a:gd name="connsiteY6" fmla="*/ 1202531 h 1685925"/>
                  <a:gd name="connsiteX7" fmla="*/ 7703343 w 8084344"/>
                  <a:gd name="connsiteY7" fmla="*/ 802481 h 1685925"/>
                  <a:gd name="connsiteX8" fmla="*/ 7696200 w 8084344"/>
                  <a:gd name="connsiteY8" fmla="*/ 773906 h 1685925"/>
                  <a:gd name="connsiteX9" fmla="*/ 7567613 w 8084344"/>
                  <a:gd name="connsiteY9" fmla="*/ 752475 h 1685925"/>
                  <a:gd name="connsiteX10" fmla="*/ 7384257 w 8084344"/>
                  <a:gd name="connsiteY10" fmla="*/ 831056 h 1685925"/>
                  <a:gd name="connsiteX11" fmla="*/ 7227093 w 8084344"/>
                  <a:gd name="connsiteY11" fmla="*/ 716756 h 1685925"/>
                  <a:gd name="connsiteX12" fmla="*/ 7150894 w 8084344"/>
                  <a:gd name="connsiteY12" fmla="*/ 723900 h 1685925"/>
                  <a:gd name="connsiteX13" fmla="*/ 7077075 w 8084344"/>
                  <a:gd name="connsiteY13" fmla="*/ 719138 h 1685925"/>
                  <a:gd name="connsiteX14" fmla="*/ 6938963 w 8084344"/>
                  <a:gd name="connsiteY14" fmla="*/ 823913 h 1685925"/>
                  <a:gd name="connsiteX15" fmla="*/ 6831806 w 8084344"/>
                  <a:gd name="connsiteY15" fmla="*/ 931069 h 1685925"/>
                  <a:gd name="connsiteX16" fmla="*/ 6788944 w 8084344"/>
                  <a:gd name="connsiteY16" fmla="*/ 1000125 h 1685925"/>
                  <a:gd name="connsiteX17" fmla="*/ 6796088 w 8084344"/>
                  <a:gd name="connsiteY17" fmla="*/ 1035844 h 1685925"/>
                  <a:gd name="connsiteX18" fmla="*/ 6734175 w 8084344"/>
                  <a:gd name="connsiteY18" fmla="*/ 1047750 h 1685925"/>
                  <a:gd name="connsiteX19" fmla="*/ 6753225 w 8084344"/>
                  <a:gd name="connsiteY19" fmla="*/ 1047750 h 1685925"/>
                  <a:gd name="connsiteX20" fmla="*/ 6719888 w 8084344"/>
                  <a:gd name="connsiteY20" fmla="*/ 1078706 h 1685925"/>
                  <a:gd name="connsiteX21" fmla="*/ 6619875 w 8084344"/>
                  <a:gd name="connsiteY21" fmla="*/ 1078707 h 1685925"/>
                  <a:gd name="connsiteX22" fmla="*/ 6524625 w 8084344"/>
                  <a:gd name="connsiteY22" fmla="*/ 1133475 h 1685925"/>
                  <a:gd name="connsiteX23" fmla="*/ 6443663 w 8084344"/>
                  <a:gd name="connsiteY23" fmla="*/ 1143000 h 1685925"/>
                  <a:gd name="connsiteX24" fmla="*/ 6403181 w 8084344"/>
                  <a:gd name="connsiteY24" fmla="*/ 1176338 h 1685925"/>
                  <a:gd name="connsiteX25" fmla="*/ 6353175 w 8084344"/>
                  <a:gd name="connsiteY25" fmla="*/ 1181100 h 1685925"/>
                  <a:gd name="connsiteX26" fmla="*/ 6231732 w 8084344"/>
                  <a:gd name="connsiteY26" fmla="*/ 1273969 h 1685925"/>
                  <a:gd name="connsiteX27" fmla="*/ 6172200 w 8084344"/>
                  <a:gd name="connsiteY27" fmla="*/ 1278731 h 1685925"/>
                  <a:gd name="connsiteX28" fmla="*/ 6119813 w 8084344"/>
                  <a:gd name="connsiteY28" fmla="*/ 1243013 h 1685925"/>
                  <a:gd name="connsiteX29" fmla="*/ 6093619 w 8084344"/>
                  <a:gd name="connsiteY29" fmla="*/ 1278731 h 1685925"/>
                  <a:gd name="connsiteX30" fmla="*/ 5895975 w 8084344"/>
                  <a:gd name="connsiteY30" fmla="*/ 1271588 h 1685925"/>
                  <a:gd name="connsiteX31" fmla="*/ 5834063 w 8084344"/>
                  <a:gd name="connsiteY31" fmla="*/ 1226344 h 1685925"/>
                  <a:gd name="connsiteX32" fmla="*/ 5636419 w 8084344"/>
                  <a:gd name="connsiteY32" fmla="*/ 1243013 h 1685925"/>
                  <a:gd name="connsiteX33" fmla="*/ 5548313 w 8084344"/>
                  <a:gd name="connsiteY33" fmla="*/ 1159668 h 1685925"/>
                  <a:gd name="connsiteX34" fmla="*/ 5472113 w 8084344"/>
                  <a:gd name="connsiteY34" fmla="*/ 1114425 h 1685925"/>
                  <a:gd name="connsiteX35" fmla="*/ 5474493 w 8084344"/>
                  <a:gd name="connsiteY35" fmla="*/ 1057275 h 1685925"/>
                  <a:gd name="connsiteX36" fmla="*/ 5455444 w 8084344"/>
                  <a:gd name="connsiteY36" fmla="*/ 1014412 h 1685925"/>
                  <a:gd name="connsiteX37" fmla="*/ 5360194 w 8084344"/>
                  <a:gd name="connsiteY37" fmla="*/ 1016794 h 1685925"/>
                  <a:gd name="connsiteX38" fmla="*/ 5264944 w 8084344"/>
                  <a:gd name="connsiteY38" fmla="*/ 995363 h 1685925"/>
                  <a:gd name="connsiteX39" fmla="*/ 5195887 w 8084344"/>
                  <a:gd name="connsiteY39" fmla="*/ 928687 h 1685925"/>
                  <a:gd name="connsiteX40" fmla="*/ 5160169 w 8084344"/>
                  <a:gd name="connsiteY40" fmla="*/ 885825 h 1685925"/>
                  <a:gd name="connsiteX41" fmla="*/ 5079206 w 8084344"/>
                  <a:gd name="connsiteY41" fmla="*/ 862012 h 1685925"/>
                  <a:gd name="connsiteX42" fmla="*/ 5005388 w 8084344"/>
                  <a:gd name="connsiteY42" fmla="*/ 873918 h 1685925"/>
                  <a:gd name="connsiteX43" fmla="*/ 4948237 w 8084344"/>
                  <a:gd name="connsiteY43" fmla="*/ 821531 h 1685925"/>
                  <a:gd name="connsiteX44" fmla="*/ 4852988 w 8084344"/>
                  <a:gd name="connsiteY44" fmla="*/ 833438 h 1685925"/>
                  <a:gd name="connsiteX45" fmla="*/ 4800600 w 8084344"/>
                  <a:gd name="connsiteY45" fmla="*/ 807244 h 1685925"/>
                  <a:gd name="connsiteX46" fmla="*/ 4719638 w 8084344"/>
                  <a:gd name="connsiteY46" fmla="*/ 850106 h 1685925"/>
                  <a:gd name="connsiteX47" fmla="*/ 4581525 w 8084344"/>
                  <a:gd name="connsiteY47" fmla="*/ 873919 h 1685925"/>
                  <a:gd name="connsiteX48" fmla="*/ 4452938 w 8084344"/>
                  <a:gd name="connsiteY48" fmla="*/ 966788 h 1685925"/>
                  <a:gd name="connsiteX49" fmla="*/ 4405312 w 8084344"/>
                  <a:gd name="connsiteY49" fmla="*/ 928688 h 1685925"/>
                  <a:gd name="connsiteX50" fmla="*/ 4383881 w 8084344"/>
                  <a:gd name="connsiteY50" fmla="*/ 959643 h 1685925"/>
                  <a:gd name="connsiteX51" fmla="*/ 4310063 w 8084344"/>
                  <a:gd name="connsiteY51" fmla="*/ 909638 h 1685925"/>
                  <a:gd name="connsiteX52" fmla="*/ 4271963 w 8084344"/>
                  <a:gd name="connsiteY52" fmla="*/ 916781 h 1685925"/>
                  <a:gd name="connsiteX53" fmla="*/ 4250531 w 8084344"/>
                  <a:gd name="connsiteY53" fmla="*/ 878681 h 1685925"/>
                  <a:gd name="connsiteX54" fmla="*/ 4191000 w 8084344"/>
                  <a:gd name="connsiteY54" fmla="*/ 883444 h 1685925"/>
                  <a:gd name="connsiteX55" fmla="*/ 4145756 w 8084344"/>
                  <a:gd name="connsiteY55" fmla="*/ 854869 h 1685925"/>
                  <a:gd name="connsiteX56" fmla="*/ 4107656 w 8084344"/>
                  <a:gd name="connsiteY56" fmla="*/ 852488 h 1685925"/>
                  <a:gd name="connsiteX57" fmla="*/ 4088606 w 8084344"/>
                  <a:gd name="connsiteY57" fmla="*/ 804862 h 1685925"/>
                  <a:gd name="connsiteX58" fmla="*/ 4074319 w 8084344"/>
                  <a:gd name="connsiteY58" fmla="*/ 773906 h 1685925"/>
                  <a:gd name="connsiteX59" fmla="*/ 4029075 w 8084344"/>
                  <a:gd name="connsiteY59" fmla="*/ 783431 h 1685925"/>
                  <a:gd name="connsiteX60" fmla="*/ 4010025 w 8084344"/>
                  <a:gd name="connsiteY60" fmla="*/ 747713 h 1685925"/>
                  <a:gd name="connsiteX61" fmla="*/ 4031457 w 8084344"/>
                  <a:gd name="connsiteY61" fmla="*/ 692944 h 1685925"/>
                  <a:gd name="connsiteX62" fmla="*/ 4000500 w 8084344"/>
                  <a:gd name="connsiteY62" fmla="*/ 666750 h 1685925"/>
                  <a:gd name="connsiteX63" fmla="*/ 4017169 w 8084344"/>
                  <a:gd name="connsiteY63" fmla="*/ 623888 h 1685925"/>
                  <a:gd name="connsiteX64" fmla="*/ 3990975 w 8084344"/>
                  <a:gd name="connsiteY64" fmla="*/ 581025 h 1685925"/>
                  <a:gd name="connsiteX65" fmla="*/ 3986213 w 8084344"/>
                  <a:gd name="connsiteY65" fmla="*/ 519113 h 1685925"/>
                  <a:gd name="connsiteX66" fmla="*/ 4010025 w 8084344"/>
                  <a:gd name="connsiteY66" fmla="*/ 454818 h 1685925"/>
                  <a:gd name="connsiteX67" fmla="*/ 3971925 w 8084344"/>
                  <a:gd name="connsiteY67" fmla="*/ 457200 h 1685925"/>
                  <a:gd name="connsiteX68" fmla="*/ 3852863 w 8084344"/>
                  <a:gd name="connsiteY68" fmla="*/ 400050 h 1685925"/>
                  <a:gd name="connsiteX69" fmla="*/ 3814762 w 8084344"/>
                  <a:gd name="connsiteY69" fmla="*/ 404812 h 1685925"/>
                  <a:gd name="connsiteX70" fmla="*/ 3609975 w 8084344"/>
                  <a:gd name="connsiteY70" fmla="*/ 295275 h 1685925"/>
                  <a:gd name="connsiteX71" fmla="*/ 3505200 w 8084344"/>
                  <a:gd name="connsiteY71" fmla="*/ 264319 h 1685925"/>
                  <a:gd name="connsiteX72" fmla="*/ 3440906 w 8084344"/>
                  <a:gd name="connsiteY72" fmla="*/ 273843 h 1685925"/>
                  <a:gd name="connsiteX73" fmla="*/ 3409950 w 8084344"/>
                  <a:gd name="connsiteY73" fmla="*/ 209550 h 1685925"/>
                  <a:gd name="connsiteX74" fmla="*/ 3352800 w 8084344"/>
                  <a:gd name="connsiteY74" fmla="*/ 209550 h 1685925"/>
                  <a:gd name="connsiteX75" fmla="*/ 3214687 w 8084344"/>
                  <a:gd name="connsiteY75" fmla="*/ 104775 h 1685925"/>
                  <a:gd name="connsiteX76" fmla="*/ 3181350 w 8084344"/>
                  <a:gd name="connsiteY76" fmla="*/ 164307 h 1685925"/>
                  <a:gd name="connsiteX77" fmla="*/ 3126581 w 8084344"/>
                  <a:gd name="connsiteY77" fmla="*/ 233363 h 1685925"/>
                  <a:gd name="connsiteX78" fmla="*/ 3083719 w 8084344"/>
                  <a:gd name="connsiteY78" fmla="*/ 250031 h 1685925"/>
                  <a:gd name="connsiteX79" fmla="*/ 3052763 w 8084344"/>
                  <a:gd name="connsiteY79" fmla="*/ 242888 h 1685925"/>
                  <a:gd name="connsiteX80" fmla="*/ 3028950 w 8084344"/>
                  <a:gd name="connsiteY80" fmla="*/ 271463 h 1685925"/>
                  <a:gd name="connsiteX81" fmla="*/ 3002756 w 8084344"/>
                  <a:gd name="connsiteY81" fmla="*/ 350044 h 1685925"/>
                  <a:gd name="connsiteX82" fmla="*/ 2959894 w 8084344"/>
                  <a:gd name="connsiteY82" fmla="*/ 347663 h 1685925"/>
                  <a:gd name="connsiteX83" fmla="*/ 2928937 w 8084344"/>
                  <a:gd name="connsiteY83" fmla="*/ 409575 h 1685925"/>
                  <a:gd name="connsiteX84" fmla="*/ 2924175 w 8084344"/>
                  <a:gd name="connsiteY84" fmla="*/ 473869 h 1685925"/>
                  <a:gd name="connsiteX85" fmla="*/ 2897982 w 8084344"/>
                  <a:gd name="connsiteY85" fmla="*/ 511969 h 1685925"/>
                  <a:gd name="connsiteX86" fmla="*/ 2924175 w 8084344"/>
                  <a:gd name="connsiteY86" fmla="*/ 571500 h 1685925"/>
                  <a:gd name="connsiteX87" fmla="*/ 2926556 w 8084344"/>
                  <a:gd name="connsiteY87" fmla="*/ 640556 h 1685925"/>
                  <a:gd name="connsiteX88" fmla="*/ 2955131 w 8084344"/>
                  <a:gd name="connsiteY88" fmla="*/ 692944 h 1685925"/>
                  <a:gd name="connsiteX89" fmla="*/ 3002757 w 8084344"/>
                  <a:gd name="connsiteY89" fmla="*/ 747713 h 1685925"/>
                  <a:gd name="connsiteX90" fmla="*/ 2952750 w 8084344"/>
                  <a:gd name="connsiteY90" fmla="*/ 885825 h 1685925"/>
                  <a:gd name="connsiteX91" fmla="*/ 2883694 w 8084344"/>
                  <a:gd name="connsiteY91" fmla="*/ 952500 h 1685925"/>
                  <a:gd name="connsiteX92" fmla="*/ 2812256 w 8084344"/>
                  <a:gd name="connsiteY92" fmla="*/ 947738 h 1685925"/>
                  <a:gd name="connsiteX93" fmla="*/ 2774156 w 8084344"/>
                  <a:gd name="connsiteY93" fmla="*/ 1004888 h 1685925"/>
                  <a:gd name="connsiteX94" fmla="*/ 2714625 w 8084344"/>
                  <a:gd name="connsiteY94" fmla="*/ 1019175 h 1685925"/>
                  <a:gd name="connsiteX95" fmla="*/ 2645569 w 8084344"/>
                  <a:gd name="connsiteY95" fmla="*/ 959644 h 1685925"/>
                  <a:gd name="connsiteX96" fmla="*/ 2590800 w 8084344"/>
                  <a:gd name="connsiteY96" fmla="*/ 931069 h 1685925"/>
                  <a:gd name="connsiteX97" fmla="*/ 2547938 w 8084344"/>
                  <a:gd name="connsiteY97" fmla="*/ 945356 h 1685925"/>
                  <a:gd name="connsiteX98" fmla="*/ 2495550 w 8084344"/>
                  <a:gd name="connsiteY98" fmla="*/ 928688 h 1685925"/>
                  <a:gd name="connsiteX99" fmla="*/ 2428875 w 8084344"/>
                  <a:gd name="connsiteY99" fmla="*/ 873919 h 1685925"/>
                  <a:gd name="connsiteX100" fmla="*/ 2383631 w 8084344"/>
                  <a:gd name="connsiteY100" fmla="*/ 885825 h 1685925"/>
                  <a:gd name="connsiteX101" fmla="*/ 2362200 w 8084344"/>
                  <a:gd name="connsiteY101" fmla="*/ 854869 h 1685925"/>
                  <a:gd name="connsiteX102" fmla="*/ 2305050 w 8084344"/>
                  <a:gd name="connsiteY102" fmla="*/ 895350 h 1685925"/>
                  <a:gd name="connsiteX103" fmla="*/ 2188369 w 8084344"/>
                  <a:gd name="connsiteY103" fmla="*/ 873919 h 1685925"/>
                  <a:gd name="connsiteX104" fmla="*/ 2138363 w 8084344"/>
                  <a:gd name="connsiteY104" fmla="*/ 821531 h 1685925"/>
                  <a:gd name="connsiteX105" fmla="*/ 2095500 w 8084344"/>
                  <a:gd name="connsiteY105" fmla="*/ 807244 h 1685925"/>
                  <a:gd name="connsiteX106" fmla="*/ 2052638 w 8084344"/>
                  <a:gd name="connsiteY106" fmla="*/ 833438 h 1685925"/>
                  <a:gd name="connsiteX107" fmla="*/ 2000250 w 8084344"/>
                  <a:gd name="connsiteY107" fmla="*/ 742950 h 1685925"/>
                  <a:gd name="connsiteX108" fmla="*/ 1990725 w 8084344"/>
                  <a:gd name="connsiteY108" fmla="*/ 595312 h 1685925"/>
                  <a:gd name="connsiteX109" fmla="*/ 1938337 w 8084344"/>
                  <a:gd name="connsiteY109" fmla="*/ 588168 h 1685925"/>
                  <a:gd name="connsiteX110" fmla="*/ 1847850 w 8084344"/>
                  <a:gd name="connsiteY110" fmla="*/ 578644 h 1685925"/>
                  <a:gd name="connsiteX111" fmla="*/ 1793081 w 8084344"/>
                  <a:gd name="connsiteY111" fmla="*/ 540544 h 1685925"/>
                  <a:gd name="connsiteX112" fmla="*/ 1724025 w 8084344"/>
                  <a:gd name="connsiteY112" fmla="*/ 550069 h 1685925"/>
                  <a:gd name="connsiteX113" fmla="*/ 1678781 w 8084344"/>
                  <a:gd name="connsiteY113" fmla="*/ 523875 h 1685925"/>
                  <a:gd name="connsiteX114" fmla="*/ 1669257 w 8084344"/>
                  <a:gd name="connsiteY114" fmla="*/ 452438 h 1685925"/>
                  <a:gd name="connsiteX115" fmla="*/ 1645444 w 8084344"/>
                  <a:gd name="connsiteY115" fmla="*/ 438150 h 1685925"/>
                  <a:gd name="connsiteX116" fmla="*/ 1607344 w 8084344"/>
                  <a:gd name="connsiteY116" fmla="*/ 485774 h 1685925"/>
                  <a:gd name="connsiteX117" fmla="*/ 1528762 w 8084344"/>
                  <a:gd name="connsiteY117" fmla="*/ 411956 h 1685925"/>
                  <a:gd name="connsiteX118" fmla="*/ 1488281 w 8084344"/>
                  <a:gd name="connsiteY118" fmla="*/ 452438 h 1685925"/>
                  <a:gd name="connsiteX119" fmla="*/ 1412081 w 8084344"/>
                  <a:gd name="connsiteY119" fmla="*/ 438150 h 1685925"/>
                  <a:gd name="connsiteX120" fmla="*/ 1333500 w 8084344"/>
                  <a:gd name="connsiteY120" fmla="*/ 464344 h 1685925"/>
                  <a:gd name="connsiteX121" fmla="*/ 1273969 w 8084344"/>
                  <a:gd name="connsiteY121" fmla="*/ 511968 h 1685925"/>
                  <a:gd name="connsiteX122" fmla="*/ 1200150 w 8084344"/>
                  <a:gd name="connsiteY122" fmla="*/ 523875 h 1685925"/>
                  <a:gd name="connsiteX123" fmla="*/ 1164431 w 8084344"/>
                  <a:gd name="connsiteY123" fmla="*/ 516731 h 1685925"/>
                  <a:gd name="connsiteX124" fmla="*/ 1085851 w 8084344"/>
                  <a:gd name="connsiteY124" fmla="*/ 547688 h 1685925"/>
                  <a:gd name="connsiteX125" fmla="*/ 1064419 w 8084344"/>
                  <a:gd name="connsiteY125" fmla="*/ 576263 h 1685925"/>
                  <a:gd name="connsiteX126" fmla="*/ 997744 w 8084344"/>
                  <a:gd name="connsiteY126" fmla="*/ 566738 h 1685925"/>
                  <a:gd name="connsiteX127" fmla="*/ 928688 w 8084344"/>
                  <a:gd name="connsiteY127" fmla="*/ 590550 h 1685925"/>
                  <a:gd name="connsiteX128" fmla="*/ 873919 w 8084344"/>
                  <a:gd name="connsiteY128" fmla="*/ 628650 h 1685925"/>
                  <a:gd name="connsiteX129" fmla="*/ 778669 w 8084344"/>
                  <a:gd name="connsiteY129" fmla="*/ 642937 h 1685925"/>
                  <a:gd name="connsiteX130" fmla="*/ 764381 w 8084344"/>
                  <a:gd name="connsiteY130" fmla="*/ 664369 h 1685925"/>
                  <a:gd name="connsiteX131" fmla="*/ 776287 w 8084344"/>
                  <a:gd name="connsiteY131" fmla="*/ 709613 h 1685925"/>
                  <a:gd name="connsiteX132" fmla="*/ 676276 w 8084344"/>
                  <a:gd name="connsiteY132" fmla="*/ 762000 h 1685925"/>
                  <a:gd name="connsiteX133" fmla="*/ 638175 w 8084344"/>
                  <a:gd name="connsiteY133" fmla="*/ 733424 h 1685925"/>
                  <a:gd name="connsiteX134" fmla="*/ 607219 w 8084344"/>
                  <a:gd name="connsiteY134" fmla="*/ 790575 h 1685925"/>
                  <a:gd name="connsiteX135" fmla="*/ 550069 w 8084344"/>
                  <a:gd name="connsiteY135" fmla="*/ 752475 h 1685925"/>
                  <a:gd name="connsiteX136" fmla="*/ 514350 w 8084344"/>
                  <a:gd name="connsiteY136" fmla="*/ 781050 h 1685925"/>
                  <a:gd name="connsiteX137" fmla="*/ 478631 w 8084344"/>
                  <a:gd name="connsiteY137" fmla="*/ 745331 h 1685925"/>
                  <a:gd name="connsiteX138" fmla="*/ 426244 w 8084344"/>
                  <a:gd name="connsiteY138" fmla="*/ 757238 h 1685925"/>
                  <a:gd name="connsiteX139" fmla="*/ 381000 w 8084344"/>
                  <a:gd name="connsiteY139" fmla="*/ 728663 h 1685925"/>
                  <a:gd name="connsiteX140" fmla="*/ 357188 w 8084344"/>
                  <a:gd name="connsiteY140" fmla="*/ 747713 h 1685925"/>
                  <a:gd name="connsiteX141" fmla="*/ 333375 w 8084344"/>
                  <a:gd name="connsiteY141" fmla="*/ 807244 h 1685925"/>
                  <a:gd name="connsiteX142" fmla="*/ 261938 w 8084344"/>
                  <a:gd name="connsiteY142" fmla="*/ 845343 h 1685925"/>
                  <a:gd name="connsiteX143" fmla="*/ 209550 w 8084344"/>
                  <a:gd name="connsiteY143" fmla="*/ 816769 h 1685925"/>
                  <a:gd name="connsiteX144" fmla="*/ 119063 w 8084344"/>
                  <a:gd name="connsiteY144" fmla="*/ 826294 h 1685925"/>
                  <a:gd name="connsiteX145" fmla="*/ 71437 w 8084344"/>
                  <a:gd name="connsiteY145" fmla="*/ 792957 h 1685925"/>
                  <a:gd name="connsiteX146" fmla="*/ 0 w 8084344"/>
                  <a:gd name="connsiteY146" fmla="*/ 812006 h 1685925"/>
                  <a:gd name="connsiteX147" fmla="*/ 4762 w 8084344"/>
                  <a:gd name="connsiteY147" fmla="*/ 0 h 1685925"/>
                  <a:gd name="connsiteX148" fmla="*/ 8067675 w 8084344"/>
                  <a:gd name="connsiteY148" fmla="*/ 1562100 h 1685925"/>
                  <a:gd name="connsiteX149" fmla="*/ 8084344 w 8084344"/>
                  <a:gd name="connsiteY149" fmla="*/ 1583531 h 1685925"/>
                  <a:gd name="connsiteX150" fmla="*/ 8039100 w 8084344"/>
                  <a:gd name="connsiteY150" fmla="*/ 1633537 h 1685925"/>
                  <a:gd name="connsiteX151" fmla="*/ 7889081 w 8084344"/>
                  <a:gd name="connsiteY151" fmla="*/ 1557337 h 1685925"/>
                  <a:gd name="connsiteX152" fmla="*/ 7798594 w 8084344"/>
                  <a:gd name="connsiteY152" fmla="*/ 1593056 h 1685925"/>
                  <a:gd name="connsiteX153" fmla="*/ 7724775 w 8084344"/>
                  <a:gd name="connsiteY153" fmla="*/ 1590675 h 1685925"/>
                  <a:gd name="connsiteX154" fmla="*/ 7667625 w 8084344"/>
                  <a:gd name="connsiteY154" fmla="*/ 1685925 h 1685925"/>
                  <a:gd name="connsiteX155" fmla="*/ 7529513 w 8084344"/>
                  <a:gd name="connsiteY155" fmla="*/ 1588294 h 1685925"/>
                  <a:gd name="connsiteX0" fmla="*/ 7529513 w 8084344"/>
                  <a:gd name="connsiteY0" fmla="*/ 1588294 h 1685925"/>
                  <a:gd name="connsiteX1" fmla="*/ 7522369 w 8084344"/>
                  <a:gd name="connsiteY1" fmla="*/ 1533525 h 1685925"/>
                  <a:gd name="connsiteX2" fmla="*/ 7589044 w 8084344"/>
                  <a:gd name="connsiteY2" fmla="*/ 1459706 h 1685925"/>
                  <a:gd name="connsiteX3" fmla="*/ 7572375 w 8084344"/>
                  <a:gd name="connsiteY3" fmla="*/ 1388269 h 1685925"/>
                  <a:gd name="connsiteX4" fmla="*/ 7586663 w 8084344"/>
                  <a:gd name="connsiteY4" fmla="*/ 1293019 h 1685925"/>
                  <a:gd name="connsiteX5" fmla="*/ 7624763 w 8084344"/>
                  <a:gd name="connsiteY5" fmla="*/ 1235869 h 1685925"/>
                  <a:gd name="connsiteX6" fmla="*/ 7605712 w 8084344"/>
                  <a:gd name="connsiteY6" fmla="*/ 1202531 h 1685925"/>
                  <a:gd name="connsiteX7" fmla="*/ 7703343 w 8084344"/>
                  <a:gd name="connsiteY7" fmla="*/ 802481 h 1685925"/>
                  <a:gd name="connsiteX8" fmla="*/ 7696200 w 8084344"/>
                  <a:gd name="connsiteY8" fmla="*/ 773906 h 1685925"/>
                  <a:gd name="connsiteX9" fmla="*/ 7567613 w 8084344"/>
                  <a:gd name="connsiteY9" fmla="*/ 752475 h 1685925"/>
                  <a:gd name="connsiteX10" fmla="*/ 7384257 w 8084344"/>
                  <a:gd name="connsiteY10" fmla="*/ 831056 h 1685925"/>
                  <a:gd name="connsiteX11" fmla="*/ 7227093 w 8084344"/>
                  <a:gd name="connsiteY11" fmla="*/ 716756 h 1685925"/>
                  <a:gd name="connsiteX12" fmla="*/ 7150894 w 8084344"/>
                  <a:gd name="connsiteY12" fmla="*/ 723900 h 1685925"/>
                  <a:gd name="connsiteX13" fmla="*/ 7077075 w 8084344"/>
                  <a:gd name="connsiteY13" fmla="*/ 719138 h 1685925"/>
                  <a:gd name="connsiteX14" fmla="*/ 6938963 w 8084344"/>
                  <a:gd name="connsiteY14" fmla="*/ 823913 h 1685925"/>
                  <a:gd name="connsiteX15" fmla="*/ 6831806 w 8084344"/>
                  <a:gd name="connsiteY15" fmla="*/ 931069 h 1685925"/>
                  <a:gd name="connsiteX16" fmla="*/ 6788944 w 8084344"/>
                  <a:gd name="connsiteY16" fmla="*/ 1000125 h 1685925"/>
                  <a:gd name="connsiteX17" fmla="*/ 6796088 w 8084344"/>
                  <a:gd name="connsiteY17" fmla="*/ 1035844 h 1685925"/>
                  <a:gd name="connsiteX18" fmla="*/ 6734175 w 8084344"/>
                  <a:gd name="connsiteY18" fmla="*/ 1047750 h 1685925"/>
                  <a:gd name="connsiteX19" fmla="*/ 6753225 w 8084344"/>
                  <a:gd name="connsiteY19" fmla="*/ 1047750 h 1685925"/>
                  <a:gd name="connsiteX20" fmla="*/ 6719888 w 8084344"/>
                  <a:gd name="connsiteY20" fmla="*/ 1078706 h 1685925"/>
                  <a:gd name="connsiteX21" fmla="*/ 6619875 w 8084344"/>
                  <a:gd name="connsiteY21" fmla="*/ 1078707 h 1685925"/>
                  <a:gd name="connsiteX22" fmla="*/ 6524625 w 8084344"/>
                  <a:gd name="connsiteY22" fmla="*/ 1133475 h 1685925"/>
                  <a:gd name="connsiteX23" fmla="*/ 6443663 w 8084344"/>
                  <a:gd name="connsiteY23" fmla="*/ 1143000 h 1685925"/>
                  <a:gd name="connsiteX24" fmla="*/ 6403181 w 8084344"/>
                  <a:gd name="connsiteY24" fmla="*/ 1176338 h 1685925"/>
                  <a:gd name="connsiteX25" fmla="*/ 6353175 w 8084344"/>
                  <a:gd name="connsiteY25" fmla="*/ 1181100 h 1685925"/>
                  <a:gd name="connsiteX26" fmla="*/ 6231732 w 8084344"/>
                  <a:gd name="connsiteY26" fmla="*/ 1273969 h 1685925"/>
                  <a:gd name="connsiteX27" fmla="*/ 6172200 w 8084344"/>
                  <a:gd name="connsiteY27" fmla="*/ 1278731 h 1685925"/>
                  <a:gd name="connsiteX28" fmla="*/ 6119813 w 8084344"/>
                  <a:gd name="connsiteY28" fmla="*/ 1243013 h 1685925"/>
                  <a:gd name="connsiteX29" fmla="*/ 6093619 w 8084344"/>
                  <a:gd name="connsiteY29" fmla="*/ 1278731 h 1685925"/>
                  <a:gd name="connsiteX30" fmla="*/ 5895975 w 8084344"/>
                  <a:gd name="connsiteY30" fmla="*/ 1271588 h 1685925"/>
                  <a:gd name="connsiteX31" fmla="*/ 5834063 w 8084344"/>
                  <a:gd name="connsiteY31" fmla="*/ 1226344 h 1685925"/>
                  <a:gd name="connsiteX32" fmla="*/ 5636419 w 8084344"/>
                  <a:gd name="connsiteY32" fmla="*/ 1243013 h 1685925"/>
                  <a:gd name="connsiteX33" fmla="*/ 5548313 w 8084344"/>
                  <a:gd name="connsiteY33" fmla="*/ 1159668 h 1685925"/>
                  <a:gd name="connsiteX34" fmla="*/ 5472113 w 8084344"/>
                  <a:gd name="connsiteY34" fmla="*/ 1114425 h 1685925"/>
                  <a:gd name="connsiteX35" fmla="*/ 5474493 w 8084344"/>
                  <a:gd name="connsiteY35" fmla="*/ 1057275 h 1685925"/>
                  <a:gd name="connsiteX36" fmla="*/ 5455444 w 8084344"/>
                  <a:gd name="connsiteY36" fmla="*/ 1014412 h 1685925"/>
                  <a:gd name="connsiteX37" fmla="*/ 5360194 w 8084344"/>
                  <a:gd name="connsiteY37" fmla="*/ 1016794 h 1685925"/>
                  <a:gd name="connsiteX38" fmla="*/ 5264944 w 8084344"/>
                  <a:gd name="connsiteY38" fmla="*/ 995363 h 1685925"/>
                  <a:gd name="connsiteX39" fmla="*/ 5195887 w 8084344"/>
                  <a:gd name="connsiteY39" fmla="*/ 928687 h 1685925"/>
                  <a:gd name="connsiteX40" fmla="*/ 5160169 w 8084344"/>
                  <a:gd name="connsiteY40" fmla="*/ 885825 h 1685925"/>
                  <a:gd name="connsiteX41" fmla="*/ 5079206 w 8084344"/>
                  <a:gd name="connsiteY41" fmla="*/ 862012 h 1685925"/>
                  <a:gd name="connsiteX42" fmla="*/ 5005388 w 8084344"/>
                  <a:gd name="connsiteY42" fmla="*/ 873918 h 1685925"/>
                  <a:gd name="connsiteX43" fmla="*/ 4948237 w 8084344"/>
                  <a:gd name="connsiteY43" fmla="*/ 821531 h 1685925"/>
                  <a:gd name="connsiteX44" fmla="*/ 4852988 w 8084344"/>
                  <a:gd name="connsiteY44" fmla="*/ 833438 h 1685925"/>
                  <a:gd name="connsiteX45" fmla="*/ 4800600 w 8084344"/>
                  <a:gd name="connsiteY45" fmla="*/ 807244 h 1685925"/>
                  <a:gd name="connsiteX46" fmla="*/ 4719638 w 8084344"/>
                  <a:gd name="connsiteY46" fmla="*/ 850106 h 1685925"/>
                  <a:gd name="connsiteX47" fmla="*/ 4581525 w 8084344"/>
                  <a:gd name="connsiteY47" fmla="*/ 873919 h 1685925"/>
                  <a:gd name="connsiteX48" fmla="*/ 4452938 w 8084344"/>
                  <a:gd name="connsiteY48" fmla="*/ 966788 h 1685925"/>
                  <a:gd name="connsiteX49" fmla="*/ 4405312 w 8084344"/>
                  <a:gd name="connsiteY49" fmla="*/ 928688 h 1685925"/>
                  <a:gd name="connsiteX50" fmla="*/ 4383881 w 8084344"/>
                  <a:gd name="connsiteY50" fmla="*/ 959643 h 1685925"/>
                  <a:gd name="connsiteX51" fmla="*/ 4310063 w 8084344"/>
                  <a:gd name="connsiteY51" fmla="*/ 909638 h 1685925"/>
                  <a:gd name="connsiteX52" fmla="*/ 4271963 w 8084344"/>
                  <a:gd name="connsiteY52" fmla="*/ 916781 h 1685925"/>
                  <a:gd name="connsiteX53" fmla="*/ 4250531 w 8084344"/>
                  <a:gd name="connsiteY53" fmla="*/ 878681 h 1685925"/>
                  <a:gd name="connsiteX54" fmla="*/ 4191000 w 8084344"/>
                  <a:gd name="connsiteY54" fmla="*/ 883444 h 1685925"/>
                  <a:gd name="connsiteX55" fmla="*/ 4145756 w 8084344"/>
                  <a:gd name="connsiteY55" fmla="*/ 854869 h 1685925"/>
                  <a:gd name="connsiteX56" fmla="*/ 4107656 w 8084344"/>
                  <a:gd name="connsiteY56" fmla="*/ 852488 h 1685925"/>
                  <a:gd name="connsiteX57" fmla="*/ 4088606 w 8084344"/>
                  <a:gd name="connsiteY57" fmla="*/ 804862 h 1685925"/>
                  <a:gd name="connsiteX58" fmla="*/ 4074319 w 8084344"/>
                  <a:gd name="connsiteY58" fmla="*/ 773906 h 1685925"/>
                  <a:gd name="connsiteX59" fmla="*/ 4029075 w 8084344"/>
                  <a:gd name="connsiteY59" fmla="*/ 783431 h 1685925"/>
                  <a:gd name="connsiteX60" fmla="*/ 4010025 w 8084344"/>
                  <a:gd name="connsiteY60" fmla="*/ 747713 h 1685925"/>
                  <a:gd name="connsiteX61" fmla="*/ 4031457 w 8084344"/>
                  <a:gd name="connsiteY61" fmla="*/ 692944 h 1685925"/>
                  <a:gd name="connsiteX62" fmla="*/ 4000500 w 8084344"/>
                  <a:gd name="connsiteY62" fmla="*/ 666750 h 1685925"/>
                  <a:gd name="connsiteX63" fmla="*/ 4017169 w 8084344"/>
                  <a:gd name="connsiteY63" fmla="*/ 623888 h 1685925"/>
                  <a:gd name="connsiteX64" fmla="*/ 3990975 w 8084344"/>
                  <a:gd name="connsiteY64" fmla="*/ 581025 h 1685925"/>
                  <a:gd name="connsiteX65" fmla="*/ 3986213 w 8084344"/>
                  <a:gd name="connsiteY65" fmla="*/ 519113 h 1685925"/>
                  <a:gd name="connsiteX66" fmla="*/ 4010025 w 8084344"/>
                  <a:gd name="connsiteY66" fmla="*/ 454818 h 1685925"/>
                  <a:gd name="connsiteX67" fmla="*/ 3971925 w 8084344"/>
                  <a:gd name="connsiteY67" fmla="*/ 457200 h 1685925"/>
                  <a:gd name="connsiteX68" fmla="*/ 3852863 w 8084344"/>
                  <a:gd name="connsiteY68" fmla="*/ 400050 h 1685925"/>
                  <a:gd name="connsiteX69" fmla="*/ 3814762 w 8084344"/>
                  <a:gd name="connsiteY69" fmla="*/ 404812 h 1685925"/>
                  <a:gd name="connsiteX70" fmla="*/ 3609975 w 8084344"/>
                  <a:gd name="connsiteY70" fmla="*/ 295275 h 1685925"/>
                  <a:gd name="connsiteX71" fmla="*/ 3505200 w 8084344"/>
                  <a:gd name="connsiteY71" fmla="*/ 264319 h 1685925"/>
                  <a:gd name="connsiteX72" fmla="*/ 3440906 w 8084344"/>
                  <a:gd name="connsiteY72" fmla="*/ 273843 h 1685925"/>
                  <a:gd name="connsiteX73" fmla="*/ 3409950 w 8084344"/>
                  <a:gd name="connsiteY73" fmla="*/ 209550 h 1685925"/>
                  <a:gd name="connsiteX74" fmla="*/ 3352800 w 8084344"/>
                  <a:gd name="connsiteY74" fmla="*/ 209550 h 1685925"/>
                  <a:gd name="connsiteX75" fmla="*/ 3214687 w 8084344"/>
                  <a:gd name="connsiteY75" fmla="*/ 104775 h 1685925"/>
                  <a:gd name="connsiteX76" fmla="*/ 3181350 w 8084344"/>
                  <a:gd name="connsiteY76" fmla="*/ 164307 h 1685925"/>
                  <a:gd name="connsiteX77" fmla="*/ 3126581 w 8084344"/>
                  <a:gd name="connsiteY77" fmla="*/ 233363 h 1685925"/>
                  <a:gd name="connsiteX78" fmla="*/ 3083719 w 8084344"/>
                  <a:gd name="connsiteY78" fmla="*/ 250031 h 1685925"/>
                  <a:gd name="connsiteX79" fmla="*/ 3052763 w 8084344"/>
                  <a:gd name="connsiteY79" fmla="*/ 242888 h 1685925"/>
                  <a:gd name="connsiteX80" fmla="*/ 3028950 w 8084344"/>
                  <a:gd name="connsiteY80" fmla="*/ 271463 h 1685925"/>
                  <a:gd name="connsiteX81" fmla="*/ 3002756 w 8084344"/>
                  <a:gd name="connsiteY81" fmla="*/ 350044 h 1685925"/>
                  <a:gd name="connsiteX82" fmla="*/ 2959894 w 8084344"/>
                  <a:gd name="connsiteY82" fmla="*/ 347663 h 1685925"/>
                  <a:gd name="connsiteX83" fmla="*/ 2928937 w 8084344"/>
                  <a:gd name="connsiteY83" fmla="*/ 409575 h 1685925"/>
                  <a:gd name="connsiteX84" fmla="*/ 2924175 w 8084344"/>
                  <a:gd name="connsiteY84" fmla="*/ 473869 h 1685925"/>
                  <a:gd name="connsiteX85" fmla="*/ 2897982 w 8084344"/>
                  <a:gd name="connsiteY85" fmla="*/ 511969 h 1685925"/>
                  <a:gd name="connsiteX86" fmla="*/ 2924175 w 8084344"/>
                  <a:gd name="connsiteY86" fmla="*/ 571500 h 1685925"/>
                  <a:gd name="connsiteX87" fmla="*/ 2926556 w 8084344"/>
                  <a:gd name="connsiteY87" fmla="*/ 640556 h 1685925"/>
                  <a:gd name="connsiteX88" fmla="*/ 2955131 w 8084344"/>
                  <a:gd name="connsiteY88" fmla="*/ 692944 h 1685925"/>
                  <a:gd name="connsiteX89" fmla="*/ 3002757 w 8084344"/>
                  <a:gd name="connsiteY89" fmla="*/ 747713 h 1685925"/>
                  <a:gd name="connsiteX90" fmla="*/ 2952750 w 8084344"/>
                  <a:gd name="connsiteY90" fmla="*/ 885825 h 1685925"/>
                  <a:gd name="connsiteX91" fmla="*/ 2883694 w 8084344"/>
                  <a:gd name="connsiteY91" fmla="*/ 952500 h 1685925"/>
                  <a:gd name="connsiteX92" fmla="*/ 2812256 w 8084344"/>
                  <a:gd name="connsiteY92" fmla="*/ 947738 h 1685925"/>
                  <a:gd name="connsiteX93" fmla="*/ 2774156 w 8084344"/>
                  <a:gd name="connsiteY93" fmla="*/ 1004888 h 1685925"/>
                  <a:gd name="connsiteX94" fmla="*/ 2714625 w 8084344"/>
                  <a:gd name="connsiteY94" fmla="*/ 1019175 h 1685925"/>
                  <a:gd name="connsiteX95" fmla="*/ 2645569 w 8084344"/>
                  <a:gd name="connsiteY95" fmla="*/ 959644 h 1685925"/>
                  <a:gd name="connsiteX96" fmla="*/ 2590800 w 8084344"/>
                  <a:gd name="connsiteY96" fmla="*/ 931069 h 1685925"/>
                  <a:gd name="connsiteX97" fmla="*/ 2547938 w 8084344"/>
                  <a:gd name="connsiteY97" fmla="*/ 945356 h 1685925"/>
                  <a:gd name="connsiteX98" fmla="*/ 2495550 w 8084344"/>
                  <a:gd name="connsiteY98" fmla="*/ 928688 h 1685925"/>
                  <a:gd name="connsiteX99" fmla="*/ 2428875 w 8084344"/>
                  <a:gd name="connsiteY99" fmla="*/ 873919 h 1685925"/>
                  <a:gd name="connsiteX100" fmla="*/ 2383631 w 8084344"/>
                  <a:gd name="connsiteY100" fmla="*/ 885825 h 1685925"/>
                  <a:gd name="connsiteX101" fmla="*/ 2362200 w 8084344"/>
                  <a:gd name="connsiteY101" fmla="*/ 854869 h 1685925"/>
                  <a:gd name="connsiteX102" fmla="*/ 2305050 w 8084344"/>
                  <a:gd name="connsiteY102" fmla="*/ 895350 h 1685925"/>
                  <a:gd name="connsiteX103" fmla="*/ 2188369 w 8084344"/>
                  <a:gd name="connsiteY103" fmla="*/ 873919 h 1685925"/>
                  <a:gd name="connsiteX104" fmla="*/ 2138363 w 8084344"/>
                  <a:gd name="connsiteY104" fmla="*/ 821531 h 1685925"/>
                  <a:gd name="connsiteX105" fmla="*/ 2095500 w 8084344"/>
                  <a:gd name="connsiteY105" fmla="*/ 807244 h 1685925"/>
                  <a:gd name="connsiteX106" fmla="*/ 2052638 w 8084344"/>
                  <a:gd name="connsiteY106" fmla="*/ 833438 h 1685925"/>
                  <a:gd name="connsiteX107" fmla="*/ 2000250 w 8084344"/>
                  <a:gd name="connsiteY107" fmla="*/ 742950 h 1685925"/>
                  <a:gd name="connsiteX108" fmla="*/ 1990725 w 8084344"/>
                  <a:gd name="connsiteY108" fmla="*/ 595312 h 1685925"/>
                  <a:gd name="connsiteX109" fmla="*/ 1938337 w 8084344"/>
                  <a:gd name="connsiteY109" fmla="*/ 588168 h 1685925"/>
                  <a:gd name="connsiteX110" fmla="*/ 1847850 w 8084344"/>
                  <a:gd name="connsiteY110" fmla="*/ 578644 h 1685925"/>
                  <a:gd name="connsiteX111" fmla="*/ 1793081 w 8084344"/>
                  <a:gd name="connsiteY111" fmla="*/ 540544 h 1685925"/>
                  <a:gd name="connsiteX112" fmla="*/ 1724025 w 8084344"/>
                  <a:gd name="connsiteY112" fmla="*/ 550069 h 1685925"/>
                  <a:gd name="connsiteX113" fmla="*/ 1678781 w 8084344"/>
                  <a:gd name="connsiteY113" fmla="*/ 523875 h 1685925"/>
                  <a:gd name="connsiteX114" fmla="*/ 1669257 w 8084344"/>
                  <a:gd name="connsiteY114" fmla="*/ 452438 h 1685925"/>
                  <a:gd name="connsiteX115" fmla="*/ 1645444 w 8084344"/>
                  <a:gd name="connsiteY115" fmla="*/ 438150 h 1685925"/>
                  <a:gd name="connsiteX116" fmla="*/ 1607344 w 8084344"/>
                  <a:gd name="connsiteY116" fmla="*/ 485774 h 1685925"/>
                  <a:gd name="connsiteX117" fmla="*/ 1528762 w 8084344"/>
                  <a:gd name="connsiteY117" fmla="*/ 411956 h 1685925"/>
                  <a:gd name="connsiteX118" fmla="*/ 1488281 w 8084344"/>
                  <a:gd name="connsiteY118" fmla="*/ 452438 h 1685925"/>
                  <a:gd name="connsiteX119" fmla="*/ 1412081 w 8084344"/>
                  <a:gd name="connsiteY119" fmla="*/ 438150 h 1685925"/>
                  <a:gd name="connsiteX120" fmla="*/ 1333500 w 8084344"/>
                  <a:gd name="connsiteY120" fmla="*/ 464344 h 1685925"/>
                  <a:gd name="connsiteX121" fmla="*/ 1273969 w 8084344"/>
                  <a:gd name="connsiteY121" fmla="*/ 511968 h 1685925"/>
                  <a:gd name="connsiteX122" fmla="*/ 1200150 w 8084344"/>
                  <a:gd name="connsiteY122" fmla="*/ 523875 h 1685925"/>
                  <a:gd name="connsiteX123" fmla="*/ 1164431 w 8084344"/>
                  <a:gd name="connsiteY123" fmla="*/ 516731 h 1685925"/>
                  <a:gd name="connsiteX124" fmla="*/ 1085851 w 8084344"/>
                  <a:gd name="connsiteY124" fmla="*/ 547688 h 1685925"/>
                  <a:gd name="connsiteX125" fmla="*/ 1064419 w 8084344"/>
                  <a:gd name="connsiteY125" fmla="*/ 576263 h 1685925"/>
                  <a:gd name="connsiteX126" fmla="*/ 997744 w 8084344"/>
                  <a:gd name="connsiteY126" fmla="*/ 566738 h 1685925"/>
                  <a:gd name="connsiteX127" fmla="*/ 928688 w 8084344"/>
                  <a:gd name="connsiteY127" fmla="*/ 590550 h 1685925"/>
                  <a:gd name="connsiteX128" fmla="*/ 873919 w 8084344"/>
                  <a:gd name="connsiteY128" fmla="*/ 628650 h 1685925"/>
                  <a:gd name="connsiteX129" fmla="*/ 778669 w 8084344"/>
                  <a:gd name="connsiteY129" fmla="*/ 642937 h 1685925"/>
                  <a:gd name="connsiteX130" fmla="*/ 764381 w 8084344"/>
                  <a:gd name="connsiteY130" fmla="*/ 664369 h 1685925"/>
                  <a:gd name="connsiteX131" fmla="*/ 776287 w 8084344"/>
                  <a:gd name="connsiteY131" fmla="*/ 709613 h 1685925"/>
                  <a:gd name="connsiteX132" fmla="*/ 676276 w 8084344"/>
                  <a:gd name="connsiteY132" fmla="*/ 762000 h 1685925"/>
                  <a:gd name="connsiteX133" fmla="*/ 638175 w 8084344"/>
                  <a:gd name="connsiteY133" fmla="*/ 733424 h 1685925"/>
                  <a:gd name="connsiteX134" fmla="*/ 607219 w 8084344"/>
                  <a:gd name="connsiteY134" fmla="*/ 790575 h 1685925"/>
                  <a:gd name="connsiteX135" fmla="*/ 550069 w 8084344"/>
                  <a:gd name="connsiteY135" fmla="*/ 752475 h 1685925"/>
                  <a:gd name="connsiteX136" fmla="*/ 514350 w 8084344"/>
                  <a:gd name="connsiteY136" fmla="*/ 781050 h 1685925"/>
                  <a:gd name="connsiteX137" fmla="*/ 478631 w 8084344"/>
                  <a:gd name="connsiteY137" fmla="*/ 745331 h 1685925"/>
                  <a:gd name="connsiteX138" fmla="*/ 426244 w 8084344"/>
                  <a:gd name="connsiteY138" fmla="*/ 757238 h 1685925"/>
                  <a:gd name="connsiteX139" fmla="*/ 381000 w 8084344"/>
                  <a:gd name="connsiteY139" fmla="*/ 728663 h 1685925"/>
                  <a:gd name="connsiteX140" fmla="*/ 357188 w 8084344"/>
                  <a:gd name="connsiteY140" fmla="*/ 747713 h 1685925"/>
                  <a:gd name="connsiteX141" fmla="*/ 333375 w 8084344"/>
                  <a:gd name="connsiteY141" fmla="*/ 807244 h 1685925"/>
                  <a:gd name="connsiteX142" fmla="*/ 261938 w 8084344"/>
                  <a:gd name="connsiteY142" fmla="*/ 845343 h 1685925"/>
                  <a:gd name="connsiteX143" fmla="*/ 209550 w 8084344"/>
                  <a:gd name="connsiteY143" fmla="*/ 816769 h 1685925"/>
                  <a:gd name="connsiteX144" fmla="*/ 119063 w 8084344"/>
                  <a:gd name="connsiteY144" fmla="*/ 826294 h 1685925"/>
                  <a:gd name="connsiteX145" fmla="*/ 71437 w 8084344"/>
                  <a:gd name="connsiteY145" fmla="*/ 792957 h 1685925"/>
                  <a:gd name="connsiteX146" fmla="*/ 0 w 8084344"/>
                  <a:gd name="connsiteY146" fmla="*/ 812006 h 1685925"/>
                  <a:gd name="connsiteX147" fmla="*/ 4762 w 8084344"/>
                  <a:gd name="connsiteY147" fmla="*/ 0 h 1685925"/>
                  <a:gd name="connsiteX148" fmla="*/ 8084344 w 8084344"/>
                  <a:gd name="connsiteY148" fmla="*/ 1583531 h 1685925"/>
                  <a:gd name="connsiteX149" fmla="*/ 8039100 w 8084344"/>
                  <a:gd name="connsiteY149" fmla="*/ 1633537 h 1685925"/>
                  <a:gd name="connsiteX150" fmla="*/ 7889081 w 8084344"/>
                  <a:gd name="connsiteY150" fmla="*/ 1557337 h 1685925"/>
                  <a:gd name="connsiteX151" fmla="*/ 7798594 w 8084344"/>
                  <a:gd name="connsiteY151" fmla="*/ 1593056 h 1685925"/>
                  <a:gd name="connsiteX152" fmla="*/ 7724775 w 8084344"/>
                  <a:gd name="connsiteY152" fmla="*/ 1590675 h 1685925"/>
                  <a:gd name="connsiteX153" fmla="*/ 7667625 w 8084344"/>
                  <a:gd name="connsiteY153" fmla="*/ 1685925 h 1685925"/>
                  <a:gd name="connsiteX154" fmla="*/ 7529513 w 8084344"/>
                  <a:gd name="connsiteY154" fmla="*/ 1588294 h 1685925"/>
                  <a:gd name="connsiteX0" fmla="*/ 7529513 w 8039100"/>
                  <a:gd name="connsiteY0" fmla="*/ 1588294 h 1685925"/>
                  <a:gd name="connsiteX1" fmla="*/ 7522369 w 8039100"/>
                  <a:gd name="connsiteY1" fmla="*/ 1533525 h 1685925"/>
                  <a:gd name="connsiteX2" fmla="*/ 7589044 w 8039100"/>
                  <a:gd name="connsiteY2" fmla="*/ 1459706 h 1685925"/>
                  <a:gd name="connsiteX3" fmla="*/ 7572375 w 8039100"/>
                  <a:gd name="connsiteY3" fmla="*/ 1388269 h 1685925"/>
                  <a:gd name="connsiteX4" fmla="*/ 7586663 w 8039100"/>
                  <a:gd name="connsiteY4" fmla="*/ 1293019 h 1685925"/>
                  <a:gd name="connsiteX5" fmla="*/ 7624763 w 8039100"/>
                  <a:gd name="connsiteY5" fmla="*/ 1235869 h 1685925"/>
                  <a:gd name="connsiteX6" fmla="*/ 7605712 w 8039100"/>
                  <a:gd name="connsiteY6" fmla="*/ 1202531 h 1685925"/>
                  <a:gd name="connsiteX7" fmla="*/ 7703343 w 8039100"/>
                  <a:gd name="connsiteY7" fmla="*/ 802481 h 1685925"/>
                  <a:gd name="connsiteX8" fmla="*/ 7696200 w 8039100"/>
                  <a:gd name="connsiteY8" fmla="*/ 773906 h 1685925"/>
                  <a:gd name="connsiteX9" fmla="*/ 7567613 w 8039100"/>
                  <a:gd name="connsiteY9" fmla="*/ 752475 h 1685925"/>
                  <a:gd name="connsiteX10" fmla="*/ 7384257 w 8039100"/>
                  <a:gd name="connsiteY10" fmla="*/ 831056 h 1685925"/>
                  <a:gd name="connsiteX11" fmla="*/ 7227093 w 8039100"/>
                  <a:gd name="connsiteY11" fmla="*/ 716756 h 1685925"/>
                  <a:gd name="connsiteX12" fmla="*/ 7150894 w 8039100"/>
                  <a:gd name="connsiteY12" fmla="*/ 723900 h 1685925"/>
                  <a:gd name="connsiteX13" fmla="*/ 7077075 w 8039100"/>
                  <a:gd name="connsiteY13" fmla="*/ 719138 h 1685925"/>
                  <a:gd name="connsiteX14" fmla="*/ 6938963 w 8039100"/>
                  <a:gd name="connsiteY14" fmla="*/ 823913 h 1685925"/>
                  <a:gd name="connsiteX15" fmla="*/ 6831806 w 8039100"/>
                  <a:gd name="connsiteY15" fmla="*/ 931069 h 1685925"/>
                  <a:gd name="connsiteX16" fmla="*/ 6788944 w 8039100"/>
                  <a:gd name="connsiteY16" fmla="*/ 1000125 h 1685925"/>
                  <a:gd name="connsiteX17" fmla="*/ 6796088 w 8039100"/>
                  <a:gd name="connsiteY17" fmla="*/ 1035844 h 1685925"/>
                  <a:gd name="connsiteX18" fmla="*/ 6734175 w 8039100"/>
                  <a:gd name="connsiteY18" fmla="*/ 1047750 h 1685925"/>
                  <a:gd name="connsiteX19" fmla="*/ 6753225 w 8039100"/>
                  <a:gd name="connsiteY19" fmla="*/ 1047750 h 1685925"/>
                  <a:gd name="connsiteX20" fmla="*/ 6719888 w 8039100"/>
                  <a:gd name="connsiteY20" fmla="*/ 1078706 h 1685925"/>
                  <a:gd name="connsiteX21" fmla="*/ 6619875 w 8039100"/>
                  <a:gd name="connsiteY21" fmla="*/ 1078707 h 1685925"/>
                  <a:gd name="connsiteX22" fmla="*/ 6524625 w 8039100"/>
                  <a:gd name="connsiteY22" fmla="*/ 1133475 h 1685925"/>
                  <a:gd name="connsiteX23" fmla="*/ 6443663 w 8039100"/>
                  <a:gd name="connsiteY23" fmla="*/ 1143000 h 1685925"/>
                  <a:gd name="connsiteX24" fmla="*/ 6403181 w 8039100"/>
                  <a:gd name="connsiteY24" fmla="*/ 1176338 h 1685925"/>
                  <a:gd name="connsiteX25" fmla="*/ 6353175 w 8039100"/>
                  <a:gd name="connsiteY25" fmla="*/ 1181100 h 1685925"/>
                  <a:gd name="connsiteX26" fmla="*/ 6231732 w 8039100"/>
                  <a:gd name="connsiteY26" fmla="*/ 1273969 h 1685925"/>
                  <a:gd name="connsiteX27" fmla="*/ 6172200 w 8039100"/>
                  <a:gd name="connsiteY27" fmla="*/ 1278731 h 1685925"/>
                  <a:gd name="connsiteX28" fmla="*/ 6119813 w 8039100"/>
                  <a:gd name="connsiteY28" fmla="*/ 1243013 h 1685925"/>
                  <a:gd name="connsiteX29" fmla="*/ 6093619 w 8039100"/>
                  <a:gd name="connsiteY29" fmla="*/ 1278731 h 1685925"/>
                  <a:gd name="connsiteX30" fmla="*/ 5895975 w 8039100"/>
                  <a:gd name="connsiteY30" fmla="*/ 1271588 h 1685925"/>
                  <a:gd name="connsiteX31" fmla="*/ 5834063 w 8039100"/>
                  <a:gd name="connsiteY31" fmla="*/ 1226344 h 1685925"/>
                  <a:gd name="connsiteX32" fmla="*/ 5636419 w 8039100"/>
                  <a:gd name="connsiteY32" fmla="*/ 1243013 h 1685925"/>
                  <a:gd name="connsiteX33" fmla="*/ 5548313 w 8039100"/>
                  <a:gd name="connsiteY33" fmla="*/ 1159668 h 1685925"/>
                  <a:gd name="connsiteX34" fmla="*/ 5472113 w 8039100"/>
                  <a:gd name="connsiteY34" fmla="*/ 1114425 h 1685925"/>
                  <a:gd name="connsiteX35" fmla="*/ 5474493 w 8039100"/>
                  <a:gd name="connsiteY35" fmla="*/ 1057275 h 1685925"/>
                  <a:gd name="connsiteX36" fmla="*/ 5455444 w 8039100"/>
                  <a:gd name="connsiteY36" fmla="*/ 1014412 h 1685925"/>
                  <a:gd name="connsiteX37" fmla="*/ 5360194 w 8039100"/>
                  <a:gd name="connsiteY37" fmla="*/ 1016794 h 1685925"/>
                  <a:gd name="connsiteX38" fmla="*/ 5264944 w 8039100"/>
                  <a:gd name="connsiteY38" fmla="*/ 995363 h 1685925"/>
                  <a:gd name="connsiteX39" fmla="*/ 5195887 w 8039100"/>
                  <a:gd name="connsiteY39" fmla="*/ 928687 h 1685925"/>
                  <a:gd name="connsiteX40" fmla="*/ 5160169 w 8039100"/>
                  <a:gd name="connsiteY40" fmla="*/ 885825 h 1685925"/>
                  <a:gd name="connsiteX41" fmla="*/ 5079206 w 8039100"/>
                  <a:gd name="connsiteY41" fmla="*/ 862012 h 1685925"/>
                  <a:gd name="connsiteX42" fmla="*/ 5005388 w 8039100"/>
                  <a:gd name="connsiteY42" fmla="*/ 873918 h 1685925"/>
                  <a:gd name="connsiteX43" fmla="*/ 4948237 w 8039100"/>
                  <a:gd name="connsiteY43" fmla="*/ 821531 h 1685925"/>
                  <a:gd name="connsiteX44" fmla="*/ 4852988 w 8039100"/>
                  <a:gd name="connsiteY44" fmla="*/ 833438 h 1685925"/>
                  <a:gd name="connsiteX45" fmla="*/ 4800600 w 8039100"/>
                  <a:gd name="connsiteY45" fmla="*/ 807244 h 1685925"/>
                  <a:gd name="connsiteX46" fmla="*/ 4719638 w 8039100"/>
                  <a:gd name="connsiteY46" fmla="*/ 850106 h 1685925"/>
                  <a:gd name="connsiteX47" fmla="*/ 4581525 w 8039100"/>
                  <a:gd name="connsiteY47" fmla="*/ 873919 h 1685925"/>
                  <a:gd name="connsiteX48" fmla="*/ 4452938 w 8039100"/>
                  <a:gd name="connsiteY48" fmla="*/ 966788 h 1685925"/>
                  <a:gd name="connsiteX49" fmla="*/ 4405312 w 8039100"/>
                  <a:gd name="connsiteY49" fmla="*/ 928688 h 1685925"/>
                  <a:gd name="connsiteX50" fmla="*/ 4383881 w 8039100"/>
                  <a:gd name="connsiteY50" fmla="*/ 959643 h 1685925"/>
                  <a:gd name="connsiteX51" fmla="*/ 4310063 w 8039100"/>
                  <a:gd name="connsiteY51" fmla="*/ 909638 h 1685925"/>
                  <a:gd name="connsiteX52" fmla="*/ 4271963 w 8039100"/>
                  <a:gd name="connsiteY52" fmla="*/ 916781 h 1685925"/>
                  <a:gd name="connsiteX53" fmla="*/ 4250531 w 8039100"/>
                  <a:gd name="connsiteY53" fmla="*/ 878681 h 1685925"/>
                  <a:gd name="connsiteX54" fmla="*/ 4191000 w 8039100"/>
                  <a:gd name="connsiteY54" fmla="*/ 883444 h 1685925"/>
                  <a:gd name="connsiteX55" fmla="*/ 4145756 w 8039100"/>
                  <a:gd name="connsiteY55" fmla="*/ 854869 h 1685925"/>
                  <a:gd name="connsiteX56" fmla="*/ 4107656 w 8039100"/>
                  <a:gd name="connsiteY56" fmla="*/ 852488 h 1685925"/>
                  <a:gd name="connsiteX57" fmla="*/ 4088606 w 8039100"/>
                  <a:gd name="connsiteY57" fmla="*/ 804862 h 1685925"/>
                  <a:gd name="connsiteX58" fmla="*/ 4074319 w 8039100"/>
                  <a:gd name="connsiteY58" fmla="*/ 773906 h 1685925"/>
                  <a:gd name="connsiteX59" fmla="*/ 4029075 w 8039100"/>
                  <a:gd name="connsiteY59" fmla="*/ 783431 h 1685925"/>
                  <a:gd name="connsiteX60" fmla="*/ 4010025 w 8039100"/>
                  <a:gd name="connsiteY60" fmla="*/ 747713 h 1685925"/>
                  <a:gd name="connsiteX61" fmla="*/ 4031457 w 8039100"/>
                  <a:gd name="connsiteY61" fmla="*/ 692944 h 1685925"/>
                  <a:gd name="connsiteX62" fmla="*/ 4000500 w 8039100"/>
                  <a:gd name="connsiteY62" fmla="*/ 666750 h 1685925"/>
                  <a:gd name="connsiteX63" fmla="*/ 4017169 w 8039100"/>
                  <a:gd name="connsiteY63" fmla="*/ 623888 h 1685925"/>
                  <a:gd name="connsiteX64" fmla="*/ 3990975 w 8039100"/>
                  <a:gd name="connsiteY64" fmla="*/ 581025 h 1685925"/>
                  <a:gd name="connsiteX65" fmla="*/ 3986213 w 8039100"/>
                  <a:gd name="connsiteY65" fmla="*/ 519113 h 1685925"/>
                  <a:gd name="connsiteX66" fmla="*/ 4010025 w 8039100"/>
                  <a:gd name="connsiteY66" fmla="*/ 454818 h 1685925"/>
                  <a:gd name="connsiteX67" fmla="*/ 3971925 w 8039100"/>
                  <a:gd name="connsiteY67" fmla="*/ 457200 h 1685925"/>
                  <a:gd name="connsiteX68" fmla="*/ 3852863 w 8039100"/>
                  <a:gd name="connsiteY68" fmla="*/ 400050 h 1685925"/>
                  <a:gd name="connsiteX69" fmla="*/ 3814762 w 8039100"/>
                  <a:gd name="connsiteY69" fmla="*/ 404812 h 1685925"/>
                  <a:gd name="connsiteX70" fmla="*/ 3609975 w 8039100"/>
                  <a:gd name="connsiteY70" fmla="*/ 295275 h 1685925"/>
                  <a:gd name="connsiteX71" fmla="*/ 3505200 w 8039100"/>
                  <a:gd name="connsiteY71" fmla="*/ 264319 h 1685925"/>
                  <a:gd name="connsiteX72" fmla="*/ 3440906 w 8039100"/>
                  <a:gd name="connsiteY72" fmla="*/ 273843 h 1685925"/>
                  <a:gd name="connsiteX73" fmla="*/ 3409950 w 8039100"/>
                  <a:gd name="connsiteY73" fmla="*/ 209550 h 1685925"/>
                  <a:gd name="connsiteX74" fmla="*/ 3352800 w 8039100"/>
                  <a:gd name="connsiteY74" fmla="*/ 209550 h 1685925"/>
                  <a:gd name="connsiteX75" fmla="*/ 3214687 w 8039100"/>
                  <a:gd name="connsiteY75" fmla="*/ 104775 h 1685925"/>
                  <a:gd name="connsiteX76" fmla="*/ 3181350 w 8039100"/>
                  <a:gd name="connsiteY76" fmla="*/ 164307 h 1685925"/>
                  <a:gd name="connsiteX77" fmla="*/ 3126581 w 8039100"/>
                  <a:gd name="connsiteY77" fmla="*/ 233363 h 1685925"/>
                  <a:gd name="connsiteX78" fmla="*/ 3083719 w 8039100"/>
                  <a:gd name="connsiteY78" fmla="*/ 250031 h 1685925"/>
                  <a:gd name="connsiteX79" fmla="*/ 3052763 w 8039100"/>
                  <a:gd name="connsiteY79" fmla="*/ 242888 h 1685925"/>
                  <a:gd name="connsiteX80" fmla="*/ 3028950 w 8039100"/>
                  <a:gd name="connsiteY80" fmla="*/ 271463 h 1685925"/>
                  <a:gd name="connsiteX81" fmla="*/ 3002756 w 8039100"/>
                  <a:gd name="connsiteY81" fmla="*/ 350044 h 1685925"/>
                  <a:gd name="connsiteX82" fmla="*/ 2959894 w 8039100"/>
                  <a:gd name="connsiteY82" fmla="*/ 347663 h 1685925"/>
                  <a:gd name="connsiteX83" fmla="*/ 2928937 w 8039100"/>
                  <a:gd name="connsiteY83" fmla="*/ 409575 h 1685925"/>
                  <a:gd name="connsiteX84" fmla="*/ 2924175 w 8039100"/>
                  <a:gd name="connsiteY84" fmla="*/ 473869 h 1685925"/>
                  <a:gd name="connsiteX85" fmla="*/ 2897982 w 8039100"/>
                  <a:gd name="connsiteY85" fmla="*/ 511969 h 1685925"/>
                  <a:gd name="connsiteX86" fmla="*/ 2924175 w 8039100"/>
                  <a:gd name="connsiteY86" fmla="*/ 571500 h 1685925"/>
                  <a:gd name="connsiteX87" fmla="*/ 2926556 w 8039100"/>
                  <a:gd name="connsiteY87" fmla="*/ 640556 h 1685925"/>
                  <a:gd name="connsiteX88" fmla="*/ 2955131 w 8039100"/>
                  <a:gd name="connsiteY88" fmla="*/ 692944 h 1685925"/>
                  <a:gd name="connsiteX89" fmla="*/ 3002757 w 8039100"/>
                  <a:gd name="connsiteY89" fmla="*/ 747713 h 1685925"/>
                  <a:gd name="connsiteX90" fmla="*/ 2952750 w 8039100"/>
                  <a:gd name="connsiteY90" fmla="*/ 885825 h 1685925"/>
                  <a:gd name="connsiteX91" fmla="*/ 2883694 w 8039100"/>
                  <a:gd name="connsiteY91" fmla="*/ 952500 h 1685925"/>
                  <a:gd name="connsiteX92" fmla="*/ 2812256 w 8039100"/>
                  <a:gd name="connsiteY92" fmla="*/ 947738 h 1685925"/>
                  <a:gd name="connsiteX93" fmla="*/ 2774156 w 8039100"/>
                  <a:gd name="connsiteY93" fmla="*/ 1004888 h 1685925"/>
                  <a:gd name="connsiteX94" fmla="*/ 2714625 w 8039100"/>
                  <a:gd name="connsiteY94" fmla="*/ 1019175 h 1685925"/>
                  <a:gd name="connsiteX95" fmla="*/ 2645569 w 8039100"/>
                  <a:gd name="connsiteY95" fmla="*/ 959644 h 1685925"/>
                  <a:gd name="connsiteX96" fmla="*/ 2590800 w 8039100"/>
                  <a:gd name="connsiteY96" fmla="*/ 931069 h 1685925"/>
                  <a:gd name="connsiteX97" fmla="*/ 2547938 w 8039100"/>
                  <a:gd name="connsiteY97" fmla="*/ 945356 h 1685925"/>
                  <a:gd name="connsiteX98" fmla="*/ 2495550 w 8039100"/>
                  <a:gd name="connsiteY98" fmla="*/ 928688 h 1685925"/>
                  <a:gd name="connsiteX99" fmla="*/ 2428875 w 8039100"/>
                  <a:gd name="connsiteY99" fmla="*/ 873919 h 1685925"/>
                  <a:gd name="connsiteX100" fmla="*/ 2383631 w 8039100"/>
                  <a:gd name="connsiteY100" fmla="*/ 885825 h 1685925"/>
                  <a:gd name="connsiteX101" fmla="*/ 2362200 w 8039100"/>
                  <a:gd name="connsiteY101" fmla="*/ 854869 h 1685925"/>
                  <a:gd name="connsiteX102" fmla="*/ 2305050 w 8039100"/>
                  <a:gd name="connsiteY102" fmla="*/ 895350 h 1685925"/>
                  <a:gd name="connsiteX103" fmla="*/ 2188369 w 8039100"/>
                  <a:gd name="connsiteY103" fmla="*/ 873919 h 1685925"/>
                  <a:gd name="connsiteX104" fmla="*/ 2138363 w 8039100"/>
                  <a:gd name="connsiteY104" fmla="*/ 821531 h 1685925"/>
                  <a:gd name="connsiteX105" fmla="*/ 2095500 w 8039100"/>
                  <a:gd name="connsiteY105" fmla="*/ 807244 h 1685925"/>
                  <a:gd name="connsiteX106" fmla="*/ 2052638 w 8039100"/>
                  <a:gd name="connsiteY106" fmla="*/ 833438 h 1685925"/>
                  <a:gd name="connsiteX107" fmla="*/ 2000250 w 8039100"/>
                  <a:gd name="connsiteY107" fmla="*/ 742950 h 1685925"/>
                  <a:gd name="connsiteX108" fmla="*/ 1990725 w 8039100"/>
                  <a:gd name="connsiteY108" fmla="*/ 595312 h 1685925"/>
                  <a:gd name="connsiteX109" fmla="*/ 1938337 w 8039100"/>
                  <a:gd name="connsiteY109" fmla="*/ 588168 h 1685925"/>
                  <a:gd name="connsiteX110" fmla="*/ 1847850 w 8039100"/>
                  <a:gd name="connsiteY110" fmla="*/ 578644 h 1685925"/>
                  <a:gd name="connsiteX111" fmla="*/ 1793081 w 8039100"/>
                  <a:gd name="connsiteY111" fmla="*/ 540544 h 1685925"/>
                  <a:gd name="connsiteX112" fmla="*/ 1724025 w 8039100"/>
                  <a:gd name="connsiteY112" fmla="*/ 550069 h 1685925"/>
                  <a:gd name="connsiteX113" fmla="*/ 1678781 w 8039100"/>
                  <a:gd name="connsiteY113" fmla="*/ 523875 h 1685925"/>
                  <a:gd name="connsiteX114" fmla="*/ 1669257 w 8039100"/>
                  <a:gd name="connsiteY114" fmla="*/ 452438 h 1685925"/>
                  <a:gd name="connsiteX115" fmla="*/ 1645444 w 8039100"/>
                  <a:gd name="connsiteY115" fmla="*/ 438150 h 1685925"/>
                  <a:gd name="connsiteX116" fmla="*/ 1607344 w 8039100"/>
                  <a:gd name="connsiteY116" fmla="*/ 485774 h 1685925"/>
                  <a:gd name="connsiteX117" fmla="*/ 1528762 w 8039100"/>
                  <a:gd name="connsiteY117" fmla="*/ 411956 h 1685925"/>
                  <a:gd name="connsiteX118" fmla="*/ 1488281 w 8039100"/>
                  <a:gd name="connsiteY118" fmla="*/ 452438 h 1685925"/>
                  <a:gd name="connsiteX119" fmla="*/ 1412081 w 8039100"/>
                  <a:gd name="connsiteY119" fmla="*/ 438150 h 1685925"/>
                  <a:gd name="connsiteX120" fmla="*/ 1333500 w 8039100"/>
                  <a:gd name="connsiteY120" fmla="*/ 464344 h 1685925"/>
                  <a:gd name="connsiteX121" fmla="*/ 1273969 w 8039100"/>
                  <a:gd name="connsiteY121" fmla="*/ 511968 h 1685925"/>
                  <a:gd name="connsiteX122" fmla="*/ 1200150 w 8039100"/>
                  <a:gd name="connsiteY122" fmla="*/ 523875 h 1685925"/>
                  <a:gd name="connsiteX123" fmla="*/ 1164431 w 8039100"/>
                  <a:gd name="connsiteY123" fmla="*/ 516731 h 1685925"/>
                  <a:gd name="connsiteX124" fmla="*/ 1085851 w 8039100"/>
                  <a:gd name="connsiteY124" fmla="*/ 547688 h 1685925"/>
                  <a:gd name="connsiteX125" fmla="*/ 1064419 w 8039100"/>
                  <a:gd name="connsiteY125" fmla="*/ 576263 h 1685925"/>
                  <a:gd name="connsiteX126" fmla="*/ 997744 w 8039100"/>
                  <a:gd name="connsiteY126" fmla="*/ 566738 h 1685925"/>
                  <a:gd name="connsiteX127" fmla="*/ 928688 w 8039100"/>
                  <a:gd name="connsiteY127" fmla="*/ 590550 h 1685925"/>
                  <a:gd name="connsiteX128" fmla="*/ 873919 w 8039100"/>
                  <a:gd name="connsiteY128" fmla="*/ 628650 h 1685925"/>
                  <a:gd name="connsiteX129" fmla="*/ 778669 w 8039100"/>
                  <a:gd name="connsiteY129" fmla="*/ 642937 h 1685925"/>
                  <a:gd name="connsiteX130" fmla="*/ 764381 w 8039100"/>
                  <a:gd name="connsiteY130" fmla="*/ 664369 h 1685925"/>
                  <a:gd name="connsiteX131" fmla="*/ 776287 w 8039100"/>
                  <a:gd name="connsiteY131" fmla="*/ 709613 h 1685925"/>
                  <a:gd name="connsiteX132" fmla="*/ 676276 w 8039100"/>
                  <a:gd name="connsiteY132" fmla="*/ 762000 h 1685925"/>
                  <a:gd name="connsiteX133" fmla="*/ 638175 w 8039100"/>
                  <a:gd name="connsiteY133" fmla="*/ 733424 h 1685925"/>
                  <a:gd name="connsiteX134" fmla="*/ 607219 w 8039100"/>
                  <a:gd name="connsiteY134" fmla="*/ 790575 h 1685925"/>
                  <a:gd name="connsiteX135" fmla="*/ 550069 w 8039100"/>
                  <a:gd name="connsiteY135" fmla="*/ 752475 h 1685925"/>
                  <a:gd name="connsiteX136" fmla="*/ 514350 w 8039100"/>
                  <a:gd name="connsiteY136" fmla="*/ 781050 h 1685925"/>
                  <a:gd name="connsiteX137" fmla="*/ 478631 w 8039100"/>
                  <a:gd name="connsiteY137" fmla="*/ 745331 h 1685925"/>
                  <a:gd name="connsiteX138" fmla="*/ 426244 w 8039100"/>
                  <a:gd name="connsiteY138" fmla="*/ 757238 h 1685925"/>
                  <a:gd name="connsiteX139" fmla="*/ 381000 w 8039100"/>
                  <a:gd name="connsiteY139" fmla="*/ 728663 h 1685925"/>
                  <a:gd name="connsiteX140" fmla="*/ 357188 w 8039100"/>
                  <a:gd name="connsiteY140" fmla="*/ 747713 h 1685925"/>
                  <a:gd name="connsiteX141" fmla="*/ 333375 w 8039100"/>
                  <a:gd name="connsiteY141" fmla="*/ 807244 h 1685925"/>
                  <a:gd name="connsiteX142" fmla="*/ 261938 w 8039100"/>
                  <a:gd name="connsiteY142" fmla="*/ 845343 h 1685925"/>
                  <a:gd name="connsiteX143" fmla="*/ 209550 w 8039100"/>
                  <a:gd name="connsiteY143" fmla="*/ 816769 h 1685925"/>
                  <a:gd name="connsiteX144" fmla="*/ 119063 w 8039100"/>
                  <a:gd name="connsiteY144" fmla="*/ 826294 h 1685925"/>
                  <a:gd name="connsiteX145" fmla="*/ 71437 w 8039100"/>
                  <a:gd name="connsiteY145" fmla="*/ 792957 h 1685925"/>
                  <a:gd name="connsiteX146" fmla="*/ 0 w 8039100"/>
                  <a:gd name="connsiteY146" fmla="*/ 812006 h 1685925"/>
                  <a:gd name="connsiteX147" fmla="*/ 4762 w 8039100"/>
                  <a:gd name="connsiteY147" fmla="*/ 0 h 1685925"/>
                  <a:gd name="connsiteX148" fmla="*/ 8039100 w 8039100"/>
                  <a:gd name="connsiteY148" fmla="*/ 1633537 h 1685925"/>
                  <a:gd name="connsiteX149" fmla="*/ 7889081 w 8039100"/>
                  <a:gd name="connsiteY149" fmla="*/ 1557337 h 1685925"/>
                  <a:gd name="connsiteX150" fmla="*/ 7798594 w 8039100"/>
                  <a:gd name="connsiteY150" fmla="*/ 1593056 h 1685925"/>
                  <a:gd name="connsiteX151" fmla="*/ 7724775 w 8039100"/>
                  <a:gd name="connsiteY151" fmla="*/ 1590675 h 1685925"/>
                  <a:gd name="connsiteX152" fmla="*/ 7667625 w 8039100"/>
                  <a:gd name="connsiteY152" fmla="*/ 1685925 h 1685925"/>
                  <a:gd name="connsiteX153" fmla="*/ 7529513 w 8039100"/>
                  <a:gd name="connsiteY153" fmla="*/ 1588294 h 1685925"/>
                  <a:gd name="connsiteX0" fmla="*/ 7529513 w 7889081"/>
                  <a:gd name="connsiteY0" fmla="*/ 1588294 h 1685925"/>
                  <a:gd name="connsiteX1" fmla="*/ 7522369 w 7889081"/>
                  <a:gd name="connsiteY1" fmla="*/ 1533525 h 1685925"/>
                  <a:gd name="connsiteX2" fmla="*/ 7589044 w 7889081"/>
                  <a:gd name="connsiteY2" fmla="*/ 1459706 h 1685925"/>
                  <a:gd name="connsiteX3" fmla="*/ 7572375 w 7889081"/>
                  <a:gd name="connsiteY3" fmla="*/ 1388269 h 1685925"/>
                  <a:gd name="connsiteX4" fmla="*/ 7586663 w 7889081"/>
                  <a:gd name="connsiteY4" fmla="*/ 1293019 h 1685925"/>
                  <a:gd name="connsiteX5" fmla="*/ 7624763 w 7889081"/>
                  <a:gd name="connsiteY5" fmla="*/ 1235869 h 1685925"/>
                  <a:gd name="connsiteX6" fmla="*/ 7605712 w 7889081"/>
                  <a:gd name="connsiteY6" fmla="*/ 1202531 h 1685925"/>
                  <a:gd name="connsiteX7" fmla="*/ 7703343 w 7889081"/>
                  <a:gd name="connsiteY7" fmla="*/ 802481 h 1685925"/>
                  <a:gd name="connsiteX8" fmla="*/ 7696200 w 7889081"/>
                  <a:gd name="connsiteY8" fmla="*/ 773906 h 1685925"/>
                  <a:gd name="connsiteX9" fmla="*/ 7567613 w 7889081"/>
                  <a:gd name="connsiteY9" fmla="*/ 752475 h 1685925"/>
                  <a:gd name="connsiteX10" fmla="*/ 7384257 w 7889081"/>
                  <a:gd name="connsiteY10" fmla="*/ 831056 h 1685925"/>
                  <a:gd name="connsiteX11" fmla="*/ 7227093 w 7889081"/>
                  <a:gd name="connsiteY11" fmla="*/ 716756 h 1685925"/>
                  <a:gd name="connsiteX12" fmla="*/ 7150894 w 7889081"/>
                  <a:gd name="connsiteY12" fmla="*/ 723900 h 1685925"/>
                  <a:gd name="connsiteX13" fmla="*/ 7077075 w 7889081"/>
                  <a:gd name="connsiteY13" fmla="*/ 719138 h 1685925"/>
                  <a:gd name="connsiteX14" fmla="*/ 6938963 w 7889081"/>
                  <a:gd name="connsiteY14" fmla="*/ 823913 h 1685925"/>
                  <a:gd name="connsiteX15" fmla="*/ 6831806 w 7889081"/>
                  <a:gd name="connsiteY15" fmla="*/ 931069 h 1685925"/>
                  <a:gd name="connsiteX16" fmla="*/ 6788944 w 7889081"/>
                  <a:gd name="connsiteY16" fmla="*/ 1000125 h 1685925"/>
                  <a:gd name="connsiteX17" fmla="*/ 6796088 w 7889081"/>
                  <a:gd name="connsiteY17" fmla="*/ 1035844 h 1685925"/>
                  <a:gd name="connsiteX18" fmla="*/ 6734175 w 7889081"/>
                  <a:gd name="connsiteY18" fmla="*/ 1047750 h 1685925"/>
                  <a:gd name="connsiteX19" fmla="*/ 6753225 w 7889081"/>
                  <a:gd name="connsiteY19" fmla="*/ 1047750 h 1685925"/>
                  <a:gd name="connsiteX20" fmla="*/ 6719888 w 7889081"/>
                  <a:gd name="connsiteY20" fmla="*/ 1078706 h 1685925"/>
                  <a:gd name="connsiteX21" fmla="*/ 6619875 w 7889081"/>
                  <a:gd name="connsiteY21" fmla="*/ 1078707 h 1685925"/>
                  <a:gd name="connsiteX22" fmla="*/ 6524625 w 7889081"/>
                  <a:gd name="connsiteY22" fmla="*/ 1133475 h 1685925"/>
                  <a:gd name="connsiteX23" fmla="*/ 6443663 w 7889081"/>
                  <a:gd name="connsiteY23" fmla="*/ 1143000 h 1685925"/>
                  <a:gd name="connsiteX24" fmla="*/ 6403181 w 7889081"/>
                  <a:gd name="connsiteY24" fmla="*/ 1176338 h 1685925"/>
                  <a:gd name="connsiteX25" fmla="*/ 6353175 w 7889081"/>
                  <a:gd name="connsiteY25" fmla="*/ 1181100 h 1685925"/>
                  <a:gd name="connsiteX26" fmla="*/ 6231732 w 7889081"/>
                  <a:gd name="connsiteY26" fmla="*/ 1273969 h 1685925"/>
                  <a:gd name="connsiteX27" fmla="*/ 6172200 w 7889081"/>
                  <a:gd name="connsiteY27" fmla="*/ 1278731 h 1685925"/>
                  <a:gd name="connsiteX28" fmla="*/ 6119813 w 7889081"/>
                  <a:gd name="connsiteY28" fmla="*/ 1243013 h 1685925"/>
                  <a:gd name="connsiteX29" fmla="*/ 6093619 w 7889081"/>
                  <a:gd name="connsiteY29" fmla="*/ 1278731 h 1685925"/>
                  <a:gd name="connsiteX30" fmla="*/ 5895975 w 7889081"/>
                  <a:gd name="connsiteY30" fmla="*/ 1271588 h 1685925"/>
                  <a:gd name="connsiteX31" fmla="*/ 5834063 w 7889081"/>
                  <a:gd name="connsiteY31" fmla="*/ 1226344 h 1685925"/>
                  <a:gd name="connsiteX32" fmla="*/ 5636419 w 7889081"/>
                  <a:gd name="connsiteY32" fmla="*/ 1243013 h 1685925"/>
                  <a:gd name="connsiteX33" fmla="*/ 5548313 w 7889081"/>
                  <a:gd name="connsiteY33" fmla="*/ 1159668 h 1685925"/>
                  <a:gd name="connsiteX34" fmla="*/ 5472113 w 7889081"/>
                  <a:gd name="connsiteY34" fmla="*/ 1114425 h 1685925"/>
                  <a:gd name="connsiteX35" fmla="*/ 5474493 w 7889081"/>
                  <a:gd name="connsiteY35" fmla="*/ 1057275 h 1685925"/>
                  <a:gd name="connsiteX36" fmla="*/ 5455444 w 7889081"/>
                  <a:gd name="connsiteY36" fmla="*/ 1014412 h 1685925"/>
                  <a:gd name="connsiteX37" fmla="*/ 5360194 w 7889081"/>
                  <a:gd name="connsiteY37" fmla="*/ 1016794 h 1685925"/>
                  <a:gd name="connsiteX38" fmla="*/ 5264944 w 7889081"/>
                  <a:gd name="connsiteY38" fmla="*/ 995363 h 1685925"/>
                  <a:gd name="connsiteX39" fmla="*/ 5195887 w 7889081"/>
                  <a:gd name="connsiteY39" fmla="*/ 928687 h 1685925"/>
                  <a:gd name="connsiteX40" fmla="*/ 5160169 w 7889081"/>
                  <a:gd name="connsiteY40" fmla="*/ 885825 h 1685925"/>
                  <a:gd name="connsiteX41" fmla="*/ 5079206 w 7889081"/>
                  <a:gd name="connsiteY41" fmla="*/ 862012 h 1685925"/>
                  <a:gd name="connsiteX42" fmla="*/ 5005388 w 7889081"/>
                  <a:gd name="connsiteY42" fmla="*/ 873918 h 1685925"/>
                  <a:gd name="connsiteX43" fmla="*/ 4948237 w 7889081"/>
                  <a:gd name="connsiteY43" fmla="*/ 821531 h 1685925"/>
                  <a:gd name="connsiteX44" fmla="*/ 4852988 w 7889081"/>
                  <a:gd name="connsiteY44" fmla="*/ 833438 h 1685925"/>
                  <a:gd name="connsiteX45" fmla="*/ 4800600 w 7889081"/>
                  <a:gd name="connsiteY45" fmla="*/ 807244 h 1685925"/>
                  <a:gd name="connsiteX46" fmla="*/ 4719638 w 7889081"/>
                  <a:gd name="connsiteY46" fmla="*/ 850106 h 1685925"/>
                  <a:gd name="connsiteX47" fmla="*/ 4581525 w 7889081"/>
                  <a:gd name="connsiteY47" fmla="*/ 873919 h 1685925"/>
                  <a:gd name="connsiteX48" fmla="*/ 4452938 w 7889081"/>
                  <a:gd name="connsiteY48" fmla="*/ 966788 h 1685925"/>
                  <a:gd name="connsiteX49" fmla="*/ 4405312 w 7889081"/>
                  <a:gd name="connsiteY49" fmla="*/ 928688 h 1685925"/>
                  <a:gd name="connsiteX50" fmla="*/ 4383881 w 7889081"/>
                  <a:gd name="connsiteY50" fmla="*/ 959643 h 1685925"/>
                  <a:gd name="connsiteX51" fmla="*/ 4310063 w 7889081"/>
                  <a:gd name="connsiteY51" fmla="*/ 909638 h 1685925"/>
                  <a:gd name="connsiteX52" fmla="*/ 4271963 w 7889081"/>
                  <a:gd name="connsiteY52" fmla="*/ 916781 h 1685925"/>
                  <a:gd name="connsiteX53" fmla="*/ 4250531 w 7889081"/>
                  <a:gd name="connsiteY53" fmla="*/ 878681 h 1685925"/>
                  <a:gd name="connsiteX54" fmla="*/ 4191000 w 7889081"/>
                  <a:gd name="connsiteY54" fmla="*/ 883444 h 1685925"/>
                  <a:gd name="connsiteX55" fmla="*/ 4145756 w 7889081"/>
                  <a:gd name="connsiteY55" fmla="*/ 854869 h 1685925"/>
                  <a:gd name="connsiteX56" fmla="*/ 4107656 w 7889081"/>
                  <a:gd name="connsiteY56" fmla="*/ 852488 h 1685925"/>
                  <a:gd name="connsiteX57" fmla="*/ 4088606 w 7889081"/>
                  <a:gd name="connsiteY57" fmla="*/ 804862 h 1685925"/>
                  <a:gd name="connsiteX58" fmla="*/ 4074319 w 7889081"/>
                  <a:gd name="connsiteY58" fmla="*/ 773906 h 1685925"/>
                  <a:gd name="connsiteX59" fmla="*/ 4029075 w 7889081"/>
                  <a:gd name="connsiteY59" fmla="*/ 783431 h 1685925"/>
                  <a:gd name="connsiteX60" fmla="*/ 4010025 w 7889081"/>
                  <a:gd name="connsiteY60" fmla="*/ 747713 h 1685925"/>
                  <a:gd name="connsiteX61" fmla="*/ 4031457 w 7889081"/>
                  <a:gd name="connsiteY61" fmla="*/ 692944 h 1685925"/>
                  <a:gd name="connsiteX62" fmla="*/ 4000500 w 7889081"/>
                  <a:gd name="connsiteY62" fmla="*/ 666750 h 1685925"/>
                  <a:gd name="connsiteX63" fmla="*/ 4017169 w 7889081"/>
                  <a:gd name="connsiteY63" fmla="*/ 623888 h 1685925"/>
                  <a:gd name="connsiteX64" fmla="*/ 3990975 w 7889081"/>
                  <a:gd name="connsiteY64" fmla="*/ 581025 h 1685925"/>
                  <a:gd name="connsiteX65" fmla="*/ 3986213 w 7889081"/>
                  <a:gd name="connsiteY65" fmla="*/ 519113 h 1685925"/>
                  <a:gd name="connsiteX66" fmla="*/ 4010025 w 7889081"/>
                  <a:gd name="connsiteY66" fmla="*/ 454818 h 1685925"/>
                  <a:gd name="connsiteX67" fmla="*/ 3971925 w 7889081"/>
                  <a:gd name="connsiteY67" fmla="*/ 457200 h 1685925"/>
                  <a:gd name="connsiteX68" fmla="*/ 3852863 w 7889081"/>
                  <a:gd name="connsiteY68" fmla="*/ 400050 h 1685925"/>
                  <a:gd name="connsiteX69" fmla="*/ 3814762 w 7889081"/>
                  <a:gd name="connsiteY69" fmla="*/ 404812 h 1685925"/>
                  <a:gd name="connsiteX70" fmla="*/ 3609975 w 7889081"/>
                  <a:gd name="connsiteY70" fmla="*/ 295275 h 1685925"/>
                  <a:gd name="connsiteX71" fmla="*/ 3505200 w 7889081"/>
                  <a:gd name="connsiteY71" fmla="*/ 264319 h 1685925"/>
                  <a:gd name="connsiteX72" fmla="*/ 3440906 w 7889081"/>
                  <a:gd name="connsiteY72" fmla="*/ 273843 h 1685925"/>
                  <a:gd name="connsiteX73" fmla="*/ 3409950 w 7889081"/>
                  <a:gd name="connsiteY73" fmla="*/ 209550 h 1685925"/>
                  <a:gd name="connsiteX74" fmla="*/ 3352800 w 7889081"/>
                  <a:gd name="connsiteY74" fmla="*/ 209550 h 1685925"/>
                  <a:gd name="connsiteX75" fmla="*/ 3214687 w 7889081"/>
                  <a:gd name="connsiteY75" fmla="*/ 104775 h 1685925"/>
                  <a:gd name="connsiteX76" fmla="*/ 3181350 w 7889081"/>
                  <a:gd name="connsiteY76" fmla="*/ 164307 h 1685925"/>
                  <a:gd name="connsiteX77" fmla="*/ 3126581 w 7889081"/>
                  <a:gd name="connsiteY77" fmla="*/ 233363 h 1685925"/>
                  <a:gd name="connsiteX78" fmla="*/ 3083719 w 7889081"/>
                  <a:gd name="connsiteY78" fmla="*/ 250031 h 1685925"/>
                  <a:gd name="connsiteX79" fmla="*/ 3052763 w 7889081"/>
                  <a:gd name="connsiteY79" fmla="*/ 242888 h 1685925"/>
                  <a:gd name="connsiteX80" fmla="*/ 3028950 w 7889081"/>
                  <a:gd name="connsiteY80" fmla="*/ 271463 h 1685925"/>
                  <a:gd name="connsiteX81" fmla="*/ 3002756 w 7889081"/>
                  <a:gd name="connsiteY81" fmla="*/ 350044 h 1685925"/>
                  <a:gd name="connsiteX82" fmla="*/ 2959894 w 7889081"/>
                  <a:gd name="connsiteY82" fmla="*/ 347663 h 1685925"/>
                  <a:gd name="connsiteX83" fmla="*/ 2928937 w 7889081"/>
                  <a:gd name="connsiteY83" fmla="*/ 409575 h 1685925"/>
                  <a:gd name="connsiteX84" fmla="*/ 2924175 w 7889081"/>
                  <a:gd name="connsiteY84" fmla="*/ 473869 h 1685925"/>
                  <a:gd name="connsiteX85" fmla="*/ 2897982 w 7889081"/>
                  <a:gd name="connsiteY85" fmla="*/ 511969 h 1685925"/>
                  <a:gd name="connsiteX86" fmla="*/ 2924175 w 7889081"/>
                  <a:gd name="connsiteY86" fmla="*/ 571500 h 1685925"/>
                  <a:gd name="connsiteX87" fmla="*/ 2926556 w 7889081"/>
                  <a:gd name="connsiteY87" fmla="*/ 640556 h 1685925"/>
                  <a:gd name="connsiteX88" fmla="*/ 2955131 w 7889081"/>
                  <a:gd name="connsiteY88" fmla="*/ 692944 h 1685925"/>
                  <a:gd name="connsiteX89" fmla="*/ 3002757 w 7889081"/>
                  <a:gd name="connsiteY89" fmla="*/ 747713 h 1685925"/>
                  <a:gd name="connsiteX90" fmla="*/ 2952750 w 7889081"/>
                  <a:gd name="connsiteY90" fmla="*/ 885825 h 1685925"/>
                  <a:gd name="connsiteX91" fmla="*/ 2883694 w 7889081"/>
                  <a:gd name="connsiteY91" fmla="*/ 952500 h 1685925"/>
                  <a:gd name="connsiteX92" fmla="*/ 2812256 w 7889081"/>
                  <a:gd name="connsiteY92" fmla="*/ 947738 h 1685925"/>
                  <a:gd name="connsiteX93" fmla="*/ 2774156 w 7889081"/>
                  <a:gd name="connsiteY93" fmla="*/ 1004888 h 1685925"/>
                  <a:gd name="connsiteX94" fmla="*/ 2714625 w 7889081"/>
                  <a:gd name="connsiteY94" fmla="*/ 1019175 h 1685925"/>
                  <a:gd name="connsiteX95" fmla="*/ 2645569 w 7889081"/>
                  <a:gd name="connsiteY95" fmla="*/ 959644 h 1685925"/>
                  <a:gd name="connsiteX96" fmla="*/ 2590800 w 7889081"/>
                  <a:gd name="connsiteY96" fmla="*/ 931069 h 1685925"/>
                  <a:gd name="connsiteX97" fmla="*/ 2547938 w 7889081"/>
                  <a:gd name="connsiteY97" fmla="*/ 945356 h 1685925"/>
                  <a:gd name="connsiteX98" fmla="*/ 2495550 w 7889081"/>
                  <a:gd name="connsiteY98" fmla="*/ 928688 h 1685925"/>
                  <a:gd name="connsiteX99" fmla="*/ 2428875 w 7889081"/>
                  <a:gd name="connsiteY99" fmla="*/ 873919 h 1685925"/>
                  <a:gd name="connsiteX100" fmla="*/ 2383631 w 7889081"/>
                  <a:gd name="connsiteY100" fmla="*/ 885825 h 1685925"/>
                  <a:gd name="connsiteX101" fmla="*/ 2362200 w 7889081"/>
                  <a:gd name="connsiteY101" fmla="*/ 854869 h 1685925"/>
                  <a:gd name="connsiteX102" fmla="*/ 2305050 w 7889081"/>
                  <a:gd name="connsiteY102" fmla="*/ 895350 h 1685925"/>
                  <a:gd name="connsiteX103" fmla="*/ 2188369 w 7889081"/>
                  <a:gd name="connsiteY103" fmla="*/ 873919 h 1685925"/>
                  <a:gd name="connsiteX104" fmla="*/ 2138363 w 7889081"/>
                  <a:gd name="connsiteY104" fmla="*/ 821531 h 1685925"/>
                  <a:gd name="connsiteX105" fmla="*/ 2095500 w 7889081"/>
                  <a:gd name="connsiteY105" fmla="*/ 807244 h 1685925"/>
                  <a:gd name="connsiteX106" fmla="*/ 2052638 w 7889081"/>
                  <a:gd name="connsiteY106" fmla="*/ 833438 h 1685925"/>
                  <a:gd name="connsiteX107" fmla="*/ 2000250 w 7889081"/>
                  <a:gd name="connsiteY107" fmla="*/ 742950 h 1685925"/>
                  <a:gd name="connsiteX108" fmla="*/ 1990725 w 7889081"/>
                  <a:gd name="connsiteY108" fmla="*/ 595312 h 1685925"/>
                  <a:gd name="connsiteX109" fmla="*/ 1938337 w 7889081"/>
                  <a:gd name="connsiteY109" fmla="*/ 588168 h 1685925"/>
                  <a:gd name="connsiteX110" fmla="*/ 1847850 w 7889081"/>
                  <a:gd name="connsiteY110" fmla="*/ 578644 h 1685925"/>
                  <a:gd name="connsiteX111" fmla="*/ 1793081 w 7889081"/>
                  <a:gd name="connsiteY111" fmla="*/ 540544 h 1685925"/>
                  <a:gd name="connsiteX112" fmla="*/ 1724025 w 7889081"/>
                  <a:gd name="connsiteY112" fmla="*/ 550069 h 1685925"/>
                  <a:gd name="connsiteX113" fmla="*/ 1678781 w 7889081"/>
                  <a:gd name="connsiteY113" fmla="*/ 523875 h 1685925"/>
                  <a:gd name="connsiteX114" fmla="*/ 1669257 w 7889081"/>
                  <a:gd name="connsiteY114" fmla="*/ 452438 h 1685925"/>
                  <a:gd name="connsiteX115" fmla="*/ 1645444 w 7889081"/>
                  <a:gd name="connsiteY115" fmla="*/ 438150 h 1685925"/>
                  <a:gd name="connsiteX116" fmla="*/ 1607344 w 7889081"/>
                  <a:gd name="connsiteY116" fmla="*/ 485774 h 1685925"/>
                  <a:gd name="connsiteX117" fmla="*/ 1528762 w 7889081"/>
                  <a:gd name="connsiteY117" fmla="*/ 411956 h 1685925"/>
                  <a:gd name="connsiteX118" fmla="*/ 1488281 w 7889081"/>
                  <a:gd name="connsiteY118" fmla="*/ 452438 h 1685925"/>
                  <a:gd name="connsiteX119" fmla="*/ 1412081 w 7889081"/>
                  <a:gd name="connsiteY119" fmla="*/ 438150 h 1685925"/>
                  <a:gd name="connsiteX120" fmla="*/ 1333500 w 7889081"/>
                  <a:gd name="connsiteY120" fmla="*/ 464344 h 1685925"/>
                  <a:gd name="connsiteX121" fmla="*/ 1273969 w 7889081"/>
                  <a:gd name="connsiteY121" fmla="*/ 511968 h 1685925"/>
                  <a:gd name="connsiteX122" fmla="*/ 1200150 w 7889081"/>
                  <a:gd name="connsiteY122" fmla="*/ 523875 h 1685925"/>
                  <a:gd name="connsiteX123" fmla="*/ 1164431 w 7889081"/>
                  <a:gd name="connsiteY123" fmla="*/ 516731 h 1685925"/>
                  <a:gd name="connsiteX124" fmla="*/ 1085851 w 7889081"/>
                  <a:gd name="connsiteY124" fmla="*/ 547688 h 1685925"/>
                  <a:gd name="connsiteX125" fmla="*/ 1064419 w 7889081"/>
                  <a:gd name="connsiteY125" fmla="*/ 576263 h 1685925"/>
                  <a:gd name="connsiteX126" fmla="*/ 997744 w 7889081"/>
                  <a:gd name="connsiteY126" fmla="*/ 566738 h 1685925"/>
                  <a:gd name="connsiteX127" fmla="*/ 928688 w 7889081"/>
                  <a:gd name="connsiteY127" fmla="*/ 590550 h 1685925"/>
                  <a:gd name="connsiteX128" fmla="*/ 873919 w 7889081"/>
                  <a:gd name="connsiteY128" fmla="*/ 628650 h 1685925"/>
                  <a:gd name="connsiteX129" fmla="*/ 778669 w 7889081"/>
                  <a:gd name="connsiteY129" fmla="*/ 642937 h 1685925"/>
                  <a:gd name="connsiteX130" fmla="*/ 764381 w 7889081"/>
                  <a:gd name="connsiteY130" fmla="*/ 664369 h 1685925"/>
                  <a:gd name="connsiteX131" fmla="*/ 776287 w 7889081"/>
                  <a:gd name="connsiteY131" fmla="*/ 709613 h 1685925"/>
                  <a:gd name="connsiteX132" fmla="*/ 676276 w 7889081"/>
                  <a:gd name="connsiteY132" fmla="*/ 762000 h 1685925"/>
                  <a:gd name="connsiteX133" fmla="*/ 638175 w 7889081"/>
                  <a:gd name="connsiteY133" fmla="*/ 733424 h 1685925"/>
                  <a:gd name="connsiteX134" fmla="*/ 607219 w 7889081"/>
                  <a:gd name="connsiteY134" fmla="*/ 790575 h 1685925"/>
                  <a:gd name="connsiteX135" fmla="*/ 550069 w 7889081"/>
                  <a:gd name="connsiteY135" fmla="*/ 752475 h 1685925"/>
                  <a:gd name="connsiteX136" fmla="*/ 514350 w 7889081"/>
                  <a:gd name="connsiteY136" fmla="*/ 781050 h 1685925"/>
                  <a:gd name="connsiteX137" fmla="*/ 478631 w 7889081"/>
                  <a:gd name="connsiteY137" fmla="*/ 745331 h 1685925"/>
                  <a:gd name="connsiteX138" fmla="*/ 426244 w 7889081"/>
                  <a:gd name="connsiteY138" fmla="*/ 757238 h 1685925"/>
                  <a:gd name="connsiteX139" fmla="*/ 381000 w 7889081"/>
                  <a:gd name="connsiteY139" fmla="*/ 728663 h 1685925"/>
                  <a:gd name="connsiteX140" fmla="*/ 357188 w 7889081"/>
                  <a:gd name="connsiteY140" fmla="*/ 747713 h 1685925"/>
                  <a:gd name="connsiteX141" fmla="*/ 333375 w 7889081"/>
                  <a:gd name="connsiteY141" fmla="*/ 807244 h 1685925"/>
                  <a:gd name="connsiteX142" fmla="*/ 261938 w 7889081"/>
                  <a:gd name="connsiteY142" fmla="*/ 845343 h 1685925"/>
                  <a:gd name="connsiteX143" fmla="*/ 209550 w 7889081"/>
                  <a:gd name="connsiteY143" fmla="*/ 816769 h 1685925"/>
                  <a:gd name="connsiteX144" fmla="*/ 119063 w 7889081"/>
                  <a:gd name="connsiteY144" fmla="*/ 826294 h 1685925"/>
                  <a:gd name="connsiteX145" fmla="*/ 71437 w 7889081"/>
                  <a:gd name="connsiteY145" fmla="*/ 792957 h 1685925"/>
                  <a:gd name="connsiteX146" fmla="*/ 0 w 7889081"/>
                  <a:gd name="connsiteY146" fmla="*/ 812006 h 1685925"/>
                  <a:gd name="connsiteX147" fmla="*/ 4762 w 7889081"/>
                  <a:gd name="connsiteY147" fmla="*/ 0 h 1685925"/>
                  <a:gd name="connsiteX148" fmla="*/ 7889081 w 7889081"/>
                  <a:gd name="connsiteY148" fmla="*/ 1557337 h 1685925"/>
                  <a:gd name="connsiteX149" fmla="*/ 7798594 w 7889081"/>
                  <a:gd name="connsiteY149" fmla="*/ 1593056 h 1685925"/>
                  <a:gd name="connsiteX150" fmla="*/ 7724775 w 7889081"/>
                  <a:gd name="connsiteY150" fmla="*/ 1590675 h 1685925"/>
                  <a:gd name="connsiteX151" fmla="*/ 7667625 w 7889081"/>
                  <a:gd name="connsiteY151" fmla="*/ 1685925 h 1685925"/>
                  <a:gd name="connsiteX152" fmla="*/ 7529513 w 7889081"/>
                  <a:gd name="connsiteY152" fmla="*/ 1588294 h 1685925"/>
                  <a:gd name="connsiteX0" fmla="*/ 7529513 w 7798594"/>
                  <a:gd name="connsiteY0" fmla="*/ 1588294 h 1685925"/>
                  <a:gd name="connsiteX1" fmla="*/ 7522369 w 7798594"/>
                  <a:gd name="connsiteY1" fmla="*/ 1533525 h 1685925"/>
                  <a:gd name="connsiteX2" fmla="*/ 7589044 w 7798594"/>
                  <a:gd name="connsiteY2" fmla="*/ 1459706 h 1685925"/>
                  <a:gd name="connsiteX3" fmla="*/ 7572375 w 7798594"/>
                  <a:gd name="connsiteY3" fmla="*/ 1388269 h 1685925"/>
                  <a:gd name="connsiteX4" fmla="*/ 7586663 w 7798594"/>
                  <a:gd name="connsiteY4" fmla="*/ 1293019 h 1685925"/>
                  <a:gd name="connsiteX5" fmla="*/ 7624763 w 7798594"/>
                  <a:gd name="connsiteY5" fmla="*/ 1235869 h 1685925"/>
                  <a:gd name="connsiteX6" fmla="*/ 7605712 w 7798594"/>
                  <a:gd name="connsiteY6" fmla="*/ 1202531 h 1685925"/>
                  <a:gd name="connsiteX7" fmla="*/ 7703343 w 7798594"/>
                  <a:gd name="connsiteY7" fmla="*/ 802481 h 1685925"/>
                  <a:gd name="connsiteX8" fmla="*/ 7696200 w 7798594"/>
                  <a:gd name="connsiteY8" fmla="*/ 773906 h 1685925"/>
                  <a:gd name="connsiteX9" fmla="*/ 7567613 w 7798594"/>
                  <a:gd name="connsiteY9" fmla="*/ 752475 h 1685925"/>
                  <a:gd name="connsiteX10" fmla="*/ 7384257 w 7798594"/>
                  <a:gd name="connsiteY10" fmla="*/ 831056 h 1685925"/>
                  <a:gd name="connsiteX11" fmla="*/ 7227093 w 7798594"/>
                  <a:gd name="connsiteY11" fmla="*/ 716756 h 1685925"/>
                  <a:gd name="connsiteX12" fmla="*/ 7150894 w 7798594"/>
                  <a:gd name="connsiteY12" fmla="*/ 723900 h 1685925"/>
                  <a:gd name="connsiteX13" fmla="*/ 7077075 w 7798594"/>
                  <a:gd name="connsiteY13" fmla="*/ 719138 h 1685925"/>
                  <a:gd name="connsiteX14" fmla="*/ 6938963 w 7798594"/>
                  <a:gd name="connsiteY14" fmla="*/ 823913 h 1685925"/>
                  <a:gd name="connsiteX15" fmla="*/ 6831806 w 7798594"/>
                  <a:gd name="connsiteY15" fmla="*/ 931069 h 1685925"/>
                  <a:gd name="connsiteX16" fmla="*/ 6788944 w 7798594"/>
                  <a:gd name="connsiteY16" fmla="*/ 1000125 h 1685925"/>
                  <a:gd name="connsiteX17" fmla="*/ 6796088 w 7798594"/>
                  <a:gd name="connsiteY17" fmla="*/ 1035844 h 1685925"/>
                  <a:gd name="connsiteX18" fmla="*/ 6734175 w 7798594"/>
                  <a:gd name="connsiteY18" fmla="*/ 1047750 h 1685925"/>
                  <a:gd name="connsiteX19" fmla="*/ 6753225 w 7798594"/>
                  <a:gd name="connsiteY19" fmla="*/ 1047750 h 1685925"/>
                  <a:gd name="connsiteX20" fmla="*/ 6719888 w 7798594"/>
                  <a:gd name="connsiteY20" fmla="*/ 1078706 h 1685925"/>
                  <a:gd name="connsiteX21" fmla="*/ 6619875 w 7798594"/>
                  <a:gd name="connsiteY21" fmla="*/ 1078707 h 1685925"/>
                  <a:gd name="connsiteX22" fmla="*/ 6524625 w 7798594"/>
                  <a:gd name="connsiteY22" fmla="*/ 1133475 h 1685925"/>
                  <a:gd name="connsiteX23" fmla="*/ 6443663 w 7798594"/>
                  <a:gd name="connsiteY23" fmla="*/ 1143000 h 1685925"/>
                  <a:gd name="connsiteX24" fmla="*/ 6403181 w 7798594"/>
                  <a:gd name="connsiteY24" fmla="*/ 1176338 h 1685925"/>
                  <a:gd name="connsiteX25" fmla="*/ 6353175 w 7798594"/>
                  <a:gd name="connsiteY25" fmla="*/ 1181100 h 1685925"/>
                  <a:gd name="connsiteX26" fmla="*/ 6231732 w 7798594"/>
                  <a:gd name="connsiteY26" fmla="*/ 1273969 h 1685925"/>
                  <a:gd name="connsiteX27" fmla="*/ 6172200 w 7798594"/>
                  <a:gd name="connsiteY27" fmla="*/ 1278731 h 1685925"/>
                  <a:gd name="connsiteX28" fmla="*/ 6119813 w 7798594"/>
                  <a:gd name="connsiteY28" fmla="*/ 1243013 h 1685925"/>
                  <a:gd name="connsiteX29" fmla="*/ 6093619 w 7798594"/>
                  <a:gd name="connsiteY29" fmla="*/ 1278731 h 1685925"/>
                  <a:gd name="connsiteX30" fmla="*/ 5895975 w 7798594"/>
                  <a:gd name="connsiteY30" fmla="*/ 1271588 h 1685925"/>
                  <a:gd name="connsiteX31" fmla="*/ 5834063 w 7798594"/>
                  <a:gd name="connsiteY31" fmla="*/ 1226344 h 1685925"/>
                  <a:gd name="connsiteX32" fmla="*/ 5636419 w 7798594"/>
                  <a:gd name="connsiteY32" fmla="*/ 1243013 h 1685925"/>
                  <a:gd name="connsiteX33" fmla="*/ 5548313 w 7798594"/>
                  <a:gd name="connsiteY33" fmla="*/ 1159668 h 1685925"/>
                  <a:gd name="connsiteX34" fmla="*/ 5472113 w 7798594"/>
                  <a:gd name="connsiteY34" fmla="*/ 1114425 h 1685925"/>
                  <a:gd name="connsiteX35" fmla="*/ 5474493 w 7798594"/>
                  <a:gd name="connsiteY35" fmla="*/ 1057275 h 1685925"/>
                  <a:gd name="connsiteX36" fmla="*/ 5455444 w 7798594"/>
                  <a:gd name="connsiteY36" fmla="*/ 1014412 h 1685925"/>
                  <a:gd name="connsiteX37" fmla="*/ 5360194 w 7798594"/>
                  <a:gd name="connsiteY37" fmla="*/ 1016794 h 1685925"/>
                  <a:gd name="connsiteX38" fmla="*/ 5264944 w 7798594"/>
                  <a:gd name="connsiteY38" fmla="*/ 995363 h 1685925"/>
                  <a:gd name="connsiteX39" fmla="*/ 5195887 w 7798594"/>
                  <a:gd name="connsiteY39" fmla="*/ 928687 h 1685925"/>
                  <a:gd name="connsiteX40" fmla="*/ 5160169 w 7798594"/>
                  <a:gd name="connsiteY40" fmla="*/ 885825 h 1685925"/>
                  <a:gd name="connsiteX41" fmla="*/ 5079206 w 7798594"/>
                  <a:gd name="connsiteY41" fmla="*/ 862012 h 1685925"/>
                  <a:gd name="connsiteX42" fmla="*/ 5005388 w 7798594"/>
                  <a:gd name="connsiteY42" fmla="*/ 873918 h 1685925"/>
                  <a:gd name="connsiteX43" fmla="*/ 4948237 w 7798594"/>
                  <a:gd name="connsiteY43" fmla="*/ 821531 h 1685925"/>
                  <a:gd name="connsiteX44" fmla="*/ 4852988 w 7798594"/>
                  <a:gd name="connsiteY44" fmla="*/ 833438 h 1685925"/>
                  <a:gd name="connsiteX45" fmla="*/ 4800600 w 7798594"/>
                  <a:gd name="connsiteY45" fmla="*/ 807244 h 1685925"/>
                  <a:gd name="connsiteX46" fmla="*/ 4719638 w 7798594"/>
                  <a:gd name="connsiteY46" fmla="*/ 850106 h 1685925"/>
                  <a:gd name="connsiteX47" fmla="*/ 4581525 w 7798594"/>
                  <a:gd name="connsiteY47" fmla="*/ 873919 h 1685925"/>
                  <a:gd name="connsiteX48" fmla="*/ 4452938 w 7798594"/>
                  <a:gd name="connsiteY48" fmla="*/ 966788 h 1685925"/>
                  <a:gd name="connsiteX49" fmla="*/ 4405312 w 7798594"/>
                  <a:gd name="connsiteY49" fmla="*/ 928688 h 1685925"/>
                  <a:gd name="connsiteX50" fmla="*/ 4383881 w 7798594"/>
                  <a:gd name="connsiteY50" fmla="*/ 959643 h 1685925"/>
                  <a:gd name="connsiteX51" fmla="*/ 4310063 w 7798594"/>
                  <a:gd name="connsiteY51" fmla="*/ 909638 h 1685925"/>
                  <a:gd name="connsiteX52" fmla="*/ 4271963 w 7798594"/>
                  <a:gd name="connsiteY52" fmla="*/ 916781 h 1685925"/>
                  <a:gd name="connsiteX53" fmla="*/ 4250531 w 7798594"/>
                  <a:gd name="connsiteY53" fmla="*/ 878681 h 1685925"/>
                  <a:gd name="connsiteX54" fmla="*/ 4191000 w 7798594"/>
                  <a:gd name="connsiteY54" fmla="*/ 883444 h 1685925"/>
                  <a:gd name="connsiteX55" fmla="*/ 4145756 w 7798594"/>
                  <a:gd name="connsiteY55" fmla="*/ 854869 h 1685925"/>
                  <a:gd name="connsiteX56" fmla="*/ 4107656 w 7798594"/>
                  <a:gd name="connsiteY56" fmla="*/ 852488 h 1685925"/>
                  <a:gd name="connsiteX57" fmla="*/ 4088606 w 7798594"/>
                  <a:gd name="connsiteY57" fmla="*/ 804862 h 1685925"/>
                  <a:gd name="connsiteX58" fmla="*/ 4074319 w 7798594"/>
                  <a:gd name="connsiteY58" fmla="*/ 773906 h 1685925"/>
                  <a:gd name="connsiteX59" fmla="*/ 4029075 w 7798594"/>
                  <a:gd name="connsiteY59" fmla="*/ 783431 h 1685925"/>
                  <a:gd name="connsiteX60" fmla="*/ 4010025 w 7798594"/>
                  <a:gd name="connsiteY60" fmla="*/ 747713 h 1685925"/>
                  <a:gd name="connsiteX61" fmla="*/ 4031457 w 7798594"/>
                  <a:gd name="connsiteY61" fmla="*/ 692944 h 1685925"/>
                  <a:gd name="connsiteX62" fmla="*/ 4000500 w 7798594"/>
                  <a:gd name="connsiteY62" fmla="*/ 666750 h 1685925"/>
                  <a:gd name="connsiteX63" fmla="*/ 4017169 w 7798594"/>
                  <a:gd name="connsiteY63" fmla="*/ 623888 h 1685925"/>
                  <a:gd name="connsiteX64" fmla="*/ 3990975 w 7798594"/>
                  <a:gd name="connsiteY64" fmla="*/ 581025 h 1685925"/>
                  <a:gd name="connsiteX65" fmla="*/ 3986213 w 7798594"/>
                  <a:gd name="connsiteY65" fmla="*/ 519113 h 1685925"/>
                  <a:gd name="connsiteX66" fmla="*/ 4010025 w 7798594"/>
                  <a:gd name="connsiteY66" fmla="*/ 454818 h 1685925"/>
                  <a:gd name="connsiteX67" fmla="*/ 3971925 w 7798594"/>
                  <a:gd name="connsiteY67" fmla="*/ 457200 h 1685925"/>
                  <a:gd name="connsiteX68" fmla="*/ 3852863 w 7798594"/>
                  <a:gd name="connsiteY68" fmla="*/ 400050 h 1685925"/>
                  <a:gd name="connsiteX69" fmla="*/ 3814762 w 7798594"/>
                  <a:gd name="connsiteY69" fmla="*/ 404812 h 1685925"/>
                  <a:gd name="connsiteX70" fmla="*/ 3609975 w 7798594"/>
                  <a:gd name="connsiteY70" fmla="*/ 295275 h 1685925"/>
                  <a:gd name="connsiteX71" fmla="*/ 3505200 w 7798594"/>
                  <a:gd name="connsiteY71" fmla="*/ 264319 h 1685925"/>
                  <a:gd name="connsiteX72" fmla="*/ 3440906 w 7798594"/>
                  <a:gd name="connsiteY72" fmla="*/ 273843 h 1685925"/>
                  <a:gd name="connsiteX73" fmla="*/ 3409950 w 7798594"/>
                  <a:gd name="connsiteY73" fmla="*/ 209550 h 1685925"/>
                  <a:gd name="connsiteX74" fmla="*/ 3352800 w 7798594"/>
                  <a:gd name="connsiteY74" fmla="*/ 209550 h 1685925"/>
                  <a:gd name="connsiteX75" fmla="*/ 3214687 w 7798594"/>
                  <a:gd name="connsiteY75" fmla="*/ 104775 h 1685925"/>
                  <a:gd name="connsiteX76" fmla="*/ 3181350 w 7798594"/>
                  <a:gd name="connsiteY76" fmla="*/ 164307 h 1685925"/>
                  <a:gd name="connsiteX77" fmla="*/ 3126581 w 7798594"/>
                  <a:gd name="connsiteY77" fmla="*/ 233363 h 1685925"/>
                  <a:gd name="connsiteX78" fmla="*/ 3083719 w 7798594"/>
                  <a:gd name="connsiteY78" fmla="*/ 250031 h 1685925"/>
                  <a:gd name="connsiteX79" fmla="*/ 3052763 w 7798594"/>
                  <a:gd name="connsiteY79" fmla="*/ 242888 h 1685925"/>
                  <a:gd name="connsiteX80" fmla="*/ 3028950 w 7798594"/>
                  <a:gd name="connsiteY80" fmla="*/ 271463 h 1685925"/>
                  <a:gd name="connsiteX81" fmla="*/ 3002756 w 7798594"/>
                  <a:gd name="connsiteY81" fmla="*/ 350044 h 1685925"/>
                  <a:gd name="connsiteX82" fmla="*/ 2959894 w 7798594"/>
                  <a:gd name="connsiteY82" fmla="*/ 347663 h 1685925"/>
                  <a:gd name="connsiteX83" fmla="*/ 2928937 w 7798594"/>
                  <a:gd name="connsiteY83" fmla="*/ 409575 h 1685925"/>
                  <a:gd name="connsiteX84" fmla="*/ 2924175 w 7798594"/>
                  <a:gd name="connsiteY84" fmla="*/ 473869 h 1685925"/>
                  <a:gd name="connsiteX85" fmla="*/ 2897982 w 7798594"/>
                  <a:gd name="connsiteY85" fmla="*/ 511969 h 1685925"/>
                  <a:gd name="connsiteX86" fmla="*/ 2924175 w 7798594"/>
                  <a:gd name="connsiteY86" fmla="*/ 571500 h 1685925"/>
                  <a:gd name="connsiteX87" fmla="*/ 2926556 w 7798594"/>
                  <a:gd name="connsiteY87" fmla="*/ 640556 h 1685925"/>
                  <a:gd name="connsiteX88" fmla="*/ 2955131 w 7798594"/>
                  <a:gd name="connsiteY88" fmla="*/ 692944 h 1685925"/>
                  <a:gd name="connsiteX89" fmla="*/ 3002757 w 7798594"/>
                  <a:gd name="connsiteY89" fmla="*/ 747713 h 1685925"/>
                  <a:gd name="connsiteX90" fmla="*/ 2952750 w 7798594"/>
                  <a:gd name="connsiteY90" fmla="*/ 885825 h 1685925"/>
                  <a:gd name="connsiteX91" fmla="*/ 2883694 w 7798594"/>
                  <a:gd name="connsiteY91" fmla="*/ 952500 h 1685925"/>
                  <a:gd name="connsiteX92" fmla="*/ 2812256 w 7798594"/>
                  <a:gd name="connsiteY92" fmla="*/ 947738 h 1685925"/>
                  <a:gd name="connsiteX93" fmla="*/ 2774156 w 7798594"/>
                  <a:gd name="connsiteY93" fmla="*/ 1004888 h 1685925"/>
                  <a:gd name="connsiteX94" fmla="*/ 2714625 w 7798594"/>
                  <a:gd name="connsiteY94" fmla="*/ 1019175 h 1685925"/>
                  <a:gd name="connsiteX95" fmla="*/ 2645569 w 7798594"/>
                  <a:gd name="connsiteY95" fmla="*/ 959644 h 1685925"/>
                  <a:gd name="connsiteX96" fmla="*/ 2590800 w 7798594"/>
                  <a:gd name="connsiteY96" fmla="*/ 931069 h 1685925"/>
                  <a:gd name="connsiteX97" fmla="*/ 2547938 w 7798594"/>
                  <a:gd name="connsiteY97" fmla="*/ 945356 h 1685925"/>
                  <a:gd name="connsiteX98" fmla="*/ 2495550 w 7798594"/>
                  <a:gd name="connsiteY98" fmla="*/ 928688 h 1685925"/>
                  <a:gd name="connsiteX99" fmla="*/ 2428875 w 7798594"/>
                  <a:gd name="connsiteY99" fmla="*/ 873919 h 1685925"/>
                  <a:gd name="connsiteX100" fmla="*/ 2383631 w 7798594"/>
                  <a:gd name="connsiteY100" fmla="*/ 885825 h 1685925"/>
                  <a:gd name="connsiteX101" fmla="*/ 2362200 w 7798594"/>
                  <a:gd name="connsiteY101" fmla="*/ 854869 h 1685925"/>
                  <a:gd name="connsiteX102" fmla="*/ 2305050 w 7798594"/>
                  <a:gd name="connsiteY102" fmla="*/ 895350 h 1685925"/>
                  <a:gd name="connsiteX103" fmla="*/ 2188369 w 7798594"/>
                  <a:gd name="connsiteY103" fmla="*/ 873919 h 1685925"/>
                  <a:gd name="connsiteX104" fmla="*/ 2138363 w 7798594"/>
                  <a:gd name="connsiteY104" fmla="*/ 821531 h 1685925"/>
                  <a:gd name="connsiteX105" fmla="*/ 2095500 w 7798594"/>
                  <a:gd name="connsiteY105" fmla="*/ 807244 h 1685925"/>
                  <a:gd name="connsiteX106" fmla="*/ 2052638 w 7798594"/>
                  <a:gd name="connsiteY106" fmla="*/ 833438 h 1685925"/>
                  <a:gd name="connsiteX107" fmla="*/ 2000250 w 7798594"/>
                  <a:gd name="connsiteY107" fmla="*/ 742950 h 1685925"/>
                  <a:gd name="connsiteX108" fmla="*/ 1990725 w 7798594"/>
                  <a:gd name="connsiteY108" fmla="*/ 595312 h 1685925"/>
                  <a:gd name="connsiteX109" fmla="*/ 1938337 w 7798594"/>
                  <a:gd name="connsiteY109" fmla="*/ 588168 h 1685925"/>
                  <a:gd name="connsiteX110" fmla="*/ 1847850 w 7798594"/>
                  <a:gd name="connsiteY110" fmla="*/ 578644 h 1685925"/>
                  <a:gd name="connsiteX111" fmla="*/ 1793081 w 7798594"/>
                  <a:gd name="connsiteY111" fmla="*/ 540544 h 1685925"/>
                  <a:gd name="connsiteX112" fmla="*/ 1724025 w 7798594"/>
                  <a:gd name="connsiteY112" fmla="*/ 550069 h 1685925"/>
                  <a:gd name="connsiteX113" fmla="*/ 1678781 w 7798594"/>
                  <a:gd name="connsiteY113" fmla="*/ 523875 h 1685925"/>
                  <a:gd name="connsiteX114" fmla="*/ 1669257 w 7798594"/>
                  <a:gd name="connsiteY114" fmla="*/ 452438 h 1685925"/>
                  <a:gd name="connsiteX115" fmla="*/ 1645444 w 7798594"/>
                  <a:gd name="connsiteY115" fmla="*/ 438150 h 1685925"/>
                  <a:gd name="connsiteX116" fmla="*/ 1607344 w 7798594"/>
                  <a:gd name="connsiteY116" fmla="*/ 485774 h 1685925"/>
                  <a:gd name="connsiteX117" fmla="*/ 1528762 w 7798594"/>
                  <a:gd name="connsiteY117" fmla="*/ 411956 h 1685925"/>
                  <a:gd name="connsiteX118" fmla="*/ 1488281 w 7798594"/>
                  <a:gd name="connsiteY118" fmla="*/ 452438 h 1685925"/>
                  <a:gd name="connsiteX119" fmla="*/ 1412081 w 7798594"/>
                  <a:gd name="connsiteY119" fmla="*/ 438150 h 1685925"/>
                  <a:gd name="connsiteX120" fmla="*/ 1333500 w 7798594"/>
                  <a:gd name="connsiteY120" fmla="*/ 464344 h 1685925"/>
                  <a:gd name="connsiteX121" fmla="*/ 1273969 w 7798594"/>
                  <a:gd name="connsiteY121" fmla="*/ 511968 h 1685925"/>
                  <a:gd name="connsiteX122" fmla="*/ 1200150 w 7798594"/>
                  <a:gd name="connsiteY122" fmla="*/ 523875 h 1685925"/>
                  <a:gd name="connsiteX123" fmla="*/ 1164431 w 7798594"/>
                  <a:gd name="connsiteY123" fmla="*/ 516731 h 1685925"/>
                  <a:gd name="connsiteX124" fmla="*/ 1085851 w 7798594"/>
                  <a:gd name="connsiteY124" fmla="*/ 547688 h 1685925"/>
                  <a:gd name="connsiteX125" fmla="*/ 1064419 w 7798594"/>
                  <a:gd name="connsiteY125" fmla="*/ 576263 h 1685925"/>
                  <a:gd name="connsiteX126" fmla="*/ 997744 w 7798594"/>
                  <a:gd name="connsiteY126" fmla="*/ 566738 h 1685925"/>
                  <a:gd name="connsiteX127" fmla="*/ 928688 w 7798594"/>
                  <a:gd name="connsiteY127" fmla="*/ 590550 h 1685925"/>
                  <a:gd name="connsiteX128" fmla="*/ 873919 w 7798594"/>
                  <a:gd name="connsiteY128" fmla="*/ 628650 h 1685925"/>
                  <a:gd name="connsiteX129" fmla="*/ 778669 w 7798594"/>
                  <a:gd name="connsiteY129" fmla="*/ 642937 h 1685925"/>
                  <a:gd name="connsiteX130" fmla="*/ 764381 w 7798594"/>
                  <a:gd name="connsiteY130" fmla="*/ 664369 h 1685925"/>
                  <a:gd name="connsiteX131" fmla="*/ 776287 w 7798594"/>
                  <a:gd name="connsiteY131" fmla="*/ 709613 h 1685925"/>
                  <a:gd name="connsiteX132" fmla="*/ 676276 w 7798594"/>
                  <a:gd name="connsiteY132" fmla="*/ 762000 h 1685925"/>
                  <a:gd name="connsiteX133" fmla="*/ 638175 w 7798594"/>
                  <a:gd name="connsiteY133" fmla="*/ 733424 h 1685925"/>
                  <a:gd name="connsiteX134" fmla="*/ 607219 w 7798594"/>
                  <a:gd name="connsiteY134" fmla="*/ 790575 h 1685925"/>
                  <a:gd name="connsiteX135" fmla="*/ 550069 w 7798594"/>
                  <a:gd name="connsiteY135" fmla="*/ 752475 h 1685925"/>
                  <a:gd name="connsiteX136" fmla="*/ 514350 w 7798594"/>
                  <a:gd name="connsiteY136" fmla="*/ 781050 h 1685925"/>
                  <a:gd name="connsiteX137" fmla="*/ 478631 w 7798594"/>
                  <a:gd name="connsiteY137" fmla="*/ 745331 h 1685925"/>
                  <a:gd name="connsiteX138" fmla="*/ 426244 w 7798594"/>
                  <a:gd name="connsiteY138" fmla="*/ 757238 h 1685925"/>
                  <a:gd name="connsiteX139" fmla="*/ 381000 w 7798594"/>
                  <a:gd name="connsiteY139" fmla="*/ 728663 h 1685925"/>
                  <a:gd name="connsiteX140" fmla="*/ 357188 w 7798594"/>
                  <a:gd name="connsiteY140" fmla="*/ 747713 h 1685925"/>
                  <a:gd name="connsiteX141" fmla="*/ 333375 w 7798594"/>
                  <a:gd name="connsiteY141" fmla="*/ 807244 h 1685925"/>
                  <a:gd name="connsiteX142" fmla="*/ 261938 w 7798594"/>
                  <a:gd name="connsiteY142" fmla="*/ 845343 h 1685925"/>
                  <a:gd name="connsiteX143" fmla="*/ 209550 w 7798594"/>
                  <a:gd name="connsiteY143" fmla="*/ 816769 h 1685925"/>
                  <a:gd name="connsiteX144" fmla="*/ 119063 w 7798594"/>
                  <a:gd name="connsiteY144" fmla="*/ 826294 h 1685925"/>
                  <a:gd name="connsiteX145" fmla="*/ 71437 w 7798594"/>
                  <a:gd name="connsiteY145" fmla="*/ 792957 h 1685925"/>
                  <a:gd name="connsiteX146" fmla="*/ 0 w 7798594"/>
                  <a:gd name="connsiteY146" fmla="*/ 812006 h 1685925"/>
                  <a:gd name="connsiteX147" fmla="*/ 4762 w 7798594"/>
                  <a:gd name="connsiteY147" fmla="*/ 0 h 1685925"/>
                  <a:gd name="connsiteX148" fmla="*/ 7798594 w 7798594"/>
                  <a:gd name="connsiteY148" fmla="*/ 1593056 h 1685925"/>
                  <a:gd name="connsiteX149" fmla="*/ 7724775 w 7798594"/>
                  <a:gd name="connsiteY149" fmla="*/ 1590675 h 1685925"/>
                  <a:gd name="connsiteX150" fmla="*/ 7667625 w 7798594"/>
                  <a:gd name="connsiteY150" fmla="*/ 1685925 h 1685925"/>
                  <a:gd name="connsiteX151" fmla="*/ 7529513 w 7798594"/>
                  <a:gd name="connsiteY151" fmla="*/ 1588294 h 1685925"/>
                  <a:gd name="connsiteX0" fmla="*/ 7529513 w 7724775"/>
                  <a:gd name="connsiteY0" fmla="*/ 1588294 h 1685925"/>
                  <a:gd name="connsiteX1" fmla="*/ 7522369 w 7724775"/>
                  <a:gd name="connsiteY1" fmla="*/ 1533525 h 1685925"/>
                  <a:gd name="connsiteX2" fmla="*/ 7589044 w 7724775"/>
                  <a:gd name="connsiteY2" fmla="*/ 1459706 h 1685925"/>
                  <a:gd name="connsiteX3" fmla="*/ 7572375 w 7724775"/>
                  <a:gd name="connsiteY3" fmla="*/ 1388269 h 1685925"/>
                  <a:gd name="connsiteX4" fmla="*/ 7586663 w 7724775"/>
                  <a:gd name="connsiteY4" fmla="*/ 1293019 h 1685925"/>
                  <a:gd name="connsiteX5" fmla="*/ 7624763 w 7724775"/>
                  <a:gd name="connsiteY5" fmla="*/ 1235869 h 1685925"/>
                  <a:gd name="connsiteX6" fmla="*/ 7605712 w 7724775"/>
                  <a:gd name="connsiteY6" fmla="*/ 1202531 h 1685925"/>
                  <a:gd name="connsiteX7" fmla="*/ 7703343 w 7724775"/>
                  <a:gd name="connsiteY7" fmla="*/ 802481 h 1685925"/>
                  <a:gd name="connsiteX8" fmla="*/ 7696200 w 7724775"/>
                  <a:gd name="connsiteY8" fmla="*/ 773906 h 1685925"/>
                  <a:gd name="connsiteX9" fmla="*/ 7567613 w 7724775"/>
                  <a:gd name="connsiteY9" fmla="*/ 752475 h 1685925"/>
                  <a:gd name="connsiteX10" fmla="*/ 7384257 w 7724775"/>
                  <a:gd name="connsiteY10" fmla="*/ 831056 h 1685925"/>
                  <a:gd name="connsiteX11" fmla="*/ 7227093 w 7724775"/>
                  <a:gd name="connsiteY11" fmla="*/ 716756 h 1685925"/>
                  <a:gd name="connsiteX12" fmla="*/ 7150894 w 7724775"/>
                  <a:gd name="connsiteY12" fmla="*/ 723900 h 1685925"/>
                  <a:gd name="connsiteX13" fmla="*/ 7077075 w 7724775"/>
                  <a:gd name="connsiteY13" fmla="*/ 719138 h 1685925"/>
                  <a:gd name="connsiteX14" fmla="*/ 6938963 w 7724775"/>
                  <a:gd name="connsiteY14" fmla="*/ 823913 h 1685925"/>
                  <a:gd name="connsiteX15" fmla="*/ 6831806 w 7724775"/>
                  <a:gd name="connsiteY15" fmla="*/ 931069 h 1685925"/>
                  <a:gd name="connsiteX16" fmla="*/ 6788944 w 7724775"/>
                  <a:gd name="connsiteY16" fmla="*/ 1000125 h 1685925"/>
                  <a:gd name="connsiteX17" fmla="*/ 6796088 w 7724775"/>
                  <a:gd name="connsiteY17" fmla="*/ 1035844 h 1685925"/>
                  <a:gd name="connsiteX18" fmla="*/ 6734175 w 7724775"/>
                  <a:gd name="connsiteY18" fmla="*/ 1047750 h 1685925"/>
                  <a:gd name="connsiteX19" fmla="*/ 6753225 w 7724775"/>
                  <a:gd name="connsiteY19" fmla="*/ 1047750 h 1685925"/>
                  <a:gd name="connsiteX20" fmla="*/ 6719888 w 7724775"/>
                  <a:gd name="connsiteY20" fmla="*/ 1078706 h 1685925"/>
                  <a:gd name="connsiteX21" fmla="*/ 6619875 w 7724775"/>
                  <a:gd name="connsiteY21" fmla="*/ 1078707 h 1685925"/>
                  <a:gd name="connsiteX22" fmla="*/ 6524625 w 7724775"/>
                  <a:gd name="connsiteY22" fmla="*/ 1133475 h 1685925"/>
                  <a:gd name="connsiteX23" fmla="*/ 6443663 w 7724775"/>
                  <a:gd name="connsiteY23" fmla="*/ 1143000 h 1685925"/>
                  <a:gd name="connsiteX24" fmla="*/ 6403181 w 7724775"/>
                  <a:gd name="connsiteY24" fmla="*/ 1176338 h 1685925"/>
                  <a:gd name="connsiteX25" fmla="*/ 6353175 w 7724775"/>
                  <a:gd name="connsiteY25" fmla="*/ 1181100 h 1685925"/>
                  <a:gd name="connsiteX26" fmla="*/ 6231732 w 7724775"/>
                  <a:gd name="connsiteY26" fmla="*/ 1273969 h 1685925"/>
                  <a:gd name="connsiteX27" fmla="*/ 6172200 w 7724775"/>
                  <a:gd name="connsiteY27" fmla="*/ 1278731 h 1685925"/>
                  <a:gd name="connsiteX28" fmla="*/ 6119813 w 7724775"/>
                  <a:gd name="connsiteY28" fmla="*/ 1243013 h 1685925"/>
                  <a:gd name="connsiteX29" fmla="*/ 6093619 w 7724775"/>
                  <a:gd name="connsiteY29" fmla="*/ 1278731 h 1685925"/>
                  <a:gd name="connsiteX30" fmla="*/ 5895975 w 7724775"/>
                  <a:gd name="connsiteY30" fmla="*/ 1271588 h 1685925"/>
                  <a:gd name="connsiteX31" fmla="*/ 5834063 w 7724775"/>
                  <a:gd name="connsiteY31" fmla="*/ 1226344 h 1685925"/>
                  <a:gd name="connsiteX32" fmla="*/ 5636419 w 7724775"/>
                  <a:gd name="connsiteY32" fmla="*/ 1243013 h 1685925"/>
                  <a:gd name="connsiteX33" fmla="*/ 5548313 w 7724775"/>
                  <a:gd name="connsiteY33" fmla="*/ 1159668 h 1685925"/>
                  <a:gd name="connsiteX34" fmla="*/ 5472113 w 7724775"/>
                  <a:gd name="connsiteY34" fmla="*/ 1114425 h 1685925"/>
                  <a:gd name="connsiteX35" fmla="*/ 5474493 w 7724775"/>
                  <a:gd name="connsiteY35" fmla="*/ 1057275 h 1685925"/>
                  <a:gd name="connsiteX36" fmla="*/ 5455444 w 7724775"/>
                  <a:gd name="connsiteY36" fmla="*/ 1014412 h 1685925"/>
                  <a:gd name="connsiteX37" fmla="*/ 5360194 w 7724775"/>
                  <a:gd name="connsiteY37" fmla="*/ 1016794 h 1685925"/>
                  <a:gd name="connsiteX38" fmla="*/ 5264944 w 7724775"/>
                  <a:gd name="connsiteY38" fmla="*/ 995363 h 1685925"/>
                  <a:gd name="connsiteX39" fmla="*/ 5195887 w 7724775"/>
                  <a:gd name="connsiteY39" fmla="*/ 928687 h 1685925"/>
                  <a:gd name="connsiteX40" fmla="*/ 5160169 w 7724775"/>
                  <a:gd name="connsiteY40" fmla="*/ 885825 h 1685925"/>
                  <a:gd name="connsiteX41" fmla="*/ 5079206 w 7724775"/>
                  <a:gd name="connsiteY41" fmla="*/ 862012 h 1685925"/>
                  <a:gd name="connsiteX42" fmla="*/ 5005388 w 7724775"/>
                  <a:gd name="connsiteY42" fmla="*/ 873918 h 1685925"/>
                  <a:gd name="connsiteX43" fmla="*/ 4948237 w 7724775"/>
                  <a:gd name="connsiteY43" fmla="*/ 821531 h 1685925"/>
                  <a:gd name="connsiteX44" fmla="*/ 4852988 w 7724775"/>
                  <a:gd name="connsiteY44" fmla="*/ 833438 h 1685925"/>
                  <a:gd name="connsiteX45" fmla="*/ 4800600 w 7724775"/>
                  <a:gd name="connsiteY45" fmla="*/ 807244 h 1685925"/>
                  <a:gd name="connsiteX46" fmla="*/ 4719638 w 7724775"/>
                  <a:gd name="connsiteY46" fmla="*/ 850106 h 1685925"/>
                  <a:gd name="connsiteX47" fmla="*/ 4581525 w 7724775"/>
                  <a:gd name="connsiteY47" fmla="*/ 873919 h 1685925"/>
                  <a:gd name="connsiteX48" fmla="*/ 4452938 w 7724775"/>
                  <a:gd name="connsiteY48" fmla="*/ 966788 h 1685925"/>
                  <a:gd name="connsiteX49" fmla="*/ 4405312 w 7724775"/>
                  <a:gd name="connsiteY49" fmla="*/ 928688 h 1685925"/>
                  <a:gd name="connsiteX50" fmla="*/ 4383881 w 7724775"/>
                  <a:gd name="connsiteY50" fmla="*/ 959643 h 1685925"/>
                  <a:gd name="connsiteX51" fmla="*/ 4310063 w 7724775"/>
                  <a:gd name="connsiteY51" fmla="*/ 909638 h 1685925"/>
                  <a:gd name="connsiteX52" fmla="*/ 4271963 w 7724775"/>
                  <a:gd name="connsiteY52" fmla="*/ 916781 h 1685925"/>
                  <a:gd name="connsiteX53" fmla="*/ 4250531 w 7724775"/>
                  <a:gd name="connsiteY53" fmla="*/ 878681 h 1685925"/>
                  <a:gd name="connsiteX54" fmla="*/ 4191000 w 7724775"/>
                  <a:gd name="connsiteY54" fmla="*/ 883444 h 1685925"/>
                  <a:gd name="connsiteX55" fmla="*/ 4145756 w 7724775"/>
                  <a:gd name="connsiteY55" fmla="*/ 854869 h 1685925"/>
                  <a:gd name="connsiteX56" fmla="*/ 4107656 w 7724775"/>
                  <a:gd name="connsiteY56" fmla="*/ 852488 h 1685925"/>
                  <a:gd name="connsiteX57" fmla="*/ 4088606 w 7724775"/>
                  <a:gd name="connsiteY57" fmla="*/ 804862 h 1685925"/>
                  <a:gd name="connsiteX58" fmla="*/ 4074319 w 7724775"/>
                  <a:gd name="connsiteY58" fmla="*/ 773906 h 1685925"/>
                  <a:gd name="connsiteX59" fmla="*/ 4029075 w 7724775"/>
                  <a:gd name="connsiteY59" fmla="*/ 783431 h 1685925"/>
                  <a:gd name="connsiteX60" fmla="*/ 4010025 w 7724775"/>
                  <a:gd name="connsiteY60" fmla="*/ 747713 h 1685925"/>
                  <a:gd name="connsiteX61" fmla="*/ 4031457 w 7724775"/>
                  <a:gd name="connsiteY61" fmla="*/ 692944 h 1685925"/>
                  <a:gd name="connsiteX62" fmla="*/ 4000500 w 7724775"/>
                  <a:gd name="connsiteY62" fmla="*/ 666750 h 1685925"/>
                  <a:gd name="connsiteX63" fmla="*/ 4017169 w 7724775"/>
                  <a:gd name="connsiteY63" fmla="*/ 623888 h 1685925"/>
                  <a:gd name="connsiteX64" fmla="*/ 3990975 w 7724775"/>
                  <a:gd name="connsiteY64" fmla="*/ 581025 h 1685925"/>
                  <a:gd name="connsiteX65" fmla="*/ 3986213 w 7724775"/>
                  <a:gd name="connsiteY65" fmla="*/ 519113 h 1685925"/>
                  <a:gd name="connsiteX66" fmla="*/ 4010025 w 7724775"/>
                  <a:gd name="connsiteY66" fmla="*/ 454818 h 1685925"/>
                  <a:gd name="connsiteX67" fmla="*/ 3971925 w 7724775"/>
                  <a:gd name="connsiteY67" fmla="*/ 457200 h 1685925"/>
                  <a:gd name="connsiteX68" fmla="*/ 3852863 w 7724775"/>
                  <a:gd name="connsiteY68" fmla="*/ 400050 h 1685925"/>
                  <a:gd name="connsiteX69" fmla="*/ 3814762 w 7724775"/>
                  <a:gd name="connsiteY69" fmla="*/ 404812 h 1685925"/>
                  <a:gd name="connsiteX70" fmla="*/ 3609975 w 7724775"/>
                  <a:gd name="connsiteY70" fmla="*/ 295275 h 1685925"/>
                  <a:gd name="connsiteX71" fmla="*/ 3505200 w 7724775"/>
                  <a:gd name="connsiteY71" fmla="*/ 264319 h 1685925"/>
                  <a:gd name="connsiteX72" fmla="*/ 3440906 w 7724775"/>
                  <a:gd name="connsiteY72" fmla="*/ 273843 h 1685925"/>
                  <a:gd name="connsiteX73" fmla="*/ 3409950 w 7724775"/>
                  <a:gd name="connsiteY73" fmla="*/ 209550 h 1685925"/>
                  <a:gd name="connsiteX74" fmla="*/ 3352800 w 7724775"/>
                  <a:gd name="connsiteY74" fmla="*/ 209550 h 1685925"/>
                  <a:gd name="connsiteX75" fmla="*/ 3214687 w 7724775"/>
                  <a:gd name="connsiteY75" fmla="*/ 104775 h 1685925"/>
                  <a:gd name="connsiteX76" fmla="*/ 3181350 w 7724775"/>
                  <a:gd name="connsiteY76" fmla="*/ 164307 h 1685925"/>
                  <a:gd name="connsiteX77" fmla="*/ 3126581 w 7724775"/>
                  <a:gd name="connsiteY77" fmla="*/ 233363 h 1685925"/>
                  <a:gd name="connsiteX78" fmla="*/ 3083719 w 7724775"/>
                  <a:gd name="connsiteY78" fmla="*/ 250031 h 1685925"/>
                  <a:gd name="connsiteX79" fmla="*/ 3052763 w 7724775"/>
                  <a:gd name="connsiteY79" fmla="*/ 242888 h 1685925"/>
                  <a:gd name="connsiteX80" fmla="*/ 3028950 w 7724775"/>
                  <a:gd name="connsiteY80" fmla="*/ 271463 h 1685925"/>
                  <a:gd name="connsiteX81" fmla="*/ 3002756 w 7724775"/>
                  <a:gd name="connsiteY81" fmla="*/ 350044 h 1685925"/>
                  <a:gd name="connsiteX82" fmla="*/ 2959894 w 7724775"/>
                  <a:gd name="connsiteY82" fmla="*/ 347663 h 1685925"/>
                  <a:gd name="connsiteX83" fmla="*/ 2928937 w 7724775"/>
                  <a:gd name="connsiteY83" fmla="*/ 409575 h 1685925"/>
                  <a:gd name="connsiteX84" fmla="*/ 2924175 w 7724775"/>
                  <a:gd name="connsiteY84" fmla="*/ 473869 h 1685925"/>
                  <a:gd name="connsiteX85" fmla="*/ 2897982 w 7724775"/>
                  <a:gd name="connsiteY85" fmla="*/ 511969 h 1685925"/>
                  <a:gd name="connsiteX86" fmla="*/ 2924175 w 7724775"/>
                  <a:gd name="connsiteY86" fmla="*/ 571500 h 1685925"/>
                  <a:gd name="connsiteX87" fmla="*/ 2926556 w 7724775"/>
                  <a:gd name="connsiteY87" fmla="*/ 640556 h 1685925"/>
                  <a:gd name="connsiteX88" fmla="*/ 2955131 w 7724775"/>
                  <a:gd name="connsiteY88" fmla="*/ 692944 h 1685925"/>
                  <a:gd name="connsiteX89" fmla="*/ 3002757 w 7724775"/>
                  <a:gd name="connsiteY89" fmla="*/ 747713 h 1685925"/>
                  <a:gd name="connsiteX90" fmla="*/ 2952750 w 7724775"/>
                  <a:gd name="connsiteY90" fmla="*/ 885825 h 1685925"/>
                  <a:gd name="connsiteX91" fmla="*/ 2883694 w 7724775"/>
                  <a:gd name="connsiteY91" fmla="*/ 952500 h 1685925"/>
                  <a:gd name="connsiteX92" fmla="*/ 2812256 w 7724775"/>
                  <a:gd name="connsiteY92" fmla="*/ 947738 h 1685925"/>
                  <a:gd name="connsiteX93" fmla="*/ 2774156 w 7724775"/>
                  <a:gd name="connsiteY93" fmla="*/ 1004888 h 1685925"/>
                  <a:gd name="connsiteX94" fmla="*/ 2714625 w 7724775"/>
                  <a:gd name="connsiteY94" fmla="*/ 1019175 h 1685925"/>
                  <a:gd name="connsiteX95" fmla="*/ 2645569 w 7724775"/>
                  <a:gd name="connsiteY95" fmla="*/ 959644 h 1685925"/>
                  <a:gd name="connsiteX96" fmla="*/ 2590800 w 7724775"/>
                  <a:gd name="connsiteY96" fmla="*/ 931069 h 1685925"/>
                  <a:gd name="connsiteX97" fmla="*/ 2547938 w 7724775"/>
                  <a:gd name="connsiteY97" fmla="*/ 945356 h 1685925"/>
                  <a:gd name="connsiteX98" fmla="*/ 2495550 w 7724775"/>
                  <a:gd name="connsiteY98" fmla="*/ 928688 h 1685925"/>
                  <a:gd name="connsiteX99" fmla="*/ 2428875 w 7724775"/>
                  <a:gd name="connsiteY99" fmla="*/ 873919 h 1685925"/>
                  <a:gd name="connsiteX100" fmla="*/ 2383631 w 7724775"/>
                  <a:gd name="connsiteY100" fmla="*/ 885825 h 1685925"/>
                  <a:gd name="connsiteX101" fmla="*/ 2362200 w 7724775"/>
                  <a:gd name="connsiteY101" fmla="*/ 854869 h 1685925"/>
                  <a:gd name="connsiteX102" fmla="*/ 2305050 w 7724775"/>
                  <a:gd name="connsiteY102" fmla="*/ 895350 h 1685925"/>
                  <a:gd name="connsiteX103" fmla="*/ 2188369 w 7724775"/>
                  <a:gd name="connsiteY103" fmla="*/ 873919 h 1685925"/>
                  <a:gd name="connsiteX104" fmla="*/ 2138363 w 7724775"/>
                  <a:gd name="connsiteY104" fmla="*/ 821531 h 1685925"/>
                  <a:gd name="connsiteX105" fmla="*/ 2095500 w 7724775"/>
                  <a:gd name="connsiteY105" fmla="*/ 807244 h 1685925"/>
                  <a:gd name="connsiteX106" fmla="*/ 2052638 w 7724775"/>
                  <a:gd name="connsiteY106" fmla="*/ 833438 h 1685925"/>
                  <a:gd name="connsiteX107" fmla="*/ 2000250 w 7724775"/>
                  <a:gd name="connsiteY107" fmla="*/ 742950 h 1685925"/>
                  <a:gd name="connsiteX108" fmla="*/ 1990725 w 7724775"/>
                  <a:gd name="connsiteY108" fmla="*/ 595312 h 1685925"/>
                  <a:gd name="connsiteX109" fmla="*/ 1938337 w 7724775"/>
                  <a:gd name="connsiteY109" fmla="*/ 588168 h 1685925"/>
                  <a:gd name="connsiteX110" fmla="*/ 1847850 w 7724775"/>
                  <a:gd name="connsiteY110" fmla="*/ 578644 h 1685925"/>
                  <a:gd name="connsiteX111" fmla="*/ 1793081 w 7724775"/>
                  <a:gd name="connsiteY111" fmla="*/ 540544 h 1685925"/>
                  <a:gd name="connsiteX112" fmla="*/ 1724025 w 7724775"/>
                  <a:gd name="connsiteY112" fmla="*/ 550069 h 1685925"/>
                  <a:gd name="connsiteX113" fmla="*/ 1678781 w 7724775"/>
                  <a:gd name="connsiteY113" fmla="*/ 523875 h 1685925"/>
                  <a:gd name="connsiteX114" fmla="*/ 1669257 w 7724775"/>
                  <a:gd name="connsiteY114" fmla="*/ 452438 h 1685925"/>
                  <a:gd name="connsiteX115" fmla="*/ 1645444 w 7724775"/>
                  <a:gd name="connsiteY115" fmla="*/ 438150 h 1685925"/>
                  <a:gd name="connsiteX116" fmla="*/ 1607344 w 7724775"/>
                  <a:gd name="connsiteY116" fmla="*/ 485774 h 1685925"/>
                  <a:gd name="connsiteX117" fmla="*/ 1528762 w 7724775"/>
                  <a:gd name="connsiteY117" fmla="*/ 411956 h 1685925"/>
                  <a:gd name="connsiteX118" fmla="*/ 1488281 w 7724775"/>
                  <a:gd name="connsiteY118" fmla="*/ 452438 h 1685925"/>
                  <a:gd name="connsiteX119" fmla="*/ 1412081 w 7724775"/>
                  <a:gd name="connsiteY119" fmla="*/ 438150 h 1685925"/>
                  <a:gd name="connsiteX120" fmla="*/ 1333500 w 7724775"/>
                  <a:gd name="connsiteY120" fmla="*/ 464344 h 1685925"/>
                  <a:gd name="connsiteX121" fmla="*/ 1273969 w 7724775"/>
                  <a:gd name="connsiteY121" fmla="*/ 511968 h 1685925"/>
                  <a:gd name="connsiteX122" fmla="*/ 1200150 w 7724775"/>
                  <a:gd name="connsiteY122" fmla="*/ 523875 h 1685925"/>
                  <a:gd name="connsiteX123" fmla="*/ 1164431 w 7724775"/>
                  <a:gd name="connsiteY123" fmla="*/ 516731 h 1685925"/>
                  <a:gd name="connsiteX124" fmla="*/ 1085851 w 7724775"/>
                  <a:gd name="connsiteY124" fmla="*/ 547688 h 1685925"/>
                  <a:gd name="connsiteX125" fmla="*/ 1064419 w 7724775"/>
                  <a:gd name="connsiteY125" fmla="*/ 576263 h 1685925"/>
                  <a:gd name="connsiteX126" fmla="*/ 997744 w 7724775"/>
                  <a:gd name="connsiteY126" fmla="*/ 566738 h 1685925"/>
                  <a:gd name="connsiteX127" fmla="*/ 928688 w 7724775"/>
                  <a:gd name="connsiteY127" fmla="*/ 590550 h 1685925"/>
                  <a:gd name="connsiteX128" fmla="*/ 873919 w 7724775"/>
                  <a:gd name="connsiteY128" fmla="*/ 628650 h 1685925"/>
                  <a:gd name="connsiteX129" fmla="*/ 778669 w 7724775"/>
                  <a:gd name="connsiteY129" fmla="*/ 642937 h 1685925"/>
                  <a:gd name="connsiteX130" fmla="*/ 764381 w 7724775"/>
                  <a:gd name="connsiteY130" fmla="*/ 664369 h 1685925"/>
                  <a:gd name="connsiteX131" fmla="*/ 776287 w 7724775"/>
                  <a:gd name="connsiteY131" fmla="*/ 709613 h 1685925"/>
                  <a:gd name="connsiteX132" fmla="*/ 676276 w 7724775"/>
                  <a:gd name="connsiteY132" fmla="*/ 762000 h 1685925"/>
                  <a:gd name="connsiteX133" fmla="*/ 638175 w 7724775"/>
                  <a:gd name="connsiteY133" fmla="*/ 733424 h 1685925"/>
                  <a:gd name="connsiteX134" fmla="*/ 607219 w 7724775"/>
                  <a:gd name="connsiteY134" fmla="*/ 790575 h 1685925"/>
                  <a:gd name="connsiteX135" fmla="*/ 550069 w 7724775"/>
                  <a:gd name="connsiteY135" fmla="*/ 752475 h 1685925"/>
                  <a:gd name="connsiteX136" fmla="*/ 514350 w 7724775"/>
                  <a:gd name="connsiteY136" fmla="*/ 781050 h 1685925"/>
                  <a:gd name="connsiteX137" fmla="*/ 478631 w 7724775"/>
                  <a:gd name="connsiteY137" fmla="*/ 745331 h 1685925"/>
                  <a:gd name="connsiteX138" fmla="*/ 426244 w 7724775"/>
                  <a:gd name="connsiteY138" fmla="*/ 757238 h 1685925"/>
                  <a:gd name="connsiteX139" fmla="*/ 381000 w 7724775"/>
                  <a:gd name="connsiteY139" fmla="*/ 728663 h 1685925"/>
                  <a:gd name="connsiteX140" fmla="*/ 357188 w 7724775"/>
                  <a:gd name="connsiteY140" fmla="*/ 747713 h 1685925"/>
                  <a:gd name="connsiteX141" fmla="*/ 333375 w 7724775"/>
                  <a:gd name="connsiteY141" fmla="*/ 807244 h 1685925"/>
                  <a:gd name="connsiteX142" fmla="*/ 261938 w 7724775"/>
                  <a:gd name="connsiteY142" fmla="*/ 845343 h 1685925"/>
                  <a:gd name="connsiteX143" fmla="*/ 209550 w 7724775"/>
                  <a:gd name="connsiteY143" fmla="*/ 816769 h 1685925"/>
                  <a:gd name="connsiteX144" fmla="*/ 119063 w 7724775"/>
                  <a:gd name="connsiteY144" fmla="*/ 826294 h 1685925"/>
                  <a:gd name="connsiteX145" fmla="*/ 71437 w 7724775"/>
                  <a:gd name="connsiteY145" fmla="*/ 792957 h 1685925"/>
                  <a:gd name="connsiteX146" fmla="*/ 0 w 7724775"/>
                  <a:gd name="connsiteY146" fmla="*/ 812006 h 1685925"/>
                  <a:gd name="connsiteX147" fmla="*/ 4762 w 7724775"/>
                  <a:gd name="connsiteY147" fmla="*/ 0 h 1685925"/>
                  <a:gd name="connsiteX148" fmla="*/ 7724775 w 7724775"/>
                  <a:gd name="connsiteY148" fmla="*/ 1590675 h 1685925"/>
                  <a:gd name="connsiteX149" fmla="*/ 7667625 w 7724775"/>
                  <a:gd name="connsiteY149" fmla="*/ 1685925 h 1685925"/>
                  <a:gd name="connsiteX150" fmla="*/ 7529513 w 7724775"/>
                  <a:gd name="connsiteY150" fmla="*/ 1588294 h 1685925"/>
                  <a:gd name="connsiteX0" fmla="*/ 7529513 w 7703343"/>
                  <a:gd name="connsiteY0" fmla="*/ 1588294 h 1685925"/>
                  <a:gd name="connsiteX1" fmla="*/ 7522369 w 7703343"/>
                  <a:gd name="connsiteY1" fmla="*/ 1533525 h 1685925"/>
                  <a:gd name="connsiteX2" fmla="*/ 7589044 w 7703343"/>
                  <a:gd name="connsiteY2" fmla="*/ 1459706 h 1685925"/>
                  <a:gd name="connsiteX3" fmla="*/ 7572375 w 7703343"/>
                  <a:gd name="connsiteY3" fmla="*/ 1388269 h 1685925"/>
                  <a:gd name="connsiteX4" fmla="*/ 7586663 w 7703343"/>
                  <a:gd name="connsiteY4" fmla="*/ 1293019 h 1685925"/>
                  <a:gd name="connsiteX5" fmla="*/ 7624763 w 7703343"/>
                  <a:gd name="connsiteY5" fmla="*/ 1235869 h 1685925"/>
                  <a:gd name="connsiteX6" fmla="*/ 7605712 w 7703343"/>
                  <a:gd name="connsiteY6" fmla="*/ 1202531 h 1685925"/>
                  <a:gd name="connsiteX7" fmla="*/ 7703343 w 7703343"/>
                  <a:gd name="connsiteY7" fmla="*/ 802481 h 1685925"/>
                  <a:gd name="connsiteX8" fmla="*/ 7696200 w 7703343"/>
                  <a:gd name="connsiteY8" fmla="*/ 773906 h 1685925"/>
                  <a:gd name="connsiteX9" fmla="*/ 7567613 w 7703343"/>
                  <a:gd name="connsiteY9" fmla="*/ 752475 h 1685925"/>
                  <a:gd name="connsiteX10" fmla="*/ 7384257 w 7703343"/>
                  <a:gd name="connsiteY10" fmla="*/ 831056 h 1685925"/>
                  <a:gd name="connsiteX11" fmla="*/ 7227093 w 7703343"/>
                  <a:gd name="connsiteY11" fmla="*/ 716756 h 1685925"/>
                  <a:gd name="connsiteX12" fmla="*/ 7150894 w 7703343"/>
                  <a:gd name="connsiteY12" fmla="*/ 723900 h 1685925"/>
                  <a:gd name="connsiteX13" fmla="*/ 7077075 w 7703343"/>
                  <a:gd name="connsiteY13" fmla="*/ 719138 h 1685925"/>
                  <a:gd name="connsiteX14" fmla="*/ 6938963 w 7703343"/>
                  <a:gd name="connsiteY14" fmla="*/ 823913 h 1685925"/>
                  <a:gd name="connsiteX15" fmla="*/ 6831806 w 7703343"/>
                  <a:gd name="connsiteY15" fmla="*/ 931069 h 1685925"/>
                  <a:gd name="connsiteX16" fmla="*/ 6788944 w 7703343"/>
                  <a:gd name="connsiteY16" fmla="*/ 1000125 h 1685925"/>
                  <a:gd name="connsiteX17" fmla="*/ 6796088 w 7703343"/>
                  <a:gd name="connsiteY17" fmla="*/ 1035844 h 1685925"/>
                  <a:gd name="connsiteX18" fmla="*/ 6734175 w 7703343"/>
                  <a:gd name="connsiteY18" fmla="*/ 1047750 h 1685925"/>
                  <a:gd name="connsiteX19" fmla="*/ 6753225 w 7703343"/>
                  <a:gd name="connsiteY19" fmla="*/ 1047750 h 1685925"/>
                  <a:gd name="connsiteX20" fmla="*/ 6719888 w 7703343"/>
                  <a:gd name="connsiteY20" fmla="*/ 1078706 h 1685925"/>
                  <a:gd name="connsiteX21" fmla="*/ 6619875 w 7703343"/>
                  <a:gd name="connsiteY21" fmla="*/ 1078707 h 1685925"/>
                  <a:gd name="connsiteX22" fmla="*/ 6524625 w 7703343"/>
                  <a:gd name="connsiteY22" fmla="*/ 1133475 h 1685925"/>
                  <a:gd name="connsiteX23" fmla="*/ 6443663 w 7703343"/>
                  <a:gd name="connsiteY23" fmla="*/ 1143000 h 1685925"/>
                  <a:gd name="connsiteX24" fmla="*/ 6403181 w 7703343"/>
                  <a:gd name="connsiteY24" fmla="*/ 1176338 h 1685925"/>
                  <a:gd name="connsiteX25" fmla="*/ 6353175 w 7703343"/>
                  <a:gd name="connsiteY25" fmla="*/ 1181100 h 1685925"/>
                  <a:gd name="connsiteX26" fmla="*/ 6231732 w 7703343"/>
                  <a:gd name="connsiteY26" fmla="*/ 1273969 h 1685925"/>
                  <a:gd name="connsiteX27" fmla="*/ 6172200 w 7703343"/>
                  <a:gd name="connsiteY27" fmla="*/ 1278731 h 1685925"/>
                  <a:gd name="connsiteX28" fmla="*/ 6119813 w 7703343"/>
                  <a:gd name="connsiteY28" fmla="*/ 1243013 h 1685925"/>
                  <a:gd name="connsiteX29" fmla="*/ 6093619 w 7703343"/>
                  <a:gd name="connsiteY29" fmla="*/ 1278731 h 1685925"/>
                  <a:gd name="connsiteX30" fmla="*/ 5895975 w 7703343"/>
                  <a:gd name="connsiteY30" fmla="*/ 1271588 h 1685925"/>
                  <a:gd name="connsiteX31" fmla="*/ 5834063 w 7703343"/>
                  <a:gd name="connsiteY31" fmla="*/ 1226344 h 1685925"/>
                  <a:gd name="connsiteX32" fmla="*/ 5636419 w 7703343"/>
                  <a:gd name="connsiteY32" fmla="*/ 1243013 h 1685925"/>
                  <a:gd name="connsiteX33" fmla="*/ 5548313 w 7703343"/>
                  <a:gd name="connsiteY33" fmla="*/ 1159668 h 1685925"/>
                  <a:gd name="connsiteX34" fmla="*/ 5472113 w 7703343"/>
                  <a:gd name="connsiteY34" fmla="*/ 1114425 h 1685925"/>
                  <a:gd name="connsiteX35" fmla="*/ 5474493 w 7703343"/>
                  <a:gd name="connsiteY35" fmla="*/ 1057275 h 1685925"/>
                  <a:gd name="connsiteX36" fmla="*/ 5455444 w 7703343"/>
                  <a:gd name="connsiteY36" fmla="*/ 1014412 h 1685925"/>
                  <a:gd name="connsiteX37" fmla="*/ 5360194 w 7703343"/>
                  <a:gd name="connsiteY37" fmla="*/ 1016794 h 1685925"/>
                  <a:gd name="connsiteX38" fmla="*/ 5264944 w 7703343"/>
                  <a:gd name="connsiteY38" fmla="*/ 995363 h 1685925"/>
                  <a:gd name="connsiteX39" fmla="*/ 5195887 w 7703343"/>
                  <a:gd name="connsiteY39" fmla="*/ 928687 h 1685925"/>
                  <a:gd name="connsiteX40" fmla="*/ 5160169 w 7703343"/>
                  <a:gd name="connsiteY40" fmla="*/ 885825 h 1685925"/>
                  <a:gd name="connsiteX41" fmla="*/ 5079206 w 7703343"/>
                  <a:gd name="connsiteY41" fmla="*/ 862012 h 1685925"/>
                  <a:gd name="connsiteX42" fmla="*/ 5005388 w 7703343"/>
                  <a:gd name="connsiteY42" fmla="*/ 873918 h 1685925"/>
                  <a:gd name="connsiteX43" fmla="*/ 4948237 w 7703343"/>
                  <a:gd name="connsiteY43" fmla="*/ 821531 h 1685925"/>
                  <a:gd name="connsiteX44" fmla="*/ 4852988 w 7703343"/>
                  <a:gd name="connsiteY44" fmla="*/ 833438 h 1685925"/>
                  <a:gd name="connsiteX45" fmla="*/ 4800600 w 7703343"/>
                  <a:gd name="connsiteY45" fmla="*/ 807244 h 1685925"/>
                  <a:gd name="connsiteX46" fmla="*/ 4719638 w 7703343"/>
                  <a:gd name="connsiteY46" fmla="*/ 850106 h 1685925"/>
                  <a:gd name="connsiteX47" fmla="*/ 4581525 w 7703343"/>
                  <a:gd name="connsiteY47" fmla="*/ 873919 h 1685925"/>
                  <a:gd name="connsiteX48" fmla="*/ 4452938 w 7703343"/>
                  <a:gd name="connsiteY48" fmla="*/ 966788 h 1685925"/>
                  <a:gd name="connsiteX49" fmla="*/ 4405312 w 7703343"/>
                  <a:gd name="connsiteY49" fmla="*/ 928688 h 1685925"/>
                  <a:gd name="connsiteX50" fmla="*/ 4383881 w 7703343"/>
                  <a:gd name="connsiteY50" fmla="*/ 959643 h 1685925"/>
                  <a:gd name="connsiteX51" fmla="*/ 4310063 w 7703343"/>
                  <a:gd name="connsiteY51" fmla="*/ 909638 h 1685925"/>
                  <a:gd name="connsiteX52" fmla="*/ 4271963 w 7703343"/>
                  <a:gd name="connsiteY52" fmla="*/ 916781 h 1685925"/>
                  <a:gd name="connsiteX53" fmla="*/ 4250531 w 7703343"/>
                  <a:gd name="connsiteY53" fmla="*/ 878681 h 1685925"/>
                  <a:gd name="connsiteX54" fmla="*/ 4191000 w 7703343"/>
                  <a:gd name="connsiteY54" fmla="*/ 883444 h 1685925"/>
                  <a:gd name="connsiteX55" fmla="*/ 4145756 w 7703343"/>
                  <a:gd name="connsiteY55" fmla="*/ 854869 h 1685925"/>
                  <a:gd name="connsiteX56" fmla="*/ 4107656 w 7703343"/>
                  <a:gd name="connsiteY56" fmla="*/ 852488 h 1685925"/>
                  <a:gd name="connsiteX57" fmla="*/ 4088606 w 7703343"/>
                  <a:gd name="connsiteY57" fmla="*/ 804862 h 1685925"/>
                  <a:gd name="connsiteX58" fmla="*/ 4074319 w 7703343"/>
                  <a:gd name="connsiteY58" fmla="*/ 773906 h 1685925"/>
                  <a:gd name="connsiteX59" fmla="*/ 4029075 w 7703343"/>
                  <a:gd name="connsiteY59" fmla="*/ 783431 h 1685925"/>
                  <a:gd name="connsiteX60" fmla="*/ 4010025 w 7703343"/>
                  <a:gd name="connsiteY60" fmla="*/ 747713 h 1685925"/>
                  <a:gd name="connsiteX61" fmla="*/ 4031457 w 7703343"/>
                  <a:gd name="connsiteY61" fmla="*/ 692944 h 1685925"/>
                  <a:gd name="connsiteX62" fmla="*/ 4000500 w 7703343"/>
                  <a:gd name="connsiteY62" fmla="*/ 666750 h 1685925"/>
                  <a:gd name="connsiteX63" fmla="*/ 4017169 w 7703343"/>
                  <a:gd name="connsiteY63" fmla="*/ 623888 h 1685925"/>
                  <a:gd name="connsiteX64" fmla="*/ 3990975 w 7703343"/>
                  <a:gd name="connsiteY64" fmla="*/ 581025 h 1685925"/>
                  <a:gd name="connsiteX65" fmla="*/ 3986213 w 7703343"/>
                  <a:gd name="connsiteY65" fmla="*/ 519113 h 1685925"/>
                  <a:gd name="connsiteX66" fmla="*/ 4010025 w 7703343"/>
                  <a:gd name="connsiteY66" fmla="*/ 454818 h 1685925"/>
                  <a:gd name="connsiteX67" fmla="*/ 3971925 w 7703343"/>
                  <a:gd name="connsiteY67" fmla="*/ 457200 h 1685925"/>
                  <a:gd name="connsiteX68" fmla="*/ 3852863 w 7703343"/>
                  <a:gd name="connsiteY68" fmla="*/ 400050 h 1685925"/>
                  <a:gd name="connsiteX69" fmla="*/ 3814762 w 7703343"/>
                  <a:gd name="connsiteY69" fmla="*/ 404812 h 1685925"/>
                  <a:gd name="connsiteX70" fmla="*/ 3609975 w 7703343"/>
                  <a:gd name="connsiteY70" fmla="*/ 295275 h 1685925"/>
                  <a:gd name="connsiteX71" fmla="*/ 3505200 w 7703343"/>
                  <a:gd name="connsiteY71" fmla="*/ 264319 h 1685925"/>
                  <a:gd name="connsiteX72" fmla="*/ 3440906 w 7703343"/>
                  <a:gd name="connsiteY72" fmla="*/ 273843 h 1685925"/>
                  <a:gd name="connsiteX73" fmla="*/ 3409950 w 7703343"/>
                  <a:gd name="connsiteY73" fmla="*/ 209550 h 1685925"/>
                  <a:gd name="connsiteX74" fmla="*/ 3352800 w 7703343"/>
                  <a:gd name="connsiteY74" fmla="*/ 209550 h 1685925"/>
                  <a:gd name="connsiteX75" fmla="*/ 3214687 w 7703343"/>
                  <a:gd name="connsiteY75" fmla="*/ 104775 h 1685925"/>
                  <a:gd name="connsiteX76" fmla="*/ 3181350 w 7703343"/>
                  <a:gd name="connsiteY76" fmla="*/ 164307 h 1685925"/>
                  <a:gd name="connsiteX77" fmla="*/ 3126581 w 7703343"/>
                  <a:gd name="connsiteY77" fmla="*/ 233363 h 1685925"/>
                  <a:gd name="connsiteX78" fmla="*/ 3083719 w 7703343"/>
                  <a:gd name="connsiteY78" fmla="*/ 250031 h 1685925"/>
                  <a:gd name="connsiteX79" fmla="*/ 3052763 w 7703343"/>
                  <a:gd name="connsiteY79" fmla="*/ 242888 h 1685925"/>
                  <a:gd name="connsiteX80" fmla="*/ 3028950 w 7703343"/>
                  <a:gd name="connsiteY80" fmla="*/ 271463 h 1685925"/>
                  <a:gd name="connsiteX81" fmla="*/ 3002756 w 7703343"/>
                  <a:gd name="connsiteY81" fmla="*/ 350044 h 1685925"/>
                  <a:gd name="connsiteX82" fmla="*/ 2959894 w 7703343"/>
                  <a:gd name="connsiteY82" fmla="*/ 347663 h 1685925"/>
                  <a:gd name="connsiteX83" fmla="*/ 2928937 w 7703343"/>
                  <a:gd name="connsiteY83" fmla="*/ 409575 h 1685925"/>
                  <a:gd name="connsiteX84" fmla="*/ 2924175 w 7703343"/>
                  <a:gd name="connsiteY84" fmla="*/ 473869 h 1685925"/>
                  <a:gd name="connsiteX85" fmla="*/ 2897982 w 7703343"/>
                  <a:gd name="connsiteY85" fmla="*/ 511969 h 1685925"/>
                  <a:gd name="connsiteX86" fmla="*/ 2924175 w 7703343"/>
                  <a:gd name="connsiteY86" fmla="*/ 571500 h 1685925"/>
                  <a:gd name="connsiteX87" fmla="*/ 2926556 w 7703343"/>
                  <a:gd name="connsiteY87" fmla="*/ 640556 h 1685925"/>
                  <a:gd name="connsiteX88" fmla="*/ 2955131 w 7703343"/>
                  <a:gd name="connsiteY88" fmla="*/ 692944 h 1685925"/>
                  <a:gd name="connsiteX89" fmla="*/ 3002757 w 7703343"/>
                  <a:gd name="connsiteY89" fmla="*/ 747713 h 1685925"/>
                  <a:gd name="connsiteX90" fmla="*/ 2952750 w 7703343"/>
                  <a:gd name="connsiteY90" fmla="*/ 885825 h 1685925"/>
                  <a:gd name="connsiteX91" fmla="*/ 2883694 w 7703343"/>
                  <a:gd name="connsiteY91" fmla="*/ 952500 h 1685925"/>
                  <a:gd name="connsiteX92" fmla="*/ 2812256 w 7703343"/>
                  <a:gd name="connsiteY92" fmla="*/ 947738 h 1685925"/>
                  <a:gd name="connsiteX93" fmla="*/ 2774156 w 7703343"/>
                  <a:gd name="connsiteY93" fmla="*/ 1004888 h 1685925"/>
                  <a:gd name="connsiteX94" fmla="*/ 2714625 w 7703343"/>
                  <a:gd name="connsiteY94" fmla="*/ 1019175 h 1685925"/>
                  <a:gd name="connsiteX95" fmla="*/ 2645569 w 7703343"/>
                  <a:gd name="connsiteY95" fmla="*/ 959644 h 1685925"/>
                  <a:gd name="connsiteX96" fmla="*/ 2590800 w 7703343"/>
                  <a:gd name="connsiteY96" fmla="*/ 931069 h 1685925"/>
                  <a:gd name="connsiteX97" fmla="*/ 2547938 w 7703343"/>
                  <a:gd name="connsiteY97" fmla="*/ 945356 h 1685925"/>
                  <a:gd name="connsiteX98" fmla="*/ 2495550 w 7703343"/>
                  <a:gd name="connsiteY98" fmla="*/ 928688 h 1685925"/>
                  <a:gd name="connsiteX99" fmla="*/ 2428875 w 7703343"/>
                  <a:gd name="connsiteY99" fmla="*/ 873919 h 1685925"/>
                  <a:gd name="connsiteX100" fmla="*/ 2383631 w 7703343"/>
                  <a:gd name="connsiteY100" fmla="*/ 885825 h 1685925"/>
                  <a:gd name="connsiteX101" fmla="*/ 2362200 w 7703343"/>
                  <a:gd name="connsiteY101" fmla="*/ 854869 h 1685925"/>
                  <a:gd name="connsiteX102" fmla="*/ 2305050 w 7703343"/>
                  <a:gd name="connsiteY102" fmla="*/ 895350 h 1685925"/>
                  <a:gd name="connsiteX103" fmla="*/ 2188369 w 7703343"/>
                  <a:gd name="connsiteY103" fmla="*/ 873919 h 1685925"/>
                  <a:gd name="connsiteX104" fmla="*/ 2138363 w 7703343"/>
                  <a:gd name="connsiteY104" fmla="*/ 821531 h 1685925"/>
                  <a:gd name="connsiteX105" fmla="*/ 2095500 w 7703343"/>
                  <a:gd name="connsiteY105" fmla="*/ 807244 h 1685925"/>
                  <a:gd name="connsiteX106" fmla="*/ 2052638 w 7703343"/>
                  <a:gd name="connsiteY106" fmla="*/ 833438 h 1685925"/>
                  <a:gd name="connsiteX107" fmla="*/ 2000250 w 7703343"/>
                  <a:gd name="connsiteY107" fmla="*/ 742950 h 1685925"/>
                  <a:gd name="connsiteX108" fmla="*/ 1990725 w 7703343"/>
                  <a:gd name="connsiteY108" fmla="*/ 595312 h 1685925"/>
                  <a:gd name="connsiteX109" fmla="*/ 1938337 w 7703343"/>
                  <a:gd name="connsiteY109" fmla="*/ 588168 h 1685925"/>
                  <a:gd name="connsiteX110" fmla="*/ 1847850 w 7703343"/>
                  <a:gd name="connsiteY110" fmla="*/ 578644 h 1685925"/>
                  <a:gd name="connsiteX111" fmla="*/ 1793081 w 7703343"/>
                  <a:gd name="connsiteY111" fmla="*/ 540544 h 1685925"/>
                  <a:gd name="connsiteX112" fmla="*/ 1724025 w 7703343"/>
                  <a:gd name="connsiteY112" fmla="*/ 550069 h 1685925"/>
                  <a:gd name="connsiteX113" fmla="*/ 1678781 w 7703343"/>
                  <a:gd name="connsiteY113" fmla="*/ 523875 h 1685925"/>
                  <a:gd name="connsiteX114" fmla="*/ 1669257 w 7703343"/>
                  <a:gd name="connsiteY114" fmla="*/ 452438 h 1685925"/>
                  <a:gd name="connsiteX115" fmla="*/ 1645444 w 7703343"/>
                  <a:gd name="connsiteY115" fmla="*/ 438150 h 1685925"/>
                  <a:gd name="connsiteX116" fmla="*/ 1607344 w 7703343"/>
                  <a:gd name="connsiteY116" fmla="*/ 485774 h 1685925"/>
                  <a:gd name="connsiteX117" fmla="*/ 1528762 w 7703343"/>
                  <a:gd name="connsiteY117" fmla="*/ 411956 h 1685925"/>
                  <a:gd name="connsiteX118" fmla="*/ 1488281 w 7703343"/>
                  <a:gd name="connsiteY118" fmla="*/ 452438 h 1685925"/>
                  <a:gd name="connsiteX119" fmla="*/ 1412081 w 7703343"/>
                  <a:gd name="connsiteY119" fmla="*/ 438150 h 1685925"/>
                  <a:gd name="connsiteX120" fmla="*/ 1333500 w 7703343"/>
                  <a:gd name="connsiteY120" fmla="*/ 464344 h 1685925"/>
                  <a:gd name="connsiteX121" fmla="*/ 1273969 w 7703343"/>
                  <a:gd name="connsiteY121" fmla="*/ 511968 h 1685925"/>
                  <a:gd name="connsiteX122" fmla="*/ 1200150 w 7703343"/>
                  <a:gd name="connsiteY122" fmla="*/ 523875 h 1685925"/>
                  <a:gd name="connsiteX123" fmla="*/ 1164431 w 7703343"/>
                  <a:gd name="connsiteY123" fmla="*/ 516731 h 1685925"/>
                  <a:gd name="connsiteX124" fmla="*/ 1085851 w 7703343"/>
                  <a:gd name="connsiteY124" fmla="*/ 547688 h 1685925"/>
                  <a:gd name="connsiteX125" fmla="*/ 1064419 w 7703343"/>
                  <a:gd name="connsiteY125" fmla="*/ 576263 h 1685925"/>
                  <a:gd name="connsiteX126" fmla="*/ 997744 w 7703343"/>
                  <a:gd name="connsiteY126" fmla="*/ 566738 h 1685925"/>
                  <a:gd name="connsiteX127" fmla="*/ 928688 w 7703343"/>
                  <a:gd name="connsiteY127" fmla="*/ 590550 h 1685925"/>
                  <a:gd name="connsiteX128" fmla="*/ 873919 w 7703343"/>
                  <a:gd name="connsiteY128" fmla="*/ 628650 h 1685925"/>
                  <a:gd name="connsiteX129" fmla="*/ 778669 w 7703343"/>
                  <a:gd name="connsiteY129" fmla="*/ 642937 h 1685925"/>
                  <a:gd name="connsiteX130" fmla="*/ 764381 w 7703343"/>
                  <a:gd name="connsiteY130" fmla="*/ 664369 h 1685925"/>
                  <a:gd name="connsiteX131" fmla="*/ 776287 w 7703343"/>
                  <a:gd name="connsiteY131" fmla="*/ 709613 h 1685925"/>
                  <a:gd name="connsiteX132" fmla="*/ 676276 w 7703343"/>
                  <a:gd name="connsiteY132" fmla="*/ 762000 h 1685925"/>
                  <a:gd name="connsiteX133" fmla="*/ 638175 w 7703343"/>
                  <a:gd name="connsiteY133" fmla="*/ 733424 h 1685925"/>
                  <a:gd name="connsiteX134" fmla="*/ 607219 w 7703343"/>
                  <a:gd name="connsiteY134" fmla="*/ 790575 h 1685925"/>
                  <a:gd name="connsiteX135" fmla="*/ 550069 w 7703343"/>
                  <a:gd name="connsiteY135" fmla="*/ 752475 h 1685925"/>
                  <a:gd name="connsiteX136" fmla="*/ 514350 w 7703343"/>
                  <a:gd name="connsiteY136" fmla="*/ 781050 h 1685925"/>
                  <a:gd name="connsiteX137" fmla="*/ 478631 w 7703343"/>
                  <a:gd name="connsiteY137" fmla="*/ 745331 h 1685925"/>
                  <a:gd name="connsiteX138" fmla="*/ 426244 w 7703343"/>
                  <a:gd name="connsiteY138" fmla="*/ 757238 h 1685925"/>
                  <a:gd name="connsiteX139" fmla="*/ 381000 w 7703343"/>
                  <a:gd name="connsiteY139" fmla="*/ 728663 h 1685925"/>
                  <a:gd name="connsiteX140" fmla="*/ 357188 w 7703343"/>
                  <a:gd name="connsiteY140" fmla="*/ 747713 h 1685925"/>
                  <a:gd name="connsiteX141" fmla="*/ 333375 w 7703343"/>
                  <a:gd name="connsiteY141" fmla="*/ 807244 h 1685925"/>
                  <a:gd name="connsiteX142" fmla="*/ 261938 w 7703343"/>
                  <a:gd name="connsiteY142" fmla="*/ 845343 h 1685925"/>
                  <a:gd name="connsiteX143" fmla="*/ 209550 w 7703343"/>
                  <a:gd name="connsiteY143" fmla="*/ 816769 h 1685925"/>
                  <a:gd name="connsiteX144" fmla="*/ 119063 w 7703343"/>
                  <a:gd name="connsiteY144" fmla="*/ 826294 h 1685925"/>
                  <a:gd name="connsiteX145" fmla="*/ 71437 w 7703343"/>
                  <a:gd name="connsiteY145" fmla="*/ 792957 h 1685925"/>
                  <a:gd name="connsiteX146" fmla="*/ 0 w 7703343"/>
                  <a:gd name="connsiteY146" fmla="*/ 812006 h 1685925"/>
                  <a:gd name="connsiteX147" fmla="*/ 4762 w 7703343"/>
                  <a:gd name="connsiteY147" fmla="*/ 0 h 1685925"/>
                  <a:gd name="connsiteX148" fmla="*/ 7667625 w 7703343"/>
                  <a:gd name="connsiteY148" fmla="*/ 1685925 h 1685925"/>
                  <a:gd name="connsiteX149" fmla="*/ 7529513 w 7703343"/>
                  <a:gd name="connsiteY149" fmla="*/ 1588294 h 1685925"/>
                  <a:gd name="connsiteX0" fmla="*/ 7529513 w 7703343"/>
                  <a:gd name="connsiteY0" fmla="*/ 1588294 h 1588294"/>
                  <a:gd name="connsiteX1" fmla="*/ 7522369 w 7703343"/>
                  <a:gd name="connsiteY1" fmla="*/ 1533525 h 1588294"/>
                  <a:gd name="connsiteX2" fmla="*/ 7589044 w 7703343"/>
                  <a:gd name="connsiteY2" fmla="*/ 1459706 h 1588294"/>
                  <a:gd name="connsiteX3" fmla="*/ 7572375 w 7703343"/>
                  <a:gd name="connsiteY3" fmla="*/ 1388269 h 1588294"/>
                  <a:gd name="connsiteX4" fmla="*/ 7586663 w 7703343"/>
                  <a:gd name="connsiteY4" fmla="*/ 1293019 h 1588294"/>
                  <a:gd name="connsiteX5" fmla="*/ 7624763 w 7703343"/>
                  <a:gd name="connsiteY5" fmla="*/ 1235869 h 1588294"/>
                  <a:gd name="connsiteX6" fmla="*/ 7605712 w 7703343"/>
                  <a:gd name="connsiteY6" fmla="*/ 1202531 h 1588294"/>
                  <a:gd name="connsiteX7" fmla="*/ 7703343 w 7703343"/>
                  <a:gd name="connsiteY7" fmla="*/ 802481 h 1588294"/>
                  <a:gd name="connsiteX8" fmla="*/ 7696200 w 7703343"/>
                  <a:gd name="connsiteY8" fmla="*/ 773906 h 1588294"/>
                  <a:gd name="connsiteX9" fmla="*/ 7567613 w 7703343"/>
                  <a:gd name="connsiteY9" fmla="*/ 752475 h 1588294"/>
                  <a:gd name="connsiteX10" fmla="*/ 7384257 w 7703343"/>
                  <a:gd name="connsiteY10" fmla="*/ 831056 h 1588294"/>
                  <a:gd name="connsiteX11" fmla="*/ 7227093 w 7703343"/>
                  <a:gd name="connsiteY11" fmla="*/ 716756 h 1588294"/>
                  <a:gd name="connsiteX12" fmla="*/ 7150894 w 7703343"/>
                  <a:gd name="connsiteY12" fmla="*/ 723900 h 1588294"/>
                  <a:gd name="connsiteX13" fmla="*/ 7077075 w 7703343"/>
                  <a:gd name="connsiteY13" fmla="*/ 719138 h 1588294"/>
                  <a:gd name="connsiteX14" fmla="*/ 6938963 w 7703343"/>
                  <a:gd name="connsiteY14" fmla="*/ 823913 h 1588294"/>
                  <a:gd name="connsiteX15" fmla="*/ 6831806 w 7703343"/>
                  <a:gd name="connsiteY15" fmla="*/ 931069 h 1588294"/>
                  <a:gd name="connsiteX16" fmla="*/ 6788944 w 7703343"/>
                  <a:gd name="connsiteY16" fmla="*/ 1000125 h 1588294"/>
                  <a:gd name="connsiteX17" fmla="*/ 6796088 w 7703343"/>
                  <a:gd name="connsiteY17" fmla="*/ 1035844 h 1588294"/>
                  <a:gd name="connsiteX18" fmla="*/ 6734175 w 7703343"/>
                  <a:gd name="connsiteY18" fmla="*/ 1047750 h 1588294"/>
                  <a:gd name="connsiteX19" fmla="*/ 6753225 w 7703343"/>
                  <a:gd name="connsiteY19" fmla="*/ 1047750 h 1588294"/>
                  <a:gd name="connsiteX20" fmla="*/ 6719888 w 7703343"/>
                  <a:gd name="connsiteY20" fmla="*/ 1078706 h 1588294"/>
                  <a:gd name="connsiteX21" fmla="*/ 6619875 w 7703343"/>
                  <a:gd name="connsiteY21" fmla="*/ 1078707 h 1588294"/>
                  <a:gd name="connsiteX22" fmla="*/ 6524625 w 7703343"/>
                  <a:gd name="connsiteY22" fmla="*/ 1133475 h 1588294"/>
                  <a:gd name="connsiteX23" fmla="*/ 6443663 w 7703343"/>
                  <a:gd name="connsiteY23" fmla="*/ 1143000 h 1588294"/>
                  <a:gd name="connsiteX24" fmla="*/ 6403181 w 7703343"/>
                  <a:gd name="connsiteY24" fmla="*/ 1176338 h 1588294"/>
                  <a:gd name="connsiteX25" fmla="*/ 6353175 w 7703343"/>
                  <a:gd name="connsiteY25" fmla="*/ 1181100 h 1588294"/>
                  <a:gd name="connsiteX26" fmla="*/ 6231732 w 7703343"/>
                  <a:gd name="connsiteY26" fmla="*/ 1273969 h 1588294"/>
                  <a:gd name="connsiteX27" fmla="*/ 6172200 w 7703343"/>
                  <a:gd name="connsiteY27" fmla="*/ 1278731 h 1588294"/>
                  <a:gd name="connsiteX28" fmla="*/ 6119813 w 7703343"/>
                  <a:gd name="connsiteY28" fmla="*/ 1243013 h 1588294"/>
                  <a:gd name="connsiteX29" fmla="*/ 6093619 w 7703343"/>
                  <a:gd name="connsiteY29" fmla="*/ 1278731 h 1588294"/>
                  <a:gd name="connsiteX30" fmla="*/ 5895975 w 7703343"/>
                  <a:gd name="connsiteY30" fmla="*/ 1271588 h 1588294"/>
                  <a:gd name="connsiteX31" fmla="*/ 5834063 w 7703343"/>
                  <a:gd name="connsiteY31" fmla="*/ 1226344 h 1588294"/>
                  <a:gd name="connsiteX32" fmla="*/ 5636419 w 7703343"/>
                  <a:gd name="connsiteY32" fmla="*/ 1243013 h 1588294"/>
                  <a:gd name="connsiteX33" fmla="*/ 5548313 w 7703343"/>
                  <a:gd name="connsiteY33" fmla="*/ 1159668 h 1588294"/>
                  <a:gd name="connsiteX34" fmla="*/ 5472113 w 7703343"/>
                  <a:gd name="connsiteY34" fmla="*/ 1114425 h 1588294"/>
                  <a:gd name="connsiteX35" fmla="*/ 5474493 w 7703343"/>
                  <a:gd name="connsiteY35" fmla="*/ 1057275 h 1588294"/>
                  <a:gd name="connsiteX36" fmla="*/ 5455444 w 7703343"/>
                  <a:gd name="connsiteY36" fmla="*/ 1014412 h 1588294"/>
                  <a:gd name="connsiteX37" fmla="*/ 5360194 w 7703343"/>
                  <a:gd name="connsiteY37" fmla="*/ 1016794 h 1588294"/>
                  <a:gd name="connsiteX38" fmla="*/ 5264944 w 7703343"/>
                  <a:gd name="connsiteY38" fmla="*/ 995363 h 1588294"/>
                  <a:gd name="connsiteX39" fmla="*/ 5195887 w 7703343"/>
                  <a:gd name="connsiteY39" fmla="*/ 928687 h 1588294"/>
                  <a:gd name="connsiteX40" fmla="*/ 5160169 w 7703343"/>
                  <a:gd name="connsiteY40" fmla="*/ 885825 h 1588294"/>
                  <a:gd name="connsiteX41" fmla="*/ 5079206 w 7703343"/>
                  <a:gd name="connsiteY41" fmla="*/ 862012 h 1588294"/>
                  <a:gd name="connsiteX42" fmla="*/ 5005388 w 7703343"/>
                  <a:gd name="connsiteY42" fmla="*/ 873918 h 1588294"/>
                  <a:gd name="connsiteX43" fmla="*/ 4948237 w 7703343"/>
                  <a:gd name="connsiteY43" fmla="*/ 821531 h 1588294"/>
                  <a:gd name="connsiteX44" fmla="*/ 4852988 w 7703343"/>
                  <a:gd name="connsiteY44" fmla="*/ 833438 h 1588294"/>
                  <a:gd name="connsiteX45" fmla="*/ 4800600 w 7703343"/>
                  <a:gd name="connsiteY45" fmla="*/ 807244 h 1588294"/>
                  <a:gd name="connsiteX46" fmla="*/ 4719638 w 7703343"/>
                  <a:gd name="connsiteY46" fmla="*/ 850106 h 1588294"/>
                  <a:gd name="connsiteX47" fmla="*/ 4581525 w 7703343"/>
                  <a:gd name="connsiteY47" fmla="*/ 873919 h 1588294"/>
                  <a:gd name="connsiteX48" fmla="*/ 4452938 w 7703343"/>
                  <a:gd name="connsiteY48" fmla="*/ 966788 h 1588294"/>
                  <a:gd name="connsiteX49" fmla="*/ 4405312 w 7703343"/>
                  <a:gd name="connsiteY49" fmla="*/ 928688 h 1588294"/>
                  <a:gd name="connsiteX50" fmla="*/ 4383881 w 7703343"/>
                  <a:gd name="connsiteY50" fmla="*/ 959643 h 1588294"/>
                  <a:gd name="connsiteX51" fmla="*/ 4310063 w 7703343"/>
                  <a:gd name="connsiteY51" fmla="*/ 909638 h 1588294"/>
                  <a:gd name="connsiteX52" fmla="*/ 4271963 w 7703343"/>
                  <a:gd name="connsiteY52" fmla="*/ 916781 h 1588294"/>
                  <a:gd name="connsiteX53" fmla="*/ 4250531 w 7703343"/>
                  <a:gd name="connsiteY53" fmla="*/ 878681 h 1588294"/>
                  <a:gd name="connsiteX54" fmla="*/ 4191000 w 7703343"/>
                  <a:gd name="connsiteY54" fmla="*/ 883444 h 1588294"/>
                  <a:gd name="connsiteX55" fmla="*/ 4145756 w 7703343"/>
                  <a:gd name="connsiteY55" fmla="*/ 854869 h 1588294"/>
                  <a:gd name="connsiteX56" fmla="*/ 4107656 w 7703343"/>
                  <a:gd name="connsiteY56" fmla="*/ 852488 h 1588294"/>
                  <a:gd name="connsiteX57" fmla="*/ 4088606 w 7703343"/>
                  <a:gd name="connsiteY57" fmla="*/ 804862 h 1588294"/>
                  <a:gd name="connsiteX58" fmla="*/ 4074319 w 7703343"/>
                  <a:gd name="connsiteY58" fmla="*/ 773906 h 1588294"/>
                  <a:gd name="connsiteX59" fmla="*/ 4029075 w 7703343"/>
                  <a:gd name="connsiteY59" fmla="*/ 783431 h 1588294"/>
                  <a:gd name="connsiteX60" fmla="*/ 4010025 w 7703343"/>
                  <a:gd name="connsiteY60" fmla="*/ 747713 h 1588294"/>
                  <a:gd name="connsiteX61" fmla="*/ 4031457 w 7703343"/>
                  <a:gd name="connsiteY61" fmla="*/ 692944 h 1588294"/>
                  <a:gd name="connsiteX62" fmla="*/ 4000500 w 7703343"/>
                  <a:gd name="connsiteY62" fmla="*/ 666750 h 1588294"/>
                  <a:gd name="connsiteX63" fmla="*/ 4017169 w 7703343"/>
                  <a:gd name="connsiteY63" fmla="*/ 623888 h 1588294"/>
                  <a:gd name="connsiteX64" fmla="*/ 3990975 w 7703343"/>
                  <a:gd name="connsiteY64" fmla="*/ 581025 h 1588294"/>
                  <a:gd name="connsiteX65" fmla="*/ 3986213 w 7703343"/>
                  <a:gd name="connsiteY65" fmla="*/ 519113 h 1588294"/>
                  <a:gd name="connsiteX66" fmla="*/ 4010025 w 7703343"/>
                  <a:gd name="connsiteY66" fmla="*/ 454818 h 1588294"/>
                  <a:gd name="connsiteX67" fmla="*/ 3971925 w 7703343"/>
                  <a:gd name="connsiteY67" fmla="*/ 457200 h 1588294"/>
                  <a:gd name="connsiteX68" fmla="*/ 3852863 w 7703343"/>
                  <a:gd name="connsiteY68" fmla="*/ 400050 h 1588294"/>
                  <a:gd name="connsiteX69" fmla="*/ 3814762 w 7703343"/>
                  <a:gd name="connsiteY69" fmla="*/ 404812 h 1588294"/>
                  <a:gd name="connsiteX70" fmla="*/ 3609975 w 7703343"/>
                  <a:gd name="connsiteY70" fmla="*/ 295275 h 1588294"/>
                  <a:gd name="connsiteX71" fmla="*/ 3505200 w 7703343"/>
                  <a:gd name="connsiteY71" fmla="*/ 264319 h 1588294"/>
                  <a:gd name="connsiteX72" fmla="*/ 3440906 w 7703343"/>
                  <a:gd name="connsiteY72" fmla="*/ 273843 h 1588294"/>
                  <a:gd name="connsiteX73" fmla="*/ 3409950 w 7703343"/>
                  <a:gd name="connsiteY73" fmla="*/ 209550 h 1588294"/>
                  <a:gd name="connsiteX74" fmla="*/ 3352800 w 7703343"/>
                  <a:gd name="connsiteY74" fmla="*/ 209550 h 1588294"/>
                  <a:gd name="connsiteX75" fmla="*/ 3214687 w 7703343"/>
                  <a:gd name="connsiteY75" fmla="*/ 104775 h 1588294"/>
                  <a:gd name="connsiteX76" fmla="*/ 3181350 w 7703343"/>
                  <a:gd name="connsiteY76" fmla="*/ 164307 h 1588294"/>
                  <a:gd name="connsiteX77" fmla="*/ 3126581 w 7703343"/>
                  <a:gd name="connsiteY77" fmla="*/ 233363 h 1588294"/>
                  <a:gd name="connsiteX78" fmla="*/ 3083719 w 7703343"/>
                  <a:gd name="connsiteY78" fmla="*/ 250031 h 1588294"/>
                  <a:gd name="connsiteX79" fmla="*/ 3052763 w 7703343"/>
                  <a:gd name="connsiteY79" fmla="*/ 242888 h 1588294"/>
                  <a:gd name="connsiteX80" fmla="*/ 3028950 w 7703343"/>
                  <a:gd name="connsiteY80" fmla="*/ 271463 h 1588294"/>
                  <a:gd name="connsiteX81" fmla="*/ 3002756 w 7703343"/>
                  <a:gd name="connsiteY81" fmla="*/ 350044 h 1588294"/>
                  <a:gd name="connsiteX82" fmla="*/ 2959894 w 7703343"/>
                  <a:gd name="connsiteY82" fmla="*/ 347663 h 1588294"/>
                  <a:gd name="connsiteX83" fmla="*/ 2928937 w 7703343"/>
                  <a:gd name="connsiteY83" fmla="*/ 409575 h 1588294"/>
                  <a:gd name="connsiteX84" fmla="*/ 2924175 w 7703343"/>
                  <a:gd name="connsiteY84" fmla="*/ 473869 h 1588294"/>
                  <a:gd name="connsiteX85" fmla="*/ 2897982 w 7703343"/>
                  <a:gd name="connsiteY85" fmla="*/ 511969 h 1588294"/>
                  <a:gd name="connsiteX86" fmla="*/ 2924175 w 7703343"/>
                  <a:gd name="connsiteY86" fmla="*/ 571500 h 1588294"/>
                  <a:gd name="connsiteX87" fmla="*/ 2926556 w 7703343"/>
                  <a:gd name="connsiteY87" fmla="*/ 640556 h 1588294"/>
                  <a:gd name="connsiteX88" fmla="*/ 2955131 w 7703343"/>
                  <a:gd name="connsiteY88" fmla="*/ 692944 h 1588294"/>
                  <a:gd name="connsiteX89" fmla="*/ 3002757 w 7703343"/>
                  <a:gd name="connsiteY89" fmla="*/ 747713 h 1588294"/>
                  <a:gd name="connsiteX90" fmla="*/ 2952750 w 7703343"/>
                  <a:gd name="connsiteY90" fmla="*/ 885825 h 1588294"/>
                  <a:gd name="connsiteX91" fmla="*/ 2883694 w 7703343"/>
                  <a:gd name="connsiteY91" fmla="*/ 952500 h 1588294"/>
                  <a:gd name="connsiteX92" fmla="*/ 2812256 w 7703343"/>
                  <a:gd name="connsiteY92" fmla="*/ 947738 h 1588294"/>
                  <a:gd name="connsiteX93" fmla="*/ 2774156 w 7703343"/>
                  <a:gd name="connsiteY93" fmla="*/ 1004888 h 1588294"/>
                  <a:gd name="connsiteX94" fmla="*/ 2714625 w 7703343"/>
                  <a:gd name="connsiteY94" fmla="*/ 1019175 h 1588294"/>
                  <a:gd name="connsiteX95" fmla="*/ 2645569 w 7703343"/>
                  <a:gd name="connsiteY95" fmla="*/ 959644 h 1588294"/>
                  <a:gd name="connsiteX96" fmla="*/ 2590800 w 7703343"/>
                  <a:gd name="connsiteY96" fmla="*/ 931069 h 1588294"/>
                  <a:gd name="connsiteX97" fmla="*/ 2547938 w 7703343"/>
                  <a:gd name="connsiteY97" fmla="*/ 945356 h 1588294"/>
                  <a:gd name="connsiteX98" fmla="*/ 2495550 w 7703343"/>
                  <a:gd name="connsiteY98" fmla="*/ 928688 h 1588294"/>
                  <a:gd name="connsiteX99" fmla="*/ 2428875 w 7703343"/>
                  <a:gd name="connsiteY99" fmla="*/ 873919 h 1588294"/>
                  <a:gd name="connsiteX100" fmla="*/ 2383631 w 7703343"/>
                  <a:gd name="connsiteY100" fmla="*/ 885825 h 1588294"/>
                  <a:gd name="connsiteX101" fmla="*/ 2362200 w 7703343"/>
                  <a:gd name="connsiteY101" fmla="*/ 854869 h 1588294"/>
                  <a:gd name="connsiteX102" fmla="*/ 2305050 w 7703343"/>
                  <a:gd name="connsiteY102" fmla="*/ 895350 h 1588294"/>
                  <a:gd name="connsiteX103" fmla="*/ 2188369 w 7703343"/>
                  <a:gd name="connsiteY103" fmla="*/ 873919 h 1588294"/>
                  <a:gd name="connsiteX104" fmla="*/ 2138363 w 7703343"/>
                  <a:gd name="connsiteY104" fmla="*/ 821531 h 1588294"/>
                  <a:gd name="connsiteX105" fmla="*/ 2095500 w 7703343"/>
                  <a:gd name="connsiteY105" fmla="*/ 807244 h 1588294"/>
                  <a:gd name="connsiteX106" fmla="*/ 2052638 w 7703343"/>
                  <a:gd name="connsiteY106" fmla="*/ 833438 h 1588294"/>
                  <a:gd name="connsiteX107" fmla="*/ 2000250 w 7703343"/>
                  <a:gd name="connsiteY107" fmla="*/ 742950 h 1588294"/>
                  <a:gd name="connsiteX108" fmla="*/ 1990725 w 7703343"/>
                  <a:gd name="connsiteY108" fmla="*/ 595312 h 1588294"/>
                  <a:gd name="connsiteX109" fmla="*/ 1938337 w 7703343"/>
                  <a:gd name="connsiteY109" fmla="*/ 588168 h 1588294"/>
                  <a:gd name="connsiteX110" fmla="*/ 1847850 w 7703343"/>
                  <a:gd name="connsiteY110" fmla="*/ 578644 h 1588294"/>
                  <a:gd name="connsiteX111" fmla="*/ 1793081 w 7703343"/>
                  <a:gd name="connsiteY111" fmla="*/ 540544 h 1588294"/>
                  <a:gd name="connsiteX112" fmla="*/ 1724025 w 7703343"/>
                  <a:gd name="connsiteY112" fmla="*/ 550069 h 1588294"/>
                  <a:gd name="connsiteX113" fmla="*/ 1678781 w 7703343"/>
                  <a:gd name="connsiteY113" fmla="*/ 523875 h 1588294"/>
                  <a:gd name="connsiteX114" fmla="*/ 1669257 w 7703343"/>
                  <a:gd name="connsiteY114" fmla="*/ 452438 h 1588294"/>
                  <a:gd name="connsiteX115" fmla="*/ 1645444 w 7703343"/>
                  <a:gd name="connsiteY115" fmla="*/ 438150 h 1588294"/>
                  <a:gd name="connsiteX116" fmla="*/ 1607344 w 7703343"/>
                  <a:gd name="connsiteY116" fmla="*/ 485774 h 1588294"/>
                  <a:gd name="connsiteX117" fmla="*/ 1528762 w 7703343"/>
                  <a:gd name="connsiteY117" fmla="*/ 411956 h 1588294"/>
                  <a:gd name="connsiteX118" fmla="*/ 1488281 w 7703343"/>
                  <a:gd name="connsiteY118" fmla="*/ 452438 h 1588294"/>
                  <a:gd name="connsiteX119" fmla="*/ 1412081 w 7703343"/>
                  <a:gd name="connsiteY119" fmla="*/ 438150 h 1588294"/>
                  <a:gd name="connsiteX120" fmla="*/ 1333500 w 7703343"/>
                  <a:gd name="connsiteY120" fmla="*/ 464344 h 1588294"/>
                  <a:gd name="connsiteX121" fmla="*/ 1273969 w 7703343"/>
                  <a:gd name="connsiteY121" fmla="*/ 511968 h 1588294"/>
                  <a:gd name="connsiteX122" fmla="*/ 1200150 w 7703343"/>
                  <a:gd name="connsiteY122" fmla="*/ 523875 h 1588294"/>
                  <a:gd name="connsiteX123" fmla="*/ 1164431 w 7703343"/>
                  <a:gd name="connsiteY123" fmla="*/ 516731 h 1588294"/>
                  <a:gd name="connsiteX124" fmla="*/ 1085851 w 7703343"/>
                  <a:gd name="connsiteY124" fmla="*/ 547688 h 1588294"/>
                  <a:gd name="connsiteX125" fmla="*/ 1064419 w 7703343"/>
                  <a:gd name="connsiteY125" fmla="*/ 576263 h 1588294"/>
                  <a:gd name="connsiteX126" fmla="*/ 997744 w 7703343"/>
                  <a:gd name="connsiteY126" fmla="*/ 566738 h 1588294"/>
                  <a:gd name="connsiteX127" fmla="*/ 928688 w 7703343"/>
                  <a:gd name="connsiteY127" fmla="*/ 590550 h 1588294"/>
                  <a:gd name="connsiteX128" fmla="*/ 873919 w 7703343"/>
                  <a:gd name="connsiteY128" fmla="*/ 628650 h 1588294"/>
                  <a:gd name="connsiteX129" fmla="*/ 778669 w 7703343"/>
                  <a:gd name="connsiteY129" fmla="*/ 642937 h 1588294"/>
                  <a:gd name="connsiteX130" fmla="*/ 764381 w 7703343"/>
                  <a:gd name="connsiteY130" fmla="*/ 664369 h 1588294"/>
                  <a:gd name="connsiteX131" fmla="*/ 776287 w 7703343"/>
                  <a:gd name="connsiteY131" fmla="*/ 709613 h 1588294"/>
                  <a:gd name="connsiteX132" fmla="*/ 676276 w 7703343"/>
                  <a:gd name="connsiteY132" fmla="*/ 762000 h 1588294"/>
                  <a:gd name="connsiteX133" fmla="*/ 638175 w 7703343"/>
                  <a:gd name="connsiteY133" fmla="*/ 733424 h 1588294"/>
                  <a:gd name="connsiteX134" fmla="*/ 607219 w 7703343"/>
                  <a:gd name="connsiteY134" fmla="*/ 790575 h 1588294"/>
                  <a:gd name="connsiteX135" fmla="*/ 550069 w 7703343"/>
                  <a:gd name="connsiteY135" fmla="*/ 752475 h 1588294"/>
                  <a:gd name="connsiteX136" fmla="*/ 514350 w 7703343"/>
                  <a:gd name="connsiteY136" fmla="*/ 781050 h 1588294"/>
                  <a:gd name="connsiteX137" fmla="*/ 478631 w 7703343"/>
                  <a:gd name="connsiteY137" fmla="*/ 745331 h 1588294"/>
                  <a:gd name="connsiteX138" fmla="*/ 426244 w 7703343"/>
                  <a:gd name="connsiteY138" fmla="*/ 757238 h 1588294"/>
                  <a:gd name="connsiteX139" fmla="*/ 381000 w 7703343"/>
                  <a:gd name="connsiteY139" fmla="*/ 728663 h 1588294"/>
                  <a:gd name="connsiteX140" fmla="*/ 357188 w 7703343"/>
                  <a:gd name="connsiteY140" fmla="*/ 747713 h 1588294"/>
                  <a:gd name="connsiteX141" fmla="*/ 333375 w 7703343"/>
                  <a:gd name="connsiteY141" fmla="*/ 807244 h 1588294"/>
                  <a:gd name="connsiteX142" fmla="*/ 261938 w 7703343"/>
                  <a:gd name="connsiteY142" fmla="*/ 845343 h 1588294"/>
                  <a:gd name="connsiteX143" fmla="*/ 209550 w 7703343"/>
                  <a:gd name="connsiteY143" fmla="*/ 816769 h 1588294"/>
                  <a:gd name="connsiteX144" fmla="*/ 119063 w 7703343"/>
                  <a:gd name="connsiteY144" fmla="*/ 826294 h 1588294"/>
                  <a:gd name="connsiteX145" fmla="*/ 71437 w 7703343"/>
                  <a:gd name="connsiteY145" fmla="*/ 792957 h 1588294"/>
                  <a:gd name="connsiteX146" fmla="*/ 0 w 7703343"/>
                  <a:gd name="connsiteY146" fmla="*/ 812006 h 1588294"/>
                  <a:gd name="connsiteX147" fmla="*/ 4762 w 7703343"/>
                  <a:gd name="connsiteY147" fmla="*/ 0 h 1588294"/>
                  <a:gd name="connsiteX148" fmla="*/ 7529513 w 7703343"/>
                  <a:gd name="connsiteY148" fmla="*/ 1588294 h 1588294"/>
                  <a:gd name="connsiteX0" fmla="*/ 4762 w 7703343"/>
                  <a:gd name="connsiteY0" fmla="*/ 0 h 1533525"/>
                  <a:gd name="connsiteX1" fmla="*/ 7522369 w 7703343"/>
                  <a:gd name="connsiteY1" fmla="*/ 1533525 h 1533525"/>
                  <a:gd name="connsiteX2" fmla="*/ 7589044 w 7703343"/>
                  <a:gd name="connsiteY2" fmla="*/ 1459706 h 1533525"/>
                  <a:gd name="connsiteX3" fmla="*/ 7572375 w 7703343"/>
                  <a:gd name="connsiteY3" fmla="*/ 1388269 h 1533525"/>
                  <a:gd name="connsiteX4" fmla="*/ 7586663 w 7703343"/>
                  <a:gd name="connsiteY4" fmla="*/ 1293019 h 1533525"/>
                  <a:gd name="connsiteX5" fmla="*/ 7624763 w 7703343"/>
                  <a:gd name="connsiteY5" fmla="*/ 1235869 h 1533525"/>
                  <a:gd name="connsiteX6" fmla="*/ 7605712 w 7703343"/>
                  <a:gd name="connsiteY6" fmla="*/ 1202531 h 1533525"/>
                  <a:gd name="connsiteX7" fmla="*/ 7703343 w 7703343"/>
                  <a:gd name="connsiteY7" fmla="*/ 802481 h 1533525"/>
                  <a:gd name="connsiteX8" fmla="*/ 7696200 w 7703343"/>
                  <a:gd name="connsiteY8" fmla="*/ 773906 h 1533525"/>
                  <a:gd name="connsiteX9" fmla="*/ 7567613 w 7703343"/>
                  <a:gd name="connsiteY9" fmla="*/ 752475 h 1533525"/>
                  <a:gd name="connsiteX10" fmla="*/ 7384257 w 7703343"/>
                  <a:gd name="connsiteY10" fmla="*/ 831056 h 1533525"/>
                  <a:gd name="connsiteX11" fmla="*/ 7227093 w 7703343"/>
                  <a:gd name="connsiteY11" fmla="*/ 716756 h 1533525"/>
                  <a:gd name="connsiteX12" fmla="*/ 7150894 w 7703343"/>
                  <a:gd name="connsiteY12" fmla="*/ 723900 h 1533525"/>
                  <a:gd name="connsiteX13" fmla="*/ 7077075 w 7703343"/>
                  <a:gd name="connsiteY13" fmla="*/ 719138 h 1533525"/>
                  <a:gd name="connsiteX14" fmla="*/ 6938963 w 7703343"/>
                  <a:gd name="connsiteY14" fmla="*/ 823913 h 1533525"/>
                  <a:gd name="connsiteX15" fmla="*/ 6831806 w 7703343"/>
                  <a:gd name="connsiteY15" fmla="*/ 931069 h 1533525"/>
                  <a:gd name="connsiteX16" fmla="*/ 6788944 w 7703343"/>
                  <a:gd name="connsiteY16" fmla="*/ 1000125 h 1533525"/>
                  <a:gd name="connsiteX17" fmla="*/ 6796088 w 7703343"/>
                  <a:gd name="connsiteY17" fmla="*/ 1035844 h 1533525"/>
                  <a:gd name="connsiteX18" fmla="*/ 6734175 w 7703343"/>
                  <a:gd name="connsiteY18" fmla="*/ 1047750 h 1533525"/>
                  <a:gd name="connsiteX19" fmla="*/ 6753225 w 7703343"/>
                  <a:gd name="connsiteY19" fmla="*/ 1047750 h 1533525"/>
                  <a:gd name="connsiteX20" fmla="*/ 6719888 w 7703343"/>
                  <a:gd name="connsiteY20" fmla="*/ 1078706 h 1533525"/>
                  <a:gd name="connsiteX21" fmla="*/ 6619875 w 7703343"/>
                  <a:gd name="connsiteY21" fmla="*/ 1078707 h 1533525"/>
                  <a:gd name="connsiteX22" fmla="*/ 6524625 w 7703343"/>
                  <a:gd name="connsiteY22" fmla="*/ 1133475 h 1533525"/>
                  <a:gd name="connsiteX23" fmla="*/ 6443663 w 7703343"/>
                  <a:gd name="connsiteY23" fmla="*/ 1143000 h 1533525"/>
                  <a:gd name="connsiteX24" fmla="*/ 6403181 w 7703343"/>
                  <a:gd name="connsiteY24" fmla="*/ 1176338 h 1533525"/>
                  <a:gd name="connsiteX25" fmla="*/ 6353175 w 7703343"/>
                  <a:gd name="connsiteY25" fmla="*/ 1181100 h 1533525"/>
                  <a:gd name="connsiteX26" fmla="*/ 6231732 w 7703343"/>
                  <a:gd name="connsiteY26" fmla="*/ 1273969 h 1533525"/>
                  <a:gd name="connsiteX27" fmla="*/ 6172200 w 7703343"/>
                  <a:gd name="connsiteY27" fmla="*/ 1278731 h 1533525"/>
                  <a:gd name="connsiteX28" fmla="*/ 6119813 w 7703343"/>
                  <a:gd name="connsiteY28" fmla="*/ 1243013 h 1533525"/>
                  <a:gd name="connsiteX29" fmla="*/ 6093619 w 7703343"/>
                  <a:gd name="connsiteY29" fmla="*/ 1278731 h 1533525"/>
                  <a:gd name="connsiteX30" fmla="*/ 5895975 w 7703343"/>
                  <a:gd name="connsiteY30" fmla="*/ 1271588 h 1533525"/>
                  <a:gd name="connsiteX31" fmla="*/ 5834063 w 7703343"/>
                  <a:gd name="connsiteY31" fmla="*/ 1226344 h 1533525"/>
                  <a:gd name="connsiteX32" fmla="*/ 5636419 w 7703343"/>
                  <a:gd name="connsiteY32" fmla="*/ 1243013 h 1533525"/>
                  <a:gd name="connsiteX33" fmla="*/ 5548313 w 7703343"/>
                  <a:gd name="connsiteY33" fmla="*/ 1159668 h 1533525"/>
                  <a:gd name="connsiteX34" fmla="*/ 5472113 w 7703343"/>
                  <a:gd name="connsiteY34" fmla="*/ 1114425 h 1533525"/>
                  <a:gd name="connsiteX35" fmla="*/ 5474493 w 7703343"/>
                  <a:gd name="connsiteY35" fmla="*/ 1057275 h 1533525"/>
                  <a:gd name="connsiteX36" fmla="*/ 5455444 w 7703343"/>
                  <a:gd name="connsiteY36" fmla="*/ 1014412 h 1533525"/>
                  <a:gd name="connsiteX37" fmla="*/ 5360194 w 7703343"/>
                  <a:gd name="connsiteY37" fmla="*/ 1016794 h 1533525"/>
                  <a:gd name="connsiteX38" fmla="*/ 5264944 w 7703343"/>
                  <a:gd name="connsiteY38" fmla="*/ 995363 h 1533525"/>
                  <a:gd name="connsiteX39" fmla="*/ 5195887 w 7703343"/>
                  <a:gd name="connsiteY39" fmla="*/ 928687 h 1533525"/>
                  <a:gd name="connsiteX40" fmla="*/ 5160169 w 7703343"/>
                  <a:gd name="connsiteY40" fmla="*/ 885825 h 1533525"/>
                  <a:gd name="connsiteX41" fmla="*/ 5079206 w 7703343"/>
                  <a:gd name="connsiteY41" fmla="*/ 862012 h 1533525"/>
                  <a:gd name="connsiteX42" fmla="*/ 5005388 w 7703343"/>
                  <a:gd name="connsiteY42" fmla="*/ 873918 h 1533525"/>
                  <a:gd name="connsiteX43" fmla="*/ 4948237 w 7703343"/>
                  <a:gd name="connsiteY43" fmla="*/ 821531 h 1533525"/>
                  <a:gd name="connsiteX44" fmla="*/ 4852988 w 7703343"/>
                  <a:gd name="connsiteY44" fmla="*/ 833438 h 1533525"/>
                  <a:gd name="connsiteX45" fmla="*/ 4800600 w 7703343"/>
                  <a:gd name="connsiteY45" fmla="*/ 807244 h 1533525"/>
                  <a:gd name="connsiteX46" fmla="*/ 4719638 w 7703343"/>
                  <a:gd name="connsiteY46" fmla="*/ 850106 h 1533525"/>
                  <a:gd name="connsiteX47" fmla="*/ 4581525 w 7703343"/>
                  <a:gd name="connsiteY47" fmla="*/ 873919 h 1533525"/>
                  <a:gd name="connsiteX48" fmla="*/ 4452938 w 7703343"/>
                  <a:gd name="connsiteY48" fmla="*/ 966788 h 1533525"/>
                  <a:gd name="connsiteX49" fmla="*/ 4405312 w 7703343"/>
                  <a:gd name="connsiteY49" fmla="*/ 928688 h 1533525"/>
                  <a:gd name="connsiteX50" fmla="*/ 4383881 w 7703343"/>
                  <a:gd name="connsiteY50" fmla="*/ 959643 h 1533525"/>
                  <a:gd name="connsiteX51" fmla="*/ 4310063 w 7703343"/>
                  <a:gd name="connsiteY51" fmla="*/ 909638 h 1533525"/>
                  <a:gd name="connsiteX52" fmla="*/ 4271963 w 7703343"/>
                  <a:gd name="connsiteY52" fmla="*/ 916781 h 1533525"/>
                  <a:gd name="connsiteX53" fmla="*/ 4250531 w 7703343"/>
                  <a:gd name="connsiteY53" fmla="*/ 878681 h 1533525"/>
                  <a:gd name="connsiteX54" fmla="*/ 4191000 w 7703343"/>
                  <a:gd name="connsiteY54" fmla="*/ 883444 h 1533525"/>
                  <a:gd name="connsiteX55" fmla="*/ 4145756 w 7703343"/>
                  <a:gd name="connsiteY55" fmla="*/ 854869 h 1533525"/>
                  <a:gd name="connsiteX56" fmla="*/ 4107656 w 7703343"/>
                  <a:gd name="connsiteY56" fmla="*/ 852488 h 1533525"/>
                  <a:gd name="connsiteX57" fmla="*/ 4088606 w 7703343"/>
                  <a:gd name="connsiteY57" fmla="*/ 804862 h 1533525"/>
                  <a:gd name="connsiteX58" fmla="*/ 4074319 w 7703343"/>
                  <a:gd name="connsiteY58" fmla="*/ 773906 h 1533525"/>
                  <a:gd name="connsiteX59" fmla="*/ 4029075 w 7703343"/>
                  <a:gd name="connsiteY59" fmla="*/ 783431 h 1533525"/>
                  <a:gd name="connsiteX60" fmla="*/ 4010025 w 7703343"/>
                  <a:gd name="connsiteY60" fmla="*/ 747713 h 1533525"/>
                  <a:gd name="connsiteX61" fmla="*/ 4031457 w 7703343"/>
                  <a:gd name="connsiteY61" fmla="*/ 692944 h 1533525"/>
                  <a:gd name="connsiteX62" fmla="*/ 4000500 w 7703343"/>
                  <a:gd name="connsiteY62" fmla="*/ 666750 h 1533525"/>
                  <a:gd name="connsiteX63" fmla="*/ 4017169 w 7703343"/>
                  <a:gd name="connsiteY63" fmla="*/ 623888 h 1533525"/>
                  <a:gd name="connsiteX64" fmla="*/ 3990975 w 7703343"/>
                  <a:gd name="connsiteY64" fmla="*/ 581025 h 1533525"/>
                  <a:gd name="connsiteX65" fmla="*/ 3986213 w 7703343"/>
                  <a:gd name="connsiteY65" fmla="*/ 519113 h 1533525"/>
                  <a:gd name="connsiteX66" fmla="*/ 4010025 w 7703343"/>
                  <a:gd name="connsiteY66" fmla="*/ 454818 h 1533525"/>
                  <a:gd name="connsiteX67" fmla="*/ 3971925 w 7703343"/>
                  <a:gd name="connsiteY67" fmla="*/ 457200 h 1533525"/>
                  <a:gd name="connsiteX68" fmla="*/ 3852863 w 7703343"/>
                  <a:gd name="connsiteY68" fmla="*/ 400050 h 1533525"/>
                  <a:gd name="connsiteX69" fmla="*/ 3814762 w 7703343"/>
                  <a:gd name="connsiteY69" fmla="*/ 404812 h 1533525"/>
                  <a:gd name="connsiteX70" fmla="*/ 3609975 w 7703343"/>
                  <a:gd name="connsiteY70" fmla="*/ 295275 h 1533525"/>
                  <a:gd name="connsiteX71" fmla="*/ 3505200 w 7703343"/>
                  <a:gd name="connsiteY71" fmla="*/ 264319 h 1533525"/>
                  <a:gd name="connsiteX72" fmla="*/ 3440906 w 7703343"/>
                  <a:gd name="connsiteY72" fmla="*/ 273843 h 1533525"/>
                  <a:gd name="connsiteX73" fmla="*/ 3409950 w 7703343"/>
                  <a:gd name="connsiteY73" fmla="*/ 209550 h 1533525"/>
                  <a:gd name="connsiteX74" fmla="*/ 3352800 w 7703343"/>
                  <a:gd name="connsiteY74" fmla="*/ 209550 h 1533525"/>
                  <a:gd name="connsiteX75" fmla="*/ 3214687 w 7703343"/>
                  <a:gd name="connsiteY75" fmla="*/ 104775 h 1533525"/>
                  <a:gd name="connsiteX76" fmla="*/ 3181350 w 7703343"/>
                  <a:gd name="connsiteY76" fmla="*/ 164307 h 1533525"/>
                  <a:gd name="connsiteX77" fmla="*/ 3126581 w 7703343"/>
                  <a:gd name="connsiteY77" fmla="*/ 233363 h 1533525"/>
                  <a:gd name="connsiteX78" fmla="*/ 3083719 w 7703343"/>
                  <a:gd name="connsiteY78" fmla="*/ 250031 h 1533525"/>
                  <a:gd name="connsiteX79" fmla="*/ 3052763 w 7703343"/>
                  <a:gd name="connsiteY79" fmla="*/ 242888 h 1533525"/>
                  <a:gd name="connsiteX80" fmla="*/ 3028950 w 7703343"/>
                  <a:gd name="connsiteY80" fmla="*/ 271463 h 1533525"/>
                  <a:gd name="connsiteX81" fmla="*/ 3002756 w 7703343"/>
                  <a:gd name="connsiteY81" fmla="*/ 350044 h 1533525"/>
                  <a:gd name="connsiteX82" fmla="*/ 2959894 w 7703343"/>
                  <a:gd name="connsiteY82" fmla="*/ 347663 h 1533525"/>
                  <a:gd name="connsiteX83" fmla="*/ 2928937 w 7703343"/>
                  <a:gd name="connsiteY83" fmla="*/ 409575 h 1533525"/>
                  <a:gd name="connsiteX84" fmla="*/ 2924175 w 7703343"/>
                  <a:gd name="connsiteY84" fmla="*/ 473869 h 1533525"/>
                  <a:gd name="connsiteX85" fmla="*/ 2897982 w 7703343"/>
                  <a:gd name="connsiteY85" fmla="*/ 511969 h 1533525"/>
                  <a:gd name="connsiteX86" fmla="*/ 2924175 w 7703343"/>
                  <a:gd name="connsiteY86" fmla="*/ 571500 h 1533525"/>
                  <a:gd name="connsiteX87" fmla="*/ 2926556 w 7703343"/>
                  <a:gd name="connsiteY87" fmla="*/ 640556 h 1533525"/>
                  <a:gd name="connsiteX88" fmla="*/ 2955131 w 7703343"/>
                  <a:gd name="connsiteY88" fmla="*/ 692944 h 1533525"/>
                  <a:gd name="connsiteX89" fmla="*/ 3002757 w 7703343"/>
                  <a:gd name="connsiteY89" fmla="*/ 747713 h 1533525"/>
                  <a:gd name="connsiteX90" fmla="*/ 2952750 w 7703343"/>
                  <a:gd name="connsiteY90" fmla="*/ 885825 h 1533525"/>
                  <a:gd name="connsiteX91" fmla="*/ 2883694 w 7703343"/>
                  <a:gd name="connsiteY91" fmla="*/ 952500 h 1533525"/>
                  <a:gd name="connsiteX92" fmla="*/ 2812256 w 7703343"/>
                  <a:gd name="connsiteY92" fmla="*/ 947738 h 1533525"/>
                  <a:gd name="connsiteX93" fmla="*/ 2774156 w 7703343"/>
                  <a:gd name="connsiteY93" fmla="*/ 1004888 h 1533525"/>
                  <a:gd name="connsiteX94" fmla="*/ 2714625 w 7703343"/>
                  <a:gd name="connsiteY94" fmla="*/ 1019175 h 1533525"/>
                  <a:gd name="connsiteX95" fmla="*/ 2645569 w 7703343"/>
                  <a:gd name="connsiteY95" fmla="*/ 959644 h 1533525"/>
                  <a:gd name="connsiteX96" fmla="*/ 2590800 w 7703343"/>
                  <a:gd name="connsiteY96" fmla="*/ 931069 h 1533525"/>
                  <a:gd name="connsiteX97" fmla="*/ 2547938 w 7703343"/>
                  <a:gd name="connsiteY97" fmla="*/ 945356 h 1533525"/>
                  <a:gd name="connsiteX98" fmla="*/ 2495550 w 7703343"/>
                  <a:gd name="connsiteY98" fmla="*/ 928688 h 1533525"/>
                  <a:gd name="connsiteX99" fmla="*/ 2428875 w 7703343"/>
                  <a:gd name="connsiteY99" fmla="*/ 873919 h 1533525"/>
                  <a:gd name="connsiteX100" fmla="*/ 2383631 w 7703343"/>
                  <a:gd name="connsiteY100" fmla="*/ 885825 h 1533525"/>
                  <a:gd name="connsiteX101" fmla="*/ 2362200 w 7703343"/>
                  <a:gd name="connsiteY101" fmla="*/ 854869 h 1533525"/>
                  <a:gd name="connsiteX102" fmla="*/ 2305050 w 7703343"/>
                  <a:gd name="connsiteY102" fmla="*/ 895350 h 1533525"/>
                  <a:gd name="connsiteX103" fmla="*/ 2188369 w 7703343"/>
                  <a:gd name="connsiteY103" fmla="*/ 873919 h 1533525"/>
                  <a:gd name="connsiteX104" fmla="*/ 2138363 w 7703343"/>
                  <a:gd name="connsiteY104" fmla="*/ 821531 h 1533525"/>
                  <a:gd name="connsiteX105" fmla="*/ 2095500 w 7703343"/>
                  <a:gd name="connsiteY105" fmla="*/ 807244 h 1533525"/>
                  <a:gd name="connsiteX106" fmla="*/ 2052638 w 7703343"/>
                  <a:gd name="connsiteY106" fmla="*/ 833438 h 1533525"/>
                  <a:gd name="connsiteX107" fmla="*/ 2000250 w 7703343"/>
                  <a:gd name="connsiteY107" fmla="*/ 742950 h 1533525"/>
                  <a:gd name="connsiteX108" fmla="*/ 1990725 w 7703343"/>
                  <a:gd name="connsiteY108" fmla="*/ 595312 h 1533525"/>
                  <a:gd name="connsiteX109" fmla="*/ 1938337 w 7703343"/>
                  <a:gd name="connsiteY109" fmla="*/ 588168 h 1533525"/>
                  <a:gd name="connsiteX110" fmla="*/ 1847850 w 7703343"/>
                  <a:gd name="connsiteY110" fmla="*/ 578644 h 1533525"/>
                  <a:gd name="connsiteX111" fmla="*/ 1793081 w 7703343"/>
                  <a:gd name="connsiteY111" fmla="*/ 540544 h 1533525"/>
                  <a:gd name="connsiteX112" fmla="*/ 1724025 w 7703343"/>
                  <a:gd name="connsiteY112" fmla="*/ 550069 h 1533525"/>
                  <a:gd name="connsiteX113" fmla="*/ 1678781 w 7703343"/>
                  <a:gd name="connsiteY113" fmla="*/ 523875 h 1533525"/>
                  <a:gd name="connsiteX114" fmla="*/ 1669257 w 7703343"/>
                  <a:gd name="connsiteY114" fmla="*/ 452438 h 1533525"/>
                  <a:gd name="connsiteX115" fmla="*/ 1645444 w 7703343"/>
                  <a:gd name="connsiteY115" fmla="*/ 438150 h 1533525"/>
                  <a:gd name="connsiteX116" fmla="*/ 1607344 w 7703343"/>
                  <a:gd name="connsiteY116" fmla="*/ 485774 h 1533525"/>
                  <a:gd name="connsiteX117" fmla="*/ 1528762 w 7703343"/>
                  <a:gd name="connsiteY117" fmla="*/ 411956 h 1533525"/>
                  <a:gd name="connsiteX118" fmla="*/ 1488281 w 7703343"/>
                  <a:gd name="connsiteY118" fmla="*/ 452438 h 1533525"/>
                  <a:gd name="connsiteX119" fmla="*/ 1412081 w 7703343"/>
                  <a:gd name="connsiteY119" fmla="*/ 438150 h 1533525"/>
                  <a:gd name="connsiteX120" fmla="*/ 1333500 w 7703343"/>
                  <a:gd name="connsiteY120" fmla="*/ 464344 h 1533525"/>
                  <a:gd name="connsiteX121" fmla="*/ 1273969 w 7703343"/>
                  <a:gd name="connsiteY121" fmla="*/ 511968 h 1533525"/>
                  <a:gd name="connsiteX122" fmla="*/ 1200150 w 7703343"/>
                  <a:gd name="connsiteY122" fmla="*/ 523875 h 1533525"/>
                  <a:gd name="connsiteX123" fmla="*/ 1164431 w 7703343"/>
                  <a:gd name="connsiteY123" fmla="*/ 516731 h 1533525"/>
                  <a:gd name="connsiteX124" fmla="*/ 1085851 w 7703343"/>
                  <a:gd name="connsiteY124" fmla="*/ 547688 h 1533525"/>
                  <a:gd name="connsiteX125" fmla="*/ 1064419 w 7703343"/>
                  <a:gd name="connsiteY125" fmla="*/ 576263 h 1533525"/>
                  <a:gd name="connsiteX126" fmla="*/ 997744 w 7703343"/>
                  <a:gd name="connsiteY126" fmla="*/ 566738 h 1533525"/>
                  <a:gd name="connsiteX127" fmla="*/ 928688 w 7703343"/>
                  <a:gd name="connsiteY127" fmla="*/ 590550 h 1533525"/>
                  <a:gd name="connsiteX128" fmla="*/ 873919 w 7703343"/>
                  <a:gd name="connsiteY128" fmla="*/ 628650 h 1533525"/>
                  <a:gd name="connsiteX129" fmla="*/ 778669 w 7703343"/>
                  <a:gd name="connsiteY129" fmla="*/ 642937 h 1533525"/>
                  <a:gd name="connsiteX130" fmla="*/ 764381 w 7703343"/>
                  <a:gd name="connsiteY130" fmla="*/ 664369 h 1533525"/>
                  <a:gd name="connsiteX131" fmla="*/ 776287 w 7703343"/>
                  <a:gd name="connsiteY131" fmla="*/ 709613 h 1533525"/>
                  <a:gd name="connsiteX132" fmla="*/ 676276 w 7703343"/>
                  <a:gd name="connsiteY132" fmla="*/ 762000 h 1533525"/>
                  <a:gd name="connsiteX133" fmla="*/ 638175 w 7703343"/>
                  <a:gd name="connsiteY133" fmla="*/ 733424 h 1533525"/>
                  <a:gd name="connsiteX134" fmla="*/ 607219 w 7703343"/>
                  <a:gd name="connsiteY134" fmla="*/ 790575 h 1533525"/>
                  <a:gd name="connsiteX135" fmla="*/ 550069 w 7703343"/>
                  <a:gd name="connsiteY135" fmla="*/ 752475 h 1533525"/>
                  <a:gd name="connsiteX136" fmla="*/ 514350 w 7703343"/>
                  <a:gd name="connsiteY136" fmla="*/ 781050 h 1533525"/>
                  <a:gd name="connsiteX137" fmla="*/ 478631 w 7703343"/>
                  <a:gd name="connsiteY137" fmla="*/ 745331 h 1533525"/>
                  <a:gd name="connsiteX138" fmla="*/ 426244 w 7703343"/>
                  <a:gd name="connsiteY138" fmla="*/ 757238 h 1533525"/>
                  <a:gd name="connsiteX139" fmla="*/ 381000 w 7703343"/>
                  <a:gd name="connsiteY139" fmla="*/ 728663 h 1533525"/>
                  <a:gd name="connsiteX140" fmla="*/ 357188 w 7703343"/>
                  <a:gd name="connsiteY140" fmla="*/ 747713 h 1533525"/>
                  <a:gd name="connsiteX141" fmla="*/ 333375 w 7703343"/>
                  <a:gd name="connsiteY141" fmla="*/ 807244 h 1533525"/>
                  <a:gd name="connsiteX142" fmla="*/ 261938 w 7703343"/>
                  <a:gd name="connsiteY142" fmla="*/ 845343 h 1533525"/>
                  <a:gd name="connsiteX143" fmla="*/ 209550 w 7703343"/>
                  <a:gd name="connsiteY143" fmla="*/ 816769 h 1533525"/>
                  <a:gd name="connsiteX144" fmla="*/ 119063 w 7703343"/>
                  <a:gd name="connsiteY144" fmla="*/ 826294 h 1533525"/>
                  <a:gd name="connsiteX145" fmla="*/ 71437 w 7703343"/>
                  <a:gd name="connsiteY145" fmla="*/ 792957 h 1533525"/>
                  <a:gd name="connsiteX146" fmla="*/ 0 w 7703343"/>
                  <a:gd name="connsiteY146" fmla="*/ 812006 h 1533525"/>
                  <a:gd name="connsiteX147" fmla="*/ 4762 w 7703343"/>
                  <a:gd name="connsiteY147" fmla="*/ 0 h 1533525"/>
                  <a:gd name="connsiteX0" fmla="*/ 4762 w 7703343"/>
                  <a:gd name="connsiteY0" fmla="*/ 0 h 1459706"/>
                  <a:gd name="connsiteX1" fmla="*/ 7589044 w 7703343"/>
                  <a:gd name="connsiteY1" fmla="*/ 1459706 h 1459706"/>
                  <a:gd name="connsiteX2" fmla="*/ 7572375 w 7703343"/>
                  <a:gd name="connsiteY2" fmla="*/ 1388269 h 1459706"/>
                  <a:gd name="connsiteX3" fmla="*/ 7586663 w 7703343"/>
                  <a:gd name="connsiteY3" fmla="*/ 1293019 h 1459706"/>
                  <a:gd name="connsiteX4" fmla="*/ 7624763 w 7703343"/>
                  <a:gd name="connsiteY4" fmla="*/ 1235869 h 1459706"/>
                  <a:gd name="connsiteX5" fmla="*/ 7605712 w 7703343"/>
                  <a:gd name="connsiteY5" fmla="*/ 1202531 h 1459706"/>
                  <a:gd name="connsiteX6" fmla="*/ 7703343 w 7703343"/>
                  <a:gd name="connsiteY6" fmla="*/ 802481 h 1459706"/>
                  <a:gd name="connsiteX7" fmla="*/ 7696200 w 7703343"/>
                  <a:gd name="connsiteY7" fmla="*/ 773906 h 1459706"/>
                  <a:gd name="connsiteX8" fmla="*/ 7567613 w 7703343"/>
                  <a:gd name="connsiteY8" fmla="*/ 752475 h 1459706"/>
                  <a:gd name="connsiteX9" fmla="*/ 7384257 w 7703343"/>
                  <a:gd name="connsiteY9" fmla="*/ 831056 h 1459706"/>
                  <a:gd name="connsiteX10" fmla="*/ 7227093 w 7703343"/>
                  <a:gd name="connsiteY10" fmla="*/ 716756 h 1459706"/>
                  <a:gd name="connsiteX11" fmla="*/ 7150894 w 7703343"/>
                  <a:gd name="connsiteY11" fmla="*/ 723900 h 1459706"/>
                  <a:gd name="connsiteX12" fmla="*/ 7077075 w 7703343"/>
                  <a:gd name="connsiteY12" fmla="*/ 719138 h 1459706"/>
                  <a:gd name="connsiteX13" fmla="*/ 6938963 w 7703343"/>
                  <a:gd name="connsiteY13" fmla="*/ 823913 h 1459706"/>
                  <a:gd name="connsiteX14" fmla="*/ 6831806 w 7703343"/>
                  <a:gd name="connsiteY14" fmla="*/ 931069 h 1459706"/>
                  <a:gd name="connsiteX15" fmla="*/ 6788944 w 7703343"/>
                  <a:gd name="connsiteY15" fmla="*/ 1000125 h 1459706"/>
                  <a:gd name="connsiteX16" fmla="*/ 6796088 w 7703343"/>
                  <a:gd name="connsiteY16" fmla="*/ 1035844 h 1459706"/>
                  <a:gd name="connsiteX17" fmla="*/ 6734175 w 7703343"/>
                  <a:gd name="connsiteY17" fmla="*/ 1047750 h 1459706"/>
                  <a:gd name="connsiteX18" fmla="*/ 6753225 w 7703343"/>
                  <a:gd name="connsiteY18" fmla="*/ 1047750 h 1459706"/>
                  <a:gd name="connsiteX19" fmla="*/ 6719888 w 7703343"/>
                  <a:gd name="connsiteY19" fmla="*/ 1078706 h 1459706"/>
                  <a:gd name="connsiteX20" fmla="*/ 6619875 w 7703343"/>
                  <a:gd name="connsiteY20" fmla="*/ 1078707 h 1459706"/>
                  <a:gd name="connsiteX21" fmla="*/ 6524625 w 7703343"/>
                  <a:gd name="connsiteY21" fmla="*/ 1133475 h 1459706"/>
                  <a:gd name="connsiteX22" fmla="*/ 6443663 w 7703343"/>
                  <a:gd name="connsiteY22" fmla="*/ 1143000 h 1459706"/>
                  <a:gd name="connsiteX23" fmla="*/ 6403181 w 7703343"/>
                  <a:gd name="connsiteY23" fmla="*/ 1176338 h 1459706"/>
                  <a:gd name="connsiteX24" fmla="*/ 6353175 w 7703343"/>
                  <a:gd name="connsiteY24" fmla="*/ 1181100 h 1459706"/>
                  <a:gd name="connsiteX25" fmla="*/ 6231732 w 7703343"/>
                  <a:gd name="connsiteY25" fmla="*/ 1273969 h 1459706"/>
                  <a:gd name="connsiteX26" fmla="*/ 6172200 w 7703343"/>
                  <a:gd name="connsiteY26" fmla="*/ 1278731 h 1459706"/>
                  <a:gd name="connsiteX27" fmla="*/ 6119813 w 7703343"/>
                  <a:gd name="connsiteY27" fmla="*/ 1243013 h 1459706"/>
                  <a:gd name="connsiteX28" fmla="*/ 6093619 w 7703343"/>
                  <a:gd name="connsiteY28" fmla="*/ 1278731 h 1459706"/>
                  <a:gd name="connsiteX29" fmla="*/ 5895975 w 7703343"/>
                  <a:gd name="connsiteY29" fmla="*/ 1271588 h 1459706"/>
                  <a:gd name="connsiteX30" fmla="*/ 5834063 w 7703343"/>
                  <a:gd name="connsiteY30" fmla="*/ 1226344 h 1459706"/>
                  <a:gd name="connsiteX31" fmla="*/ 5636419 w 7703343"/>
                  <a:gd name="connsiteY31" fmla="*/ 1243013 h 1459706"/>
                  <a:gd name="connsiteX32" fmla="*/ 5548313 w 7703343"/>
                  <a:gd name="connsiteY32" fmla="*/ 1159668 h 1459706"/>
                  <a:gd name="connsiteX33" fmla="*/ 5472113 w 7703343"/>
                  <a:gd name="connsiteY33" fmla="*/ 1114425 h 1459706"/>
                  <a:gd name="connsiteX34" fmla="*/ 5474493 w 7703343"/>
                  <a:gd name="connsiteY34" fmla="*/ 1057275 h 1459706"/>
                  <a:gd name="connsiteX35" fmla="*/ 5455444 w 7703343"/>
                  <a:gd name="connsiteY35" fmla="*/ 1014412 h 1459706"/>
                  <a:gd name="connsiteX36" fmla="*/ 5360194 w 7703343"/>
                  <a:gd name="connsiteY36" fmla="*/ 1016794 h 1459706"/>
                  <a:gd name="connsiteX37" fmla="*/ 5264944 w 7703343"/>
                  <a:gd name="connsiteY37" fmla="*/ 995363 h 1459706"/>
                  <a:gd name="connsiteX38" fmla="*/ 5195887 w 7703343"/>
                  <a:gd name="connsiteY38" fmla="*/ 928687 h 1459706"/>
                  <a:gd name="connsiteX39" fmla="*/ 5160169 w 7703343"/>
                  <a:gd name="connsiteY39" fmla="*/ 885825 h 1459706"/>
                  <a:gd name="connsiteX40" fmla="*/ 5079206 w 7703343"/>
                  <a:gd name="connsiteY40" fmla="*/ 862012 h 1459706"/>
                  <a:gd name="connsiteX41" fmla="*/ 5005388 w 7703343"/>
                  <a:gd name="connsiteY41" fmla="*/ 873918 h 1459706"/>
                  <a:gd name="connsiteX42" fmla="*/ 4948237 w 7703343"/>
                  <a:gd name="connsiteY42" fmla="*/ 821531 h 1459706"/>
                  <a:gd name="connsiteX43" fmla="*/ 4852988 w 7703343"/>
                  <a:gd name="connsiteY43" fmla="*/ 833438 h 1459706"/>
                  <a:gd name="connsiteX44" fmla="*/ 4800600 w 7703343"/>
                  <a:gd name="connsiteY44" fmla="*/ 807244 h 1459706"/>
                  <a:gd name="connsiteX45" fmla="*/ 4719638 w 7703343"/>
                  <a:gd name="connsiteY45" fmla="*/ 850106 h 1459706"/>
                  <a:gd name="connsiteX46" fmla="*/ 4581525 w 7703343"/>
                  <a:gd name="connsiteY46" fmla="*/ 873919 h 1459706"/>
                  <a:gd name="connsiteX47" fmla="*/ 4452938 w 7703343"/>
                  <a:gd name="connsiteY47" fmla="*/ 966788 h 1459706"/>
                  <a:gd name="connsiteX48" fmla="*/ 4405312 w 7703343"/>
                  <a:gd name="connsiteY48" fmla="*/ 928688 h 1459706"/>
                  <a:gd name="connsiteX49" fmla="*/ 4383881 w 7703343"/>
                  <a:gd name="connsiteY49" fmla="*/ 959643 h 1459706"/>
                  <a:gd name="connsiteX50" fmla="*/ 4310063 w 7703343"/>
                  <a:gd name="connsiteY50" fmla="*/ 909638 h 1459706"/>
                  <a:gd name="connsiteX51" fmla="*/ 4271963 w 7703343"/>
                  <a:gd name="connsiteY51" fmla="*/ 916781 h 1459706"/>
                  <a:gd name="connsiteX52" fmla="*/ 4250531 w 7703343"/>
                  <a:gd name="connsiteY52" fmla="*/ 878681 h 1459706"/>
                  <a:gd name="connsiteX53" fmla="*/ 4191000 w 7703343"/>
                  <a:gd name="connsiteY53" fmla="*/ 883444 h 1459706"/>
                  <a:gd name="connsiteX54" fmla="*/ 4145756 w 7703343"/>
                  <a:gd name="connsiteY54" fmla="*/ 854869 h 1459706"/>
                  <a:gd name="connsiteX55" fmla="*/ 4107656 w 7703343"/>
                  <a:gd name="connsiteY55" fmla="*/ 852488 h 1459706"/>
                  <a:gd name="connsiteX56" fmla="*/ 4088606 w 7703343"/>
                  <a:gd name="connsiteY56" fmla="*/ 804862 h 1459706"/>
                  <a:gd name="connsiteX57" fmla="*/ 4074319 w 7703343"/>
                  <a:gd name="connsiteY57" fmla="*/ 773906 h 1459706"/>
                  <a:gd name="connsiteX58" fmla="*/ 4029075 w 7703343"/>
                  <a:gd name="connsiteY58" fmla="*/ 783431 h 1459706"/>
                  <a:gd name="connsiteX59" fmla="*/ 4010025 w 7703343"/>
                  <a:gd name="connsiteY59" fmla="*/ 747713 h 1459706"/>
                  <a:gd name="connsiteX60" fmla="*/ 4031457 w 7703343"/>
                  <a:gd name="connsiteY60" fmla="*/ 692944 h 1459706"/>
                  <a:gd name="connsiteX61" fmla="*/ 4000500 w 7703343"/>
                  <a:gd name="connsiteY61" fmla="*/ 666750 h 1459706"/>
                  <a:gd name="connsiteX62" fmla="*/ 4017169 w 7703343"/>
                  <a:gd name="connsiteY62" fmla="*/ 623888 h 1459706"/>
                  <a:gd name="connsiteX63" fmla="*/ 3990975 w 7703343"/>
                  <a:gd name="connsiteY63" fmla="*/ 581025 h 1459706"/>
                  <a:gd name="connsiteX64" fmla="*/ 3986213 w 7703343"/>
                  <a:gd name="connsiteY64" fmla="*/ 519113 h 1459706"/>
                  <a:gd name="connsiteX65" fmla="*/ 4010025 w 7703343"/>
                  <a:gd name="connsiteY65" fmla="*/ 454818 h 1459706"/>
                  <a:gd name="connsiteX66" fmla="*/ 3971925 w 7703343"/>
                  <a:gd name="connsiteY66" fmla="*/ 457200 h 1459706"/>
                  <a:gd name="connsiteX67" fmla="*/ 3852863 w 7703343"/>
                  <a:gd name="connsiteY67" fmla="*/ 400050 h 1459706"/>
                  <a:gd name="connsiteX68" fmla="*/ 3814762 w 7703343"/>
                  <a:gd name="connsiteY68" fmla="*/ 404812 h 1459706"/>
                  <a:gd name="connsiteX69" fmla="*/ 3609975 w 7703343"/>
                  <a:gd name="connsiteY69" fmla="*/ 295275 h 1459706"/>
                  <a:gd name="connsiteX70" fmla="*/ 3505200 w 7703343"/>
                  <a:gd name="connsiteY70" fmla="*/ 264319 h 1459706"/>
                  <a:gd name="connsiteX71" fmla="*/ 3440906 w 7703343"/>
                  <a:gd name="connsiteY71" fmla="*/ 273843 h 1459706"/>
                  <a:gd name="connsiteX72" fmla="*/ 3409950 w 7703343"/>
                  <a:gd name="connsiteY72" fmla="*/ 209550 h 1459706"/>
                  <a:gd name="connsiteX73" fmla="*/ 3352800 w 7703343"/>
                  <a:gd name="connsiteY73" fmla="*/ 209550 h 1459706"/>
                  <a:gd name="connsiteX74" fmla="*/ 3214687 w 7703343"/>
                  <a:gd name="connsiteY74" fmla="*/ 104775 h 1459706"/>
                  <a:gd name="connsiteX75" fmla="*/ 3181350 w 7703343"/>
                  <a:gd name="connsiteY75" fmla="*/ 164307 h 1459706"/>
                  <a:gd name="connsiteX76" fmla="*/ 3126581 w 7703343"/>
                  <a:gd name="connsiteY76" fmla="*/ 233363 h 1459706"/>
                  <a:gd name="connsiteX77" fmla="*/ 3083719 w 7703343"/>
                  <a:gd name="connsiteY77" fmla="*/ 250031 h 1459706"/>
                  <a:gd name="connsiteX78" fmla="*/ 3052763 w 7703343"/>
                  <a:gd name="connsiteY78" fmla="*/ 242888 h 1459706"/>
                  <a:gd name="connsiteX79" fmla="*/ 3028950 w 7703343"/>
                  <a:gd name="connsiteY79" fmla="*/ 271463 h 1459706"/>
                  <a:gd name="connsiteX80" fmla="*/ 3002756 w 7703343"/>
                  <a:gd name="connsiteY80" fmla="*/ 350044 h 1459706"/>
                  <a:gd name="connsiteX81" fmla="*/ 2959894 w 7703343"/>
                  <a:gd name="connsiteY81" fmla="*/ 347663 h 1459706"/>
                  <a:gd name="connsiteX82" fmla="*/ 2928937 w 7703343"/>
                  <a:gd name="connsiteY82" fmla="*/ 409575 h 1459706"/>
                  <a:gd name="connsiteX83" fmla="*/ 2924175 w 7703343"/>
                  <a:gd name="connsiteY83" fmla="*/ 473869 h 1459706"/>
                  <a:gd name="connsiteX84" fmla="*/ 2897982 w 7703343"/>
                  <a:gd name="connsiteY84" fmla="*/ 511969 h 1459706"/>
                  <a:gd name="connsiteX85" fmla="*/ 2924175 w 7703343"/>
                  <a:gd name="connsiteY85" fmla="*/ 571500 h 1459706"/>
                  <a:gd name="connsiteX86" fmla="*/ 2926556 w 7703343"/>
                  <a:gd name="connsiteY86" fmla="*/ 640556 h 1459706"/>
                  <a:gd name="connsiteX87" fmla="*/ 2955131 w 7703343"/>
                  <a:gd name="connsiteY87" fmla="*/ 692944 h 1459706"/>
                  <a:gd name="connsiteX88" fmla="*/ 3002757 w 7703343"/>
                  <a:gd name="connsiteY88" fmla="*/ 747713 h 1459706"/>
                  <a:gd name="connsiteX89" fmla="*/ 2952750 w 7703343"/>
                  <a:gd name="connsiteY89" fmla="*/ 885825 h 1459706"/>
                  <a:gd name="connsiteX90" fmla="*/ 2883694 w 7703343"/>
                  <a:gd name="connsiteY90" fmla="*/ 952500 h 1459706"/>
                  <a:gd name="connsiteX91" fmla="*/ 2812256 w 7703343"/>
                  <a:gd name="connsiteY91" fmla="*/ 947738 h 1459706"/>
                  <a:gd name="connsiteX92" fmla="*/ 2774156 w 7703343"/>
                  <a:gd name="connsiteY92" fmla="*/ 1004888 h 1459706"/>
                  <a:gd name="connsiteX93" fmla="*/ 2714625 w 7703343"/>
                  <a:gd name="connsiteY93" fmla="*/ 1019175 h 1459706"/>
                  <a:gd name="connsiteX94" fmla="*/ 2645569 w 7703343"/>
                  <a:gd name="connsiteY94" fmla="*/ 959644 h 1459706"/>
                  <a:gd name="connsiteX95" fmla="*/ 2590800 w 7703343"/>
                  <a:gd name="connsiteY95" fmla="*/ 931069 h 1459706"/>
                  <a:gd name="connsiteX96" fmla="*/ 2547938 w 7703343"/>
                  <a:gd name="connsiteY96" fmla="*/ 945356 h 1459706"/>
                  <a:gd name="connsiteX97" fmla="*/ 2495550 w 7703343"/>
                  <a:gd name="connsiteY97" fmla="*/ 928688 h 1459706"/>
                  <a:gd name="connsiteX98" fmla="*/ 2428875 w 7703343"/>
                  <a:gd name="connsiteY98" fmla="*/ 873919 h 1459706"/>
                  <a:gd name="connsiteX99" fmla="*/ 2383631 w 7703343"/>
                  <a:gd name="connsiteY99" fmla="*/ 885825 h 1459706"/>
                  <a:gd name="connsiteX100" fmla="*/ 2362200 w 7703343"/>
                  <a:gd name="connsiteY100" fmla="*/ 854869 h 1459706"/>
                  <a:gd name="connsiteX101" fmla="*/ 2305050 w 7703343"/>
                  <a:gd name="connsiteY101" fmla="*/ 895350 h 1459706"/>
                  <a:gd name="connsiteX102" fmla="*/ 2188369 w 7703343"/>
                  <a:gd name="connsiteY102" fmla="*/ 873919 h 1459706"/>
                  <a:gd name="connsiteX103" fmla="*/ 2138363 w 7703343"/>
                  <a:gd name="connsiteY103" fmla="*/ 821531 h 1459706"/>
                  <a:gd name="connsiteX104" fmla="*/ 2095500 w 7703343"/>
                  <a:gd name="connsiteY104" fmla="*/ 807244 h 1459706"/>
                  <a:gd name="connsiteX105" fmla="*/ 2052638 w 7703343"/>
                  <a:gd name="connsiteY105" fmla="*/ 833438 h 1459706"/>
                  <a:gd name="connsiteX106" fmla="*/ 2000250 w 7703343"/>
                  <a:gd name="connsiteY106" fmla="*/ 742950 h 1459706"/>
                  <a:gd name="connsiteX107" fmla="*/ 1990725 w 7703343"/>
                  <a:gd name="connsiteY107" fmla="*/ 595312 h 1459706"/>
                  <a:gd name="connsiteX108" fmla="*/ 1938337 w 7703343"/>
                  <a:gd name="connsiteY108" fmla="*/ 588168 h 1459706"/>
                  <a:gd name="connsiteX109" fmla="*/ 1847850 w 7703343"/>
                  <a:gd name="connsiteY109" fmla="*/ 578644 h 1459706"/>
                  <a:gd name="connsiteX110" fmla="*/ 1793081 w 7703343"/>
                  <a:gd name="connsiteY110" fmla="*/ 540544 h 1459706"/>
                  <a:gd name="connsiteX111" fmla="*/ 1724025 w 7703343"/>
                  <a:gd name="connsiteY111" fmla="*/ 550069 h 1459706"/>
                  <a:gd name="connsiteX112" fmla="*/ 1678781 w 7703343"/>
                  <a:gd name="connsiteY112" fmla="*/ 523875 h 1459706"/>
                  <a:gd name="connsiteX113" fmla="*/ 1669257 w 7703343"/>
                  <a:gd name="connsiteY113" fmla="*/ 452438 h 1459706"/>
                  <a:gd name="connsiteX114" fmla="*/ 1645444 w 7703343"/>
                  <a:gd name="connsiteY114" fmla="*/ 438150 h 1459706"/>
                  <a:gd name="connsiteX115" fmla="*/ 1607344 w 7703343"/>
                  <a:gd name="connsiteY115" fmla="*/ 485774 h 1459706"/>
                  <a:gd name="connsiteX116" fmla="*/ 1528762 w 7703343"/>
                  <a:gd name="connsiteY116" fmla="*/ 411956 h 1459706"/>
                  <a:gd name="connsiteX117" fmla="*/ 1488281 w 7703343"/>
                  <a:gd name="connsiteY117" fmla="*/ 452438 h 1459706"/>
                  <a:gd name="connsiteX118" fmla="*/ 1412081 w 7703343"/>
                  <a:gd name="connsiteY118" fmla="*/ 438150 h 1459706"/>
                  <a:gd name="connsiteX119" fmla="*/ 1333500 w 7703343"/>
                  <a:gd name="connsiteY119" fmla="*/ 464344 h 1459706"/>
                  <a:gd name="connsiteX120" fmla="*/ 1273969 w 7703343"/>
                  <a:gd name="connsiteY120" fmla="*/ 511968 h 1459706"/>
                  <a:gd name="connsiteX121" fmla="*/ 1200150 w 7703343"/>
                  <a:gd name="connsiteY121" fmla="*/ 523875 h 1459706"/>
                  <a:gd name="connsiteX122" fmla="*/ 1164431 w 7703343"/>
                  <a:gd name="connsiteY122" fmla="*/ 516731 h 1459706"/>
                  <a:gd name="connsiteX123" fmla="*/ 1085851 w 7703343"/>
                  <a:gd name="connsiteY123" fmla="*/ 547688 h 1459706"/>
                  <a:gd name="connsiteX124" fmla="*/ 1064419 w 7703343"/>
                  <a:gd name="connsiteY124" fmla="*/ 576263 h 1459706"/>
                  <a:gd name="connsiteX125" fmla="*/ 997744 w 7703343"/>
                  <a:gd name="connsiteY125" fmla="*/ 566738 h 1459706"/>
                  <a:gd name="connsiteX126" fmla="*/ 928688 w 7703343"/>
                  <a:gd name="connsiteY126" fmla="*/ 590550 h 1459706"/>
                  <a:gd name="connsiteX127" fmla="*/ 873919 w 7703343"/>
                  <a:gd name="connsiteY127" fmla="*/ 628650 h 1459706"/>
                  <a:gd name="connsiteX128" fmla="*/ 778669 w 7703343"/>
                  <a:gd name="connsiteY128" fmla="*/ 642937 h 1459706"/>
                  <a:gd name="connsiteX129" fmla="*/ 764381 w 7703343"/>
                  <a:gd name="connsiteY129" fmla="*/ 664369 h 1459706"/>
                  <a:gd name="connsiteX130" fmla="*/ 776287 w 7703343"/>
                  <a:gd name="connsiteY130" fmla="*/ 709613 h 1459706"/>
                  <a:gd name="connsiteX131" fmla="*/ 676276 w 7703343"/>
                  <a:gd name="connsiteY131" fmla="*/ 762000 h 1459706"/>
                  <a:gd name="connsiteX132" fmla="*/ 638175 w 7703343"/>
                  <a:gd name="connsiteY132" fmla="*/ 733424 h 1459706"/>
                  <a:gd name="connsiteX133" fmla="*/ 607219 w 7703343"/>
                  <a:gd name="connsiteY133" fmla="*/ 790575 h 1459706"/>
                  <a:gd name="connsiteX134" fmla="*/ 550069 w 7703343"/>
                  <a:gd name="connsiteY134" fmla="*/ 752475 h 1459706"/>
                  <a:gd name="connsiteX135" fmla="*/ 514350 w 7703343"/>
                  <a:gd name="connsiteY135" fmla="*/ 781050 h 1459706"/>
                  <a:gd name="connsiteX136" fmla="*/ 478631 w 7703343"/>
                  <a:gd name="connsiteY136" fmla="*/ 745331 h 1459706"/>
                  <a:gd name="connsiteX137" fmla="*/ 426244 w 7703343"/>
                  <a:gd name="connsiteY137" fmla="*/ 757238 h 1459706"/>
                  <a:gd name="connsiteX138" fmla="*/ 381000 w 7703343"/>
                  <a:gd name="connsiteY138" fmla="*/ 728663 h 1459706"/>
                  <a:gd name="connsiteX139" fmla="*/ 357188 w 7703343"/>
                  <a:gd name="connsiteY139" fmla="*/ 747713 h 1459706"/>
                  <a:gd name="connsiteX140" fmla="*/ 333375 w 7703343"/>
                  <a:gd name="connsiteY140" fmla="*/ 807244 h 1459706"/>
                  <a:gd name="connsiteX141" fmla="*/ 261938 w 7703343"/>
                  <a:gd name="connsiteY141" fmla="*/ 845343 h 1459706"/>
                  <a:gd name="connsiteX142" fmla="*/ 209550 w 7703343"/>
                  <a:gd name="connsiteY142" fmla="*/ 816769 h 1459706"/>
                  <a:gd name="connsiteX143" fmla="*/ 119063 w 7703343"/>
                  <a:gd name="connsiteY143" fmla="*/ 826294 h 1459706"/>
                  <a:gd name="connsiteX144" fmla="*/ 71437 w 7703343"/>
                  <a:gd name="connsiteY144" fmla="*/ 792957 h 1459706"/>
                  <a:gd name="connsiteX145" fmla="*/ 0 w 7703343"/>
                  <a:gd name="connsiteY145" fmla="*/ 812006 h 1459706"/>
                  <a:gd name="connsiteX146" fmla="*/ 4762 w 7703343"/>
                  <a:gd name="connsiteY146" fmla="*/ 0 h 1459706"/>
                  <a:gd name="connsiteX0" fmla="*/ 4762 w 7703343"/>
                  <a:gd name="connsiteY0" fmla="*/ 0 h 1388269"/>
                  <a:gd name="connsiteX1" fmla="*/ 7572375 w 7703343"/>
                  <a:gd name="connsiteY1" fmla="*/ 1388269 h 1388269"/>
                  <a:gd name="connsiteX2" fmla="*/ 7586663 w 7703343"/>
                  <a:gd name="connsiteY2" fmla="*/ 1293019 h 1388269"/>
                  <a:gd name="connsiteX3" fmla="*/ 7624763 w 7703343"/>
                  <a:gd name="connsiteY3" fmla="*/ 1235869 h 1388269"/>
                  <a:gd name="connsiteX4" fmla="*/ 7605712 w 7703343"/>
                  <a:gd name="connsiteY4" fmla="*/ 1202531 h 1388269"/>
                  <a:gd name="connsiteX5" fmla="*/ 7703343 w 7703343"/>
                  <a:gd name="connsiteY5" fmla="*/ 802481 h 1388269"/>
                  <a:gd name="connsiteX6" fmla="*/ 7696200 w 7703343"/>
                  <a:gd name="connsiteY6" fmla="*/ 773906 h 1388269"/>
                  <a:gd name="connsiteX7" fmla="*/ 7567613 w 7703343"/>
                  <a:gd name="connsiteY7" fmla="*/ 752475 h 1388269"/>
                  <a:gd name="connsiteX8" fmla="*/ 7384257 w 7703343"/>
                  <a:gd name="connsiteY8" fmla="*/ 831056 h 1388269"/>
                  <a:gd name="connsiteX9" fmla="*/ 7227093 w 7703343"/>
                  <a:gd name="connsiteY9" fmla="*/ 716756 h 1388269"/>
                  <a:gd name="connsiteX10" fmla="*/ 7150894 w 7703343"/>
                  <a:gd name="connsiteY10" fmla="*/ 723900 h 1388269"/>
                  <a:gd name="connsiteX11" fmla="*/ 7077075 w 7703343"/>
                  <a:gd name="connsiteY11" fmla="*/ 719138 h 1388269"/>
                  <a:gd name="connsiteX12" fmla="*/ 6938963 w 7703343"/>
                  <a:gd name="connsiteY12" fmla="*/ 823913 h 1388269"/>
                  <a:gd name="connsiteX13" fmla="*/ 6831806 w 7703343"/>
                  <a:gd name="connsiteY13" fmla="*/ 931069 h 1388269"/>
                  <a:gd name="connsiteX14" fmla="*/ 6788944 w 7703343"/>
                  <a:gd name="connsiteY14" fmla="*/ 1000125 h 1388269"/>
                  <a:gd name="connsiteX15" fmla="*/ 6796088 w 7703343"/>
                  <a:gd name="connsiteY15" fmla="*/ 1035844 h 1388269"/>
                  <a:gd name="connsiteX16" fmla="*/ 6734175 w 7703343"/>
                  <a:gd name="connsiteY16" fmla="*/ 1047750 h 1388269"/>
                  <a:gd name="connsiteX17" fmla="*/ 6753225 w 7703343"/>
                  <a:gd name="connsiteY17" fmla="*/ 1047750 h 1388269"/>
                  <a:gd name="connsiteX18" fmla="*/ 6719888 w 7703343"/>
                  <a:gd name="connsiteY18" fmla="*/ 1078706 h 1388269"/>
                  <a:gd name="connsiteX19" fmla="*/ 6619875 w 7703343"/>
                  <a:gd name="connsiteY19" fmla="*/ 1078707 h 1388269"/>
                  <a:gd name="connsiteX20" fmla="*/ 6524625 w 7703343"/>
                  <a:gd name="connsiteY20" fmla="*/ 1133475 h 1388269"/>
                  <a:gd name="connsiteX21" fmla="*/ 6443663 w 7703343"/>
                  <a:gd name="connsiteY21" fmla="*/ 1143000 h 1388269"/>
                  <a:gd name="connsiteX22" fmla="*/ 6403181 w 7703343"/>
                  <a:gd name="connsiteY22" fmla="*/ 1176338 h 1388269"/>
                  <a:gd name="connsiteX23" fmla="*/ 6353175 w 7703343"/>
                  <a:gd name="connsiteY23" fmla="*/ 1181100 h 1388269"/>
                  <a:gd name="connsiteX24" fmla="*/ 6231732 w 7703343"/>
                  <a:gd name="connsiteY24" fmla="*/ 1273969 h 1388269"/>
                  <a:gd name="connsiteX25" fmla="*/ 6172200 w 7703343"/>
                  <a:gd name="connsiteY25" fmla="*/ 1278731 h 1388269"/>
                  <a:gd name="connsiteX26" fmla="*/ 6119813 w 7703343"/>
                  <a:gd name="connsiteY26" fmla="*/ 1243013 h 1388269"/>
                  <a:gd name="connsiteX27" fmla="*/ 6093619 w 7703343"/>
                  <a:gd name="connsiteY27" fmla="*/ 1278731 h 1388269"/>
                  <a:gd name="connsiteX28" fmla="*/ 5895975 w 7703343"/>
                  <a:gd name="connsiteY28" fmla="*/ 1271588 h 1388269"/>
                  <a:gd name="connsiteX29" fmla="*/ 5834063 w 7703343"/>
                  <a:gd name="connsiteY29" fmla="*/ 1226344 h 1388269"/>
                  <a:gd name="connsiteX30" fmla="*/ 5636419 w 7703343"/>
                  <a:gd name="connsiteY30" fmla="*/ 1243013 h 1388269"/>
                  <a:gd name="connsiteX31" fmla="*/ 5548313 w 7703343"/>
                  <a:gd name="connsiteY31" fmla="*/ 1159668 h 1388269"/>
                  <a:gd name="connsiteX32" fmla="*/ 5472113 w 7703343"/>
                  <a:gd name="connsiteY32" fmla="*/ 1114425 h 1388269"/>
                  <a:gd name="connsiteX33" fmla="*/ 5474493 w 7703343"/>
                  <a:gd name="connsiteY33" fmla="*/ 1057275 h 1388269"/>
                  <a:gd name="connsiteX34" fmla="*/ 5455444 w 7703343"/>
                  <a:gd name="connsiteY34" fmla="*/ 1014412 h 1388269"/>
                  <a:gd name="connsiteX35" fmla="*/ 5360194 w 7703343"/>
                  <a:gd name="connsiteY35" fmla="*/ 1016794 h 1388269"/>
                  <a:gd name="connsiteX36" fmla="*/ 5264944 w 7703343"/>
                  <a:gd name="connsiteY36" fmla="*/ 995363 h 1388269"/>
                  <a:gd name="connsiteX37" fmla="*/ 5195887 w 7703343"/>
                  <a:gd name="connsiteY37" fmla="*/ 928687 h 1388269"/>
                  <a:gd name="connsiteX38" fmla="*/ 5160169 w 7703343"/>
                  <a:gd name="connsiteY38" fmla="*/ 885825 h 1388269"/>
                  <a:gd name="connsiteX39" fmla="*/ 5079206 w 7703343"/>
                  <a:gd name="connsiteY39" fmla="*/ 862012 h 1388269"/>
                  <a:gd name="connsiteX40" fmla="*/ 5005388 w 7703343"/>
                  <a:gd name="connsiteY40" fmla="*/ 873918 h 1388269"/>
                  <a:gd name="connsiteX41" fmla="*/ 4948237 w 7703343"/>
                  <a:gd name="connsiteY41" fmla="*/ 821531 h 1388269"/>
                  <a:gd name="connsiteX42" fmla="*/ 4852988 w 7703343"/>
                  <a:gd name="connsiteY42" fmla="*/ 833438 h 1388269"/>
                  <a:gd name="connsiteX43" fmla="*/ 4800600 w 7703343"/>
                  <a:gd name="connsiteY43" fmla="*/ 807244 h 1388269"/>
                  <a:gd name="connsiteX44" fmla="*/ 4719638 w 7703343"/>
                  <a:gd name="connsiteY44" fmla="*/ 850106 h 1388269"/>
                  <a:gd name="connsiteX45" fmla="*/ 4581525 w 7703343"/>
                  <a:gd name="connsiteY45" fmla="*/ 873919 h 1388269"/>
                  <a:gd name="connsiteX46" fmla="*/ 4452938 w 7703343"/>
                  <a:gd name="connsiteY46" fmla="*/ 966788 h 1388269"/>
                  <a:gd name="connsiteX47" fmla="*/ 4405312 w 7703343"/>
                  <a:gd name="connsiteY47" fmla="*/ 928688 h 1388269"/>
                  <a:gd name="connsiteX48" fmla="*/ 4383881 w 7703343"/>
                  <a:gd name="connsiteY48" fmla="*/ 959643 h 1388269"/>
                  <a:gd name="connsiteX49" fmla="*/ 4310063 w 7703343"/>
                  <a:gd name="connsiteY49" fmla="*/ 909638 h 1388269"/>
                  <a:gd name="connsiteX50" fmla="*/ 4271963 w 7703343"/>
                  <a:gd name="connsiteY50" fmla="*/ 916781 h 1388269"/>
                  <a:gd name="connsiteX51" fmla="*/ 4250531 w 7703343"/>
                  <a:gd name="connsiteY51" fmla="*/ 878681 h 1388269"/>
                  <a:gd name="connsiteX52" fmla="*/ 4191000 w 7703343"/>
                  <a:gd name="connsiteY52" fmla="*/ 883444 h 1388269"/>
                  <a:gd name="connsiteX53" fmla="*/ 4145756 w 7703343"/>
                  <a:gd name="connsiteY53" fmla="*/ 854869 h 1388269"/>
                  <a:gd name="connsiteX54" fmla="*/ 4107656 w 7703343"/>
                  <a:gd name="connsiteY54" fmla="*/ 852488 h 1388269"/>
                  <a:gd name="connsiteX55" fmla="*/ 4088606 w 7703343"/>
                  <a:gd name="connsiteY55" fmla="*/ 804862 h 1388269"/>
                  <a:gd name="connsiteX56" fmla="*/ 4074319 w 7703343"/>
                  <a:gd name="connsiteY56" fmla="*/ 773906 h 1388269"/>
                  <a:gd name="connsiteX57" fmla="*/ 4029075 w 7703343"/>
                  <a:gd name="connsiteY57" fmla="*/ 783431 h 1388269"/>
                  <a:gd name="connsiteX58" fmla="*/ 4010025 w 7703343"/>
                  <a:gd name="connsiteY58" fmla="*/ 747713 h 1388269"/>
                  <a:gd name="connsiteX59" fmla="*/ 4031457 w 7703343"/>
                  <a:gd name="connsiteY59" fmla="*/ 692944 h 1388269"/>
                  <a:gd name="connsiteX60" fmla="*/ 4000500 w 7703343"/>
                  <a:gd name="connsiteY60" fmla="*/ 666750 h 1388269"/>
                  <a:gd name="connsiteX61" fmla="*/ 4017169 w 7703343"/>
                  <a:gd name="connsiteY61" fmla="*/ 623888 h 1388269"/>
                  <a:gd name="connsiteX62" fmla="*/ 3990975 w 7703343"/>
                  <a:gd name="connsiteY62" fmla="*/ 581025 h 1388269"/>
                  <a:gd name="connsiteX63" fmla="*/ 3986213 w 7703343"/>
                  <a:gd name="connsiteY63" fmla="*/ 519113 h 1388269"/>
                  <a:gd name="connsiteX64" fmla="*/ 4010025 w 7703343"/>
                  <a:gd name="connsiteY64" fmla="*/ 454818 h 1388269"/>
                  <a:gd name="connsiteX65" fmla="*/ 3971925 w 7703343"/>
                  <a:gd name="connsiteY65" fmla="*/ 457200 h 1388269"/>
                  <a:gd name="connsiteX66" fmla="*/ 3852863 w 7703343"/>
                  <a:gd name="connsiteY66" fmla="*/ 400050 h 1388269"/>
                  <a:gd name="connsiteX67" fmla="*/ 3814762 w 7703343"/>
                  <a:gd name="connsiteY67" fmla="*/ 404812 h 1388269"/>
                  <a:gd name="connsiteX68" fmla="*/ 3609975 w 7703343"/>
                  <a:gd name="connsiteY68" fmla="*/ 295275 h 1388269"/>
                  <a:gd name="connsiteX69" fmla="*/ 3505200 w 7703343"/>
                  <a:gd name="connsiteY69" fmla="*/ 264319 h 1388269"/>
                  <a:gd name="connsiteX70" fmla="*/ 3440906 w 7703343"/>
                  <a:gd name="connsiteY70" fmla="*/ 273843 h 1388269"/>
                  <a:gd name="connsiteX71" fmla="*/ 3409950 w 7703343"/>
                  <a:gd name="connsiteY71" fmla="*/ 209550 h 1388269"/>
                  <a:gd name="connsiteX72" fmla="*/ 3352800 w 7703343"/>
                  <a:gd name="connsiteY72" fmla="*/ 209550 h 1388269"/>
                  <a:gd name="connsiteX73" fmla="*/ 3214687 w 7703343"/>
                  <a:gd name="connsiteY73" fmla="*/ 104775 h 1388269"/>
                  <a:gd name="connsiteX74" fmla="*/ 3181350 w 7703343"/>
                  <a:gd name="connsiteY74" fmla="*/ 164307 h 1388269"/>
                  <a:gd name="connsiteX75" fmla="*/ 3126581 w 7703343"/>
                  <a:gd name="connsiteY75" fmla="*/ 233363 h 1388269"/>
                  <a:gd name="connsiteX76" fmla="*/ 3083719 w 7703343"/>
                  <a:gd name="connsiteY76" fmla="*/ 250031 h 1388269"/>
                  <a:gd name="connsiteX77" fmla="*/ 3052763 w 7703343"/>
                  <a:gd name="connsiteY77" fmla="*/ 242888 h 1388269"/>
                  <a:gd name="connsiteX78" fmla="*/ 3028950 w 7703343"/>
                  <a:gd name="connsiteY78" fmla="*/ 271463 h 1388269"/>
                  <a:gd name="connsiteX79" fmla="*/ 3002756 w 7703343"/>
                  <a:gd name="connsiteY79" fmla="*/ 350044 h 1388269"/>
                  <a:gd name="connsiteX80" fmla="*/ 2959894 w 7703343"/>
                  <a:gd name="connsiteY80" fmla="*/ 347663 h 1388269"/>
                  <a:gd name="connsiteX81" fmla="*/ 2928937 w 7703343"/>
                  <a:gd name="connsiteY81" fmla="*/ 409575 h 1388269"/>
                  <a:gd name="connsiteX82" fmla="*/ 2924175 w 7703343"/>
                  <a:gd name="connsiteY82" fmla="*/ 473869 h 1388269"/>
                  <a:gd name="connsiteX83" fmla="*/ 2897982 w 7703343"/>
                  <a:gd name="connsiteY83" fmla="*/ 511969 h 1388269"/>
                  <a:gd name="connsiteX84" fmla="*/ 2924175 w 7703343"/>
                  <a:gd name="connsiteY84" fmla="*/ 571500 h 1388269"/>
                  <a:gd name="connsiteX85" fmla="*/ 2926556 w 7703343"/>
                  <a:gd name="connsiteY85" fmla="*/ 640556 h 1388269"/>
                  <a:gd name="connsiteX86" fmla="*/ 2955131 w 7703343"/>
                  <a:gd name="connsiteY86" fmla="*/ 692944 h 1388269"/>
                  <a:gd name="connsiteX87" fmla="*/ 3002757 w 7703343"/>
                  <a:gd name="connsiteY87" fmla="*/ 747713 h 1388269"/>
                  <a:gd name="connsiteX88" fmla="*/ 2952750 w 7703343"/>
                  <a:gd name="connsiteY88" fmla="*/ 885825 h 1388269"/>
                  <a:gd name="connsiteX89" fmla="*/ 2883694 w 7703343"/>
                  <a:gd name="connsiteY89" fmla="*/ 952500 h 1388269"/>
                  <a:gd name="connsiteX90" fmla="*/ 2812256 w 7703343"/>
                  <a:gd name="connsiteY90" fmla="*/ 947738 h 1388269"/>
                  <a:gd name="connsiteX91" fmla="*/ 2774156 w 7703343"/>
                  <a:gd name="connsiteY91" fmla="*/ 1004888 h 1388269"/>
                  <a:gd name="connsiteX92" fmla="*/ 2714625 w 7703343"/>
                  <a:gd name="connsiteY92" fmla="*/ 1019175 h 1388269"/>
                  <a:gd name="connsiteX93" fmla="*/ 2645569 w 7703343"/>
                  <a:gd name="connsiteY93" fmla="*/ 959644 h 1388269"/>
                  <a:gd name="connsiteX94" fmla="*/ 2590800 w 7703343"/>
                  <a:gd name="connsiteY94" fmla="*/ 931069 h 1388269"/>
                  <a:gd name="connsiteX95" fmla="*/ 2547938 w 7703343"/>
                  <a:gd name="connsiteY95" fmla="*/ 945356 h 1388269"/>
                  <a:gd name="connsiteX96" fmla="*/ 2495550 w 7703343"/>
                  <a:gd name="connsiteY96" fmla="*/ 928688 h 1388269"/>
                  <a:gd name="connsiteX97" fmla="*/ 2428875 w 7703343"/>
                  <a:gd name="connsiteY97" fmla="*/ 873919 h 1388269"/>
                  <a:gd name="connsiteX98" fmla="*/ 2383631 w 7703343"/>
                  <a:gd name="connsiteY98" fmla="*/ 885825 h 1388269"/>
                  <a:gd name="connsiteX99" fmla="*/ 2362200 w 7703343"/>
                  <a:gd name="connsiteY99" fmla="*/ 854869 h 1388269"/>
                  <a:gd name="connsiteX100" fmla="*/ 2305050 w 7703343"/>
                  <a:gd name="connsiteY100" fmla="*/ 895350 h 1388269"/>
                  <a:gd name="connsiteX101" fmla="*/ 2188369 w 7703343"/>
                  <a:gd name="connsiteY101" fmla="*/ 873919 h 1388269"/>
                  <a:gd name="connsiteX102" fmla="*/ 2138363 w 7703343"/>
                  <a:gd name="connsiteY102" fmla="*/ 821531 h 1388269"/>
                  <a:gd name="connsiteX103" fmla="*/ 2095500 w 7703343"/>
                  <a:gd name="connsiteY103" fmla="*/ 807244 h 1388269"/>
                  <a:gd name="connsiteX104" fmla="*/ 2052638 w 7703343"/>
                  <a:gd name="connsiteY104" fmla="*/ 833438 h 1388269"/>
                  <a:gd name="connsiteX105" fmla="*/ 2000250 w 7703343"/>
                  <a:gd name="connsiteY105" fmla="*/ 742950 h 1388269"/>
                  <a:gd name="connsiteX106" fmla="*/ 1990725 w 7703343"/>
                  <a:gd name="connsiteY106" fmla="*/ 595312 h 1388269"/>
                  <a:gd name="connsiteX107" fmla="*/ 1938337 w 7703343"/>
                  <a:gd name="connsiteY107" fmla="*/ 588168 h 1388269"/>
                  <a:gd name="connsiteX108" fmla="*/ 1847850 w 7703343"/>
                  <a:gd name="connsiteY108" fmla="*/ 578644 h 1388269"/>
                  <a:gd name="connsiteX109" fmla="*/ 1793081 w 7703343"/>
                  <a:gd name="connsiteY109" fmla="*/ 540544 h 1388269"/>
                  <a:gd name="connsiteX110" fmla="*/ 1724025 w 7703343"/>
                  <a:gd name="connsiteY110" fmla="*/ 550069 h 1388269"/>
                  <a:gd name="connsiteX111" fmla="*/ 1678781 w 7703343"/>
                  <a:gd name="connsiteY111" fmla="*/ 523875 h 1388269"/>
                  <a:gd name="connsiteX112" fmla="*/ 1669257 w 7703343"/>
                  <a:gd name="connsiteY112" fmla="*/ 452438 h 1388269"/>
                  <a:gd name="connsiteX113" fmla="*/ 1645444 w 7703343"/>
                  <a:gd name="connsiteY113" fmla="*/ 438150 h 1388269"/>
                  <a:gd name="connsiteX114" fmla="*/ 1607344 w 7703343"/>
                  <a:gd name="connsiteY114" fmla="*/ 485774 h 1388269"/>
                  <a:gd name="connsiteX115" fmla="*/ 1528762 w 7703343"/>
                  <a:gd name="connsiteY115" fmla="*/ 411956 h 1388269"/>
                  <a:gd name="connsiteX116" fmla="*/ 1488281 w 7703343"/>
                  <a:gd name="connsiteY116" fmla="*/ 452438 h 1388269"/>
                  <a:gd name="connsiteX117" fmla="*/ 1412081 w 7703343"/>
                  <a:gd name="connsiteY117" fmla="*/ 438150 h 1388269"/>
                  <a:gd name="connsiteX118" fmla="*/ 1333500 w 7703343"/>
                  <a:gd name="connsiteY118" fmla="*/ 464344 h 1388269"/>
                  <a:gd name="connsiteX119" fmla="*/ 1273969 w 7703343"/>
                  <a:gd name="connsiteY119" fmla="*/ 511968 h 1388269"/>
                  <a:gd name="connsiteX120" fmla="*/ 1200150 w 7703343"/>
                  <a:gd name="connsiteY120" fmla="*/ 523875 h 1388269"/>
                  <a:gd name="connsiteX121" fmla="*/ 1164431 w 7703343"/>
                  <a:gd name="connsiteY121" fmla="*/ 516731 h 1388269"/>
                  <a:gd name="connsiteX122" fmla="*/ 1085851 w 7703343"/>
                  <a:gd name="connsiteY122" fmla="*/ 547688 h 1388269"/>
                  <a:gd name="connsiteX123" fmla="*/ 1064419 w 7703343"/>
                  <a:gd name="connsiteY123" fmla="*/ 576263 h 1388269"/>
                  <a:gd name="connsiteX124" fmla="*/ 997744 w 7703343"/>
                  <a:gd name="connsiteY124" fmla="*/ 566738 h 1388269"/>
                  <a:gd name="connsiteX125" fmla="*/ 928688 w 7703343"/>
                  <a:gd name="connsiteY125" fmla="*/ 590550 h 1388269"/>
                  <a:gd name="connsiteX126" fmla="*/ 873919 w 7703343"/>
                  <a:gd name="connsiteY126" fmla="*/ 628650 h 1388269"/>
                  <a:gd name="connsiteX127" fmla="*/ 778669 w 7703343"/>
                  <a:gd name="connsiteY127" fmla="*/ 642937 h 1388269"/>
                  <a:gd name="connsiteX128" fmla="*/ 764381 w 7703343"/>
                  <a:gd name="connsiteY128" fmla="*/ 664369 h 1388269"/>
                  <a:gd name="connsiteX129" fmla="*/ 776287 w 7703343"/>
                  <a:gd name="connsiteY129" fmla="*/ 709613 h 1388269"/>
                  <a:gd name="connsiteX130" fmla="*/ 676276 w 7703343"/>
                  <a:gd name="connsiteY130" fmla="*/ 762000 h 1388269"/>
                  <a:gd name="connsiteX131" fmla="*/ 638175 w 7703343"/>
                  <a:gd name="connsiteY131" fmla="*/ 733424 h 1388269"/>
                  <a:gd name="connsiteX132" fmla="*/ 607219 w 7703343"/>
                  <a:gd name="connsiteY132" fmla="*/ 790575 h 1388269"/>
                  <a:gd name="connsiteX133" fmla="*/ 550069 w 7703343"/>
                  <a:gd name="connsiteY133" fmla="*/ 752475 h 1388269"/>
                  <a:gd name="connsiteX134" fmla="*/ 514350 w 7703343"/>
                  <a:gd name="connsiteY134" fmla="*/ 781050 h 1388269"/>
                  <a:gd name="connsiteX135" fmla="*/ 478631 w 7703343"/>
                  <a:gd name="connsiteY135" fmla="*/ 745331 h 1388269"/>
                  <a:gd name="connsiteX136" fmla="*/ 426244 w 7703343"/>
                  <a:gd name="connsiteY136" fmla="*/ 757238 h 1388269"/>
                  <a:gd name="connsiteX137" fmla="*/ 381000 w 7703343"/>
                  <a:gd name="connsiteY137" fmla="*/ 728663 h 1388269"/>
                  <a:gd name="connsiteX138" fmla="*/ 357188 w 7703343"/>
                  <a:gd name="connsiteY138" fmla="*/ 747713 h 1388269"/>
                  <a:gd name="connsiteX139" fmla="*/ 333375 w 7703343"/>
                  <a:gd name="connsiteY139" fmla="*/ 807244 h 1388269"/>
                  <a:gd name="connsiteX140" fmla="*/ 261938 w 7703343"/>
                  <a:gd name="connsiteY140" fmla="*/ 845343 h 1388269"/>
                  <a:gd name="connsiteX141" fmla="*/ 209550 w 7703343"/>
                  <a:gd name="connsiteY141" fmla="*/ 816769 h 1388269"/>
                  <a:gd name="connsiteX142" fmla="*/ 119063 w 7703343"/>
                  <a:gd name="connsiteY142" fmla="*/ 826294 h 1388269"/>
                  <a:gd name="connsiteX143" fmla="*/ 71437 w 7703343"/>
                  <a:gd name="connsiteY143" fmla="*/ 792957 h 1388269"/>
                  <a:gd name="connsiteX144" fmla="*/ 0 w 7703343"/>
                  <a:gd name="connsiteY144" fmla="*/ 812006 h 1388269"/>
                  <a:gd name="connsiteX145" fmla="*/ 4762 w 7703343"/>
                  <a:gd name="connsiteY145" fmla="*/ 0 h 1388269"/>
                  <a:gd name="connsiteX0" fmla="*/ 4762 w 7703343"/>
                  <a:gd name="connsiteY0" fmla="*/ 0 h 1293019"/>
                  <a:gd name="connsiteX1" fmla="*/ 7586663 w 7703343"/>
                  <a:gd name="connsiteY1" fmla="*/ 1293019 h 1293019"/>
                  <a:gd name="connsiteX2" fmla="*/ 7624763 w 7703343"/>
                  <a:gd name="connsiteY2" fmla="*/ 1235869 h 1293019"/>
                  <a:gd name="connsiteX3" fmla="*/ 7605712 w 7703343"/>
                  <a:gd name="connsiteY3" fmla="*/ 1202531 h 1293019"/>
                  <a:gd name="connsiteX4" fmla="*/ 7703343 w 7703343"/>
                  <a:gd name="connsiteY4" fmla="*/ 802481 h 1293019"/>
                  <a:gd name="connsiteX5" fmla="*/ 7696200 w 7703343"/>
                  <a:gd name="connsiteY5" fmla="*/ 773906 h 1293019"/>
                  <a:gd name="connsiteX6" fmla="*/ 7567613 w 7703343"/>
                  <a:gd name="connsiteY6" fmla="*/ 752475 h 1293019"/>
                  <a:gd name="connsiteX7" fmla="*/ 7384257 w 7703343"/>
                  <a:gd name="connsiteY7" fmla="*/ 831056 h 1293019"/>
                  <a:gd name="connsiteX8" fmla="*/ 7227093 w 7703343"/>
                  <a:gd name="connsiteY8" fmla="*/ 716756 h 1293019"/>
                  <a:gd name="connsiteX9" fmla="*/ 7150894 w 7703343"/>
                  <a:gd name="connsiteY9" fmla="*/ 723900 h 1293019"/>
                  <a:gd name="connsiteX10" fmla="*/ 7077075 w 7703343"/>
                  <a:gd name="connsiteY10" fmla="*/ 719138 h 1293019"/>
                  <a:gd name="connsiteX11" fmla="*/ 6938963 w 7703343"/>
                  <a:gd name="connsiteY11" fmla="*/ 823913 h 1293019"/>
                  <a:gd name="connsiteX12" fmla="*/ 6831806 w 7703343"/>
                  <a:gd name="connsiteY12" fmla="*/ 931069 h 1293019"/>
                  <a:gd name="connsiteX13" fmla="*/ 6788944 w 7703343"/>
                  <a:gd name="connsiteY13" fmla="*/ 1000125 h 1293019"/>
                  <a:gd name="connsiteX14" fmla="*/ 6796088 w 7703343"/>
                  <a:gd name="connsiteY14" fmla="*/ 1035844 h 1293019"/>
                  <a:gd name="connsiteX15" fmla="*/ 6734175 w 7703343"/>
                  <a:gd name="connsiteY15" fmla="*/ 1047750 h 1293019"/>
                  <a:gd name="connsiteX16" fmla="*/ 6753225 w 7703343"/>
                  <a:gd name="connsiteY16" fmla="*/ 1047750 h 1293019"/>
                  <a:gd name="connsiteX17" fmla="*/ 6719888 w 7703343"/>
                  <a:gd name="connsiteY17" fmla="*/ 1078706 h 1293019"/>
                  <a:gd name="connsiteX18" fmla="*/ 6619875 w 7703343"/>
                  <a:gd name="connsiteY18" fmla="*/ 1078707 h 1293019"/>
                  <a:gd name="connsiteX19" fmla="*/ 6524625 w 7703343"/>
                  <a:gd name="connsiteY19" fmla="*/ 1133475 h 1293019"/>
                  <a:gd name="connsiteX20" fmla="*/ 6443663 w 7703343"/>
                  <a:gd name="connsiteY20" fmla="*/ 1143000 h 1293019"/>
                  <a:gd name="connsiteX21" fmla="*/ 6403181 w 7703343"/>
                  <a:gd name="connsiteY21" fmla="*/ 1176338 h 1293019"/>
                  <a:gd name="connsiteX22" fmla="*/ 6353175 w 7703343"/>
                  <a:gd name="connsiteY22" fmla="*/ 1181100 h 1293019"/>
                  <a:gd name="connsiteX23" fmla="*/ 6231732 w 7703343"/>
                  <a:gd name="connsiteY23" fmla="*/ 1273969 h 1293019"/>
                  <a:gd name="connsiteX24" fmla="*/ 6172200 w 7703343"/>
                  <a:gd name="connsiteY24" fmla="*/ 1278731 h 1293019"/>
                  <a:gd name="connsiteX25" fmla="*/ 6119813 w 7703343"/>
                  <a:gd name="connsiteY25" fmla="*/ 1243013 h 1293019"/>
                  <a:gd name="connsiteX26" fmla="*/ 6093619 w 7703343"/>
                  <a:gd name="connsiteY26" fmla="*/ 1278731 h 1293019"/>
                  <a:gd name="connsiteX27" fmla="*/ 5895975 w 7703343"/>
                  <a:gd name="connsiteY27" fmla="*/ 1271588 h 1293019"/>
                  <a:gd name="connsiteX28" fmla="*/ 5834063 w 7703343"/>
                  <a:gd name="connsiteY28" fmla="*/ 1226344 h 1293019"/>
                  <a:gd name="connsiteX29" fmla="*/ 5636419 w 7703343"/>
                  <a:gd name="connsiteY29" fmla="*/ 1243013 h 1293019"/>
                  <a:gd name="connsiteX30" fmla="*/ 5548313 w 7703343"/>
                  <a:gd name="connsiteY30" fmla="*/ 1159668 h 1293019"/>
                  <a:gd name="connsiteX31" fmla="*/ 5472113 w 7703343"/>
                  <a:gd name="connsiteY31" fmla="*/ 1114425 h 1293019"/>
                  <a:gd name="connsiteX32" fmla="*/ 5474493 w 7703343"/>
                  <a:gd name="connsiteY32" fmla="*/ 1057275 h 1293019"/>
                  <a:gd name="connsiteX33" fmla="*/ 5455444 w 7703343"/>
                  <a:gd name="connsiteY33" fmla="*/ 1014412 h 1293019"/>
                  <a:gd name="connsiteX34" fmla="*/ 5360194 w 7703343"/>
                  <a:gd name="connsiteY34" fmla="*/ 1016794 h 1293019"/>
                  <a:gd name="connsiteX35" fmla="*/ 5264944 w 7703343"/>
                  <a:gd name="connsiteY35" fmla="*/ 995363 h 1293019"/>
                  <a:gd name="connsiteX36" fmla="*/ 5195887 w 7703343"/>
                  <a:gd name="connsiteY36" fmla="*/ 928687 h 1293019"/>
                  <a:gd name="connsiteX37" fmla="*/ 5160169 w 7703343"/>
                  <a:gd name="connsiteY37" fmla="*/ 885825 h 1293019"/>
                  <a:gd name="connsiteX38" fmla="*/ 5079206 w 7703343"/>
                  <a:gd name="connsiteY38" fmla="*/ 862012 h 1293019"/>
                  <a:gd name="connsiteX39" fmla="*/ 5005388 w 7703343"/>
                  <a:gd name="connsiteY39" fmla="*/ 873918 h 1293019"/>
                  <a:gd name="connsiteX40" fmla="*/ 4948237 w 7703343"/>
                  <a:gd name="connsiteY40" fmla="*/ 821531 h 1293019"/>
                  <a:gd name="connsiteX41" fmla="*/ 4852988 w 7703343"/>
                  <a:gd name="connsiteY41" fmla="*/ 833438 h 1293019"/>
                  <a:gd name="connsiteX42" fmla="*/ 4800600 w 7703343"/>
                  <a:gd name="connsiteY42" fmla="*/ 807244 h 1293019"/>
                  <a:gd name="connsiteX43" fmla="*/ 4719638 w 7703343"/>
                  <a:gd name="connsiteY43" fmla="*/ 850106 h 1293019"/>
                  <a:gd name="connsiteX44" fmla="*/ 4581525 w 7703343"/>
                  <a:gd name="connsiteY44" fmla="*/ 873919 h 1293019"/>
                  <a:gd name="connsiteX45" fmla="*/ 4452938 w 7703343"/>
                  <a:gd name="connsiteY45" fmla="*/ 966788 h 1293019"/>
                  <a:gd name="connsiteX46" fmla="*/ 4405312 w 7703343"/>
                  <a:gd name="connsiteY46" fmla="*/ 928688 h 1293019"/>
                  <a:gd name="connsiteX47" fmla="*/ 4383881 w 7703343"/>
                  <a:gd name="connsiteY47" fmla="*/ 959643 h 1293019"/>
                  <a:gd name="connsiteX48" fmla="*/ 4310063 w 7703343"/>
                  <a:gd name="connsiteY48" fmla="*/ 909638 h 1293019"/>
                  <a:gd name="connsiteX49" fmla="*/ 4271963 w 7703343"/>
                  <a:gd name="connsiteY49" fmla="*/ 916781 h 1293019"/>
                  <a:gd name="connsiteX50" fmla="*/ 4250531 w 7703343"/>
                  <a:gd name="connsiteY50" fmla="*/ 878681 h 1293019"/>
                  <a:gd name="connsiteX51" fmla="*/ 4191000 w 7703343"/>
                  <a:gd name="connsiteY51" fmla="*/ 883444 h 1293019"/>
                  <a:gd name="connsiteX52" fmla="*/ 4145756 w 7703343"/>
                  <a:gd name="connsiteY52" fmla="*/ 854869 h 1293019"/>
                  <a:gd name="connsiteX53" fmla="*/ 4107656 w 7703343"/>
                  <a:gd name="connsiteY53" fmla="*/ 852488 h 1293019"/>
                  <a:gd name="connsiteX54" fmla="*/ 4088606 w 7703343"/>
                  <a:gd name="connsiteY54" fmla="*/ 804862 h 1293019"/>
                  <a:gd name="connsiteX55" fmla="*/ 4074319 w 7703343"/>
                  <a:gd name="connsiteY55" fmla="*/ 773906 h 1293019"/>
                  <a:gd name="connsiteX56" fmla="*/ 4029075 w 7703343"/>
                  <a:gd name="connsiteY56" fmla="*/ 783431 h 1293019"/>
                  <a:gd name="connsiteX57" fmla="*/ 4010025 w 7703343"/>
                  <a:gd name="connsiteY57" fmla="*/ 747713 h 1293019"/>
                  <a:gd name="connsiteX58" fmla="*/ 4031457 w 7703343"/>
                  <a:gd name="connsiteY58" fmla="*/ 692944 h 1293019"/>
                  <a:gd name="connsiteX59" fmla="*/ 4000500 w 7703343"/>
                  <a:gd name="connsiteY59" fmla="*/ 666750 h 1293019"/>
                  <a:gd name="connsiteX60" fmla="*/ 4017169 w 7703343"/>
                  <a:gd name="connsiteY60" fmla="*/ 623888 h 1293019"/>
                  <a:gd name="connsiteX61" fmla="*/ 3990975 w 7703343"/>
                  <a:gd name="connsiteY61" fmla="*/ 581025 h 1293019"/>
                  <a:gd name="connsiteX62" fmla="*/ 3986213 w 7703343"/>
                  <a:gd name="connsiteY62" fmla="*/ 519113 h 1293019"/>
                  <a:gd name="connsiteX63" fmla="*/ 4010025 w 7703343"/>
                  <a:gd name="connsiteY63" fmla="*/ 454818 h 1293019"/>
                  <a:gd name="connsiteX64" fmla="*/ 3971925 w 7703343"/>
                  <a:gd name="connsiteY64" fmla="*/ 457200 h 1293019"/>
                  <a:gd name="connsiteX65" fmla="*/ 3852863 w 7703343"/>
                  <a:gd name="connsiteY65" fmla="*/ 400050 h 1293019"/>
                  <a:gd name="connsiteX66" fmla="*/ 3814762 w 7703343"/>
                  <a:gd name="connsiteY66" fmla="*/ 404812 h 1293019"/>
                  <a:gd name="connsiteX67" fmla="*/ 3609975 w 7703343"/>
                  <a:gd name="connsiteY67" fmla="*/ 295275 h 1293019"/>
                  <a:gd name="connsiteX68" fmla="*/ 3505200 w 7703343"/>
                  <a:gd name="connsiteY68" fmla="*/ 264319 h 1293019"/>
                  <a:gd name="connsiteX69" fmla="*/ 3440906 w 7703343"/>
                  <a:gd name="connsiteY69" fmla="*/ 273843 h 1293019"/>
                  <a:gd name="connsiteX70" fmla="*/ 3409950 w 7703343"/>
                  <a:gd name="connsiteY70" fmla="*/ 209550 h 1293019"/>
                  <a:gd name="connsiteX71" fmla="*/ 3352800 w 7703343"/>
                  <a:gd name="connsiteY71" fmla="*/ 209550 h 1293019"/>
                  <a:gd name="connsiteX72" fmla="*/ 3214687 w 7703343"/>
                  <a:gd name="connsiteY72" fmla="*/ 104775 h 1293019"/>
                  <a:gd name="connsiteX73" fmla="*/ 3181350 w 7703343"/>
                  <a:gd name="connsiteY73" fmla="*/ 164307 h 1293019"/>
                  <a:gd name="connsiteX74" fmla="*/ 3126581 w 7703343"/>
                  <a:gd name="connsiteY74" fmla="*/ 233363 h 1293019"/>
                  <a:gd name="connsiteX75" fmla="*/ 3083719 w 7703343"/>
                  <a:gd name="connsiteY75" fmla="*/ 250031 h 1293019"/>
                  <a:gd name="connsiteX76" fmla="*/ 3052763 w 7703343"/>
                  <a:gd name="connsiteY76" fmla="*/ 242888 h 1293019"/>
                  <a:gd name="connsiteX77" fmla="*/ 3028950 w 7703343"/>
                  <a:gd name="connsiteY77" fmla="*/ 271463 h 1293019"/>
                  <a:gd name="connsiteX78" fmla="*/ 3002756 w 7703343"/>
                  <a:gd name="connsiteY78" fmla="*/ 350044 h 1293019"/>
                  <a:gd name="connsiteX79" fmla="*/ 2959894 w 7703343"/>
                  <a:gd name="connsiteY79" fmla="*/ 347663 h 1293019"/>
                  <a:gd name="connsiteX80" fmla="*/ 2928937 w 7703343"/>
                  <a:gd name="connsiteY80" fmla="*/ 409575 h 1293019"/>
                  <a:gd name="connsiteX81" fmla="*/ 2924175 w 7703343"/>
                  <a:gd name="connsiteY81" fmla="*/ 473869 h 1293019"/>
                  <a:gd name="connsiteX82" fmla="*/ 2897982 w 7703343"/>
                  <a:gd name="connsiteY82" fmla="*/ 511969 h 1293019"/>
                  <a:gd name="connsiteX83" fmla="*/ 2924175 w 7703343"/>
                  <a:gd name="connsiteY83" fmla="*/ 571500 h 1293019"/>
                  <a:gd name="connsiteX84" fmla="*/ 2926556 w 7703343"/>
                  <a:gd name="connsiteY84" fmla="*/ 640556 h 1293019"/>
                  <a:gd name="connsiteX85" fmla="*/ 2955131 w 7703343"/>
                  <a:gd name="connsiteY85" fmla="*/ 692944 h 1293019"/>
                  <a:gd name="connsiteX86" fmla="*/ 3002757 w 7703343"/>
                  <a:gd name="connsiteY86" fmla="*/ 747713 h 1293019"/>
                  <a:gd name="connsiteX87" fmla="*/ 2952750 w 7703343"/>
                  <a:gd name="connsiteY87" fmla="*/ 885825 h 1293019"/>
                  <a:gd name="connsiteX88" fmla="*/ 2883694 w 7703343"/>
                  <a:gd name="connsiteY88" fmla="*/ 952500 h 1293019"/>
                  <a:gd name="connsiteX89" fmla="*/ 2812256 w 7703343"/>
                  <a:gd name="connsiteY89" fmla="*/ 947738 h 1293019"/>
                  <a:gd name="connsiteX90" fmla="*/ 2774156 w 7703343"/>
                  <a:gd name="connsiteY90" fmla="*/ 1004888 h 1293019"/>
                  <a:gd name="connsiteX91" fmla="*/ 2714625 w 7703343"/>
                  <a:gd name="connsiteY91" fmla="*/ 1019175 h 1293019"/>
                  <a:gd name="connsiteX92" fmla="*/ 2645569 w 7703343"/>
                  <a:gd name="connsiteY92" fmla="*/ 959644 h 1293019"/>
                  <a:gd name="connsiteX93" fmla="*/ 2590800 w 7703343"/>
                  <a:gd name="connsiteY93" fmla="*/ 931069 h 1293019"/>
                  <a:gd name="connsiteX94" fmla="*/ 2547938 w 7703343"/>
                  <a:gd name="connsiteY94" fmla="*/ 945356 h 1293019"/>
                  <a:gd name="connsiteX95" fmla="*/ 2495550 w 7703343"/>
                  <a:gd name="connsiteY95" fmla="*/ 928688 h 1293019"/>
                  <a:gd name="connsiteX96" fmla="*/ 2428875 w 7703343"/>
                  <a:gd name="connsiteY96" fmla="*/ 873919 h 1293019"/>
                  <a:gd name="connsiteX97" fmla="*/ 2383631 w 7703343"/>
                  <a:gd name="connsiteY97" fmla="*/ 885825 h 1293019"/>
                  <a:gd name="connsiteX98" fmla="*/ 2362200 w 7703343"/>
                  <a:gd name="connsiteY98" fmla="*/ 854869 h 1293019"/>
                  <a:gd name="connsiteX99" fmla="*/ 2305050 w 7703343"/>
                  <a:gd name="connsiteY99" fmla="*/ 895350 h 1293019"/>
                  <a:gd name="connsiteX100" fmla="*/ 2188369 w 7703343"/>
                  <a:gd name="connsiteY100" fmla="*/ 873919 h 1293019"/>
                  <a:gd name="connsiteX101" fmla="*/ 2138363 w 7703343"/>
                  <a:gd name="connsiteY101" fmla="*/ 821531 h 1293019"/>
                  <a:gd name="connsiteX102" fmla="*/ 2095500 w 7703343"/>
                  <a:gd name="connsiteY102" fmla="*/ 807244 h 1293019"/>
                  <a:gd name="connsiteX103" fmla="*/ 2052638 w 7703343"/>
                  <a:gd name="connsiteY103" fmla="*/ 833438 h 1293019"/>
                  <a:gd name="connsiteX104" fmla="*/ 2000250 w 7703343"/>
                  <a:gd name="connsiteY104" fmla="*/ 742950 h 1293019"/>
                  <a:gd name="connsiteX105" fmla="*/ 1990725 w 7703343"/>
                  <a:gd name="connsiteY105" fmla="*/ 595312 h 1293019"/>
                  <a:gd name="connsiteX106" fmla="*/ 1938337 w 7703343"/>
                  <a:gd name="connsiteY106" fmla="*/ 588168 h 1293019"/>
                  <a:gd name="connsiteX107" fmla="*/ 1847850 w 7703343"/>
                  <a:gd name="connsiteY107" fmla="*/ 578644 h 1293019"/>
                  <a:gd name="connsiteX108" fmla="*/ 1793081 w 7703343"/>
                  <a:gd name="connsiteY108" fmla="*/ 540544 h 1293019"/>
                  <a:gd name="connsiteX109" fmla="*/ 1724025 w 7703343"/>
                  <a:gd name="connsiteY109" fmla="*/ 550069 h 1293019"/>
                  <a:gd name="connsiteX110" fmla="*/ 1678781 w 7703343"/>
                  <a:gd name="connsiteY110" fmla="*/ 523875 h 1293019"/>
                  <a:gd name="connsiteX111" fmla="*/ 1669257 w 7703343"/>
                  <a:gd name="connsiteY111" fmla="*/ 452438 h 1293019"/>
                  <a:gd name="connsiteX112" fmla="*/ 1645444 w 7703343"/>
                  <a:gd name="connsiteY112" fmla="*/ 438150 h 1293019"/>
                  <a:gd name="connsiteX113" fmla="*/ 1607344 w 7703343"/>
                  <a:gd name="connsiteY113" fmla="*/ 485774 h 1293019"/>
                  <a:gd name="connsiteX114" fmla="*/ 1528762 w 7703343"/>
                  <a:gd name="connsiteY114" fmla="*/ 411956 h 1293019"/>
                  <a:gd name="connsiteX115" fmla="*/ 1488281 w 7703343"/>
                  <a:gd name="connsiteY115" fmla="*/ 452438 h 1293019"/>
                  <a:gd name="connsiteX116" fmla="*/ 1412081 w 7703343"/>
                  <a:gd name="connsiteY116" fmla="*/ 438150 h 1293019"/>
                  <a:gd name="connsiteX117" fmla="*/ 1333500 w 7703343"/>
                  <a:gd name="connsiteY117" fmla="*/ 464344 h 1293019"/>
                  <a:gd name="connsiteX118" fmla="*/ 1273969 w 7703343"/>
                  <a:gd name="connsiteY118" fmla="*/ 511968 h 1293019"/>
                  <a:gd name="connsiteX119" fmla="*/ 1200150 w 7703343"/>
                  <a:gd name="connsiteY119" fmla="*/ 523875 h 1293019"/>
                  <a:gd name="connsiteX120" fmla="*/ 1164431 w 7703343"/>
                  <a:gd name="connsiteY120" fmla="*/ 516731 h 1293019"/>
                  <a:gd name="connsiteX121" fmla="*/ 1085851 w 7703343"/>
                  <a:gd name="connsiteY121" fmla="*/ 547688 h 1293019"/>
                  <a:gd name="connsiteX122" fmla="*/ 1064419 w 7703343"/>
                  <a:gd name="connsiteY122" fmla="*/ 576263 h 1293019"/>
                  <a:gd name="connsiteX123" fmla="*/ 997744 w 7703343"/>
                  <a:gd name="connsiteY123" fmla="*/ 566738 h 1293019"/>
                  <a:gd name="connsiteX124" fmla="*/ 928688 w 7703343"/>
                  <a:gd name="connsiteY124" fmla="*/ 590550 h 1293019"/>
                  <a:gd name="connsiteX125" fmla="*/ 873919 w 7703343"/>
                  <a:gd name="connsiteY125" fmla="*/ 628650 h 1293019"/>
                  <a:gd name="connsiteX126" fmla="*/ 778669 w 7703343"/>
                  <a:gd name="connsiteY126" fmla="*/ 642937 h 1293019"/>
                  <a:gd name="connsiteX127" fmla="*/ 764381 w 7703343"/>
                  <a:gd name="connsiteY127" fmla="*/ 664369 h 1293019"/>
                  <a:gd name="connsiteX128" fmla="*/ 776287 w 7703343"/>
                  <a:gd name="connsiteY128" fmla="*/ 709613 h 1293019"/>
                  <a:gd name="connsiteX129" fmla="*/ 676276 w 7703343"/>
                  <a:gd name="connsiteY129" fmla="*/ 762000 h 1293019"/>
                  <a:gd name="connsiteX130" fmla="*/ 638175 w 7703343"/>
                  <a:gd name="connsiteY130" fmla="*/ 733424 h 1293019"/>
                  <a:gd name="connsiteX131" fmla="*/ 607219 w 7703343"/>
                  <a:gd name="connsiteY131" fmla="*/ 790575 h 1293019"/>
                  <a:gd name="connsiteX132" fmla="*/ 550069 w 7703343"/>
                  <a:gd name="connsiteY132" fmla="*/ 752475 h 1293019"/>
                  <a:gd name="connsiteX133" fmla="*/ 514350 w 7703343"/>
                  <a:gd name="connsiteY133" fmla="*/ 781050 h 1293019"/>
                  <a:gd name="connsiteX134" fmla="*/ 478631 w 7703343"/>
                  <a:gd name="connsiteY134" fmla="*/ 745331 h 1293019"/>
                  <a:gd name="connsiteX135" fmla="*/ 426244 w 7703343"/>
                  <a:gd name="connsiteY135" fmla="*/ 757238 h 1293019"/>
                  <a:gd name="connsiteX136" fmla="*/ 381000 w 7703343"/>
                  <a:gd name="connsiteY136" fmla="*/ 728663 h 1293019"/>
                  <a:gd name="connsiteX137" fmla="*/ 357188 w 7703343"/>
                  <a:gd name="connsiteY137" fmla="*/ 747713 h 1293019"/>
                  <a:gd name="connsiteX138" fmla="*/ 333375 w 7703343"/>
                  <a:gd name="connsiteY138" fmla="*/ 807244 h 1293019"/>
                  <a:gd name="connsiteX139" fmla="*/ 261938 w 7703343"/>
                  <a:gd name="connsiteY139" fmla="*/ 845343 h 1293019"/>
                  <a:gd name="connsiteX140" fmla="*/ 209550 w 7703343"/>
                  <a:gd name="connsiteY140" fmla="*/ 816769 h 1293019"/>
                  <a:gd name="connsiteX141" fmla="*/ 119063 w 7703343"/>
                  <a:gd name="connsiteY141" fmla="*/ 826294 h 1293019"/>
                  <a:gd name="connsiteX142" fmla="*/ 71437 w 7703343"/>
                  <a:gd name="connsiteY142" fmla="*/ 792957 h 1293019"/>
                  <a:gd name="connsiteX143" fmla="*/ 0 w 7703343"/>
                  <a:gd name="connsiteY143" fmla="*/ 812006 h 1293019"/>
                  <a:gd name="connsiteX144" fmla="*/ 4762 w 7703343"/>
                  <a:gd name="connsiteY144" fmla="*/ 0 h 1293019"/>
                  <a:gd name="connsiteX0" fmla="*/ 4762 w 7703343"/>
                  <a:gd name="connsiteY0" fmla="*/ 0 h 1278731"/>
                  <a:gd name="connsiteX1" fmla="*/ 7624763 w 7703343"/>
                  <a:gd name="connsiteY1" fmla="*/ 1235869 h 1278731"/>
                  <a:gd name="connsiteX2" fmla="*/ 7605712 w 7703343"/>
                  <a:gd name="connsiteY2" fmla="*/ 1202531 h 1278731"/>
                  <a:gd name="connsiteX3" fmla="*/ 7703343 w 7703343"/>
                  <a:gd name="connsiteY3" fmla="*/ 802481 h 1278731"/>
                  <a:gd name="connsiteX4" fmla="*/ 7696200 w 7703343"/>
                  <a:gd name="connsiteY4" fmla="*/ 773906 h 1278731"/>
                  <a:gd name="connsiteX5" fmla="*/ 7567613 w 7703343"/>
                  <a:gd name="connsiteY5" fmla="*/ 752475 h 1278731"/>
                  <a:gd name="connsiteX6" fmla="*/ 7384257 w 7703343"/>
                  <a:gd name="connsiteY6" fmla="*/ 831056 h 1278731"/>
                  <a:gd name="connsiteX7" fmla="*/ 7227093 w 7703343"/>
                  <a:gd name="connsiteY7" fmla="*/ 716756 h 1278731"/>
                  <a:gd name="connsiteX8" fmla="*/ 7150894 w 7703343"/>
                  <a:gd name="connsiteY8" fmla="*/ 723900 h 1278731"/>
                  <a:gd name="connsiteX9" fmla="*/ 7077075 w 7703343"/>
                  <a:gd name="connsiteY9" fmla="*/ 719138 h 1278731"/>
                  <a:gd name="connsiteX10" fmla="*/ 6938963 w 7703343"/>
                  <a:gd name="connsiteY10" fmla="*/ 823913 h 1278731"/>
                  <a:gd name="connsiteX11" fmla="*/ 6831806 w 7703343"/>
                  <a:gd name="connsiteY11" fmla="*/ 931069 h 1278731"/>
                  <a:gd name="connsiteX12" fmla="*/ 6788944 w 7703343"/>
                  <a:gd name="connsiteY12" fmla="*/ 1000125 h 1278731"/>
                  <a:gd name="connsiteX13" fmla="*/ 6796088 w 7703343"/>
                  <a:gd name="connsiteY13" fmla="*/ 1035844 h 1278731"/>
                  <a:gd name="connsiteX14" fmla="*/ 6734175 w 7703343"/>
                  <a:gd name="connsiteY14" fmla="*/ 1047750 h 1278731"/>
                  <a:gd name="connsiteX15" fmla="*/ 6753225 w 7703343"/>
                  <a:gd name="connsiteY15" fmla="*/ 1047750 h 1278731"/>
                  <a:gd name="connsiteX16" fmla="*/ 6719888 w 7703343"/>
                  <a:gd name="connsiteY16" fmla="*/ 1078706 h 1278731"/>
                  <a:gd name="connsiteX17" fmla="*/ 6619875 w 7703343"/>
                  <a:gd name="connsiteY17" fmla="*/ 1078707 h 1278731"/>
                  <a:gd name="connsiteX18" fmla="*/ 6524625 w 7703343"/>
                  <a:gd name="connsiteY18" fmla="*/ 1133475 h 1278731"/>
                  <a:gd name="connsiteX19" fmla="*/ 6443663 w 7703343"/>
                  <a:gd name="connsiteY19" fmla="*/ 1143000 h 1278731"/>
                  <a:gd name="connsiteX20" fmla="*/ 6403181 w 7703343"/>
                  <a:gd name="connsiteY20" fmla="*/ 1176338 h 1278731"/>
                  <a:gd name="connsiteX21" fmla="*/ 6353175 w 7703343"/>
                  <a:gd name="connsiteY21" fmla="*/ 1181100 h 1278731"/>
                  <a:gd name="connsiteX22" fmla="*/ 6231732 w 7703343"/>
                  <a:gd name="connsiteY22" fmla="*/ 1273969 h 1278731"/>
                  <a:gd name="connsiteX23" fmla="*/ 6172200 w 7703343"/>
                  <a:gd name="connsiteY23" fmla="*/ 1278731 h 1278731"/>
                  <a:gd name="connsiteX24" fmla="*/ 6119813 w 7703343"/>
                  <a:gd name="connsiteY24" fmla="*/ 1243013 h 1278731"/>
                  <a:gd name="connsiteX25" fmla="*/ 6093619 w 7703343"/>
                  <a:gd name="connsiteY25" fmla="*/ 1278731 h 1278731"/>
                  <a:gd name="connsiteX26" fmla="*/ 5895975 w 7703343"/>
                  <a:gd name="connsiteY26" fmla="*/ 1271588 h 1278731"/>
                  <a:gd name="connsiteX27" fmla="*/ 5834063 w 7703343"/>
                  <a:gd name="connsiteY27" fmla="*/ 1226344 h 1278731"/>
                  <a:gd name="connsiteX28" fmla="*/ 5636419 w 7703343"/>
                  <a:gd name="connsiteY28" fmla="*/ 1243013 h 1278731"/>
                  <a:gd name="connsiteX29" fmla="*/ 5548313 w 7703343"/>
                  <a:gd name="connsiteY29" fmla="*/ 1159668 h 1278731"/>
                  <a:gd name="connsiteX30" fmla="*/ 5472113 w 7703343"/>
                  <a:gd name="connsiteY30" fmla="*/ 1114425 h 1278731"/>
                  <a:gd name="connsiteX31" fmla="*/ 5474493 w 7703343"/>
                  <a:gd name="connsiteY31" fmla="*/ 1057275 h 1278731"/>
                  <a:gd name="connsiteX32" fmla="*/ 5455444 w 7703343"/>
                  <a:gd name="connsiteY32" fmla="*/ 1014412 h 1278731"/>
                  <a:gd name="connsiteX33" fmla="*/ 5360194 w 7703343"/>
                  <a:gd name="connsiteY33" fmla="*/ 1016794 h 1278731"/>
                  <a:gd name="connsiteX34" fmla="*/ 5264944 w 7703343"/>
                  <a:gd name="connsiteY34" fmla="*/ 995363 h 1278731"/>
                  <a:gd name="connsiteX35" fmla="*/ 5195887 w 7703343"/>
                  <a:gd name="connsiteY35" fmla="*/ 928687 h 1278731"/>
                  <a:gd name="connsiteX36" fmla="*/ 5160169 w 7703343"/>
                  <a:gd name="connsiteY36" fmla="*/ 885825 h 1278731"/>
                  <a:gd name="connsiteX37" fmla="*/ 5079206 w 7703343"/>
                  <a:gd name="connsiteY37" fmla="*/ 862012 h 1278731"/>
                  <a:gd name="connsiteX38" fmla="*/ 5005388 w 7703343"/>
                  <a:gd name="connsiteY38" fmla="*/ 873918 h 1278731"/>
                  <a:gd name="connsiteX39" fmla="*/ 4948237 w 7703343"/>
                  <a:gd name="connsiteY39" fmla="*/ 821531 h 1278731"/>
                  <a:gd name="connsiteX40" fmla="*/ 4852988 w 7703343"/>
                  <a:gd name="connsiteY40" fmla="*/ 833438 h 1278731"/>
                  <a:gd name="connsiteX41" fmla="*/ 4800600 w 7703343"/>
                  <a:gd name="connsiteY41" fmla="*/ 807244 h 1278731"/>
                  <a:gd name="connsiteX42" fmla="*/ 4719638 w 7703343"/>
                  <a:gd name="connsiteY42" fmla="*/ 850106 h 1278731"/>
                  <a:gd name="connsiteX43" fmla="*/ 4581525 w 7703343"/>
                  <a:gd name="connsiteY43" fmla="*/ 873919 h 1278731"/>
                  <a:gd name="connsiteX44" fmla="*/ 4452938 w 7703343"/>
                  <a:gd name="connsiteY44" fmla="*/ 966788 h 1278731"/>
                  <a:gd name="connsiteX45" fmla="*/ 4405312 w 7703343"/>
                  <a:gd name="connsiteY45" fmla="*/ 928688 h 1278731"/>
                  <a:gd name="connsiteX46" fmla="*/ 4383881 w 7703343"/>
                  <a:gd name="connsiteY46" fmla="*/ 959643 h 1278731"/>
                  <a:gd name="connsiteX47" fmla="*/ 4310063 w 7703343"/>
                  <a:gd name="connsiteY47" fmla="*/ 909638 h 1278731"/>
                  <a:gd name="connsiteX48" fmla="*/ 4271963 w 7703343"/>
                  <a:gd name="connsiteY48" fmla="*/ 916781 h 1278731"/>
                  <a:gd name="connsiteX49" fmla="*/ 4250531 w 7703343"/>
                  <a:gd name="connsiteY49" fmla="*/ 878681 h 1278731"/>
                  <a:gd name="connsiteX50" fmla="*/ 4191000 w 7703343"/>
                  <a:gd name="connsiteY50" fmla="*/ 883444 h 1278731"/>
                  <a:gd name="connsiteX51" fmla="*/ 4145756 w 7703343"/>
                  <a:gd name="connsiteY51" fmla="*/ 854869 h 1278731"/>
                  <a:gd name="connsiteX52" fmla="*/ 4107656 w 7703343"/>
                  <a:gd name="connsiteY52" fmla="*/ 852488 h 1278731"/>
                  <a:gd name="connsiteX53" fmla="*/ 4088606 w 7703343"/>
                  <a:gd name="connsiteY53" fmla="*/ 804862 h 1278731"/>
                  <a:gd name="connsiteX54" fmla="*/ 4074319 w 7703343"/>
                  <a:gd name="connsiteY54" fmla="*/ 773906 h 1278731"/>
                  <a:gd name="connsiteX55" fmla="*/ 4029075 w 7703343"/>
                  <a:gd name="connsiteY55" fmla="*/ 783431 h 1278731"/>
                  <a:gd name="connsiteX56" fmla="*/ 4010025 w 7703343"/>
                  <a:gd name="connsiteY56" fmla="*/ 747713 h 1278731"/>
                  <a:gd name="connsiteX57" fmla="*/ 4031457 w 7703343"/>
                  <a:gd name="connsiteY57" fmla="*/ 692944 h 1278731"/>
                  <a:gd name="connsiteX58" fmla="*/ 4000500 w 7703343"/>
                  <a:gd name="connsiteY58" fmla="*/ 666750 h 1278731"/>
                  <a:gd name="connsiteX59" fmla="*/ 4017169 w 7703343"/>
                  <a:gd name="connsiteY59" fmla="*/ 623888 h 1278731"/>
                  <a:gd name="connsiteX60" fmla="*/ 3990975 w 7703343"/>
                  <a:gd name="connsiteY60" fmla="*/ 581025 h 1278731"/>
                  <a:gd name="connsiteX61" fmla="*/ 3986213 w 7703343"/>
                  <a:gd name="connsiteY61" fmla="*/ 519113 h 1278731"/>
                  <a:gd name="connsiteX62" fmla="*/ 4010025 w 7703343"/>
                  <a:gd name="connsiteY62" fmla="*/ 454818 h 1278731"/>
                  <a:gd name="connsiteX63" fmla="*/ 3971925 w 7703343"/>
                  <a:gd name="connsiteY63" fmla="*/ 457200 h 1278731"/>
                  <a:gd name="connsiteX64" fmla="*/ 3852863 w 7703343"/>
                  <a:gd name="connsiteY64" fmla="*/ 400050 h 1278731"/>
                  <a:gd name="connsiteX65" fmla="*/ 3814762 w 7703343"/>
                  <a:gd name="connsiteY65" fmla="*/ 404812 h 1278731"/>
                  <a:gd name="connsiteX66" fmla="*/ 3609975 w 7703343"/>
                  <a:gd name="connsiteY66" fmla="*/ 295275 h 1278731"/>
                  <a:gd name="connsiteX67" fmla="*/ 3505200 w 7703343"/>
                  <a:gd name="connsiteY67" fmla="*/ 264319 h 1278731"/>
                  <a:gd name="connsiteX68" fmla="*/ 3440906 w 7703343"/>
                  <a:gd name="connsiteY68" fmla="*/ 273843 h 1278731"/>
                  <a:gd name="connsiteX69" fmla="*/ 3409950 w 7703343"/>
                  <a:gd name="connsiteY69" fmla="*/ 209550 h 1278731"/>
                  <a:gd name="connsiteX70" fmla="*/ 3352800 w 7703343"/>
                  <a:gd name="connsiteY70" fmla="*/ 209550 h 1278731"/>
                  <a:gd name="connsiteX71" fmla="*/ 3214687 w 7703343"/>
                  <a:gd name="connsiteY71" fmla="*/ 104775 h 1278731"/>
                  <a:gd name="connsiteX72" fmla="*/ 3181350 w 7703343"/>
                  <a:gd name="connsiteY72" fmla="*/ 164307 h 1278731"/>
                  <a:gd name="connsiteX73" fmla="*/ 3126581 w 7703343"/>
                  <a:gd name="connsiteY73" fmla="*/ 233363 h 1278731"/>
                  <a:gd name="connsiteX74" fmla="*/ 3083719 w 7703343"/>
                  <a:gd name="connsiteY74" fmla="*/ 250031 h 1278731"/>
                  <a:gd name="connsiteX75" fmla="*/ 3052763 w 7703343"/>
                  <a:gd name="connsiteY75" fmla="*/ 242888 h 1278731"/>
                  <a:gd name="connsiteX76" fmla="*/ 3028950 w 7703343"/>
                  <a:gd name="connsiteY76" fmla="*/ 271463 h 1278731"/>
                  <a:gd name="connsiteX77" fmla="*/ 3002756 w 7703343"/>
                  <a:gd name="connsiteY77" fmla="*/ 350044 h 1278731"/>
                  <a:gd name="connsiteX78" fmla="*/ 2959894 w 7703343"/>
                  <a:gd name="connsiteY78" fmla="*/ 347663 h 1278731"/>
                  <a:gd name="connsiteX79" fmla="*/ 2928937 w 7703343"/>
                  <a:gd name="connsiteY79" fmla="*/ 409575 h 1278731"/>
                  <a:gd name="connsiteX80" fmla="*/ 2924175 w 7703343"/>
                  <a:gd name="connsiteY80" fmla="*/ 473869 h 1278731"/>
                  <a:gd name="connsiteX81" fmla="*/ 2897982 w 7703343"/>
                  <a:gd name="connsiteY81" fmla="*/ 511969 h 1278731"/>
                  <a:gd name="connsiteX82" fmla="*/ 2924175 w 7703343"/>
                  <a:gd name="connsiteY82" fmla="*/ 571500 h 1278731"/>
                  <a:gd name="connsiteX83" fmla="*/ 2926556 w 7703343"/>
                  <a:gd name="connsiteY83" fmla="*/ 640556 h 1278731"/>
                  <a:gd name="connsiteX84" fmla="*/ 2955131 w 7703343"/>
                  <a:gd name="connsiteY84" fmla="*/ 692944 h 1278731"/>
                  <a:gd name="connsiteX85" fmla="*/ 3002757 w 7703343"/>
                  <a:gd name="connsiteY85" fmla="*/ 747713 h 1278731"/>
                  <a:gd name="connsiteX86" fmla="*/ 2952750 w 7703343"/>
                  <a:gd name="connsiteY86" fmla="*/ 885825 h 1278731"/>
                  <a:gd name="connsiteX87" fmla="*/ 2883694 w 7703343"/>
                  <a:gd name="connsiteY87" fmla="*/ 952500 h 1278731"/>
                  <a:gd name="connsiteX88" fmla="*/ 2812256 w 7703343"/>
                  <a:gd name="connsiteY88" fmla="*/ 947738 h 1278731"/>
                  <a:gd name="connsiteX89" fmla="*/ 2774156 w 7703343"/>
                  <a:gd name="connsiteY89" fmla="*/ 1004888 h 1278731"/>
                  <a:gd name="connsiteX90" fmla="*/ 2714625 w 7703343"/>
                  <a:gd name="connsiteY90" fmla="*/ 1019175 h 1278731"/>
                  <a:gd name="connsiteX91" fmla="*/ 2645569 w 7703343"/>
                  <a:gd name="connsiteY91" fmla="*/ 959644 h 1278731"/>
                  <a:gd name="connsiteX92" fmla="*/ 2590800 w 7703343"/>
                  <a:gd name="connsiteY92" fmla="*/ 931069 h 1278731"/>
                  <a:gd name="connsiteX93" fmla="*/ 2547938 w 7703343"/>
                  <a:gd name="connsiteY93" fmla="*/ 945356 h 1278731"/>
                  <a:gd name="connsiteX94" fmla="*/ 2495550 w 7703343"/>
                  <a:gd name="connsiteY94" fmla="*/ 928688 h 1278731"/>
                  <a:gd name="connsiteX95" fmla="*/ 2428875 w 7703343"/>
                  <a:gd name="connsiteY95" fmla="*/ 873919 h 1278731"/>
                  <a:gd name="connsiteX96" fmla="*/ 2383631 w 7703343"/>
                  <a:gd name="connsiteY96" fmla="*/ 885825 h 1278731"/>
                  <a:gd name="connsiteX97" fmla="*/ 2362200 w 7703343"/>
                  <a:gd name="connsiteY97" fmla="*/ 854869 h 1278731"/>
                  <a:gd name="connsiteX98" fmla="*/ 2305050 w 7703343"/>
                  <a:gd name="connsiteY98" fmla="*/ 895350 h 1278731"/>
                  <a:gd name="connsiteX99" fmla="*/ 2188369 w 7703343"/>
                  <a:gd name="connsiteY99" fmla="*/ 873919 h 1278731"/>
                  <a:gd name="connsiteX100" fmla="*/ 2138363 w 7703343"/>
                  <a:gd name="connsiteY100" fmla="*/ 821531 h 1278731"/>
                  <a:gd name="connsiteX101" fmla="*/ 2095500 w 7703343"/>
                  <a:gd name="connsiteY101" fmla="*/ 807244 h 1278731"/>
                  <a:gd name="connsiteX102" fmla="*/ 2052638 w 7703343"/>
                  <a:gd name="connsiteY102" fmla="*/ 833438 h 1278731"/>
                  <a:gd name="connsiteX103" fmla="*/ 2000250 w 7703343"/>
                  <a:gd name="connsiteY103" fmla="*/ 742950 h 1278731"/>
                  <a:gd name="connsiteX104" fmla="*/ 1990725 w 7703343"/>
                  <a:gd name="connsiteY104" fmla="*/ 595312 h 1278731"/>
                  <a:gd name="connsiteX105" fmla="*/ 1938337 w 7703343"/>
                  <a:gd name="connsiteY105" fmla="*/ 588168 h 1278731"/>
                  <a:gd name="connsiteX106" fmla="*/ 1847850 w 7703343"/>
                  <a:gd name="connsiteY106" fmla="*/ 578644 h 1278731"/>
                  <a:gd name="connsiteX107" fmla="*/ 1793081 w 7703343"/>
                  <a:gd name="connsiteY107" fmla="*/ 540544 h 1278731"/>
                  <a:gd name="connsiteX108" fmla="*/ 1724025 w 7703343"/>
                  <a:gd name="connsiteY108" fmla="*/ 550069 h 1278731"/>
                  <a:gd name="connsiteX109" fmla="*/ 1678781 w 7703343"/>
                  <a:gd name="connsiteY109" fmla="*/ 523875 h 1278731"/>
                  <a:gd name="connsiteX110" fmla="*/ 1669257 w 7703343"/>
                  <a:gd name="connsiteY110" fmla="*/ 452438 h 1278731"/>
                  <a:gd name="connsiteX111" fmla="*/ 1645444 w 7703343"/>
                  <a:gd name="connsiteY111" fmla="*/ 438150 h 1278731"/>
                  <a:gd name="connsiteX112" fmla="*/ 1607344 w 7703343"/>
                  <a:gd name="connsiteY112" fmla="*/ 485774 h 1278731"/>
                  <a:gd name="connsiteX113" fmla="*/ 1528762 w 7703343"/>
                  <a:gd name="connsiteY113" fmla="*/ 411956 h 1278731"/>
                  <a:gd name="connsiteX114" fmla="*/ 1488281 w 7703343"/>
                  <a:gd name="connsiteY114" fmla="*/ 452438 h 1278731"/>
                  <a:gd name="connsiteX115" fmla="*/ 1412081 w 7703343"/>
                  <a:gd name="connsiteY115" fmla="*/ 438150 h 1278731"/>
                  <a:gd name="connsiteX116" fmla="*/ 1333500 w 7703343"/>
                  <a:gd name="connsiteY116" fmla="*/ 464344 h 1278731"/>
                  <a:gd name="connsiteX117" fmla="*/ 1273969 w 7703343"/>
                  <a:gd name="connsiteY117" fmla="*/ 511968 h 1278731"/>
                  <a:gd name="connsiteX118" fmla="*/ 1200150 w 7703343"/>
                  <a:gd name="connsiteY118" fmla="*/ 523875 h 1278731"/>
                  <a:gd name="connsiteX119" fmla="*/ 1164431 w 7703343"/>
                  <a:gd name="connsiteY119" fmla="*/ 516731 h 1278731"/>
                  <a:gd name="connsiteX120" fmla="*/ 1085851 w 7703343"/>
                  <a:gd name="connsiteY120" fmla="*/ 547688 h 1278731"/>
                  <a:gd name="connsiteX121" fmla="*/ 1064419 w 7703343"/>
                  <a:gd name="connsiteY121" fmla="*/ 576263 h 1278731"/>
                  <a:gd name="connsiteX122" fmla="*/ 997744 w 7703343"/>
                  <a:gd name="connsiteY122" fmla="*/ 566738 h 1278731"/>
                  <a:gd name="connsiteX123" fmla="*/ 928688 w 7703343"/>
                  <a:gd name="connsiteY123" fmla="*/ 590550 h 1278731"/>
                  <a:gd name="connsiteX124" fmla="*/ 873919 w 7703343"/>
                  <a:gd name="connsiteY124" fmla="*/ 628650 h 1278731"/>
                  <a:gd name="connsiteX125" fmla="*/ 778669 w 7703343"/>
                  <a:gd name="connsiteY125" fmla="*/ 642937 h 1278731"/>
                  <a:gd name="connsiteX126" fmla="*/ 764381 w 7703343"/>
                  <a:gd name="connsiteY126" fmla="*/ 664369 h 1278731"/>
                  <a:gd name="connsiteX127" fmla="*/ 776287 w 7703343"/>
                  <a:gd name="connsiteY127" fmla="*/ 709613 h 1278731"/>
                  <a:gd name="connsiteX128" fmla="*/ 676276 w 7703343"/>
                  <a:gd name="connsiteY128" fmla="*/ 762000 h 1278731"/>
                  <a:gd name="connsiteX129" fmla="*/ 638175 w 7703343"/>
                  <a:gd name="connsiteY129" fmla="*/ 733424 h 1278731"/>
                  <a:gd name="connsiteX130" fmla="*/ 607219 w 7703343"/>
                  <a:gd name="connsiteY130" fmla="*/ 790575 h 1278731"/>
                  <a:gd name="connsiteX131" fmla="*/ 550069 w 7703343"/>
                  <a:gd name="connsiteY131" fmla="*/ 752475 h 1278731"/>
                  <a:gd name="connsiteX132" fmla="*/ 514350 w 7703343"/>
                  <a:gd name="connsiteY132" fmla="*/ 781050 h 1278731"/>
                  <a:gd name="connsiteX133" fmla="*/ 478631 w 7703343"/>
                  <a:gd name="connsiteY133" fmla="*/ 745331 h 1278731"/>
                  <a:gd name="connsiteX134" fmla="*/ 426244 w 7703343"/>
                  <a:gd name="connsiteY134" fmla="*/ 757238 h 1278731"/>
                  <a:gd name="connsiteX135" fmla="*/ 381000 w 7703343"/>
                  <a:gd name="connsiteY135" fmla="*/ 728663 h 1278731"/>
                  <a:gd name="connsiteX136" fmla="*/ 357188 w 7703343"/>
                  <a:gd name="connsiteY136" fmla="*/ 747713 h 1278731"/>
                  <a:gd name="connsiteX137" fmla="*/ 333375 w 7703343"/>
                  <a:gd name="connsiteY137" fmla="*/ 807244 h 1278731"/>
                  <a:gd name="connsiteX138" fmla="*/ 261938 w 7703343"/>
                  <a:gd name="connsiteY138" fmla="*/ 845343 h 1278731"/>
                  <a:gd name="connsiteX139" fmla="*/ 209550 w 7703343"/>
                  <a:gd name="connsiteY139" fmla="*/ 816769 h 1278731"/>
                  <a:gd name="connsiteX140" fmla="*/ 119063 w 7703343"/>
                  <a:gd name="connsiteY140" fmla="*/ 826294 h 1278731"/>
                  <a:gd name="connsiteX141" fmla="*/ 71437 w 7703343"/>
                  <a:gd name="connsiteY141" fmla="*/ 792957 h 1278731"/>
                  <a:gd name="connsiteX142" fmla="*/ 0 w 7703343"/>
                  <a:gd name="connsiteY142" fmla="*/ 812006 h 1278731"/>
                  <a:gd name="connsiteX143" fmla="*/ 4762 w 7703343"/>
                  <a:gd name="connsiteY143" fmla="*/ 0 h 1278731"/>
                  <a:gd name="connsiteX0" fmla="*/ 4762 w 7703343"/>
                  <a:gd name="connsiteY0" fmla="*/ 0 h 1278731"/>
                  <a:gd name="connsiteX1" fmla="*/ 7605712 w 7703343"/>
                  <a:gd name="connsiteY1" fmla="*/ 1202531 h 1278731"/>
                  <a:gd name="connsiteX2" fmla="*/ 7703343 w 7703343"/>
                  <a:gd name="connsiteY2" fmla="*/ 802481 h 1278731"/>
                  <a:gd name="connsiteX3" fmla="*/ 7696200 w 7703343"/>
                  <a:gd name="connsiteY3" fmla="*/ 773906 h 1278731"/>
                  <a:gd name="connsiteX4" fmla="*/ 7567613 w 7703343"/>
                  <a:gd name="connsiteY4" fmla="*/ 752475 h 1278731"/>
                  <a:gd name="connsiteX5" fmla="*/ 7384257 w 7703343"/>
                  <a:gd name="connsiteY5" fmla="*/ 831056 h 1278731"/>
                  <a:gd name="connsiteX6" fmla="*/ 7227093 w 7703343"/>
                  <a:gd name="connsiteY6" fmla="*/ 716756 h 1278731"/>
                  <a:gd name="connsiteX7" fmla="*/ 7150894 w 7703343"/>
                  <a:gd name="connsiteY7" fmla="*/ 723900 h 1278731"/>
                  <a:gd name="connsiteX8" fmla="*/ 7077075 w 7703343"/>
                  <a:gd name="connsiteY8" fmla="*/ 719138 h 1278731"/>
                  <a:gd name="connsiteX9" fmla="*/ 6938963 w 7703343"/>
                  <a:gd name="connsiteY9" fmla="*/ 823913 h 1278731"/>
                  <a:gd name="connsiteX10" fmla="*/ 6831806 w 7703343"/>
                  <a:gd name="connsiteY10" fmla="*/ 931069 h 1278731"/>
                  <a:gd name="connsiteX11" fmla="*/ 6788944 w 7703343"/>
                  <a:gd name="connsiteY11" fmla="*/ 1000125 h 1278731"/>
                  <a:gd name="connsiteX12" fmla="*/ 6796088 w 7703343"/>
                  <a:gd name="connsiteY12" fmla="*/ 1035844 h 1278731"/>
                  <a:gd name="connsiteX13" fmla="*/ 6734175 w 7703343"/>
                  <a:gd name="connsiteY13" fmla="*/ 1047750 h 1278731"/>
                  <a:gd name="connsiteX14" fmla="*/ 6753225 w 7703343"/>
                  <a:gd name="connsiteY14" fmla="*/ 1047750 h 1278731"/>
                  <a:gd name="connsiteX15" fmla="*/ 6719888 w 7703343"/>
                  <a:gd name="connsiteY15" fmla="*/ 1078706 h 1278731"/>
                  <a:gd name="connsiteX16" fmla="*/ 6619875 w 7703343"/>
                  <a:gd name="connsiteY16" fmla="*/ 1078707 h 1278731"/>
                  <a:gd name="connsiteX17" fmla="*/ 6524625 w 7703343"/>
                  <a:gd name="connsiteY17" fmla="*/ 1133475 h 1278731"/>
                  <a:gd name="connsiteX18" fmla="*/ 6443663 w 7703343"/>
                  <a:gd name="connsiteY18" fmla="*/ 1143000 h 1278731"/>
                  <a:gd name="connsiteX19" fmla="*/ 6403181 w 7703343"/>
                  <a:gd name="connsiteY19" fmla="*/ 1176338 h 1278731"/>
                  <a:gd name="connsiteX20" fmla="*/ 6353175 w 7703343"/>
                  <a:gd name="connsiteY20" fmla="*/ 1181100 h 1278731"/>
                  <a:gd name="connsiteX21" fmla="*/ 6231732 w 7703343"/>
                  <a:gd name="connsiteY21" fmla="*/ 1273969 h 1278731"/>
                  <a:gd name="connsiteX22" fmla="*/ 6172200 w 7703343"/>
                  <a:gd name="connsiteY22" fmla="*/ 1278731 h 1278731"/>
                  <a:gd name="connsiteX23" fmla="*/ 6119813 w 7703343"/>
                  <a:gd name="connsiteY23" fmla="*/ 1243013 h 1278731"/>
                  <a:gd name="connsiteX24" fmla="*/ 6093619 w 7703343"/>
                  <a:gd name="connsiteY24" fmla="*/ 1278731 h 1278731"/>
                  <a:gd name="connsiteX25" fmla="*/ 5895975 w 7703343"/>
                  <a:gd name="connsiteY25" fmla="*/ 1271588 h 1278731"/>
                  <a:gd name="connsiteX26" fmla="*/ 5834063 w 7703343"/>
                  <a:gd name="connsiteY26" fmla="*/ 1226344 h 1278731"/>
                  <a:gd name="connsiteX27" fmla="*/ 5636419 w 7703343"/>
                  <a:gd name="connsiteY27" fmla="*/ 1243013 h 1278731"/>
                  <a:gd name="connsiteX28" fmla="*/ 5548313 w 7703343"/>
                  <a:gd name="connsiteY28" fmla="*/ 1159668 h 1278731"/>
                  <a:gd name="connsiteX29" fmla="*/ 5472113 w 7703343"/>
                  <a:gd name="connsiteY29" fmla="*/ 1114425 h 1278731"/>
                  <a:gd name="connsiteX30" fmla="*/ 5474493 w 7703343"/>
                  <a:gd name="connsiteY30" fmla="*/ 1057275 h 1278731"/>
                  <a:gd name="connsiteX31" fmla="*/ 5455444 w 7703343"/>
                  <a:gd name="connsiteY31" fmla="*/ 1014412 h 1278731"/>
                  <a:gd name="connsiteX32" fmla="*/ 5360194 w 7703343"/>
                  <a:gd name="connsiteY32" fmla="*/ 1016794 h 1278731"/>
                  <a:gd name="connsiteX33" fmla="*/ 5264944 w 7703343"/>
                  <a:gd name="connsiteY33" fmla="*/ 995363 h 1278731"/>
                  <a:gd name="connsiteX34" fmla="*/ 5195887 w 7703343"/>
                  <a:gd name="connsiteY34" fmla="*/ 928687 h 1278731"/>
                  <a:gd name="connsiteX35" fmla="*/ 5160169 w 7703343"/>
                  <a:gd name="connsiteY35" fmla="*/ 885825 h 1278731"/>
                  <a:gd name="connsiteX36" fmla="*/ 5079206 w 7703343"/>
                  <a:gd name="connsiteY36" fmla="*/ 862012 h 1278731"/>
                  <a:gd name="connsiteX37" fmla="*/ 5005388 w 7703343"/>
                  <a:gd name="connsiteY37" fmla="*/ 873918 h 1278731"/>
                  <a:gd name="connsiteX38" fmla="*/ 4948237 w 7703343"/>
                  <a:gd name="connsiteY38" fmla="*/ 821531 h 1278731"/>
                  <a:gd name="connsiteX39" fmla="*/ 4852988 w 7703343"/>
                  <a:gd name="connsiteY39" fmla="*/ 833438 h 1278731"/>
                  <a:gd name="connsiteX40" fmla="*/ 4800600 w 7703343"/>
                  <a:gd name="connsiteY40" fmla="*/ 807244 h 1278731"/>
                  <a:gd name="connsiteX41" fmla="*/ 4719638 w 7703343"/>
                  <a:gd name="connsiteY41" fmla="*/ 850106 h 1278731"/>
                  <a:gd name="connsiteX42" fmla="*/ 4581525 w 7703343"/>
                  <a:gd name="connsiteY42" fmla="*/ 873919 h 1278731"/>
                  <a:gd name="connsiteX43" fmla="*/ 4452938 w 7703343"/>
                  <a:gd name="connsiteY43" fmla="*/ 966788 h 1278731"/>
                  <a:gd name="connsiteX44" fmla="*/ 4405312 w 7703343"/>
                  <a:gd name="connsiteY44" fmla="*/ 928688 h 1278731"/>
                  <a:gd name="connsiteX45" fmla="*/ 4383881 w 7703343"/>
                  <a:gd name="connsiteY45" fmla="*/ 959643 h 1278731"/>
                  <a:gd name="connsiteX46" fmla="*/ 4310063 w 7703343"/>
                  <a:gd name="connsiteY46" fmla="*/ 909638 h 1278731"/>
                  <a:gd name="connsiteX47" fmla="*/ 4271963 w 7703343"/>
                  <a:gd name="connsiteY47" fmla="*/ 916781 h 1278731"/>
                  <a:gd name="connsiteX48" fmla="*/ 4250531 w 7703343"/>
                  <a:gd name="connsiteY48" fmla="*/ 878681 h 1278731"/>
                  <a:gd name="connsiteX49" fmla="*/ 4191000 w 7703343"/>
                  <a:gd name="connsiteY49" fmla="*/ 883444 h 1278731"/>
                  <a:gd name="connsiteX50" fmla="*/ 4145756 w 7703343"/>
                  <a:gd name="connsiteY50" fmla="*/ 854869 h 1278731"/>
                  <a:gd name="connsiteX51" fmla="*/ 4107656 w 7703343"/>
                  <a:gd name="connsiteY51" fmla="*/ 852488 h 1278731"/>
                  <a:gd name="connsiteX52" fmla="*/ 4088606 w 7703343"/>
                  <a:gd name="connsiteY52" fmla="*/ 804862 h 1278731"/>
                  <a:gd name="connsiteX53" fmla="*/ 4074319 w 7703343"/>
                  <a:gd name="connsiteY53" fmla="*/ 773906 h 1278731"/>
                  <a:gd name="connsiteX54" fmla="*/ 4029075 w 7703343"/>
                  <a:gd name="connsiteY54" fmla="*/ 783431 h 1278731"/>
                  <a:gd name="connsiteX55" fmla="*/ 4010025 w 7703343"/>
                  <a:gd name="connsiteY55" fmla="*/ 747713 h 1278731"/>
                  <a:gd name="connsiteX56" fmla="*/ 4031457 w 7703343"/>
                  <a:gd name="connsiteY56" fmla="*/ 692944 h 1278731"/>
                  <a:gd name="connsiteX57" fmla="*/ 4000500 w 7703343"/>
                  <a:gd name="connsiteY57" fmla="*/ 666750 h 1278731"/>
                  <a:gd name="connsiteX58" fmla="*/ 4017169 w 7703343"/>
                  <a:gd name="connsiteY58" fmla="*/ 623888 h 1278731"/>
                  <a:gd name="connsiteX59" fmla="*/ 3990975 w 7703343"/>
                  <a:gd name="connsiteY59" fmla="*/ 581025 h 1278731"/>
                  <a:gd name="connsiteX60" fmla="*/ 3986213 w 7703343"/>
                  <a:gd name="connsiteY60" fmla="*/ 519113 h 1278731"/>
                  <a:gd name="connsiteX61" fmla="*/ 4010025 w 7703343"/>
                  <a:gd name="connsiteY61" fmla="*/ 454818 h 1278731"/>
                  <a:gd name="connsiteX62" fmla="*/ 3971925 w 7703343"/>
                  <a:gd name="connsiteY62" fmla="*/ 457200 h 1278731"/>
                  <a:gd name="connsiteX63" fmla="*/ 3852863 w 7703343"/>
                  <a:gd name="connsiteY63" fmla="*/ 400050 h 1278731"/>
                  <a:gd name="connsiteX64" fmla="*/ 3814762 w 7703343"/>
                  <a:gd name="connsiteY64" fmla="*/ 404812 h 1278731"/>
                  <a:gd name="connsiteX65" fmla="*/ 3609975 w 7703343"/>
                  <a:gd name="connsiteY65" fmla="*/ 295275 h 1278731"/>
                  <a:gd name="connsiteX66" fmla="*/ 3505200 w 7703343"/>
                  <a:gd name="connsiteY66" fmla="*/ 264319 h 1278731"/>
                  <a:gd name="connsiteX67" fmla="*/ 3440906 w 7703343"/>
                  <a:gd name="connsiteY67" fmla="*/ 273843 h 1278731"/>
                  <a:gd name="connsiteX68" fmla="*/ 3409950 w 7703343"/>
                  <a:gd name="connsiteY68" fmla="*/ 209550 h 1278731"/>
                  <a:gd name="connsiteX69" fmla="*/ 3352800 w 7703343"/>
                  <a:gd name="connsiteY69" fmla="*/ 209550 h 1278731"/>
                  <a:gd name="connsiteX70" fmla="*/ 3214687 w 7703343"/>
                  <a:gd name="connsiteY70" fmla="*/ 104775 h 1278731"/>
                  <a:gd name="connsiteX71" fmla="*/ 3181350 w 7703343"/>
                  <a:gd name="connsiteY71" fmla="*/ 164307 h 1278731"/>
                  <a:gd name="connsiteX72" fmla="*/ 3126581 w 7703343"/>
                  <a:gd name="connsiteY72" fmla="*/ 233363 h 1278731"/>
                  <a:gd name="connsiteX73" fmla="*/ 3083719 w 7703343"/>
                  <a:gd name="connsiteY73" fmla="*/ 250031 h 1278731"/>
                  <a:gd name="connsiteX74" fmla="*/ 3052763 w 7703343"/>
                  <a:gd name="connsiteY74" fmla="*/ 242888 h 1278731"/>
                  <a:gd name="connsiteX75" fmla="*/ 3028950 w 7703343"/>
                  <a:gd name="connsiteY75" fmla="*/ 271463 h 1278731"/>
                  <a:gd name="connsiteX76" fmla="*/ 3002756 w 7703343"/>
                  <a:gd name="connsiteY76" fmla="*/ 350044 h 1278731"/>
                  <a:gd name="connsiteX77" fmla="*/ 2959894 w 7703343"/>
                  <a:gd name="connsiteY77" fmla="*/ 347663 h 1278731"/>
                  <a:gd name="connsiteX78" fmla="*/ 2928937 w 7703343"/>
                  <a:gd name="connsiteY78" fmla="*/ 409575 h 1278731"/>
                  <a:gd name="connsiteX79" fmla="*/ 2924175 w 7703343"/>
                  <a:gd name="connsiteY79" fmla="*/ 473869 h 1278731"/>
                  <a:gd name="connsiteX80" fmla="*/ 2897982 w 7703343"/>
                  <a:gd name="connsiteY80" fmla="*/ 511969 h 1278731"/>
                  <a:gd name="connsiteX81" fmla="*/ 2924175 w 7703343"/>
                  <a:gd name="connsiteY81" fmla="*/ 571500 h 1278731"/>
                  <a:gd name="connsiteX82" fmla="*/ 2926556 w 7703343"/>
                  <a:gd name="connsiteY82" fmla="*/ 640556 h 1278731"/>
                  <a:gd name="connsiteX83" fmla="*/ 2955131 w 7703343"/>
                  <a:gd name="connsiteY83" fmla="*/ 692944 h 1278731"/>
                  <a:gd name="connsiteX84" fmla="*/ 3002757 w 7703343"/>
                  <a:gd name="connsiteY84" fmla="*/ 747713 h 1278731"/>
                  <a:gd name="connsiteX85" fmla="*/ 2952750 w 7703343"/>
                  <a:gd name="connsiteY85" fmla="*/ 885825 h 1278731"/>
                  <a:gd name="connsiteX86" fmla="*/ 2883694 w 7703343"/>
                  <a:gd name="connsiteY86" fmla="*/ 952500 h 1278731"/>
                  <a:gd name="connsiteX87" fmla="*/ 2812256 w 7703343"/>
                  <a:gd name="connsiteY87" fmla="*/ 947738 h 1278731"/>
                  <a:gd name="connsiteX88" fmla="*/ 2774156 w 7703343"/>
                  <a:gd name="connsiteY88" fmla="*/ 1004888 h 1278731"/>
                  <a:gd name="connsiteX89" fmla="*/ 2714625 w 7703343"/>
                  <a:gd name="connsiteY89" fmla="*/ 1019175 h 1278731"/>
                  <a:gd name="connsiteX90" fmla="*/ 2645569 w 7703343"/>
                  <a:gd name="connsiteY90" fmla="*/ 959644 h 1278731"/>
                  <a:gd name="connsiteX91" fmla="*/ 2590800 w 7703343"/>
                  <a:gd name="connsiteY91" fmla="*/ 931069 h 1278731"/>
                  <a:gd name="connsiteX92" fmla="*/ 2547938 w 7703343"/>
                  <a:gd name="connsiteY92" fmla="*/ 945356 h 1278731"/>
                  <a:gd name="connsiteX93" fmla="*/ 2495550 w 7703343"/>
                  <a:gd name="connsiteY93" fmla="*/ 928688 h 1278731"/>
                  <a:gd name="connsiteX94" fmla="*/ 2428875 w 7703343"/>
                  <a:gd name="connsiteY94" fmla="*/ 873919 h 1278731"/>
                  <a:gd name="connsiteX95" fmla="*/ 2383631 w 7703343"/>
                  <a:gd name="connsiteY95" fmla="*/ 885825 h 1278731"/>
                  <a:gd name="connsiteX96" fmla="*/ 2362200 w 7703343"/>
                  <a:gd name="connsiteY96" fmla="*/ 854869 h 1278731"/>
                  <a:gd name="connsiteX97" fmla="*/ 2305050 w 7703343"/>
                  <a:gd name="connsiteY97" fmla="*/ 895350 h 1278731"/>
                  <a:gd name="connsiteX98" fmla="*/ 2188369 w 7703343"/>
                  <a:gd name="connsiteY98" fmla="*/ 873919 h 1278731"/>
                  <a:gd name="connsiteX99" fmla="*/ 2138363 w 7703343"/>
                  <a:gd name="connsiteY99" fmla="*/ 821531 h 1278731"/>
                  <a:gd name="connsiteX100" fmla="*/ 2095500 w 7703343"/>
                  <a:gd name="connsiteY100" fmla="*/ 807244 h 1278731"/>
                  <a:gd name="connsiteX101" fmla="*/ 2052638 w 7703343"/>
                  <a:gd name="connsiteY101" fmla="*/ 833438 h 1278731"/>
                  <a:gd name="connsiteX102" fmla="*/ 2000250 w 7703343"/>
                  <a:gd name="connsiteY102" fmla="*/ 742950 h 1278731"/>
                  <a:gd name="connsiteX103" fmla="*/ 1990725 w 7703343"/>
                  <a:gd name="connsiteY103" fmla="*/ 595312 h 1278731"/>
                  <a:gd name="connsiteX104" fmla="*/ 1938337 w 7703343"/>
                  <a:gd name="connsiteY104" fmla="*/ 588168 h 1278731"/>
                  <a:gd name="connsiteX105" fmla="*/ 1847850 w 7703343"/>
                  <a:gd name="connsiteY105" fmla="*/ 578644 h 1278731"/>
                  <a:gd name="connsiteX106" fmla="*/ 1793081 w 7703343"/>
                  <a:gd name="connsiteY106" fmla="*/ 540544 h 1278731"/>
                  <a:gd name="connsiteX107" fmla="*/ 1724025 w 7703343"/>
                  <a:gd name="connsiteY107" fmla="*/ 550069 h 1278731"/>
                  <a:gd name="connsiteX108" fmla="*/ 1678781 w 7703343"/>
                  <a:gd name="connsiteY108" fmla="*/ 523875 h 1278731"/>
                  <a:gd name="connsiteX109" fmla="*/ 1669257 w 7703343"/>
                  <a:gd name="connsiteY109" fmla="*/ 452438 h 1278731"/>
                  <a:gd name="connsiteX110" fmla="*/ 1645444 w 7703343"/>
                  <a:gd name="connsiteY110" fmla="*/ 438150 h 1278731"/>
                  <a:gd name="connsiteX111" fmla="*/ 1607344 w 7703343"/>
                  <a:gd name="connsiteY111" fmla="*/ 485774 h 1278731"/>
                  <a:gd name="connsiteX112" fmla="*/ 1528762 w 7703343"/>
                  <a:gd name="connsiteY112" fmla="*/ 411956 h 1278731"/>
                  <a:gd name="connsiteX113" fmla="*/ 1488281 w 7703343"/>
                  <a:gd name="connsiteY113" fmla="*/ 452438 h 1278731"/>
                  <a:gd name="connsiteX114" fmla="*/ 1412081 w 7703343"/>
                  <a:gd name="connsiteY114" fmla="*/ 438150 h 1278731"/>
                  <a:gd name="connsiteX115" fmla="*/ 1333500 w 7703343"/>
                  <a:gd name="connsiteY115" fmla="*/ 464344 h 1278731"/>
                  <a:gd name="connsiteX116" fmla="*/ 1273969 w 7703343"/>
                  <a:gd name="connsiteY116" fmla="*/ 511968 h 1278731"/>
                  <a:gd name="connsiteX117" fmla="*/ 1200150 w 7703343"/>
                  <a:gd name="connsiteY117" fmla="*/ 523875 h 1278731"/>
                  <a:gd name="connsiteX118" fmla="*/ 1164431 w 7703343"/>
                  <a:gd name="connsiteY118" fmla="*/ 516731 h 1278731"/>
                  <a:gd name="connsiteX119" fmla="*/ 1085851 w 7703343"/>
                  <a:gd name="connsiteY119" fmla="*/ 547688 h 1278731"/>
                  <a:gd name="connsiteX120" fmla="*/ 1064419 w 7703343"/>
                  <a:gd name="connsiteY120" fmla="*/ 576263 h 1278731"/>
                  <a:gd name="connsiteX121" fmla="*/ 997744 w 7703343"/>
                  <a:gd name="connsiteY121" fmla="*/ 566738 h 1278731"/>
                  <a:gd name="connsiteX122" fmla="*/ 928688 w 7703343"/>
                  <a:gd name="connsiteY122" fmla="*/ 590550 h 1278731"/>
                  <a:gd name="connsiteX123" fmla="*/ 873919 w 7703343"/>
                  <a:gd name="connsiteY123" fmla="*/ 628650 h 1278731"/>
                  <a:gd name="connsiteX124" fmla="*/ 778669 w 7703343"/>
                  <a:gd name="connsiteY124" fmla="*/ 642937 h 1278731"/>
                  <a:gd name="connsiteX125" fmla="*/ 764381 w 7703343"/>
                  <a:gd name="connsiteY125" fmla="*/ 664369 h 1278731"/>
                  <a:gd name="connsiteX126" fmla="*/ 776287 w 7703343"/>
                  <a:gd name="connsiteY126" fmla="*/ 709613 h 1278731"/>
                  <a:gd name="connsiteX127" fmla="*/ 676276 w 7703343"/>
                  <a:gd name="connsiteY127" fmla="*/ 762000 h 1278731"/>
                  <a:gd name="connsiteX128" fmla="*/ 638175 w 7703343"/>
                  <a:gd name="connsiteY128" fmla="*/ 733424 h 1278731"/>
                  <a:gd name="connsiteX129" fmla="*/ 607219 w 7703343"/>
                  <a:gd name="connsiteY129" fmla="*/ 790575 h 1278731"/>
                  <a:gd name="connsiteX130" fmla="*/ 550069 w 7703343"/>
                  <a:gd name="connsiteY130" fmla="*/ 752475 h 1278731"/>
                  <a:gd name="connsiteX131" fmla="*/ 514350 w 7703343"/>
                  <a:gd name="connsiteY131" fmla="*/ 781050 h 1278731"/>
                  <a:gd name="connsiteX132" fmla="*/ 478631 w 7703343"/>
                  <a:gd name="connsiteY132" fmla="*/ 745331 h 1278731"/>
                  <a:gd name="connsiteX133" fmla="*/ 426244 w 7703343"/>
                  <a:gd name="connsiteY133" fmla="*/ 757238 h 1278731"/>
                  <a:gd name="connsiteX134" fmla="*/ 381000 w 7703343"/>
                  <a:gd name="connsiteY134" fmla="*/ 728663 h 1278731"/>
                  <a:gd name="connsiteX135" fmla="*/ 357188 w 7703343"/>
                  <a:gd name="connsiteY135" fmla="*/ 747713 h 1278731"/>
                  <a:gd name="connsiteX136" fmla="*/ 333375 w 7703343"/>
                  <a:gd name="connsiteY136" fmla="*/ 807244 h 1278731"/>
                  <a:gd name="connsiteX137" fmla="*/ 261938 w 7703343"/>
                  <a:gd name="connsiteY137" fmla="*/ 845343 h 1278731"/>
                  <a:gd name="connsiteX138" fmla="*/ 209550 w 7703343"/>
                  <a:gd name="connsiteY138" fmla="*/ 816769 h 1278731"/>
                  <a:gd name="connsiteX139" fmla="*/ 119063 w 7703343"/>
                  <a:gd name="connsiteY139" fmla="*/ 826294 h 1278731"/>
                  <a:gd name="connsiteX140" fmla="*/ 71437 w 7703343"/>
                  <a:gd name="connsiteY140" fmla="*/ 792957 h 1278731"/>
                  <a:gd name="connsiteX141" fmla="*/ 0 w 7703343"/>
                  <a:gd name="connsiteY141" fmla="*/ 812006 h 1278731"/>
                  <a:gd name="connsiteX142" fmla="*/ 4762 w 7703343"/>
                  <a:gd name="connsiteY142" fmla="*/ 0 h 1278731"/>
                  <a:gd name="connsiteX0" fmla="*/ 4762 w 7703343"/>
                  <a:gd name="connsiteY0" fmla="*/ 0 h 1278731"/>
                  <a:gd name="connsiteX1" fmla="*/ 7703343 w 7703343"/>
                  <a:gd name="connsiteY1" fmla="*/ 802481 h 1278731"/>
                  <a:gd name="connsiteX2" fmla="*/ 7696200 w 7703343"/>
                  <a:gd name="connsiteY2" fmla="*/ 773906 h 1278731"/>
                  <a:gd name="connsiteX3" fmla="*/ 7567613 w 7703343"/>
                  <a:gd name="connsiteY3" fmla="*/ 752475 h 1278731"/>
                  <a:gd name="connsiteX4" fmla="*/ 7384257 w 7703343"/>
                  <a:gd name="connsiteY4" fmla="*/ 831056 h 1278731"/>
                  <a:gd name="connsiteX5" fmla="*/ 7227093 w 7703343"/>
                  <a:gd name="connsiteY5" fmla="*/ 716756 h 1278731"/>
                  <a:gd name="connsiteX6" fmla="*/ 7150894 w 7703343"/>
                  <a:gd name="connsiteY6" fmla="*/ 723900 h 1278731"/>
                  <a:gd name="connsiteX7" fmla="*/ 7077075 w 7703343"/>
                  <a:gd name="connsiteY7" fmla="*/ 719138 h 1278731"/>
                  <a:gd name="connsiteX8" fmla="*/ 6938963 w 7703343"/>
                  <a:gd name="connsiteY8" fmla="*/ 823913 h 1278731"/>
                  <a:gd name="connsiteX9" fmla="*/ 6831806 w 7703343"/>
                  <a:gd name="connsiteY9" fmla="*/ 931069 h 1278731"/>
                  <a:gd name="connsiteX10" fmla="*/ 6788944 w 7703343"/>
                  <a:gd name="connsiteY10" fmla="*/ 1000125 h 1278731"/>
                  <a:gd name="connsiteX11" fmla="*/ 6796088 w 7703343"/>
                  <a:gd name="connsiteY11" fmla="*/ 1035844 h 1278731"/>
                  <a:gd name="connsiteX12" fmla="*/ 6734175 w 7703343"/>
                  <a:gd name="connsiteY12" fmla="*/ 1047750 h 1278731"/>
                  <a:gd name="connsiteX13" fmla="*/ 6753225 w 7703343"/>
                  <a:gd name="connsiteY13" fmla="*/ 1047750 h 1278731"/>
                  <a:gd name="connsiteX14" fmla="*/ 6719888 w 7703343"/>
                  <a:gd name="connsiteY14" fmla="*/ 1078706 h 1278731"/>
                  <a:gd name="connsiteX15" fmla="*/ 6619875 w 7703343"/>
                  <a:gd name="connsiteY15" fmla="*/ 1078707 h 1278731"/>
                  <a:gd name="connsiteX16" fmla="*/ 6524625 w 7703343"/>
                  <a:gd name="connsiteY16" fmla="*/ 1133475 h 1278731"/>
                  <a:gd name="connsiteX17" fmla="*/ 6443663 w 7703343"/>
                  <a:gd name="connsiteY17" fmla="*/ 1143000 h 1278731"/>
                  <a:gd name="connsiteX18" fmla="*/ 6403181 w 7703343"/>
                  <a:gd name="connsiteY18" fmla="*/ 1176338 h 1278731"/>
                  <a:gd name="connsiteX19" fmla="*/ 6353175 w 7703343"/>
                  <a:gd name="connsiteY19" fmla="*/ 1181100 h 1278731"/>
                  <a:gd name="connsiteX20" fmla="*/ 6231732 w 7703343"/>
                  <a:gd name="connsiteY20" fmla="*/ 1273969 h 1278731"/>
                  <a:gd name="connsiteX21" fmla="*/ 6172200 w 7703343"/>
                  <a:gd name="connsiteY21" fmla="*/ 1278731 h 1278731"/>
                  <a:gd name="connsiteX22" fmla="*/ 6119813 w 7703343"/>
                  <a:gd name="connsiteY22" fmla="*/ 1243013 h 1278731"/>
                  <a:gd name="connsiteX23" fmla="*/ 6093619 w 7703343"/>
                  <a:gd name="connsiteY23" fmla="*/ 1278731 h 1278731"/>
                  <a:gd name="connsiteX24" fmla="*/ 5895975 w 7703343"/>
                  <a:gd name="connsiteY24" fmla="*/ 1271588 h 1278731"/>
                  <a:gd name="connsiteX25" fmla="*/ 5834063 w 7703343"/>
                  <a:gd name="connsiteY25" fmla="*/ 1226344 h 1278731"/>
                  <a:gd name="connsiteX26" fmla="*/ 5636419 w 7703343"/>
                  <a:gd name="connsiteY26" fmla="*/ 1243013 h 1278731"/>
                  <a:gd name="connsiteX27" fmla="*/ 5548313 w 7703343"/>
                  <a:gd name="connsiteY27" fmla="*/ 1159668 h 1278731"/>
                  <a:gd name="connsiteX28" fmla="*/ 5472113 w 7703343"/>
                  <a:gd name="connsiteY28" fmla="*/ 1114425 h 1278731"/>
                  <a:gd name="connsiteX29" fmla="*/ 5474493 w 7703343"/>
                  <a:gd name="connsiteY29" fmla="*/ 1057275 h 1278731"/>
                  <a:gd name="connsiteX30" fmla="*/ 5455444 w 7703343"/>
                  <a:gd name="connsiteY30" fmla="*/ 1014412 h 1278731"/>
                  <a:gd name="connsiteX31" fmla="*/ 5360194 w 7703343"/>
                  <a:gd name="connsiteY31" fmla="*/ 1016794 h 1278731"/>
                  <a:gd name="connsiteX32" fmla="*/ 5264944 w 7703343"/>
                  <a:gd name="connsiteY32" fmla="*/ 995363 h 1278731"/>
                  <a:gd name="connsiteX33" fmla="*/ 5195887 w 7703343"/>
                  <a:gd name="connsiteY33" fmla="*/ 928687 h 1278731"/>
                  <a:gd name="connsiteX34" fmla="*/ 5160169 w 7703343"/>
                  <a:gd name="connsiteY34" fmla="*/ 885825 h 1278731"/>
                  <a:gd name="connsiteX35" fmla="*/ 5079206 w 7703343"/>
                  <a:gd name="connsiteY35" fmla="*/ 862012 h 1278731"/>
                  <a:gd name="connsiteX36" fmla="*/ 5005388 w 7703343"/>
                  <a:gd name="connsiteY36" fmla="*/ 873918 h 1278731"/>
                  <a:gd name="connsiteX37" fmla="*/ 4948237 w 7703343"/>
                  <a:gd name="connsiteY37" fmla="*/ 821531 h 1278731"/>
                  <a:gd name="connsiteX38" fmla="*/ 4852988 w 7703343"/>
                  <a:gd name="connsiteY38" fmla="*/ 833438 h 1278731"/>
                  <a:gd name="connsiteX39" fmla="*/ 4800600 w 7703343"/>
                  <a:gd name="connsiteY39" fmla="*/ 807244 h 1278731"/>
                  <a:gd name="connsiteX40" fmla="*/ 4719638 w 7703343"/>
                  <a:gd name="connsiteY40" fmla="*/ 850106 h 1278731"/>
                  <a:gd name="connsiteX41" fmla="*/ 4581525 w 7703343"/>
                  <a:gd name="connsiteY41" fmla="*/ 873919 h 1278731"/>
                  <a:gd name="connsiteX42" fmla="*/ 4452938 w 7703343"/>
                  <a:gd name="connsiteY42" fmla="*/ 966788 h 1278731"/>
                  <a:gd name="connsiteX43" fmla="*/ 4405312 w 7703343"/>
                  <a:gd name="connsiteY43" fmla="*/ 928688 h 1278731"/>
                  <a:gd name="connsiteX44" fmla="*/ 4383881 w 7703343"/>
                  <a:gd name="connsiteY44" fmla="*/ 959643 h 1278731"/>
                  <a:gd name="connsiteX45" fmla="*/ 4310063 w 7703343"/>
                  <a:gd name="connsiteY45" fmla="*/ 909638 h 1278731"/>
                  <a:gd name="connsiteX46" fmla="*/ 4271963 w 7703343"/>
                  <a:gd name="connsiteY46" fmla="*/ 916781 h 1278731"/>
                  <a:gd name="connsiteX47" fmla="*/ 4250531 w 7703343"/>
                  <a:gd name="connsiteY47" fmla="*/ 878681 h 1278731"/>
                  <a:gd name="connsiteX48" fmla="*/ 4191000 w 7703343"/>
                  <a:gd name="connsiteY48" fmla="*/ 883444 h 1278731"/>
                  <a:gd name="connsiteX49" fmla="*/ 4145756 w 7703343"/>
                  <a:gd name="connsiteY49" fmla="*/ 854869 h 1278731"/>
                  <a:gd name="connsiteX50" fmla="*/ 4107656 w 7703343"/>
                  <a:gd name="connsiteY50" fmla="*/ 852488 h 1278731"/>
                  <a:gd name="connsiteX51" fmla="*/ 4088606 w 7703343"/>
                  <a:gd name="connsiteY51" fmla="*/ 804862 h 1278731"/>
                  <a:gd name="connsiteX52" fmla="*/ 4074319 w 7703343"/>
                  <a:gd name="connsiteY52" fmla="*/ 773906 h 1278731"/>
                  <a:gd name="connsiteX53" fmla="*/ 4029075 w 7703343"/>
                  <a:gd name="connsiteY53" fmla="*/ 783431 h 1278731"/>
                  <a:gd name="connsiteX54" fmla="*/ 4010025 w 7703343"/>
                  <a:gd name="connsiteY54" fmla="*/ 747713 h 1278731"/>
                  <a:gd name="connsiteX55" fmla="*/ 4031457 w 7703343"/>
                  <a:gd name="connsiteY55" fmla="*/ 692944 h 1278731"/>
                  <a:gd name="connsiteX56" fmla="*/ 4000500 w 7703343"/>
                  <a:gd name="connsiteY56" fmla="*/ 666750 h 1278731"/>
                  <a:gd name="connsiteX57" fmla="*/ 4017169 w 7703343"/>
                  <a:gd name="connsiteY57" fmla="*/ 623888 h 1278731"/>
                  <a:gd name="connsiteX58" fmla="*/ 3990975 w 7703343"/>
                  <a:gd name="connsiteY58" fmla="*/ 581025 h 1278731"/>
                  <a:gd name="connsiteX59" fmla="*/ 3986213 w 7703343"/>
                  <a:gd name="connsiteY59" fmla="*/ 519113 h 1278731"/>
                  <a:gd name="connsiteX60" fmla="*/ 4010025 w 7703343"/>
                  <a:gd name="connsiteY60" fmla="*/ 454818 h 1278731"/>
                  <a:gd name="connsiteX61" fmla="*/ 3971925 w 7703343"/>
                  <a:gd name="connsiteY61" fmla="*/ 457200 h 1278731"/>
                  <a:gd name="connsiteX62" fmla="*/ 3852863 w 7703343"/>
                  <a:gd name="connsiteY62" fmla="*/ 400050 h 1278731"/>
                  <a:gd name="connsiteX63" fmla="*/ 3814762 w 7703343"/>
                  <a:gd name="connsiteY63" fmla="*/ 404812 h 1278731"/>
                  <a:gd name="connsiteX64" fmla="*/ 3609975 w 7703343"/>
                  <a:gd name="connsiteY64" fmla="*/ 295275 h 1278731"/>
                  <a:gd name="connsiteX65" fmla="*/ 3505200 w 7703343"/>
                  <a:gd name="connsiteY65" fmla="*/ 264319 h 1278731"/>
                  <a:gd name="connsiteX66" fmla="*/ 3440906 w 7703343"/>
                  <a:gd name="connsiteY66" fmla="*/ 273843 h 1278731"/>
                  <a:gd name="connsiteX67" fmla="*/ 3409950 w 7703343"/>
                  <a:gd name="connsiteY67" fmla="*/ 209550 h 1278731"/>
                  <a:gd name="connsiteX68" fmla="*/ 3352800 w 7703343"/>
                  <a:gd name="connsiteY68" fmla="*/ 209550 h 1278731"/>
                  <a:gd name="connsiteX69" fmla="*/ 3214687 w 7703343"/>
                  <a:gd name="connsiteY69" fmla="*/ 104775 h 1278731"/>
                  <a:gd name="connsiteX70" fmla="*/ 3181350 w 7703343"/>
                  <a:gd name="connsiteY70" fmla="*/ 164307 h 1278731"/>
                  <a:gd name="connsiteX71" fmla="*/ 3126581 w 7703343"/>
                  <a:gd name="connsiteY71" fmla="*/ 233363 h 1278731"/>
                  <a:gd name="connsiteX72" fmla="*/ 3083719 w 7703343"/>
                  <a:gd name="connsiteY72" fmla="*/ 250031 h 1278731"/>
                  <a:gd name="connsiteX73" fmla="*/ 3052763 w 7703343"/>
                  <a:gd name="connsiteY73" fmla="*/ 242888 h 1278731"/>
                  <a:gd name="connsiteX74" fmla="*/ 3028950 w 7703343"/>
                  <a:gd name="connsiteY74" fmla="*/ 271463 h 1278731"/>
                  <a:gd name="connsiteX75" fmla="*/ 3002756 w 7703343"/>
                  <a:gd name="connsiteY75" fmla="*/ 350044 h 1278731"/>
                  <a:gd name="connsiteX76" fmla="*/ 2959894 w 7703343"/>
                  <a:gd name="connsiteY76" fmla="*/ 347663 h 1278731"/>
                  <a:gd name="connsiteX77" fmla="*/ 2928937 w 7703343"/>
                  <a:gd name="connsiteY77" fmla="*/ 409575 h 1278731"/>
                  <a:gd name="connsiteX78" fmla="*/ 2924175 w 7703343"/>
                  <a:gd name="connsiteY78" fmla="*/ 473869 h 1278731"/>
                  <a:gd name="connsiteX79" fmla="*/ 2897982 w 7703343"/>
                  <a:gd name="connsiteY79" fmla="*/ 511969 h 1278731"/>
                  <a:gd name="connsiteX80" fmla="*/ 2924175 w 7703343"/>
                  <a:gd name="connsiteY80" fmla="*/ 571500 h 1278731"/>
                  <a:gd name="connsiteX81" fmla="*/ 2926556 w 7703343"/>
                  <a:gd name="connsiteY81" fmla="*/ 640556 h 1278731"/>
                  <a:gd name="connsiteX82" fmla="*/ 2955131 w 7703343"/>
                  <a:gd name="connsiteY82" fmla="*/ 692944 h 1278731"/>
                  <a:gd name="connsiteX83" fmla="*/ 3002757 w 7703343"/>
                  <a:gd name="connsiteY83" fmla="*/ 747713 h 1278731"/>
                  <a:gd name="connsiteX84" fmla="*/ 2952750 w 7703343"/>
                  <a:gd name="connsiteY84" fmla="*/ 885825 h 1278731"/>
                  <a:gd name="connsiteX85" fmla="*/ 2883694 w 7703343"/>
                  <a:gd name="connsiteY85" fmla="*/ 952500 h 1278731"/>
                  <a:gd name="connsiteX86" fmla="*/ 2812256 w 7703343"/>
                  <a:gd name="connsiteY86" fmla="*/ 947738 h 1278731"/>
                  <a:gd name="connsiteX87" fmla="*/ 2774156 w 7703343"/>
                  <a:gd name="connsiteY87" fmla="*/ 1004888 h 1278731"/>
                  <a:gd name="connsiteX88" fmla="*/ 2714625 w 7703343"/>
                  <a:gd name="connsiteY88" fmla="*/ 1019175 h 1278731"/>
                  <a:gd name="connsiteX89" fmla="*/ 2645569 w 7703343"/>
                  <a:gd name="connsiteY89" fmla="*/ 959644 h 1278731"/>
                  <a:gd name="connsiteX90" fmla="*/ 2590800 w 7703343"/>
                  <a:gd name="connsiteY90" fmla="*/ 931069 h 1278731"/>
                  <a:gd name="connsiteX91" fmla="*/ 2547938 w 7703343"/>
                  <a:gd name="connsiteY91" fmla="*/ 945356 h 1278731"/>
                  <a:gd name="connsiteX92" fmla="*/ 2495550 w 7703343"/>
                  <a:gd name="connsiteY92" fmla="*/ 928688 h 1278731"/>
                  <a:gd name="connsiteX93" fmla="*/ 2428875 w 7703343"/>
                  <a:gd name="connsiteY93" fmla="*/ 873919 h 1278731"/>
                  <a:gd name="connsiteX94" fmla="*/ 2383631 w 7703343"/>
                  <a:gd name="connsiteY94" fmla="*/ 885825 h 1278731"/>
                  <a:gd name="connsiteX95" fmla="*/ 2362200 w 7703343"/>
                  <a:gd name="connsiteY95" fmla="*/ 854869 h 1278731"/>
                  <a:gd name="connsiteX96" fmla="*/ 2305050 w 7703343"/>
                  <a:gd name="connsiteY96" fmla="*/ 895350 h 1278731"/>
                  <a:gd name="connsiteX97" fmla="*/ 2188369 w 7703343"/>
                  <a:gd name="connsiteY97" fmla="*/ 873919 h 1278731"/>
                  <a:gd name="connsiteX98" fmla="*/ 2138363 w 7703343"/>
                  <a:gd name="connsiteY98" fmla="*/ 821531 h 1278731"/>
                  <a:gd name="connsiteX99" fmla="*/ 2095500 w 7703343"/>
                  <a:gd name="connsiteY99" fmla="*/ 807244 h 1278731"/>
                  <a:gd name="connsiteX100" fmla="*/ 2052638 w 7703343"/>
                  <a:gd name="connsiteY100" fmla="*/ 833438 h 1278731"/>
                  <a:gd name="connsiteX101" fmla="*/ 2000250 w 7703343"/>
                  <a:gd name="connsiteY101" fmla="*/ 742950 h 1278731"/>
                  <a:gd name="connsiteX102" fmla="*/ 1990725 w 7703343"/>
                  <a:gd name="connsiteY102" fmla="*/ 595312 h 1278731"/>
                  <a:gd name="connsiteX103" fmla="*/ 1938337 w 7703343"/>
                  <a:gd name="connsiteY103" fmla="*/ 588168 h 1278731"/>
                  <a:gd name="connsiteX104" fmla="*/ 1847850 w 7703343"/>
                  <a:gd name="connsiteY104" fmla="*/ 578644 h 1278731"/>
                  <a:gd name="connsiteX105" fmla="*/ 1793081 w 7703343"/>
                  <a:gd name="connsiteY105" fmla="*/ 540544 h 1278731"/>
                  <a:gd name="connsiteX106" fmla="*/ 1724025 w 7703343"/>
                  <a:gd name="connsiteY106" fmla="*/ 550069 h 1278731"/>
                  <a:gd name="connsiteX107" fmla="*/ 1678781 w 7703343"/>
                  <a:gd name="connsiteY107" fmla="*/ 523875 h 1278731"/>
                  <a:gd name="connsiteX108" fmla="*/ 1669257 w 7703343"/>
                  <a:gd name="connsiteY108" fmla="*/ 452438 h 1278731"/>
                  <a:gd name="connsiteX109" fmla="*/ 1645444 w 7703343"/>
                  <a:gd name="connsiteY109" fmla="*/ 438150 h 1278731"/>
                  <a:gd name="connsiteX110" fmla="*/ 1607344 w 7703343"/>
                  <a:gd name="connsiteY110" fmla="*/ 485774 h 1278731"/>
                  <a:gd name="connsiteX111" fmla="*/ 1528762 w 7703343"/>
                  <a:gd name="connsiteY111" fmla="*/ 411956 h 1278731"/>
                  <a:gd name="connsiteX112" fmla="*/ 1488281 w 7703343"/>
                  <a:gd name="connsiteY112" fmla="*/ 452438 h 1278731"/>
                  <a:gd name="connsiteX113" fmla="*/ 1412081 w 7703343"/>
                  <a:gd name="connsiteY113" fmla="*/ 438150 h 1278731"/>
                  <a:gd name="connsiteX114" fmla="*/ 1333500 w 7703343"/>
                  <a:gd name="connsiteY114" fmla="*/ 464344 h 1278731"/>
                  <a:gd name="connsiteX115" fmla="*/ 1273969 w 7703343"/>
                  <a:gd name="connsiteY115" fmla="*/ 511968 h 1278731"/>
                  <a:gd name="connsiteX116" fmla="*/ 1200150 w 7703343"/>
                  <a:gd name="connsiteY116" fmla="*/ 523875 h 1278731"/>
                  <a:gd name="connsiteX117" fmla="*/ 1164431 w 7703343"/>
                  <a:gd name="connsiteY117" fmla="*/ 516731 h 1278731"/>
                  <a:gd name="connsiteX118" fmla="*/ 1085851 w 7703343"/>
                  <a:gd name="connsiteY118" fmla="*/ 547688 h 1278731"/>
                  <a:gd name="connsiteX119" fmla="*/ 1064419 w 7703343"/>
                  <a:gd name="connsiteY119" fmla="*/ 576263 h 1278731"/>
                  <a:gd name="connsiteX120" fmla="*/ 997744 w 7703343"/>
                  <a:gd name="connsiteY120" fmla="*/ 566738 h 1278731"/>
                  <a:gd name="connsiteX121" fmla="*/ 928688 w 7703343"/>
                  <a:gd name="connsiteY121" fmla="*/ 590550 h 1278731"/>
                  <a:gd name="connsiteX122" fmla="*/ 873919 w 7703343"/>
                  <a:gd name="connsiteY122" fmla="*/ 628650 h 1278731"/>
                  <a:gd name="connsiteX123" fmla="*/ 778669 w 7703343"/>
                  <a:gd name="connsiteY123" fmla="*/ 642937 h 1278731"/>
                  <a:gd name="connsiteX124" fmla="*/ 764381 w 7703343"/>
                  <a:gd name="connsiteY124" fmla="*/ 664369 h 1278731"/>
                  <a:gd name="connsiteX125" fmla="*/ 776287 w 7703343"/>
                  <a:gd name="connsiteY125" fmla="*/ 709613 h 1278731"/>
                  <a:gd name="connsiteX126" fmla="*/ 676276 w 7703343"/>
                  <a:gd name="connsiteY126" fmla="*/ 762000 h 1278731"/>
                  <a:gd name="connsiteX127" fmla="*/ 638175 w 7703343"/>
                  <a:gd name="connsiteY127" fmla="*/ 733424 h 1278731"/>
                  <a:gd name="connsiteX128" fmla="*/ 607219 w 7703343"/>
                  <a:gd name="connsiteY128" fmla="*/ 790575 h 1278731"/>
                  <a:gd name="connsiteX129" fmla="*/ 550069 w 7703343"/>
                  <a:gd name="connsiteY129" fmla="*/ 752475 h 1278731"/>
                  <a:gd name="connsiteX130" fmla="*/ 514350 w 7703343"/>
                  <a:gd name="connsiteY130" fmla="*/ 781050 h 1278731"/>
                  <a:gd name="connsiteX131" fmla="*/ 478631 w 7703343"/>
                  <a:gd name="connsiteY131" fmla="*/ 745331 h 1278731"/>
                  <a:gd name="connsiteX132" fmla="*/ 426244 w 7703343"/>
                  <a:gd name="connsiteY132" fmla="*/ 757238 h 1278731"/>
                  <a:gd name="connsiteX133" fmla="*/ 381000 w 7703343"/>
                  <a:gd name="connsiteY133" fmla="*/ 728663 h 1278731"/>
                  <a:gd name="connsiteX134" fmla="*/ 357188 w 7703343"/>
                  <a:gd name="connsiteY134" fmla="*/ 747713 h 1278731"/>
                  <a:gd name="connsiteX135" fmla="*/ 333375 w 7703343"/>
                  <a:gd name="connsiteY135" fmla="*/ 807244 h 1278731"/>
                  <a:gd name="connsiteX136" fmla="*/ 261938 w 7703343"/>
                  <a:gd name="connsiteY136" fmla="*/ 845343 h 1278731"/>
                  <a:gd name="connsiteX137" fmla="*/ 209550 w 7703343"/>
                  <a:gd name="connsiteY137" fmla="*/ 816769 h 1278731"/>
                  <a:gd name="connsiteX138" fmla="*/ 119063 w 7703343"/>
                  <a:gd name="connsiteY138" fmla="*/ 826294 h 1278731"/>
                  <a:gd name="connsiteX139" fmla="*/ 71437 w 7703343"/>
                  <a:gd name="connsiteY139" fmla="*/ 792957 h 1278731"/>
                  <a:gd name="connsiteX140" fmla="*/ 0 w 7703343"/>
                  <a:gd name="connsiteY140" fmla="*/ 812006 h 1278731"/>
                  <a:gd name="connsiteX141" fmla="*/ 4762 w 7703343"/>
                  <a:gd name="connsiteY141" fmla="*/ 0 h 1278731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7703343 w 8405893"/>
                  <a:gd name="connsiteY2" fmla="*/ 807607 h 1283857"/>
                  <a:gd name="connsiteX3" fmla="*/ 7696200 w 8405893"/>
                  <a:gd name="connsiteY3" fmla="*/ 779032 h 1283857"/>
                  <a:gd name="connsiteX4" fmla="*/ 7567613 w 8405893"/>
                  <a:gd name="connsiteY4" fmla="*/ 757601 h 1283857"/>
                  <a:gd name="connsiteX5" fmla="*/ 7384257 w 8405893"/>
                  <a:gd name="connsiteY5" fmla="*/ 836182 h 1283857"/>
                  <a:gd name="connsiteX6" fmla="*/ 7227093 w 8405893"/>
                  <a:gd name="connsiteY6" fmla="*/ 721882 h 1283857"/>
                  <a:gd name="connsiteX7" fmla="*/ 7150894 w 8405893"/>
                  <a:gd name="connsiteY7" fmla="*/ 729026 h 1283857"/>
                  <a:gd name="connsiteX8" fmla="*/ 7077075 w 8405893"/>
                  <a:gd name="connsiteY8" fmla="*/ 724264 h 1283857"/>
                  <a:gd name="connsiteX9" fmla="*/ 6938963 w 8405893"/>
                  <a:gd name="connsiteY9" fmla="*/ 829039 h 1283857"/>
                  <a:gd name="connsiteX10" fmla="*/ 6831806 w 8405893"/>
                  <a:gd name="connsiteY10" fmla="*/ 936195 h 1283857"/>
                  <a:gd name="connsiteX11" fmla="*/ 6788944 w 8405893"/>
                  <a:gd name="connsiteY11" fmla="*/ 1005251 h 1283857"/>
                  <a:gd name="connsiteX12" fmla="*/ 6796088 w 8405893"/>
                  <a:gd name="connsiteY12" fmla="*/ 1040970 h 1283857"/>
                  <a:gd name="connsiteX13" fmla="*/ 6734175 w 8405893"/>
                  <a:gd name="connsiteY13" fmla="*/ 1052876 h 1283857"/>
                  <a:gd name="connsiteX14" fmla="*/ 6753225 w 8405893"/>
                  <a:gd name="connsiteY14" fmla="*/ 1052876 h 1283857"/>
                  <a:gd name="connsiteX15" fmla="*/ 6719888 w 8405893"/>
                  <a:gd name="connsiteY15" fmla="*/ 1083832 h 1283857"/>
                  <a:gd name="connsiteX16" fmla="*/ 6619875 w 8405893"/>
                  <a:gd name="connsiteY16" fmla="*/ 1083833 h 1283857"/>
                  <a:gd name="connsiteX17" fmla="*/ 6524625 w 8405893"/>
                  <a:gd name="connsiteY17" fmla="*/ 1138601 h 1283857"/>
                  <a:gd name="connsiteX18" fmla="*/ 6443663 w 8405893"/>
                  <a:gd name="connsiteY18" fmla="*/ 1148126 h 1283857"/>
                  <a:gd name="connsiteX19" fmla="*/ 6403181 w 8405893"/>
                  <a:gd name="connsiteY19" fmla="*/ 1181464 h 1283857"/>
                  <a:gd name="connsiteX20" fmla="*/ 6353175 w 8405893"/>
                  <a:gd name="connsiteY20" fmla="*/ 1186226 h 1283857"/>
                  <a:gd name="connsiteX21" fmla="*/ 6231732 w 8405893"/>
                  <a:gd name="connsiteY21" fmla="*/ 1279095 h 1283857"/>
                  <a:gd name="connsiteX22" fmla="*/ 6172200 w 8405893"/>
                  <a:gd name="connsiteY22" fmla="*/ 1283857 h 1283857"/>
                  <a:gd name="connsiteX23" fmla="*/ 6119813 w 8405893"/>
                  <a:gd name="connsiteY23" fmla="*/ 1248139 h 1283857"/>
                  <a:gd name="connsiteX24" fmla="*/ 6093619 w 8405893"/>
                  <a:gd name="connsiteY24" fmla="*/ 1283857 h 1283857"/>
                  <a:gd name="connsiteX25" fmla="*/ 5895975 w 8405893"/>
                  <a:gd name="connsiteY25" fmla="*/ 1276714 h 1283857"/>
                  <a:gd name="connsiteX26" fmla="*/ 5834063 w 8405893"/>
                  <a:gd name="connsiteY26" fmla="*/ 1231470 h 1283857"/>
                  <a:gd name="connsiteX27" fmla="*/ 5636419 w 8405893"/>
                  <a:gd name="connsiteY27" fmla="*/ 1248139 h 1283857"/>
                  <a:gd name="connsiteX28" fmla="*/ 5548313 w 8405893"/>
                  <a:gd name="connsiteY28" fmla="*/ 1164794 h 1283857"/>
                  <a:gd name="connsiteX29" fmla="*/ 5472113 w 8405893"/>
                  <a:gd name="connsiteY29" fmla="*/ 1119551 h 1283857"/>
                  <a:gd name="connsiteX30" fmla="*/ 5474493 w 8405893"/>
                  <a:gd name="connsiteY30" fmla="*/ 1062401 h 1283857"/>
                  <a:gd name="connsiteX31" fmla="*/ 5455444 w 8405893"/>
                  <a:gd name="connsiteY31" fmla="*/ 1019538 h 1283857"/>
                  <a:gd name="connsiteX32" fmla="*/ 5360194 w 8405893"/>
                  <a:gd name="connsiteY32" fmla="*/ 1021920 h 1283857"/>
                  <a:gd name="connsiteX33" fmla="*/ 5264944 w 8405893"/>
                  <a:gd name="connsiteY33" fmla="*/ 1000489 h 1283857"/>
                  <a:gd name="connsiteX34" fmla="*/ 5195887 w 8405893"/>
                  <a:gd name="connsiteY34" fmla="*/ 933813 h 1283857"/>
                  <a:gd name="connsiteX35" fmla="*/ 5160169 w 8405893"/>
                  <a:gd name="connsiteY35" fmla="*/ 890951 h 1283857"/>
                  <a:gd name="connsiteX36" fmla="*/ 5079206 w 8405893"/>
                  <a:gd name="connsiteY36" fmla="*/ 867138 h 1283857"/>
                  <a:gd name="connsiteX37" fmla="*/ 5005388 w 8405893"/>
                  <a:gd name="connsiteY37" fmla="*/ 879044 h 1283857"/>
                  <a:gd name="connsiteX38" fmla="*/ 4948237 w 8405893"/>
                  <a:gd name="connsiteY38" fmla="*/ 826657 h 1283857"/>
                  <a:gd name="connsiteX39" fmla="*/ 4852988 w 8405893"/>
                  <a:gd name="connsiteY39" fmla="*/ 838564 h 1283857"/>
                  <a:gd name="connsiteX40" fmla="*/ 4800600 w 8405893"/>
                  <a:gd name="connsiteY40" fmla="*/ 812370 h 1283857"/>
                  <a:gd name="connsiteX41" fmla="*/ 4719638 w 8405893"/>
                  <a:gd name="connsiteY41" fmla="*/ 855232 h 1283857"/>
                  <a:gd name="connsiteX42" fmla="*/ 4581525 w 8405893"/>
                  <a:gd name="connsiteY42" fmla="*/ 879045 h 1283857"/>
                  <a:gd name="connsiteX43" fmla="*/ 4452938 w 8405893"/>
                  <a:gd name="connsiteY43" fmla="*/ 971914 h 1283857"/>
                  <a:gd name="connsiteX44" fmla="*/ 4405312 w 8405893"/>
                  <a:gd name="connsiteY44" fmla="*/ 933814 h 1283857"/>
                  <a:gd name="connsiteX45" fmla="*/ 4383881 w 8405893"/>
                  <a:gd name="connsiteY45" fmla="*/ 964769 h 1283857"/>
                  <a:gd name="connsiteX46" fmla="*/ 4310063 w 8405893"/>
                  <a:gd name="connsiteY46" fmla="*/ 914764 h 1283857"/>
                  <a:gd name="connsiteX47" fmla="*/ 4271963 w 8405893"/>
                  <a:gd name="connsiteY47" fmla="*/ 921907 h 1283857"/>
                  <a:gd name="connsiteX48" fmla="*/ 4250531 w 8405893"/>
                  <a:gd name="connsiteY48" fmla="*/ 883807 h 1283857"/>
                  <a:gd name="connsiteX49" fmla="*/ 4191000 w 8405893"/>
                  <a:gd name="connsiteY49" fmla="*/ 888570 h 1283857"/>
                  <a:gd name="connsiteX50" fmla="*/ 4145756 w 8405893"/>
                  <a:gd name="connsiteY50" fmla="*/ 859995 h 1283857"/>
                  <a:gd name="connsiteX51" fmla="*/ 4107656 w 8405893"/>
                  <a:gd name="connsiteY51" fmla="*/ 857614 h 1283857"/>
                  <a:gd name="connsiteX52" fmla="*/ 4088606 w 8405893"/>
                  <a:gd name="connsiteY52" fmla="*/ 809988 h 1283857"/>
                  <a:gd name="connsiteX53" fmla="*/ 4074319 w 8405893"/>
                  <a:gd name="connsiteY53" fmla="*/ 779032 h 1283857"/>
                  <a:gd name="connsiteX54" fmla="*/ 4029075 w 8405893"/>
                  <a:gd name="connsiteY54" fmla="*/ 788557 h 1283857"/>
                  <a:gd name="connsiteX55" fmla="*/ 4010025 w 8405893"/>
                  <a:gd name="connsiteY55" fmla="*/ 752839 h 1283857"/>
                  <a:gd name="connsiteX56" fmla="*/ 4031457 w 8405893"/>
                  <a:gd name="connsiteY56" fmla="*/ 698070 h 1283857"/>
                  <a:gd name="connsiteX57" fmla="*/ 4000500 w 8405893"/>
                  <a:gd name="connsiteY57" fmla="*/ 671876 h 1283857"/>
                  <a:gd name="connsiteX58" fmla="*/ 4017169 w 8405893"/>
                  <a:gd name="connsiteY58" fmla="*/ 629014 h 1283857"/>
                  <a:gd name="connsiteX59" fmla="*/ 3990975 w 8405893"/>
                  <a:gd name="connsiteY59" fmla="*/ 586151 h 1283857"/>
                  <a:gd name="connsiteX60" fmla="*/ 3986213 w 8405893"/>
                  <a:gd name="connsiteY60" fmla="*/ 524239 h 1283857"/>
                  <a:gd name="connsiteX61" fmla="*/ 4010025 w 8405893"/>
                  <a:gd name="connsiteY61" fmla="*/ 459944 h 1283857"/>
                  <a:gd name="connsiteX62" fmla="*/ 3971925 w 8405893"/>
                  <a:gd name="connsiteY62" fmla="*/ 462326 h 1283857"/>
                  <a:gd name="connsiteX63" fmla="*/ 3852863 w 8405893"/>
                  <a:gd name="connsiteY63" fmla="*/ 405176 h 1283857"/>
                  <a:gd name="connsiteX64" fmla="*/ 3814762 w 8405893"/>
                  <a:gd name="connsiteY64" fmla="*/ 409938 h 1283857"/>
                  <a:gd name="connsiteX65" fmla="*/ 3609975 w 8405893"/>
                  <a:gd name="connsiteY65" fmla="*/ 300401 h 1283857"/>
                  <a:gd name="connsiteX66" fmla="*/ 3505200 w 8405893"/>
                  <a:gd name="connsiteY66" fmla="*/ 269445 h 1283857"/>
                  <a:gd name="connsiteX67" fmla="*/ 3440906 w 8405893"/>
                  <a:gd name="connsiteY67" fmla="*/ 278969 h 1283857"/>
                  <a:gd name="connsiteX68" fmla="*/ 3409950 w 8405893"/>
                  <a:gd name="connsiteY68" fmla="*/ 214676 h 1283857"/>
                  <a:gd name="connsiteX69" fmla="*/ 3352800 w 8405893"/>
                  <a:gd name="connsiteY69" fmla="*/ 214676 h 1283857"/>
                  <a:gd name="connsiteX70" fmla="*/ 3214687 w 8405893"/>
                  <a:gd name="connsiteY70" fmla="*/ 109901 h 1283857"/>
                  <a:gd name="connsiteX71" fmla="*/ 3181350 w 8405893"/>
                  <a:gd name="connsiteY71" fmla="*/ 169433 h 1283857"/>
                  <a:gd name="connsiteX72" fmla="*/ 3126581 w 8405893"/>
                  <a:gd name="connsiteY72" fmla="*/ 238489 h 1283857"/>
                  <a:gd name="connsiteX73" fmla="*/ 3083719 w 8405893"/>
                  <a:gd name="connsiteY73" fmla="*/ 255157 h 1283857"/>
                  <a:gd name="connsiteX74" fmla="*/ 3052763 w 8405893"/>
                  <a:gd name="connsiteY74" fmla="*/ 248014 h 1283857"/>
                  <a:gd name="connsiteX75" fmla="*/ 3028950 w 8405893"/>
                  <a:gd name="connsiteY75" fmla="*/ 276589 h 1283857"/>
                  <a:gd name="connsiteX76" fmla="*/ 3002756 w 8405893"/>
                  <a:gd name="connsiteY76" fmla="*/ 355170 h 1283857"/>
                  <a:gd name="connsiteX77" fmla="*/ 2959894 w 8405893"/>
                  <a:gd name="connsiteY77" fmla="*/ 352789 h 1283857"/>
                  <a:gd name="connsiteX78" fmla="*/ 2928937 w 8405893"/>
                  <a:gd name="connsiteY78" fmla="*/ 414701 h 1283857"/>
                  <a:gd name="connsiteX79" fmla="*/ 2924175 w 8405893"/>
                  <a:gd name="connsiteY79" fmla="*/ 478995 h 1283857"/>
                  <a:gd name="connsiteX80" fmla="*/ 2897982 w 8405893"/>
                  <a:gd name="connsiteY80" fmla="*/ 517095 h 1283857"/>
                  <a:gd name="connsiteX81" fmla="*/ 2924175 w 8405893"/>
                  <a:gd name="connsiteY81" fmla="*/ 576626 h 1283857"/>
                  <a:gd name="connsiteX82" fmla="*/ 2926556 w 8405893"/>
                  <a:gd name="connsiteY82" fmla="*/ 645682 h 1283857"/>
                  <a:gd name="connsiteX83" fmla="*/ 2955131 w 8405893"/>
                  <a:gd name="connsiteY83" fmla="*/ 698070 h 1283857"/>
                  <a:gd name="connsiteX84" fmla="*/ 3002757 w 8405893"/>
                  <a:gd name="connsiteY84" fmla="*/ 752839 h 1283857"/>
                  <a:gd name="connsiteX85" fmla="*/ 2952750 w 8405893"/>
                  <a:gd name="connsiteY85" fmla="*/ 890951 h 1283857"/>
                  <a:gd name="connsiteX86" fmla="*/ 2883694 w 8405893"/>
                  <a:gd name="connsiteY86" fmla="*/ 957626 h 1283857"/>
                  <a:gd name="connsiteX87" fmla="*/ 2812256 w 8405893"/>
                  <a:gd name="connsiteY87" fmla="*/ 952864 h 1283857"/>
                  <a:gd name="connsiteX88" fmla="*/ 2774156 w 8405893"/>
                  <a:gd name="connsiteY88" fmla="*/ 1010014 h 1283857"/>
                  <a:gd name="connsiteX89" fmla="*/ 2714625 w 8405893"/>
                  <a:gd name="connsiteY89" fmla="*/ 1024301 h 1283857"/>
                  <a:gd name="connsiteX90" fmla="*/ 2645569 w 8405893"/>
                  <a:gd name="connsiteY90" fmla="*/ 964770 h 1283857"/>
                  <a:gd name="connsiteX91" fmla="*/ 2590800 w 8405893"/>
                  <a:gd name="connsiteY91" fmla="*/ 936195 h 1283857"/>
                  <a:gd name="connsiteX92" fmla="*/ 2547938 w 8405893"/>
                  <a:gd name="connsiteY92" fmla="*/ 950482 h 1283857"/>
                  <a:gd name="connsiteX93" fmla="*/ 2495550 w 8405893"/>
                  <a:gd name="connsiteY93" fmla="*/ 933814 h 1283857"/>
                  <a:gd name="connsiteX94" fmla="*/ 2428875 w 8405893"/>
                  <a:gd name="connsiteY94" fmla="*/ 879045 h 1283857"/>
                  <a:gd name="connsiteX95" fmla="*/ 2383631 w 8405893"/>
                  <a:gd name="connsiteY95" fmla="*/ 890951 h 1283857"/>
                  <a:gd name="connsiteX96" fmla="*/ 2362200 w 8405893"/>
                  <a:gd name="connsiteY96" fmla="*/ 859995 h 1283857"/>
                  <a:gd name="connsiteX97" fmla="*/ 2305050 w 8405893"/>
                  <a:gd name="connsiteY97" fmla="*/ 900476 h 1283857"/>
                  <a:gd name="connsiteX98" fmla="*/ 2188369 w 8405893"/>
                  <a:gd name="connsiteY98" fmla="*/ 879045 h 1283857"/>
                  <a:gd name="connsiteX99" fmla="*/ 2138363 w 8405893"/>
                  <a:gd name="connsiteY99" fmla="*/ 826657 h 1283857"/>
                  <a:gd name="connsiteX100" fmla="*/ 2095500 w 8405893"/>
                  <a:gd name="connsiteY100" fmla="*/ 812370 h 1283857"/>
                  <a:gd name="connsiteX101" fmla="*/ 2052638 w 8405893"/>
                  <a:gd name="connsiteY101" fmla="*/ 838564 h 1283857"/>
                  <a:gd name="connsiteX102" fmla="*/ 2000250 w 8405893"/>
                  <a:gd name="connsiteY102" fmla="*/ 748076 h 1283857"/>
                  <a:gd name="connsiteX103" fmla="*/ 1990725 w 8405893"/>
                  <a:gd name="connsiteY103" fmla="*/ 600438 h 1283857"/>
                  <a:gd name="connsiteX104" fmla="*/ 1938337 w 8405893"/>
                  <a:gd name="connsiteY104" fmla="*/ 593294 h 1283857"/>
                  <a:gd name="connsiteX105" fmla="*/ 1847850 w 8405893"/>
                  <a:gd name="connsiteY105" fmla="*/ 583770 h 1283857"/>
                  <a:gd name="connsiteX106" fmla="*/ 1793081 w 8405893"/>
                  <a:gd name="connsiteY106" fmla="*/ 545670 h 1283857"/>
                  <a:gd name="connsiteX107" fmla="*/ 1724025 w 8405893"/>
                  <a:gd name="connsiteY107" fmla="*/ 555195 h 1283857"/>
                  <a:gd name="connsiteX108" fmla="*/ 1678781 w 8405893"/>
                  <a:gd name="connsiteY108" fmla="*/ 529001 h 1283857"/>
                  <a:gd name="connsiteX109" fmla="*/ 1669257 w 8405893"/>
                  <a:gd name="connsiteY109" fmla="*/ 457564 h 1283857"/>
                  <a:gd name="connsiteX110" fmla="*/ 1645444 w 8405893"/>
                  <a:gd name="connsiteY110" fmla="*/ 443276 h 1283857"/>
                  <a:gd name="connsiteX111" fmla="*/ 1607344 w 8405893"/>
                  <a:gd name="connsiteY111" fmla="*/ 490900 h 1283857"/>
                  <a:gd name="connsiteX112" fmla="*/ 1528762 w 8405893"/>
                  <a:gd name="connsiteY112" fmla="*/ 417082 h 1283857"/>
                  <a:gd name="connsiteX113" fmla="*/ 1488281 w 8405893"/>
                  <a:gd name="connsiteY113" fmla="*/ 457564 h 1283857"/>
                  <a:gd name="connsiteX114" fmla="*/ 1412081 w 8405893"/>
                  <a:gd name="connsiteY114" fmla="*/ 443276 h 1283857"/>
                  <a:gd name="connsiteX115" fmla="*/ 1333500 w 8405893"/>
                  <a:gd name="connsiteY115" fmla="*/ 469470 h 1283857"/>
                  <a:gd name="connsiteX116" fmla="*/ 1273969 w 8405893"/>
                  <a:gd name="connsiteY116" fmla="*/ 517094 h 1283857"/>
                  <a:gd name="connsiteX117" fmla="*/ 1200150 w 8405893"/>
                  <a:gd name="connsiteY117" fmla="*/ 529001 h 1283857"/>
                  <a:gd name="connsiteX118" fmla="*/ 1164431 w 8405893"/>
                  <a:gd name="connsiteY118" fmla="*/ 521857 h 1283857"/>
                  <a:gd name="connsiteX119" fmla="*/ 1085851 w 8405893"/>
                  <a:gd name="connsiteY119" fmla="*/ 552814 h 1283857"/>
                  <a:gd name="connsiteX120" fmla="*/ 1064419 w 8405893"/>
                  <a:gd name="connsiteY120" fmla="*/ 581389 h 1283857"/>
                  <a:gd name="connsiteX121" fmla="*/ 997744 w 8405893"/>
                  <a:gd name="connsiteY121" fmla="*/ 571864 h 1283857"/>
                  <a:gd name="connsiteX122" fmla="*/ 928688 w 8405893"/>
                  <a:gd name="connsiteY122" fmla="*/ 595676 h 1283857"/>
                  <a:gd name="connsiteX123" fmla="*/ 873919 w 8405893"/>
                  <a:gd name="connsiteY123" fmla="*/ 633776 h 1283857"/>
                  <a:gd name="connsiteX124" fmla="*/ 778669 w 8405893"/>
                  <a:gd name="connsiteY124" fmla="*/ 648063 h 1283857"/>
                  <a:gd name="connsiteX125" fmla="*/ 764381 w 8405893"/>
                  <a:gd name="connsiteY125" fmla="*/ 669495 h 1283857"/>
                  <a:gd name="connsiteX126" fmla="*/ 776287 w 8405893"/>
                  <a:gd name="connsiteY126" fmla="*/ 714739 h 1283857"/>
                  <a:gd name="connsiteX127" fmla="*/ 676276 w 8405893"/>
                  <a:gd name="connsiteY127" fmla="*/ 767126 h 1283857"/>
                  <a:gd name="connsiteX128" fmla="*/ 638175 w 8405893"/>
                  <a:gd name="connsiteY128" fmla="*/ 738550 h 1283857"/>
                  <a:gd name="connsiteX129" fmla="*/ 607219 w 8405893"/>
                  <a:gd name="connsiteY129" fmla="*/ 795701 h 1283857"/>
                  <a:gd name="connsiteX130" fmla="*/ 550069 w 8405893"/>
                  <a:gd name="connsiteY130" fmla="*/ 757601 h 1283857"/>
                  <a:gd name="connsiteX131" fmla="*/ 514350 w 8405893"/>
                  <a:gd name="connsiteY131" fmla="*/ 786176 h 1283857"/>
                  <a:gd name="connsiteX132" fmla="*/ 478631 w 8405893"/>
                  <a:gd name="connsiteY132" fmla="*/ 750457 h 1283857"/>
                  <a:gd name="connsiteX133" fmla="*/ 426244 w 8405893"/>
                  <a:gd name="connsiteY133" fmla="*/ 762364 h 1283857"/>
                  <a:gd name="connsiteX134" fmla="*/ 381000 w 8405893"/>
                  <a:gd name="connsiteY134" fmla="*/ 733789 h 1283857"/>
                  <a:gd name="connsiteX135" fmla="*/ 357188 w 8405893"/>
                  <a:gd name="connsiteY135" fmla="*/ 752839 h 1283857"/>
                  <a:gd name="connsiteX136" fmla="*/ 333375 w 8405893"/>
                  <a:gd name="connsiteY136" fmla="*/ 812370 h 1283857"/>
                  <a:gd name="connsiteX137" fmla="*/ 261938 w 8405893"/>
                  <a:gd name="connsiteY137" fmla="*/ 850469 h 1283857"/>
                  <a:gd name="connsiteX138" fmla="*/ 209550 w 8405893"/>
                  <a:gd name="connsiteY138" fmla="*/ 821895 h 1283857"/>
                  <a:gd name="connsiteX139" fmla="*/ 119063 w 8405893"/>
                  <a:gd name="connsiteY139" fmla="*/ 831420 h 1283857"/>
                  <a:gd name="connsiteX140" fmla="*/ 71437 w 8405893"/>
                  <a:gd name="connsiteY140" fmla="*/ 798083 h 1283857"/>
                  <a:gd name="connsiteX141" fmla="*/ 0 w 8405893"/>
                  <a:gd name="connsiteY141" fmla="*/ 817132 h 1283857"/>
                  <a:gd name="connsiteX142" fmla="*/ 4762 w 8405893"/>
                  <a:gd name="connsiteY142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7867730 w 8405893"/>
                  <a:gd name="connsiteY2" fmla="*/ 862012 h 1283857"/>
                  <a:gd name="connsiteX3" fmla="*/ 7703343 w 8405893"/>
                  <a:gd name="connsiteY3" fmla="*/ 807607 h 1283857"/>
                  <a:gd name="connsiteX4" fmla="*/ 7696200 w 8405893"/>
                  <a:gd name="connsiteY4" fmla="*/ 779032 h 1283857"/>
                  <a:gd name="connsiteX5" fmla="*/ 7567613 w 8405893"/>
                  <a:gd name="connsiteY5" fmla="*/ 757601 h 1283857"/>
                  <a:gd name="connsiteX6" fmla="*/ 7384257 w 8405893"/>
                  <a:gd name="connsiteY6" fmla="*/ 836182 h 1283857"/>
                  <a:gd name="connsiteX7" fmla="*/ 7227093 w 8405893"/>
                  <a:gd name="connsiteY7" fmla="*/ 721882 h 1283857"/>
                  <a:gd name="connsiteX8" fmla="*/ 7150894 w 8405893"/>
                  <a:gd name="connsiteY8" fmla="*/ 729026 h 1283857"/>
                  <a:gd name="connsiteX9" fmla="*/ 7077075 w 8405893"/>
                  <a:gd name="connsiteY9" fmla="*/ 724264 h 1283857"/>
                  <a:gd name="connsiteX10" fmla="*/ 6938963 w 8405893"/>
                  <a:gd name="connsiteY10" fmla="*/ 829039 h 1283857"/>
                  <a:gd name="connsiteX11" fmla="*/ 6831806 w 8405893"/>
                  <a:gd name="connsiteY11" fmla="*/ 936195 h 1283857"/>
                  <a:gd name="connsiteX12" fmla="*/ 6788944 w 8405893"/>
                  <a:gd name="connsiteY12" fmla="*/ 1005251 h 1283857"/>
                  <a:gd name="connsiteX13" fmla="*/ 6796088 w 8405893"/>
                  <a:gd name="connsiteY13" fmla="*/ 1040970 h 1283857"/>
                  <a:gd name="connsiteX14" fmla="*/ 6734175 w 8405893"/>
                  <a:gd name="connsiteY14" fmla="*/ 1052876 h 1283857"/>
                  <a:gd name="connsiteX15" fmla="*/ 6753225 w 8405893"/>
                  <a:gd name="connsiteY15" fmla="*/ 1052876 h 1283857"/>
                  <a:gd name="connsiteX16" fmla="*/ 6719888 w 8405893"/>
                  <a:gd name="connsiteY16" fmla="*/ 1083832 h 1283857"/>
                  <a:gd name="connsiteX17" fmla="*/ 6619875 w 8405893"/>
                  <a:gd name="connsiteY17" fmla="*/ 1083833 h 1283857"/>
                  <a:gd name="connsiteX18" fmla="*/ 6524625 w 8405893"/>
                  <a:gd name="connsiteY18" fmla="*/ 1138601 h 1283857"/>
                  <a:gd name="connsiteX19" fmla="*/ 6443663 w 8405893"/>
                  <a:gd name="connsiteY19" fmla="*/ 1148126 h 1283857"/>
                  <a:gd name="connsiteX20" fmla="*/ 6403181 w 8405893"/>
                  <a:gd name="connsiteY20" fmla="*/ 1181464 h 1283857"/>
                  <a:gd name="connsiteX21" fmla="*/ 6353175 w 8405893"/>
                  <a:gd name="connsiteY21" fmla="*/ 1186226 h 1283857"/>
                  <a:gd name="connsiteX22" fmla="*/ 6231732 w 8405893"/>
                  <a:gd name="connsiteY22" fmla="*/ 1279095 h 1283857"/>
                  <a:gd name="connsiteX23" fmla="*/ 6172200 w 8405893"/>
                  <a:gd name="connsiteY23" fmla="*/ 1283857 h 1283857"/>
                  <a:gd name="connsiteX24" fmla="*/ 6119813 w 8405893"/>
                  <a:gd name="connsiteY24" fmla="*/ 1248139 h 1283857"/>
                  <a:gd name="connsiteX25" fmla="*/ 6093619 w 8405893"/>
                  <a:gd name="connsiteY25" fmla="*/ 1283857 h 1283857"/>
                  <a:gd name="connsiteX26" fmla="*/ 5895975 w 8405893"/>
                  <a:gd name="connsiteY26" fmla="*/ 1276714 h 1283857"/>
                  <a:gd name="connsiteX27" fmla="*/ 5834063 w 8405893"/>
                  <a:gd name="connsiteY27" fmla="*/ 1231470 h 1283857"/>
                  <a:gd name="connsiteX28" fmla="*/ 5636419 w 8405893"/>
                  <a:gd name="connsiteY28" fmla="*/ 1248139 h 1283857"/>
                  <a:gd name="connsiteX29" fmla="*/ 5548313 w 8405893"/>
                  <a:gd name="connsiteY29" fmla="*/ 1164794 h 1283857"/>
                  <a:gd name="connsiteX30" fmla="*/ 5472113 w 8405893"/>
                  <a:gd name="connsiteY30" fmla="*/ 1119551 h 1283857"/>
                  <a:gd name="connsiteX31" fmla="*/ 5474493 w 8405893"/>
                  <a:gd name="connsiteY31" fmla="*/ 1062401 h 1283857"/>
                  <a:gd name="connsiteX32" fmla="*/ 5455444 w 8405893"/>
                  <a:gd name="connsiteY32" fmla="*/ 1019538 h 1283857"/>
                  <a:gd name="connsiteX33" fmla="*/ 5360194 w 8405893"/>
                  <a:gd name="connsiteY33" fmla="*/ 1021920 h 1283857"/>
                  <a:gd name="connsiteX34" fmla="*/ 5264944 w 8405893"/>
                  <a:gd name="connsiteY34" fmla="*/ 1000489 h 1283857"/>
                  <a:gd name="connsiteX35" fmla="*/ 5195887 w 8405893"/>
                  <a:gd name="connsiteY35" fmla="*/ 933813 h 1283857"/>
                  <a:gd name="connsiteX36" fmla="*/ 5160169 w 8405893"/>
                  <a:gd name="connsiteY36" fmla="*/ 890951 h 1283857"/>
                  <a:gd name="connsiteX37" fmla="*/ 5079206 w 8405893"/>
                  <a:gd name="connsiteY37" fmla="*/ 867138 h 1283857"/>
                  <a:gd name="connsiteX38" fmla="*/ 5005388 w 8405893"/>
                  <a:gd name="connsiteY38" fmla="*/ 879044 h 1283857"/>
                  <a:gd name="connsiteX39" fmla="*/ 4948237 w 8405893"/>
                  <a:gd name="connsiteY39" fmla="*/ 826657 h 1283857"/>
                  <a:gd name="connsiteX40" fmla="*/ 4852988 w 8405893"/>
                  <a:gd name="connsiteY40" fmla="*/ 838564 h 1283857"/>
                  <a:gd name="connsiteX41" fmla="*/ 4800600 w 8405893"/>
                  <a:gd name="connsiteY41" fmla="*/ 812370 h 1283857"/>
                  <a:gd name="connsiteX42" fmla="*/ 4719638 w 8405893"/>
                  <a:gd name="connsiteY42" fmla="*/ 855232 h 1283857"/>
                  <a:gd name="connsiteX43" fmla="*/ 4581525 w 8405893"/>
                  <a:gd name="connsiteY43" fmla="*/ 879045 h 1283857"/>
                  <a:gd name="connsiteX44" fmla="*/ 4452938 w 8405893"/>
                  <a:gd name="connsiteY44" fmla="*/ 971914 h 1283857"/>
                  <a:gd name="connsiteX45" fmla="*/ 4405312 w 8405893"/>
                  <a:gd name="connsiteY45" fmla="*/ 933814 h 1283857"/>
                  <a:gd name="connsiteX46" fmla="*/ 4383881 w 8405893"/>
                  <a:gd name="connsiteY46" fmla="*/ 964769 h 1283857"/>
                  <a:gd name="connsiteX47" fmla="*/ 4310063 w 8405893"/>
                  <a:gd name="connsiteY47" fmla="*/ 914764 h 1283857"/>
                  <a:gd name="connsiteX48" fmla="*/ 4271963 w 8405893"/>
                  <a:gd name="connsiteY48" fmla="*/ 921907 h 1283857"/>
                  <a:gd name="connsiteX49" fmla="*/ 4250531 w 8405893"/>
                  <a:gd name="connsiteY49" fmla="*/ 883807 h 1283857"/>
                  <a:gd name="connsiteX50" fmla="*/ 4191000 w 8405893"/>
                  <a:gd name="connsiteY50" fmla="*/ 888570 h 1283857"/>
                  <a:gd name="connsiteX51" fmla="*/ 4145756 w 8405893"/>
                  <a:gd name="connsiteY51" fmla="*/ 859995 h 1283857"/>
                  <a:gd name="connsiteX52" fmla="*/ 4107656 w 8405893"/>
                  <a:gd name="connsiteY52" fmla="*/ 857614 h 1283857"/>
                  <a:gd name="connsiteX53" fmla="*/ 4088606 w 8405893"/>
                  <a:gd name="connsiteY53" fmla="*/ 809988 h 1283857"/>
                  <a:gd name="connsiteX54" fmla="*/ 4074319 w 8405893"/>
                  <a:gd name="connsiteY54" fmla="*/ 779032 h 1283857"/>
                  <a:gd name="connsiteX55" fmla="*/ 4029075 w 8405893"/>
                  <a:gd name="connsiteY55" fmla="*/ 788557 h 1283857"/>
                  <a:gd name="connsiteX56" fmla="*/ 4010025 w 8405893"/>
                  <a:gd name="connsiteY56" fmla="*/ 752839 h 1283857"/>
                  <a:gd name="connsiteX57" fmla="*/ 4031457 w 8405893"/>
                  <a:gd name="connsiteY57" fmla="*/ 698070 h 1283857"/>
                  <a:gd name="connsiteX58" fmla="*/ 4000500 w 8405893"/>
                  <a:gd name="connsiteY58" fmla="*/ 671876 h 1283857"/>
                  <a:gd name="connsiteX59" fmla="*/ 4017169 w 8405893"/>
                  <a:gd name="connsiteY59" fmla="*/ 629014 h 1283857"/>
                  <a:gd name="connsiteX60" fmla="*/ 3990975 w 8405893"/>
                  <a:gd name="connsiteY60" fmla="*/ 586151 h 1283857"/>
                  <a:gd name="connsiteX61" fmla="*/ 3986213 w 8405893"/>
                  <a:gd name="connsiteY61" fmla="*/ 524239 h 1283857"/>
                  <a:gd name="connsiteX62" fmla="*/ 4010025 w 8405893"/>
                  <a:gd name="connsiteY62" fmla="*/ 459944 h 1283857"/>
                  <a:gd name="connsiteX63" fmla="*/ 3971925 w 8405893"/>
                  <a:gd name="connsiteY63" fmla="*/ 462326 h 1283857"/>
                  <a:gd name="connsiteX64" fmla="*/ 3852863 w 8405893"/>
                  <a:gd name="connsiteY64" fmla="*/ 405176 h 1283857"/>
                  <a:gd name="connsiteX65" fmla="*/ 3814762 w 8405893"/>
                  <a:gd name="connsiteY65" fmla="*/ 409938 h 1283857"/>
                  <a:gd name="connsiteX66" fmla="*/ 3609975 w 8405893"/>
                  <a:gd name="connsiteY66" fmla="*/ 300401 h 1283857"/>
                  <a:gd name="connsiteX67" fmla="*/ 3505200 w 8405893"/>
                  <a:gd name="connsiteY67" fmla="*/ 269445 h 1283857"/>
                  <a:gd name="connsiteX68" fmla="*/ 3440906 w 8405893"/>
                  <a:gd name="connsiteY68" fmla="*/ 278969 h 1283857"/>
                  <a:gd name="connsiteX69" fmla="*/ 3409950 w 8405893"/>
                  <a:gd name="connsiteY69" fmla="*/ 214676 h 1283857"/>
                  <a:gd name="connsiteX70" fmla="*/ 3352800 w 8405893"/>
                  <a:gd name="connsiteY70" fmla="*/ 214676 h 1283857"/>
                  <a:gd name="connsiteX71" fmla="*/ 3214687 w 8405893"/>
                  <a:gd name="connsiteY71" fmla="*/ 109901 h 1283857"/>
                  <a:gd name="connsiteX72" fmla="*/ 3181350 w 8405893"/>
                  <a:gd name="connsiteY72" fmla="*/ 169433 h 1283857"/>
                  <a:gd name="connsiteX73" fmla="*/ 3126581 w 8405893"/>
                  <a:gd name="connsiteY73" fmla="*/ 238489 h 1283857"/>
                  <a:gd name="connsiteX74" fmla="*/ 3083719 w 8405893"/>
                  <a:gd name="connsiteY74" fmla="*/ 255157 h 1283857"/>
                  <a:gd name="connsiteX75" fmla="*/ 3052763 w 8405893"/>
                  <a:gd name="connsiteY75" fmla="*/ 248014 h 1283857"/>
                  <a:gd name="connsiteX76" fmla="*/ 3028950 w 8405893"/>
                  <a:gd name="connsiteY76" fmla="*/ 276589 h 1283857"/>
                  <a:gd name="connsiteX77" fmla="*/ 3002756 w 8405893"/>
                  <a:gd name="connsiteY77" fmla="*/ 355170 h 1283857"/>
                  <a:gd name="connsiteX78" fmla="*/ 2959894 w 8405893"/>
                  <a:gd name="connsiteY78" fmla="*/ 352789 h 1283857"/>
                  <a:gd name="connsiteX79" fmla="*/ 2928937 w 8405893"/>
                  <a:gd name="connsiteY79" fmla="*/ 414701 h 1283857"/>
                  <a:gd name="connsiteX80" fmla="*/ 2924175 w 8405893"/>
                  <a:gd name="connsiteY80" fmla="*/ 478995 h 1283857"/>
                  <a:gd name="connsiteX81" fmla="*/ 2897982 w 8405893"/>
                  <a:gd name="connsiteY81" fmla="*/ 517095 h 1283857"/>
                  <a:gd name="connsiteX82" fmla="*/ 2924175 w 8405893"/>
                  <a:gd name="connsiteY82" fmla="*/ 576626 h 1283857"/>
                  <a:gd name="connsiteX83" fmla="*/ 2926556 w 8405893"/>
                  <a:gd name="connsiteY83" fmla="*/ 645682 h 1283857"/>
                  <a:gd name="connsiteX84" fmla="*/ 2955131 w 8405893"/>
                  <a:gd name="connsiteY84" fmla="*/ 698070 h 1283857"/>
                  <a:gd name="connsiteX85" fmla="*/ 3002757 w 8405893"/>
                  <a:gd name="connsiteY85" fmla="*/ 752839 h 1283857"/>
                  <a:gd name="connsiteX86" fmla="*/ 2952750 w 8405893"/>
                  <a:gd name="connsiteY86" fmla="*/ 890951 h 1283857"/>
                  <a:gd name="connsiteX87" fmla="*/ 2883694 w 8405893"/>
                  <a:gd name="connsiteY87" fmla="*/ 957626 h 1283857"/>
                  <a:gd name="connsiteX88" fmla="*/ 2812256 w 8405893"/>
                  <a:gd name="connsiteY88" fmla="*/ 952864 h 1283857"/>
                  <a:gd name="connsiteX89" fmla="*/ 2774156 w 8405893"/>
                  <a:gd name="connsiteY89" fmla="*/ 1010014 h 1283857"/>
                  <a:gd name="connsiteX90" fmla="*/ 2714625 w 8405893"/>
                  <a:gd name="connsiteY90" fmla="*/ 1024301 h 1283857"/>
                  <a:gd name="connsiteX91" fmla="*/ 2645569 w 8405893"/>
                  <a:gd name="connsiteY91" fmla="*/ 964770 h 1283857"/>
                  <a:gd name="connsiteX92" fmla="*/ 2590800 w 8405893"/>
                  <a:gd name="connsiteY92" fmla="*/ 936195 h 1283857"/>
                  <a:gd name="connsiteX93" fmla="*/ 2547938 w 8405893"/>
                  <a:gd name="connsiteY93" fmla="*/ 950482 h 1283857"/>
                  <a:gd name="connsiteX94" fmla="*/ 2495550 w 8405893"/>
                  <a:gd name="connsiteY94" fmla="*/ 933814 h 1283857"/>
                  <a:gd name="connsiteX95" fmla="*/ 2428875 w 8405893"/>
                  <a:gd name="connsiteY95" fmla="*/ 879045 h 1283857"/>
                  <a:gd name="connsiteX96" fmla="*/ 2383631 w 8405893"/>
                  <a:gd name="connsiteY96" fmla="*/ 890951 h 1283857"/>
                  <a:gd name="connsiteX97" fmla="*/ 2362200 w 8405893"/>
                  <a:gd name="connsiteY97" fmla="*/ 859995 h 1283857"/>
                  <a:gd name="connsiteX98" fmla="*/ 2305050 w 8405893"/>
                  <a:gd name="connsiteY98" fmla="*/ 900476 h 1283857"/>
                  <a:gd name="connsiteX99" fmla="*/ 2188369 w 8405893"/>
                  <a:gd name="connsiteY99" fmla="*/ 879045 h 1283857"/>
                  <a:gd name="connsiteX100" fmla="*/ 2138363 w 8405893"/>
                  <a:gd name="connsiteY100" fmla="*/ 826657 h 1283857"/>
                  <a:gd name="connsiteX101" fmla="*/ 2095500 w 8405893"/>
                  <a:gd name="connsiteY101" fmla="*/ 812370 h 1283857"/>
                  <a:gd name="connsiteX102" fmla="*/ 2052638 w 8405893"/>
                  <a:gd name="connsiteY102" fmla="*/ 838564 h 1283857"/>
                  <a:gd name="connsiteX103" fmla="*/ 2000250 w 8405893"/>
                  <a:gd name="connsiteY103" fmla="*/ 748076 h 1283857"/>
                  <a:gd name="connsiteX104" fmla="*/ 1990725 w 8405893"/>
                  <a:gd name="connsiteY104" fmla="*/ 600438 h 1283857"/>
                  <a:gd name="connsiteX105" fmla="*/ 1938337 w 8405893"/>
                  <a:gd name="connsiteY105" fmla="*/ 593294 h 1283857"/>
                  <a:gd name="connsiteX106" fmla="*/ 1847850 w 8405893"/>
                  <a:gd name="connsiteY106" fmla="*/ 583770 h 1283857"/>
                  <a:gd name="connsiteX107" fmla="*/ 1793081 w 8405893"/>
                  <a:gd name="connsiteY107" fmla="*/ 545670 h 1283857"/>
                  <a:gd name="connsiteX108" fmla="*/ 1724025 w 8405893"/>
                  <a:gd name="connsiteY108" fmla="*/ 555195 h 1283857"/>
                  <a:gd name="connsiteX109" fmla="*/ 1678781 w 8405893"/>
                  <a:gd name="connsiteY109" fmla="*/ 529001 h 1283857"/>
                  <a:gd name="connsiteX110" fmla="*/ 1669257 w 8405893"/>
                  <a:gd name="connsiteY110" fmla="*/ 457564 h 1283857"/>
                  <a:gd name="connsiteX111" fmla="*/ 1645444 w 8405893"/>
                  <a:gd name="connsiteY111" fmla="*/ 443276 h 1283857"/>
                  <a:gd name="connsiteX112" fmla="*/ 1607344 w 8405893"/>
                  <a:gd name="connsiteY112" fmla="*/ 490900 h 1283857"/>
                  <a:gd name="connsiteX113" fmla="*/ 1528762 w 8405893"/>
                  <a:gd name="connsiteY113" fmla="*/ 417082 h 1283857"/>
                  <a:gd name="connsiteX114" fmla="*/ 1488281 w 8405893"/>
                  <a:gd name="connsiteY114" fmla="*/ 457564 h 1283857"/>
                  <a:gd name="connsiteX115" fmla="*/ 1412081 w 8405893"/>
                  <a:gd name="connsiteY115" fmla="*/ 443276 h 1283857"/>
                  <a:gd name="connsiteX116" fmla="*/ 1333500 w 8405893"/>
                  <a:gd name="connsiteY116" fmla="*/ 469470 h 1283857"/>
                  <a:gd name="connsiteX117" fmla="*/ 1273969 w 8405893"/>
                  <a:gd name="connsiteY117" fmla="*/ 517094 h 1283857"/>
                  <a:gd name="connsiteX118" fmla="*/ 1200150 w 8405893"/>
                  <a:gd name="connsiteY118" fmla="*/ 529001 h 1283857"/>
                  <a:gd name="connsiteX119" fmla="*/ 1164431 w 8405893"/>
                  <a:gd name="connsiteY119" fmla="*/ 521857 h 1283857"/>
                  <a:gd name="connsiteX120" fmla="*/ 1085851 w 8405893"/>
                  <a:gd name="connsiteY120" fmla="*/ 552814 h 1283857"/>
                  <a:gd name="connsiteX121" fmla="*/ 1064419 w 8405893"/>
                  <a:gd name="connsiteY121" fmla="*/ 581389 h 1283857"/>
                  <a:gd name="connsiteX122" fmla="*/ 997744 w 8405893"/>
                  <a:gd name="connsiteY122" fmla="*/ 571864 h 1283857"/>
                  <a:gd name="connsiteX123" fmla="*/ 928688 w 8405893"/>
                  <a:gd name="connsiteY123" fmla="*/ 595676 h 1283857"/>
                  <a:gd name="connsiteX124" fmla="*/ 873919 w 8405893"/>
                  <a:gd name="connsiteY124" fmla="*/ 633776 h 1283857"/>
                  <a:gd name="connsiteX125" fmla="*/ 778669 w 8405893"/>
                  <a:gd name="connsiteY125" fmla="*/ 648063 h 1283857"/>
                  <a:gd name="connsiteX126" fmla="*/ 764381 w 8405893"/>
                  <a:gd name="connsiteY126" fmla="*/ 669495 h 1283857"/>
                  <a:gd name="connsiteX127" fmla="*/ 776287 w 8405893"/>
                  <a:gd name="connsiteY127" fmla="*/ 714739 h 1283857"/>
                  <a:gd name="connsiteX128" fmla="*/ 676276 w 8405893"/>
                  <a:gd name="connsiteY128" fmla="*/ 767126 h 1283857"/>
                  <a:gd name="connsiteX129" fmla="*/ 638175 w 8405893"/>
                  <a:gd name="connsiteY129" fmla="*/ 738550 h 1283857"/>
                  <a:gd name="connsiteX130" fmla="*/ 607219 w 8405893"/>
                  <a:gd name="connsiteY130" fmla="*/ 795701 h 1283857"/>
                  <a:gd name="connsiteX131" fmla="*/ 550069 w 8405893"/>
                  <a:gd name="connsiteY131" fmla="*/ 757601 h 1283857"/>
                  <a:gd name="connsiteX132" fmla="*/ 514350 w 8405893"/>
                  <a:gd name="connsiteY132" fmla="*/ 786176 h 1283857"/>
                  <a:gd name="connsiteX133" fmla="*/ 478631 w 8405893"/>
                  <a:gd name="connsiteY133" fmla="*/ 750457 h 1283857"/>
                  <a:gd name="connsiteX134" fmla="*/ 426244 w 8405893"/>
                  <a:gd name="connsiteY134" fmla="*/ 762364 h 1283857"/>
                  <a:gd name="connsiteX135" fmla="*/ 381000 w 8405893"/>
                  <a:gd name="connsiteY135" fmla="*/ 733789 h 1283857"/>
                  <a:gd name="connsiteX136" fmla="*/ 357188 w 8405893"/>
                  <a:gd name="connsiteY136" fmla="*/ 752839 h 1283857"/>
                  <a:gd name="connsiteX137" fmla="*/ 333375 w 8405893"/>
                  <a:gd name="connsiteY137" fmla="*/ 812370 h 1283857"/>
                  <a:gd name="connsiteX138" fmla="*/ 261938 w 8405893"/>
                  <a:gd name="connsiteY138" fmla="*/ 850469 h 1283857"/>
                  <a:gd name="connsiteX139" fmla="*/ 209550 w 8405893"/>
                  <a:gd name="connsiteY139" fmla="*/ 821895 h 1283857"/>
                  <a:gd name="connsiteX140" fmla="*/ 119063 w 8405893"/>
                  <a:gd name="connsiteY140" fmla="*/ 831420 h 1283857"/>
                  <a:gd name="connsiteX141" fmla="*/ 71437 w 8405893"/>
                  <a:gd name="connsiteY141" fmla="*/ 798083 h 1283857"/>
                  <a:gd name="connsiteX142" fmla="*/ 0 w 8405893"/>
                  <a:gd name="connsiteY142" fmla="*/ 817132 h 1283857"/>
                  <a:gd name="connsiteX143" fmla="*/ 4762 w 8405893"/>
                  <a:gd name="connsiteY143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7929643 w 8405893"/>
                  <a:gd name="connsiteY2" fmla="*/ 838200 h 1283857"/>
                  <a:gd name="connsiteX3" fmla="*/ 7867730 w 8405893"/>
                  <a:gd name="connsiteY3" fmla="*/ 862012 h 1283857"/>
                  <a:gd name="connsiteX4" fmla="*/ 7703343 w 8405893"/>
                  <a:gd name="connsiteY4" fmla="*/ 807607 h 1283857"/>
                  <a:gd name="connsiteX5" fmla="*/ 7696200 w 8405893"/>
                  <a:gd name="connsiteY5" fmla="*/ 779032 h 1283857"/>
                  <a:gd name="connsiteX6" fmla="*/ 7567613 w 8405893"/>
                  <a:gd name="connsiteY6" fmla="*/ 757601 h 1283857"/>
                  <a:gd name="connsiteX7" fmla="*/ 7384257 w 8405893"/>
                  <a:gd name="connsiteY7" fmla="*/ 836182 h 1283857"/>
                  <a:gd name="connsiteX8" fmla="*/ 7227093 w 8405893"/>
                  <a:gd name="connsiteY8" fmla="*/ 721882 h 1283857"/>
                  <a:gd name="connsiteX9" fmla="*/ 7150894 w 8405893"/>
                  <a:gd name="connsiteY9" fmla="*/ 729026 h 1283857"/>
                  <a:gd name="connsiteX10" fmla="*/ 7077075 w 8405893"/>
                  <a:gd name="connsiteY10" fmla="*/ 724264 h 1283857"/>
                  <a:gd name="connsiteX11" fmla="*/ 6938963 w 8405893"/>
                  <a:gd name="connsiteY11" fmla="*/ 829039 h 1283857"/>
                  <a:gd name="connsiteX12" fmla="*/ 6831806 w 8405893"/>
                  <a:gd name="connsiteY12" fmla="*/ 936195 h 1283857"/>
                  <a:gd name="connsiteX13" fmla="*/ 6788944 w 8405893"/>
                  <a:gd name="connsiteY13" fmla="*/ 1005251 h 1283857"/>
                  <a:gd name="connsiteX14" fmla="*/ 6796088 w 8405893"/>
                  <a:gd name="connsiteY14" fmla="*/ 1040970 h 1283857"/>
                  <a:gd name="connsiteX15" fmla="*/ 6734175 w 8405893"/>
                  <a:gd name="connsiteY15" fmla="*/ 1052876 h 1283857"/>
                  <a:gd name="connsiteX16" fmla="*/ 6753225 w 8405893"/>
                  <a:gd name="connsiteY16" fmla="*/ 1052876 h 1283857"/>
                  <a:gd name="connsiteX17" fmla="*/ 6719888 w 8405893"/>
                  <a:gd name="connsiteY17" fmla="*/ 1083832 h 1283857"/>
                  <a:gd name="connsiteX18" fmla="*/ 6619875 w 8405893"/>
                  <a:gd name="connsiteY18" fmla="*/ 1083833 h 1283857"/>
                  <a:gd name="connsiteX19" fmla="*/ 6524625 w 8405893"/>
                  <a:gd name="connsiteY19" fmla="*/ 1138601 h 1283857"/>
                  <a:gd name="connsiteX20" fmla="*/ 6443663 w 8405893"/>
                  <a:gd name="connsiteY20" fmla="*/ 1148126 h 1283857"/>
                  <a:gd name="connsiteX21" fmla="*/ 6403181 w 8405893"/>
                  <a:gd name="connsiteY21" fmla="*/ 1181464 h 1283857"/>
                  <a:gd name="connsiteX22" fmla="*/ 6353175 w 8405893"/>
                  <a:gd name="connsiteY22" fmla="*/ 1186226 h 1283857"/>
                  <a:gd name="connsiteX23" fmla="*/ 6231732 w 8405893"/>
                  <a:gd name="connsiteY23" fmla="*/ 1279095 h 1283857"/>
                  <a:gd name="connsiteX24" fmla="*/ 6172200 w 8405893"/>
                  <a:gd name="connsiteY24" fmla="*/ 1283857 h 1283857"/>
                  <a:gd name="connsiteX25" fmla="*/ 6119813 w 8405893"/>
                  <a:gd name="connsiteY25" fmla="*/ 1248139 h 1283857"/>
                  <a:gd name="connsiteX26" fmla="*/ 6093619 w 8405893"/>
                  <a:gd name="connsiteY26" fmla="*/ 1283857 h 1283857"/>
                  <a:gd name="connsiteX27" fmla="*/ 5895975 w 8405893"/>
                  <a:gd name="connsiteY27" fmla="*/ 1276714 h 1283857"/>
                  <a:gd name="connsiteX28" fmla="*/ 5834063 w 8405893"/>
                  <a:gd name="connsiteY28" fmla="*/ 1231470 h 1283857"/>
                  <a:gd name="connsiteX29" fmla="*/ 5636419 w 8405893"/>
                  <a:gd name="connsiteY29" fmla="*/ 1248139 h 1283857"/>
                  <a:gd name="connsiteX30" fmla="*/ 5548313 w 8405893"/>
                  <a:gd name="connsiteY30" fmla="*/ 1164794 h 1283857"/>
                  <a:gd name="connsiteX31" fmla="*/ 5472113 w 8405893"/>
                  <a:gd name="connsiteY31" fmla="*/ 1119551 h 1283857"/>
                  <a:gd name="connsiteX32" fmla="*/ 5474493 w 8405893"/>
                  <a:gd name="connsiteY32" fmla="*/ 1062401 h 1283857"/>
                  <a:gd name="connsiteX33" fmla="*/ 5455444 w 8405893"/>
                  <a:gd name="connsiteY33" fmla="*/ 1019538 h 1283857"/>
                  <a:gd name="connsiteX34" fmla="*/ 5360194 w 8405893"/>
                  <a:gd name="connsiteY34" fmla="*/ 1021920 h 1283857"/>
                  <a:gd name="connsiteX35" fmla="*/ 5264944 w 8405893"/>
                  <a:gd name="connsiteY35" fmla="*/ 1000489 h 1283857"/>
                  <a:gd name="connsiteX36" fmla="*/ 5195887 w 8405893"/>
                  <a:gd name="connsiteY36" fmla="*/ 933813 h 1283857"/>
                  <a:gd name="connsiteX37" fmla="*/ 5160169 w 8405893"/>
                  <a:gd name="connsiteY37" fmla="*/ 890951 h 1283857"/>
                  <a:gd name="connsiteX38" fmla="*/ 5079206 w 8405893"/>
                  <a:gd name="connsiteY38" fmla="*/ 867138 h 1283857"/>
                  <a:gd name="connsiteX39" fmla="*/ 5005388 w 8405893"/>
                  <a:gd name="connsiteY39" fmla="*/ 879044 h 1283857"/>
                  <a:gd name="connsiteX40" fmla="*/ 4948237 w 8405893"/>
                  <a:gd name="connsiteY40" fmla="*/ 826657 h 1283857"/>
                  <a:gd name="connsiteX41" fmla="*/ 4852988 w 8405893"/>
                  <a:gd name="connsiteY41" fmla="*/ 838564 h 1283857"/>
                  <a:gd name="connsiteX42" fmla="*/ 4800600 w 8405893"/>
                  <a:gd name="connsiteY42" fmla="*/ 812370 h 1283857"/>
                  <a:gd name="connsiteX43" fmla="*/ 4719638 w 8405893"/>
                  <a:gd name="connsiteY43" fmla="*/ 855232 h 1283857"/>
                  <a:gd name="connsiteX44" fmla="*/ 4581525 w 8405893"/>
                  <a:gd name="connsiteY44" fmla="*/ 879045 h 1283857"/>
                  <a:gd name="connsiteX45" fmla="*/ 4452938 w 8405893"/>
                  <a:gd name="connsiteY45" fmla="*/ 971914 h 1283857"/>
                  <a:gd name="connsiteX46" fmla="*/ 4405312 w 8405893"/>
                  <a:gd name="connsiteY46" fmla="*/ 933814 h 1283857"/>
                  <a:gd name="connsiteX47" fmla="*/ 4383881 w 8405893"/>
                  <a:gd name="connsiteY47" fmla="*/ 964769 h 1283857"/>
                  <a:gd name="connsiteX48" fmla="*/ 4310063 w 8405893"/>
                  <a:gd name="connsiteY48" fmla="*/ 914764 h 1283857"/>
                  <a:gd name="connsiteX49" fmla="*/ 4271963 w 8405893"/>
                  <a:gd name="connsiteY49" fmla="*/ 921907 h 1283857"/>
                  <a:gd name="connsiteX50" fmla="*/ 4250531 w 8405893"/>
                  <a:gd name="connsiteY50" fmla="*/ 883807 h 1283857"/>
                  <a:gd name="connsiteX51" fmla="*/ 4191000 w 8405893"/>
                  <a:gd name="connsiteY51" fmla="*/ 888570 h 1283857"/>
                  <a:gd name="connsiteX52" fmla="*/ 4145756 w 8405893"/>
                  <a:gd name="connsiteY52" fmla="*/ 859995 h 1283857"/>
                  <a:gd name="connsiteX53" fmla="*/ 4107656 w 8405893"/>
                  <a:gd name="connsiteY53" fmla="*/ 857614 h 1283857"/>
                  <a:gd name="connsiteX54" fmla="*/ 4088606 w 8405893"/>
                  <a:gd name="connsiteY54" fmla="*/ 809988 h 1283857"/>
                  <a:gd name="connsiteX55" fmla="*/ 4074319 w 8405893"/>
                  <a:gd name="connsiteY55" fmla="*/ 779032 h 1283857"/>
                  <a:gd name="connsiteX56" fmla="*/ 4029075 w 8405893"/>
                  <a:gd name="connsiteY56" fmla="*/ 788557 h 1283857"/>
                  <a:gd name="connsiteX57" fmla="*/ 4010025 w 8405893"/>
                  <a:gd name="connsiteY57" fmla="*/ 752839 h 1283857"/>
                  <a:gd name="connsiteX58" fmla="*/ 4031457 w 8405893"/>
                  <a:gd name="connsiteY58" fmla="*/ 698070 h 1283857"/>
                  <a:gd name="connsiteX59" fmla="*/ 4000500 w 8405893"/>
                  <a:gd name="connsiteY59" fmla="*/ 671876 h 1283857"/>
                  <a:gd name="connsiteX60" fmla="*/ 4017169 w 8405893"/>
                  <a:gd name="connsiteY60" fmla="*/ 629014 h 1283857"/>
                  <a:gd name="connsiteX61" fmla="*/ 3990975 w 8405893"/>
                  <a:gd name="connsiteY61" fmla="*/ 586151 h 1283857"/>
                  <a:gd name="connsiteX62" fmla="*/ 3986213 w 8405893"/>
                  <a:gd name="connsiteY62" fmla="*/ 524239 h 1283857"/>
                  <a:gd name="connsiteX63" fmla="*/ 4010025 w 8405893"/>
                  <a:gd name="connsiteY63" fmla="*/ 459944 h 1283857"/>
                  <a:gd name="connsiteX64" fmla="*/ 3971925 w 8405893"/>
                  <a:gd name="connsiteY64" fmla="*/ 462326 h 1283857"/>
                  <a:gd name="connsiteX65" fmla="*/ 3852863 w 8405893"/>
                  <a:gd name="connsiteY65" fmla="*/ 405176 h 1283857"/>
                  <a:gd name="connsiteX66" fmla="*/ 3814762 w 8405893"/>
                  <a:gd name="connsiteY66" fmla="*/ 409938 h 1283857"/>
                  <a:gd name="connsiteX67" fmla="*/ 3609975 w 8405893"/>
                  <a:gd name="connsiteY67" fmla="*/ 300401 h 1283857"/>
                  <a:gd name="connsiteX68" fmla="*/ 3505200 w 8405893"/>
                  <a:gd name="connsiteY68" fmla="*/ 269445 h 1283857"/>
                  <a:gd name="connsiteX69" fmla="*/ 3440906 w 8405893"/>
                  <a:gd name="connsiteY69" fmla="*/ 278969 h 1283857"/>
                  <a:gd name="connsiteX70" fmla="*/ 3409950 w 8405893"/>
                  <a:gd name="connsiteY70" fmla="*/ 214676 h 1283857"/>
                  <a:gd name="connsiteX71" fmla="*/ 3352800 w 8405893"/>
                  <a:gd name="connsiteY71" fmla="*/ 214676 h 1283857"/>
                  <a:gd name="connsiteX72" fmla="*/ 3214687 w 8405893"/>
                  <a:gd name="connsiteY72" fmla="*/ 109901 h 1283857"/>
                  <a:gd name="connsiteX73" fmla="*/ 3181350 w 8405893"/>
                  <a:gd name="connsiteY73" fmla="*/ 169433 h 1283857"/>
                  <a:gd name="connsiteX74" fmla="*/ 3126581 w 8405893"/>
                  <a:gd name="connsiteY74" fmla="*/ 238489 h 1283857"/>
                  <a:gd name="connsiteX75" fmla="*/ 3083719 w 8405893"/>
                  <a:gd name="connsiteY75" fmla="*/ 255157 h 1283857"/>
                  <a:gd name="connsiteX76" fmla="*/ 3052763 w 8405893"/>
                  <a:gd name="connsiteY76" fmla="*/ 248014 h 1283857"/>
                  <a:gd name="connsiteX77" fmla="*/ 3028950 w 8405893"/>
                  <a:gd name="connsiteY77" fmla="*/ 276589 h 1283857"/>
                  <a:gd name="connsiteX78" fmla="*/ 3002756 w 8405893"/>
                  <a:gd name="connsiteY78" fmla="*/ 355170 h 1283857"/>
                  <a:gd name="connsiteX79" fmla="*/ 2959894 w 8405893"/>
                  <a:gd name="connsiteY79" fmla="*/ 352789 h 1283857"/>
                  <a:gd name="connsiteX80" fmla="*/ 2928937 w 8405893"/>
                  <a:gd name="connsiteY80" fmla="*/ 414701 h 1283857"/>
                  <a:gd name="connsiteX81" fmla="*/ 2924175 w 8405893"/>
                  <a:gd name="connsiteY81" fmla="*/ 478995 h 1283857"/>
                  <a:gd name="connsiteX82" fmla="*/ 2897982 w 8405893"/>
                  <a:gd name="connsiteY82" fmla="*/ 517095 h 1283857"/>
                  <a:gd name="connsiteX83" fmla="*/ 2924175 w 8405893"/>
                  <a:gd name="connsiteY83" fmla="*/ 576626 h 1283857"/>
                  <a:gd name="connsiteX84" fmla="*/ 2926556 w 8405893"/>
                  <a:gd name="connsiteY84" fmla="*/ 645682 h 1283857"/>
                  <a:gd name="connsiteX85" fmla="*/ 2955131 w 8405893"/>
                  <a:gd name="connsiteY85" fmla="*/ 698070 h 1283857"/>
                  <a:gd name="connsiteX86" fmla="*/ 3002757 w 8405893"/>
                  <a:gd name="connsiteY86" fmla="*/ 752839 h 1283857"/>
                  <a:gd name="connsiteX87" fmla="*/ 2952750 w 8405893"/>
                  <a:gd name="connsiteY87" fmla="*/ 890951 h 1283857"/>
                  <a:gd name="connsiteX88" fmla="*/ 2883694 w 8405893"/>
                  <a:gd name="connsiteY88" fmla="*/ 957626 h 1283857"/>
                  <a:gd name="connsiteX89" fmla="*/ 2812256 w 8405893"/>
                  <a:gd name="connsiteY89" fmla="*/ 952864 h 1283857"/>
                  <a:gd name="connsiteX90" fmla="*/ 2774156 w 8405893"/>
                  <a:gd name="connsiteY90" fmla="*/ 1010014 h 1283857"/>
                  <a:gd name="connsiteX91" fmla="*/ 2714625 w 8405893"/>
                  <a:gd name="connsiteY91" fmla="*/ 1024301 h 1283857"/>
                  <a:gd name="connsiteX92" fmla="*/ 2645569 w 8405893"/>
                  <a:gd name="connsiteY92" fmla="*/ 964770 h 1283857"/>
                  <a:gd name="connsiteX93" fmla="*/ 2590800 w 8405893"/>
                  <a:gd name="connsiteY93" fmla="*/ 936195 h 1283857"/>
                  <a:gd name="connsiteX94" fmla="*/ 2547938 w 8405893"/>
                  <a:gd name="connsiteY94" fmla="*/ 950482 h 1283857"/>
                  <a:gd name="connsiteX95" fmla="*/ 2495550 w 8405893"/>
                  <a:gd name="connsiteY95" fmla="*/ 933814 h 1283857"/>
                  <a:gd name="connsiteX96" fmla="*/ 2428875 w 8405893"/>
                  <a:gd name="connsiteY96" fmla="*/ 879045 h 1283857"/>
                  <a:gd name="connsiteX97" fmla="*/ 2383631 w 8405893"/>
                  <a:gd name="connsiteY97" fmla="*/ 890951 h 1283857"/>
                  <a:gd name="connsiteX98" fmla="*/ 2362200 w 8405893"/>
                  <a:gd name="connsiteY98" fmla="*/ 859995 h 1283857"/>
                  <a:gd name="connsiteX99" fmla="*/ 2305050 w 8405893"/>
                  <a:gd name="connsiteY99" fmla="*/ 900476 h 1283857"/>
                  <a:gd name="connsiteX100" fmla="*/ 2188369 w 8405893"/>
                  <a:gd name="connsiteY100" fmla="*/ 879045 h 1283857"/>
                  <a:gd name="connsiteX101" fmla="*/ 2138363 w 8405893"/>
                  <a:gd name="connsiteY101" fmla="*/ 826657 h 1283857"/>
                  <a:gd name="connsiteX102" fmla="*/ 2095500 w 8405893"/>
                  <a:gd name="connsiteY102" fmla="*/ 812370 h 1283857"/>
                  <a:gd name="connsiteX103" fmla="*/ 2052638 w 8405893"/>
                  <a:gd name="connsiteY103" fmla="*/ 838564 h 1283857"/>
                  <a:gd name="connsiteX104" fmla="*/ 2000250 w 8405893"/>
                  <a:gd name="connsiteY104" fmla="*/ 748076 h 1283857"/>
                  <a:gd name="connsiteX105" fmla="*/ 1990725 w 8405893"/>
                  <a:gd name="connsiteY105" fmla="*/ 600438 h 1283857"/>
                  <a:gd name="connsiteX106" fmla="*/ 1938337 w 8405893"/>
                  <a:gd name="connsiteY106" fmla="*/ 593294 h 1283857"/>
                  <a:gd name="connsiteX107" fmla="*/ 1847850 w 8405893"/>
                  <a:gd name="connsiteY107" fmla="*/ 583770 h 1283857"/>
                  <a:gd name="connsiteX108" fmla="*/ 1793081 w 8405893"/>
                  <a:gd name="connsiteY108" fmla="*/ 545670 h 1283857"/>
                  <a:gd name="connsiteX109" fmla="*/ 1724025 w 8405893"/>
                  <a:gd name="connsiteY109" fmla="*/ 555195 h 1283857"/>
                  <a:gd name="connsiteX110" fmla="*/ 1678781 w 8405893"/>
                  <a:gd name="connsiteY110" fmla="*/ 529001 h 1283857"/>
                  <a:gd name="connsiteX111" fmla="*/ 1669257 w 8405893"/>
                  <a:gd name="connsiteY111" fmla="*/ 457564 h 1283857"/>
                  <a:gd name="connsiteX112" fmla="*/ 1645444 w 8405893"/>
                  <a:gd name="connsiteY112" fmla="*/ 443276 h 1283857"/>
                  <a:gd name="connsiteX113" fmla="*/ 1607344 w 8405893"/>
                  <a:gd name="connsiteY113" fmla="*/ 490900 h 1283857"/>
                  <a:gd name="connsiteX114" fmla="*/ 1528762 w 8405893"/>
                  <a:gd name="connsiteY114" fmla="*/ 417082 h 1283857"/>
                  <a:gd name="connsiteX115" fmla="*/ 1488281 w 8405893"/>
                  <a:gd name="connsiteY115" fmla="*/ 457564 h 1283857"/>
                  <a:gd name="connsiteX116" fmla="*/ 1412081 w 8405893"/>
                  <a:gd name="connsiteY116" fmla="*/ 443276 h 1283857"/>
                  <a:gd name="connsiteX117" fmla="*/ 1333500 w 8405893"/>
                  <a:gd name="connsiteY117" fmla="*/ 469470 h 1283857"/>
                  <a:gd name="connsiteX118" fmla="*/ 1273969 w 8405893"/>
                  <a:gd name="connsiteY118" fmla="*/ 517094 h 1283857"/>
                  <a:gd name="connsiteX119" fmla="*/ 1200150 w 8405893"/>
                  <a:gd name="connsiteY119" fmla="*/ 529001 h 1283857"/>
                  <a:gd name="connsiteX120" fmla="*/ 1164431 w 8405893"/>
                  <a:gd name="connsiteY120" fmla="*/ 521857 h 1283857"/>
                  <a:gd name="connsiteX121" fmla="*/ 1085851 w 8405893"/>
                  <a:gd name="connsiteY121" fmla="*/ 552814 h 1283857"/>
                  <a:gd name="connsiteX122" fmla="*/ 1064419 w 8405893"/>
                  <a:gd name="connsiteY122" fmla="*/ 581389 h 1283857"/>
                  <a:gd name="connsiteX123" fmla="*/ 997744 w 8405893"/>
                  <a:gd name="connsiteY123" fmla="*/ 571864 h 1283857"/>
                  <a:gd name="connsiteX124" fmla="*/ 928688 w 8405893"/>
                  <a:gd name="connsiteY124" fmla="*/ 595676 h 1283857"/>
                  <a:gd name="connsiteX125" fmla="*/ 873919 w 8405893"/>
                  <a:gd name="connsiteY125" fmla="*/ 633776 h 1283857"/>
                  <a:gd name="connsiteX126" fmla="*/ 778669 w 8405893"/>
                  <a:gd name="connsiteY126" fmla="*/ 648063 h 1283857"/>
                  <a:gd name="connsiteX127" fmla="*/ 764381 w 8405893"/>
                  <a:gd name="connsiteY127" fmla="*/ 669495 h 1283857"/>
                  <a:gd name="connsiteX128" fmla="*/ 776287 w 8405893"/>
                  <a:gd name="connsiteY128" fmla="*/ 714739 h 1283857"/>
                  <a:gd name="connsiteX129" fmla="*/ 676276 w 8405893"/>
                  <a:gd name="connsiteY129" fmla="*/ 767126 h 1283857"/>
                  <a:gd name="connsiteX130" fmla="*/ 638175 w 8405893"/>
                  <a:gd name="connsiteY130" fmla="*/ 738550 h 1283857"/>
                  <a:gd name="connsiteX131" fmla="*/ 607219 w 8405893"/>
                  <a:gd name="connsiteY131" fmla="*/ 795701 h 1283857"/>
                  <a:gd name="connsiteX132" fmla="*/ 550069 w 8405893"/>
                  <a:gd name="connsiteY132" fmla="*/ 757601 h 1283857"/>
                  <a:gd name="connsiteX133" fmla="*/ 514350 w 8405893"/>
                  <a:gd name="connsiteY133" fmla="*/ 786176 h 1283857"/>
                  <a:gd name="connsiteX134" fmla="*/ 478631 w 8405893"/>
                  <a:gd name="connsiteY134" fmla="*/ 750457 h 1283857"/>
                  <a:gd name="connsiteX135" fmla="*/ 426244 w 8405893"/>
                  <a:gd name="connsiteY135" fmla="*/ 762364 h 1283857"/>
                  <a:gd name="connsiteX136" fmla="*/ 381000 w 8405893"/>
                  <a:gd name="connsiteY136" fmla="*/ 733789 h 1283857"/>
                  <a:gd name="connsiteX137" fmla="*/ 357188 w 8405893"/>
                  <a:gd name="connsiteY137" fmla="*/ 752839 h 1283857"/>
                  <a:gd name="connsiteX138" fmla="*/ 333375 w 8405893"/>
                  <a:gd name="connsiteY138" fmla="*/ 812370 h 1283857"/>
                  <a:gd name="connsiteX139" fmla="*/ 261938 w 8405893"/>
                  <a:gd name="connsiteY139" fmla="*/ 850469 h 1283857"/>
                  <a:gd name="connsiteX140" fmla="*/ 209550 w 8405893"/>
                  <a:gd name="connsiteY140" fmla="*/ 821895 h 1283857"/>
                  <a:gd name="connsiteX141" fmla="*/ 119063 w 8405893"/>
                  <a:gd name="connsiteY141" fmla="*/ 831420 h 1283857"/>
                  <a:gd name="connsiteX142" fmla="*/ 71437 w 8405893"/>
                  <a:gd name="connsiteY142" fmla="*/ 798083 h 1283857"/>
                  <a:gd name="connsiteX143" fmla="*/ 0 w 8405893"/>
                  <a:gd name="connsiteY143" fmla="*/ 817132 h 1283857"/>
                  <a:gd name="connsiteX144" fmla="*/ 4762 w 8405893"/>
                  <a:gd name="connsiteY144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020130 w 8405893"/>
                  <a:gd name="connsiteY2" fmla="*/ 881062 h 1283857"/>
                  <a:gd name="connsiteX3" fmla="*/ 7929643 w 8405893"/>
                  <a:gd name="connsiteY3" fmla="*/ 838200 h 1283857"/>
                  <a:gd name="connsiteX4" fmla="*/ 7867730 w 8405893"/>
                  <a:gd name="connsiteY4" fmla="*/ 862012 h 1283857"/>
                  <a:gd name="connsiteX5" fmla="*/ 7703343 w 8405893"/>
                  <a:gd name="connsiteY5" fmla="*/ 807607 h 1283857"/>
                  <a:gd name="connsiteX6" fmla="*/ 7696200 w 8405893"/>
                  <a:gd name="connsiteY6" fmla="*/ 779032 h 1283857"/>
                  <a:gd name="connsiteX7" fmla="*/ 7567613 w 8405893"/>
                  <a:gd name="connsiteY7" fmla="*/ 757601 h 1283857"/>
                  <a:gd name="connsiteX8" fmla="*/ 7384257 w 8405893"/>
                  <a:gd name="connsiteY8" fmla="*/ 836182 h 1283857"/>
                  <a:gd name="connsiteX9" fmla="*/ 7227093 w 8405893"/>
                  <a:gd name="connsiteY9" fmla="*/ 721882 h 1283857"/>
                  <a:gd name="connsiteX10" fmla="*/ 7150894 w 8405893"/>
                  <a:gd name="connsiteY10" fmla="*/ 729026 h 1283857"/>
                  <a:gd name="connsiteX11" fmla="*/ 7077075 w 8405893"/>
                  <a:gd name="connsiteY11" fmla="*/ 724264 h 1283857"/>
                  <a:gd name="connsiteX12" fmla="*/ 6938963 w 8405893"/>
                  <a:gd name="connsiteY12" fmla="*/ 829039 h 1283857"/>
                  <a:gd name="connsiteX13" fmla="*/ 6831806 w 8405893"/>
                  <a:gd name="connsiteY13" fmla="*/ 936195 h 1283857"/>
                  <a:gd name="connsiteX14" fmla="*/ 6788944 w 8405893"/>
                  <a:gd name="connsiteY14" fmla="*/ 1005251 h 1283857"/>
                  <a:gd name="connsiteX15" fmla="*/ 6796088 w 8405893"/>
                  <a:gd name="connsiteY15" fmla="*/ 1040970 h 1283857"/>
                  <a:gd name="connsiteX16" fmla="*/ 6734175 w 8405893"/>
                  <a:gd name="connsiteY16" fmla="*/ 1052876 h 1283857"/>
                  <a:gd name="connsiteX17" fmla="*/ 6753225 w 8405893"/>
                  <a:gd name="connsiteY17" fmla="*/ 1052876 h 1283857"/>
                  <a:gd name="connsiteX18" fmla="*/ 6719888 w 8405893"/>
                  <a:gd name="connsiteY18" fmla="*/ 1083832 h 1283857"/>
                  <a:gd name="connsiteX19" fmla="*/ 6619875 w 8405893"/>
                  <a:gd name="connsiteY19" fmla="*/ 1083833 h 1283857"/>
                  <a:gd name="connsiteX20" fmla="*/ 6524625 w 8405893"/>
                  <a:gd name="connsiteY20" fmla="*/ 1138601 h 1283857"/>
                  <a:gd name="connsiteX21" fmla="*/ 6443663 w 8405893"/>
                  <a:gd name="connsiteY21" fmla="*/ 1148126 h 1283857"/>
                  <a:gd name="connsiteX22" fmla="*/ 6403181 w 8405893"/>
                  <a:gd name="connsiteY22" fmla="*/ 1181464 h 1283857"/>
                  <a:gd name="connsiteX23" fmla="*/ 6353175 w 8405893"/>
                  <a:gd name="connsiteY23" fmla="*/ 1186226 h 1283857"/>
                  <a:gd name="connsiteX24" fmla="*/ 6231732 w 8405893"/>
                  <a:gd name="connsiteY24" fmla="*/ 1279095 h 1283857"/>
                  <a:gd name="connsiteX25" fmla="*/ 6172200 w 8405893"/>
                  <a:gd name="connsiteY25" fmla="*/ 1283857 h 1283857"/>
                  <a:gd name="connsiteX26" fmla="*/ 6119813 w 8405893"/>
                  <a:gd name="connsiteY26" fmla="*/ 1248139 h 1283857"/>
                  <a:gd name="connsiteX27" fmla="*/ 6093619 w 8405893"/>
                  <a:gd name="connsiteY27" fmla="*/ 1283857 h 1283857"/>
                  <a:gd name="connsiteX28" fmla="*/ 5895975 w 8405893"/>
                  <a:gd name="connsiteY28" fmla="*/ 1276714 h 1283857"/>
                  <a:gd name="connsiteX29" fmla="*/ 5834063 w 8405893"/>
                  <a:gd name="connsiteY29" fmla="*/ 1231470 h 1283857"/>
                  <a:gd name="connsiteX30" fmla="*/ 5636419 w 8405893"/>
                  <a:gd name="connsiteY30" fmla="*/ 1248139 h 1283857"/>
                  <a:gd name="connsiteX31" fmla="*/ 5548313 w 8405893"/>
                  <a:gd name="connsiteY31" fmla="*/ 1164794 h 1283857"/>
                  <a:gd name="connsiteX32" fmla="*/ 5472113 w 8405893"/>
                  <a:gd name="connsiteY32" fmla="*/ 1119551 h 1283857"/>
                  <a:gd name="connsiteX33" fmla="*/ 5474493 w 8405893"/>
                  <a:gd name="connsiteY33" fmla="*/ 1062401 h 1283857"/>
                  <a:gd name="connsiteX34" fmla="*/ 5455444 w 8405893"/>
                  <a:gd name="connsiteY34" fmla="*/ 1019538 h 1283857"/>
                  <a:gd name="connsiteX35" fmla="*/ 5360194 w 8405893"/>
                  <a:gd name="connsiteY35" fmla="*/ 1021920 h 1283857"/>
                  <a:gd name="connsiteX36" fmla="*/ 5264944 w 8405893"/>
                  <a:gd name="connsiteY36" fmla="*/ 1000489 h 1283857"/>
                  <a:gd name="connsiteX37" fmla="*/ 5195887 w 8405893"/>
                  <a:gd name="connsiteY37" fmla="*/ 933813 h 1283857"/>
                  <a:gd name="connsiteX38" fmla="*/ 5160169 w 8405893"/>
                  <a:gd name="connsiteY38" fmla="*/ 890951 h 1283857"/>
                  <a:gd name="connsiteX39" fmla="*/ 5079206 w 8405893"/>
                  <a:gd name="connsiteY39" fmla="*/ 867138 h 1283857"/>
                  <a:gd name="connsiteX40" fmla="*/ 5005388 w 8405893"/>
                  <a:gd name="connsiteY40" fmla="*/ 879044 h 1283857"/>
                  <a:gd name="connsiteX41" fmla="*/ 4948237 w 8405893"/>
                  <a:gd name="connsiteY41" fmla="*/ 826657 h 1283857"/>
                  <a:gd name="connsiteX42" fmla="*/ 4852988 w 8405893"/>
                  <a:gd name="connsiteY42" fmla="*/ 838564 h 1283857"/>
                  <a:gd name="connsiteX43" fmla="*/ 4800600 w 8405893"/>
                  <a:gd name="connsiteY43" fmla="*/ 812370 h 1283857"/>
                  <a:gd name="connsiteX44" fmla="*/ 4719638 w 8405893"/>
                  <a:gd name="connsiteY44" fmla="*/ 855232 h 1283857"/>
                  <a:gd name="connsiteX45" fmla="*/ 4581525 w 8405893"/>
                  <a:gd name="connsiteY45" fmla="*/ 879045 h 1283857"/>
                  <a:gd name="connsiteX46" fmla="*/ 4452938 w 8405893"/>
                  <a:gd name="connsiteY46" fmla="*/ 971914 h 1283857"/>
                  <a:gd name="connsiteX47" fmla="*/ 4405312 w 8405893"/>
                  <a:gd name="connsiteY47" fmla="*/ 933814 h 1283857"/>
                  <a:gd name="connsiteX48" fmla="*/ 4383881 w 8405893"/>
                  <a:gd name="connsiteY48" fmla="*/ 964769 h 1283857"/>
                  <a:gd name="connsiteX49" fmla="*/ 4310063 w 8405893"/>
                  <a:gd name="connsiteY49" fmla="*/ 914764 h 1283857"/>
                  <a:gd name="connsiteX50" fmla="*/ 4271963 w 8405893"/>
                  <a:gd name="connsiteY50" fmla="*/ 921907 h 1283857"/>
                  <a:gd name="connsiteX51" fmla="*/ 4250531 w 8405893"/>
                  <a:gd name="connsiteY51" fmla="*/ 883807 h 1283857"/>
                  <a:gd name="connsiteX52" fmla="*/ 4191000 w 8405893"/>
                  <a:gd name="connsiteY52" fmla="*/ 888570 h 1283857"/>
                  <a:gd name="connsiteX53" fmla="*/ 4145756 w 8405893"/>
                  <a:gd name="connsiteY53" fmla="*/ 859995 h 1283857"/>
                  <a:gd name="connsiteX54" fmla="*/ 4107656 w 8405893"/>
                  <a:gd name="connsiteY54" fmla="*/ 857614 h 1283857"/>
                  <a:gd name="connsiteX55" fmla="*/ 4088606 w 8405893"/>
                  <a:gd name="connsiteY55" fmla="*/ 809988 h 1283857"/>
                  <a:gd name="connsiteX56" fmla="*/ 4074319 w 8405893"/>
                  <a:gd name="connsiteY56" fmla="*/ 779032 h 1283857"/>
                  <a:gd name="connsiteX57" fmla="*/ 4029075 w 8405893"/>
                  <a:gd name="connsiteY57" fmla="*/ 788557 h 1283857"/>
                  <a:gd name="connsiteX58" fmla="*/ 4010025 w 8405893"/>
                  <a:gd name="connsiteY58" fmla="*/ 752839 h 1283857"/>
                  <a:gd name="connsiteX59" fmla="*/ 4031457 w 8405893"/>
                  <a:gd name="connsiteY59" fmla="*/ 698070 h 1283857"/>
                  <a:gd name="connsiteX60" fmla="*/ 4000500 w 8405893"/>
                  <a:gd name="connsiteY60" fmla="*/ 671876 h 1283857"/>
                  <a:gd name="connsiteX61" fmla="*/ 4017169 w 8405893"/>
                  <a:gd name="connsiteY61" fmla="*/ 629014 h 1283857"/>
                  <a:gd name="connsiteX62" fmla="*/ 3990975 w 8405893"/>
                  <a:gd name="connsiteY62" fmla="*/ 586151 h 1283857"/>
                  <a:gd name="connsiteX63" fmla="*/ 3986213 w 8405893"/>
                  <a:gd name="connsiteY63" fmla="*/ 524239 h 1283857"/>
                  <a:gd name="connsiteX64" fmla="*/ 4010025 w 8405893"/>
                  <a:gd name="connsiteY64" fmla="*/ 459944 h 1283857"/>
                  <a:gd name="connsiteX65" fmla="*/ 3971925 w 8405893"/>
                  <a:gd name="connsiteY65" fmla="*/ 462326 h 1283857"/>
                  <a:gd name="connsiteX66" fmla="*/ 3852863 w 8405893"/>
                  <a:gd name="connsiteY66" fmla="*/ 405176 h 1283857"/>
                  <a:gd name="connsiteX67" fmla="*/ 3814762 w 8405893"/>
                  <a:gd name="connsiteY67" fmla="*/ 409938 h 1283857"/>
                  <a:gd name="connsiteX68" fmla="*/ 3609975 w 8405893"/>
                  <a:gd name="connsiteY68" fmla="*/ 300401 h 1283857"/>
                  <a:gd name="connsiteX69" fmla="*/ 3505200 w 8405893"/>
                  <a:gd name="connsiteY69" fmla="*/ 269445 h 1283857"/>
                  <a:gd name="connsiteX70" fmla="*/ 3440906 w 8405893"/>
                  <a:gd name="connsiteY70" fmla="*/ 278969 h 1283857"/>
                  <a:gd name="connsiteX71" fmla="*/ 3409950 w 8405893"/>
                  <a:gd name="connsiteY71" fmla="*/ 214676 h 1283857"/>
                  <a:gd name="connsiteX72" fmla="*/ 3352800 w 8405893"/>
                  <a:gd name="connsiteY72" fmla="*/ 214676 h 1283857"/>
                  <a:gd name="connsiteX73" fmla="*/ 3214687 w 8405893"/>
                  <a:gd name="connsiteY73" fmla="*/ 109901 h 1283857"/>
                  <a:gd name="connsiteX74" fmla="*/ 3181350 w 8405893"/>
                  <a:gd name="connsiteY74" fmla="*/ 169433 h 1283857"/>
                  <a:gd name="connsiteX75" fmla="*/ 3126581 w 8405893"/>
                  <a:gd name="connsiteY75" fmla="*/ 238489 h 1283857"/>
                  <a:gd name="connsiteX76" fmla="*/ 3083719 w 8405893"/>
                  <a:gd name="connsiteY76" fmla="*/ 255157 h 1283857"/>
                  <a:gd name="connsiteX77" fmla="*/ 3052763 w 8405893"/>
                  <a:gd name="connsiteY77" fmla="*/ 248014 h 1283857"/>
                  <a:gd name="connsiteX78" fmla="*/ 3028950 w 8405893"/>
                  <a:gd name="connsiteY78" fmla="*/ 276589 h 1283857"/>
                  <a:gd name="connsiteX79" fmla="*/ 3002756 w 8405893"/>
                  <a:gd name="connsiteY79" fmla="*/ 355170 h 1283857"/>
                  <a:gd name="connsiteX80" fmla="*/ 2959894 w 8405893"/>
                  <a:gd name="connsiteY80" fmla="*/ 352789 h 1283857"/>
                  <a:gd name="connsiteX81" fmla="*/ 2928937 w 8405893"/>
                  <a:gd name="connsiteY81" fmla="*/ 414701 h 1283857"/>
                  <a:gd name="connsiteX82" fmla="*/ 2924175 w 8405893"/>
                  <a:gd name="connsiteY82" fmla="*/ 478995 h 1283857"/>
                  <a:gd name="connsiteX83" fmla="*/ 2897982 w 8405893"/>
                  <a:gd name="connsiteY83" fmla="*/ 517095 h 1283857"/>
                  <a:gd name="connsiteX84" fmla="*/ 2924175 w 8405893"/>
                  <a:gd name="connsiteY84" fmla="*/ 576626 h 1283857"/>
                  <a:gd name="connsiteX85" fmla="*/ 2926556 w 8405893"/>
                  <a:gd name="connsiteY85" fmla="*/ 645682 h 1283857"/>
                  <a:gd name="connsiteX86" fmla="*/ 2955131 w 8405893"/>
                  <a:gd name="connsiteY86" fmla="*/ 698070 h 1283857"/>
                  <a:gd name="connsiteX87" fmla="*/ 3002757 w 8405893"/>
                  <a:gd name="connsiteY87" fmla="*/ 752839 h 1283857"/>
                  <a:gd name="connsiteX88" fmla="*/ 2952750 w 8405893"/>
                  <a:gd name="connsiteY88" fmla="*/ 890951 h 1283857"/>
                  <a:gd name="connsiteX89" fmla="*/ 2883694 w 8405893"/>
                  <a:gd name="connsiteY89" fmla="*/ 957626 h 1283857"/>
                  <a:gd name="connsiteX90" fmla="*/ 2812256 w 8405893"/>
                  <a:gd name="connsiteY90" fmla="*/ 952864 h 1283857"/>
                  <a:gd name="connsiteX91" fmla="*/ 2774156 w 8405893"/>
                  <a:gd name="connsiteY91" fmla="*/ 1010014 h 1283857"/>
                  <a:gd name="connsiteX92" fmla="*/ 2714625 w 8405893"/>
                  <a:gd name="connsiteY92" fmla="*/ 1024301 h 1283857"/>
                  <a:gd name="connsiteX93" fmla="*/ 2645569 w 8405893"/>
                  <a:gd name="connsiteY93" fmla="*/ 964770 h 1283857"/>
                  <a:gd name="connsiteX94" fmla="*/ 2590800 w 8405893"/>
                  <a:gd name="connsiteY94" fmla="*/ 936195 h 1283857"/>
                  <a:gd name="connsiteX95" fmla="*/ 2547938 w 8405893"/>
                  <a:gd name="connsiteY95" fmla="*/ 950482 h 1283857"/>
                  <a:gd name="connsiteX96" fmla="*/ 2495550 w 8405893"/>
                  <a:gd name="connsiteY96" fmla="*/ 933814 h 1283857"/>
                  <a:gd name="connsiteX97" fmla="*/ 2428875 w 8405893"/>
                  <a:gd name="connsiteY97" fmla="*/ 879045 h 1283857"/>
                  <a:gd name="connsiteX98" fmla="*/ 2383631 w 8405893"/>
                  <a:gd name="connsiteY98" fmla="*/ 890951 h 1283857"/>
                  <a:gd name="connsiteX99" fmla="*/ 2362200 w 8405893"/>
                  <a:gd name="connsiteY99" fmla="*/ 859995 h 1283857"/>
                  <a:gd name="connsiteX100" fmla="*/ 2305050 w 8405893"/>
                  <a:gd name="connsiteY100" fmla="*/ 900476 h 1283857"/>
                  <a:gd name="connsiteX101" fmla="*/ 2188369 w 8405893"/>
                  <a:gd name="connsiteY101" fmla="*/ 879045 h 1283857"/>
                  <a:gd name="connsiteX102" fmla="*/ 2138363 w 8405893"/>
                  <a:gd name="connsiteY102" fmla="*/ 826657 h 1283857"/>
                  <a:gd name="connsiteX103" fmla="*/ 2095500 w 8405893"/>
                  <a:gd name="connsiteY103" fmla="*/ 812370 h 1283857"/>
                  <a:gd name="connsiteX104" fmla="*/ 2052638 w 8405893"/>
                  <a:gd name="connsiteY104" fmla="*/ 838564 h 1283857"/>
                  <a:gd name="connsiteX105" fmla="*/ 2000250 w 8405893"/>
                  <a:gd name="connsiteY105" fmla="*/ 748076 h 1283857"/>
                  <a:gd name="connsiteX106" fmla="*/ 1990725 w 8405893"/>
                  <a:gd name="connsiteY106" fmla="*/ 600438 h 1283857"/>
                  <a:gd name="connsiteX107" fmla="*/ 1938337 w 8405893"/>
                  <a:gd name="connsiteY107" fmla="*/ 593294 h 1283857"/>
                  <a:gd name="connsiteX108" fmla="*/ 1847850 w 8405893"/>
                  <a:gd name="connsiteY108" fmla="*/ 583770 h 1283857"/>
                  <a:gd name="connsiteX109" fmla="*/ 1793081 w 8405893"/>
                  <a:gd name="connsiteY109" fmla="*/ 545670 h 1283857"/>
                  <a:gd name="connsiteX110" fmla="*/ 1724025 w 8405893"/>
                  <a:gd name="connsiteY110" fmla="*/ 555195 h 1283857"/>
                  <a:gd name="connsiteX111" fmla="*/ 1678781 w 8405893"/>
                  <a:gd name="connsiteY111" fmla="*/ 529001 h 1283857"/>
                  <a:gd name="connsiteX112" fmla="*/ 1669257 w 8405893"/>
                  <a:gd name="connsiteY112" fmla="*/ 457564 h 1283857"/>
                  <a:gd name="connsiteX113" fmla="*/ 1645444 w 8405893"/>
                  <a:gd name="connsiteY113" fmla="*/ 443276 h 1283857"/>
                  <a:gd name="connsiteX114" fmla="*/ 1607344 w 8405893"/>
                  <a:gd name="connsiteY114" fmla="*/ 490900 h 1283857"/>
                  <a:gd name="connsiteX115" fmla="*/ 1528762 w 8405893"/>
                  <a:gd name="connsiteY115" fmla="*/ 417082 h 1283857"/>
                  <a:gd name="connsiteX116" fmla="*/ 1488281 w 8405893"/>
                  <a:gd name="connsiteY116" fmla="*/ 457564 h 1283857"/>
                  <a:gd name="connsiteX117" fmla="*/ 1412081 w 8405893"/>
                  <a:gd name="connsiteY117" fmla="*/ 443276 h 1283857"/>
                  <a:gd name="connsiteX118" fmla="*/ 1333500 w 8405893"/>
                  <a:gd name="connsiteY118" fmla="*/ 469470 h 1283857"/>
                  <a:gd name="connsiteX119" fmla="*/ 1273969 w 8405893"/>
                  <a:gd name="connsiteY119" fmla="*/ 517094 h 1283857"/>
                  <a:gd name="connsiteX120" fmla="*/ 1200150 w 8405893"/>
                  <a:gd name="connsiteY120" fmla="*/ 529001 h 1283857"/>
                  <a:gd name="connsiteX121" fmla="*/ 1164431 w 8405893"/>
                  <a:gd name="connsiteY121" fmla="*/ 521857 h 1283857"/>
                  <a:gd name="connsiteX122" fmla="*/ 1085851 w 8405893"/>
                  <a:gd name="connsiteY122" fmla="*/ 552814 h 1283857"/>
                  <a:gd name="connsiteX123" fmla="*/ 1064419 w 8405893"/>
                  <a:gd name="connsiteY123" fmla="*/ 581389 h 1283857"/>
                  <a:gd name="connsiteX124" fmla="*/ 997744 w 8405893"/>
                  <a:gd name="connsiteY124" fmla="*/ 571864 h 1283857"/>
                  <a:gd name="connsiteX125" fmla="*/ 928688 w 8405893"/>
                  <a:gd name="connsiteY125" fmla="*/ 595676 h 1283857"/>
                  <a:gd name="connsiteX126" fmla="*/ 873919 w 8405893"/>
                  <a:gd name="connsiteY126" fmla="*/ 633776 h 1283857"/>
                  <a:gd name="connsiteX127" fmla="*/ 778669 w 8405893"/>
                  <a:gd name="connsiteY127" fmla="*/ 648063 h 1283857"/>
                  <a:gd name="connsiteX128" fmla="*/ 764381 w 8405893"/>
                  <a:gd name="connsiteY128" fmla="*/ 669495 h 1283857"/>
                  <a:gd name="connsiteX129" fmla="*/ 776287 w 8405893"/>
                  <a:gd name="connsiteY129" fmla="*/ 714739 h 1283857"/>
                  <a:gd name="connsiteX130" fmla="*/ 676276 w 8405893"/>
                  <a:gd name="connsiteY130" fmla="*/ 767126 h 1283857"/>
                  <a:gd name="connsiteX131" fmla="*/ 638175 w 8405893"/>
                  <a:gd name="connsiteY131" fmla="*/ 738550 h 1283857"/>
                  <a:gd name="connsiteX132" fmla="*/ 607219 w 8405893"/>
                  <a:gd name="connsiteY132" fmla="*/ 795701 h 1283857"/>
                  <a:gd name="connsiteX133" fmla="*/ 550069 w 8405893"/>
                  <a:gd name="connsiteY133" fmla="*/ 757601 h 1283857"/>
                  <a:gd name="connsiteX134" fmla="*/ 514350 w 8405893"/>
                  <a:gd name="connsiteY134" fmla="*/ 786176 h 1283857"/>
                  <a:gd name="connsiteX135" fmla="*/ 478631 w 8405893"/>
                  <a:gd name="connsiteY135" fmla="*/ 750457 h 1283857"/>
                  <a:gd name="connsiteX136" fmla="*/ 426244 w 8405893"/>
                  <a:gd name="connsiteY136" fmla="*/ 762364 h 1283857"/>
                  <a:gd name="connsiteX137" fmla="*/ 381000 w 8405893"/>
                  <a:gd name="connsiteY137" fmla="*/ 733789 h 1283857"/>
                  <a:gd name="connsiteX138" fmla="*/ 357188 w 8405893"/>
                  <a:gd name="connsiteY138" fmla="*/ 752839 h 1283857"/>
                  <a:gd name="connsiteX139" fmla="*/ 333375 w 8405893"/>
                  <a:gd name="connsiteY139" fmla="*/ 812370 h 1283857"/>
                  <a:gd name="connsiteX140" fmla="*/ 261938 w 8405893"/>
                  <a:gd name="connsiteY140" fmla="*/ 850469 h 1283857"/>
                  <a:gd name="connsiteX141" fmla="*/ 209550 w 8405893"/>
                  <a:gd name="connsiteY141" fmla="*/ 821895 h 1283857"/>
                  <a:gd name="connsiteX142" fmla="*/ 119063 w 8405893"/>
                  <a:gd name="connsiteY142" fmla="*/ 831420 h 1283857"/>
                  <a:gd name="connsiteX143" fmla="*/ 71437 w 8405893"/>
                  <a:gd name="connsiteY143" fmla="*/ 798083 h 1283857"/>
                  <a:gd name="connsiteX144" fmla="*/ 0 w 8405893"/>
                  <a:gd name="connsiteY144" fmla="*/ 817132 h 1283857"/>
                  <a:gd name="connsiteX145" fmla="*/ 4762 w 8405893"/>
                  <a:gd name="connsiteY145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205868 w 8405893"/>
                  <a:gd name="connsiteY2" fmla="*/ 671512 h 1283857"/>
                  <a:gd name="connsiteX3" fmla="*/ 8020130 w 8405893"/>
                  <a:gd name="connsiteY3" fmla="*/ 881062 h 1283857"/>
                  <a:gd name="connsiteX4" fmla="*/ 7929643 w 8405893"/>
                  <a:gd name="connsiteY4" fmla="*/ 838200 h 1283857"/>
                  <a:gd name="connsiteX5" fmla="*/ 7867730 w 8405893"/>
                  <a:gd name="connsiteY5" fmla="*/ 862012 h 1283857"/>
                  <a:gd name="connsiteX6" fmla="*/ 7703343 w 8405893"/>
                  <a:gd name="connsiteY6" fmla="*/ 807607 h 1283857"/>
                  <a:gd name="connsiteX7" fmla="*/ 7696200 w 8405893"/>
                  <a:gd name="connsiteY7" fmla="*/ 779032 h 1283857"/>
                  <a:gd name="connsiteX8" fmla="*/ 7567613 w 8405893"/>
                  <a:gd name="connsiteY8" fmla="*/ 757601 h 1283857"/>
                  <a:gd name="connsiteX9" fmla="*/ 7384257 w 8405893"/>
                  <a:gd name="connsiteY9" fmla="*/ 836182 h 1283857"/>
                  <a:gd name="connsiteX10" fmla="*/ 7227093 w 8405893"/>
                  <a:gd name="connsiteY10" fmla="*/ 721882 h 1283857"/>
                  <a:gd name="connsiteX11" fmla="*/ 7150894 w 8405893"/>
                  <a:gd name="connsiteY11" fmla="*/ 729026 h 1283857"/>
                  <a:gd name="connsiteX12" fmla="*/ 7077075 w 8405893"/>
                  <a:gd name="connsiteY12" fmla="*/ 724264 h 1283857"/>
                  <a:gd name="connsiteX13" fmla="*/ 6938963 w 8405893"/>
                  <a:gd name="connsiteY13" fmla="*/ 829039 h 1283857"/>
                  <a:gd name="connsiteX14" fmla="*/ 6831806 w 8405893"/>
                  <a:gd name="connsiteY14" fmla="*/ 936195 h 1283857"/>
                  <a:gd name="connsiteX15" fmla="*/ 6788944 w 8405893"/>
                  <a:gd name="connsiteY15" fmla="*/ 1005251 h 1283857"/>
                  <a:gd name="connsiteX16" fmla="*/ 6796088 w 8405893"/>
                  <a:gd name="connsiteY16" fmla="*/ 1040970 h 1283857"/>
                  <a:gd name="connsiteX17" fmla="*/ 6734175 w 8405893"/>
                  <a:gd name="connsiteY17" fmla="*/ 1052876 h 1283857"/>
                  <a:gd name="connsiteX18" fmla="*/ 6753225 w 8405893"/>
                  <a:gd name="connsiteY18" fmla="*/ 1052876 h 1283857"/>
                  <a:gd name="connsiteX19" fmla="*/ 6719888 w 8405893"/>
                  <a:gd name="connsiteY19" fmla="*/ 1083832 h 1283857"/>
                  <a:gd name="connsiteX20" fmla="*/ 6619875 w 8405893"/>
                  <a:gd name="connsiteY20" fmla="*/ 1083833 h 1283857"/>
                  <a:gd name="connsiteX21" fmla="*/ 6524625 w 8405893"/>
                  <a:gd name="connsiteY21" fmla="*/ 1138601 h 1283857"/>
                  <a:gd name="connsiteX22" fmla="*/ 6443663 w 8405893"/>
                  <a:gd name="connsiteY22" fmla="*/ 1148126 h 1283857"/>
                  <a:gd name="connsiteX23" fmla="*/ 6403181 w 8405893"/>
                  <a:gd name="connsiteY23" fmla="*/ 1181464 h 1283857"/>
                  <a:gd name="connsiteX24" fmla="*/ 6353175 w 8405893"/>
                  <a:gd name="connsiteY24" fmla="*/ 1186226 h 1283857"/>
                  <a:gd name="connsiteX25" fmla="*/ 6231732 w 8405893"/>
                  <a:gd name="connsiteY25" fmla="*/ 1279095 h 1283857"/>
                  <a:gd name="connsiteX26" fmla="*/ 6172200 w 8405893"/>
                  <a:gd name="connsiteY26" fmla="*/ 1283857 h 1283857"/>
                  <a:gd name="connsiteX27" fmla="*/ 6119813 w 8405893"/>
                  <a:gd name="connsiteY27" fmla="*/ 1248139 h 1283857"/>
                  <a:gd name="connsiteX28" fmla="*/ 6093619 w 8405893"/>
                  <a:gd name="connsiteY28" fmla="*/ 1283857 h 1283857"/>
                  <a:gd name="connsiteX29" fmla="*/ 5895975 w 8405893"/>
                  <a:gd name="connsiteY29" fmla="*/ 1276714 h 1283857"/>
                  <a:gd name="connsiteX30" fmla="*/ 5834063 w 8405893"/>
                  <a:gd name="connsiteY30" fmla="*/ 1231470 h 1283857"/>
                  <a:gd name="connsiteX31" fmla="*/ 5636419 w 8405893"/>
                  <a:gd name="connsiteY31" fmla="*/ 1248139 h 1283857"/>
                  <a:gd name="connsiteX32" fmla="*/ 5548313 w 8405893"/>
                  <a:gd name="connsiteY32" fmla="*/ 1164794 h 1283857"/>
                  <a:gd name="connsiteX33" fmla="*/ 5472113 w 8405893"/>
                  <a:gd name="connsiteY33" fmla="*/ 1119551 h 1283857"/>
                  <a:gd name="connsiteX34" fmla="*/ 5474493 w 8405893"/>
                  <a:gd name="connsiteY34" fmla="*/ 1062401 h 1283857"/>
                  <a:gd name="connsiteX35" fmla="*/ 5455444 w 8405893"/>
                  <a:gd name="connsiteY35" fmla="*/ 1019538 h 1283857"/>
                  <a:gd name="connsiteX36" fmla="*/ 5360194 w 8405893"/>
                  <a:gd name="connsiteY36" fmla="*/ 1021920 h 1283857"/>
                  <a:gd name="connsiteX37" fmla="*/ 5264944 w 8405893"/>
                  <a:gd name="connsiteY37" fmla="*/ 1000489 h 1283857"/>
                  <a:gd name="connsiteX38" fmla="*/ 5195887 w 8405893"/>
                  <a:gd name="connsiteY38" fmla="*/ 933813 h 1283857"/>
                  <a:gd name="connsiteX39" fmla="*/ 5160169 w 8405893"/>
                  <a:gd name="connsiteY39" fmla="*/ 890951 h 1283857"/>
                  <a:gd name="connsiteX40" fmla="*/ 5079206 w 8405893"/>
                  <a:gd name="connsiteY40" fmla="*/ 867138 h 1283857"/>
                  <a:gd name="connsiteX41" fmla="*/ 5005388 w 8405893"/>
                  <a:gd name="connsiteY41" fmla="*/ 879044 h 1283857"/>
                  <a:gd name="connsiteX42" fmla="*/ 4948237 w 8405893"/>
                  <a:gd name="connsiteY42" fmla="*/ 826657 h 1283857"/>
                  <a:gd name="connsiteX43" fmla="*/ 4852988 w 8405893"/>
                  <a:gd name="connsiteY43" fmla="*/ 838564 h 1283857"/>
                  <a:gd name="connsiteX44" fmla="*/ 4800600 w 8405893"/>
                  <a:gd name="connsiteY44" fmla="*/ 812370 h 1283857"/>
                  <a:gd name="connsiteX45" fmla="*/ 4719638 w 8405893"/>
                  <a:gd name="connsiteY45" fmla="*/ 855232 h 1283857"/>
                  <a:gd name="connsiteX46" fmla="*/ 4581525 w 8405893"/>
                  <a:gd name="connsiteY46" fmla="*/ 879045 h 1283857"/>
                  <a:gd name="connsiteX47" fmla="*/ 4452938 w 8405893"/>
                  <a:gd name="connsiteY47" fmla="*/ 971914 h 1283857"/>
                  <a:gd name="connsiteX48" fmla="*/ 4405312 w 8405893"/>
                  <a:gd name="connsiteY48" fmla="*/ 933814 h 1283857"/>
                  <a:gd name="connsiteX49" fmla="*/ 4383881 w 8405893"/>
                  <a:gd name="connsiteY49" fmla="*/ 964769 h 1283857"/>
                  <a:gd name="connsiteX50" fmla="*/ 4310063 w 8405893"/>
                  <a:gd name="connsiteY50" fmla="*/ 914764 h 1283857"/>
                  <a:gd name="connsiteX51" fmla="*/ 4271963 w 8405893"/>
                  <a:gd name="connsiteY51" fmla="*/ 921907 h 1283857"/>
                  <a:gd name="connsiteX52" fmla="*/ 4250531 w 8405893"/>
                  <a:gd name="connsiteY52" fmla="*/ 883807 h 1283857"/>
                  <a:gd name="connsiteX53" fmla="*/ 4191000 w 8405893"/>
                  <a:gd name="connsiteY53" fmla="*/ 888570 h 1283857"/>
                  <a:gd name="connsiteX54" fmla="*/ 4145756 w 8405893"/>
                  <a:gd name="connsiteY54" fmla="*/ 859995 h 1283857"/>
                  <a:gd name="connsiteX55" fmla="*/ 4107656 w 8405893"/>
                  <a:gd name="connsiteY55" fmla="*/ 857614 h 1283857"/>
                  <a:gd name="connsiteX56" fmla="*/ 4088606 w 8405893"/>
                  <a:gd name="connsiteY56" fmla="*/ 809988 h 1283857"/>
                  <a:gd name="connsiteX57" fmla="*/ 4074319 w 8405893"/>
                  <a:gd name="connsiteY57" fmla="*/ 779032 h 1283857"/>
                  <a:gd name="connsiteX58" fmla="*/ 4029075 w 8405893"/>
                  <a:gd name="connsiteY58" fmla="*/ 788557 h 1283857"/>
                  <a:gd name="connsiteX59" fmla="*/ 4010025 w 8405893"/>
                  <a:gd name="connsiteY59" fmla="*/ 752839 h 1283857"/>
                  <a:gd name="connsiteX60" fmla="*/ 4031457 w 8405893"/>
                  <a:gd name="connsiteY60" fmla="*/ 698070 h 1283857"/>
                  <a:gd name="connsiteX61" fmla="*/ 4000500 w 8405893"/>
                  <a:gd name="connsiteY61" fmla="*/ 671876 h 1283857"/>
                  <a:gd name="connsiteX62" fmla="*/ 4017169 w 8405893"/>
                  <a:gd name="connsiteY62" fmla="*/ 629014 h 1283857"/>
                  <a:gd name="connsiteX63" fmla="*/ 3990975 w 8405893"/>
                  <a:gd name="connsiteY63" fmla="*/ 586151 h 1283857"/>
                  <a:gd name="connsiteX64" fmla="*/ 3986213 w 8405893"/>
                  <a:gd name="connsiteY64" fmla="*/ 524239 h 1283857"/>
                  <a:gd name="connsiteX65" fmla="*/ 4010025 w 8405893"/>
                  <a:gd name="connsiteY65" fmla="*/ 459944 h 1283857"/>
                  <a:gd name="connsiteX66" fmla="*/ 3971925 w 8405893"/>
                  <a:gd name="connsiteY66" fmla="*/ 462326 h 1283857"/>
                  <a:gd name="connsiteX67" fmla="*/ 3852863 w 8405893"/>
                  <a:gd name="connsiteY67" fmla="*/ 405176 h 1283857"/>
                  <a:gd name="connsiteX68" fmla="*/ 3814762 w 8405893"/>
                  <a:gd name="connsiteY68" fmla="*/ 409938 h 1283857"/>
                  <a:gd name="connsiteX69" fmla="*/ 3609975 w 8405893"/>
                  <a:gd name="connsiteY69" fmla="*/ 300401 h 1283857"/>
                  <a:gd name="connsiteX70" fmla="*/ 3505200 w 8405893"/>
                  <a:gd name="connsiteY70" fmla="*/ 269445 h 1283857"/>
                  <a:gd name="connsiteX71" fmla="*/ 3440906 w 8405893"/>
                  <a:gd name="connsiteY71" fmla="*/ 278969 h 1283857"/>
                  <a:gd name="connsiteX72" fmla="*/ 3409950 w 8405893"/>
                  <a:gd name="connsiteY72" fmla="*/ 214676 h 1283857"/>
                  <a:gd name="connsiteX73" fmla="*/ 3352800 w 8405893"/>
                  <a:gd name="connsiteY73" fmla="*/ 214676 h 1283857"/>
                  <a:gd name="connsiteX74" fmla="*/ 3214687 w 8405893"/>
                  <a:gd name="connsiteY74" fmla="*/ 109901 h 1283857"/>
                  <a:gd name="connsiteX75" fmla="*/ 3181350 w 8405893"/>
                  <a:gd name="connsiteY75" fmla="*/ 169433 h 1283857"/>
                  <a:gd name="connsiteX76" fmla="*/ 3126581 w 8405893"/>
                  <a:gd name="connsiteY76" fmla="*/ 238489 h 1283857"/>
                  <a:gd name="connsiteX77" fmla="*/ 3083719 w 8405893"/>
                  <a:gd name="connsiteY77" fmla="*/ 255157 h 1283857"/>
                  <a:gd name="connsiteX78" fmla="*/ 3052763 w 8405893"/>
                  <a:gd name="connsiteY78" fmla="*/ 248014 h 1283857"/>
                  <a:gd name="connsiteX79" fmla="*/ 3028950 w 8405893"/>
                  <a:gd name="connsiteY79" fmla="*/ 276589 h 1283857"/>
                  <a:gd name="connsiteX80" fmla="*/ 3002756 w 8405893"/>
                  <a:gd name="connsiteY80" fmla="*/ 355170 h 1283857"/>
                  <a:gd name="connsiteX81" fmla="*/ 2959894 w 8405893"/>
                  <a:gd name="connsiteY81" fmla="*/ 352789 h 1283857"/>
                  <a:gd name="connsiteX82" fmla="*/ 2928937 w 8405893"/>
                  <a:gd name="connsiteY82" fmla="*/ 414701 h 1283857"/>
                  <a:gd name="connsiteX83" fmla="*/ 2924175 w 8405893"/>
                  <a:gd name="connsiteY83" fmla="*/ 478995 h 1283857"/>
                  <a:gd name="connsiteX84" fmla="*/ 2897982 w 8405893"/>
                  <a:gd name="connsiteY84" fmla="*/ 517095 h 1283857"/>
                  <a:gd name="connsiteX85" fmla="*/ 2924175 w 8405893"/>
                  <a:gd name="connsiteY85" fmla="*/ 576626 h 1283857"/>
                  <a:gd name="connsiteX86" fmla="*/ 2926556 w 8405893"/>
                  <a:gd name="connsiteY86" fmla="*/ 645682 h 1283857"/>
                  <a:gd name="connsiteX87" fmla="*/ 2955131 w 8405893"/>
                  <a:gd name="connsiteY87" fmla="*/ 698070 h 1283857"/>
                  <a:gd name="connsiteX88" fmla="*/ 3002757 w 8405893"/>
                  <a:gd name="connsiteY88" fmla="*/ 752839 h 1283857"/>
                  <a:gd name="connsiteX89" fmla="*/ 2952750 w 8405893"/>
                  <a:gd name="connsiteY89" fmla="*/ 890951 h 1283857"/>
                  <a:gd name="connsiteX90" fmla="*/ 2883694 w 8405893"/>
                  <a:gd name="connsiteY90" fmla="*/ 957626 h 1283857"/>
                  <a:gd name="connsiteX91" fmla="*/ 2812256 w 8405893"/>
                  <a:gd name="connsiteY91" fmla="*/ 952864 h 1283857"/>
                  <a:gd name="connsiteX92" fmla="*/ 2774156 w 8405893"/>
                  <a:gd name="connsiteY92" fmla="*/ 1010014 h 1283857"/>
                  <a:gd name="connsiteX93" fmla="*/ 2714625 w 8405893"/>
                  <a:gd name="connsiteY93" fmla="*/ 1024301 h 1283857"/>
                  <a:gd name="connsiteX94" fmla="*/ 2645569 w 8405893"/>
                  <a:gd name="connsiteY94" fmla="*/ 964770 h 1283857"/>
                  <a:gd name="connsiteX95" fmla="*/ 2590800 w 8405893"/>
                  <a:gd name="connsiteY95" fmla="*/ 936195 h 1283857"/>
                  <a:gd name="connsiteX96" fmla="*/ 2547938 w 8405893"/>
                  <a:gd name="connsiteY96" fmla="*/ 950482 h 1283857"/>
                  <a:gd name="connsiteX97" fmla="*/ 2495550 w 8405893"/>
                  <a:gd name="connsiteY97" fmla="*/ 933814 h 1283857"/>
                  <a:gd name="connsiteX98" fmla="*/ 2428875 w 8405893"/>
                  <a:gd name="connsiteY98" fmla="*/ 879045 h 1283857"/>
                  <a:gd name="connsiteX99" fmla="*/ 2383631 w 8405893"/>
                  <a:gd name="connsiteY99" fmla="*/ 890951 h 1283857"/>
                  <a:gd name="connsiteX100" fmla="*/ 2362200 w 8405893"/>
                  <a:gd name="connsiteY100" fmla="*/ 859995 h 1283857"/>
                  <a:gd name="connsiteX101" fmla="*/ 2305050 w 8405893"/>
                  <a:gd name="connsiteY101" fmla="*/ 900476 h 1283857"/>
                  <a:gd name="connsiteX102" fmla="*/ 2188369 w 8405893"/>
                  <a:gd name="connsiteY102" fmla="*/ 879045 h 1283857"/>
                  <a:gd name="connsiteX103" fmla="*/ 2138363 w 8405893"/>
                  <a:gd name="connsiteY103" fmla="*/ 826657 h 1283857"/>
                  <a:gd name="connsiteX104" fmla="*/ 2095500 w 8405893"/>
                  <a:gd name="connsiteY104" fmla="*/ 812370 h 1283857"/>
                  <a:gd name="connsiteX105" fmla="*/ 2052638 w 8405893"/>
                  <a:gd name="connsiteY105" fmla="*/ 838564 h 1283857"/>
                  <a:gd name="connsiteX106" fmla="*/ 2000250 w 8405893"/>
                  <a:gd name="connsiteY106" fmla="*/ 748076 h 1283857"/>
                  <a:gd name="connsiteX107" fmla="*/ 1990725 w 8405893"/>
                  <a:gd name="connsiteY107" fmla="*/ 600438 h 1283857"/>
                  <a:gd name="connsiteX108" fmla="*/ 1938337 w 8405893"/>
                  <a:gd name="connsiteY108" fmla="*/ 593294 h 1283857"/>
                  <a:gd name="connsiteX109" fmla="*/ 1847850 w 8405893"/>
                  <a:gd name="connsiteY109" fmla="*/ 583770 h 1283857"/>
                  <a:gd name="connsiteX110" fmla="*/ 1793081 w 8405893"/>
                  <a:gd name="connsiteY110" fmla="*/ 545670 h 1283857"/>
                  <a:gd name="connsiteX111" fmla="*/ 1724025 w 8405893"/>
                  <a:gd name="connsiteY111" fmla="*/ 555195 h 1283857"/>
                  <a:gd name="connsiteX112" fmla="*/ 1678781 w 8405893"/>
                  <a:gd name="connsiteY112" fmla="*/ 529001 h 1283857"/>
                  <a:gd name="connsiteX113" fmla="*/ 1669257 w 8405893"/>
                  <a:gd name="connsiteY113" fmla="*/ 457564 h 1283857"/>
                  <a:gd name="connsiteX114" fmla="*/ 1645444 w 8405893"/>
                  <a:gd name="connsiteY114" fmla="*/ 443276 h 1283857"/>
                  <a:gd name="connsiteX115" fmla="*/ 1607344 w 8405893"/>
                  <a:gd name="connsiteY115" fmla="*/ 490900 h 1283857"/>
                  <a:gd name="connsiteX116" fmla="*/ 1528762 w 8405893"/>
                  <a:gd name="connsiteY116" fmla="*/ 417082 h 1283857"/>
                  <a:gd name="connsiteX117" fmla="*/ 1488281 w 8405893"/>
                  <a:gd name="connsiteY117" fmla="*/ 457564 h 1283857"/>
                  <a:gd name="connsiteX118" fmla="*/ 1412081 w 8405893"/>
                  <a:gd name="connsiteY118" fmla="*/ 443276 h 1283857"/>
                  <a:gd name="connsiteX119" fmla="*/ 1333500 w 8405893"/>
                  <a:gd name="connsiteY119" fmla="*/ 469470 h 1283857"/>
                  <a:gd name="connsiteX120" fmla="*/ 1273969 w 8405893"/>
                  <a:gd name="connsiteY120" fmla="*/ 517094 h 1283857"/>
                  <a:gd name="connsiteX121" fmla="*/ 1200150 w 8405893"/>
                  <a:gd name="connsiteY121" fmla="*/ 529001 h 1283857"/>
                  <a:gd name="connsiteX122" fmla="*/ 1164431 w 8405893"/>
                  <a:gd name="connsiteY122" fmla="*/ 521857 h 1283857"/>
                  <a:gd name="connsiteX123" fmla="*/ 1085851 w 8405893"/>
                  <a:gd name="connsiteY123" fmla="*/ 552814 h 1283857"/>
                  <a:gd name="connsiteX124" fmla="*/ 1064419 w 8405893"/>
                  <a:gd name="connsiteY124" fmla="*/ 581389 h 1283857"/>
                  <a:gd name="connsiteX125" fmla="*/ 997744 w 8405893"/>
                  <a:gd name="connsiteY125" fmla="*/ 571864 h 1283857"/>
                  <a:gd name="connsiteX126" fmla="*/ 928688 w 8405893"/>
                  <a:gd name="connsiteY126" fmla="*/ 595676 h 1283857"/>
                  <a:gd name="connsiteX127" fmla="*/ 873919 w 8405893"/>
                  <a:gd name="connsiteY127" fmla="*/ 633776 h 1283857"/>
                  <a:gd name="connsiteX128" fmla="*/ 778669 w 8405893"/>
                  <a:gd name="connsiteY128" fmla="*/ 648063 h 1283857"/>
                  <a:gd name="connsiteX129" fmla="*/ 764381 w 8405893"/>
                  <a:gd name="connsiteY129" fmla="*/ 669495 h 1283857"/>
                  <a:gd name="connsiteX130" fmla="*/ 776287 w 8405893"/>
                  <a:gd name="connsiteY130" fmla="*/ 714739 h 1283857"/>
                  <a:gd name="connsiteX131" fmla="*/ 676276 w 8405893"/>
                  <a:gd name="connsiteY131" fmla="*/ 767126 h 1283857"/>
                  <a:gd name="connsiteX132" fmla="*/ 638175 w 8405893"/>
                  <a:gd name="connsiteY132" fmla="*/ 738550 h 1283857"/>
                  <a:gd name="connsiteX133" fmla="*/ 607219 w 8405893"/>
                  <a:gd name="connsiteY133" fmla="*/ 795701 h 1283857"/>
                  <a:gd name="connsiteX134" fmla="*/ 550069 w 8405893"/>
                  <a:gd name="connsiteY134" fmla="*/ 757601 h 1283857"/>
                  <a:gd name="connsiteX135" fmla="*/ 514350 w 8405893"/>
                  <a:gd name="connsiteY135" fmla="*/ 786176 h 1283857"/>
                  <a:gd name="connsiteX136" fmla="*/ 478631 w 8405893"/>
                  <a:gd name="connsiteY136" fmla="*/ 750457 h 1283857"/>
                  <a:gd name="connsiteX137" fmla="*/ 426244 w 8405893"/>
                  <a:gd name="connsiteY137" fmla="*/ 762364 h 1283857"/>
                  <a:gd name="connsiteX138" fmla="*/ 381000 w 8405893"/>
                  <a:gd name="connsiteY138" fmla="*/ 733789 h 1283857"/>
                  <a:gd name="connsiteX139" fmla="*/ 357188 w 8405893"/>
                  <a:gd name="connsiteY139" fmla="*/ 752839 h 1283857"/>
                  <a:gd name="connsiteX140" fmla="*/ 333375 w 8405893"/>
                  <a:gd name="connsiteY140" fmla="*/ 812370 h 1283857"/>
                  <a:gd name="connsiteX141" fmla="*/ 261938 w 8405893"/>
                  <a:gd name="connsiteY141" fmla="*/ 850469 h 1283857"/>
                  <a:gd name="connsiteX142" fmla="*/ 209550 w 8405893"/>
                  <a:gd name="connsiteY142" fmla="*/ 821895 h 1283857"/>
                  <a:gd name="connsiteX143" fmla="*/ 119063 w 8405893"/>
                  <a:gd name="connsiteY143" fmla="*/ 831420 h 1283857"/>
                  <a:gd name="connsiteX144" fmla="*/ 71437 w 8405893"/>
                  <a:gd name="connsiteY144" fmla="*/ 798083 h 1283857"/>
                  <a:gd name="connsiteX145" fmla="*/ 0 w 8405893"/>
                  <a:gd name="connsiteY145" fmla="*/ 817132 h 1283857"/>
                  <a:gd name="connsiteX146" fmla="*/ 4762 w 8405893"/>
                  <a:gd name="connsiteY146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205868 w 8405893"/>
                  <a:gd name="connsiteY2" fmla="*/ 671512 h 1283857"/>
                  <a:gd name="connsiteX3" fmla="*/ 8039180 w 8405893"/>
                  <a:gd name="connsiteY3" fmla="*/ 881062 h 1283857"/>
                  <a:gd name="connsiteX4" fmla="*/ 7929643 w 8405893"/>
                  <a:gd name="connsiteY4" fmla="*/ 838200 h 1283857"/>
                  <a:gd name="connsiteX5" fmla="*/ 7867730 w 8405893"/>
                  <a:gd name="connsiteY5" fmla="*/ 862012 h 1283857"/>
                  <a:gd name="connsiteX6" fmla="*/ 7703343 w 8405893"/>
                  <a:gd name="connsiteY6" fmla="*/ 807607 h 1283857"/>
                  <a:gd name="connsiteX7" fmla="*/ 7696200 w 8405893"/>
                  <a:gd name="connsiteY7" fmla="*/ 779032 h 1283857"/>
                  <a:gd name="connsiteX8" fmla="*/ 7567613 w 8405893"/>
                  <a:gd name="connsiteY8" fmla="*/ 757601 h 1283857"/>
                  <a:gd name="connsiteX9" fmla="*/ 7384257 w 8405893"/>
                  <a:gd name="connsiteY9" fmla="*/ 836182 h 1283857"/>
                  <a:gd name="connsiteX10" fmla="*/ 7227093 w 8405893"/>
                  <a:gd name="connsiteY10" fmla="*/ 721882 h 1283857"/>
                  <a:gd name="connsiteX11" fmla="*/ 7150894 w 8405893"/>
                  <a:gd name="connsiteY11" fmla="*/ 729026 h 1283857"/>
                  <a:gd name="connsiteX12" fmla="*/ 7077075 w 8405893"/>
                  <a:gd name="connsiteY12" fmla="*/ 724264 h 1283857"/>
                  <a:gd name="connsiteX13" fmla="*/ 6938963 w 8405893"/>
                  <a:gd name="connsiteY13" fmla="*/ 829039 h 1283857"/>
                  <a:gd name="connsiteX14" fmla="*/ 6831806 w 8405893"/>
                  <a:gd name="connsiteY14" fmla="*/ 936195 h 1283857"/>
                  <a:gd name="connsiteX15" fmla="*/ 6788944 w 8405893"/>
                  <a:gd name="connsiteY15" fmla="*/ 1005251 h 1283857"/>
                  <a:gd name="connsiteX16" fmla="*/ 6796088 w 8405893"/>
                  <a:gd name="connsiteY16" fmla="*/ 1040970 h 1283857"/>
                  <a:gd name="connsiteX17" fmla="*/ 6734175 w 8405893"/>
                  <a:gd name="connsiteY17" fmla="*/ 1052876 h 1283857"/>
                  <a:gd name="connsiteX18" fmla="*/ 6753225 w 8405893"/>
                  <a:gd name="connsiteY18" fmla="*/ 1052876 h 1283857"/>
                  <a:gd name="connsiteX19" fmla="*/ 6719888 w 8405893"/>
                  <a:gd name="connsiteY19" fmla="*/ 1083832 h 1283857"/>
                  <a:gd name="connsiteX20" fmla="*/ 6619875 w 8405893"/>
                  <a:gd name="connsiteY20" fmla="*/ 1083833 h 1283857"/>
                  <a:gd name="connsiteX21" fmla="*/ 6524625 w 8405893"/>
                  <a:gd name="connsiteY21" fmla="*/ 1138601 h 1283857"/>
                  <a:gd name="connsiteX22" fmla="*/ 6443663 w 8405893"/>
                  <a:gd name="connsiteY22" fmla="*/ 1148126 h 1283857"/>
                  <a:gd name="connsiteX23" fmla="*/ 6403181 w 8405893"/>
                  <a:gd name="connsiteY23" fmla="*/ 1181464 h 1283857"/>
                  <a:gd name="connsiteX24" fmla="*/ 6353175 w 8405893"/>
                  <a:gd name="connsiteY24" fmla="*/ 1186226 h 1283857"/>
                  <a:gd name="connsiteX25" fmla="*/ 6231732 w 8405893"/>
                  <a:gd name="connsiteY25" fmla="*/ 1279095 h 1283857"/>
                  <a:gd name="connsiteX26" fmla="*/ 6172200 w 8405893"/>
                  <a:gd name="connsiteY26" fmla="*/ 1283857 h 1283857"/>
                  <a:gd name="connsiteX27" fmla="*/ 6119813 w 8405893"/>
                  <a:gd name="connsiteY27" fmla="*/ 1248139 h 1283857"/>
                  <a:gd name="connsiteX28" fmla="*/ 6093619 w 8405893"/>
                  <a:gd name="connsiteY28" fmla="*/ 1283857 h 1283857"/>
                  <a:gd name="connsiteX29" fmla="*/ 5895975 w 8405893"/>
                  <a:gd name="connsiteY29" fmla="*/ 1276714 h 1283857"/>
                  <a:gd name="connsiteX30" fmla="*/ 5834063 w 8405893"/>
                  <a:gd name="connsiteY30" fmla="*/ 1231470 h 1283857"/>
                  <a:gd name="connsiteX31" fmla="*/ 5636419 w 8405893"/>
                  <a:gd name="connsiteY31" fmla="*/ 1248139 h 1283857"/>
                  <a:gd name="connsiteX32" fmla="*/ 5548313 w 8405893"/>
                  <a:gd name="connsiteY32" fmla="*/ 1164794 h 1283857"/>
                  <a:gd name="connsiteX33" fmla="*/ 5472113 w 8405893"/>
                  <a:gd name="connsiteY33" fmla="*/ 1119551 h 1283857"/>
                  <a:gd name="connsiteX34" fmla="*/ 5474493 w 8405893"/>
                  <a:gd name="connsiteY34" fmla="*/ 1062401 h 1283857"/>
                  <a:gd name="connsiteX35" fmla="*/ 5455444 w 8405893"/>
                  <a:gd name="connsiteY35" fmla="*/ 1019538 h 1283857"/>
                  <a:gd name="connsiteX36" fmla="*/ 5360194 w 8405893"/>
                  <a:gd name="connsiteY36" fmla="*/ 1021920 h 1283857"/>
                  <a:gd name="connsiteX37" fmla="*/ 5264944 w 8405893"/>
                  <a:gd name="connsiteY37" fmla="*/ 1000489 h 1283857"/>
                  <a:gd name="connsiteX38" fmla="*/ 5195887 w 8405893"/>
                  <a:gd name="connsiteY38" fmla="*/ 933813 h 1283857"/>
                  <a:gd name="connsiteX39" fmla="*/ 5160169 w 8405893"/>
                  <a:gd name="connsiteY39" fmla="*/ 890951 h 1283857"/>
                  <a:gd name="connsiteX40" fmla="*/ 5079206 w 8405893"/>
                  <a:gd name="connsiteY40" fmla="*/ 867138 h 1283857"/>
                  <a:gd name="connsiteX41" fmla="*/ 5005388 w 8405893"/>
                  <a:gd name="connsiteY41" fmla="*/ 879044 h 1283857"/>
                  <a:gd name="connsiteX42" fmla="*/ 4948237 w 8405893"/>
                  <a:gd name="connsiteY42" fmla="*/ 826657 h 1283857"/>
                  <a:gd name="connsiteX43" fmla="*/ 4852988 w 8405893"/>
                  <a:gd name="connsiteY43" fmla="*/ 838564 h 1283857"/>
                  <a:gd name="connsiteX44" fmla="*/ 4800600 w 8405893"/>
                  <a:gd name="connsiteY44" fmla="*/ 812370 h 1283857"/>
                  <a:gd name="connsiteX45" fmla="*/ 4719638 w 8405893"/>
                  <a:gd name="connsiteY45" fmla="*/ 855232 h 1283857"/>
                  <a:gd name="connsiteX46" fmla="*/ 4581525 w 8405893"/>
                  <a:gd name="connsiteY46" fmla="*/ 879045 h 1283857"/>
                  <a:gd name="connsiteX47" fmla="*/ 4452938 w 8405893"/>
                  <a:gd name="connsiteY47" fmla="*/ 971914 h 1283857"/>
                  <a:gd name="connsiteX48" fmla="*/ 4405312 w 8405893"/>
                  <a:gd name="connsiteY48" fmla="*/ 933814 h 1283857"/>
                  <a:gd name="connsiteX49" fmla="*/ 4383881 w 8405893"/>
                  <a:gd name="connsiteY49" fmla="*/ 964769 h 1283857"/>
                  <a:gd name="connsiteX50" fmla="*/ 4310063 w 8405893"/>
                  <a:gd name="connsiteY50" fmla="*/ 914764 h 1283857"/>
                  <a:gd name="connsiteX51" fmla="*/ 4271963 w 8405893"/>
                  <a:gd name="connsiteY51" fmla="*/ 921907 h 1283857"/>
                  <a:gd name="connsiteX52" fmla="*/ 4250531 w 8405893"/>
                  <a:gd name="connsiteY52" fmla="*/ 883807 h 1283857"/>
                  <a:gd name="connsiteX53" fmla="*/ 4191000 w 8405893"/>
                  <a:gd name="connsiteY53" fmla="*/ 888570 h 1283857"/>
                  <a:gd name="connsiteX54" fmla="*/ 4145756 w 8405893"/>
                  <a:gd name="connsiteY54" fmla="*/ 859995 h 1283857"/>
                  <a:gd name="connsiteX55" fmla="*/ 4107656 w 8405893"/>
                  <a:gd name="connsiteY55" fmla="*/ 857614 h 1283857"/>
                  <a:gd name="connsiteX56" fmla="*/ 4088606 w 8405893"/>
                  <a:gd name="connsiteY56" fmla="*/ 809988 h 1283857"/>
                  <a:gd name="connsiteX57" fmla="*/ 4074319 w 8405893"/>
                  <a:gd name="connsiteY57" fmla="*/ 779032 h 1283857"/>
                  <a:gd name="connsiteX58" fmla="*/ 4029075 w 8405893"/>
                  <a:gd name="connsiteY58" fmla="*/ 788557 h 1283857"/>
                  <a:gd name="connsiteX59" fmla="*/ 4010025 w 8405893"/>
                  <a:gd name="connsiteY59" fmla="*/ 752839 h 1283857"/>
                  <a:gd name="connsiteX60" fmla="*/ 4031457 w 8405893"/>
                  <a:gd name="connsiteY60" fmla="*/ 698070 h 1283857"/>
                  <a:gd name="connsiteX61" fmla="*/ 4000500 w 8405893"/>
                  <a:gd name="connsiteY61" fmla="*/ 671876 h 1283857"/>
                  <a:gd name="connsiteX62" fmla="*/ 4017169 w 8405893"/>
                  <a:gd name="connsiteY62" fmla="*/ 629014 h 1283857"/>
                  <a:gd name="connsiteX63" fmla="*/ 3990975 w 8405893"/>
                  <a:gd name="connsiteY63" fmla="*/ 586151 h 1283857"/>
                  <a:gd name="connsiteX64" fmla="*/ 3986213 w 8405893"/>
                  <a:gd name="connsiteY64" fmla="*/ 524239 h 1283857"/>
                  <a:gd name="connsiteX65" fmla="*/ 4010025 w 8405893"/>
                  <a:gd name="connsiteY65" fmla="*/ 459944 h 1283857"/>
                  <a:gd name="connsiteX66" fmla="*/ 3971925 w 8405893"/>
                  <a:gd name="connsiteY66" fmla="*/ 462326 h 1283857"/>
                  <a:gd name="connsiteX67" fmla="*/ 3852863 w 8405893"/>
                  <a:gd name="connsiteY67" fmla="*/ 405176 h 1283857"/>
                  <a:gd name="connsiteX68" fmla="*/ 3814762 w 8405893"/>
                  <a:gd name="connsiteY68" fmla="*/ 409938 h 1283857"/>
                  <a:gd name="connsiteX69" fmla="*/ 3609975 w 8405893"/>
                  <a:gd name="connsiteY69" fmla="*/ 300401 h 1283857"/>
                  <a:gd name="connsiteX70" fmla="*/ 3505200 w 8405893"/>
                  <a:gd name="connsiteY70" fmla="*/ 269445 h 1283857"/>
                  <a:gd name="connsiteX71" fmla="*/ 3440906 w 8405893"/>
                  <a:gd name="connsiteY71" fmla="*/ 278969 h 1283857"/>
                  <a:gd name="connsiteX72" fmla="*/ 3409950 w 8405893"/>
                  <a:gd name="connsiteY72" fmla="*/ 214676 h 1283857"/>
                  <a:gd name="connsiteX73" fmla="*/ 3352800 w 8405893"/>
                  <a:gd name="connsiteY73" fmla="*/ 214676 h 1283857"/>
                  <a:gd name="connsiteX74" fmla="*/ 3214687 w 8405893"/>
                  <a:gd name="connsiteY74" fmla="*/ 109901 h 1283857"/>
                  <a:gd name="connsiteX75" fmla="*/ 3181350 w 8405893"/>
                  <a:gd name="connsiteY75" fmla="*/ 169433 h 1283857"/>
                  <a:gd name="connsiteX76" fmla="*/ 3126581 w 8405893"/>
                  <a:gd name="connsiteY76" fmla="*/ 238489 h 1283857"/>
                  <a:gd name="connsiteX77" fmla="*/ 3083719 w 8405893"/>
                  <a:gd name="connsiteY77" fmla="*/ 255157 h 1283857"/>
                  <a:gd name="connsiteX78" fmla="*/ 3052763 w 8405893"/>
                  <a:gd name="connsiteY78" fmla="*/ 248014 h 1283857"/>
                  <a:gd name="connsiteX79" fmla="*/ 3028950 w 8405893"/>
                  <a:gd name="connsiteY79" fmla="*/ 276589 h 1283857"/>
                  <a:gd name="connsiteX80" fmla="*/ 3002756 w 8405893"/>
                  <a:gd name="connsiteY80" fmla="*/ 355170 h 1283857"/>
                  <a:gd name="connsiteX81" fmla="*/ 2959894 w 8405893"/>
                  <a:gd name="connsiteY81" fmla="*/ 352789 h 1283857"/>
                  <a:gd name="connsiteX82" fmla="*/ 2928937 w 8405893"/>
                  <a:gd name="connsiteY82" fmla="*/ 414701 h 1283857"/>
                  <a:gd name="connsiteX83" fmla="*/ 2924175 w 8405893"/>
                  <a:gd name="connsiteY83" fmla="*/ 478995 h 1283857"/>
                  <a:gd name="connsiteX84" fmla="*/ 2897982 w 8405893"/>
                  <a:gd name="connsiteY84" fmla="*/ 517095 h 1283857"/>
                  <a:gd name="connsiteX85" fmla="*/ 2924175 w 8405893"/>
                  <a:gd name="connsiteY85" fmla="*/ 576626 h 1283857"/>
                  <a:gd name="connsiteX86" fmla="*/ 2926556 w 8405893"/>
                  <a:gd name="connsiteY86" fmla="*/ 645682 h 1283857"/>
                  <a:gd name="connsiteX87" fmla="*/ 2955131 w 8405893"/>
                  <a:gd name="connsiteY87" fmla="*/ 698070 h 1283857"/>
                  <a:gd name="connsiteX88" fmla="*/ 3002757 w 8405893"/>
                  <a:gd name="connsiteY88" fmla="*/ 752839 h 1283857"/>
                  <a:gd name="connsiteX89" fmla="*/ 2952750 w 8405893"/>
                  <a:gd name="connsiteY89" fmla="*/ 890951 h 1283857"/>
                  <a:gd name="connsiteX90" fmla="*/ 2883694 w 8405893"/>
                  <a:gd name="connsiteY90" fmla="*/ 957626 h 1283857"/>
                  <a:gd name="connsiteX91" fmla="*/ 2812256 w 8405893"/>
                  <a:gd name="connsiteY91" fmla="*/ 952864 h 1283857"/>
                  <a:gd name="connsiteX92" fmla="*/ 2774156 w 8405893"/>
                  <a:gd name="connsiteY92" fmla="*/ 1010014 h 1283857"/>
                  <a:gd name="connsiteX93" fmla="*/ 2714625 w 8405893"/>
                  <a:gd name="connsiteY93" fmla="*/ 1024301 h 1283857"/>
                  <a:gd name="connsiteX94" fmla="*/ 2645569 w 8405893"/>
                  <a:gd name="connsiteY94" fmla="*/ 964770 h 1283857"/>
                  <a:gd name="connsiteX95" fmla="*/ 2590800 w 8405893"/>
                  <a:gd name="connsiteY95" fmla="*/ 936195 h 1283857"/>
                  <a:gd name="connsiteX96" fmla="*/ 2547938 w 8405893"/>
                  <a:gd name="connsiteY96" fmla="*/ 950482 h 1283857"/>
                  <a:gd name="connsiteX97" fmla="*/ 2495550 w 8405893"/>
                  <a:gd name="connsiteY97" fmla="*/ 933814 h 1283857"/>
                  <a:gd name="connsiteX98" fmla="*/ 2428875 w 8405893"/>
                  <a:gd name="connsiteY98" fmla="*/ 879045 h 1283857"/>
                  <a:gd name="connsiteX99" fmla="*/ 2383631 w 8405893"/>
                  <a:gd name="connsiteY99" fmla="*/ 890951 h 1283857"/>
                  <a:gd name="connsiteX100" fmla="*/ 2362200 w 8405893"/>
                  <a:gd name="connsiteY100" fmla="*/ 859995 h 1283857"/>
                  <a:gd name="connsiteX101" fmla="*/ 2305050 w 8405893"/>
                  <a:gd name="connsiteY101" fmla="*/ 900476 h 1283857"/>
                  <a:gd name="connsiteX102" fmla="*/ 2188369 w 8405893"/>
                  <a:gd name="connsiteY102" fmla="*/ 879045 h 1283857"/>
                  <a:gd name="connsiteX103" fmla="*/ 2138363 w 8405893"/>
                  <a:gd name="connsiteY103" fmla="*/ 826657 h 1283857"/>
                  <a:gd name="connsiteX104" fmla="*/ 2095500 w 8405893"/>
                  <a:gd name="connsiteY104" fmla="*/ 812370 h 1283857"/>
                  <a:gd name="connsiteX105" fmla="*/ 2052638 w 8405893"/>
                  <a:gd name="connsiteY105" fmla="*/ 838564 h 1283857"/>
                  <a:gd name="connsiteX106" fmla="*/ 2000250 w 8405893"/>
                  <a:gd name="connsiteY106" fmla="*/ 748076 h 1283857"/>
                  <a:gd name="connsiteX107" fmla="*/ 1990725 w 8405893"/>
                  <a:gd name="connsiteY107" fmla="*/ 600438 h 1283857"/>
                  <a:gd name="connsiteX108" fmla="*/ 1938337 w 8405893"/>
                  <a:gd name="connsiteY108" fmla="*/ 593294 h 1283857"/>
                  <a:gd name="connsiteX109" fmla="*/ 1847850 w 8405893"/>
                  <a:gd name="connsiteY109" fmla="*/ 583770 h 1283857"/>
                  <a:gd name="connsiteX110" fmla="*/ 1793081 w 8405893"/>
                  <a:gd name="connsiteY110" fmla="*/ 545670 h 1283857"/>
                  <a:gd name="connsiteX111" fmla="*/ 1724025 w 8405893"/>
                  <a:gd name="connsiteY111" fmla="*/ 555195 h 1283857"/>
                  <a:gd name="connsiteX112" fmla="*/ 1678781 w 8405893"/>
                  <a:gd name="connsiteY112" fmla="*/ 529001 h 1283857"/>
                  <a:gd name="connsiteX113" fmla="*/ 1669257 w 8405893"/>
                  <a:gd name="connsiteY113" fmla="*/ 457564 h 1283857"/>
                  <a:gd name="connsiteX114" fmla="*/ 1645444 w 8405893"/>
                  <a:gd name="connsiteY114" fmla="*/ 443276 h 1283857"/>
                  <a:gd name="connsiteX115" fmla="*/ 1607344 w 8405893"/>
                  <a:gd name="connsiteY115" fmla="*/ 490900 h 1283857"/>
                  <a:gd name="connsiteX116" fmla="*/ 1528762 w 8405893"/>
                  <a:gd name="connsiteY116" fmla="*/ 417082 h 1283857"/>
                  <a:gd name="connsiteX117" fmla="*/ 1488281 w 8405893"/>
                  <a:gd name="connsiteY117" fmla="*/ 457564 h 1283857"/>
                  <a:gd name="connsiteX118" fmla="*/ 1412081 w 8405893"/>
                  <a:gd name="connsiteY118" fmla="*/ 443276 h 1283857"/>
                  <a:gd name="connsiteX119" fmla="*/ 1333500 w 8405893"/>
                  <a:gd name="connsiteY119" fmla="*/ 469470 h 1283857"/>
                  <a:gd name="connsiteX120" fmla="*/ 1273969 w 8405893"/>
                  <a:gd name="connsiteY120" fmla="*/ 517094 h 1283857"/>
                  <a:gd name="connsiteX121" fmla="*/ 1200150 w 8405893"/>
                  <a:gd name="connsiteY121" fmla="*/ 529001 h 1283857"/>
                  <a:gd name="connsiteX122" fmla="*/ 1164431 w 8405893"/>
                  <a:gd name="connsiteY122" fmla="*/ 521857 h 1283857"/>
                  <a:gd name="connsiteX123" fmla="*/ 1085851 w 8405893"/>
                  <a:gd name="connsiteY123" fmla="*/ 552814 h 1283857"/>
                  <a:gd name="connsiteX124" fmla="*/ 1064419 w 8405893"/>
                  <a:gd name="connsiteY124" fmla="*/ 581389 h 1283857"/>
                  <a:gd name="connsiteX125" fmla="*/ 997744 w 8405893"/>
                  <a:gd name="connsiteY125" fmla="*/ 571864 h 1283857"/>
                  <a:gd name="connsiteX126" fmla="*/ 928688 w 8405893"/>
                  <a:gd name="connsiteY126" fmla="*/ 595676 h 1283857"/>
                  <a:gd name="connsiteX127" fmla="*/ 873919 w 8405893"/>
                  <a:gd name="connsiteY127" fmla="*/ 633776 h 1283857"/>
                  <a:gd name="connsiteX128" fmla="*/ 778669 w 8405893"/>
                  <a:gd name="connsiteY128" fmla="*/ 648063 h 1283857"/>
                  <a:gd name="connsiteX129" fmla="*/ 764381 w 8405893"/>
                  <a:gd name="connsiteY129" fmla="*/ 669495 h 1283857"/>
                  <a:gd name="connsiteX130" fmla="*/ 776287 w 8405893"/>
                  <a:gd name="connsiteY130" fmla="*/ 714739 h 1283857"/>
                  <a:gd name="connsiteX131" fmla="*/ 676276 w 8405893"/>
                  <a:gd name="connsiteY131" fmla="*/ 767126 h 1283857"/>
                  <a:gd name="connsiteX132" fmla="*/ 638175 w 8405893"/>
                  <a:gd name="connsiteY132" fmla="*/ 738550 h 1283857"/>
                  <a:gd name="connsiteX133" fmla="*/ 607219 w 8405893"/>
                  <a:gd name="connsiteY133" fmla="*/ 795701 h 1283857"/>
                  <a:gd name="connsiteX134" fmla="*/ 550069 w 8405893"/>
                  <a:gd name="connsiteY134" fmla="*/ 757601 h 1283857"/>
                  <a:gd name="connsiteX135" fmla="*/ 514350 w 8405893"/>
                  <a:gd name="connsiteY135" fmla="*/ 786176 h 1283857"/>
                  <a:gd name="connsiteX136" fmla="*/ 478631 w 8405893"/>
                  <a:gd name="connsiteY136" fmla="*/ 750457 h 1283857"/>
                  <a:gd name="connsiteX137" fmla="*/ 426244 w 8405893"/>
                  <a:gd name="connsiteY137" fmla="*/ 762364 h 1283857"/>
                  <a:gd name="connsiteX138" fmla="*/ 381000 w 8405893"/>
                  <a:gd name="connsiteY138" fmla="*/ 733789 h 1283857"/>
                  <a:gd name="connsiteX139" fmla="*/ 357188 w 8405893"/>
                  <a:gd name="connsiteY139" fmla="*/ 752839 h 1283857"/>
                  <a:gd name="connsiteX140" fmla="*/ 333375 w 8405893"/>
                  <a:gd name="connsiteY140" fmla="*/ 812370 h 1283857"/>
                  <a:gd name="connsiteX141" fmla="*/ 261938 w 8405893"/>
                  <a:gd name="connsiteY141" fmla="*/ 850469 h 1283857"/>
                  <a:gd name="connsiteX142" fmla="*/ 209550 w 8405893"/>
                  <a:gd name="connsiteY142" fmla="*/ 821895 h 1283857"/>
                  <a:gd name="connsiteX143" fmla="*/ 119063 w 8405893"/>
                  <a:gd name="connsiteY143" fmla="*/ 831420 h 1283857"/>
                  <a:gd name="connsiteX144" fmla="*/ 71437 w 8405893"/>
                  <a:gd name="connsiteY144" fmla="*/ 798083 h 1283857"/>
                  <a:gd name="connsiteX145" fmla="*/ 0 w 8405893"/>
                  <a:gd name="connsiteY145" fmla="*/ 817132 h 1283857"/>
                  <a:gd name="connsiteX146" fmla="*/ 4762 w 8405893"/>
                  <a:gd name="connsiteY146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339218 w 8405893"/>
                  <a:gd name="connsiteY2" fmla="*/ 614362 h 1283857"/>
                  <a:gd name="connsiteX3" fmla="*/ 8205868 w 8405893"/>
                  <a:gd name="connsiteY3" fmla="*/ 671512 h 1283857"/>
                  <a:gd name="connsiteX4" fmla="*/ 8039180 w 8405893"/>
                  <a:gd name="connsiteY4" fmla="*/ 881062 h 1283857"/>
                  <a:gd name="connsiteX5" fmla="*/ 7929643 w 8405893"/>
                  <a:gd name="connsiteY5" fmla="*/ 838200 h 1283857"/>
                  <a:gd name="connsiteX6" fmla="*/ 7867730 w 8405893"/>
                  <a:gd name="connsiteY6" fmla="*/ 862012 h 1283857"/>
                  <a:gd name="connsiteX7" fmla="*/ 7703343 w 8405893"/>
                  <a:gd name="connsiteY7" fmla="*/ 807607 h 1283857"/>
                  <a:gd name="connsiteX8" fmla="*/ 7696200 w 8405893"/>
                  <a:gd name="connsiteY8" fmla="*/ 779032 h 1283857"/>
                  <a:gd name="connsiteX9" fmla="*/ 7567613 w 8405893"/>
                  <a:gd name="connsiteY9" fmla="*/ 757601 h 1283857"/>
                  <a:gd name="connsiteX10" fmla="*/ 7384257 w 8405893"/>
                  <a:gd name="connsiteY10" fmla="*/ 836182 h 1283857"/>
                  <a:gd name="connsiteX11" fmla="*/ 7227093 w 8405893"/>
                  <a:gd name="connsiteY11" fmla="*/ 721882 h 1283857"/>
                  <a:gd name="connsiteX12" fmla="*/ 7150894 w 8405893"/>
                  <a:gd name="connsiteY12" fmla="*/ 729026 h 1283857"/>
                  <a:gd name="connsiteX13" fmla="*/ 7077075 w 8405893"/>
                  <a:gd name="connsiteY13" fmla="*/ 724264 h 1283857"/>
                  <a:gd name="connsiteX14" fmla="*/ 6938963 w 8405893"/>
                  <a:gd name="connsiteY14" fmla="*/ 829039 h 1283857"/>
                  <a:gd name="connsiteX15" fmla="*/ 6831806 w 8405893"/>
                  <a:gd name="connsiteY15" fmla="*/ 936195 h 1283857"/>
                  <a:gd name="connsiteX16" fmla="*/ 6788944 w 8405893"/>
                  <a:gd name="connsiteY16" fmla="*/ 1005251 h 1283857"/>
                  <a:gd name="connsiteX17" fmla="*/ 6796088 w 8405893"/>
                  <a:gd name="connsiteY17" fmla="*/ 1040970 h 1283857"/>
                  <a:gd name="connsiteX18" fmla="*/ 6734175 w 8405893"/>
                  <a:gd name="connsiteY18" fmla="*/ 1052876 h 1283857"/>
                  <a:gd name="connsiteX19" fmla="*/ 6753225 w 8405893"/>
                  <a:gd name="connsiteY19" fmla="*/ 1052876 h 1283857"/>
                  <a:gd name="connsiteX20" fmla="*/ 6719888 w 8405893"/>
                  <a:gd name="connsiteY20" fmla="*/ 1083832 h 1283857"/>
                  <a:gd name="connsiteX21" fmla="*/ 6619875 w 8405893"/>
                  <a:gd name="connsiteY21" fmla="*/ 1083833 h 1283857"/>
                  <a:gd name="connsiteX22" fmla="*/ 6524625 w 8405893"/>
                  <a:gd name="connsiteY22" fmla="*/ 1138601 h 1283857"/>
                  <a:gd name="connsiteX23" fmla="*/ 6443663 w 8405893"/>
                  <a:gd name="connsiteY23" fmla="*/ 1148126 h 1283857"/>
                  <a:gd name="connsiteX24" fmla="*/ 6403181 w 8405893"/>
                  <a:gd name="connsiteY24" fmla="*/ 1181464 h 1283857"/>
                  <a:gd name="connsiteX25" fmla="*/ 6353175 w 8405893"/>
                  <a:gd name="connsiteY25" fmla="*/ 1186226 h 1283857"/>
                  <a:gd name="connsiteX26" fmla="*/ 6231732 w 8405893"/>
                  <a:gd name="connsiteY26" fmla="*/ 1279095 h 1283857"/>
                  <a:gd name="connsiteX27" fmla="*/ 6172200 w 8405893"/>
                  <a:gd name="connsiteY27" fmla="*/ 1283857 h 1283857"/>
                  <a:gd name="connsiteX28" fmla="*/ 6119813 w 8405893"/>
                  <a:gd name="connsiteY28" fmla="*/ 1248139 h 1283857"/>
                  <a:gd name="connsiteX29" fmla="*/ 6093619 w 8405893"/>
                  <a:gd name="connsiteY29" fmla="*/ 1283857 h 1283857"/>
                  <a:gd name="connsiteX30" fmla="*/ 5895975 w 8405893"/>
                  <a:gd name="connsiteY30" fmla="*/ 1276714 h 1283857"/>
                  <a:gd name="connsiteX31" fmla="*/ 5834063 w 8405893"/>
                  <a:gd name="connsiteY31" fmla="*/ 1231470 h 1283857"/>
                  <a:gd name="connsiteX32" fmla="*/ 5636419 w 8405893"/>
                  <a:gd name="connsiteY32" fmla="*/ 1248139 h 1283857"/>
                  <a:gd name="connsiteX33" fmla="*/ 5548313 w 8405893"/>
                  <a:gd name="connsiteY33" fmla="*/ 1164794 h 1283857"/>
                  <a:gd name="connsiteX34" fmla="*/ 5472113 w 8405893"/>
                  <a:gd name="connsiteY34" fmla="*/ 1119551 h 1283857"/>
                  <a:gd name="connsiteX35" fmla="*/ 5474493 w 8405893"/>
                  <a:gd name="connsiteY35" fmla="*/ 1062401 h 1283857"/>
                  <a:gd name="connsiteX36" fmla="*/ 5455444 w 8405893"/>
                  <a:gd name="connsiteY36" fmla="*/ 1019538 h 1283857"/>
                  <a:gd name="connsiteX37" fmla="*/ 5360194 w 8405893"/>
                  <a:gd name="connsiteY37" fmla="*/ 1021920 h 1283857"/>
                  <a:gd name="connsiteX38" fmla="*/ 5264944 w 8405893"/>
                  <a:gd name="connsiteY38" fmla="*/ 1000489 h 1283857"/>
                  <a:gd name="connsiteX39" fmla="*/ 5195887 w 8405893"/>
                  <a:gd name="connsiteY39" fmla="*/ 933813 h 1283857"/>
                  <a:gd name="connsiteX40" fmla="*/ 5160169 w 8405893"/>
                  <a:gd name="connsiteY40" fmla="*/ 890951 h 1283857"/>
                  <a:gd name="connsiteX41" fmla="*/ 5079206 w 8405893"/>
                  <a:gd name="connsiteY41" fmla="*/ 867138 h 1283857"/>
                  <a:gd name="connsiteX42" fmla="*/ 5005388 w 8405893"/>
                  <a:gd name="connsiteY42" fmla="*/ 879044 h 1283857"/>
                  <a:gd name="connsiteX43" fmla="*/ 4948237 w 8405893"/>
                  <a:gd name="connsiteY43" fmla="*/ 826657 h 1283857"/>
                  <a:gd name="connsiteX44" fmla="*/ 4852988 w 8405893"/>
                  <a:gd name="connsiteY44" fmla="*/ 838564 h 1283857"/>
                  <a:gd name="connsiteX45" fmla="*/ 4800600 w 8405893"/>
                  <a:gd name="connsiteY45" fmla="*/ 812370 h 1283857"/>
                  <a:gd name="connsiteX46" fmla="*/ 4719638 w 8405893"/>
                  <a:gd name="connsiteY46" fmla="*/ 855232 h 1283857"/>
                  <a:gd name="connsiteX47" fmla="*/ 4581525 w 8405893"/>
                  <a:gd name="connsiteY47" fmla="*/ 879045 h 1283857"/>
                  <a:gd name="connsiteX48" fmla="*/ 4452938 w 8405893"/>
                  <a:gd name="connsiteY48" fmla="*/ 971914 h 1283857"/>
                  <a:gd name="connsiteX49" fmla="*/ 4405312 w 8405893"/>
                  <a:gd name="connsiteY49" fmla="*/ 933814 h 1283857"/>
                  <a:gd name="connsiteX50" fmla="*/ 4383881 w 8405893"/>
                  <a:gd name="connsiteY50" fmla="*/ 964769 h 1283857"/>
                  <a:gd name="connsiteX51" fmla="*/ 4310063 w 8405893"/>
                  <a:gd name="connsiteY51" fmla="*/ 914764 h 1283857"/>
                  <a:gd name="connsiteX52" fmla="*/ 4271963 w 8405893"/>
                  <a:gd name="connsiteY52" fmla="*/ 921907 h 1283857"/>
                  <a:gd name="connsiteX53" fmla="*/ 4250531 w 8405893"/>
                  <a:gd name="connsiteY53" fmla="*/ 883807 h 1283857"/>
                  <a:gd name="connsiteX54" fmla="*/ 4191000 w 8405893"/>
                  <a:gd name="connsiteY54" fmla="*/ 888570 h 1283857"/>
                  <a:gd name="connsiteX55" fmla="*/ 4145756 w 8405893"/>
                  <a:gd name="connsiteY55" fmla="*/ 859995 h 1283857"/>
                  <a:gd name="connsiteX56" fmla="*/ 4107656 w 8405893"/>
                  <a:gd name="connsiteY56" fmla="*/ 857614 h 1283857"/>
                  <a:gd name="connsiteX57" fmla="*/ 4088606 w 8405893"/>
                  <a:gd name="connsiteY57" fmla="*/ 809988 h 1283857"/>
                  <a:gd name="connsiteX58" fmla="*/ 4074319 w 8405893"/>
                  <a:gd name="connsiteY58" fmla="*/ 779032 h 1283857"/>
                  <a:gd name="connsiteX59" fmla="*/ 4029075 w 8405893"/>
                  <a:gd name="connsiteY59" fmla="*/ 788557 h 1283857"/>
                  <a:gd name="connsiteX60" fmla="*/ 4010025 w 8405893"/>
                  <a:gd name="connsiteY60" fmla="*/ 752839 h 1283857"/>
                  <a:gd name="connsiteX61" fmla="*/ 4031457 w 8405893"/>
                  <a:gd name="connsiteY61" fmla="*/ 698070 h 1283857"/>
                  <a:gd name="connsiteX62" fmla="*/ 4000500 w 8405893"/>
                  <a:gd name="connsiteY62" fmla="*/ 671876 h 1283857"/>
                  <a:gd name="connsiteX63" fmla="*/ 4017169 w 8405893"/>
                  <a:gd name="connsiteY63" fmla="*/ 629014 h 1283857"/>
                  <a:gd name="connsiteX64" fmla="*/ 3990975 w 8405893"/>
                  <a:gd name="connsiteY64" fmla="*/ 586151 h 1283857"/>
                  <a:gd name="connsiteX65" fmla="*/ 3986213 w 8405893"/>
                  <a:gd name="connsiteY65" fmla="*/ 524239 h 1283857"/>
                  <a:gd name="connsiteX66" fmla="*/ 4010025 w 8405893"/>
                  <a:gd name="connsiteY66" fmla="*/ 459944 h 1283857"/>
                  <a:gd name="connsiteX67" fmla="*/ 3971925 w 8405893"/>
                  <a:gd name="connsiteY67" fmla="*/ 462326 h 1283857"/>
                  <a:gd name="connsiteX68" fmla="*/ 3852863 w 8405893"/>
                  <a:gd name="connsiteY68" fmla="*/ 405176 h 1283857"/>
                  <a:gd name="connsiteX69" fmla="*/ 3814762 w 8405893"/>
                  <a:gd name="connsiteY69" fmla="*/ 409938 h 1283857"/>
                  <a:gd name="connsiteX70" fmla="*/ 3609975 w 8405893"/>
                  <a:gd name="connsiteY70" fmla="*/ 300401 h 1283857"/>
                  <a:gd name="connsiteX71" fmla="*/ 3505200 w 8405893"/>
                  <a:gd name="connsiteY71" fmla="*/ 269445 h 1283857"/>
                  <a:gd name="connsiteX72" fmla="*/ 3440906 w 8405893"/>
                  <a:gd name="connsiteY72" fmla="*/ 278969 h 1283857"/>
                  <a:gd name="connsiteX73" fmla="*/ 3409950 w 8405893"/>
                  <a:gd name="connsiteY73" fmla="*/ 214676 h 1283857"/>
                  <a:gd name="connsiteX74" fmla="*/ 3352800 w 8405893"/>
                  <a:gd name="connsiteY74" fmla="*/ 214676 h 1283857"/>
                  <a:gd name="connsiteX75" fmla="*/ 3214687 w 8405893"/>
                  <a:gd name="connsiteY75" fmla="*/ 109901 h 1283857"/>
                  <a:gd name="connsiteX76" fmla="*/ 3181350 w 8405893"/>
                  <a:gd name="connsiteY76" fmla="*/ 169433 h 1283857"/>
                  <a:gd name="connsiteX77" fmla="*/ 3126581 w 8405893"/>
                  <a:gd name="connsiteY77" fmla="*/ 238489 h 1283857"/>
                  <a:gd name="connsiteX78" fmla="*/ 3083719 w 8405893"/>
                  <a:gd name="connsiteY78" fmla="*/ 255157 h 1283857"/>
                  <a:gd name="connsiteX79" fmla="*/ 3052763 w 8405893"/>
                  <a:gd name="connsiteY79" fmla="*/ 248014 h 1283857"/>
                  <a:gd name="connsiteX80" fmla="*/ 3028950 w 8405893"/>
                  <a:gd name="connsiteY80" fmla="*/ 276589 h 1283857"/>
                  <a:gd name="connsiteX81" fmla="*/ 3002756 w 8405893"/>
                  <a:gd name="connsiteY81" fmla="*/ 355170 h 1283857"/>
                  <a:gd name="connsiteX82" fmla="*/ 2959894 w 8405893"/>
                  <a:gd name="connsiteY82" fmla="*/ 352789 h 1283857"/>
                  <a:gd name="connsiteX83" fmla="*/ 2928937 w 8405893"/>
                  <a:gd name="connsiteY83" fmla="*/ 414701 h 1283857"/>
                  <a:gd name="connsiteX84" fmla="*/ 2924175 w 8405893"/>
                  <a:gd name="connsiteY84" fmla="*/ 478995 h 1283857"/>
                  <a:gd name="connsiteX85" fmla="*/ 2897982 w 8405893"/>
                  <a:gd name="connsiteY85" fmla="*/ 517095 h 1283857"/>
                  <a:gd name="connsiteX86" fmla="*/ 2924175 w 8405893"/>
                  <a:gd name="connsiteY86" fmla="*/ 576626 h 1283857"/>
                  <a:gd name="connsiteX87" fmla="*/ 2926556 w 8405893"/>
                  <a:gd name="connsiteY87" fmla="*/ 645682 h 1283857"/>
                  <a:gd name="connsiteX88" fmla="*/ 2955131 w 8405893"/>
                  <a:gd name="connsiteY88" fmla="*/ 698070 h 1283857"/>
                  <a:gd name="connsiteX89" fmla="*/ 3002757 w 8405893"/>
                  <a:gd name="connsiteY89" fmla="*/ 752839 h 1283857"/>
                  <a:gd name="connsiteX90" fmla="*/ 2952750 w 8405893"/>
                  <a:gd name="connsiteY90" fmla="*/ 890951 h 1283857"/>
                  <a:gd name="connsiteX91" fmla="*/ 2883694 w 8405893"/>
                  <a:gd name="connsiteY91" fmla="*/ 957626 h 1283857"/>
                  <a:gd name="connsiteX92" fmla="*/ 2812256 w 8405893"/>
                  <a:gd name="connsiteY92" fmla="*/ 952864 h 1283857"/>
                  <a:gd name="connsiteX93" fmla="*/ 2774156 w 8405893"/>
                  <a:gd name="connsiteY93" fmla="*/ 1010014 h 1283857"/>
                  <a:gd name="connsiteX94" fmla="*/ 2714625 w 8405893"/>
                  <a:gd name="connsiteY94" fmla="*/ 1024301 h 1283857"/>
                  <a:gd name="connsiteX95" fmla="*/ 2645569 w 8405893"/>
                  <a:gd name="connsiteY95" fmla="*/ 964770 h 1283857"/>
                  <a:gd name="connsiteX96" fmla="*/ 2590800 w 8405893"/>
                  <a:gd name="connsiteY96" fmla="*/ 936195 h 1283857"/>
                  <a:gd name="connsiteX97" fmla="*/ 2547938 w 8405893"/>
                  <a:gd name="connsiteY97" fmla="*/ 950482 h 1283857"/>
                  <a:gd name="connsiteX98" fmla="*/ 2495550 w 8405893"/>
                  <a:gd name="connsiteY98" fmla="*/ 933814 h 1283857"/>
                  <a:gd name="connsiteX99" fmla="*/ 2428875 w 8405893"/>
                  <a:gd name="connsiteY99" fmla="*/ 879045 h 1283857"/>
                  <a:gd name="connsiteX100" fmla="*/ 2383631 w 8405893"/>
                  <a:gd name="connsiteY100" fmla="*/ 890951 h 1283857"/>
                  <a:gd name="connsiteX101" fmla="*/ 2362200 w 8405893"/>
                  <a:gd name="connsiteY101" fmla="*/ 859995 h 1283857"/>
                  <a:gd name="connsiteX102" fmla="*/ 2305050 w 8405893"/>
                  <a:gd name="connsiteY102" fmla="*/ 900476 h 1283857"/>
                  <a:gd name="connsiteX103" fmla="*/ 2188369 w 8405893"/>
                  <a:gd name="connsiteY103" fmla="*/ 879045 h 1283857"/>
                  <a:gd name="connsiteX104" fmla="*/ 2138363 w 8405893"/>
                  <a:gd name="connsiteY104" fmla="*/ 826657 h 1283857"/>
                  <a:gd name="connsiteX105" fmla="*/ 2095500 w 8405893"/>
                  <a:gd name="connsiteY105" fmla="*/ 812370 h 1283857"/>
                  <a:gd name="connsiteX106" fmla="*/ 2052638 w 8405893"/>
                  <a:gd name="connsiteY106" fmla="*/ 838564 h 1283857"/>
                  <a:gd name="connsiteX107" fmla="*/ 2000250 w 8405893"/>
                  <a:gd name="connsiteY107" fmla="*/ 748076 h 1283857"/>
                  <a:gd name="connsiteX108" fmla="*/ 1990725 w 8405893"/>
                  <a:gd name="connsiteY108" fmla="*/ 600438 h 1283857"/>
                  <a:gd name="connsiteX109" fmla="*/ 1938337 w 8405893"/>
                  <a:gd name="connsiteY109" fmla="*/ 593294 h 1283857"/>
                  <a:gd name="connsiteX110" fmla="*/ 1847850 w 8405893"/>
                  <a:gd name="connsiteY110" fmla="*/ 583770 h 1283857"/>
                  <a:gd name="connsiteX111" fmla="*/ 1793081 w 8405893"/>
                  <a:gd name="connsiteY111" fmla="*/ 545670 h 1283857"/>
                  <a:gd name="connsiteX112" fmla="*/ 1724025 w 8405893"/>
                  <a:gd name="connsiteY112" fmla="*/ 555195 h 1283857"/>
                  <a:gd name="connsiteX113" fmla="*/ 1678781 w 8405893"/>
                  <a:gd name="connsiteY113" fmla="*/ 529001 h 1283857"/>
                  <a:gd name="connsiteX114" fmla="*/ 1669257 w 8405893"/>
                  <a:gd name="connsiteY114" fmla="*/ 457564 h 1283857"/>
                  <a:gd name="connsiteX115" fmla="*/ 1645444 w 8405893"/>
                  <a:gd name="connsiteY115" fmla="*/ 443276 h 1283857"/>
                  <a:gd name="connsiteX116" fmla="*/ 1607344 w 8405893"/>
                  <a:gd name="connsiteY116" fmla="*/ 490900 h 1283857"/>
                  <a:gd name="connsiteX117" fmla="*/ 1528762 w 8405893"/>
                  <a:gd name="connsiteY117" fmla="*/ 417082 h 1283857"/>
                  <a:gd name="connsiteX118" fmla="*/ 1488281 w 8405893"/>
                  <a:gd name="connsiteY118" fmla="*/ 457564 h 1283857"/>
                  <a:gd name="connsiteX119" fmla="*/ 1412081 w 8405893"/>
                  <a:gd name="connsiteY119" fmla="*/ 443276 h 1283857"/>
                  <a:gd name="connsiteX120" fmla="*/ 1333500 w 8405893"/>
                  <a:gd name="connsiteY120" fmla="*/ 469470 h 1283857"/>
                  <a:gd name="connsiteX121" fmla="*/ 1273969 w 8405893"/>
                  <a:gd name="connsiteY121" fmla="*/ 517094 h 1283857"/>
                  <a:gd name="connsiteX122" fmla="*/ 1200150 w 8405893"/>
                  <a:gd name="connsiteY122" fmla="*/ 529001 h 1283857"/>
                  <a:gd name="connsiteX123" fmla="*/ 1164431 w 8405893"/>
                  <a:gd name="connsiteY123" fmla="*/ 521857 h 1283857"/>
                  <a:gd name="connsiteX124" fmla="*/ 1085851 w 8405893"/>
                  <a:gd name="connsiteY124" fmla="*/ 552814 h 1283857"/>
                  <a:gd name="connsiteX125" fmla="*/ 1064419 w 8405893"/>
                  <a:gd name="connsiteY125" fmla="*/ 581389 h 1283857"/>
                  <a:gd name="connsiteX126" fmla="*/ 997744 w 8405893"/>
                  <a:gd name="connsiteY126" fmla="*/ 571864 h 1283857"/>
                  <a:gd name="connsiteX127" fmla="*/ 928688 w 8405893"/>
                  <a:gd name="connsiteY127" fmla="*/ 595676 h 1283857"/>
                  <a:gd name="connsiteX128" fmla="*/ 873919 w 8405893"/>
                  <a:gd name="connsiteY128" fmla="*/ 633776 h 1283857"/>
                  <a:gd name="connsiteX129" fmla="*/ 778669 w 8405893"/>
                  <a:gd name="connsiteY129" fmla="*/ 648063 h 1283857"/>
                  <a:gd name="connsiteX130" fmla="*/ 764381 w 8405893"/>
                  <a:gd name="connsiteY130" fmla="*/ 669495 h 1283857"/>
                  <a:gd name="connsiteX131" fmla="*/ 776287 w 8405893"/>
                  <a:gd name="connsiteY131" fmla="*/ 714739 h 1283857"/>
                  <a:gd name="connsiteX132" fmla="*/ 676276 w 8405893"/>
                  <a:gd name="connsiteY132" fmla="*/ 767126 h 1283857"/>
                  <a:gd name="connsiteX133" fmla="*/ 638175 w 8405893"/>
                  <a:gd name="connsiteY133" fmla="*/ 738550 h 1283857"/>
                  <a:gd name="connsiteX134" fmla="*/ 607219 w 8405893"/>
                  <a:gd name="connsiteY134" fmla="*/ 795701 h 1283857"/>
                  <a:gd name="connsiteX135" fmla="*/ 550069 w 8405893"/>
                  <a:gd name="connsiteY135" fmla="*/ 757601 h 1283857"/>
                  <a:gd name="connsiteX136" fmla="*/ 514350 w 8405893"/>
                  <a:gd name="connsiteY136" fmla="*/ 786176 h 1283857"/>
                  <a:gd name="connsiteX137" fmla="*/ 478631 w 8405893"/>
                  <a:gd name="connsiteY137" fmla="*/ 750457 h 1283857"/>
                  <a:gd name="connsiteX138" fmla="*/ 426244 w 8405893"/>
                  <a:gd name="connsiteY138" fmla="*/ 762364 h 1283857"/>
                  <a:gd name="connsiteX139" fmla="*/ 381000 w 8405893"/>
                  <a:gd name="connsiteY139" fmla="*/ 733789 h 1283857"/>
                  <a:gd name="connsiteX140" fmla="*/ 357188 w 8405893"/>
                  <a:gd name="connsiteY140" fmla="*/ 752839 h 1283857"/>
                  <a:gd name="connsiteX141" fmla="*/ 333375 w 8405893"/>
                  <a:gd name="connsiteY141" fmla="*/ 812370 h 1283857"/>
                  <a:gd name="connsiteX142" fmla="*/ 261938 w 8405893"/>
                  <a:gd name="connsiteY142" fmla="*/ 850469 h 1283857"/>
                  <a:gd name="connsiteX143" fmla="*/ 209550 w 8405893"/>
                  <a:gd name="connsiteY143" fmla="*/ 821895 h 1283857"/>
                  <a:gd name="connsiteX144" fmla="*/ 119063 w 8405893"/>
                  <a:gd name="connsiteY144" fmla="*/ 831420 h 1283857"/>
                  <a:gd name="connsiteX145" fmla="*/ 71437 w 8405893"/>
                  <a:gd name="connsiteY145" fmla="*/ 798083 h 1283857"/>
                  <a:gd name="connsiteX146" fmla="*/ 0 w 8405893"/>
                  <a:gd name="connsiteY146" fmla="*/ 817132 h 1283857"/>
                  <a:gd name="connsiteX147" fmla="*/ 4762 w 8405893"/>
                  <a:gd name="connsiteY147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339218 w 8405893"/>
                  <a:gd name="connsiteY2" fmla="*/ 485775 h 1283857"/>
                  <a:gd name="connsiteX3" fmla="*/ 8339218 w 8405893"/>
                  <a:gd name="connsiteY3" fmla="*/ 614362 h 1283857"/>
                  <a:gd name="connsiteX4" fmla="*/ 8205868 w 8405893"/>
                  <a:gd name="connsiteY4" fmla="*/ 671512 h 1283857"/>
                  <a:gd name="connsiteX5" fmla="*/ 8039180 w 8405893"/>
                  <a:gd name="connsiteY5" fmla="*/ 881062 h 1283857"/>
                  <a:gd name="connsiteX6" fmla="*/ 7929643 w 8405893"/>
                  <a:gd name="connsiteY6" fmla="*/ 838200 h 1283857"/>
                  <a:gd name="connsiteX7" fmla="*/ 7867730 w 8405893"/>
                  <a:gd name="connsiteY7" fmla="*/ 862012 h 1283857"/>
                  <a:gd name="connsiteX8" fmla="*/ 7703343 w 8405893"/>
                  <a:gd name="connsiteY8" fmla="*/ 807607 h 1283857"/>
                  <a:gd name="connsiteX9" fmla="*/ 7696200 w 8405893"/>
                  <a:gd name="connsiteY9" fmla="*/ 779032 h 1283857"/>
                  <a:gd name="connsiteX10" fmla="*/ 7567613 w 8405893"/>
                  <a:gd name="connsiteY10" fmla="*/ 757601 h 1283857"/>
                  <a:gd name="connsiteX11" fmla="*/ 7384257 w 8405893"/>
                  <a:gd name="connsiteY11" fmla="*/ 836182 h 1283857"/>
                  <a:gd name="connsiteX12" fmla="*/ 7227093 w 8405893"/>
                  <a:gd name="connsiteY12" fmla="*/ 721882 h 1283857"/>
                  <a:gd name="connsiteX13" fmla="*/ 7150894 w 8405893"/>
                  <a:gd name="connsiteY13" fmla="*/ 729026 h 1283857"/>
                  <a:gd name="connsiteX14" fmla="*/ 7077075 w 8405893"/>
                  <a:gd name="connsiteY14" fmla="*/ 724264 h 1283857"/>
                  <a:gd name="connsiteX15" fmla="*/ 6938963 w 8405893"/>
                  <a:gd name="connsiteY15" fmla="*/ 829039 h 1283857"/>
                  <a:gd name="connsiteX16" fmla="*/ 6831806 w 8405893"/>
                  <a:gd name="connsiteY16" fmla="*/ 936195 h 1283857"/>
                  <a:gd name="connsiteX17" fmla="*/ 6788944 w 8405893"/>
                  <a:gd name="connsiteY17" fmla="*/ 1005251 h 1283857"/>
                  <a:gd name="connsiteX18" fmla="*/ 6796088 w 8405893"/>
                  <a:gd name="connsiteY18" fmla="*/ 1040970 h 1283857"/>
                  <a:gd name="connsiteX19" fmla="*/ 6734175 w 8405893"/>
                  <a:gd name="connsiteY19" fmla="*/ 1052876 h 1283857"/>
                  <a:gd name="connsiteX20" fmla="*/ 6753225 w 8405893"/>
                  <a:gd name="connsiteY20" fmla="*/ 1052876 h 1283857"/>
                  <a:gd name="connsiteX21" fmla="*/ 6719888 w 8405893"/>
                  <a:gd name="connsiteY21" fmla="*/ 1083832 h 1283857"/>
                  <a:gd name="connsiteX22" fmla="*/ 6619875 w 8405893"/>
                  <a:gd name="connsiteY22" fmla="*/ 1083833 h 1283857"/>
                  <a:gd name="connsiteX23" fmla="*/ 6524625 w 8405893"/>
                  <a:gd name="connsiteY23" fmla="*/ 1138601 h 1283857"/>
                  <a:gd name="connsiteX24" fmla="*/ 6443663 w 8405893"/>
                  <a:gd name="connsiteY24" fmla="*/ 1148126 h 1283857"/>
                  <a:gd name="connsiteX25" fmla="*/ 6403181 w 8405893"/>
                  <a:gd name="connsiteY25" fmla="*/ 1181464 h 1283857"/>
                  <a:gd name="connsiteX26" fmla="*/ 6353175 w 8405893"/>
                  <a:gd name="connsiteY26" fmla="*/ 1186226 h 1283857"/>
                  <a:gd name="connsiteX27" fmla="*/ 6231732 w 8405893"/>
                  <a:gd name="connsiteY27" fmla="*/ 1279095 h 1283857"/>
                  <a:gd name="connsiteX28" fmla="*/ 6172200 w 8405893"/>
                  <a:gd name="connsiteY28" fmla="*/ 1283857 h 1283857"/>
                  <a:gd name="connsiteX29" fmla="*/ 6119813 w 8405893"/>
                  <a:gd name="connsiteY29" fmla="*/ 1248139 h 1283857"/>
                  <a:gd name="connsiteX30" fmla="*/ 6093619 w 8405893"/>
                  <a:gd name="connsiteY30" fmla="*/ 1283857 h 1283857"/>
                  <a:gd name="connsiteX31" fmla="*/ 5895975 w 8405893"/>
                  <a:gd name="connsiteY31" fmla="*/ 1276714 h 1283857"/>
                  <a:gd name="connsiteX32" fmla="*/ 5834063 w 8405893"/>
                  <a:gd name="connsiteY32" fmla="*/ 1231470 h 1283857"/>
                  <a:gd name="connsiteX33" fmla="*/ 5636419 w 8405893"/>
                  <a:gd name="connsiteY33" fmla="*/ 1248139 h 1283857"/>
                  <a:gd name="connsiteX34" fmla="*/ 5548313 w 8405893"/>
                  <a:gd name="connsiteY34" fmla="*/ 1164794 h 1283857"/>
                  <a:gd name="connsiteX35" fmla="*/ 5472113 w 8405893"/>
                  <a:gd name="connsiteY35" fmla="*/ 1119551 h 1283857"/>
                  <a:gd name="connsiteX36" fmla="*/ 5474493 w 8405893"/>
                  <a:gd name="connsiteY36" fmla="*/ 1062401 h 1283857"/>
                  <a:gd name="connsiteX37" fmla="*/ 5455444 w 8405893"/>
                  <a:gd name="connsiteY37" fmla="*/ 1019538 h 1283857"/>
                  <a:gd name="connsiteX38" fmla="*/ 5360194 w 8405893"/>
                  <a:gd name="connsiteY38" fmla="*/ 1021920 h 1283857"/>
                  <a:gd name="connsiteX39" fmla="*/ 5264944 w 8405893"/>
                  <a:gd name="connsiteY39" fmla="*/ 1000489 h 1283857"/>
                  <a:gd name="connsiteX40" fmla="*/ 5195887 w 8405893"/>
                  <a:gd name="connsiteY40" fmla="*/ 933813 h 1283857"/>
                  <a:gd name="connsiteX41" fmla="*/ 5160169 w 8405893"/>
                  <a:gd name="connsiteY41" fmla="*/ 890951 h 1283857"/>
                  <a:gd name="connsiteX42" fmla="*/ 5079206 w 8405893"/>
                  <a:gd name="connsiteY42" fmla="*/ 867138 h 1283857"/>
                  <a:gd name="connsiteX43" fmla="*/ 5005388 w 8405893"/>
                  <a:gd name="connsiteY43" fmla="*/ 879044 h 1283857"/>
                  <a:gd name="connsiteX44" fmla="*/ 4948237 w 8405893"/>
                  <a:gd name="connsiteY44" fmla="*/ 826657 h 1283857"/>
                  <a:gd name="connsiteX45" fmla="*/ 4852988 w 8405893"/>
                  <a:gd name="connsiteY45" fmla="*/ 838564 h 1283857"/>
                  <a:gd name="connsiteX46" fmla="*/ 4800600 w 8405893"/>
                  <a:gd name="connsiteY46" fmla="*/ 812370 h 1283857"/>
                  <a:gd name="connsiteX47" fmla="*/ 4719638 w 8405893"/>
                  <a:gd name="connsiteY47" fmla="*/ 855232 h 1283857"/>
                  <a:gd name="connsiteX48" fmla="*/ 4581525 w 8405893"/>
                  <a:gd name="connsiteY48" fmla="*/ 879045 h 1283857"/>
                  <a:gd name="connsiteX49" fmla="*/ 4452938 w 8405893"/>
                  <a:gd name="connsiteY49" fmla="*/ 971914 h 1283857"/>
                  <a:gd name="connsiteX50" fmla="*/ 4405312 w 8405893"/>
                  <a:gd name="connsiteY50" fmla="*/ 933814 h 1283857"/>
                  <a:gd name="connsiteX51" fmla="*/ 4383881 w 8405893"/>
                  <a:gd name="connsiteY51" fmla="*/ 964769 h 1283857"/>
                  <a:gd name="connsiteX52" fmla="*/ 4310063 w 8405893"/>
                  <a:gd name="connsiteY52" fmla="*/ 914764 h 1283857"/>
                  <a:gd name="connsiteX53" fmla="*/ 4271963 w 8405893"/>
                  <a:gd name="connsiteY53" fmla="*/ 921907 h 1283857"/>
                  <a:gd name="connsiteX54" fmla="*/ 4250531 w 8405893"/>
                  <a:gd name="connsiteY54" fmla="*/ 883807 h 1283857"/>
                  <a:gd name="connsiteX55" fmla="*/ 4191000 w 8405893"/>
                  <a:gd name="connsiteY55" fmla="*/ 888570 h 1283857"/>
                  <a:gd name="connsiteX56" fmla="*/ 4145756 w 8405893"/>
                  <a:gd name="connsiteY56" fmla="*/ 859995 h 1283857"/>
                  <a:gd name="connsiteX57" fmla="*/ 4107656 w 8405893"/>
                  <a:gd name="connsiteY57" fmla="*/ 857614 h 1283857"/>
                  <a:gd name="connsiteX58" fmla="*/ 4088606 w 8405893"/>
                  <a:gd name="connsiteY58" fmla="*/ 809988 h 1283857"/>
                  <a:gd name="connsiteX59" fmla="*/ 4074319 w 8405893"/>
                  <a:gd name="connsiteY59" fmla="*/ 779032 h 1283857"/>
                  <a:gd name="connsiteX60" fmla="*/ 4029075 w 8405893"/>
                  <a:gd name="connsiteY60" fmla="*/ 788557 h 1283857"/>
                  <a:gd name="connsiteX61" fmla="*/ 4010025 w 8405893"/>
                  <a:gd name="connsiteY61" fmla="*/ 752839 h 1283857"/>
                  <a:gd name="connsiteX62" fmla="*/ 4031457 w 8405893"/>
                  <a:gd name="connsiteY62" fmla="*/ 698070 h 1283857"/>
                  <a:gd name="connsiteX63" fmla="*/ 4000500 w 8405893"/>
                  <a:gd name="connsiteY63" fmla="*/ 671876 h 1283857"/>
                  <a:gd name="connsiteX64" fmla="*/ 4017169 w 8405893"/>
                  <a:gd name="connsiteY64" fmla="*/ 629014 h 1283857"/>
                  <a:gd name="connsiteX65" fmla="*/ 3990975 w 8405893"/>
                  <a:gd name="connsiteY65" fmla="*/ 586151 h 1283857"/>
                  <a:gd name="connsiteX66" fmla="*/ 3986213 w 8405893"/>
                  <a:gd name="connsiteY66" fmla="*/ 524239 h 1283857"/>
                  <a:gd name="connsiteX67" fmla="*/ 4010025 w 8405893"/>
                  <a:gd name="connsiteY67" fmla="*/ 459944 h 1283857"/>
                  <a:gd name="connsiteX68" fmla="*/ 3971925 w 8405893"/>
                  <a:gd name="connsiteY68" fmla="*/ 462326 h 1283857"/>
                  <a:gd name="connsiteX69" fmla="*/ 3852863 w 8405893"/>
                  <a:gd name="connsiteY69" fmla="*/ 405176 h 1283857"/>
                  <a:gd name="connsiteX70" fmla="*/ 3814762 w 8405893"/>
                  <a:gd name="connsiteY70" fmla="*/ 409938 h 1283857"/>
                  <a:gd name="connsiteX71" fmla="*/ 3609975 w 8405893"/>
                  <a:gd name="connsiteY71" fmla="*/ 300401 h 1283857"/>
                  <a:gd name="connsiteX72" fmla="*/ 3505200 w 8405893"/>
                  <a:gd name="connsiteY72" fmla="*/ 269445 h 1283857"/>
                  <a:gd name="connsiteX73" fmla="*/ 3440906 w 8405893"/>
                  <a:gd name="connsiteY73" fmla="*/ 278969 h 1283857"/>
                  <a:gd name="connsiteX74" fmla="*/ 3409950 w 8405893"/>
                  <a:gd name="connsiteY74" fmla="*/ 214676 h 1283857"/>
                  <a:gd name="connsiteX75" fmla="*/ 3352800 w 8405893"/>
                  <a:gd name="connsiteY75" fmla="*/ 214676 h 1283857"/>
                  <a:gd name="connsiteX76" fmla="*/ 3214687 w 8405893"/>
                  <a:gd name="connsiteY76" fmla="*/ 109901 h 1283857"/>
                  <a:gd name="connsiteX77" fmla="*/ 3181350 w 8405893"/>
                  <a:gd name="connsiteY77" fmla="*/ 169433 h 1283857"/>
                  <a:gd name="connsiteX78" fmla="*/ 3126581 w 8405893"/>
                  <a:gd name="connsiteY78" fmla="*/ 238489 h 1283857"/>
                  <a:gd name="connsiteX79" fmla="*/ 3083719 w 8405893"/>
                  <a:gd name="connsiteY79" fmla="*/ 255157 h 1283857"/>
                  <a:gd name="connsiteX80" fmla="*/ 3052763 w 8405893"/>
                  <a:gd name="connsiteY80" fmla="*/ 248014 h 1283857"/>
                  <a:gd name="connsiteX81" fmla="*/ 3028950 w 8405893"/>
                  <a:gd name="connsiteY81" fmla="*/ 276589 h 1283857"/>
                  <a:gd name="connsiteX82" fmla="*/ 3002756 w 8405893"/>
                  <a:gd name="connsiteY82" fmla="*/ 355170 h 1283857"/>
                  <a:gd name="connsiteX83" fmla="*/ 2959894 w 8405893"/>
                  <a:gd name="connsiteY83" fmla="*/ 352789 h 1283857"/>
                  <a:gd name="connsiteX84" fmla="*/ 2928937 w 8405893"/>
                  <a:gd name="connsiteY84" fmla="*/ 414701 h 1283857"/>
                  <a:gd name="connsiteX85" fmla="*/ 2924175 w 8405893"/>
                  <a:gd name="connsiteY85" fmla="*/ 478995 h 1283857"/>
                  <a:gd name="connsiteX86" fmla="*/ 2897982 w 8405893"/>
                  <a:gd name="connsiteY86" fmla="*/ 517095 h 1283857"/>
                  <a:gd name="connsiteX87" fmla="*/ 2924175 w 8405893"/>
                  <a:gd name="connsiteY87" fmla="*/ 576626 h 1283857"/>
                  <a:gd name="connsiteX88" fmla="*/ 2926556 w 8405893"/>
                  <a:gd name="connsiteY88" fmla="*/ 645682 h 1283857"/>
                  <a:gd name="connsiteX89" fmla="*/ 2955131 w 8405893"/>
                  <a:gd name="connsiteY89" fmla="*/ 698070 h 1283857"/>
                  <a:gd name="connsiteX90" fmla="*/ 3002757 w 8405893"/>
                  <a:gd name="connsiteY90" fmla="*/ 752839 h 1283857"/>
                  <a:gd name="connsiteX91" fmla="*/ 2952750 w 8405893"/>
                  <a:gd name="connsiteY91" fmla="*/ 890951 h 1283857"/>
                  <a:gd name="connsiteX92" fmla="*/ 2883694 w 8405893"/>
                  <a:gd name="connsiteY92" fmla="*/ 957626 h 1283857"/>
                  <a:gd name="connsiteX93" fmla="*/ 2812256 w 8405893"/>
                  <a:gd name="connsiteY93" fmla="*/ 952864 h 1283857"/>
                  <a:gd name="connsiteX94" fmla="*/ 2774156 w 8405893"/>
                  <a:gd name="connsiteY94" fmla="*/ 1010014 h 1283857"/>
                  <a:gd name="connsiteX95" fmla="*/ 2714625 w 8405893"/>
                  <a:gd name="connsiteY95" fmla="*/ 1024301 h 1283857"/>
                  <a:gd name="connsiteX96" fmla="*/ 2645569 w 8405893"/>
                  <a:gd name="connsiteY96" fmla="*/ 964770 h 1283857"/>
                  <a:gd name="connsiteX97" fmla="*/ 2590800 w 8405893"/>
                  <a:gd name="connsiteY97" fmla="*/ 936195 h 1283857"/>
                  <a:gd name="connsiteX98" fmla="*/ 2547938 w 8405893"/>
                  <a:gd name="connsiteY98" fmla="*/ 950482 h 1283857"/>
                  <a:gd name="connsiteX99" fmla="*/ 2495550 w 8405893"/>
                  <a:gd name="connsiteY99" fmla="*/ 933814 h 1283857"/>
                  <a:gd name="connsiteX100" fmla="*/ 2428875 w 8405893"/>
                  <a:gd name="connsiteY100" fmla="*/ 879045 h 1283857"/>
                  <a:gd name="connsiteX101" fmla="*/ 2383631 w 8405893"/>
                  <a:gd name="connsiteY101" fmla="*/ 890951 h 1283857"/>
                  <a:gd name="connsiteX102" fmla="*/ 2362200 w 8405893"/>
                  <a:gd name="connsiteY102" fmla="*/ 859995 h 1283857"/>
                  <a:gd name="connsiteX103" fmla="*/ 2305050 w 8405893"/>
                  <a:gd name="connsiteY103" fmla="*/ 900476 h 1283857"/>
                  <a:gd name="connsiteX104" fmla="*/ 2188369 w 8405893"/>
                  <a:gd name="connsiteY104" fmla="*/ 879045 h 1283857"/>
                  <a:gd name="connsiteX105" fmla="*/ 2138363 w 8405893"/>
                  <a:gd name="connsiteY105" fmla="*/ 826657 h 1283857"/>
                  <a:gd name="connsiteX106" fmla="*/ 2095500 w 8405893"/>
                  <a:gd name="connsiteY106" fmla="*/ 812370 h 1283857"/>
                  <a:gd name="connsiteX107" fmla="*/ 2052638 w 8405893"/>
                  <a:gd name="connsiteY107" fmla="*/ 838564 h 1283857"/>
                  <a:gd name="connsiteX108" fmla="*/ 2000250 w 8405893"/>
                  <a:gd name="connsiteY108" fmla="*/ 748076 h 1283857"/>
                  <a:gd name="connsiteX109" fmla="*/ 1990725 w 8405893"/>
                  <a:gd name="connsiteY109" fmla="*/ 600438 h 1283857"/>
                  <a:gd name="connsiteX110" fmla="*/ 1938337 w 8405893"/>
                  <a:gd name="connsiteY110" fmla="*/ 593294 h 1283857"/>
                  <a:gd name="connsiteX111" fmla="*/ 1847850 w 8405893"/>
                  <a:gd name="connsiteY111" fmla="*/ 583770 h 1283857"/>
                  <a:gd name="connsiteX112" fmla="*/ 1793081 w 8405893"/>
                  <a:gd name="connsiteY112" fmla="*/ 545670 h 1283857"/>
                  <a:gd name="connsiteX113" fmla="*/ 1724025 w 8405893"/>
                  <a:gd name="connsiteY113" fmla="*/ 555195 h 1283857"/>
                  <a:gd name="connsiteX114" fmla="*/ 1678781 w 8405893"/>
                  <a:gd name="connsiteY114" fmla="*/ 529001 h 1283857"/>
                  <a:gd name="connsiteX115" fmla="*/ 1669257 w 8405893"/>
                  <a:gd name="connsiteY115" fmla="*/ 457564 h 1283857"/>
                  <a:gd name="connsiteX116" fmla="*/ 1645444 w 8405893"/>
                  <a:gd name="connsiteY116" fmla="*/ 443276 h 1283857"/>
                  <a:gd name="connsiteX117" fmla="*/ 1607344 w 8405893"/>
                  <a:gd name="connsiteY117" fmla="*/ 490900 h 1283857"/>
                  <a:gd name="connsiteX118" fmla="*/ 1528762 w 8405893"/>
                  <a:gd name="connsiteY118" fmla="*/ 417082 h 1283857"/>
                  <a:gd name="connsiteX119" fmla="*/ 1488281 w 8405893"/>
                  <a:gd name="connsiteY119" fmla="*/ 457564 h 1283857"/>
                  <a:gd name="connsiteX120" fmla="*/ 1412081 w 8405893"/>
                  <a:gd name="connsiteY120" fmla="*/ 443276 h 1283857"/>
                  <a:gd name="connsiteX121" fmla="*/ 1333500 w 8405893"/>
                  <a:gd name="connsiteY121" fmla="*/ 469470 h 1283857"/>
                  <a:gd name="connsiteX122" fmla="*/ 1273969 w 8405893"/>
                  <a:gd name="connsiteY122" fmla="*/ 517094 h 1283857"/>
                  <a:gd name="connsiteX123" fmla="*/ 1200150 w 8405893"/>
                  <a:gd name="connsiteY123" fmla="*/ 529001 h 1283857"/>
                  <a:gd name="connsiteX124" fmla="*/ 1164431 w 8405893"/>
                  <a:gd name="connsiteY124" fmla="*/ 521857 h 1283857"/>
                  <a:gd name="connsiteX125" fmla="*/ 1085851 w 8405893"/>
                  <a:gd name="connsiteY125" fmla="*/ 552814 h 1283857"/>
                  <a:gd name="connsiteX126" fmla="*/ 1064419 w 8405893"/>
                  <a:gd name="connsiteY126" fmla="*/ 581389 h 1283857"/>
                  <a:gd name="connsiteX127" fmla="*/ 997744 w 8405893"/>
                  <a:gd name="connsiteY127" fmla="*/ 571864 h 1283857"/>
                  <a:gd name="connsiteX128" fmla="*/ 928688 w 8405893"/>
                  <a:gd name="connsiteY128" fmla="*/ 595676 h 1283857"/>
                  <a:gd name="connsiteX129" fmla="*/ 873919 w 8405893"/>
                  <a:gd name="connsiteY129" fmla="*/ 633776 h 1283857"/>
                  <a:gd name="connsiteX130" fmla="*/ 778669 w 8405893"/>
                  <a:gd name="connsiteY130" fmla="*/ 648063 h 1283857"/>
                  <a:gd name="connsiteX131" fmla="*/ 764381 w 8405893"/>
                  <a:gd name="connsiteY131" fmla="*/ 669495 h 1283857"/>
                  <a:gd name="connsiteX132" fmla="*/ 776287 w 8405893"/>
                  <a:gd name="connsiteY132" fmla="*/ 714739 h 1283857"/>
                  <a:gd name="connsiteX133" fmla="*/ 676276 w 8405893"/>
                  <a:gd name="connsiteY133" fmla="*/ 767126 h 1283857"/>
                  <a:gd name="connsiteX134" fmla="*/ 638175 w 8405893"/>
                  <a:gd name="connsiteY134" fmla="*/ 738550 h 1283857"/>
                  <a:gd name="connsiteX135" fmla="*/ 607219 w 8405893"/>
                  <a:gd name="connsiteY135" fmla="*/ 795701 h 1283857"/>
                  <a:gd name="connsiteX136" fmla="*/ 550069 w 8405893"/>
                  <a:gd name="connsiteY136" fmla="*/ 757601 h 1283857"/>
                  <a:gd name="connsiteX137" fmla="*/ 514350 w 8405893"/>
                  <a:gd name="connsiteY137" fmla="*/ 786176 h 1283857"/>
                  <a:gd name="connsiteX138" fmla="*/ 478631 w 8405893"/>
                  <a:gd name="connsiteY138" fmla="*/ 750457 h 1283857"/>
                  <a:gd name="connsiteX139" fmla="*/ 426244 w 8405893"/>
                  <a:gd name="connsiteY139" fmla="*/ 762364 h 1283857"/>
                  <a:gd name="connsiteX140" fmla="*/ 381000 w 8405893"/>
                  <a:gd name="connsiteY140" fmla="*/ 733789 h 1283857"/>
                  <a:gd name="connsiteX141" fmla="*/ 357188 w 8405893"/>
                  <a:gd name="connsiteY141" fmla="*/ 752839 h 1283857"/>
                  <a:gd name="connsiteX142" fmla="*/ 333375 w 8405893"/>
                  <a:gd name="connsiteY142" fmla="*/ 812370 h 1283857"/>
                  <a:gd name="connsiteX143" fmla="*/ 261938 w 8405893"/>
                  <a:gd name="connsiteY143" fmla="*/ 850469 h 1283857"/>
                  <a:gd name="connsiteX144" fmla="*/ 209550 w 8405893"/>
                  <a:gd name="connsiteY144" fmla="*/ 821895 h 1283857"/>
                  <a:gd name="connsiteX145" fmla="*/ 119063 w 8405893"/>
                  <a:gd name="connsiteY145" fmla="*/ 831420 h 1283857"/>
                  <a:gd name="connsiteX146" fmla="*/ 71437 w 8405893"/>
                  <a:gd name="connsiteY146" fmla="*/ 798083 h 1283857"/>
                  <a:gd name="connsiteX147" fmla="*/ 0 w 8405893"/>
                  <a:gd name="connsiteY147" fmla="*/ 817132 h 1283857"/>
                  <a:gd name="connsiteX148" fmla="*/ 4762 w 8405893"/>
                  <a:gd name="connsiteY148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286830 w 8405893"/>
                  <a:gd name="connsiteY2" fmla="*/ 466725 h 1283857"/>
                  <a:gd name="connsiteX3" fmla="*/ 8339218 w 8405893"/>
                  <a:gd name="connsiteY3" fmla="*/ 485775 h 1283857"/>
                  <a:gd name="connsiteX4" fmla="*/ 8339218 w 8405893"/>
                  <a:gd name="connsiteY4" fmla="*/ 614362 h 1283857"/>
                  <a:gd name="connsiteX5" fmla="*/ 8205868 w 8405893"/>
                  <a:gd name="connsiteY5" fmla="*/ 671512 h 1283857"/>
                  <a:gd name="connsiteX6" fmla="*/ 8039180 w 8405893"/>
                  <a:gd name="connsiteY6" fmla="*/ 881062 h 1283857"/>
                  <a:gd name="connsiteX7" fmla="*/ 7929643 w 8405893"/>
                  <a:gd name="connsiteY7" fmla="*/ 838200 h 1283857"/>
                  <a:gd name="connsiteX8" fmla="*/ 7867730 w 8405893"/>
                  <a:gd name="connsiteY8" fmla="*/ 862012 h 1283857"/>
                  <a:gd name="connsiteX9" fmla="*/ 7703343 w 8405893"/>
                  <a:gd name="connsiteY9" fmla="*/ 807607 h 1283857"/>
                  <a:gd name="connsiteX10" fmla="*/ 7696200 w 8405893"/>
                  <a:gd name="connsiteY10" fmla="*/ 779032 h 1283857"/>
                  <a:gd name="connsiteX11" fmla="*/ 7567613 w 8405893"/>
                  <a:gd name="connsiteY11" fmla="*/ 757601 h 1283857"/>
                  <a:gd name="connsiteX12" fmla="*/ 7384257 w 8405893"/>
                  <a:gd name="connsiteY12" fmla="*/ 836182 h 1283857"/>
                  <a:gd name="connsiteX13" fmla="*/ 7227093 w 8405893"/>
                  <a:gd name="connsiteY13" fmla="*/ 721882 h 1283857"/>
                  <a:gd name="connsiteX14" fmla="*/ 7150894 w 8405893"/>
                  <a:gd name="connsiteY14" fmla="*/ 729026 h 1283857"/>
                  <a:gd name="connsiteX15" fmla="*/ 7077075 w 8405893"/>
                  <a:gd name="connsiteY15" fmla="*/ 724264 h 1283857"/>
                  <a:gd name="connsiteX16" fmla="*/ 6938963 w 8405893"/>
                  <a:gd name="connsiteY16" fmla="*/ 829039 h 1283857"/>
                  <a:gd name="connsiteX17" fmla="*/ 6831806 w 8405893"/>
                  <a:gd name="connsiteY17" fmla="*/ 936195 h 1283857"/>
                  <a:gd name="connsiteX18" fmla="*/ 6788944 w 8405893"/>
                  <a:gd name="connsiteY18" fmla="*/ 1005251 h 1283857"/>
                  <a:gd name="connsiteX19" fmla="*/ 6796088 w 8405893"/>
                  <a:gd name="connsiteY19" fmla="*/ 1040970 h 1283857"/>
                  <a:gd name="connsiteX20" fmla="*/ 6734175 w 8405893"/>
                  <a:gd name="connsiteY20" fmla="*/ 1052876 h 1283857"/>
                  <a:gd name="connsiteX21" fmla="*/ 6753225 w 8405893"/>
                  <a:gd name="connsiteY21" fmla="*/ 1052876 h 1283857"/>
                  <a:gd name="connsiteX22" fmla="*/ 6719888 w 8405893"/>
                  <a:gd name="connsiteY22" fmla="*/ 1083832 h 1283857"/>
                  <a:gd name="connsiteX23" fmla="*/ 6619875 w 8405893"/>
                  <a:gd name="connsiteY23" fmla="*/ 1083833 h 1283857"/>
                  <a:gd name="connsiteX24" fmla="*/ 6524625 w 8405893"/>
                  <a:gd name="connsiteY24" fmla="*/ 1138601 h 1283857"/>
                  <a:gd name="connsiteX25" fmla="*/ 6443663 w 8405893"/>
                  <a:gd name="connsiteY25" fmla="*/ 1148126 h 1283857"/>
                  <a:gd name="connsiteX26" fmla="*/ 6403181 w 8405893"/>
                  <a:gd name="connsiteY26" fmla="*/ 1181464 h 1283857"/>
                  <a:gd name="connsiteX27" fmla="*/ 6353175 w 8405893"/>
                  <a:gd name="connsiteY27" fmla="*/ 1186226 h 1283857"/>
                  <a:gd name="connsiteX28" fmla="*/ 6231732 w 8405893"/>
                  <a:gd name="connsiteY28" fmla="*/ 1279095 h 1283857"/>
                  <a:gd name="connsiteX29" fmla="*/ 6172200 w 8405893"/>
                  <a:gd name="connsiteY29" fmla="*/ 1283857 h 1283857"/>
                  <a:gd name="connsiteX30" fmla="*/ 6119813 w 8405893"/>
                  <a:gd name="connsiteY30" fmla="*/ 1248139 h 1283857"/>
                  <a:gd name="connsiteX31" fmla="*/ 6093619 w 8405893"/>
                  <a:gd name="connsiteY31" fmla="*/ 1283857 h 1283857"/>
                  <a:gd name="connsiteX32" fmla="*/ 5895975 w 8405893"/>
                  <a:gd name="connsiteY32" fmla="*/ 1276714 h 1283857"/>
                  <a:gd name="connsiteX33" fmla="*/ 5834063 w 8405893"/>
                  <a:gd name="connsiteY33" fmla="*/ 1231470 h 1283857"/>
                  <a:gd name="connsiteX34" fmla="*/ 5636419 w 8405893"/>
                  <a:gd name="connsiteY34" fmla="*/ 1248139 h 1283857"/>
                  <a:gd name="connsiteX35" fmla="*/ 5548313 w 8405893"/>
                  <a:gd name="connsiteY35" fmla="*/ 1164794 h 1283857"/>
                  <a:gd name="connsiteX36" fmla="*/ 5472113 w 8405893"/>
                  <a:gd name="connsiteY36" fmla="*/ 1119551 h 1283857"/>
                  <a:gd name="connsiteX37" fmla="*/ 5474493 w 8405893"/>
                  <a:gd name="connsiteY37" fmla="*/ 1062401 h 1283857"/>
                  <a:gd name="connsiteX38" fmla="*/ 5455444 w 8405893"/>
                  <a:gd name="connsiteY38" fmla="*/ 1019538 h 1283857"/>
                  <a:gd name="connsiteX39" fmla="*/ 5360194 w 8405893"/>
                  <a:gd name="connsiteY39" fmla="*/ 1021920 h 1283857"/>
                  <a:gd name="connsiteX40" fmla="*/ 5264944 w 8405893"/>
                  <a:gd name="connsiteY40" fmla="*/ 1000489 h 1283857"/>
                  <a:gd name="connsiteX41" fmla="*/ 5195887 w 8405893"/>
                  <a:gd name="connsiteY41" fmla="*/ 933813 h 1283857"/>
                  <a:gd name="connsiteX42" fmla="*/ 5160169 w 8405893"/>
                  <a:gd name="connsiteY42" fmla="*/ 890951 h 1283857"/>
                  <a:gd name="connsiteX43" fmla="*/ 5079206 w 8405893"/>
                  <a:gd name="connsiteY43" fmla="*/ 867138 h 1283857"/>
                  <a:gd name="connsiteX44" fmla="*/ 5005388 w 8405893"/>
                  <a:gd name="connsiteY44" fmla="*/ 879044 h 1283857"/>
                  <a:gd name="connsiteX45" fmla="*/ 4948237 w 8405893"/>
                  <a:gd name="connsiteY45" fmla="*/ 826657 h 1283857"/>
                  <a:gd name="connsiteX46" fmla="*/ 4852988 w 8405893"/>
                  <a:gd name="connsiteY46" fmla="*/ 838564 h 1283857"/>
                  <a:gd name="connsiteX47" fmla="*/ 4800600 w 8405893"/>
                  <a:gd name="connsiteY47" fmla="*/ 812370 h 1283857"/>
                  <a:gd name="connsiteX48" fmla="*/ 4719638 w 8405893"/>
                  <a:gd name="connsiteY48" fmla="*/ 855232 h 1283857"/>
                  <a:gd name="connsiteX49" fmla="*/ 4581525 w 8405893"/>
                  <a:gd name="connsiteY49" fmla="*/ 879045 h 1283857"/>
                  <a:gd name="connsiteX50" fmla="*/ 4452938 w 8405893"/>
                  <a:gd name="connsiteY50" fmla="*/ 971914 h 1283857"/>
                  <a:gd name="connsiteX51" fmla="*/ 4405312 w 8405893"/>
                  <a:gd name="connsiteY51" fmla="*/ 933814 h 1283857"/>
                  <a:gd name="connsiteX52" fmla="*/ 4383881 w 8405893"/>
                  <a:gd name="connsiteY52" fmla="*/ 964769 h 1283857"/>
                  <a:gd name="connsiteX53" fmla="*/ 4310063 w 8405893"/>
                  <a:gd name="connsiteY53" fmla="*/ 914764 h 1283857"/>
                  <a:gd name="connsiteX54" fmla="*/ 4271963 w 8405893"/>
                  <a:gd name="connsiteY54" fmla="*/ 921907 h 1283857"/>
                  <a:gd name="connsiteX55" fmla="*/ 4250531 w 8405893"/>
                  <a:gd name="connsiteY55" fmla="*/ 883807 h 1283857"/>
                  <a:gd name="connsiteX56" fmla="*/ 4191000 w 8405893"/>
                  <a:gd name="connsiteY56" fmla="*/ 888570 h 1283857"/>
                  <a:gd name="connsiteX57" fmla="*/ 4145756 w 8405893"/>
                  <a:gd name="connsiteY57" fmla="*/ 859995 h 1283857"/>
                  <a:gd name="connsiteX58" fmla="*/ 4107656 w 8405893"/>
                  <a:gd name="connsiteY58" fmla="*/ 857614 h 1283857"/>
                  <a:gd name="connsiteX59" fmla="*/ 4088606 w 8405893"/>
                  <a:gd name="connsiteY59" fmla="*/ 809988 h 1283857"/>
                  <a:gd name="connsiteX60" fmla="*/ 4074319 w 8405893"/>
                  <a:gd name="connsiteY60" fmla="*/ 779032 h 1283857"/>
                  <a:gd name="connsiteX61" fmla="*/ 4029075 w 8405893"/>
                  <a:gd name="connsiteY61" fmla="*/ 788557 h 1283857"/>
                  <a:gd name="connsiteX62" fmla="*/ 4010025 w 8405893"/>
                  <a:gd name="connsiteY62" fmla="*/ 752839 h 1283857"/>
                  <a:gd name="connsiteX63" fmla="*/ 4031457 w 8405893"/>
                  <a:gd name="connsiteY63" fmla="*/ 698070 h 1283857"/>
                  <a:gd name="connsiteX64" fmla="*/ 4000500 w 8405893"/>
                  <a:gd name="connsiteY64" fmla="*/ 671876 h 1283857"/>
                  <a:gd name="connsiteX65" fmla="*/ 4017169 w 8405893"/>
                  <a:gd name="connsiteY65" fmla="*/ 629014 h 1283857"/>
                  <a:gd name="connsiteX66" fmla="*/ 3990975 w 8405893"/>
                  <a:gd name="connsiteY66" fmla="*/ 586151 h 1283857"/>
                  <a:gd name="connsiteX67" fmla="*/ 3986213 w 8405893"/>
                  <a:gd name="connsiteY67" fmla="*/ 524239 h 1283857"/>
                  <a:gd name="connsiteX68" fmla="*/ 4010025 w 8405893"/>
                  <a:gd name="connsiteY68" fmla="*/ 459944 h 1283857"/>
                  <a:gd name="connsiteX69" fmla="*/ 3971925 w 8405893"/>
                  <a:gd name="connsiteY69" fmla="*/ 462326 h 1283857"/>
                  <a:gd name="connsiteX70" fmla="*/ 3852863 w 8405893"/>
                  <a:gd name="connsiteY70" fmla="*/ 405176 h 1283857"/>
                  <a:gd name="connsiteX71" fmla="*/ 3814762 w 8405893"/>
                  <a:gd name="connsiteY71" fmla="*/ 409938 h 1283857"/>
                  <a:gd name="connsiteX72" fmla="*/ 3609975 w 8405893"/>
                  <a:gd name="connsiteY72" fmla="*/ 300401 h 1283857"/>
                  <a:gd name="connsiteX73" fmla="*/ 3505200 w 8405893"/>
                  <a:gd name="connsiteY73" fmla="*/ 269445 h 1283857"/>
                  <a:gd name="connsiteX74" fmla="*/ 3440906 w 8405893"/>
                  <a:gd name="connsiteY74" fmla="*/ 278969 h 1283857"/>
                  <a:gd name="connsiteX75" fmla="*/ 3409950 w 8405893"/>
                  <a:gd name="connsiteY75" fmla="*/ 214676 h 1283857"/>
                  <a:gd name="connsiteX76" fmla="*/ 3352800 w 8405893"/>
                  <a:gd name="connsiteY76" fmla="*/ 214676 h 1283857"/>
                  <a:gd name="connsiteX77" fmla="*/ 3214687 w 8405893"/>
                  <a:gd name="connsiteY77" fmla="*/ 109901 h 1283857"/>
                  <a:gd name="connsiteX78" fmla="*/ 3181350 w 8405893"/>
                  <a:gd name="connsiteY78" fmla="*/ 169433 h 1283857"/>
                  <a:gd name="connsiteX79" fmla="*/ 3126581 w 8405893"/>
                  <a:gd name="connsiteY79" fmla="*/ 238489 h 1283857"/>
                  <a:gd name="connsiteX80" fmla="*/ 3083719 w 8405893"/>
                  <a:gd name="connsiteY80" fmla="*/ 255157 h 1283857"/>
                  <a:gd name="connsiteX81" fmla="*/ 3052763 w 8405893"/>
                  <a:gd name="connsiteY81" fmla="*/ 248014 h 1283857"/>
                  <a:gd name="connsiteX82" fmla="*/ 3028950 w 8405893"/>
                  <a:gd name="connsiteY82" fmla="*/ 276589 h 1283857"/>
                  <a:gd name="connsiteX83" fmla="*/ 3002756 w 8405893"/>
                  <a:gd name="connsiteY83" fmla="*/ 355170 h 1283857"/>
                  <a:gd name="connsiteX84" fmla="*/ 2959894 w 8405893"/>
                  <a:gd name="connsiteY84" fmla="*/ 352789 h 1283857"/>
                  <a:gd name="connsiteX85" fmla="*/ 2928937 w 8405893"/>
                  <a:gd name="connsiteY85" fmla="*/ 414701 h 1283857"/>
                  <a:gd name="connsiteX86" fmla="*/ 2924175 w 8405893"/>
                  <a:gd name="connsiteY86" fmla="*/ 478995 h 1283857"/>
                  <a:gd name="connsiteX87" fmla="*/ 2897982 w 8405893"/>
                  <a:gd name="connsiteY87" fmla="*/ 517095 h 1283857"/>
                  <a:gd name="connsiteX88" fmla="*/ 2924175 w 8405893"/>
                  <a:gd name="connsiteY88" fmla="*/ 576626 h 1283857"/>
                  <a:gd name="connsiteX89" fmla="*/ 2926556 w 8405893"/>
                  <a:gd name="connsiteY89" fmla="*/ 645682 h 1283857"/>
                  <a:gd name="connsiteX90" fmla="*/ 2955131 w 8405893"/>
                  <a:gd name="connsiteY90" fmla="*/ 698070 h 1283857"/>
                  <a:gd name="connsiteX91" fmla="*/ 3002757 w 8405893"/>
                  <a:gd name="connsiteY91" fmla="*/ 752839 h 1283857"/>
                  <a:gd name="connsiteX92" fmla="*/ 2952750 w 8405893"/>
                  <a:gd name="connsiteY92" fmla="*/ 890951 h 1283857"/>
                  <a:gd name="connsiteX93" fmla="*/ 2883694 w 8405893"/>
                  <a:gd name="connsiteY93" fmla="*/ 957626 h 1283857"/>
                  <a:gd name="connsiteX94" fmla="*/ 2812256 w 8405893"/>
                  <a:gd name="connsiteY94" fmla="*/ 952864 h 1283857"/>
                  <a:gd name="connsiteX95" fmla="*/ 2774156 w 8405893"/>
                  <a:gd name="connsiteY95" fmla="*/ 1010014 h 1283857"/>
                  <a:gd name="connsiteX96" fmla="*/ 2714625 w 8405893"/>
                  <a:gd name="connsiteY96" fmla="*/ 1024301 h 1283857"/>
                  <a:gd name="connsiteX97" fmla="*/ 2645569 w 8405893"/>
                  <a:gd name="connsiteY97" fmla="*/ 964770 h 1283857"/>
                  <a:gd name="connsiteX98" fmla="*/ 2590800 w 8405893"/>
                  <a:gd name="connsiteY98" fmla="*/ 936195 h 1283857"/>
                  <a:gd name="connsiteX99" fmla="*/ 2547938 w 8405893"/>
                  <a:gd name="connsiteY99" fmla="*/ 950482 h 1283857"/>
                  <a:gd name="connsiteX100" fmla="*/ 2495550 w 8405893"/>
                  <a:gd name="connsiteY100" fmla="*/ 933814 h 1283857"/>
                  <a:gd name="connsiteX101" fmla="*/ 2428875 w 8405893"/>
                  <a:gd name="connsiteY101" fmla="*/ 879045 h 1283857"/>
                  <a:gd name="connsiteX102" fmla="*/ 2383631 w 8405893"/>
                  <a:gd name="connsiteY102" fmla="*/ 890951 h 1283857"/>
                  <a:gd name="connsiteX103" fmla="*/ 2362200 w 8405893"/>
                  <a:gd name="connsiteY103" fmla="*/ 859995 h 1283857"/>
                  <a:gd name="connsiteX104" fmla="*/ 2305050 w 8405893"/>
                  <a:gd name="connsiteY104" fmla="*/ 900476 h 1283857"/>
                  <a:gd name="connsiteX105" fmla="*/ 2188369 w 8405893"/>
                  <a:gd name="connsiteY105" fmla="*/ 879045 h 1283857"/>
                  <a:gd name="connsiteX106" fmla="*/ 2138363 w 8405893"/>
                  <a:gd name="connsiteY106" fmla="*/ 826657 h 1283857"/>
                  <a:gd name="connsiteX107" fmla="*/ 2095500 w 8405893"/>
                  <a:gd name="connsiteY107" fmla="*/ 812370 h 1283857"/>
                  <a:gd name="connsiteX108" fmla="*/ 2052638 w 8405893"/>
                  <a:gd name="connsiteY108" fmla="*/ 838564 h 1283857"/>
                  <a:gd name="connsiteX109" fmla="*/ 2000250 w 8405893"/>
                  <a:gd name="connsiteY109" fmla="*/ 748076 h 1283857"/>
                  <a:gd name="connsiteX110" fmla="*/ 1990725 w 8405893"/>
                  <a:gd name="connsiteY110" fmla="*/ 600438 h 1283857"/>
                  <a:gd name="connsiteX111" fmla="*/ 1938337 w 8405893"/>
                  <a:gd name="connsiteY111" fmla="*/ 593294 h 1283857"/>
                  <a:gd name="connsiteX112" fmla="*/ 1847850 w 8405893"/>
                  <a:gd name="connsiteY112" fmla="*/ 583770 h 1283857"/>
                  <a:gd name="connsiteX113" fmla="*/ 1793081 w 8405893"/>
                  <a:gd name="connsiteY113" fmla="*/ 545670 h 1283857"/>
                  <a:gd name="connsiteX114" fmla="*/ 1724025 w 8405893"/>
                  <a:gd name="connsiteY114" fmla="*/ 555195 h 1283857"/>
                  <a:gd name="connsiteX115" fmla="*/ 1678781 w 8405893"/>
                  <a:gd name="connsiteY115" fmla="*/ 529001 h 1283857"/>
                  <a:gd name="connsiteX116" fmla="*/ 1669257 w 8405893"/>
                  <a:gd name="connsiteY116" fmla="*/ 457564 h 1283857"/>
                  <a:gd name="connsiteX117" fmla="*/ 1645444 w 8405893"/>
                  <a:gd name="connsiteY117" fmla="*/ 443276 h 1283857"/>
                  <a:gd name="connsiteX118" fmla="*/ 1607344 w 8405893"/>
                  <a:gd name="connsiteY118" fmla="*/ 490900 h 1283857"/>
                  <a:gd name="connsiteX119" fmla="*/ 1528762 w 8405893"/>
                  <a:gd name="connsiteY119" fmla="*/ 417082 h 1283857"/>
                  <a:gd name="connsiteX120" fmla="*/ 1488281 w 8405893"/>
                  <a:gd name="connsiteY120" fmla="*/ 457564 h 1283857"/>
                  <a:gd name="connsiteX121" fmla="*/ 1412081 w 8405893"/>
                  <a:gd name="connsiteY121" fmla="*/ 443276 h 1283857"/>
                  <a:gd name="connsiteX122" fmla="*/ 1333500 w 8405893"/>
                  <a:gd name="connsiteY122" fmla="*/ 469470 h 1283857"/>
                  <a:gd name="connsiteX123" fmla="*/ 1273969 w 8405893"/>
                  <a:gd name="connsiteY123" fmla="*/ 517094 h 1283857"/>
                  <a:gd name="connsiteX124" fmla="*/ 1200150 w 8405893"/>
                  <a:gd name="connsiteY124" fmla="*/ 529001 h 1283857"/>
                  <a:gd name="connsiteX125" fmla="*/ 1164431 w 8405893"/>
                  <a:gd name="connsiteY125" fmla="*/ 521857 h 1283857"/>
                  <a:gd name="connsiteX126" fmla="*/ 1085851 w 8405893"/>
                  <a:gd name="connsiteY126" fmla="*/ 552814 h 1283857"/>
                  <a:gd name="connsiteX127" fmla="*/ 1064419 w 8405893"/>
                  <a:gd name="connsiteY127" fmla="*/ 581389 h 1283857"/>
                  <a:gd name="connsiteX128" fmla="*/ 997744 w 8405893"/>
                  <a:gd name="connsiteY128" fmla="*/ 571864 h 1283857"/>
                  <a:gd name="connsiteX129" fmla="*/ 928688 w 8405893"/>
                  <a:gd name="connsiteY129" fmla="*/ 595676 h 1283857"/>
                  <a:gd name="connsiteX130" fmla="*/ 873919 w 8405893"/>
                  <a:gd name="connsiteY130" fmla="*/ 633776 h 1283857"/>
                  <a:gd name="connsiteX131" fmla="*/ 778669 w 8405893"/>
                  <a:gd name="connsiteY131" fmla="*/ 648063 h 1283857"/>
                  <a:gd name="connsiteX132" fmla="*/ 764381 w 8405893"/>
                  <a:gd name="connsiteY132" fmla="*/ 669495 h 1283857"/>
                  <a:gd name="connsiteX133" fmla="*/ 776287 w 8405893"/>
                  <a:gd name="connsiteY133" fmla="*/ 714739 h 1283857"/>
                  <a:gd name="connsiteX134" fmla="*/ 676276 w 8405893"/>
                  <a:gd name="connsiteY134" fmla="*/ 767126 h 1283857"/>
                  <a:gd name="connsiteX135" fmla="*/ 638175 w 8405893"/>
                  <a:gd name="connsiteY135" fmla="*/ 738550 h 1283857"/>
                  <a:gd name="connsiteX136" fmla="*/ 607219 w 8405893"/>
                  <a:gd name="connsiteY136" fmla="*/ 795701 h 1283857"/>
                  <a:gd name="connsiteX137" fmla="*/ 550069 w 8405893"/>
                  <a:gd name="connsiteY137" fmla="*/ 757601 h 1283857"/>
                  <a:gd name="connsiteX138" fmla="*/ 514350 w 8405893"/>
                  <a:gd name="connsiteY138" fmla="*/ 786176 h 1283857"/>
                  <a:gd name="connsiteX139" fmla="*/ 478631 w 8405893"/>
                  <a:gd name="connsiteY139" fmla="*/ 750457 h 1283857"/>
                  <a:gd name="connsiteX140" fmla="*/ 426244 w 8405893"/>
                  <a:gd name="connsiteY140" fmla="*/ 762364 h 1283857"/>
                  <a:gd name="connsiteX141" fmla="*/ 381000 w 8405893"/>
                  <a:gd name="connsiteY141" fmla="*/ 733789 h 1283857"/>
                  <a:gd name="connsiteX142" fmla="*/ 357188 w 8405893"/>
                  <a:gd name="connsiteY142" fmla="*/ 752839 h 1283857"/>
                  <a:gd name="connsiteX143" fmla="*/ 333375 w 8405893"/>
                  <a:gd name="connsiteY143" fmla="*/ 812370 h 1283857"/>
                  <a:gd name="connsiteX144" fmla="*/ 261938 w 8405893"/>
                  <a:gd name="connsiteY144" fmla="*/ 850469 h 1283857"/>
                  <a:gd name="connsiteX145" fmla="*/ 209550 w 8405893"/>
                  <a:gd name="connsiteY145" fmla="*/ 821895 h 1283857"/>
                  <a:gd name="connsiteX146" fmla="*/ 119063 w 8405893"/>
                  <a:gd name="connsiteY146" fmla="*/ 831420 h 1283857"/>
                  <a:gd name="connsiteX147" fmla="*/ 71437 w 8405893"/>
                  <a:gd name="connsiteY147" fmla="*/ 798083 h 1283857"/>
                  <a:gd name="connsiteX148" fmla="*/ 0 w 8405893"/>
                  <a:gd name="connsiteY148" fmla="*/ 817132 h 1283857"/>
                  <a:gd name="connsiteX149" fmla="*/ 4762 w 8405893"/>
                  <a:gd name="connsiteY149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296355 w 8405893"/>
                  <a:gd name="connsiteY2" fmla="*/ 457200 h 1283857"/>
                  <a:gd name="connsiteX3" fmla="*/ 8339218 w 8405893"/>
                  <a:gd name="connsiteY3" fmla="*/ 485775 h 1283857"/>
                  <a:gd name="connsiteX4" fmla="*/ 8339218 w 8405893"/>
                  <a:gd name="connsiteY4" fmla="*/ 614362 h 1283857"/>
                  <a:gd name="connsiteX5" fmla="*/ 8205868 w 8405893"/>
                  <a:gd name="connsiteY5" fmla="*/ 671512 h 1283857"/>
                  <a:gd name="connsiteX6" fmla="*/ 8039180 w 8405893"/>
                  <a:gd name="connsiteY6" fmla="*/ 881062 h 1283857"/>
                  <a:gd name="connsiteX7" fmla="*/ 7929643 w 8405893"/>
                  <a:gd name="connsiteY7" fmla="*/ 838200 h 1283857"/>
                  <a:gd name="connsiteX8" fmla="*/ 7867730 w 8405893"/>
                  <a:gd name="connsiteY8" fmla="*/ 862012 h 1283857"/>
                  <a:gd name="connsiteX9" fmla="*/ 7703343 w 8405893"/>
                  <a:gd name="connsiteY9" fmla="*/ 807607 h 1283857"/>
                  <a:gd name="connsiteX10" fmla="*/ 7696200 w 8405893"/>
                  <a:gd name="connsiteY10" fmla="*/ 779032 h 1283857"/>
                  <a:gd name="connsiteX11" fmla="*/ 7567613 w 8405893"/>
                  <a:gd name="connsiteY11" fmla="*/ 757601 h 1283857"/>
                  <a:gd name="connsiteX12" fmla="*/ 7384257 w 8405893"/>
                  <a:gd name="connsiteY12" fmla="*/ 836182 h 1283857"/>
                  <a:gd name="connsiteX13" fmla="*/ 7227093 w 8405893"/>
                  <a:gd name="connsiteY13" fmla="*/ 721882 h 1283857"/>
                  <a:gd name="connsiteX14" fmla="*/ 7150894 w 8405893"/>
                  <a:gd name="connsiteY14" fmla="*/ 729026 h 1283857"/>
                  <a:gd name="connsiteX15" fmla="*/ 7077075 w 8405893"/>
                  <a:gd name="connsiteY15" fmla="*/ 724264 h 1283857"/>
                  <a:gd name="connsiteX16" fmla="*/ 6938963 w 8405893"/>
                  <a:gd name="connsiteY16" fmla="*/ 829039 h 1283857"/>
                  <a:gd name="connsiteX17" fmla="*/ 6831806 w 8405893"/>
                  <a:gd name="connsiteY17" fmla="*/ 936195 h 1283857"/>
                  <a:gd name="connsiteX18" fmla="*/ 6788944 w 8405893"/>
                  <a:gd name="connsiteY18" fmla="*/ 1005251 h 1283857"/>
                  <a:gd name="connsiteX19" fmla="*/ 6796088 w 8405893"/>
                  <a:gd name="connsiteY19" fmla="*/ 1040970 h 1283857"/>
                  <a:gd name="connsiteX20" fmla="*/ 6734175 w 8405893"/>
                  <a:gd name="connsiteY20" fmla="*/ 1052876 h 1283857"/>
                  <a:gd name="connsiteX21" fmla="*/ 6753225 w 8405893"/>
                  <a:gd name="connsiteY21" fmla="*/ 1052876 h 1283857"/>
                  <a:gd name="connsiteX22" fmla="*/ 6719888 w 8405893"/>
                  <a:gd name="connsiteY22" fmla="*/ 1083832 h 1283857"/>
                  <a:gd name="connsiteX23" fmla="*/ 6619875 w 8405893"/>
                  <a:gd name="connsiteY23" fmla="*/ 1083833 h 1283857"/>
                  <a:gd name="connsiteX24" fmla="*/ 6524625 w 8405893"/>
                  <a:gd name="connsiteY24" fmla="*/ 1138601 h 1283857"/>
                  <a:gd name="connsiteX25" fmla="*/ 6443663 w 8405893"/>
                  <a:gd name="connsiteY25" fmla="*/ 1148126 h 1283857"/>
                  <a:gd name="connsiteX26" fmla="*/ 6403181 w 8405893"/>
                  <a:gd name="connsiteY26" fmla="*/ 1181464 h 1283857"/>
                  <a:gd name="connsiteX27" fmla="*/ 6353175 w 8405893"/>
                  <a:gd name="connsiteY27" fmla="*/ 1186226 h 1283857"/>
                  <a:gd name="connsiteX28" fmla="*/ 6231732 w 8405893"/>
                  <a:gd name="connsiteY28" fmla="*/ 1279095 h 1283857"/>
                  <a:gd name="connsiteX29" fmla="*/ 6172200 w 8405893"/>
                  <a:gd name="connsiteY29" fmla="*/ 1283857 h 1283857"/>
                  <a:gd name="connsiteX30" fmla="*/ 6119813 w 8405893"/>
                  <a:gd name="connsiteY30" fmla="*/ 1248139 h 1283857"/>
                  <a:gd name="connsiteX31" fmla="*/ 6093619 w 8405893"/>
                  <a:gd name="connsiteY31" fmla="*/ 1283857 h 1283857"/>
                  <a:gd name="connsiteX32" fmla="*/ 5895975 w 8405893"/>
                  <a:gd name="connsiteY32" fmla="*/ 1276714 h 1283857"/>
                  <a:gd name="connsiteX33" fmla="*/ 5834063 w 8405893"/>
                  <a:gd name="connsiteY33" fmla="*/ 1231470 h 1283857"/>
                  <a:gd name="connsiteX34" fmla="*/ 5636419 w 8405893"/>
                  <a:gd name="connsiteY34" fmla="*/ 1248139 h 1283857"/>
                  <a:gd name="connsiteX35" fmla="*/ 5548313 w 8405893"/>
                  <a:gd name="connsiteY35" fmla="*/ 1164794 h 1283857"/>
                  <a:gd name="connsiteX36" fmla="*/ 5472113 w 8405893"/>
                  <a:gd name="connsiteY36" fmla="*/ 1119551 h 1283857"/>
                  <a:gd name="connsiteX37" fmla="*/ 5474493 w 8405893"/>
                  <a:gd name="connsiteY37" fmla="*/ 1062401 h 1283857"/>
                  <a:gd name="connsiteX38" fmla="*/ 5455444 w 8405893"/>
                  <a:gd name="connsiteY38" fmla="*/ 1019538 h 1283857"/>
                  <a:gd name="connsiteX39" fmla="*/ 5360194 w 8405893"/>
                  <a:gd name="connsiteY39" fmla="*/ 1021920 h 1283857"/>
                  <a:gd name="connsiteX40" fmla="*/ 5264944 w 8405893"/>
                  <a:gd name="connsiteY40" fmla="*/ 1000489 h 1283857"/>
                  <a:gd name="connsiteX41" fmla="*/ 5195887 w 8405893"/>
                  <a:gd name="connsiteY41" fmla="*/ 933813 h 1283857"/>
                  <a:gd name="connsiteX42" fmla="*/ 5160169 w 8405893"/>
                  <a:gd name="connsiteY42" fmla="*/ 890951 h 1283857"/>
                  <a:gd name="connsiteX43" fmla="*/ 5079206 w 8405893"/>
                  <a:gd name="connsiteY43" fmla="*/ 867138 h 1283857"/>
                  <a:gd name="connsiteX44" fmla="*/ 5005388 w 8405893"/>
                  <a:gd name="connsiteY44" fmla="*/ 879044 h 1283857"/>
                  <a:gd name="connsiteX45" fmla="*/ 4948237 w 8405893"/>
                  <a:gd name="connsiteY45" fmla="*/ 826657 h 1283857"/>
                  <a:gd name="connsiteX46" fmla="*/ 4852988 w 8405893"/>
                  <a:gd name="connsiteY46" fmla="*/ 838564 h 1283857"/>
                  <a:gd name="connsiteX47" fmla="*/ 4800600 w 8405893"/>
                  <a:gd name="connsiteY47" fmla="*/ 812370 h 1283857"/>
                  <a:gd name="connsiteX48" fmla="*/ 4719638 w 8405893"/>
                  <a:gd name="connsiteY48" fmla="*/ 855232 h 1283857"/>
                  <a:gd name="connsiteX49" fmla="*/ 4581525 w 8405893"/>
                  <a:gd name="connsiteY49" fmla="*/ 879045 h 1283857"/>
                  <a:gd name="connsiteX50" fmla="*/ 4452938 w 8405893"/>
                  <a:gd name="connsiteY50" fmla="*/ 971914 h 1283857"/>
                  <a:gd name="connsiteX51" fmla="*/ 4405312 w 8405893"/>
                  <a:gd name="connsiteY51" fmla="*/ 933814 h 1283857"/>
                  <a:gd name="connsiteX52" fmla="*/ 4383881 w 8405893"/>
                  <a:gd name="connsiteY52" fmla="*/ 964769 h 1283857"/>
                  <a:gd name="connsiteX53" fmla="*/ 4310063 w 8405893"/>
                  <a:gd name="connsiteY53" fmla="*/ 914764 h 1283857"/>
                  <a:gd name="connsiteX54" fmla="*/ 4271963 w 8405893"/>
                  <a:gd name="connsiteY54" fmla="*/ 921907 h 1283857"/>
                  <a:gd name="connsiteX55" fmla="*/ 4250531 w 8405893"/>
                  <a:gd name="connsiteY55" fmla="*/ 883807 h 1283857"/>
                  <a:gd name="connsiteX56" fmla="*/ 4191000 w 8405893"/>
                  <a:gd name="connsiteY56" fmla="*/ 888570 h 1283857"/>
                  <a:gd name="connsiteX57" fmla="*/ 4145756 w 8405893"/>
                  <a:gd name="connsiteY57" fmla="*/ 859995 h 1283857"/>
                  <a:gd name="connsiteX58" fmla="*/ 4107656 w 8405893"/>
                  <a:gd name="connsiteY58" fmla="*/ 857614 h 1283857"/>
                  <a:gd name="connsiteX59" fmla="*/ 4088606 w 8405893"/>
                  <a:gd name="connsiteY59" fmla="*/ 809988 h 1283857"/>
                  <a:gd name="connsiteX60" fmla="*/ 4074319 w 8405893"/>
                  <a:gd name="connsiteY60" fmla="*/ 779032 h 1283857"/>
                  <a:gd name="connsiteX61" fmla="*/ 4029075 w 8405893"/>
                  <a:gd name="connsiteY61" fmla="*/ 788557 h 1283857"/>
                  <a:gd name="connsiteX62" fmla="*/ 4010025 w 8405893"/>
                  <a:gd name="connsiteY62" fmla="*/ 752839 h 1283857"/>
                  <a:gd name="connsiteX63" fmla="*/ 4031457 w 8405893"/>
                  <a:gd name="connsiteY63" fmla="*/ 698070 h 1283857"/>
                  <a:gd name="connsiteX64" fmla="*/ 4000500 w 8405893"/>
                  <a:gd name="connsiteY64" fmla="*/ 671876 h 1283857"/>
                  <a:gd name="connsiteX65" fmla="*/ 4017169 w 8405893"/>
                  <a:gd name="connsiteY65" fmla="*/ 629014 h 1283857"/>
                  <a:gd name="connsiteX66" fmla="*/ 3990975 w 8405893"/>
                  <a:gd name="connsiteY66" fmla="*/ 586151 h 1283857"/>
                  <a:gd name="connsiteX67" fmla="*/ 3986213 w 8405893"/>
                  <a:gd name="connsiteY67" fmla="*/ 524239 h 1283857"/>
                  <a:gd name="connsiteX68" fmla="*/ 4010025 w 8405893"/>
                  <a:gd name="connsiteY68" fmla="*/ 459944 h 1283857"/>
                  <a:gd name="connsiteX69" fmla="*/ 3971925 w 8405893"/>
                  <a:gd name="connsiteY69" fmla="*/ 462326 h 1283857"/>
                  <a:gd name="connsiteX70" fmla="*/ 3852863 w 8405893"/>
                  <a:gd name="connsiteY70" fmla="*/ 405176 h 1283857"/>
                  <a:gd name="connsiteX71" fmla="*/ 3814762 w 8405893"/>
                  <a:gd name="connsiteY71" fmla="*/ 409938 h 1283857"/>
                  <a:gd name="connsiteX72" fmla="*/ 3609975 w 8405893"/>
                  <a:gd name="connsiteY72" fmla="*/ 300401 h 1283857"/>
                  <a:gd name="connsiteX73" fmla="*/ 3505200 w 8405893"/>
                  <a:gd name="connsiteY73" fmla="*/ 269445 h 1283857"/>
                  <a:gd name="connsiteX74" fmla="*/ 3440906 w 8405893"/>
                  <a:gd name="connsiteY74" fmla="*/ 278969 h 1283857"/>
                  <a:gd name="connsiteX75" fmla="*/ 3409950 w 8405893"/>
                  <a:gd name="connsiteY75" fmla="*/ 214676 h 1283857"/>
                  <a:gd name="connsiteX76" fmla="*/ 3352800 w 8405893"/>
                  <a:gd name="connsiteY76" fmla="*/ 214676 h 1283857"/>
                  <a:gd name="connsiteX77" fmla="*/ 3214687 w 8405893"/>
                  <a:gd name="connsiteY77" fmla="*/ 109901 h 1283857"/>
                  <a:gd name="connsiteX78" fmla="*/ 3181350 w 8405893"/>
                  <a:gd name="connsiteY78" fmla="*/ 169433 h 1283857"/>
                  <a:gd name="connsiteX79" fmla="*/ 3126581 w 8405893"/>
                  <a:gd name="connsiteY79" fmla="*/ 238489 h 1283857"/>
                  <a:gd name="connsiteX80" fmla="*/ 3083719 w 8405893"/>
                  <a:gd name="connsiteY80" fmla="*/ 255157 h 1283857"/>
                  <a:gd name="connsiteX81" fmla="*/ 3052763 w 8405893"/>
                  <a:gd name="connsiteY81" fmla="*/ 248014 h 1283857"/>
                  <a:gd name="connsiteX82" fmla="*/ 3028950 w 8405893"/>
                  <a:gd name="connsiteY82" fmla="*/ 276589 h 1283857"/>
                  <a:gd name="connsiteX83" fmla="*/ 3002756 w 8405893"/>
                  <a:gd name="connsiteY83" fmla="*/ 355170 h 1283857"/>
                  <a:gd name="connsiteX84" fmla="*/ 2959894 w 8405893"/>
                  <a:gd name="connsiteY84" fmla="*/ 352789 h 1283857"/>
                  <a:gd name="connsiteX85" fmla="*/ 2928937 w 8405893"/>
                  <a:gd name="connsiteY85" fmla="*/ 414701 h 1283857"/>
                  <a:gd name="connsiteX86" fmla="*/ 2924175 w 8405893"/>
                  <a:gd name="connsiteY86" fmla="*/ 478995 h 1283857"/>
                  <a:gd name="connsiteX87" fmla="*/ 2897982 w 8405893"/>
                  <a:gd name="connsiteY87" fmla="*/ 517095 h 1283857"/>
                  <a:gd name="connsiteX88" fmla="*/ 2924175 w 8405893"/>
                  <a:gd name="connsiteY88" fmla="*/ 576626 h 1283857"/>
                  <a:gd name="connsiteX89" fmla="*/ 2926556 w 8405893"/>
                  <a:gd name="connsiteY89" fmla="*/ 645682 h 1283857"/>
                  <a:gd name="connsiteX90" fmla="*/ 2955131 w 8405893"/>
                  <a:gd name="connsiteY90" fmla="*/ 698070 h 1283857"/>
                  <a:gd name="connsiteX91" fmla="*/ 3002757 w 8405893"/>
                  <a:gd name="connsiteY91" fmla="*/ 752839 h 1283857"/>
                  <a:gd name="connsiteX92" fmla="*/ 2952750 w 8405893"/>
                  <a:gd name="connsiteY92" fmla="*/ 890951 h 1283857"/>
                  <a:gd name="connsiteX93" fmla="*/ 2883694 w 8405893"/>
                  <a:gd name="connsiteY93" fmla="*/ 957626 h 1283857"/>
                  <a:gd name="connsiteX94" fmla="*/ 2812256 w 8405893"/>
                  <a:gd name="connsiteY94" fmla="*/ 952864 h 1283857"/>
                  <a:gd name="connsiteX95" fmla="*/ 2774156 w 8405893"/>
                  <a:gd name="connsiteY95" fmla="*/ 1010014 h 1283857"/>
                  <a:gd name="connsiteX96" fmla="*/ 2714625 w 8405893"/>
                  <a:gd name="connsiteY96" fmla="*/ 1024301 h 1283857"/>
                  <a:gd name="connsiteX97" fmla="*/ 2645569 w 8405893"/>
                  <a:gd name="connsiteY97" fmla="*/ 964770 h 1283857"/>
                  <a:gd name="connsiteX98" fmla="*/ 2590800 w 8405893"/>
                  <a:gd name="connsiteY98" fmla="*/ 936195 h 1283857"/>
                  <a:gd name="connsiteX99" fmla="*/ 2547938 w 8405893"/>
                  <a:gd name="connsiteY99" fmla="*/ 950482 h 1283857"/>
                  <a:gd name="connsiteX100" fmla="*/ 2495550 w 8405893"/>
                  <a:gd name="connsiteY100" fmla="*/ 933814 h 1283857"/>
                  <a:gd name="connsiteX101" fmla="*/ 2428875 w 8405893"/>
                  <a:gd name="connsiteY101" fmla="*/ 879045 h 1283857"/>
                  <a:gd name="connsiteX102" fmla="*/ 2383631 w 8405893"/>
                  <a:gd name="connsiteY102" fmla="*/ 890951 h 1283857"/>
                  <a:gd name="connsiteX103" fmla="*/ 2362200 w 8405893"/>
                  <a:gd name="connsiteY103" fmla="*/ 859995 h 1283857"/>
                  <a:gd name="connsiteX104" fmla="*/ 2305050 w 8405893"/>
                  <a:gd name="connsiteY104" fmla="*/ 900476 h 1283857"/>
                  <a:gd name="connsiteX105" fmla="*/ 2188369 w 8405893"/>
                  <a:gd name="connsiteY105" fmla="*/ 879045 h 1283857"/>
                  <a:gd name="connsiteX106" fmla="*/ 2138363 w 8405893"/>
                  <a:gd name="connsiteY106" fmla="*/ 826657 h 1283857"/>
                  <a:gd name="connsiteX107" fmla="*/ 2095500 w 8405893"/>
                  <a:gd name="connsiteY107" fmla="*/ 812370 h 1283857"/>
                  <a:gd name="connsiteX108" fmla="*/ 2052638 w 8405893"/>
                  <a:gd name="connsiteY108" fmla="*/ 838564 h 1283857"/>
                  <a:gd name="connsiteX109" fmla="*/ 2000250 w 8405893"/>
                  <a:gd name="connsiteY109" fmla="*/ 748076 h 1283857"/>
                  <a:gd name="connsiteX110" fmla="*/ 1990725 w 8405893"/>
                  <a:gd name="connsiteY110" fmla="*/ 600438 h 1283857"/>
                  <a:gd name="connsiteX111" fmla="*/ 1938337 w 8405893"/>
                  <a:gd name="connsiteY111" fmla="*/ 593294 h 1283857"/>
                  <a:gd name="connsiteX112" fmla="*/ 1847850 w 8405893"/>
                  <a:gd name="connsiteY112" fmla="*/ 583770 h 1283857"/>
                  <a:gd name="connsiteX113" fmla="*/ 1793081 w 8405893"/>
                  <a:gd name="connsiteY113" fmla="*/ 545670 h 1283857"/>
                  <a:gd name="connsiteX114" fmla="*/ 1724025 w 8405893"/>
                  <a:gd name="connsiteY114" fmla="*/ 555195 h 1283857"/>
                  <a:gd name="connsiteX115" fmla="*/ 1678781 w 8405893"/>
                  <a:gd name="connsiteY115" fmla="*/ 529001 h 1283857"/>
                  <a:gd name="connsiteX116" fmla="*/ 1669257 w 8405893"/>
                  <a:gd name="connsiteY116" fmla="*/ 457564 h 1283857"/>
                  <a:gd name="connsiteX117" fmla="*/ 1645444 w 8405893"/>
                  <a:gd name="connsiteY117" fmla="*/ 443276 h 1283857"/>
                  <a:gd name="connsiteX118" fmla="*/ 1607344 w 8405893"/>
                  <a:gd name="connsiteY118" fmla="*/ 490900 h 1283857"/>
                  <a:gd name="connsiteX119" fmla="*/ 1528762 w 8405893"/>
                  <a:gd name="connsiteY119" fmla="*/ 417082 h 1283857"/>
                  <a:gd name="connsiteX120" fmla="*/ 1488281 w 8405893"/>
                  <a:gd name="connsiteY120" fmla="*/ 457564 h 1283857"/>
                  <a:gd name="connsiteX121" fmla="*/ 1412081 w 8405893"/>
                  <a:gd name="connsiteY121" fmla="*/ 443276 h 1283857"/>
                  <a:gd name="connsiteX122" fmla="*/ 1333500 w 8405893"/>
                  <a:gd name="connsiteY122" fmla="*/ 469470 h 1283857"/>
                  <a:gd name="connsiteX123" fmla="*/ 1273969 w 8405893"/>
                  <a:gd name="connsiteY123" fmla="*/ 517094 h 1283857"/>
                  <a:gd name="connsiteX124" fmla="*/ 1200150 w 8405893"/>
                  <a:gd name="connsiteY124" fmla="*/ 529001 h 1283857"/>
                  <a:gd name="connsiteX125" fmla="*/ 1164431 w 8405893"/>
                  <a:gd name="connsiteY125" fmla="*/ 521857 h 1283857"/>
                  <a:gd name="connsiteX126" fmla="*/ 1085851 w 8405893"/>
                  <a:gd name="connsiteY126" fmla="*/ 552814 h 1283857"/>
                  <a:gd name="connsiteX127" fmla="*/ 1064419 w 8405893"/>
                  <a:gd name="connsiteY127" fmla="*/ 581389 h 1283857"/>
                  <a:gd name="connsiteX128" fmla="*/ 997744 w 8405893"/>
                  <a:gd name="connsiteY128" fmla="*/ 571864 h 1283857"/>
                  <a:gd name="connsiteX129" fmla="*/ 928688 w 8405893"/>
                  <a:gd name="connsiteY129" fmla="*/ 595676 h 1283857"/>
                  <a:gd name="connsiteX130" fmla="*/ 873919 w 8405893"/>
                  <a:gd name="connsiteY130" fmla="*/ 633776 h 1283857"/>
                  <a:gd name="connsiteX131" fmla="*/ 778669 w 8405893"/>
                  <a:gd name="connsiteY131" fmla="*/ 648063 h 1283857"/>
                  <a:gd name="connsiteX132" fmla="*/ 764381 w 8405893"/>
                  <a:gd name="connsiteY132" fmla="*/ 669495 h 1283857"/>
                  <a:gd name="connsiteX133" fmla="*/ 776287 w 8405893"/>
                  <a:gd name="connsiteY133" fmla="*/ 714739 h 1283857"/>
                  <a:gd name="connsiteX134" fmla="*/ 676276 w 8405893"/>
                  <a:gd name="connsiteY134" fmla="*/ 767126 h 1283857"/>
                  <a:gd name="connsiteX135" fmla="*/ 638175 w 8405893"/>
                  <a:gd name="connsiteY135" fmla="*/ 738550 h 1283857"/>
                  <a:gd name="connsiteX136" fmla="*/ 607219 w 8405893"/>
                  <a:gd name="connsiteY136" fmla="*/ 795701 h 1283857"/>
                  <a:gd name="connsiteX137" fmla="*/ 550069 w 8405893"/>
                  <a:gd name="connsiteY137" fmla="*/ 757601 h 1283857"/>
                  <a:gd name="connsiteX138" fmla="*/ 514350 w 8405893"/>
                  <a:gd name="connsiteY138" fmla="*/ 786176 h 1283857"/>
                  <a:gd name="connsiteX139" fmla="*/ 478631 w 8405893"/>
                  <a:gd name="connsiteY139" fmla="*/ 750457 h 1283857"/>
                  <a:gd name="connsiteX140" fmla="*/ 426244 w 8405893"/>
                  <a:gd name="connsiteY140" fmla="*/ 762364 h 1283857"/>
                  <a:gd name="connsiteX141" fmla="*/ 381000 w 8405893"/>
                  <a:gd name="connsiteY141" fmla="*/ 733789 h 1283857"/>
                  <a:gd name="connsiteX142" fmla="*/ 357188 w 8405893"/>
                  <a:gd name="connsiteY142" fmla="*/ 752839 h 1283857"/>
                  <a:gd name="connsiteX143" fmla="*/ 333375 w 8405893"/>
                  <a:gd name="connsiteY143" fmla="*/ 812370 h 1283857"/>
                  <a:gd name="connsiteX144" fmla="*/ 261938 w 8405893"/>
                  <a:gd name="connsiteY144" fmla="*/ 850469 h 1283857"/>
                  <a:gd name="connsiteX145" fmla="*/ 209550 w 8405893"/>
                  <a:gd name="connsiteY145" fmla="*/ 821895 h 1283857"/>
                  <a:gd name="connsiteX146" fmla="*/ 119063 w 8405893"/>
                  <a:gd name="connsiteY146" fmla="*/ 831420 h 1283857"/>
                  <a:gd name="connsiteX147" fmla="*/ 71437 w 8405893"/>
                  <a:gd name="connsiteY147" fmla="*/ 798083 h 1283857"/>
                  <a:gd name="connsiteX148" fmla="*/ 0 w 8405893"/>
                  <a:gd name="connsiteY148" fmla="*/ 817132 h 1283857"/>
                  <a:gd name="connsiteX149" fmla="*/ 4762 w 8405893"/>
                  <a:gd name="connsiteY149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310643 w 8405893"/>
                  <a:gd name="connsiteY2" fmla="*/ 371475 h 1283857"/>
                  <a:gd name="connsiteX3" fmla="*/ 8296355 w 8405893"/>
                  <a:gd name="connsiteY3" fmla="*/ 457200 h 1283857"/>
                  <a:gd name="connsiteX4" fmla="*/ 8339218 w 8405893"/>
                  <a:gd name="connsiteY4" fmla="*/ 485775 h 1283857"/>
                  <a:gd name="connsiteX5" fmla="*/ 8339218 w 8405893"/>
                  <a:gd name="connsiteY5" fmla="*/ 614362 h 1283857"/>
                  <a:gd name="connsiteX6" fmla="*/ 8205868 w 8405893"/>
                  <a:gd name="connsiteY6" fmla="*/ 671512 h 1283857"/>
                  <a:gd name="connsiteX7" fmla="*/ 8039180 w 8405893"/>
                  <a:gd name="connsiteY7" fmla="*/ 881062 h 1283857"/>
                  <a:gd name="connsiteX8" fmla="*/ 7929643 w 8405893"/>
                  <a:gd name="connsiteY8" fmla="*/ 838200 h 1283857"/>
                  <a:gd name="connsiteX9" fmla="*/ 7867730 w 8405893"/>
                  <a:gd name="connsiteY9" fmla="*/ 862012 h 1283857"/>
                  <a:gd name="connsiteX10" fmla="*/ 7703343 w 8405893"/>
                  <a:gd name="connsiteY10" fmla="*/ 807607 h 1283857"/>
                  <a:gd name="connsiteX11" fmla="*/ 7696200 w 8405893"/>
                  <a:gd name="connsiteY11" fmla="*/ 779032 h 1283857"/>
                  <a:gd name="connsiteX12" fmla="*/ 7567613 w 8405893"/>
                  <a:gd name="connsiteY12" fmla="*/ 757601 h 1283857"/>
                  <a:gd name="connsiteX13" fmla="*/ 7384257 w 8405893"/>
                  <a:gd name="connsiteY13" fmla="*/ 836182 h 1283857"/>
                  <a:gd name="connsiteX14" fmla="*/ 7227093 w 8405893"/>
                  <a:gd name="connsiteY14" fmla="*/ 721882 h 1283857"/>
                  <a:gd name="connsiteX15" fmla="*/ 7150894 w 8405893"/>
                  <a:gd name="connsiteY15" fmla="*/ 729026 h 1283857"/>
                  <a:gd name="connsiteX16" fmla="*/ 7077075 w 8405893"/>
                  <a:gd name="connsiteY16" fmla="*/ 724264 h 1283857"/>
                  <a:gd name="connsiteX17" fmla="*/ 6938963 w 8405893"/>
                  <a:gd name="connsiteY17" fmla="*/ 829039 h 1283857"/>
                  <a:gd name="connsiteX18" fmla="*/ 6831806 w 8405893"/>
                  <a:gd name="connsiteY18" fmla="*/ 936195 h 1283857"/>
                  <a:gd name="connsiteX19" fmla="*/ 6788944 w 8405893"/>
                  <a:gd name="connsiteY19" fmla="*/ 1005251 h 1283857"/>
                  <a:gd name="connsiteX20" fmla="*/ 6796088 w 8405893"/>
                  <a:gd name="connsiteY20" fmla="*/ 1040970 h 1283857"/>
                  <a:gd name="connsiteX21" fmla="*/ 6734175 w 8405893"/>
                  <a:gd name="connsiteY21" fmla="*/ 1052876 h 1283857"/>
                  <a:gd name="connsiteX22" fmla="*/ 6753225 w 8405893"/>
                  <a:gd name="connsiteY22" fmla="*/ 1052876 h 1283857"/>
                  <a:gd name="connsiteX23" fmla="*/ 6719888 w 8405893"/>
                  <a:gd name="connsiteY23" fmla="*/ 1083832 h 1283857"/>
                  <a:gd name="connsiteX24" fmla="*/ 6619875 w 8405893"/>
                  <a:gd name="connsiteY24" fmla="*/ 1083833 h 1283857"/>
                  <a:gd name="connsiteX25" fmla="*/ 6524625 w 8405893"/>
                  <a:gd name="connsiteY25" fmla="*/ 1138601 h 1283857"/>
                  <a:gd name="connsiteX26" fmla="*/ 6443663 w 8405893"/>
                  <a:gd name="connsiteY26" fmla="*/ 1148126 h 1283857"/>
                  <a:gd name="connsiteX27" fmla="*/ 6403181 w 8405893"/>
                  <a:gd name="connsiteY27" fmla="*/ 1181464 h 1283857"/>
                  <a:gd name="connsiteX28" fmla="*/ 6353175 w 8405893"/>
                  <a:gd name="connsiteY28" fmla="*/ 1186226 h 1283857"/>
                  <a:gd name="connsiteX29" fmla="*/ 6231732 w 8405893"/>
                  <a:gd name="connsiteY29" fmla="*/ 1279095 h 1283857"/>
                  <a:gd name="connsiteX30" fmla="*/ 6172200 w 8405893"/>
                  <a:gd name="connsiteY30" fmla="*/ 1283857 h 1283857"/>
                  <a:gd name="connsiteX31" fmla="*/ 6119813 w 8405893"/>
                  <a:gd name="connsiteY31" fmla="*/ 1248139 h 1283857"/>
                  <a:gd name="connsiteX32" fmla="*/ 6093619 w 8405893"/>
                  <a:gd name="connsiteY32" fmla="*/ 1283857 h 1283857"/>
                  <a:gd name="connsiteX33" fmla="*/ 5895975 w 8405893"/>
                  <a:gd name="connsiteY33" fmla="*/ 1276714 h 1283857"/>
                  <a:gd name="connsiteX34" fmla="*/ 5834063 w 8405893"/>
                  <a:gd name="connsiteY34" fmla="*/ 1231470 h 1283857"/>
                  <a:gd name="connsiteX35" fmla="*/ 5636419 w 8405893"/>
                  <a:gd name="connsiteY35" fmla="*/ 1248139 h 1283857"/>
                  <a:gd name="connsiteX36" fmla="*/ 5548313 w 8405893"/>
                  <a:gd name="connsiteY36" fmla="*/ 1164794 h 1283857"/>
                  <a:gd name="connsiteX37" fmla="*/ 5472113 w 8405893"/>
                  <a:gd name="connsiteY37" fmla="*/ 1119551 h 1283857"/>
                  <a:gd name="connsiteX38" fmla="*/ 5474493 w 8405893"/>
                  <a:gd name="connsiteY38" fmla="*/ 1062401 h 1283857"/>
                  <a:gd name="connsiteX39" fmla="*/ 5455444 w 8405893"/>
                  <a:gd name="connsiteY39" fmla="*/ 1019538 h 1283857"/>
                  <a:gd name="connsiteX40" fmla="*/ 5360194 w 8405893"/>
                  <a:gd name="connsiteY40" fmla="*/ 1021920 h 1283857"/>
                  <a:gd name="connsiteX41" fmla="*/ 5264944 w 8405893"/>
                  <a:gd name="connsiteY41" fmla="*/ 1000489 h 1283857"/>
                  <a:gd name="connsiteX42" fmla="*/ 5195887 w 8405893"/>
                  <a:gd name="connsiteY42" fmla="*/ 933813 h 1283857"/>
                  <a:gd name="connsiteX43" fmla="*/ 5160169 w 8405893"/>
                  <a:gd name="connsiteY43" fmla="*/ 890951 h 1283857"/>
                  <a:gd name="connsiteX44" fmla="*/ 5079206 w 8405893"/>
                  <a:gd name="connsiteY44" fmla="*/ 867138 h 1283857"/>
                  <a:gd name="connsiteX45" fmla="*/ 5005388 w 8405893"/>
                  <a:gd name="connsiteY45" fmla="*/ 879044 h 1283857"/>
                  <a:gd name="connsiteX46" fmla="*/ 4948237 w 8405893"/>
                  <a:gd name="connsiteY46" fmla="*/ 826657 h 1283857"/>
                  <a:gd name="connsiteX47" fmla="*/ 4852988 w 8405893"/>
                  <a:gd name="connsiteY47" fmla="*/ 838564 h 1283857"/>
                  <a:gd name="connsiteX48" fmla="*/ 4800600 w 8405893"/>
                  <a:gd name="connsiteY48" fmla="*/ 812370 h 1283857"/>
                  <a:gd name="connsiteX49" fmla="*/ 4719638 w 8405893"/>
                  <a:gd name="connsiteY49" fmla="*/ 855232 h 1283857"/>
                  <a:gd name="connsiteX50" fmla="*/ 4581525 w 8405893"/>
                  <a:gd name="connsiteY50" fmla="*/ 879045 h 1283857"/>
                  <a:gd name="connsiteX51" fmla="*/ 4452938 w 8405893"/>
                  <a:gd name="connsiteY51" fmla="*/ 971914 h 1283857"/>
                  <a:gd name="connsiteX52" fmla="*/ 4405312 w 8405893"/>
                  <a:gd name="connsiteY52" fmla="*/ 933814 h 1283857"/>
                  <a:gd name="connsiteX53" fmla="*/ 4383881 w 8405893"/>
                  <a:gd name="connsiteY53" fmla="*/ 964769 h 1283857"/>
                  <a:gd name="connsiteX54" fmla="*/ 4310063 w 8405893"/>
                  <a:gd name="connsiteY54" fmla="*/ 914764 h 1283857"/>
                  <a:gd name="connsiteX55" fmla="*/ 4271963 w 8405893"/>
                  <a:gd name="connsiteY55" fmla="*/ 921907 h 1283857"/>
                  <a:gd name="connsiteX56" fmla="*/ 4250531 w 8405893"/>
                  <a:gd name="connsiteY56" fmla="*/ 883807 h 1283857"/>
                  <a:gd name="connsiteX57" fmla="*/ 4191000 w 8405893"/>
                  <a:gd name="connsiteY57" fmla="*/ 888570 h 1283857"/>
                  <a:gd name="connsiteX58" fmla="*/ 4145756 w 8405893"/>
                  <a:gd name="connsiteY58" fmla="*/ 859995 h 1283857"/>
                  <a:gd name="connsiteX59" fmla="*/ 4107656 w 8405893"/>
                  <a:gd name="connsiteY59" fmla="*/ 857614 h 1283857"/>
                  <a:gd name="connsiteX60" fmla="*/ 4088606 w 8405893"/>
                  <a:gd name="connsiteY60" fmla="*/ 809988 h 1283857"/>
                  <a:gd name="connsiteX61" fmla="*/ 4074319 w 8405893"/>
                  <a:gd name="connsiteY61" fmla="*/ 779032 h 1283857"/>
                  <a:gd name="connsiteX62" fmla="*/ 4029075 w 8405893"/>
                  <a:gd name="connsiteY62" fmla="*/ 788557 h 1283857"/>
                  <a:gd name="connsiteX63" fmla="*/ 4010025 w 8405893"/>
                  <a:gd name="connsiteY63" fmla="*/ 752839 h 1283857"/>
                  <a:gd name="connsiteX64" fmla="*/ 4031457 w 8405893"/>
                  <a:gd name="connsiteY64" fmla="*/ 698070 h 1283857"/>
                  <a:gd name="connsiteX65" fmla="*/ 4000500 w 8405893"/>
                  <a:gd name="connsiteY65" fmla="*/ 671876 h 1283857"/>
                  <a:gd name="connsiteX66" fmla="*/ 4017169 w 8405893"/>
                  <a:gd name="connsiteY66" fmla="*/ 629014 h 1283857"/>
                  <a:gd name="connsiteX67" fmla="*/ 3990975 w 8405893"/>
                  <a:gd name="connsiteY67" fmla="*/ 586151 h 1283857"/>
                  <a:gd name="connsiteX68" fmla="*/ 3986213 w 8405893"/>
                  <a:gd name="connsiteY68" fmla="*/ 524239 h 1283857"/>
                  <a:gd name="connsiteX69" fmla="*/ 4010025 w 8405893"/>
                  <a:gd name="connsiteY69" fmla="*/ 459944 h 1283857"/>
                  <a:gd name="connsiteX70" fmla="*/ 3971925 w 8405893"/>
                  <a:gd name="connsiteY70" fmla="*/ 462326 h 1283857"/>
                  <a:gd name="connsiteX71" fmla="*/ 3852863 w 8405893"/>
                  <a:gd name="connsiteY71" fmla="*/ 405176 h 1283857"/>
                  <a:gd name="connsiteX72" fmla="*/ 3814762 w 8405893"/>
                  <a:gd name="connsiteY72" fmla="*/ 409938 h 1283857"/>
                  <a:gd name="connsiteX73" fmla="*/ 3609975 w 8405893"/>
                  <a:gd name="connsiteY73" fmla="*/ 300401 h 1283857"/>
                  <a:gd name="connsiteX74" fmla="*/ 3505200 w 8405893"/>
                  <a:gd name="connsiteY74" fmla="*/ 269445 h 1283857"/>
                  <a:gd name="connsiteX75" fmla="*/ 3440906 w 8405893"/>
                  <a:gd name="connsiteY75" fmla="*/ 278969 h 1283857"/>
                  <a:gd name="connsiteX76" fmla="*/ 3409950 w 8405893"/>
                  <a:gd name="connsiteY76" fmla="*/ 214676 h 1283857"/>
                  <a:gd name="connsiteX77" fmla="*/ 3352800 w 8405893"/>
                  <a:gd name="connsiteY77" fmla="*/ 214676 h 1283857"/>
                  <a:gd name="connsiteX78" fmla="*/ 3214687 w 8405893"/>
                  <a:gd name="connsiteY78" fmla="*/ 109901 h 1283857"/>
                  <a:gd name="connsiteX79" fmla="*/ 3181350 w 8405893"/>
                  <a:gd name="connsiteY79" fmla="*/ 169433 h 1283857"/>
                  <a:gd name="connsiteX80" fmla="*/ 3126581 w 8405893"/>
                  <a:gd name="connsiteY80" fmla="*/ 238489 h 1283857"/>
                  <a:gd name="connsiteX81" fmla="*/ 3083719 w 8405893"/>
                  <a:gd name="connsiteY81" fmla="*/ 255157 h 1283857"/>
                  <a:gd name="connsiteX82" fmla="*/ 3052763 w 8405893"/>
                  <a:gd name="connsiteY82" fmla="*/ 248014 h 1283857"/>
                  <a:gd name="connsiteX83" fmla="*/ 3028950 w 8405893"/>
                  <a:gd name="connsiteY83" fmla="*/ 276589 h 1283857"/>
                  <a:gd name="connsiteX84" fmla="*/ 3002756 w 8405893"/>
                  <a:gd name="connsiteY84" fmla="*/ 355170 h 1283857"/>
                  <a:gd name="connsiteX85" fmla="*/ 2959894 w 8405893"/>
                  <a:gd name="connsiteY85" fmla="*/ 352789 h 1283857"/>
                  <a:gd name="connsiteX86" fmla="*/ 2928937 w 8405893"/>
                  <a:gd name="connsiteY86" fmla="*/ 414701 h 1283857"/>
                  <a:gd name="connsiteX87" fmla="*/ 2924175 w 8405893"/>
                  <a:gd name="connsiteY87" fmla="*/ 478995 h 1283857"/>
                  <a:gd name="connsiteX88" fmla="*/ 2897982 w 8405893"/>
                  <a:gd name="connsiteY88" fmla="*/ 517095 h 1283857"/>
                  <a:gd name="connsiteX89" fmla="*/ 2924175 w 8405893"/>
                  <a:gd name="connsiteY89" fmla="*/ 576626 h 1283857"/>
                  <a:gd name="connsiteX90" fmla="*/ 2926556 w 8405893"/>
                  <a:gd name="connsiteY90" fmla="*/ 645682 h 1283857"/>
                  <a:gd name="connsiteX91" fmla="*/ 2955131 w 8405893"/>
                  <a:gd name="connsiteY91" fmla="*/ 698070 h 1283857"/>
                  <a:gd name="connsiteX92" fmla="*/ 3002757 w 8405893"/>
                  <a:gd name="connsiteY92" fmla="*/ 752839 h 1283857"/>
                  <a:gd name="connsiteX93" fmla="*/ 2952750 w 8405893"/>
                  <a:gd name="connsiteY93" fmla="*/ 890951 h 1283857"/>
                  <a:gd name="connsiteX94" fmla="*/ 2883694 w 8405893"/>
                  <a:gd name="connsiteY94" fmla="*/ 957626 h 1283857"/>
                  <a:gd name="connsiteX95" fmla="*/ 2812256 w 8405893"/>
                  <a:gd name="connsiteY95" fmla="*/ 952864 h 1283857"/>
                  <a:gd name="connsiteX96" fmla="*/ 2774156 w 8405893"/>
                  <a:gd name="connsiteY96" fmla="*/ 1010014 h 1283857"/>
                  <a:gd name="connsiteX97" fmla="*/ 2714625 w 8405893"/>
                  <a:gd name="connsiteY97" fmla="*/ 1024301 h 1283857"/>
                  <a:gd name="connsiteX98" fmla="*/ 2645569 w 8405893"/>
                  <a:gd name="connsiteY98" fmla="*/ 964770 h 1283857"/>
                  <a:gd name="connsiteX99" fmla="*/ 2590800 w 8405893"/>
                  <a:gd name="connsiteY99" fmla="*/ 936195 h 1283857"/>
                  <a:gd name="connsiteX100" fmla="*/ 2547938 w 8405893"/>
                  <a:gd name="connsiteY100" fmla="*/ 950482 h 1283857"/>
                  <a:gd name="connsiteX101" fmla="*/ 2495550 w 8405893"/>
                  <a:gd name="connsiteY101" fmla="*/ 933814 h 1283857"/>
                  <a:gd name="connsiteX102" fmla="*/ 2428875 w 8405893"/>
                  <a:gd name="connsiteY102" fmla="*/ 879045 h 1283857"/>
                  <a:gd name="connsiteX103" fmla="*/ 2383631 w 8405893"/>
                  <a:gd name="connsiteY103" fmla="*/ 890951 h 1283857"/>
                  <a:gd name="connsiteX104" fmla="*/ 2362200 w 8405893"/>
                  <a:gd name="connsiteY104" fmla="*/ 859995 h 1283857"/>
                  <a:gd name="connsiteX105" fmla="*/ 2305050 w 8405893"/>
                  <a:gd name="connsiteY105" fmla="*/ 900476 h 1283857"/>
                  <a:gd name="connsiteX106" fmla="*/ 2188369 w 8405893"/>
                  <a:gd name="connsiteY106" fmla="*/ 879045 h 1283857"/>
                  <a:gd name="connsiteX107" fmla="*/ 2138363 w 8405893"/>
                  <a:gd name="connsiteY107" fmla="*/ 826657 h 1283857"/>
                  <a:gd name="connsiteX108" fmla="*/ 2095500 w 8405893"/>
                  <a:gd name="connsiteY108" fmla="*/ 812370 h 1283857"/>
                  <a:gd name="connsiteX109" fmla="*/ 2052638 w 8405893"/>
                  <a:gd name="connsiteY109" fmla="*/ 838564 h 1283857"/>
                  <a:gd name="connsiteX110" fmla="*/ 2000250 w 8405893"/>
                  <a:gd name="connsiteY110" fmla="*/ 748076 h 1283857"/>
                  <a:gd name="connsiteX111" fmla="*/ 1990725 w 8405893"/>
                  <a:gd name="connsiteY111" fmla="*/ 600438 h 1283857"/>
                  <a:gd name="connsiteX112" fmla="*/ 1938337 w 8405893"/>
                  <a:gd name="connsiteY112" fmla="*/ 593294 h 1283857"/>
                  <a:gd name="connsiteX113" fmla="*/ 1847850 w 8405893"/>
                  <a:gd name="connsiteY113" fmla="*/ 583770 h 1283857"/>
                  <a:gd name="connsiteX114" fmla="*/ 1793081 w 8405893"/>
                  <a:gd name="connsiteY114" fmla="*/ 545670 h 1283857"/>
                  <a:gd name="connsiteX115" fmla="*/ 1724025 w 8405893"/>
                  <a:gd name="connsiteY115" fmla="*/ 555195 h 1283857"/>
                  <a:gd name="connsiteX116" fmla="*/ 1678781 w 8405893"/>
                  <a:gd name="connsiteY116" fmla="*/ 529001 h 1283857"/>
                  <a:gd name="connsiteX117" fmla="*/ 1669257 w 8405893"/>
                  <a:gd name="connsiteY117" fmla="*/ 457564 h 1283857"/>
                  <a:gd name="connsiteX118" fmla="*/ 1645444 w 8405893"/>
                  <a:gd name="connsiteY118" fmla="*/ 443276 h 1283857"/>
                  <a:gd name="connsiteX119" fmla="*/ 1607344 w 8405893"/>
                  <a:gd name="connsiteY119" fmla="*/ 490900 h 1283857"/>
                  <a:gd name="connsiteX120" fmla="*/ 1528762 w 8405893"/>
                  <a:gd name="connsiteY120" fmla="*/ 417082 h 1283857"/>
                  <a:gd name="connsiteX121" fmla="*/ 1488281 w 8405893"/>
                  <a:gd name="connsiteY121" fmla="*/ 457564 h 1283857"/>
                  <a:gd name="connsiteX122" fmla="*/ 1412081 w 8405893"/>
                  <a:gd name="connsiteY122" fmla="*/ 443276 h 1283857"/>
                  <a:gd name="connsiteX123" fmla="*/ 1333500 w 8405893"/>
                  <a:gd name="connsiteY123" fmla="*/ 469470 h 1283857"/>
                  <a:gd name="connsiteX124" fmla="*/ 1273969 w 8405893"/>
                  <a:gd name="connsiteY124" fmla="*/ 517094 h 1283857"/>
                  <a:gd name="connsiteX125" fmla="*/ 1200150 w 8405893"/>
                  <a:gd name="connsiteY125" fmla="*/ 529001 h 1283857"/>
                  <a:gd name="connsiteX126" fmla="*/ 1164431 w 8405893"/>
                  <a:gd name="connsiteY126" fmla="*/ 521857 h 1283857"/>
                  <a:gd name="connsiteX127" fmla="*/ 1085851 w 8405893"/>
                  <a:gd name="connsiteY127" fmla="*/ 552814 h 1283857"/>
                  <a:gd name="connsiteX128" fmla="*/ 1064419 w 8405893"/>
                  <a:gd name="connsiteY128" fmla="*/ 581389 h 1283857"/>
                  <a:gd name="connsiteX129" fmla="*/ 997744 w 8405893"/>
                  <a:gd name="connsiteY129" fmla="*/ 571864 h 1283857"/>
                  <a:gd name="connsiteX130" fmla="*/ 928688 w 8405893"/>
                  <a:gd name="connsiteY130" fmla="*/ 595676 h 1283857"/>
                  <a:gd name="connsiteX131" fmla="*/ 873919 w 8405893"/>
                  <a:gd name="connsiteY131" fmla="*/ 633776 h 1283857"/>
                  <a:gd name="connsiteX132" fmla="*/ 778669 w 8405893"/>
                  <a:gd name="connsiteY132" fmla="*/ 648063 h 1283857"/>
                  <a:gd name="connsiteX133" fmla="*/ 764381 w 8405893"/>
                  <a:gd name="connsiteY133" fmla="*/ 669495 h 1283857"/>
                  <a:gd name="connsiteX134" fmla="*/ 776287 w 8405893"/>
                  <a:gd name="connsiteY134" fmla="*/ 714739 h 1283857"/>
                  <a:gd name="connsiteX135" fmla="*/ 676276 w 8405893"/>
                  <a:gd name="connsiteY135" fmla="*/ 767126 h 1283857"/>
                  <a:gd name="connsiteX136" fmla="*/ 638175 w 8405893"/>
                  <a:gd name="connsiteY136" fmla="*/ 738550 h 1283857"/>
                  <a:gd name="connsiteX137" fmla="*/ 607219 w 8405893"/>
                  <a:gd name="connsiteY137" fmla="*/ 795701 h 1283857"/>
                  <a:gd name="connsiteX138" fmla="*/ 550069 w 8405893"/>
                  <a:gd name="connsiteY138" fmla="*/ 757601 h 1283857"/>
                  <a:gd name="connsiteX139" fmla="*/ 514350 w 8405893"/>
                  <a:gd name="connsiteY139" fmla="*/ 786176 h 1283857"/>
                  <a:gd name="connsiteX140" fmla="*/ 478631 w 8405893"/>
                  <a:gd name="connsiteY140" fmla="*/ 750457 h 1283857"/>
                  <a:gd name="connsiteX141" fmla="*/ 426244 w 8405893"/>
                  <a:gd name="connsiteY141" fmla="*/ 762364 h 1283857"/>
                  <a:gd name="connsiteX142" fmla="*/ 381000 w 8405893"/>
                  <a:gd name="connsiteY142" fmla="*/ 733789 h 1283857"/>
                  <a:gd name="connsiteX143" fmla="*/ 357188 w 8405893"/>
                  <a:gd name="connsiteY143" fmla="*/ 752839 h 1283857"/>
                  <a:gd name="connsiteX144" fmla="*/ 333375 w 8405893"/>
                  <a:gd name="connsiteY144" fmla="*/ 812370 h 1283857"/>
                  <a:gd name="connsiteX145" fmla="*/ 261938 w 8405893"/>
                  <a:gd name="connsiteY145" fmla="*/ 850469 h 1283857"/>
                  <a:gd name="connsiteX146" fmla="*/ 209550 w 8405893"/>
                  <a:gd name="connsiteY146" fmla="*/ 821895 h 1283857"/>
                  <a:gd name="connsiteX147" fmla="*/ 119063 w 8405893"/>
                  <a:gd name="connsiteY147" fmla="*/ 831420 h 1283857"/>
                  <a:gd name="connsiteX148" fmla="*/ 71437 w 8405893"/>
                  <a:gd name="connsiteY148" fmla="*/ 798083 h 1283857"/>
                  <a:gd name="connsiteX149" fmla="*/ 0 w 8405893"/>
                  <a:gd name="connsiteY149" fmla="*/ 817132 h 1283857"/>
                  <a:gd name="connsiteX150" fmla="*/ 4762 w 8405893"/>
                  <a:gd name="connsiteY150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324930 w 8405893"/>
                  <a:gd name="connsiteY2" fmla="*/ 261937 h 1283857"/>
                  <a:gd name="connsiteX3" fmla="*/ 8310643 w 8405893"/>
                  <a:gd name="connsiteY3" fmla="*/ 371475 h 1283857"/>
                  <a:gd name="connsiteX4" fmla="*/ 8296355 w 8405893"/>
                  <a:gd name="connsiteY4" fmla="*/ 457200 h 1283857"/>
                  <a:gd name="connsiteX5" fmla="*/ 8339218 w 8405893"/>
                  <a:gd name="connsiteY5" fmla="*/ 485775 h 1283857"/>
                  <a:gd name="connsiteX6" fmla="*/ 8339218 w 8405893"/>
                  <a:gd name="connsiteY6" fmla="*/ 614362 h 1283857"/>
                  <a:gd name="connsiteX7" fmla="*/ 8205868 w 8405893"/>
                  <a:gd name="connsiteY7" fmla="*/ 671512 h 1283857"/>
                  <a:gd name="connsiteX8" fmla="*/ 8039180 w 8405893"/>
                  <a:gd name="connsiteY8" fmla="*/ 881062 h 1283857"/>
                  <a:gd name="connsiteX9" fmla="*/ 7929643 w 8405893"/>
                  <a:gd name="connsiteY9" fmla="*/ 838200 h 1283857"/>
                  <a:gd name="connsiteX10" fmla="*/ 7867730 w 8405893"/>
                  <a:gd name="connsiteY10" fmla="*/ 862012 h 1283857"/>
                  <a:gd name="connsiteX11" fmla="*/ 7703343 w 8405893"/>
                  <a:gd name="connsiteY11" fmla="*/ 807607 h 1283857"/>
                  <a:gd name="connsiteX12" fmla="*/ 7696200 w 8405893"/>
                  <a:gd name="connsiteY12" fmla="*/ 779032 h 1283857"/>
                  <a:gd name="connsiteX13" fmla="*/ 7567613 w 8405893"/>
                  <a:gd name="connsiteY13" fmla="*/ 757601 h 1283857"/>
                  <a:gd name="connsiteX14" fmla="*/ 7384257 w 8405893"/>
                  <a:gd name="connsiteY14" fmla="*/ 836182 h 1283857"/>
                  <a:gd name="connsiteX15" fmla="*/ 7227093 w 8405893"/>
                  <a:gd name="connsiteY15" fmla="*/ 721882 h 1283857"/>
                  <a:gd name="connsiteX16" fmla="*/ 7150894 w 8405893"/>
                  <a:gd name="connsiteY16" fmla="*/ 729026 h 1283857"/>
                  <a:gd name="connsiteX17" fmla="*/ 7077075 w 8405893"/>
                  <a:gd name="connsiteY17" fmla="*/ 724264 h 1283857"/>
                  <a:gd name="connsiteX18" fmla="*/ 6938963 w 8405893"/>
                  <a:gd name="connsiteY18" fmla="*/ 829039 h 1283857"/>
                  <a:gd name="connsiteX19" fmla="*/ 6831806 w 8405893"/>
                  <a:gd name="connsiteY19" fmla="*/ 936195 h 1283857"/>
                  <a:gd name="connsiteX20" fmla="*/ 6788944 w 8405893"/>
                  <a:gd name="connsiteY20" fmla="*/ 1005251 h 1283857"/>
                  <a:gd name="connsiteX21" fmla="*/ 6796088 w 8405893"/>
                  <a:gd name="connsiteY21" fmla="*/ 1040970 h 1283857"/>
                  <a:gd name="connsiteX22" fmla="*/ 6734175 w 8405893"/>
                  <a:gd name="connsiteY22" fmla="*/ 1052876 h 1283857"/>
                  <a:gd name="connsiteX23" fmla="*/ 6753225 w 8405893"/>
                  <a:gd name="connsiteY23" fmla="*/ 1052876 h 1283857"/>
                  <a:gd name="connsiteX24" fmla="*/ 6719888 w 8405893"/>
                  <a:gd name="connsiteY24" fmla="*/ 1083832 h 1283857"/>
                  <a:gd name="connsiteX25" fmla="*/ 6619875 w 8405893"/>
                  <a:gd name="connsiteY25" fmla="*/ 1083833 h 1283857"/>
                  <a:gd name="connsiteX26" fmla="*/ 6524625 w 8405893"/>
                  <a:gd name="connsiteY26" fmla="*/ 1138601 h 1283857"/>
                  <a:gd name="connsiteX27" fmla="*/ 6443663 w 8405893"/>
                  <a:gd name="connsiteY27" fmla="*/ 1148126 h 1283857"/>
                  <a:gd name="connsiteX28" fmla="*/ 6403181 w 8405893"/>
                  <a:gd name="connsiteY28" fmla="*/ 1181464 h 1283857"/>
                  <a:gd name="connsiteX29" fmla="*/ 6353175 w 8405893"/>
                  <a:gd name="connsiteY29" fmla="*/ 1186226 h 1283857"/>
                  <a:gd name="connsiteX30" fmla="*/ 6231732 w 8405893"/>
                  <a:gd name="connsiteY30" fmla="*/ 1279095 h 1283857"/>
                  <a:gd name="connsiteX31" fmla="*/ 6172200 w 8405893"/>
                  <a:gd name="connsiteY31" fmla="*/ 1283857 h 1283857"/>
                  <a:gd name="connsiteX32" fmla="*/ 6119813 w 8405893"/>
                  <a:gd name="connsiteY32" fmla="*/ 1248139 h 1283857"/>
                  <a:gd name="connsiteX33" fmla="*/ 6093619 w 8405893"/>
                  <a:gd name="connsiteY33" fmla="*/ 1283857 h 1283857"/>
                  <a:gd name="connsiteX34" fmla="*/ 5895975 w 8405893"/>
                  <a:gd name="connsiteY34" fmla="*/ 1276714 h 1283857"/>
                  <a:gd name="connsiteX35" fmla="*/ 5834063 w 8405893"/>
                  <a:gd name="connsiteY35" fmla="*/ 1231470 h 1283857"/>
                  <a:gd name="connsiteX36" fmla="*/ 5636419 w 8405893"/>
                  <a:gd name="connsiteY36" fmla="*/ 1248139 h 1283857"/>
                  <a:gd name="connsiteX37" fmla="*/ 5548313 w 8405893"/>
                  <a:gd name="connsiteY37" fmla="*/ 1164794 h 1283857"/>
                  <a:gd name="connsiteX38" fmla="*/ 5472113 w 8405893"/>
                  <a:gd name="connsiteY38" fmla="*/ 1119551 h 1283857"/>
                  <a:gd name="connsiteX39" fmla="*/ 5474493 w 8405893"/>
                  <a:gd name="connsiteY39" fmla="*/ 1062401 h 1283857"/>
                  <a:gd name="connsiteX40" fmla="*/ 5455444 w 8405893"/>
                  <a:gd name="connsiteY40" fmla="*/ 1019538 h 1283857"/>
                  <a:gd name="connsiteX41" fmla="*/ 5360194 w 8405893"/>
                  <a:gd name="connsiteY41" fmla="*/ 1021920 h 1283857"/>
                  <a:gd name="connsiteX42" fmla="*/ 5264944 w 8405893"/>
                  <a:gd name="connsiteY42" fmla="*/ 1000489 h 1283857"/>
                  <a:gd name="connsiteX43" fmla="*/ 5195887 w 8405893"/>
                  <a:gd name="connsiteY43" fmla="*/ 933813 h 1283857"/>
                  <a:gd name="connsiteX44" fmla="*/ 5160169 w 8405893"/>
                  <a:gd name="connsiteY44" fmla="*/ 890951 h 1283857"/>
                  <a:gd name="connsiteX45" fmla="*/ 5079206 w 8405893"/>
                  <a:gd name="connsiteY45" fmla="*/ 867138 h 1283857"/>
                  <a:gd name="connsiteX46" fmla="*/ 5005388 w 8405893"/>
                  <a:gd name="connsiteY46" fmla="*/ 879044 h 1283857"/>
                  <a:gd name="connsiteX47" fmla="*/ 4948237 w 8405893"/>
                  <a:gd name="connsiteY47" fmla="*/ 826657 h 1283857"/>
                  <a:gd name="connsiteX48" fmla="*/ 4852988 w 8405893"/>
                  <a:gd name="connsiteY48" fmla="*/ 838564 h 1283857"/>
                  <a:gd name="connsiteX49" fmla="*/ 4800600 w 8405893"/>
                  <a:gd name="connsiteY49" fmla="*/ 812370 h 1283857"/>
                  <a:gd name="connsiteX50" fmla="*/ 4719638 w 8405893"/>
                  <a:gd name="connsiteY50" fmla="*/ 855232 h 1283857"/>
                  <a:gd name="connsiteX51" fmla="*/ 4581525 w 8405893"/>
                  <a:gd name="connsiteY51" fmla="*/ 879045 h 1283857"/>
                  <a:gd name="connsiteX52" fmla="*/ 4452938 w 8405893"/>
                  <a:gd name="connsiteY52" fmla="*/ 971914 h 1283857"/>
                  <a:gd name="connsiteX53" fmla="*/ 4405312 w 8405893"/>
                  <a:gd name="connsiteY53" fmla="*/ 933814 h 1283857"/>
                  <a:gd name="connsiteX54" fmla="*/ 4383881 w 8405893"/>
                  <a:gd name="connsiteY54" fmla="*/ 964769 h 1283857"/>
                  <a:gd name="connsiteX55" fmla="*/ 4310063 w 8405893"/>
                  <a:gd name="connsiteY55" fmla="*/ 914764 h 1283857"/>
                  <a:gd name="connsiteX56" fmla="*/ 4271963 w 8405893"/>
                  <a:gd name="connsiteY56" fmla="*/ 921907 h 1283857"/>
                  <a:gd name="connsiteX57" fmla="*/ 4250531 w 8405893"/>
                  <a:gd name="connsiteY57" fmla="*/ 883807 h 1283857"/>
                  <a:gd name="connsiteX58" fmla="*/ 4191000 w 8405893"/>
                  <a:gd name="connsiteY58" fmla="*/ 888570 h 1283857"/>
                  <a:gd name="connsiteX59" fmla="*/ 4145756 w 8405893"/>
                  <a:gd name="connsiteY59" fmla="*/ 859995 h 1283857"/>
                  <a:gd name="connsiteX60" fmla="*/ 4107656 w 8405893"/>
                  <a:gd name="connsiteY60" fmla="*/ 857614 h 1283857"/>
                  <a:gd name="connsiteX61" fmla="*/ 4088606 w 8405893"/>
                  <a:gd name="connsiteY61" fmla="*/ 809988 h 1283857"/>
                  <a:gd name="connsiteX62" fmla="*/ 4074319 w 8405893"/>
                  <a:gd name="connsiteY62" fmla="*/ 779032 h 1283857"/>
                  <a:gd name="connsiteX63" fmla="*/ 4029075 w 8405893"/>
                  <a:gd name="connsiteY63" fmla="*/ 788557 h 1283857"/>
                  <a:gd name="connsiteX64" fmla="*/ 4010025 w 8405893"/>
                  <a:gd name="connsiteY64" fmla="*/ 752839 h 1283857"/>
                  <a:gd name="connsiteX65" fmla="*/ 4031457 w 8405893"/>
                  <a:gd name="connsiteY65" fmla="*/ 698070 h 1283857"/>
                  <a:gd name="connsiteX66" fmla="*/ 4000500 w 8405893"/>
                  <a:gd name="connsiteY66" fmla="*/ 671876 h 1283857"/>
                  <a:gd name="connsiteX67" fmla="*/ 4017169 w 8405893"/>
                  <a:gd name="connsiteY67" fmla="*/ 629014 h 1283857"/>
                  <a:gd name="connsiteX68" fmla="*/ 3990975 w 8405893"/>
                  <a:gd name="connsiteY68" fmla="*/ 586151 h 1283857"/>
                  <a:gd name="connsiteX69" fmla="*/ 3986213 w 8405893"/>
                  <a:gd name="connsiteY69" fmla="*/ 524239 h 1283857"/>
                  <a:gd name="connsiteX70" fmla="*/ 4010025 w 8405893"/>
                  <a:gd name="connsiteY70" fmla="*/ 459944 h 1283857"/>
                  <a:gd name="connsiteX71" fmla="*/ 3971925 w 8405893"/>
                  <a:gd name="connsiteY71" fmla="*/ 462326 h 1283857"/>
                  <a:gd name="connsiteX72" fmla="*/ 3852863 w 8405893"/>
                  <a:gd name="connsiteY72" fmla="*/ 405176 h 1283857"/>
                  <a:gd name="connsiteX73" fmla="*/ 3814762 w 8405893"/>
                  <a:gd name="connsiteY73" fmla="*/ 409938 h 1283857"/>
                  <a:gd name="connsiteX74" fmla="*/ 3609975 w 8405893"/>
                  <a:gd name="connsiteY74" fmla="*/ 300401 h 1283857"/>
                  <a:gd name="connsiteX75" fmla="*/ 3505200 w 8405893"/>
                  <a:gd name="connsiteY75" fmla="*/ 269445 h 1283857"/>
                  <a:gd name="connsiteX76" fmla="*/ 3440906 w 8405893"/>
                  <a:gd name="connsiteY76" fmla="*/ 278969 h 1283857"/>
                  <a:gd name="connsiteX77" fmla="*/ 3409950 w 8405893"/>
                  <a:gd name="connsiteY77" fmla="*/ 214676 h 1283857"/>
                  <a:gd name="connsiteX78" fmla="*/ 3352800 w 8405893"/>
                  <a:gd name="connsiteY78" fmla="*/ 214676 h 1283857"/>
                  <a:gd name="connsiteX79" fmla="*/ 3214687 w 8405893"/>
                  <a:gd name="connsiteY79" fmla="*/ 109901 h 1283857"/>
                  <a:gd name="connsiteX80" fmla="*/ 3181350 w 8405893"/>
                  <a:gd name="connsiteY80" fmla="*/ 169433 h 1283857"/>
                  <a:gd name="connsiteX81" fmla="*/ 3126581 w 8405893"/>
                  <a:gd name="connsiteY81" fmla="*/ 238489 h 1283857"/>
                  <a:gd name="connsiteX82" fmla="*/ 3083719 w 8405893"/>
                  <a:gd name="connsiteY82" fmla="*/ 255157 h 1283857"/>
                  <a:gd name="connsiteX83" fmla="*/ 3052763 w 8405893"/>
                  <a:gd name="connsiteY83" fmla="*/ 248014 h 1283857"/>
                  <a:gd name="connsiteX84" fmla="*/ 3028950 w 8405893"/>
                  <a:gd name="connsiteY84" fmla="*/ 276589 h 1283857"/>
                  <a:gd name="connsiteX85" fmla="*/ 3002756 w 8405893"/>
                  <a:gd name="connsiteY85" fmla="*/ 355170 h 1283857"/>
                  <a:gd name="connsiteX86" fmla="*/ 2959894 w 8405893"/>
                  <a:gd name="connsiteY86" fmla="*/ 352789 h 1283857"/>
                  <a:gd name="connsiteX87" fmla="*/ 2928937 w 8405893"/>
                  <a:gd name="connsiteY87" fmla="*/ 414701 h 1283857"/>
                  <a:gd name="connsiteX88" fmla="*/ 2924175 w 8405893"/>
                  <a:gd name="connsiteY88" fmla="*/ 478995 h 1283857"/>
                  <a:gd name="connsiteX89" fmla="*/ 2897982 w 8405893"/>
                  <a:gd name="connsiteY89" fmla="*/ 517095 h 1283857"/>
                  <a:gd name="connsiteX90" fmla="*/ 2924175 w 8405893"/>
                  <a:gd name="connsiteY90" fmla="*/ 576626 h 1283857"/>
                  <a:gd name="connsiteX91" fmla="*/ 2926556 w 8405893"/>
                  <a:gd name="connsiteY91" fmla="*/ 645682 h 1283857"/>
                  <a:gd name="connsiteX92" fmla="*/ 2955131 w 8405893"/>
                  <a:gd name="connsiteY92" fmla="*/ 698070 h 1283857"/>
                  <a:gd name="connsiteX93" fmla="*/ 3002757 w 8405893"/>
                  <a:gd name="connsiteY93" fmla="*/ 752839 h 1283857"/>
                  <a:gd name="connsiteX94" fmla="*/ 2952750 w 8405893"/>
                  <a:gd name="connsiteY94" fmla="*/ 890951 h 1283857"/>
                  <a:gd name="connsiteX95" fmla="*/ 2883694 w 8405893"/>
                  <a:gd name="connsiteY95" fmla="*/ 957626 h 1283857"/>
                  <a:gd name="connsiteX96" fmla="*/ 2812256 w 8405893"/>
                  <a:gd name="connsiteY96" fmla="*/ 952864 h 1283857"/>
                  <a:gd name="connsiteX97" fmla="*/ 2774156 w 8405893"/>
                  <a:gd name="connsiteY97" fmla="*/ 1010014 h 1283857"/>
                  <a:gd name="connsiteX98" fmla="*/ 2714625 w 8405893"/>
                  <a:gd name="connsiteY98" fmla="*/ 1024301 h 1283857"/>
                  <a:gd name="connsiteX99" fmla="*/ 2645569 w 8405893"/>
                  <a:gd name="connsiteY99" fmla="*/ 964770 h 1283857"/>
                  <a:gd name="connsiteX100" fmla="*/ 2590800 w 8405893"/>
                  <a:gd name="connsiteY100" fmla="*/ 936195 h 1283857"/>
                  <a:gd name="connsiteX101" fmla="*/ 2547938 w 8405893"/>
                  <a:gd name="connsiteY101" fmla="*/ 950482 h 1283857"/>
                  <a:gd name="connsiteX102" fmla="*/ 2495550 w 8405893"/>
                  <a:gd name="connsiteY102" fmla="*/ 933814 h 1283857"/>
                  <a:gd name="connsiteX103" fmla="*/ 2428875 w 8405893"/>
                  <a:gd name="connsiteY103" fmla="*/ 879045 h 1283857"/>
                  <a:gd name="connsiteX104" fmla="*/ 2383631 w 8405893"/>
                  <a:gd name="connsiteY104" fmla="*/ 890951 h 1283857"/>
                  <a:gd name="connsiteX105" fmla="*/ 2362200 w 8405893"/>
                  <a:gd name="connsiteY105" fmla="*/ 859995 h 1283857"/>
                  <a:gd name="connsiteX106" fmla="*/ 2305050 w 8405893"/>
                  <a:gd name="connsiteY106" fmla="*/ 900476 h 1283857"/>
                  <a:gd name="connsiteX107" fmla="*/ 2188369 w 8405893"/>
                  <a:gd name="connsiteY107" fmla="*/ 879045 h 1283857"/>
                  <a:gd name="connsiteX108" fmla="*/ 2138363 w 8405893"/>
                  <a:gd name="connsiteY108" fmla="*/ 826657 h 1283857"/>
                  <a:gd name="connsiteX109" fmla="*/ 2095500 w 8405893"/>
                  <a:gd name="connsiteY109" fmla="*/ 812370 h 1283857"/>
                  <a:gd name="connsiteX110" fmla="*/ 2052638 w 8405893"/>
                  <a:gd name="connsiteY110" fmla="*/ 838564 h 1283857"/>
                  <a:gd name="connsiteX111" fmla="*/ 2000250 w 8405893"/>
                  <a:gd name="connsiteY111" fmla="*/ 748076 h 1283857"/>
                  <a:gd name="connsiteX112" fmla="*/ 1990725 w 8405893"/>
                  <a:gd name="connsiteY112" fmla="*/ 600438 h 1283857"/>
                  <a:gd name="connsiteX113" fmla="*/ 1938337 w 8405893"/>
                  <a:gd name="connsiteY113" fmla="*/ 593294 h 1283857"/>
                  <a:gd name="connsiteX114" fmla="*/ 1847850 w 8405893"/>
                  <a:gd name="connsiteY114" fmla="*/ 583770 h 1283857"/>
                  <a:gd name="connsiteX115" fmla="*/ 1793081 w 8405893"/>
                  <a:gd name="connsiteY115" fmla="*/ 545670 h 1283857"/>
                  <a:gd name="connsiteX116" fmla="*/ 1724025 w 8405893"/>
                  <a:gd name="connsiteY116" fmla="*/ 555195 h 1283857"/>
                  <a:gd name="connsiteX117" fmla="*/ 1678781 w 8405893"/>
                  <a:gd name="connsiteY117" fmla="*/ 529001 h 1283857"/>
                  <a:gd name="connsiteX118" fmla="*/ 1669257 w 8405893"/>
                  <a:gd name="connsiteY118" fmla="*/ 457564 h 1283857"/>
                  <a:gd name="connsiteX119" fmla="*/ 1645444 w 8405893"/>
                  <a:gd name="connsiteY119" fmla="*/ 443276 h 1283857"/>
                  <a:gd name="connsiteX120" fmla="*/ 1607344 w 8405893"/>
                  <a:gd name="connsiteY120" fmla="*/ 490900 h 1283857"/>
                  <a:gd name="connsiteX121" fmla="*/ 1528762 w 8405893"/>
                  <a:gd name="connsiteY121" fmla="*/ 417082 h 1283857"/>
                  <a:gd name="connsiteX122" fmla="*/ 1488281 w 8405893"/>
                  <a:gd name="connsiteY122" fmla="*/ 457564 h 1283857"/>
                  <a:gd name="connsiteX123" fmla="*/ 1412081 w 8405893"/>
                  <a:gd name="connsiteY123" fmla="*/ 443276 h 1283857"/>
                  <a:gd name="connsiteX124" fmla="*/ 1333500 w 8405893"/>
                  <a:gd name="connsiteY124" fmla="*/ 469470 h 1283857"/>
                  <a:gd name="connsiteX125" fmla="*/ 1273969 w 8405893"/>
                  <a:gd name="connsiteY125" fmla="*/ 517094 h 1283857"/>
                  <a:gd name="connsiteX126" fmla="*/ 1200150 w 8405893"/>
                  <a:gd name="connsiteY126" fmla="*/ 529001 h 1283857"/>
                  <a:gd name="connsiteX127" fmla="*/ 1164431 w 8405893"/>
                  <a:gd name="connsiteY127" fmla="*/ 521857 h 1283857"/>
                  <a:gd name="connsiteX128" fmla="*/ 1085851 w 8405893"/>
                  <a:gd name="connsiteY128" fmla="*/ 552814 h 1283857"/>
                  <a:gd name="connsiteX129" fmla="*/ 1064419 w 8405893"/>
                  <a:gd name="connsiteY129" fmla="*/ 581389 h 1283857"/>
                  <a:gd name="connsiteX130" fmla="*/ 997744 w 8405893"/>
                  <a:gd name="connsiteY130" fmla="*/ 571864 h 1283857"/>
                  <a:gd name="connsiteX131" fmla="*/ 928688 w 8405893"/>
                  <a:gd name="connsiteY131" fmla="*/ 595676 h 1283857"/>
                  <a:gd name="connsiteX132" fmla="*/ 873919 w 8405893"/>
                  <a:gd name="connsiteY132" fmla="*/ 633776 h 1283857"/>
                  <a:gd name="connsiteX133" fmla="*/ 778669 w 8405893"/>
                  <a:gd name="connsiteY133" fmla="*/ 648063 h 1283857"/>
                  <a:gd name="connsiteX134" fmla="*/ 764381 w 8405893"/>
                  <a:gd name="connsiteY134" fmla="*/ 669495 h 1283857"/>
                  <a:gd name="connsiteX135" fmla="*/ 776287 w 8405893"/>
                  <a:gd name="connsiteY135" fmla="*/ 714739 h 1283857"/>
                  <a:gd name="connsiteX136" fmla="*/ 676276 w 8405893"/>
                  <a:gd name="connsiteY136" fmla="*/ 767126 h 1283857"/>
                  <a:gd name="connsiteX137" fmla="*/ 638175 w 8405893"/>
                  <a:gd name="connsiteY137" fmla="*/ 738550 h 1283857"/>
                  <a:gd name="connsiteX138" fmla="*/ 607219 w 8405893"/>
                  <a:gd name="connsiteY138" fmla="*/ 795701 h 1283857"/>
                  <a:gd name="connsiteX139" fmla="*/ 550069 w 8405893"/>
                  <a:gd name="connsiteY139" fmla="*/ 757601 h 1283857"/>
                  <a:gd name="connsiteX140" fmla="*/ 514350 w 8405893"/>
                  <a:gd name="connsiteY140" fmla="*/ 786176 h 1283857"/>
                  <a:gd name="connsiteX141" fmla="*/ 478631 w 8405893"/>
                  <a:gd name="connsiteY141" fmla="*/ 750457 h 1283857"/>
                  <a:gd name="connsiteX142" fmla="*/ 426244 w 8405893"/>
                  <a:gd name="connsiteY142" fmla="*/ 762364 h 1283857"/>
                  <a:gd name="connsiteX143" fmla="*/ 381000 w 8405893"/>
                  <a:gd name="connsiteY143" fmla="*/ 733789 h 1283857"/>
                  <a:gd name="connsiteX144" fmla="*/ 357188 w 8405893"/>
                  <a:gd name="connsiteY144" fmla="*/ 752839 h 1283857"/>
                  <a:gd name="connsiteX145" fmla="*/ 333375 w 8405893"/>
                  <a:gd name="connsiteY145" fmla="*/ 812370 h 1283857"/>
                  <a:gd name="connsiteX146" fmla="*/ 261938 w 8405893"/>
                  <a:gd name="connsiteY146" fmla="*/ 850469 h 1283857"/>
                  <a:gd name="connsiteX147" fmla="*/ 209550 w 8405893"/>
                  <a:gd name="connsiteY147" fmla="*/ 821895 h 1283857"/>
                  <a:gd name="connsiteX148" fmla="*/ 119063 w 8405893"/>
                  <a:gd name="connsiteY148" fmla="*/ 831420 h 1283857"/>
                  <a:gd name="connsiteX149" fmla="*/ 71437 w 8405893"/>
                  <a:gd name="connsiteY149" fmla="*/ 798083 h 1283857"/>
                  <a:gd name="connsiteX150" fmla="*/ 0 w 8405893"/>
                  <a:gd name="connsiteY150" fmla="*/ 817132 h 1283857"/>
                  <a:gd name="connsiteX151" fmla="*/ 4762 w 8405893"/>
                  <a:gd name="connsiteY151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324930 w 8405893"/>
                  <a:gd name="connsiteY2" fmla="*/ 261937 h 1283857"/>
                  <a:gd name="connsiteX3" fmla="*/ 8343980 w 8405893"/>
                  <a:gd name="connsiteY3" fmla="*/ 328612 h 1283857"/>
                  <a:gd name="connsiteX4" fmla="*/ 8310643 w 8405893"/>
                  <a:gd name="connsiteY4" fmla="*/ 371475 h 1283857"/>
                  <a:gd name="connsiteX5" fmla="*/ 8296355 w 8405893"/>
                  <a:gd name="connsiteY5" fmla="*/ 457200 h 1283857"/>
                  <a:gd name="connsiteX6" fmla="*/ 8339218 w 8405893"/>
                  <a:gd name="connsiteY6" fmla="*/ 485775 h 1283857"/>
                  <a:gd name="connsiteX7" fmla="*/ 8339218 w 8405893"/>
                  <a:gd name="connsiteY7" fmla="*/ 614362 h 1283857"/>
                  <a:gd name="connsiteX8" fmla="*/ 8205868 w 8405893"/>
                  <a:gd name="connsiteY8" fmla="*/ 671512 h 1283857"/>
                  <a:gd name="connsiteX9" fmla="*/ 8039180 w 8405893"/>
                  <a:gd name="connsiteY9" fmla="*/ 881062 h 1283857"/>
                  <a:gd name="connsiteX10" fmla="*/ 7929643 w 8405893"/>
                  <a:gd name="connsiteY10" fmla="*/ 838200 h 1283857"/>
                  <a:gd name="connsiteX11" fmla="*/ 7867730 w 8405893"/>
                  <a:gd name="connsiteY11" fmla="*/ 862012 h 1283857"/>
                  <a:gd name="connsiteX12" fmla="*/ 7703343 w 8405893"/>
                  <a:gd name="connsiteY12" fmla="*/ 807607 h 1283857"/>
                  <a:gd name="connsiteX13" fmla="*/ 7696200 w 8405893"/>
                  <a:gd name="connsiteY13" fmla="*/ 779032 h 1283857"/>
                  <a:gd name="connsiteX14" fmla="*/ 7567613 w 8405893"/>
                  <a:gd name="connsiteY14" fmla="*/ 757601 h 1283857"/>
                  <a:gd name="connsiteX15" fmla="*/ 7384257 w 8405893"/>
                  <a:gd name="connsiteY15" fmla="*/ 836182 h 1283857"/>
                  <a:gd name="connsiteX16" fmla="*/ 7227093 w 8405893"/>
                  <a:gd name="connsiteY16" fmla="*/ 721882 h 1283857"/>
                  <a:gd name="connsiteX17" fmla="*/ 7150894 w 8405893"/>
                  <a:gd name="connsiteY17" fmla="*/ 729026 h 1283857"/>
                  <a:gd name="connsiteX18" fmla="*/ 7077075 w 8405893"/>
                  <a:gd name="connsiteY18" fmla="*/ 724264 h 1283857"/>
                  <a:gd name="connsiteX19" fmla="*/ 6938963 w 8405893"/>
                  <a:gd name="connsiteY19" fmla="*/ 829039 h 1283857"/>
                  <a:gd name="connsiteX20" fmla="*/ 6831806 w 8405893"/>
                  <a:gd name="connsiteY20" fmla="*/ 936195 h 1283857"/>
                  <a:gd name="connsiteX21" fmla="*/ 6788944 w 8405893"/>
                  <a:gd name="connsiteY21" fmla="*/ 1005251 h 1283857"/>
                  <a:gd name="connsiteX22" fmla="*/ 6796088 w 8405893"/>
                  <a:gd name="connsiteY22" fmla="*/ 1040970 h 1283857"/>
                  <a:gd name="connsiteX23" fmla="*/ 6734175 w 8405893"/>
                  <a:gd name="connsiteY23" fmla="*/ 1052876 h 1283857"/>
                  <a:gd name="connsiteX24" fmla="*/ 6753225 w 8405893"/>
                  <a:gd name="connsiteY24" fmla="*/ 1052876 h 1283857"/>
                  <a:gd name="connsiteX25" fmla="*/ 6719888 w 8405893"/>
                  <a:gd name="connsiteY25" fmla="*/ 1083832 h 1283857"/>
                  <a:gd name="connsiteX26" fmla="*/ 6619875 w 8405893"/>
                  <a:gd name="connsiteY26" fmla="*/ 1083833 h 1283857"/>
                  <a:gd name="connsiteX27" fmla="*/ 6524625 w 8405893"/>
                  <a:gd name="connsiteY27" fmla="*/ 1138601 h 1283857"/>
                  <a:gd name="connsiteX28" fmla="*/ 6443663 w 8405893"/>
                  <a:gd name="connsiteY28" fmla="*/ 1148126 h 1283857"/>
                  <a:gd name="connsiteX29" fmla="*/ 6403181 w 8405893"/>
                  <a:gd name="connsiteY29" fmla="*/ 1181464 h 1283857"/>
                  <a:gd name="connsiteX30" fmla="*/ 6353175 w 8405893"/>
                  <a:gd name="connsiteY30" fmla="*/ 1186226 h 1283857"/>
                  <a:gd name="connsiteX31" fmla="*/ 6231732 w 8405893"/>
                  <a:gd name="connsiteY31" fmla="*/ 1279095 h 1283857"/>
                  <a:gd name="connsiteX32" fmla="*/ 6172200 w 8405893"/>
                  <a:gd name="connsiteY32" fmla="*/ 1283857 h 1283857"/>
                  <a:gd name="connsiteX33" fmla="*/ 6119813 w 8405893"/>
                  <a:gd name="connsiteY33" fmla="*/ 1248139 h 1283857"/>
                  <a:gd name="connsiteX34" fmla="*/ 6093619 w 8405893"/>
                  <a:gd name="connsiteY34" fmla="*/ 1283857 h 1283857"/>
                  <a:gd name="connsiteX35" fmla="*/ 5895975 w 8405893"/>
                  <a:gd name="connsiteY35" fmla="*/ 1276714 h 1283857"/>
                  <a:gd name="connsiteX36" fmla="*/ 5834063 w 8405893"/>
                  <a:gd name="connsiteY36" fmla="*/ 1231470 h 1283857"/>
                  <a:gd name="connsiteX37" fmla="*/ 5636419 w 8405893"/>
                  <a:gd name="connsiteY37" fmla="*/ 1248139 h 1283857"/>
                  <a:gd name="connsiteX38" fmla="*/ 5548313 w 8405893"/>
                  <a:gd name="connsiteY38" fmla="*/ 1164794 h 1283857"/>
                  <a:gd name="connsiteX39" fmla="*/ 5472113 w 8405893"/>
                  <a:gd name="connsiteY39" fmla="*/ 1119551 h 1283857"/>
                  <a:gd name="connsiteX40" fmla="*/ 5474493 w 8405893"/>
                  <a:gd name="connsiteY40" fmla="*/ 1062401 h 1283857"/>
                  <a:gd name="connsiteX41" fmla="*/ 5455444 w 8405893"/>
                  <a:gd name="connsiteY41" fmla="*/ 1019538 h 1283857"/>
                  <a:gd name="connsiteX42" fmla="*/ 5360194 w 8405893"/>
                  <a:gd name="connsiteY42" fmla="*/ 1021920 h 1283857"/>
                  <a:gd name="connsiteX43" fmla="*/ 5264944 w 8405893"/>
                  <a:gd name="connsiteY43" fmla="*/ 1000489 h 1283857"/>
                  <a:gd name="connsiteX44" fmla="*/ 5195887 w 8405893"/>
                  <a:gd name="connsiteY44" fmla="*/ 933813 h 1283857"/>
                  <a:gd name="connsiteX45" fmla="*/ 5160169 w 8405893"/>
                  <a:gd name="connsiteY45" fmla="*/ 890951 h 1283857"/>
                  <a:gd name="connsiteX46" fmla="*/ 5079206 w 8405893"/>
                  <a:gd name="connsiteY46" fmla="*/ 867138 h 1283857"/>
                  <a:gd name="connsiteX47" fmla="*/ 5005388 w 8405893"/>
                  <a:gd name="connsiteY47" fmla="*/ 879044 h 1283857"/>
                  <a:gd name="connsiteX48" fmla="*/ 4948237 w 8405893"/>
                  <a:gd name="connsiteY48" fmla="*/ 826657 h 1283857"/>
                  <a:gd name="connsiteX49" fmla="*/ 4852988 w 8405893"/>
                  <a:gd name="connsiteY49" fmla="*/ 838564 h 1283857"/>
                  <a:gd name="connsiteX50" fmla="*/ 4800600 w 8405893"/>
                  <a:gd name="connsiteY50" fmla="*/ 812370 h 1283857"/>
                  <a:gd name="connsiteX51" fmla="*/ 4719638 w 8405893"/>
                  <a:gd name="connsiteY51" fmla="*/ 855232 h 1283857"/>
                  <a:gd name="connsiteX52" fmla="*/ 4581525 w 8405893"/>
                  <a:gd name="connsiteY52" fmla="*/ 879045 h 1283857"/>
                  <a:gd name="connsiteX53" fmla="*/ 4452938 w 8405893"/>
                  <a:gd name="connsiteY53" fmla="*/ 971914 h 1283857"/>
                  <a:gd name="connsiteX54" fmla="*/ 4405312 w 8405893"/>
                  <a:gd name="connsiteY54" fmla="*/ 933814 h 1283857"/>
                  <a:gd name="connsiteX55" fmla="*/ 4383881 w 8405893"/>
                  <a:gd name="connsiteY55" fmla="*/ 964769 h 1283857"/>
                  <a:gd name="connsiteX56" fmla="*/ 4310063 w 8405893"/>
                  <a:gd name="connsiteY56" fmla="*/ 914764 h 1283857"/>
                  <a:gd name="connsiteX57" fmla="*/ 4271963 w 8405893"/>
                  <a:gd name="connsiteY57" fmla="*/ 921907 h 1283857"/>
                  <a:gd name="connsiteX58" fmla="*/ 4250531 w 8405893"/>
                  <a:gd name="connsiteY58" fmla="*/ 883807 h 1283857"/>
                  <a:gd name="connsiteX59" fmla="*/ 4191000 w 8405893"/>
                  <a:gd name="connsiteY59" fmla="*/ 888570 h 1283857"/>
                  <a:gd name="connsiteX60" fmla="*/ 4145756 w 8405893"/>
                  <a:gd name="connsiteY60" fmla="*/ 859995 h 1283857"/>
                  <a:gd name="connsiteX61" fmla="*/ 4107656 w 8405893"/>
                  <a:gd name="connsiteY61" fmla="*/ 857614 h 1283857"/>
                  <a:gd name="connsiteX62" fmla="*/ 4088606 w 8405893"/>
                  <a:gd name="connsiteY62" fmla="*/ 809988 h 1283857"/>
                  <a:gd name="connsiteX63" fmla="*/ 4074319 w 8405893"/>
                  <a:gd name="connsiteY63" fmla="*/ 779032 h 1283857"/>
                  <a:gd name="connsiteX64" fmla="*/ 4029075 w 8405893"/>
                  <a:gd name="connsiteY64" fmla="*/ 788557 h 1283857"/>
                  <a:gd name="connsiteX65" fmla="*/ 4010025 w 8405893"/>
                  <a:gd name="connsiteY65" fmla="*/ 752839 h 1283857"/>
                  <a:gd name="connsiteX66" fmla="*/ 4031457 w 8405893"/>
                  <a:gd name="connsiteY66" fmla="*/ 698070 h 1283857"/>
                  <a:gd name="connsiteX67" fmla="*/ 4000500 w 8405893"/>
                  <a:gd name="connsiteY67" fmla="*/ 671876 h 1283857"/>
                  <a:gd name="connsiteX68" fmla="*/ 4017169 w 8405893"/>
                  <a:gd name="connsiteY68" fmla="*/ 629014 h 1283857"/>
                  <a:gd name="connsiteX69" fmla="*/ 3990975 w 8405893"/>
                  <a:gd name="connsiteY69" fmla="*/ 586151 h 1283857"/>
                  <a:gd name="connsiteX70" fmla="*/ 3986213 w 8405893"/>
                  <a:gd name="connsiteY70" fmla="*/ 524239 h 1283857"/>
                  <a:gd name="connsiteX71" fmla="*/ 4010025 w 8405893"/>
                  <a:gd name="connsiteY71" fmla="*/ 459944 h 1283857"/>
                  <a:gd name="connsiteX72" fmla="*/ 3971925 w 8405893"/>
                  <a:gd name="connsiteY72" fmla="*/ 462326 h 1283857"/>
                  <a:gd name="connsiteX73" fmla="*/ 3852863 w 8405893"/>
                  <a:gd name="connsiteY73" fmla="*/ 405176 h 1283857"/>
                  <a:gd name="connsiteX74" fmla="*/ 3814762 w 8405893"/>
                  <a:gd name="connsiteY74" fmla="*/ 409938 h 1283857"/>
                  <a:gd name="connsiteX75" fmla="*/ 3609975 w 8405893"/>
                  <a:gd name="connsiteY75" fmla="*/ 300401 h 1283857"/>
                  <a:gd name="connsiteX76" fmla="*/ 3505200 w 8405893"/>
                  <a:gd name="connsiteY76" fmla="*/ 269445 h 1283857"/>
                  <a:gd name="connsiteX77" fmla="*/ 3440906 w 8405893"/>
                  <a:gd name="connsiteY77" fmla="*/ 278969 h 1283857"/>
                  <a:gd name="connsiteX78" fmla="*/ 3409950 w 8405893"/>
                  <a:gd name="connsiteY78" fmla="*/ 214676 h 1283857"/>
                  <a:gd name="connsiteX79" fmla="*/ 3352800 w 8405893"/>
                  <a:gd name="connsiteY79" fmla="*/ 214676 h 1283857"/>
                  <a:gd name="connsiteX80" fmla="*/ 3214687 w 8405893"/>
                  <a:gd name="connsiteY80" fmla="*/ 109901 h 1283857"/>
                  <a:gd name="connsiteX81" fmla="*/ 3181350 w 8405893"/>
                  <a:gd name="connsiteY81" fmla="*/ 169433 h 1283857"/>
                  <a:gd name="connsiteX82" fmla="*/ 3126581 w 8405893"/>
                  <a:gd name="connsiteY82" fmla="*/ 238489 h 1283857"/>
                  <a:gd name="connsiteX83" fmla="*/ 3083719 w 8405893"/>
                  <a:gd name="connsiteY83" fmla="*/ 255157 h 1283857"/>
                  <a:gd name="connsiteX84" fmla="*/ 3052763 w 8405893"/>
                  <a:gd name="connsiteY84" fmla="*/ 248014 h 1283857"/>
                  <a:gd name="connsiteX85" fmla="*/ 3028950 w 8405893"/>
                  <a:gd name="connsiteY85" fmla="*/ 276589 h 1283857"/>
                  <a:gd name="connsiteX86" fmla="*/ 3002756 w 8405893"/>
                  <a:gd name="connsiteY86" fmla="*/ 355170 h 1283857"/>
                  <a:gd name="connsiteX87" fmla="*/ 2959894 w 8405893"/>
                  <a:gd name="connsiteY87" fmla="*/ 352789 h 1283857"/>
                  <a:gd name="connsiteX88" fmla="*/ 2928937 w 8405893"/>
                  <a:gd name="connsiteY88" fmla="*/ 414701 h 1283857"/>
                  <a:gd name="connsiteX89" fmla="*/ 2924175 w 8405893"/>
                  <a:gd name="connsiteY89" fmla="*/ 478995 h 1283857"/>
                  <a:gd name="connsiteX90" fmla="*/ 2897982 w 8405893"/>
                  <a:gd name="connsiteY90" fmla="*/ 517095 h 1283857"/>
                  <a:gd name="connsiteX91" fmla="*/ 2924175 w 8405893"/>
                  <a:gd name="connsiteY91" fmla="*/ 576626 h 1283857"/>
                  <a:gd name="connsiteX92" fmla="*/ 2926556 w 8405893"/>
                  <a:gd name="connsiteY92" fmla="*/ 645682 h 1283857"/>
                  <a:gd name="connsiteX93" fmla="*/ 2955131 w 8405893"/>
                  <a:gd name="connsiteY93" fmla="*/ 698070 h 1283857"/>
                  <a:gd name="connsiteX94" fmla="*/ 3002757 w 8405893"/>
                  <a:gd name="connsiteY94" fmla="*/ 752839 h 1283857"/>
                  <a:gd name="connsiteX95" fmla="*/ 2952750 w 8405893"/>
                  <a:gd name="connsiteY95" fmla="*/ 890951 h 1283857"/>
                  <a:gd name="connsiteX96" fmla="*/ 2883694 w 8405893"/>
                  <a:gd name="connsiteY96" fmla="*/ 957626 h 1283857"/>
                  <a:gd name="connsiteX97" fmla="*/ 2812256 w 8405893"/>
                  <a:gd name="connsiteY97" fmla="*/ 952864 h 1283857"/>
                  <a:gd name="connsiteX98" fmla="*/ 2774156 w 8405893"/>
                  <a:gd name="connsiteY98" fmla="*/ 1010014 h 1283857"/>
                  <a:gd name="connsiteX99" fmla="*/ 2714625 w 8405893"/>
                  <a:gd name="connsiteY99" fmla="*/ 1024301 h 1283857"/>
                  <a:gd name="connsiteX100" fmla="*/ 2645569 w 8405893"/>
                  <a:gd name="connsiteY100" fmla="*/ 964770 h 1283857"/>
                  <a:gd name="connsiteX101" fmla="*/ 2590800 w 8405893"/>
                  <a:gd name="connsiteY101" fmla="*/ 936195 h 1283857"/>
                  <a:gd name="connsiteX102" fmla="*/ 2547938 w 8405893"/>
                  <a:gd name="connsiteY102" fmla="*/ 950482 h 1283857"/>
                  <a:gd name="connsiteX103" fmla="*/ 2495550 w 8405893"/>
                  <a:gd name="connsiteY103" fmla="*/ 933814 h 1283857"/>
                  <a:gd name="connsiteX104" fmla="*/ 2428875 w 8405893"/>
                  <a:gd name="connsiteY104" fmla="*/ 879045 h 1283857"/>
                  <a:gd name="connsiteX105" fmla="*/ 2383631 w 8405893"/>
                  <a:gd name="connsiteY105" fmla="*/ 890951 h 1283857"/>
                  <a:gd name="connsiteX106" fmla="*/ 2362200 w 8405893"/>
                  <a:gd name="connsiteY106" fmla="*/ 859995 h 1283857"/>
                  <a:gd name="connsiteX107" fmla="*/ 2305050 w 8405893"/>
                  <a:gd name="connsiteY107" fmla="*/ 900476 h 1283857"/>
                  <a:gd name="connsiteX108" fmla="*/ 2188369 w 8405893"/>
                  <a:gd name="connsiteY108" fmla="*/ 879045 h 1283857"/>
                  <a:gd name="connsiteX109" fmla="*/ 2138363 w 8405893"/>
                  <a:gd name="connsiteY109" fmla="*/ 826657 h 1283857"/>
                  <a:gd name="connsiteX110" fmla="*/ 2095500 w 8405893"/>
                  <a:gd name="connsiteY110" fmla="*/ 812370 h 1283857"/>
                  <a:gd name="connsiteX111" fmla="*/ 2052638 w 8405893"/>
                  <a:gd name="connsiteY111" fmla="*/ 838564 h 1283857"/>
                  <a:gd name="connsiteX112" fmla="*/ 2000250 w 8405893"/>
                  <a:gd name="connsiteY112" fmla="*/ 748076 h 1283857"/>
                  <a:gd name="connsiteX113" fmla="*/ 1990725 w 8405893"/>
                  <a:gd name="connsiteY113" fmla="*/ 600438 h 1283857"/>
                  <a:gd name="connsiteX114" fmla="*/ 1938337 w 8405893"/>
                  <a:gd name="connsiteY114" fmla="*/ 593294 h 1283857"/>
                  <a:gd name="connsiteX115" fmla="*/ 1847850 w 8405893"/>
                  <a:gd name="connsiteY115" fmla="*/ 583770 h 1283857"/>
                  <a:gd name="connsiteX116" fmla="*/ 1793081 w 8405893"/>
                  <a:gd name="connsiteY116" fmla="*/ 545670 h 1283857"/>
                  <a:gd name="connsiteX117" fmla="*/ 1724025 w 8405893"/>
                  <a:gd name="connsiteY117" fmla="*/ 555195 h 1283857"/>
                  <a:gd name="connsiteX118" fmla="*/ 1678781 w 8405893"/>
                  <a:gd name="connsiteY118" fmla="*/ 529001 h 1283857"/>
                  <a:gd name="connsiteX119" fmla="*/ 1669257 w 8405893"/>
                  <a:gd name="connsiteY119" fmla="*/ 457564 h 1283857"/>
                  <a:gd name="connsiteX120" fmla="*/ 1645444 w 8405893"/>
                  <a:gd name="connsiteY120" fmla="*/ 443276 h 1283857"/>
                  <a:gd name="connsiteX121" fmla="*/ 1607344 w 8405893"/>
                  <a:gd name="connsiteY121" fmla="*/ 490900 h 1283857"/>
                  <a:gd name="connsiteX122" fmla="*/ 1528762 w 8405893"/>
                  <a:gd name="connsiteY122" fmla="*/ 417082 h 1283857"/>
                  <a:gd name="connsiteX123" fmla="*/ 1488281 w 8405893"/>
                  <a:gd name="connsiteY123" fmla="*/ 457564 h 1283857"/>
                  <a:gd name="connsiteX124" fmla="*/ 1412081 w 8405893"/>
                  <a:gd name="connsiteY124" fmla="*/ 443276 h 1283857"/>
                  <a:gd name="connsiteX125" fmla="*/ 1333500 w 8405893"/>
                  <a:gd name="connsiteY125" fmla="*/ 469470 h 1283857"/>
                  <a:gd name="connsiteX126" fmla="*/ 1273969 w 8405893"/>
                  <a:gd name="connsiteY126" fmla="*/ 517094 h 1283857"/>
                  <a:gd name="connsiteX127" fmla="*/ 1200150 w 8405893"/>
                  <a:gd name="connsiteY127" fmla="*/ 529001 h 1283857"/>
                  <a:gd name="connsiteX128" fmla="*/ 1164431 w 8405893"/>
                  <a:gd name="connsiteY128" fmla="*/ 521857 h 1283857"/>
                  <a:gd name="connsiteX129" fmla="*/ 1085851 w 8405893"/>
                  <a:gd name="connsiteY129" fmla="*/ 552814 h 1283857"/>
                  <a:gd name="connsiteX130" fmla="*/ 1064419 w 8405893"/>
                  <a:gd name="connsiteY130" fmla="*/ 581389 h 1283857"/>
                  <a:gd name="connsiteX131" fmla="*/ 997744 w 8405893"/>
                  <a:gd name="connsiteY131" fmla="*/ 571864 h 1283857"/>
                  <a:gd name="connsiteX132" fmla="*/ 928688 w 8405893"/>
                  <a:gd name="connsiteY132" fmla="*/ 595676 h 1283857"/>
                  <a:gd name="connsiteX133" fmla="*/ 873919 w 8405893"/>
                  <a:gd name="connsiteY133" fmla="*/ 633776 h 1283857"/>
                  <a:gd name="connsiteX134" fmla="*/ 778669 w 8405893"/>
                  <a:gd name="connsiteY134" fmla="*/ 648063 h 1283857"/>
                  <a:gd name="connsiteX135" fmla="*/ 764381 w 8405893"/>
                  <a:gd name="connsiteY135" fmla="*/ 669495 h 1283857"/>
                  <a:gd name="connsiteX136" fmla="*/ 776287 w 8405893"/>
                  <a:gd name="connsiteY136" fmla="*/ 714739 h 1283857"/>
                  <a:gd name="connsiteX137" fmla="*/ 676276 w 8405893"/>
                  <a:gd name="connsiteY137" fmla="*/ 767126 h 1283857"/>
                  <a:gd name="connsiteX138" fmla="*/ 638175 w 8405893"/>
                  <a:gd name="connsiteY138" fmla="*/ 738550 h 1283857"/>
                  <a:gd name="connsiteX139" fmla="*/ 607219 w 8405893"/>
                  <a:gd name="connsiteY139" fmla="*/ 795701 h 1283857"/>
                  <a:gd name="connsiteX140" fmla="*/ 550069 w 8405893"/>
                  <a:gd name="connsiteY140" fmla="*/ 757601 h 1283857"/>
                  <a:gd name="connsiteX141" fmla="*/ 514350 w 8405893"/>
                  <a:gd name="connsiteY141" fmla="*/ 786176 h 1283857"/>
                  <a:gd name="connsiteX142" fmla="*/ 478631 w 8405893"/>
                  <a:gd name="connsiteY142" fmla="*/ 750457 h 1283857"/>
                  <a:gd name="connsiteX143" fmla="*/ 426244 w 8405893"/>
                  <a:gd name="connsiteY143" fmla="*/ 762364 h 1283857"/>
                  <a:gd name="connsiteX144" fmla="*/ 381000 w 8405893"/>
                  <a:gd name="connsiteY144" fmla="*/ 733789 h 1283857"/>
                  <a:gd name="connsiteX145" fmla="*/ 357188 w 8405893"/>
                  <a:gd name="connsiteY145" fmla="*/ 752839 h 1283857"/>
                  <a:gd name="connsiteX146" fmla="*/ 333375 w 8405893"/>
                  <a:gd name="connsiteY146" fmla="*/ 812370 h 1283857"/>
                  <a:gd name="connsiteX147" fmla="*/ 261938 w 8405893"/>
                  <a:gd name="connsiteY147" fmla="*/ 850469 h 1283857"/>
                  <a:gd name="connsiteX148" fmla="*/ 209550 w 8405893"/>
                  <a:gd name="connsiteY148" fmla="*/ 821895 h 1283857"/>
                  <a:gd name="connsiteX149" fmla="*/ 119063 w 8405893"/>
                  <a:gd name="connsiteY149" fmla="*/ 831420 h 1283857"/>
                  <a:gd name="connsiteX150" fmla="*/ 71437 w 8405893"/>
                  <a:gd name="connsiteY150" fmla="*/ 798083 h 1283857"/>
                  <a:gd name="connsiteX151" fmla="*/ 0 w 8405893"/>
                  <a:gd name="connsiteY151" fmla="*/ 817132 h 1283857"/>
                  <a:gd name="connsiteX152" fmla="*/ 4762 w 8405893"/>
                  <a:gd name="connsiteY152" fmla="*/ 5126 h 1283857"/>
                  <a:gd name="connsiteX0" fmla="*/ 4762 w 8405893"/>
                  <a:gd name="connsiteY0" fmla="*/ 5126 h 1283857"/>
                  <a:gd name="connsiteX1" fmla="*/ 8405893 w 8405893"/>
                  <a:gd name="connsiteY1" fmla="*/ 0 h 1283857"/>
                  <a:gd name="connsiteX2" fmla="*/ 8324930 w 8405893"/>
                  <a:gd name="connsiteY2" fmla="*/ 257174 h 1283857"/>
                  <a:gd name="connsiteX3" fmla="*/ 8343980 w 8405893"/>
                  <a:gd name="connsiteY3" fmla="*/ 328612 h 1283857"/>
                  <a:gd name="connsiteX4" fmla="*/ 8310643 w 8405893"/>
                  <a:gd name="connsiteY4" fmla="*/ 371475 h 1283857"/>
                  <a:gd name="connsiteX5" fmla="*/ 8296355 w 8405893"/>
                  <a:gd name="connsiteY5" fmla="*/ 457200 h 1283857"/>
                  <a:gd name="connsiteX6" fmla="*/ 8339218 w 8405893"/>
                  <a:gd name="connsiteY6" fmla="*/ 485775 h 1283857"/>
                  <a:gd name="connsiteX7" fmla="*/ 8339218 w 8405893"/>
                  <a:gd name="connsiteY7" fmla="*/ 614362 h 1283857"/>
                  <a:gd name="connsiteX8" fmla="*/ 8205868 w 8405893"/>
                  <a:gd name="connsiteY8" fmla="*/ 671512 h 1283857"/>
                  <a:gd name="connsiteX9" fmla="*/ 8039180 w 8405893"/>
                  <a:gd name="connsiteY9" fmla="*/ 881062 h 1283857"/>
                  <a:gd name="connsiteX10" fmla="*/ 7929643 w 8405893"/>
                  <a:gd name="connsiteY10" fmla="*/ 838200 h 1283857"/>
                  <a:gd name="connsiteX11" fmla="*/ 7867730 w 8405893"/>
                  <a:gd name="connsiteY11" fmla="*/ 862012 h 1283857"/>
                  <a:gd name="connsiteX12" fmla="*/ 7703343 w 8405893"/>
                  <a:gd name="connsiteY12" fmla="*/ 807607 h 1283857"/>
                  <a:gd name="connsiteX13" fmla="*/ 7696200 w 8405893"/>
                  <a:gd name="connsiteY13" fmla="*/ 779032 h 1283857"/>
                  <a:gd name="connsiteX14" fmla="*/ 7567613 w 8405893"/>
                  <a:gd name="connsiteY14" fmla="*/ 757601 h 1283857"/>
                  <a:gd name="connsiteX15" fmla="*/ 7384257 w 8405893"/>
                  <a:gd name="connsiteY15" fmla="*/ 836182 h 1283857"/>
                  <a:gd name="connsiteX16" fmla="*/ 7227093 w 8405893"/>
                  <a:gd name="connsiteY16" fmla="*/ 721882 h 1283857"/>
                  <a:gd name="connsiteX17" fmla="*/ 7150894 w 8405893"/>
                  <a:gd name="connsiteY17" fmla="*/ 729026 h 1283857"/>
                  <a:gd name="connsiteX18" fmla="*/ 7077075 w 8405893"/>
                  <a:gd name="connsiteY18" fmla="*/ 724264 h 1283857"/>
                  <a:gd name="connsiteX19" fmla="*/ 6938963 w 8405893"/>
                  <a:gd name="connsiteY19" fmla="*/ 829039 h 1283857"/>
                  <a:gd name="connsiteX20" fmla="*/ 6831806 w 8405893"/>
                  <a:gd name="connsiteY20" fmla="*/ 936195 h 1283857"/>
                  <a:gd name="connsiteX21" fmla="*/ 6788944 w 8405893"/>
                  <a:gd name="connsiteY21" fmla="*/ 1005251 h 1283857"/>
                  <a:gd name="connsiteX22" fmla="*/ 6796088 w 8405893"/>
                  <a:gd name="connsiteY22" fmla="*/ 1040970 h 1283857"/>
                  <a:gd name="connsiteX23" fmla="*/ 6734175 w 8405893"/>
                  <a:gd name="connsiteY23" fmla="*/ 1052876 h 1283857"/>
                  <a:gd name="connsiteX24" fmla="*/ 6753225 w 8405893"/>
                  <a:gd name="connsiteY24" fmla="*/ 1052876 h 1283857"/>
                  <a:gd name="connsiteX25" fmla="*/ 6719888 w 8405893"/>
                  <a:gd name="connsiteY25" fmla="*/ 1083832 h 1283857"/>
                  <a:gd name="connsiteX26" fmla="*/ 6619875 w 8405893"/>
                  <a:gd name="connsiteY26" fmla="*/ 1083833 h 1283857"/>
                  <a:gd name="connsiteX27" fmla="*/ 6524625 w 8405893"/>
                  <a:gd name="connsiteY27" fmla="*/ 1138601 h 1283857"/>
                  <a:gd name="connsiteX28" fmla="*/ 6443663 w 8405893"/>
                  <a:gd name="connsiteY28" fmla="*/ 1148126 h 1283857"/>
                  <a:gd name="connsiteX29" fmla="*/ 6403181 w 8405893"/>
                  <a:gd name="connsiteY29" fmla="*/ 1181464 h 1283857"/>
                  <a:gd name="connsiteX30" fmla="*/ 6353175 w 8405893"/>
                  <a:gd name="connsiteY30" fmla="*/ 1186226 h 1283857"/>
                  <a:gd name="connsiteX31" fmla="*/ 6231732 w 8405893"/>
                  <a:gd name="connsiteY31" fmla="*/ 1279095 h 1283857"/>
                  <a:gd name="connsiteX32" fmla="*/ 6172200 w 8405893"/>
                  <a:gd name="connsiteY32" fmla="*/ 1283857 h 1283857"/>
                  <a:gd name="connsiteX33" fmla="*/ 6119813 w 8405893"/>
                  <a:gd name="connsiteY33" fmla="*/ 1248139 h 1283857"/>
                  <a:gd name="connsiteX34" fmla="*/ 6093619 w 8405893"/>
                  <a:gd name="connsiteY34" fmla="*/ 1283857 h 1283857"/>
                  <a:gd name="connsiteX35" fmla="*/ 5895975 w 8405893"/>
                  <a:gd name="connsiteY35" fmla="*/ 1276714 h 1283857"/>
                  <a:gd name="connsiteX36" fmla="*/ 5834063 w 8405893"/>
                  <a:gd name="connsiteY36" fmla="*/ 1231470 h 1283857"/>
                  <a:gd name="connsiteX37" fmla="*/ 5636419 w 8405893"/>
                  <a:gd name="connsiteY37" fmla="*/ 1248139 h 1283857"/>
                  <a:gd name="connsiteX38" fmla="*/ 5548313 w 8405893"/>
                  <a:gd name="connsiteY38" fmla="*/ 1164794 h 1283857"/>
                  <a:gd name="connsiteX39" fmla="*/ 5472113 w 8405893"/>
                  <a:gd name="connsiteY39" fmla="*/ 1119551 h 1283857"/>
                  <a:gd name="connsiteX40" fmla="*/ 5474493 w 8405893"/>
                  <a:gd name="connsiteY40" fmla="*/ 1062401 h 1283857"/>
                  <a:gd name="connsiteX41" fmla="*/ 5455444 w 8405893"/>
                  <a:gd name="connsiteY41" fmla="*/ 1019538 h 1283857"/>
                  <a:gd name="connsiteX42" fmla="*/ 5360194 w 8405893"/>
                  <a:gd name="connsiteY42" fmla="*/ 1021920 h 1283857"/>
                  <a:gd name="connsiteX43" fmla="*/ 5264944 w 8405893"/>
                  <a:gd name="connsiteY43" fmla="*/ 1000489 h 1283857"/>
                  <a:gd name="connsiteX44" fmla="*/ 5195887 w 8405893"/>
                  <a:gd name="connsiteY44" fmla="*/ 933813 h 1283857"/>
                  <a:gd name="connsiteX45" fmla="*/ 5160169 w 8405893"/>
                  <a:gd name="connsiteY45" fmla="*/ 890951 h 1283857"/>
                  <a:gd name="connsiteX46" fmla="*/ 5079206 w 8405893"/>
                  <a:gd name="connsiteY46" fmla="*/ 867138 h 1283857"/>
                  <a:gd name="connsiteX47" fmla="*/ 5005388 w 8405893"/>
                  <a:gd name="connsiteY47" fmla="*/ 879044 h 1283857"/>
                  <a:gd name="connsiteX48" fmla="*/ 4948237 w 8405893"/>
                  <a:gd name="connsiteY48" fmla="*/ 826657 h 1283857"/>
                  <a:gd name="connsiteX49" fmla="*/ 4852988 w 8405893"/>
                  <a:gd name="connsiteY49" fmla="*/ 838564 h 1283857"/>
                  <a:gd name="connsiteX50" fmla="*/ 4800600 w 8405893"/>
                  <a:gd name="connsiteY50" fmla="*/ 812370 h 1283857"/>
                  <a:gd name="connsiteX51" fmla="*/ 4719638 w 8405893"/>
                  <a:gd name="connsiteY51" fmla="*/ 855232 h 1283857"/>
                  <a:gd name="connsiteX52" fmla="*/ 4581525 w 8405893"/>
                  <a:gd name="connsiteY52" fmla="*/ 879045 h 1283857"/>
                  <a:gd name="connsiteX53" fmla="*/ 4452938 w 8405893"/>
                  <a:gd name="connsiteY53" fmla="*/ 971914 h 1283857"/>
                  <a:gd name="connsiteX54" fmla="*/ 4405312 w 8405893"/>
                  <a:gd name="connsiteY54" fmla="*/ 933814 h 1283857"/>
                  <a:gd name="connsiteX55" fmla="*/ 4383881 w 8405893"/>
                  <a:gd name="connsiteY55" fmla="*/ 964769 h 1283857"/>
                  <a:gd name="connsiteX56" fmla="*/ 4310063 w 8405893"/>
                  <a:gd name="connsiteY56" fmla="*/ 914764 h 1283857"/>
                  <a:gd name="connsiteX57" fmla="*/ 4271963 w 8405893"/>
                  <a:gd name="connsiteY57" fmla="*/ 921907 h 1283857"/>
                  <a:gd name="connsiteX58" fmla="*/ 4250531 w 8405893"/>
                  <a:gd name="connsiteY58" fmla="*/ 883807 h 1283857"/>
                  <a:gd name="connsiteX59" fmla="*/ 4191000 w 8405893"/>
                  <a:gd name="connsiteY59" fmla="*/ 888570 h 1283857"/>
                  <a:gd name="connsiteX60" fmla="*/ 4145756 w 8405893"/>
                  <a:gd name="connsiteY60" fmla="*/ 859995 h 1283857"/>
                  <a:gd name="connsiteX61" fmla="*/ 4107656 w 8405893"/>
                  <a:gd name="connsiteY61" fmla="*/ 857614 h 1283857"/>
                  <a:gd name="connsiteX62" fmla="*/ 4088606 w 8405893"/>
                  <a:gd name="connsiteY62" fmla="*/ 809988 h 1283857"/>
                  <a:gd name="connsiteX63" fmla="*/ 4074319 w 8405893"/>
                  <a:gd name="connsiteY63" fmla="*/ 779032 h 1283857"/>
                  <a:gd name="connsiteX64" fmla="*/ 4029075 w 8405893"/>
                  <a:gd name="connsiteY64" fmla="*/ 788557 h 1283857"/>
                  <a:gd name="connsiteX65" fmla="*/ 4010025 w 8405893"/>
                  <a:gd name="connsiteY65" fmla="*/ 752839 h 1283857"/>
                  <a:gd name="connsiteX66" fmla="*/ 4031457 w 8405893"/>
                  <a:gd name="connsiteY66" fmla="*/ 698070 h 1283857"/>
                  <a:gd name="connsiteX67" fmla="*/ 4000500 w 8405893"/>
                  <a:gd name="connsiteY67" fmla="*/ 671876 h 1283857"/>
                  <a:gd name="connsiteX68" fmla="*/ 4017169 w 8405893"/>
                  <a:gd name="connsiteY68" fmla="*/ 629014 h 1283857"/>
                  <a:gd name="connsiteX69" fmla="*/ 3990975 w 8405893"/>
                  <a:gd name="connsiteY69" fmla="*/ 586151 h 1283857"/>
                  <a:gd name="connsiteX70" fmla="*/ 3986213 w 8405893"/>
                  <a:gd name="connsiteY70" fmla="*/ 524239 h 1283857"/>
                  <a:gd name="connsiteX71" fmla="*/ 4010025 w 8405893"/>
                  <a:gd name="connsiteY71" fmla="*/ 459944 h 1283857"/>
                  <a:gd name="connsiteX72" fmla="*/ 3971925 w 8405893"/>
                  <a:gd name="connsiteY72" fmla="*/ 462326 h 1283857"/>
                  <a:gd name="connsiteX73" fmla="*/ 3852863 w 8405893"/>
                  <a:gd name="connsiteY73" fmla="*/ 405176 h 1283857"/>
                  <a:gd name="connsiteX74" fmla="*/ 3814762 w 8405893"/>
                  <a:gd name="connsiteY74" fmla="*/ 409938 h 1283857"/>
                  <a:gd name="connsiteX75" fmla="*/ 3609975 w 8405893"/>
                  <a:gd name="connsiteY75" fmla="*/ 300401 h 1283857"/>
                  <a:gd name="connsiteX76" fmla="*/ 3505200 w 8405893"/>
                  <a:gd name="connsiteY76" fmla="*/ 269445 h 1283857"/>
                  <a:gd name="connsiteX77" fmla="*/ 3440906 w 8405893"/>
                  <a:gd name="connsiteY77" fmla="*/ 278969 h 1283857"/>
                  <a:gd name="connsiteX78" fmla="*/ 3409950 w 8405893"/>
                  <a:gd name="connsiteY78" fmla="*/ 214676 h 1283857"/>
                  <a:gd name="connsiteX79" fmla="*/ 3352800 w 8405893"/>
                  <a:gd name="connsiteY79" fmla="*/ 214676 h 1283857"/>
                  <a:gd name="connsiteX80" fmla="*/ 3214687 w 8405893"/>
                  <a:gd name="connsiteY80" fmla="*/ 109901 h 1283857"/>
                  <a:gd name="connsiteX81" fmla="*/ 3181350 w 8405893"/>
                  <a:gd name="connsiteY81" fmla="*/ 169433 h 1283857"/>
                  <a:gd name="connsiteX82" fmla="*/ 3126581 w 8405893"/>
                  <a:gd name="connsiteY82" fmla="*/ 238489 h 1283857"/>
                  <a:gd name="connsiteX83" fmla="*/ 3083719 w 8405893"/>
                  <a:gd name="connsiteY83" fmla="*/ 255157 h 1283857"/>
                  <a:gd name="connsiteX84" fmla="*/ 3052763 w 8405893"/>
                  <a:gd name="connsiteY84" fmla="*/ 248014 h 1283857"/>
                  <a:gd name="connsiteX85" fmla="*/ 3028950 w 8405893"/>
                  <a:gd name="connsiteY85" fmla="*/ 276589 h 1283857"/>
                  <a:gd name="connsiteX86" fmla="*/ 3002756 w 8405893"/>
                  <a:gd name="connsiteY86" fmla="*/ 355170 h 1283857"/>
                  <a:gd name="connsiteX87" fmla="*/ 2959894 w 8405893"/>
                  <a:gd name="connsiteY87" fmla="*/ 352789 h 1283857"/>
                  <a:gd name="connsiteX88" fmla="*/ 2928937 w 8405893"/>
                  <a:gd name="connsiteY88" fmla="*/ 414701 h 1283857"/>
                  <a:gd name="connsiteX89" fmla="*/ 2924175 w 8405893"/>
                  <a:gd name="connsiteY89" fmla="*/ 478995 h 1283857"/>
                  <a:gd name="connsiteX90" fmla="*/ 2897982 w 8405893"/>
                  <a:gd name="connsiteY90" fmla="*/ 517095 h 1283857"/>
                  <a:gd name="connsiteX91" fmla="*/ 2924175 w 8405893"/>
                  <a:gd name="connsiteY91" fmla="*/ 576626 h 1283857"/>
                  <a:gd name="connsiteX92" fmla="*/ 2926556 w 8405893"/>
                  <a:gd name="connsiteY92" fmla="*/ 645682 h 1283857"/>
                  <a:gd name="connsiteX93" fmla="*/ 2955131 w 8405893"/>
                  <a:gd name="connsiteY93" fmla="*/ 698070 h 1283857"/>
                  <a:gd name="connsiteX94" fmla="*/ 3002757 w 8405893"/>
                  <a:gd name="connsiteY94" fmla="*/ 752839 h 1283857"/>
                  <a:gd name="connsiteX95" fmla="*/ 2952750 w 8405893"/>
                  <a:gd name="connsiteY95" fmla="*/ 890951 h 1283857"/>
                  <a:gd name="connsiteX96" fmla="*/ 2883694 w 8405893"/>
                  <a:gd name="connsiteY96" fmla="*/ 957626 h 1283857"/>
                  <a:gd name="connsiteX97" fmla="*/ 2812256 w 8405893"/>
                  <a:gd name="connsiteY97" fmla="*/ 952864 h 1283857"/>
                  <a:gd name="connsiteX98" fmla="*/ 2774156 w 8405893"/>
                  <a:gd name="connsiteY98" fmla="*/ 1010014 h 1283857"/>
                  <a:gd name="connsiteX99" fmla="*/ 2714625 w 8405893"/>
                  <a:gd name="connsiteY99" fmla="*/ 1024301 h 1283857"/>
                  <a:gd name="connsiteX100" fmla="*/ 2645569 w 8405893"/>
                  <a:gd name="connsiteY100" fmla="*/ 964770 h 1283857"/>
                  <a:gd name="connsiteX101" fmla="*/ 2590800 w 8405893"/>
                  <a:gd name="connsiteY101" fmla="*/ 936195 h 1283857"/>
                  <a:gd name="connsiteX102" fmla="*/ 2547938 w 8405893"/>
                  <a:gd name="connsiteY102" fmla="*/ 950482 h 1283857"/>
                  <a:gd name="connsiteX103" fmla="*/ 2495550 w 8405893"/>
                  <a:gd name="connsiteY103" fmla="*/ 933814 h 1283857"/>
                  <a:gd name="connsiteX104" fmla="*/ 2428875 w 8405893"/>
                  <a:gd name="connsiteY104" fmla="*/ 879045 h 1283857"/>
                  <a:gd name="connsiteX105" fmla="*/ 2383631 w 8405893"/>
                  <a:gd name="connsiteY105" fmla="*/ 890951 h 1283857"/>
                  <a:gd name="connsiteX106" fmla="*/ 2362200 w 8405893"/>
                  <a:gd name="connsiteY106" fmla="*/ 859995 h 1283857"/>
                  <a:gd name="connsiteX107" fmla="*/ 2305050 w 8405893"/>
                  <a:gd name="connsiteY107" fmla="*/ 900476 h 1283857"/>
                  <a:gd name="connsiteX108" fmla="*/ 2188369 w 8405893"/>
                  <a:gd name="connsiteY108" fmla="*/ 879045 h 1283857"/>
                  <a:gd name="connsiteX109" fmla="*/ 2138363 w 8405893"/>
                  <a:gd name="connsiteY109" fmla="*/ 826657 h 1283857"/>
                  <a:gd name="connsiteX110" fmla="*/ 2095500 w 8405893"/>
                  <a:gd name="connsiteY110" fmla="*/ 812370 h 1283857"/>
                  <a:gd name="connsiteX111" fmla="*/ 2052638 w 8405893"/>
                  <a:gd name="connsiteY111" fmla="*/ 838564 h 1283857"/>
                  <a:gd name="connsiteX112" fmla="*/ 2000250 w 8405893"/>
                  <a:gd name="connsiteY112" fmla="*/ 748076 h 1283857"/>
                  <a:gd name="connsiteX113" fmla="*/ 1990725 w 8405893"/>
                  <a:gd name="connsiteY113" fmla="*/ 600438 h 1283857"/>
                  <a:gd name="connsiteX114" fmla="*/ 1938337 w 8405893"/>
                  <a:gd name="connsiteY114" fmla="*/ 593294 h 1283857"/>
                  <a:gd name="connsiteX115" fmla="*/ 1847850 w 8405893"/>
                  <a:gd name="connsiteY115" fmla="*/ 583770 h 1283857"/>
                  <a:gd name="connsiteX116" fmla="*/ 1793081 w 8405893"/>
                  <a:gd name="connsiteY116" fmla="*/ 545670 h 1283857"/>
                  <a:gd name="connsiteX117" fmla="*/ 1724025 w 8405893"/>
                  <a:gd name="connsiteY117" fmla="*/ 555195 h 1283857"/>
                  <a:gd name="connsiteX118" fmla="*/ 1678781 w 8405893"/>
                  <a:gd name="connsiteY118" fmla="*/ 529001 h 1283857"/>
                  <a:gd name="connsiteX119" fmla="*/ 1669257 w 8405893"/>
                  <a:gd name="connsiteY119" fmla="*/ 457564 h 1283857"/>
                  <a:gd name="connsiteX120" fmla="*/ 1645444 w 8405893"/>
                  <a:gd name="connsiteY120" fmla="*/ 443276 h 1283857"/>
                  <a:gd name="connsiteX121" fmla="*/ 1607344 w 8405893"/>
                  <a:gd name="connsiteY121" fmla="*/ 490900 h 1283857"/>
                  <a:gd name="connsiteX122" fmla="*/ 1528762 w 8405893"/>
                  <a:gd name="connsiteY122" fmla="*/ 417082 h 1283857"/>
                  <a:gd name="connsiteX123" fmla="*/ 1488281 w 8405893"/>
                  <a:gd name="connsiteY123" fmla="*/ 457564 h 1283857"/>
                  <a:gd name="connsiteX124" fmla="*/ 1412081 w 8405893"/>
                  <a:gd name="connsiteY124" fmla="*/ 443276 h 1283857"/>
                  <a:gd name="connsiteX125" fmla="*/ 1333500 w 8405893"/>
                  <a:gd name="connsiteY125" fmla="*/ 469470 h 1283857"/>
                  <a:gd name="connsiteX126" fmla="*/ 1273969 w 8405893"/>
                  <a:gd name="connsiteY126" fmla="*/ 517094 h 1283857"/>
                  <a:gd name="connsiteX127" fmla="*/ 1200150 w 8405893"/>
                  <a:gd name="connsiteY127" fmla="*/ 529001 h 1283857"/>
                  <a:gd name="connsiteX128" fmla="*/ 1164431 w 8405893"/>
                  <a:gd name="connsiteY128" fmla="*/ 521857 h 1283857"/>
                  <a:gd name="connsiteX129" fmla="*/ 1085851 w 8405893"/>
                  <a:gd name="connsiteY129" fmla="*/ 552814 h 1283857"/>
                  <a:gd name="connsiteX130" fmla="*/ 1064419 w 8405893"/>
                  <a:gd name="connsiteY130" fmla="*/ 581389 h 1283857"/>
                  <a:gd name="connsiteX131" fmla="*/ 997744 w 8405893"/>
                  <a:gd name="connsiteY131" fmla="*/ 571864 h 1283857"/>
                  <a:gd name="connsiteX132" fmla="*/ 928688 w 8405893"/>
                  <a:gd name="connsiteY132" fmla="*/ 595676 h 1283857"/>
                  <a:gd name="connsiteX133" fmla="*/ 873919 w 8405893"/>
                  <a:gd name="connsiteY133" fmla="*/ 633776 h 1283857"/>
                  <a:gd name="connsiteX134" fmla="*/ 778669 w 8405893"/>
                  <a:gd name="connsiteY134" fmla="*/ 648063 h 1283857"/>
                  <a:gd name="connsiteX135" fmla="*/ 764381 w 8405893"/>
                  <a:gd name="connsiteY135" fmla="*/ 669495 h 1283857"/>
                  <a:gd name="connsiteX136" fmla="*/ 776287 w 8405893"/>
                  <a:gd name="connsiteY136" fmla="*/ 714739 h 1283857"/>
                  <a:gd name="connsiteX137" fmla="*/ 676276 w 8405893"/>
                  <a:gd name="connsiteY137" fmla="*/ 767126 h 1283857"/>
                  <a:gd name="connsiteX138" fmla="*/ 638175 w 8405893"/>
                  <a:gd name="connsiteY138" fmla="*/ 738550 h 1283857"/>
                  <a:gd name="connsiteX139" fmla="*/ 607219 w 8405893"/>
                  <a:gd name="connsiteY139" fmla="*/ 795701 h 1283857"/>
                  <a:gd name="connsiteX140" fmla="*/ 550069 w 8405893"/>
                  <a:gd name="connsiteY140" fmla="*/ 757601 h 1283857"/>
                  <a:gd name="connsiteX141" fmla="*/ 514350 w 8405893"/>
                  <a:gd name="connsiteY141" fmla="*/ 786176 h 1283857"/>
                  <a:gd name="connsiteX142" fmla="*/ 478631 w 8405893"/>
                  <a:gd name="connsiteY142" fmla="*/ 750457 h 1283857"/>
                  <a:gd name="connsiteX143" fmla="*/ 426244 w 8405893"/>
                  <a:gd name="connsiteY143" fmla="*/ 762364 h 1283857"/>
                  <a:gd name="connsiteX144" fmla="*/ 381000 w 8405893"/>
                  <a:gd name="connsiteY144" fmla="*/ 733789 h 1283857"/>
                  <a:gd name="connsiteX145" fmla="*/ 357188 w 8405893"/>
                  <a:gd name="connsiteY145" fmla="*/ 752839 h 1283857"/>
                  <a:gd name="connsiteX146" fmla="*/ 333375 w 8405893"/>
                  <a:gd name="connsiteY146" fmla="*/ 812370 h 1283857"/>
                  <a:gd name="connsiteX147" fmla="*/ 261938 w 8405893"/>
                  <a:gd name="connsiteY147" fmla="*/ 850469 h 1283857"/>
                  <a:gd name="connsiteX148" fmla="*/ 209550 w 8405893"/>
                  <a:gd name="connsiteY148" fmla="*/ 821895 h 1283857"/>
                  <a:gd name="connsiteX149" fmla="*/ 119063 w 8405893"/>
                  <a:gd name="connsiteY149" fmla="*/ 831420 h 1283857"/>
                  <a:gd name="connsiteX150" fmla="*/ 71437 w 8405893"/>
                  <a:gd name="connsiteY150" fmla="*/ 798083 h 1283857"/>
                  <a:gd name="connsiteX151" fmla="*/ 0 w 8405893"/>
                  <a:gd name="connsiteY151" fmla="*/ 817132 h 1283857"/>
                  <a:gd name="connsiteX152" fmla="*/ 4762 w 8405893"/>
                  <a:gd name="connsiteY152" fmla="*/ 5126 h 1283857"/>
                  <a:gd name="connsiteX0" fmla="*/ 4762 w 8415418"/>
                  <a:gd name="connsiteY0" fmla="*/ 5126 h 1283857"/>
                  <a:gd name="connsiteX1" fmla="*/ 8415418 w 8415418"/>
                  <a:gd name="connsiteY1" fmla="*/ 0 h 1283857"/>
                  <a:gd name="connsiteX2" fmla="*/ 8324930 w 8415418"/>
                  <a:gd name="connsiteY2" fmla="*/ 257174 h 1283857"/>
                  <a:gd name="connsiteX3" fmla="*/ 8343980 w 8415418"/>
                  <a:gd name="connsiteY3" fmla="*/ 328612 h 1283857"/>
                  <a:gd name="connsiteX4" fmla="*/ 8310643 w 8415418"/>
                  <a:gd name="connsiteY4" fmla="*/ 371475 h 1283857"/>
                  <a:gd name="connsiteX5" fmla="*/ 8296355 w 8415418"/>
                  <a:gd name="connsiteY5" fmla="*/ 457200 h 1283857"/>
                  <a:gd name="connsiteX6" fmla="*/ 8339218 w 8415418"/>
                  <a:gd name="connsiteY6" fmla="*/ 485775 h 1283857"/>
                  <a:gd name="connsiteX7" fmla="*/ 8339218 w 8415418"/>
                  <a:gd name="connsiteY7" fmla="*/ 614362 h 1283857"/>
                  <a:gd name="connsiteX8" fmla="*/ 8205868 w 8415418"/>
                  <a:gd name="connsiteY8" fmla="*/ 671512 h 1283857"/>
                  <a:gd name="connsiteX9" fmla="*/ 8039180 w 8415418"/>
                  <a:gd name="connsiteY9" fmla="*/ 881062 h 1283857"/>
                  <a:gd name="connsiteX10" fmla="*/ 7929643 w 8415418"/>
                  <a:gd name="connsiteY10" fmla="*/ 838200 h 1283857"/>
                  <a:gd name="connsiteX11" fmla="*/ 7867730 w 8415418"/>
                  <a:gd name="connsiteY11" fmla="*/ 862012 h 1283857"/>
                  <a:gd name="connsiteX12" fmla="*/ 7703343 w 8415418"/>
                  <a:gd name="connsiteY12" fmla="*/ 807607 h 1283857"/>
                  <a:gd name="connsiteX13" fmla="*/ 7696200 w 8415418"/>
                  <a:gd name="connsiteY13" fmla="*/ 779032 h 1283857"/>
                  <a:gd name="connsiteX14" fmla="*/ 7567613 w 8415418"/>
                  <a:gd name="connsiteY14" fmla="*/ 757601 h 1283857"/>
                  <a:gd name="connsiteX15" fmla="*/ 7384257 w 8415418"/>
                  <a:gd name="connsiteY15" fmla="*/ 836182 h 1283857"/>
                  <a:gd name="connsiteX16" fmla="*/ 7227093 w 8415418"/>
                  <a:gd name="connsiteY16" fmla="*/ 721882 h 1283857"/>
                  <a:gd name="connsiteX17" fmla="*/ 7150894 w 8415418"/>
                  <a:gd name="connsiteY17" fmla="*/ 729026 h 1283857"/>
                  <a:gd name="connsiteX18" fmla="*/ 7077075 w 8415418"/>
                  <a:gd name="connsiteY18" fmla="*/ 724264 h 1283857"/>
                  <a:gd name="connsiteX19" fmla="*/ 6938963 w 8415418"/>
                  <a:gd name="connsiteY19" fmla="*/ 829039 h 1283857"/>
                  <a:gd name="connsiteX20" fmla="*/ 6831806 w 8415418"/>
                  <a:gd name="connsiteY20" fmla="*/ 936195 h 1283857"/>
                  <a:gd name="connsiteX21" fmla="*/ 6788944 w 8415418"/>
                  <a:gd name="connsiteY21" fmla="*/ 1005251 h 1283857"/>
                  <a:gd name="connsiteX22" fmla="*/ 6796088 w 8415418"/>
                  <a:gd name="connsiteY22" fmla="*/ 1040970 h 1283857"/>
                  <a:gd name="connsiteX23" fmla="*/ 6734175 w 8415418"/>
                  <a:gd name="connsiteY23" fmla="*/ 1052876 h 1283857"/>
                  <a:gd name="connsiteX24" fmla="*/ 6753225 w 8415418"/>
                  <a:gd name="connsiteY24" fmla="*/ 1052876 h 1283857"/>
                  <a:gd name="connsiteX25" fmla="*/ 6719888 w 8415418"/>
                  <a:gd name="connsiteY25" fmla="*/ 1083832 h 1283857"/>
                  <a:gd name="connsiteX26" fmla="*/ 6619875 w 8415418"/>
                  <a:gd name="connsiteY26" fmla="*/ 1083833 h 1283857"/>
                  <a:gd name="connsiteX27" fmla="*/ 6524625 w 8415418"/>
                  <a:gd name="connsiteY27" fmla="*/ 1138601 h 1283857"/>
                  <a:gd name="connsiteX28" fmla="*/ 6443663 w 8415418"/>
                  <a:gd name="connsiteY28" fmla="*/ 1148126 h 1283857"/>
                  <a:gd name="connsiteX29" fmla="*/ 6403181 w 8415418"/>
                  <a:gd name="connsiteY29" fmla="*/ 1181464 h 1283857"/>
                  <a:gd name="connsiteX30" fmla="*/ 6353175 w 8415418"/>
                  <a:gd name="connsiteY30" fmla="*/ 1186226 h 1283857"/>
                  <a:gd name="connsiteX31" fmla="*/ 6231732 w 8415418"/>
                  <a:gd name="connsiteY31" fmla="*/ 1279095 h 1283857"/>
                  <a:gd name="connsiteX32" fmla="*/ 6172200 w 8415418"/>
                  <a:gd name="connsiteY32" fmla="*/ 1283857 h 1283857"/>
                  <a:gd name="connsiteX33" fmla="*/ 6119813 w 8415418"/>
                  <a:gd name="connsiteY33" fmla="*/ 1248139 h 1283857"/>
                  <a:gd name="connsiteX34" fmla="*/ 6093619 w 8415418"/>
                  <a:gd name="connsiteY34" fmla="*/ 1283857 h 1283857"/>
                  <a:gd name="connsiteX35" fmla="*/ 5895975 w 8415418"/>
                  <a:gd name="connsiteY35" fmla="*/ 1276714 h 1283857"/>
                  <a:gd name="connsiteX36" fmla="*/ 5834063 w 8415418"/>
                  <a:gd name="connsiteY36" fmla="*/ 1231470 h 1283857"/>
                  <a:gd name="connsiteX37" fmla="*/ 5636419 w 8415418"/>
                  <a:gd name="connsiteY37" fmla="*/ 1248139 h 1283857"/>
                  <a:gd name="connsiteX38" fmla="*/ 5548313 w 8415418"/>
                  <a:gd name="connsiteY38" fmla="*/ 1164794 h 1283857"/>
                  <a:gd name="connsiteX39" fmla="*/ 5472113 w 8415418"/>
                  <a:gd name="connsiteY39" fmla="*/ 1119551 h 1283857"/>
                  <a:gd name="connsiteX40" fmla="*/ 5474493 w 8415418"/>
                  <a:gd name="connsiteY40" fmla="*/ 1062401 h 1283857"/>
                  <a:gd name="connsiteX41" fmla="*/ 5455444 w 8415418"/>
                  <a:gd name="connsiteY41" fmla="*/ 1019538 h 1283857"/>
                  <a:gd name="connsiteX42" fmla="*/ 5360194 w 8415418"/>
                  <a:gd name="connsiteY42" fmla="*/ 1021920 h 1283857"/>
                  <a:gd name="connsiteX43" fmla="*/ 5264944 w 8415418"/>
                  <a:gd name="connsiteY43" fmla="*/ 1000489 h 1283857"/>
                  <a:gd name="connsiteX44" fmla="*/ 5195887 w 8415418"/>
                  <a:gd name="connsiteY44" fmla="*/ 933813 h 1283857"/>
                  <a:gd name="connsiteX45" fmla="*/ 5160169 w 8415418"/>
                  <a:gd name="connsiteY45" fmla="*/ 890951 h 1283857"/>
                  <a:gd name="connsiteX46" fmla="*/ 5079206 w 8415418"/>
                  <a:gd name="connsiteY46" fmla="*/ 867138 h 1283857"/>
                  <a:gd name="connsiteX47" fmla="*/ 5005388 w 8415418"/>
                  <a:gd name="connsiteY47" fmla="*/ 879044 h 1283857"/>
                  <a:gd name="connsiteX48" fmla="*/ 4948237 w 8415418"/>
                  <a:gd name="connsiteY48" fmla="*/ 826657 h 1283857"/>
                  <a:gd name="connsiteX49" fmla="*/ 4852988 w 8415418"/>
                  <a:gd name="connsiteY49" fmla="*/ 838564 h 1283857"/>
                  <a:gd name="connsiteX50" fmla="*/ 4800600 w 8415418"/>
                  <a:gd name="connsiteY50" fmla="*/ 812370 h 1283857"/>
                  <a:gd name="connsiteX51" fmla="*/ 4719638 w 8415418"/>
                  <a:gd name="connsiteY51" fmla="*/ 855232 h 1283857"/>
                  <a:gd name="connsiteX52" fmla="*/ 4581525 w 8415418"/>
                  <a:gd name="connsiteY52" fmla="*/ 879045 h 1283857"/>
                  <a:gd name="connsiteX53" fmla="*/ 4452938 w 8415418"/>
                  <a:gd name="connsiteY53" fmla="*/ 971914 h 1283857"/>
                  <a:gd name="connsiteX54" fmla="*/ 4405312 w 8415418"/>
                  <a:gd name="connsiteY54" fmla="*/ 933814 h 1283857"/>
                  <a:gd name="connsiteX55" fmla="*/ 4383881 w 8415418"/>
                  <a:gd name="connsiteY55" fmla="*/ 964769 h 1283857"/>
                  <a:gd name="connsiteX56" fmla="*/ 4310063 w 8415418"/>
                  <a:gd name="connsiteY56" fmla="*/ 914764 h 1283857"/>
                  <a:gd name="connsiteX57" fmla="*/ 4271963 w 8415418"/>
                  <a:gd name="connsiteY57" fmla="*/ 921907 h 1283857"/>
                  <a:gd name="connsiteX58" fmla="*/ 4250531 w 8415418"/>
                  <a:gd name="connsiteY58" fmla="*/ 883807 h 1283857"/>
                  <a:gd name="connsiteX59" fmla="*/ 4191000 w 8415418"/>
                  <a:gd name="connsiteY59" fmla="*/ 888570 h 1283857"/>
                  <a:gd name="connsiteX60" fmla="*/ 4145756 w 8415418"/>
                  <a:gd name="connsiteY60" fmla="*/ 859995 h 1283857"/>
                  <a:gd name="connsiteX61" fmla="*/ 4107656 w 8415418"/>
                  <a:gd name="connsiteY61" fmla="*/ 857614 h 1283857"/>
                  <a:gd name="connsiteX62" fmla="*/ 4088606 w 8415418"/>
                  <a:gd name="connsiteY62" fmla="*/ 809988 h 1283857"/>
                  <a:gd name="connsiteX63" fmla="*/ 4074319 w 8415418"/>
                  <a:gd name="connsiteY63" fmla="*/ 779032 h 1283857"/>
                  <a:gd name="connsiteX64" fmla="*/ 4029075 w 8415418"/>
                  <a:gd name="connsiteY64" fmla="*/ 788557 h 1283857"/>
                  <a:gd name="connsiteX65" fmla="*/ 4010025 w 8415418"/>
                  <a:gd name="connsiteY65" fmla="*/ 752839 h 1283857"/>
                  <a:gd name="connsiteX66" fmla="*/ 4031457 w 8415418"/>
                  <a:gd name="connsiteY66" fmla="*/ 698070 h 1283857"/>
                  <a:gd name="connsiteX67" fmla="*/ 4000500 w 8415418"/>
                  <a:gd name="connsiteY67" fmla="*/ 671876 h 1283857"/>
                  <a:gd name="connsiteX68" fmla="*/ 4017169 w 8415418"/>
                  <a:gd name="connsiteY68" fmla="*/ 629014 h 1283857"/>
                  <a:gd name="connsiteX69" fmla="*/ 3990975 w 8415418"/>
                  <a:gd name="connsiteY69" fmla="*/ 586151 h 1283857"/>
                  <a:gd name="connsiteX70" fmla="*/ 3986213 w 8415418"/>
                  <a:gd name="connsiteY70" fmla="*/ 524239 h 1283857"/>
                  <a:gd name="connsiteX71" fmla="*/ 4010025 w 8415418"/>
                  <a:gd name="connsiteY71" fmla="*/ 459944 h 1283857"/>
                  <a:gd name="connsiteX72" fmla="*/ 3971925 w 8415418"/>
                  <a:gd name="connsiteY72" fmla="*/ 462326 h 1283857"/>
                  <a:gd name="connsiteX73" fmla="*/ 3852863 w 8415418"/>
                  <a:gd name="connsiteY73" fmla="*/ 405176 h 1283857"/>
                  <a:gd name="connsiteX74" fmla="*/ 3814762 w 8415418"/>
                  <a:gd name="connsiteY74" fmla="*/ 409938 h 1283857"/>
                  <a:gd name="connsiteX75" fmla="*/ 3609975 w 8415418"/>
                  <a:gd name="connsiteY75" fmla="*/ 300401 h 1283857"/>
                  <a:gd name="connsiteX76" fmla="*/ 3505200 w 8415418"/>
                  <a:gd name="connsiteY76" fmla="*/ 269445 h 1283857"/>
                  <a:gd name="connsiteX77" fmla="*/ 3440906 w 8415418"/>
                  <a:gd name="connsiteY77" fmla="*/ 278969 h 1283857"/>
                  <a:gd name="connsiteX78" fmla="*/ 3409950 w 8415418"/>
                  <a:gd name="connsiteY78" fmla="*/ 214676 h 1283857"/>
                  <a:gd name="connsiteX79" fmla="*/ 3352800 w 8415418"/>
                  <a:gd name="connsiteY79" fmla="*/ 214676 h 1283857"/>
                  <a:gd name="connsiteX80" fmla="*/ 3214687 w 8415418"/>
                  <a:gd name="connsiteY80" fmla="*/ 109901 h 1283857"/>
                  <a:gd name="connsiteX81" fmla="*/ 3181350 w 8415418"/>
                  <a:gd name="connsiteY81" fmla="*/ 169433 h 1283857"/>
                  <a:gd name="connsiteX82" fmla="*/ 3126581 w 8415418"/>
                  <a:gd name="connsiteY82" fmla="*/ 238489 h 1283857"/>
                  <a:gd name="connsiteX83" fmla="*/ 3083719 w 8415418"/>
                  <a:gd name="connsiteY83" fmla="*/ 255157 h 1283857"/>
                  <a:gd name="connsiteX84" fmla="*/ 3052763 w 8415418"/>
                  <a:gd name="connsiteY84" fmla="*/ 248014 h 1283857"/>
                  <a:gd name="connsiteX85" fmla="*/ 3028950 w 8415418"/>
                  <a:gd name="connsiteY85" fmla="*/ 276589 h 1283857"/>
                  <a:gd name="connsiteX86" fmla="*/ 3002756 w 8415418"/>
                  <a:gd name="connsiteY86" fmla="*/ 355170 h 1283857"/>
                  <a:gd name="connsiteX87" fmla="*/ 2959894 w 8415418"/>
                  <a:gd name="connsiteY87" fmla="*/ 352789 h 1283857"/>
                  <a:gd name="connsiteX88" fmla="*/ 2928937 w 8415418"/>
                  <a:gd name="connsiteY88" fmla="*/ 414701 h 1283857"/>
                  <a:gd name="connsiteX89" fmla="*/ 2924175 w 8415418"/>
                  <a:gd name="connsiteY89" fmla="*/ 478995 h 1283857"/>
                  <a:gd name="connsiteX90" fmla="*/ 2897982 w 8415418"/>
                  <a:gd name="connsiteY90" fmla="*/ 517095 h 1283857"/>
                  <a:gd name="connsiteX91" fmla="*/ 2924175 w 8415418"/>
                  <a:gd name="connsiteY91" fmla="*/ 576626 h 1283857"/>
                  <a:gd name="connsiteX92" fmla="*/ 2926556 w 8415418"/>
                  <a:gd name="connsiteY92" fmla="*/ 645682 h 1283857"/>
                  <a:gd name="connsiteX93" fmla="*/ 2955131 w 8415418"/>
                  <a:gd name="connsiteY93" fmla="*/ 698070 h 1283857"/>
                  <a:gd name="connsiteX94" fmla="*/ 3002757 w 8415418"/>
                  <a:gd name="connsiteY94" fmla="*/ 752839 h 1283857"/>
                  <a:gd name="connsiteX95" fmla="*/ 2952750 w 8415418"/>
                  <a:gd name="connsiteY95" fmla="*/ 890951 h 1283857"/>
                  <a:gd name="connsiteX96" fmla="*/ 2883694 w 8415418"/>
                  <a:gd name="connsiteY96" fmla="*/ 957626 h 1283857"/>
                  <a:gd name="connsiteX97" fmla="*/ 2812256 w 8415418"/>
                  <a:gd name="connsiteY97" fmla="*/ 952864 h 1283857"/>
                  <a:gd name="connsiteX98" fmla="*/ 2774156 w 8415418"/>
                  <a:gd name="connsiteY98" fmla="*/ 1010014 h 1283857"/>
                  <a:gd name="connsiteX99" fmla="*/ 2714625 w 8415418"/>
                  <a:gd name="connsiteY99" fmla="*/ 1024301 h 1283857"/>
                  <a:gd name="connsiteX100" fmla="*/ 2645569 w 8415418"/>
                  <a:gd name="connsiteY100" fmla="*/ 964770 h 1283857"/>
                  <a:gd name="connsiteX101" fmla="*/ 2590800 w 8415418"/>
                  <a:gd name="connsiteY101" fmla="*/ 936195 h 1283857"/>
                  <a:gd name="connsiteX102" fmla="*/ 2547938 w 8415418"/>
                  <a:gd name="connsiteY102" fmla="*/ 950482 h 1283857"/>
                  <a:gd name="connsiteX103" fmla="*/ 2495550 w 8415418"/>
                  <a:gd name="connsiteY103" fmla="*/ 933814 h 1283857"/>
                  <a:gd name="connsiteX104" fmla="*/ 2428875 w 8415418"/>
                  <a:gd name="connsiteY104" fmla="*/ 879045 h 1283857"/>
                  <a:gd name="connsiteX105" fmla="*/ 2383631 w 8415418"/>
                  <a:gd name="connsiteY105" fmla="*/ 890951 h 1283857"/>
                  <a:gd name="connsiteX106" fmla="*/ 2362200 w 8415418"/>
                  <a:gd name="connsiteY106" fmla="*/ 859995 h 1283857"/>
                  <a:gd name="connsiteX107" fmla="*/ 2305050 w 8415418"/>
                  <a:gd name="connsiteY107" fmla="*/ 900476 h 1283857"/>
                  <a:gd name="connsiteX108" fmla="*/ 2188369 w 8415418"/>
                  <a:gd name="connsiteY108" fmla="*/ 879045 h 1283857"/>
                  <a:gd name="connsiteX109" fmla="*/ 2138363 w 8415418"/>
                  <a:gd name="connsiteY109" fmla="*/ 826657 h 1283857"/>
                  <a:gd name="connsiteX110" fmla="*/ 2095500 w 8415418"/>
                  <a:gd name="connsiteY110" fmla="*/ 812370 h 1283857"/>
                  <a:gd name="connsiteX111" fmla="*/ 2052638 w 8415418"/>
                  <a:gd name="connsiteY111" fmla="*/ 838564 h 1283857"/>
                  <a:gd name="connsiteX112" fmla="*/ 2000250 w 8415418"/>
                  <a:gd name="connsiteY112" fmla="*/ 748076 h 1283857"/>
                  <a:gd name="connsiteX113" fmla="*/ 1990725 w 8415418"/>
                  <a:gd name="connsiteY113" fmla="*/ 600438 h 1283857"/>
                  <a:gd name="connsiteX114" fmla="*/ 1938337 w 8415418"/>
                  <a:gd name="connsiteY114" fmla="*/ 593294 h 1283857"/>
                  <a:gd name="connsiteX115" fmla="*/ 1847850 w 8415418"/>
                  <a:gd name="connsiteY115" fmla="*/ 583770 h 1283857"/>
                  <a:gd name="connsiteX116" fmla="*/ 1793081 w 8415418"/>
                  <a:gd name="connsiteY116" fmla="*/ 545670 h 1283857"/>
                  <a:gd name="connsiteX117" fmla="*/ 1724025 w 8415418"/>
                  <a:gd name="connsiteY117" fmla="*/ 555195 h 1283857"/>
                  <a:gd name="connsiteX118" fmla="*/ 1678781 w 8415418"/>
                  <a:gd name="connsiteY118" fmla="*/ 529001 h 1283857"/>
                  <a:gd name="connsiteX119" fmla="*/ 1669257 w 8415418"/>
                  <a:gd name="connsiteY119" fmla="*/ 457564 h 1283857"/>
                  <a:gd name="connsiteX120" fmla="*/ 1645444 w 8415418"/>
                  <a:gd name="connsiteY120" fmla="*/ 443276 h 1283857"/>
                  <a:gd name="connsiteX121" fmla="*/ 1607344 w 8415418"/>
                  <a:gd name="connsiteY121" fmla="*/ 490900 h 1283857"/>
                  <a:gd name="connsiteX122" fmla="*/ 1528762 w 8415418"/>
                  <a:gd name="connsiteY122" fmla="*/ 417082 h 1283857"/>
                  <a:gd name="connsiteX123" fmla="*/ 1488281 w 8415418"/>
                  <a:gd name="connsiteY123" fmla="*/ 457564 h 1283857"/>
                  <a:gd name="connsiteX124" fmla="*/ 1412081 w 8415418"/>
                  <a:gd name="connsiteY124" fmla="*/ 443276 h 1283857"/>
                  <a:gd name="connsiteX125" fmla="*/ 1333500 w 8415418"/>
                  <a:gd name="connsiteY125" fmla="*/ 469470 h 1283857"/>
                  <a:gd name="connsiteX126" fmla="*/ 1273969 w 8415418"/>
                  <a:gd name="connsiteY126" fmla="*/ 517094 h 1283857"/>
                  <a:gd name="connsiteX127" fmla="*/ 1200150 w 8415418"/>
                  <a:gd name="connsiteY127" fmla="*/ 529001 h 1283857"/>
                  <a:gd name="connsiteX128" fmla="*/ 1164431 w 8415418"/>
                  <a:gd name="connsiteY128" fmla="*/ 521857 h 1283857"/>
                  <a:gd name="connsiteX129" fmla="*/ 1085851 w 8415418"/>
                  <a:gd name="connsiteY129" fmla="*/ 552814 h 1283857"/>
                  <a:gd name="connsiteX130" fmla="*/ 1064419 w 8415418"/>
                  <a:gd name="connsiteY130" fmla="*/ 581389 h 1283857"/>
                  <a:gd name="connsiteX131" fmla="*/ 997744 w 8415418"/>
                  <a:gd name="connsiteY131" fmla="*/ 571864 h 1283857"/>
                  <a:gd name="connsiteX132" fmla="*/ 928688 w 8415418"/>
                  <a:gd name="connsiteY132" fmla="*/ 595676 h 1283857"/>
                  <a:gd name="connsiteX133" fmla="*/ 873919 w 8415418"/>
                  <a:gd name="connsiteY133" fmla="*/ 633776 h 1283857"/>
                  <a:gd name="connsiteX134" fmla="*/ 778669 w 8415418"/>
                  <a:gd name="connsiteY134" fmla="*/ 648063 h 1283857"/>
                  <a:gd name="connsiteX135" fmla="*/ 764381 w 8415418"/>
                  <a:gd name="connsiteY135" fmla="*/ 669495 h 1283857"/>
                  <a:gd name="connsiteX136" fmla="*/ 776287 w 8415418"/>
                  <a:gd name="connsiteY136" fmla="*/ 714739 h 1283857"/>
                  <a:gd name="connsiteX137" fmla="*/ 676276 w 8415418"/>
                  <a:gd name="connsiteY137" fmla="*/ 767126 h 1283857"/>
                  <a:gd name="connsiteX138" fmla="*/ 638175 w 8415418"/>
                  <a:gd name="connsiteY138" fmla="*/ 738550 h 1283857"/>
                  <a:gd name="connsiteX139" fmla="*/ 607219 w 8415418"/>
                  <a:gd name="connsiteY139" fmla="*/ 795701 h 1283857"/>
                  <a:gd name="connsiteX140" fmla="*/ 550069 w 8415418"/>
                  <a:gd name="connsiteY140" fmla="*/ 757601 h 1283857"/>
                  <a:gd name="connsiteX141" fmla="*/ 514350 w 8415418"/>
                  <a:gd name="connsiteY141" fmla="*/ 786176 h 1283857"/>
                  <a:gd name="connsiteX142" fmla="*/ 478631 w 8415418"/>
                  <a:gd name="connsiteY142" fmla="*/ 750457 h 1283857"/>
                  <a:gd name="connsiteX143" fmla="*/ 426244 w 8415418"/>
                  <a:gd name="connsiteY143" fmla="*/ 762364 h 1283857"/>
                  <a:gd name="connsiteX144" fmla="*/ 381000 w 8415418"/>
                  <a:gd name="connsiteY144" fmla="*/ 733789 h 1283857"/>
                  <a:gd name="connsiteX145" fmla="*/ 357188 w 8415418"/>
                  <a:gd name="connsiteY145" fmla="*/ 752839 h 1283857"/>
                  <a:gd name="connsiteX146" fmla="*/ 333375 w 8415418"/>
                  <a:gd name="connsiteY146" fmla="*/ 812370 h 1283857"/>
                  <a:gd name="connsiteX147" fmla="*/ 261938 w 8415418"/>
                  <a:gd name="connsiteY147" fmla="*/ 850469 h 1283857"/>
                  <a:gd name="connsiteX148" fmla="*/ 209550 w 8415418"/>
                  <a:gd name="connsiteY148" fmla="*/ 821895 h 1283857"/>
                  <a:gd name="connsiteX149" fmla="*/ 119063 w 8415418"/>
                  <a:gd name="connsiteY149" fmla="*/ 831420 h 1283857"/>
                  <a:gd name="connsiteX150" fmla="*/ 71437 w 8415418"/>
                  <a:gd name="connsiteY150" fmla="*/ 798083 h 1283857"/>
                  <a:gd name="connsiteX151" fmla="*/ 0 w 8415418"/>
                  <a:gd name="connsiteY151" fmla="*/ 817132 h 1283857"/>
                  <a:gd name="connsiteX152" fmla="*/ 4762 w 8415418"/>
                  <a:gd name="connsiteY152" fmla="*/ 5126 h 1283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8415418" h="1283857">
                    <a:moveTo>
                      <a:pt x="4762" y="5126"/>
                    </a:moveTo>
                    <a:lnTo>
                      <a:pt x="8415418" y="0"/>
                    </a:lnTo>
                    <a:lnTo>
                      <a:pt x="8324930" y="257174"/>
                    </a:lnTo>
                    <a:lnTo>
                      <a:pt x="8343980" y="328612"/>
                    </a:lnTo>
                    <a:lnTo>
                      <a:pt x="8310643" y="371475"/>
                    </a:lnTo>
                    <a:lnTo>
                      <a:pt x="8296355" y="457200"/>
                    </a:lnTo>
                    <a:lnTo>
                      <a:pt x="8339218" y="485775"/>
                    </a:lnTo>
                    <a:lnTo>
                      <a:pt x="8339218" y="614362"/>
                    </a:lnTo>
                    <a:lnTo>
                      <a:pt x="8205868" y="671512"/>
                    </a:lnTo>
                    <a:lnTo>
                      <a:pt x="8039180" y="881062"/>
                    </a:lnTo>
                    <a:lnTo>
                      <a:pt x="7929643" y="838200"/>
                    </a:lnTo>
                    <a:lnTo>
                      <a:pt x="7867730" y="862012"/>
                    </a:lnTo>
                    <a:lnTo>
                      <a:pt x="7703343" y="807607"/>
                    </a:lnTo>
                    <a:lnTo>
                      <a:pt x="7696200" y="779032"/>
                    </a:lnTo>
                    <a:lnTo>
                      <a:pt x="7567613" y="757601"/>
                    </a:lnTo>
                    <a:lnTo>
                      <a:pt x="7384257" y="836182"/>
                    </a:lnTo>
                    <a:lnTo>
                      <a:pt x="7227093" y="721882"/>
                    </a:lnTo>
                    <a:lnTo>
                      <a:pt x="7150894" y="729026"/>
                    </a:lnTo>
                    <a:lnTo>
                      <a:pt x="7077075" y="724264"/>
                    </a:lnTo>
                    <a:lnTo>
                      <a:pt x="6938963" y="829039"/>
                    </a:lnTo>
                    <a:lnTo>
                      <a:pt x="6831806" y="936195"/>
                    </a:lnTo>
                    <a:lnTo>
                      <a:pt x="6788944" y="1005251"/>
                    </a:lnTo>
                    <a:lnTo>
                      <a:pt x="6796088" y="1040970"/>
                    </a:lnTo>
                    <a:lnTo>
                      <a:pt x="6734175" y="1052876"/>
                    </a:lnTo>
                    <a:lnTo>
                      <a:pt x="6753225" y="1052876"/>
                    </a:lnTo>
                    <a:lnTo>
                      <a:pt x="6719888" y="1083832"/>
                    </a:lnTo>
                    <a:lnTo>
                      <a:pt x="6619875" y="1083833"/>
                    </a:lnTo>
                    <a:lnTo>
                      <a:pt x="6524625" y="1138601"/>
                    </a:lnTo>
                    <a:lnTo>
                      <a:pt x="6443663" y="1148126"/>
                    </a:lnTo>
                    <a:lnTo>
                      <a:pt x="6403181" y="1181464"/>
                    </a:lnTo>
                    <a:lnTo>
                      <a:pt x="6353175" y="1186226"/>
                    </a:lnTo>
                    <a:lnTo>
                      <a:pt x="6231732" y="1279095"/>
                    </a:lnTo>
                    <a:lnTo>
                      <a:pt x="6172200" y="1283857"/>
                    </a:lnTo>
                    <a:lnTo>
                      <a:pt x="6119813" y="1248139"/>
                    </a:lnTo>
                    <a:lnTo>
                      <a:pt x="6093619" y="1283857"/>
                    </a:lnTo>
                    <a:lnTo>
                      <a:pt x="5895975" y="1276714"/>
                    </a:lnTo>
                    <a:lnTo>
                      <a:pt x="5834063" y="1231470"/>
                    </a:lnTo>
                    <a:lnTo>
                      <a:pt x="5636419" y="1248139"/>
                    </a:lnTo>
                    <a:lnTo>
                      <a:pt x="5548313" y="1164794"/>
                    </a:lnTo>
                    <a:lnTo>
                      <a:pt x="5472113" y="1119551"/>
                    </a:lnTo>
                    <a:cubicBezTo>
                      <a:pt x="5472906" y="1100501"/>
                      <a:pt x="5473700" y="1081451"/>
                      <a:pt x="5474493" y="1062401"/>
                    </a:cubicBezTo>
                    <a:lnTo>
                      <a:pt x="5455444" y="1019538"/>
                    </a:lnTo>
                    <a:lnTo>
                      <a:pt x="5360194" y="1021920"/>
                    </a:lnTo>
                    <a:lnTo>
                      <a:pt x="5264944" y="1000489"/>
                    </a:lnTo>
                    <a:lnTo>
                      <a:pt x="5195887" y="933813"/>
                    </a:lnTo>
                    <a:lnTo>
                      <a:pt x="5160169" y="890951"/>
                    </a:lnTo>
                    <a:lnTo>
                      <a:pt x="5079206" y="867138"/>
                    </a:lnTo>
                    <a:lnTo>
                      <a:pt x="5005388" y="879044"/>
                    </a:lnTo>
                    <a:lnTo>
                      <a:pt x="4948237" y="826657"/>
                    </a:lnTo>
                    <a:lnTo>
                      <a:pt x="4852988" y="838564"/>
                    </a:lnTo>
                    <a:lnTo>
                      <a:pt x="4800600" y="812370"/>
                    </a:lnTo>
                    <a:lnTo>
                      <a:pt x="4719638" y="855232"/>
                    </a:lnTo>
                    <a:lnTo>
                      <a:pt x="4581525" y="879045"/>
                    </a:lnTo>
                    <a:lnTo>
                      <a:pt x="4452938" y="971914"/>
                    </a:lnTo>
                    <a:lnTo>
                      <a:pt x="4405312" y="933814"/>
                    </a:lnTo>
                    <a:lnTo>
                      <a:pt x="4383881" y="964769"/>
                    </a:lnTo>
                    <a:lnTo>
                      <a:pt x="4310063" y="914764"/>
                    </a:lnTo>
                    <a:lnTo>
                      <a:pt x="4271963" y="921907"/>
                    </a:lnTo>
                    <a:lnTo>
                      <a:pt x="4250531" y="883807"/>
                    </a:lnTo>
                    <a:lnTo>
                      <a:pt x="4191000" y="888570"/>
                    </a:lnTo>
                    <a:lnTo>
                      <a:pt x="4145756" y="859995"/>
                    </a:lnTo>
                    <a:lnTo>
                      <a:pt x="4107656" y="857614"/>
                    </a:lnTo>
                    <a:lnTo>
                      <a:pt x="4088606" y="809988"/>
                    </a:lnTo>
                    <a:lnTo>
                      <a:pt x="4074319" y="779032"/>
                    </a:lnTo>
                    <a:lnTo>
                      <a:pt x="4029075" y="788557"/>
                    </a:lnTo>
                    <a:lnTo>
                      <a:pt x="4010025" y="752839"/>
                    </a:lnTo>
                    <a:lnTo>
                      <a:pt x="4031457" y="698070"/>
                    </a:lnTo>
                    <a:lnTo>
                      <a:pt x="4000500" y="671876"/>
                    </a:lnTo>
                    <a:lnTo>
                      <a:pt x="4017169" y="629014"/>
                    </a:lnTo>
                    <a:lnTo>
                      <a:pt x="3990975" y="586151"/>
                    </a:lnTo>
                    <a:lnTo>
                      <a:pt x="3986213" y="524239"/>
                    </a:lnTo>
                    <a:lnTo>
                      <a:pt x="4010025" y="459944"/>
                    </a:lnTo>
                    <a:lnTo>
                      <a:pt x="3971925" y="462326"/>
                    </a:lnTo>
                    <a:lnTo>
                      <a:pt x="3852863" y="405176"/>
                    </a:lnTo>
                    <a:lnTo>
                      <a:pt x="3814762" y="409938"/>
                    </a:lnTo>
                    <a:lnTo>
                      <a:pt x="3609975" y="300401"/>
                    </a:lnTo>
                    <a:lnTo>
                      <a:pt x="3505200" y="269445"/>
                    </a:lnTo>
                    <a:lnTo>
                      <a:pt x="3440906" y="278969"/>
                    </a:lnTo>
                    <a:lnTo>
                      <a:pt x="3409950" y="214676"/>
                    </a:lnTo>
                    <a:lnTo>
                      <a:pt x="3352800" y="214676"/>
                    </a:lnTo>
                    <a:lnTo>
                      <a:pt x="3214687" y="109901"/>
                    </a:lnTo>
                    <a:lnTo>
                      <a:pt x="3181350" y="169433"/>
                    </a:lnTo>
                    <a:lnTo>
                      <a:pt x="3126581" y="238489"/>
                    </a:lnTo>
                    <a:lnTo>
                      <a:pt x="3083719" y="255157"/>
                    </a:lnTo>
                    <a:lnTo>
                      <a:pt x="3052763" y="248014"/>
                    </a:lnTo>
                    <a:lnTo>
                      <a:pt x="3028950" y="276589"/>
                    </a:lnTo>
                    <a:lnTo>
                      <a:pt x="3002756" y="355170"/>
                    </a:lnTo>
                    <a:lnTo>
                      <a:pt x="2959894" y="352789"/>
                    </a:lnTo>
                    <a:lnTo>
                      <a:pt x="2928937" y="414701"/>
                    </a:lnTo>
                    <a:lnTo>
                      <a:pt x="2924175" y="478995"/>
                    </a:lnTo>
                    <a:lnTo>
                      <a:pt x="2897982" y="517095"/>
                    </a:lnTo>
                    <a:lnTo>
                      <a:pt x="2924175" y="576626"/>
                    </a:lnTo>
                    <a:cubicBezTo>
                      <a:pt x="2924969" y="599645"/>
                      <a:pt x="2925762" y="622663"/>
                      <a:pt x="2926556" y="645682"/>
                    </a:cubicBezTo>
                    <a:lnTo>
                      <a:pt x="2955131" y="698070"/>
                    </a:lnTo>
                    <a:lnTo>
                      <a:pt x="3002757" y="752839"/>
                    </a:lnTo>
                    <a:lnTo>
                      <a:pt x="2952750" y="890951"/>
                    </a:lnTo>
                    <a:lnTo>
                      <a:pt x="2883694" y="957626"/>
                    </a:lnTo>
                    <a:lnTo>
                      <a:pt x="2812256" y="952864"/>
                    </a:lnTo>
                    <a:lnTo>
                      <a:pt x="2774156" y="1010014"/>
                    </a:lnTo>
                    <a:lnTo>
                      <a:pt x="2714625" y="1024301"/>
                    </a:lnTo>
                    <a:lnTo>
                      <a:pt x="2645569" y="964770"/>
                    </a:lnTo>
                    <a:lnTo>
                      <a:pt x="2590800" y="936195"/>
                    </a:lnTo>
                    <a:lnTo>
                      <a:pt x="2547938" y="950482"/>
                    </a:lnTo>
                    <a:lnTo>
                      <a:pt x="2495550" y="933814"/>
                    </a:lnTo>
                    <a:lnTo>
                      <a:pt x="2428875" y="879045"/>
                    </a:lnTo>
                    <a:lnTo>
                      <a:pt x="2383631" y="890951"/>
                    </a:lnTo>
                    <a:lnTo>
                      <a:pt x="2362200" y="859995"/>
                    </a:lnTo>
                    <a:lnTo>
                      <a:pt x="2305050" y="900476"/>
                    </a:lnTo>
                    <a:lnTo>
                      <a:pt x="2188369" y="879045"/>
                    </a:lnTo>
                    <a:lnTo>
                      <a:pt x="2138363" y="826657"/>
                    </a:lnTo>
                    <a:lnTo>
                      <a:pt x="2095500" y="812370"/>
                    </a:lnTo>
                    <a:lnTo>
                      <a:pt x="2052638" y="838564"/>
                    </a:lnTo>
                    <a:lnTo>
                      <a:pt x="2000250" y="748076"/>
                    </a:lnTo>
                    <a:lnTo>
                      <a:pt x="1990725" y="600438"/>
                    </a:lnTo>
                    <a:lnTo>
                      <a:pt x="1938337" y="593294"/>
                    </a:lnTo>
                    <a:lnTo>
                      <a:pt x="1847850" y="583770"/>
                    </a:lnTo>
                    <a:lnTo>
                      <a:pt x="1793081" y="545670"/>
                    </a:lnTo>
                    <a:lnTo>
                      <a:pt x="1724025" y="555195"/>
                    </a:lnTo>
                    <a:lnTo>
                      <a:pt x="1678781" y="529001"/>
                    </a:lnTo>
                    <a:lnTo>
                      <a:pt x="1669257" y="457564"/>
                    </a:lnTo>
                    <a:lnTo>
                      <a:pt x="1645444" y="443276"/>
                    </a:lnTo>
                    <a:lnTo>
                      <a:pt x="1607344" y="490900"/>
                    </a:lnTo>
                    <a:lnTo>
                      <a:pt x="1528762" y="417082"/>
                    </a:lnTo>
                    <a:lnTo>
                      <a:pt x="1488281" y="457564"/>
                    </a:lnTo>
                    <a:lnTo>
                      <a:pt x="1412081" y="443276"/>
                    </a:lnTo>
                    <a:lnTo>
                      <a:pt x="1333500" y="469470"/>
                    </a:lnTo>
                    <a:lnTo>
                      <a:pt x="1273969" y="517094"/>
                    </a:lnTo>
                    <a:lnTo>
                      <a:pt x="1200150" y="529001"/>
                    </a:lnTo>
                    <a:lnTo>
                      <a:pt x="1164431" y="521857"/>
                    </a:lnTo>
                    <a:lnTo>
                      <a:pt x="1085851" y="552814"/>
                    </a:lnTo>
                    <a:lnTo>
                      <a:pt x="1064419" y="581389"/>
                    </a:lnTo>
                    <a:lnTo>
                      <a:pt x="997744" y="571864"/>
                    </a:lnTo>
                    <a:lnTo>
                      <a:pt x="928688" y="595676"/>
                    </a:lnTo>
                    <a:lnTo>
                      <a:pt x="873919" y="633776"/>
                    </a:lnTo>
                    <a:lnTo>
                      <a:pt x="778669" y="648063"/>
                    </a:lnTo>
                    <a:lnTo>
                      <a:pt x="764381" y="669495"/>
                    </a:lnTo>
                    <a:lnTo>
                      <a:pt x="776287" y="714739"/>
                    </a:lnTo>
                    <a:lnTo>
                      <a:pt x="676276" y="767126"/>
                    </a:lnTo>
                    <a:lnTo>
                      <a:pt x="638175" y="738550"/>
                    </a:lnTo>
                    <a:lnTo>
                      <a:pt x="607219" y="795701"/>
                    </a:lnTo>
                    <a:lnTo>
                      <a:pt x="550069" y="757601"/>
                    </a:lnTo>
                    <a:lnTo>
                      <a:pt x="514350" y="786176"/>
                    </a:lnTo>
                    <a:lnTo>
                      <a:pt x="478631" y="750457"/>
                    </a:lnTo>
                    <a:lnTo>
                      <a:pt x="426244" y="762364"/>
                    </a:lnTo>
                    <a:lnTo>
                      <a:pt x="381000" y="733789"/>
                    </a:lnTo>
                    <a:lnTo>
                      <a:pt x="357188" y="752839"/>
                    </a:lnTo>
                    <a:lnTo>
                      <a:pt x="333375" y="812370"/>
                    </a:lnTo>
                    <a:lnTo>
                      <a:pt x="261938" y="850469"/>
                    </a:lnTo>
                    <a:lnTo>
                      <a:pt x="209550" y="821895"/>
                    </a:lnTo>
                    <a:lnTo>
                      <a:pt x="119063" y="831420"/>
                    </a:lnTo>
                    <a:lnTo>
                      <a:pt x="71437" y="798083"/>
                    </a:lnTo>
                    <a:lnTo>
                      <a:pt x="0" y="817132"/>
                    </a:lnTo>
                    <a:cubicBezTo>
                      <a:pt x="1587" y="546463"/>
                      <a:pt x="3175" y="275795"/>
                      <a:pt x="4762" y="5126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3175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GB" noProof="1"/>
              </a:p>
            </p:txBody>
          </p:sp>
          <p:sp>
            <p:nvSpPr>
              <p:cNvPr id="13" name="China">
                <a:extLst>
                  <a:ext uri="{FF2B5EF4-FFF2-40B4-BE49-F238E27FC236}">
                    <a16:creationId xmlns:a16="http://schemas.microsoft.com/office/drawing/2014/main" id="{3E0C2108-89CA-48D7-BA75-F9D3C7563194}"/>
                  </a:ext>
                </a:extLst>
              </p:cNvPr>
              <p:cNvSpPr/>
              <p:nvPr/>
            </p:nvSpPr>
            <p:spPr bwMode="gray">
              <a:xfrm>
                <a:off x="544437" y="2072063"/>
                <a:ext cx="8964084" cy="4554539"/>
              </a:xfrm>
              <a:custGeom>
                <a:avLst/>
                <a:gdLst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19575 w 8601075"/>
                  <a:gd name="connsiteY34" fmla="*/ 838200 h 4333875"/>
                  <a:gd name="connsiteX35" fmla="*/ 4105275 w 8601075"/>
                  <a:gd name="connsiteY35" fmla="*/ 828675 h 4333875"/>
                  <a:gd name="connsiteX36" fmla="*/ 4010025 w 8601075"/>
                  <a:gd name="connsiteY36" fmla="*/ 771525 h 4333875"/>
                  <a:gd name="connsiteX37" fmla="*/ 3895725 w 8601075"/>
                  <a:gd name="connsiteY37" fmla="*/ 695325 h 4333875"/>
                  <a:gd name="connsiteX38" fmla="*/ 3781425 w 8601075"/>
                  <a:gd name="connsiteY38" fmla="*/ 590550 h 4333875"/>
                  <a:gd name="connsiteX39" fmla="*/ 3810000 w 8601075"/>
                  <a:gd name="connsiteY39" fmla="*/ 514350 h 4333875"/>
                  <a:gd name="connsiteX40" fmla="*/ 3781425 w 8601075"/>
                  <a:gd name="connsiteY40" fmla="*/ 390525 h 4333875"/>
                  <a:gd name="connsiteX41" fmla="*/ 3771900 w 8601075"/>
                  <a:gd name="connsiteY41" fmla="*/ 352425 h 4333875"/>
                  <a:gd name="connsiteX42" fmla="*/ 3600450 w 8601075"/>
                  <a:gd name="connsiteY42" fmla="*/ 285750 h 4333875"/>
                  <a:gd name="connsiteX43" fmla="*/ 3533775 w 8601075"/>
                  <a:gd name="connsiteY43" fmla="*/ 314325 h 4333875"/>
                  <a:gd name="connsiteX44" fmla="*/ 3409950 w 8601075"/>
                  <a:gd name="connsiteY44" fmla="*/ 190500 h 4333875"/>
                  <a:gd name="connsiteX45" fmla="*/ 3257550 w 8601075"/>
                  <a:gd name="connsiteY45" fmla="*/ 180975 h 4333875"/>
                  <a:gd name="connsiteX46" fmla="*/ 3209925 w 8601075"/>
                  <a:gd name="connsiteY46" fmla="*/ 104775 h 4333875"/>
                  <a:gd name="connsiteX47" fmla="*/ 3152775 w 8601075"/>
                  <a:gd name="connsiteY47" fmla="*/ 104775 h 4333875"/>
                  <a:gd name="connsiteX48" fmla="*/ 2990850 w 8601075"/>
                  <a:gd name="connsiteY48" fmla="*/ 0 h 4333875"/>
                  <a:gd name="connsiteX49" fmla="*/ 2933700 w 8601075"/>
                  <a:gd name="connsiteY49" fmla="*/ 114300 h 4333875"/>
                  <a:gd name="connsiteX50" fmla="*/ 2867025 w 8601075"/>
                  <a:gd name="connsiteY50" fmla="*/ 171450 h 4333875"/>
                  <a:gd name="connsiteX51" fmla="*/ 2867025 w 8601075"/>
                  <a:gd name="connsiteY51" fmla="*/ 171450 h 4333875"/>
                  <a:gd name="connsiteX52" fmla="*/ 2800350 w 8601075"/>
                  <a:gd name="connsiteY52" fmla="*/ 257175 h 4333875"/>
                  <a:gd name="connsiteX53" fmla="*/ 2724150 w 8601075"/>
                  <a:gd name="connsiteY53" fmla="*/ 304800 h 4333875"/>
                  <a:gd name="connsiteX54" fmla="*/ 2705100 w 8601075"/>
                  <a:gd name="connsiteY54" fmla="*/ 466725 h 4333875"/>
                  <a:gd name="connsiteX55" fmla="*/ 2762250 w 8601075"/>
                  <a:gd name="connsiteY55" fmla="*/ 571500 h 4333875"/>
                  <a:gd name="connsiteX56" fmla="*/ 2800350 w 8601075"/>
                  <a:gd name="connsiteY56" fmla="*/ 628650 h 4333875"/>
                  <a:gd name="connsiteX57" fmla="*/ 2752725 w 8601075"/>
                  <a:gd name="connsiteY57" fmla="*/ 781050 h 4333875"/>
                  <a:gd name="connsiteX58" fmla="*/ 2686050 w 8601075"/>
                  <a:gd name="connsiteY58" fmla="*/ 857250 h 4333875"/>
                  <a:gd name="connsiteX59" fmla="*/ 2609850 w 8601075"/>
                  <a:gd name="connsiteY59" fmla="*/ 857250 h 4333875"/>
                  <a:gd name="connsiteX60" fmla="*/ 2514600 w 8601075"/>
                  <a:gd name="connsiteY60" fmla="*/ 914400 h 4333875"/>
                  <a:gd name="connsiteX61" fmla="*/ 2400300 w 8601075"/>
                  <a:gd name="connsiteY61" fmla="*/ 866775 h 4333875"/>
                  <a:gd name="connsiteX62" fmla="*/ 2305050 w 8601075"/>
                  <a:gd name="connsiteY62" fmla="*/ 809625 h 4333875"/>
                  <a:gd name="connsiteX63" fmla="*/ 2200275 w 8601075"/>
                  <a:gd name="connsiteY63" fmla="*/ 752475 h 4333875"/>
                  <a:gd name="connsiteX64" fmla="*/ 2105025 w 8601075"/>
                  <a:gd name="connsiteY64" fmla="*/ 762000 h 4333875"/>
                  <a:gd name="connsiteX65" fmla="*/ 1990725 w 8601075"/>
                  <a:gd name="connsiteY65" fmla="*/ 762000 h 4333875"/>
                  <a:gd name="connsiteX66" fmla="*/ 1885950 w 8601075"/>
                  <a:gd name="connsiteY66" fmla="*/ 742950 h 4333875"/>
                  <a:gd name="connsiteX67" fmla="*/ 1800225 w 8601075"/>
                  <a:gd name="connsiteY67" fmla="*/ 638175 h 4333875"/>
                  <a:gd name="connsiteX68" fmla="*/ 1809750 w 8601075"/>
                  <a:gd name="connsiteY68" fmla="*/ 495300 h 4333875"/>
                  <a:gd name="connsiteX69" fmla="*/ 1733550 w 8601075"/>
                  <a:gd name="connsiteY69" fmla="*/ 466725 h 4333875"/>
                  <a:gd name="connsiteX70" fmla="*/ 1485900 w 8601075"/>
                  <a:gd name="connsiteY70" fmla="*/ 419100 h 4333875"/>
                  <a:gd name="connsiteX71" fmla="*/ 1457325 w 8601075"/>
                  <a:gd name="connsiteY71" fmla="*/ 323850 h 4333875"/>
                  <a:gd name="connsiteX72" fmla="*/ 1457325 w 8601075"/>
                  <a:gd name="connsiteY72" fmla="*/ 323850 h 4333875"/>
                  <a:gd name="connsiteX73" fmla="*/ 1323975 w 8601075"/>
                  <a:gd name="connsiteY73" fmla="*/ 285750 h 4333875"/>
                  <a:gd name="connsiteX74" fmla="*/ 1266825 w 8601075"/>
                  <a:gd name="connsiteY74" fmla="*/ 352425 h 4333875"/>
                  <a:gd name="connsiteX75" fmla="*/ 1009650 w 8601075"/>
                  <a:gd name="connsiteY75" fmla="*/ 390525 h 4333875"/>
                  <a:gd name="connsiteX76" fmla="*/ 828675 w 8601075"/>
                  <a:gd name="connsiteY76" fmla="*/ 447675 h 4333875"/>
                  <a:gd name="connsiteX77" fmla="*/ 619125 w 8601075"/>
                  <a:gd name="connsiteY77" fmla="*/ 533400 h 4333875"/>
                  <a:gd name="connsiteX78" fmla="*/ 619125 w 8601075"/>
                  <a:gd name="connsiteY78" fmla="*/ 533400 h 4333875"/>
                  <a:gd name="connsiteX79" fmla="*/ 561975 w 8601075"/>
                  <a:gd name="connsiteY79" fmla="*/ 619125 h 4333875"/>
                  <a:gd name="connsiteX80" fmla="*/ 447675 w 8601075"/>
                  <a:gd name="connsiteY80" fmla="*/ 63817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295275 w 8601075"/>
                  <a:gd name="connsiteY83" fmla="*/ 657225 h 4333875"/>
                  <a:gd name="connsiteX84" fmla="*/ 180975 w 8601075"/>
                  <a:gd name="connsiteY84" fmla="*/ 638175 h 4333875"/>
                  <a:gd name="connsiteX85" fmla="*/ 180975 w 8601075"/>
                  <a:gd name="connsiteY85" fmla="*/ 638175 h 4333875"/>
                  <a:gd name="connsiteX86" fmla="*/ 57150 w 8601075"/>
                  <a:gd name="connsiteY86" fmla="*/ 733425 h 4333875"/>
                  <a:gd name="connsiteX87" fmla="*/ 19050 w 8601075"/>
                  <a:gd name="connsiteY87" fmla="*/ 790575 h 4333875"/>
                  <a:gd name="connsiteX88" fmla="*/ 0 w 8601075"/>
                  <a:gd name="connsiteY88" fmla="*/ 876300 h 4333875"/>
                  <a:gd name="connsiteX89" fmla="*/ 57150 w 8601075"/>
                  <a:gd name="connsiteY89" fmla="*/ 923925 h 4333875"/>
                  <a:gd name="connsiteX90" fmla="*/ 57150 w 8601075"/>
                  <a:gd name="connsiteY90" fmla="*/ 923925 h 4333875"/>
                  <a:gd name="connsiteX91" fmla="*/ 209550 w 8601075"/>
                  <a:gd name="connsiteY91" fmla="*/ 1114425 h 4333875"/>
                  <a:gd name="connsiteX92" fmla="*/ 209550 w 8601075"/>
                  <a:gd name="connsiteY92" fmla="*/ 1114425 h 4333875"/>
                  <a:gd name="connsiteX93" fmla="*/ 266700 w 8601075"/>
                  <a:gd name="connsiteY93" fmla="*/ 1295400 h 4333875"/>
                  <a:gd name="connsiteX94" fmla="*/ 409575 w 8601075"/>
                  <a:gd name="connsiteY94" fmla="*/ 1276350 h 4333875"/>
                  <a:gd name="connsiteX95" fmla="*/ 466725 w 8601075"/>
                  <a:gd name="connsiteY95" fmla="*/ 1362075 h 4333875"/>
                  <a:gd name="connsiteX96" fmla="*/ 542925 w 8601075"/>
                  <a:gd name="connsiteY96" fmla="*/ 1428750 h 4333875"/>
                  <a:gd name="connsiteX97" fmla="*/ 628650 w 8601075"/>
                  <a:gd name="connsiteY97" fmla="*/ 1571625 h 4333875"/>
                  <a:gd name="connsiteX98" fmla="*/ 628650 w 8601075"/>
                  <a:gd name="connsiteY98" fmla="*/ 1704975 h 4333875"/>
                  <a:gd name="connsiteX99" fmla="*/ 676275 w 8601075"/>
                  <a:gd name="connsiteY99" fmla="*/ 1771650 h 4333875"/>
                  <a:gd name="connsiteX100" fmla="*/ 657225 w 8601075"/>
                  <a:gd name="connsiteY100" fmla="*/ 2000250 h 4333875"/>
                  <a:gd name="connsiteX101" fmla="*/ 619125 w 8601075"/>
                  <a:gd name="connsiteY101" fmla="*/ 2095500 h 4333875"/>
                  <a:gd name="connsiteX102" fmla="*/ 542925 w 8601075"/>
                  <a:gd name="connsiteY102" fmla="*/ 2228850 h 4333875"/>
                  <a:gd name="connsiteX103" fmla="*/ 485775 w 8601075"/>
                  <a:gd name="connsiteY103" fmla="*/ 2362200 h 4333875"/>
                  <a:gd name="connsiteX104" fmla="*/ 552450 w 8601075"/>
                  <a:gd name="connsiteY104" fmla="*/ 2486025 h 4333875"/>
                  <a:gd name="connsiteX105" fmla="*/ 771525 w 8601075"/>
                  <a:gd name="connsiteY105" fmla="*/ 2571750 h 4333875"/>
                  <a:gd name="connsiteX106" fmla="*/ 866775 w 8601075"/>
                  <a:gd name="connsiteY106" fmla="*/ 2571750 h 4333875"/>
                  <a:gd name="connsiteX107" fmla="*/ 914400 w 8601075"/>
                  <a:gd name="connsiteY107" fmla="*/ 2638425 h 4333875"/>
                  <a:gd name="connsiteX108" fmla="*/ 1066800 w 8601075"/>
                  <a:gd name="connsiteY108" fmla="*/ 2638425 h 4333875"/>
                  <a:gd name="connsiteX109" fmla="*/ 1285875 w 8601075"/>
                  <a:gd name="connsiteY109" fmla="*/ 2705100 h 4333875"/>
                  <a:gd name="connsiteX110" fmla="*/ 1438275 w 8601075"/>
                  <a:gd name="connsiteY110" fmla="*/ 2838450 h 4333875"/>
                  <a:gd name="connsiteX111" fmla="*/ 1485900 w 8601075"/>
                  <a:gd name="connsiteY111" fmla="*/ 2914650 h 4333875"/>
                  <a:gd name="connsiteX112" fmla="*/ 1657350 w 8601075"/>
                  <a:gd name="connsiteY112" fmla="*/ 3038475 h 4333875"/>
                  <a:gd name="connsiteX113" fmla="*/ 1752600 w 8601075"/>
                  <a:gd name="connsiteY113" fmla="*/ 3057525 h 4333875"/>
                  <a:gd name="connsiteX114" fmla="*/ 1724025 w 8601075"/>
                  <a:gd name="connsiteY114" fmla="*/ 3143250 h 4333875"/>
                  <a:gd name="connsiteX115" fmla="*/ 1724025 w 8601075"/>
                  <a:gd name="connsiteY115" fmla="*/ 3143250 h 4333875"/>
                  <a:gd name="connsiteX116" fmla="*/ 1781175 w 8601075"/>
                  <a:gd name="connsiteY116" fmla="*/ 3181350 h 4333875"/>
                  <a:gd name="connsiteX117" fmla="*/ 1819275 w 8601075"/>
                  <a:gd name="connsiteY117" fmla="*/ 3362325 h 4333875"/>
                  <a:gd name="connsiteX118" fmla="*/ 1828800 w 8601075"/>
                  <a:gd name="connsiteY118" fmla="*/ 3457575 h 4333875"/>
                  <a:gd name="connsiteX119" fmla="*/ 1971675 w 8601075"/>
                  <a:gd name="connsiteY119" fmla="*/ 3590925 h 4333875"/>
                  <a:gd name="connsiteX120" fmla="*/ 1990725 w 8601075"/>
                  <a:gd name="connsiteY120" fmla="*/ 3714750 h 4333875"/>
                  <a:gd name="connsiteX121" fmla="*/ 2200275 w 8601075"/>
                  <a:gd name="connsiteY121" fmla="*/ 3695700 h 4333875"/>
                  <a:gd name="connsiteX122" fmla="*/ 2886075 w 8601075"/>
                  <a:gd name="connsiteY122" fmla="*/ 3886200 h 4333875"/>
                  <a:gd name="connsiteX123" fmla="*/ 3038475 w 8601075"/>
                  <a:gd name="connsiteY123" fmla="*/ 3819525 h 4333875"/>
                  <a:gd name="connsiteX124" fmla="*/ 3105150 w 8601075"/>
                  <a:gd name="connsiteY124" fmla="*/ 3867150 h 4333875"/>
                  <a:gd name="connsiteX125" fmla="*/ 3181350 w 8601075"/>
                  <a:gd name="connsiteY125" fmla="*/ 3800475 h 4333875"/>
                  <a:gd name="connsiteX126" fmla="*/ 3590925 w 8601075"/>
                  <a:gd name="connsiteY126" fmla="*/ 3943350 h 4333875"/>
                  <a:gd name="connsiteX127" fmla="*/ 3686175 w 8601075"/>
                  <a:gd name="connsiteY127" fmla="*/ 4057650 h 4333875"/>
                  <a:gd name="connsiteX128" fmla="*/ 3838575 w 8601075"/>
                  <a:gd name="connsiteY128" fmla="*/ 4057650 h 4333875"/>
                  <a:gd name="connsiteX129" fmla="*/ 4162425 w 8601075"/>
                  <a:gd name="connsiteY129" fmla="*/ 4248150 h 4333875"/>
                  <a:gd name="connsiteX130" fmla="*/ 4391025 w 8601075"/>
                  <a:gd name="connsiteY130" fmla="*/ 4200525 h 4333875"/>
                  <a:gd name="connsiteX131" fmla="*/ 4410075 w 8601075"/>
                  <a:gd name="connsiteY131" fmla="*/ 4305300 h 4333875"/>
                  <a:gd name="connsiteX132" fmla="*/ 4505325 w 8601075"/>
                  <a:gd name="connsiteY132" fmla="*/ 4276725 h 4333875"/>
                  <a:gd name="connsiteX133" fmla="*/ 4572000 w 8601075"/>
                  <a:gd name="connsiteY133" fmla="*/ 4333875 h 4333875"/>
                  <a:gd name="connsiteX134" fmla="*/ 4591050 w 8601075"/>
                  <a:gd name="connsiteY134" fmla="*/ 4248150 h 4333875"/>
                  <a:gd name="connsiteX135" fmla="*/ 5295900 w 8601075"/>
                  <a:gd name="connsiteY135" fmla="*/ 3924300 h 4333875"/>
                  <a:gd name="connsiteX136" fmla="*/ 5353050 w 8601075"/>
                  <a:gd name="connsiteY136" fmla="*/ 3990975 h 4333875"/>
                  <a:gd name="connsiteX137" fmla="*/ 5524500 w 8601075"/>
                  <a:gd name="connsiteY137" fmla="*/ 3914775 h 4333875"/>
                  <a:gd name="connsiteX138" fmla="*/ 5667375 w 8601075"/>
                  <a:gd name="connsiteY138" fmla="*/ 3962400 h 4333875"/>
                  <a:gd name="connsiteX139" fmla="*/ 5753100 w 8601075"/>
                  <a:gd name="connsiteY139" fmla="*/ 3924300 h 4333875"/>
                  <a:gd name="connsiteX140" fmla="*/ 5905500 w 8601075"/>
                  <a:gd name="connsiteY140" fmla="*/ 3943350 h 4333875"/>
                  <a:gd name="connsiteX141" fmla="*/ 6000750 w 8601075"/>
                  <a:gd name="connsiteY141" fmla="*/ 3800475 h 4333875"/>
                  <a:gd name="connsiteX142" fmla="*/ 6153150 w 8601075"/>
                  <a:gd name="connsiteY142" fmla="*/ 3781425 h 4333875"/>
                  <a:gd name="connsiteX143" fmla="*/ 6257925 w 8601075"/>
                  <a:gd name="connsiteY143" fmla="*/ 3581400 h 4333875"/>
                  <a:gd name="connsiteX144" fmla="*/ 6448425 w 8601075"/>
                  <a:gd name="connsiteY144" fmla="*/ 3448050 h 4333875"/>
                  <a:gd name="connsiteX145" fmla="*/ 6581775 w 8601075"/>
                  <a:gd name="connsiteY145" fmla="*/ 3276600 h 4333875"/>
                  <a:gd name="connsiteX146" fmla="*/ 6496050 w 8601075"/>
                  <a:gd name="connsiteY146" fmla="*/ 3228975 h 4333875"/>
                  <a:gd name="connsiteX147" fmla="*/ 6438900 w 8601075"/>
                  <a:gd name="connsiteY147" fmla="*/ 3162300 h 4333875"/>
                  <a:gd name="connsiteX148" fmla="*/ 6419850 w 8601075"/>
                  <a:gd name="connsiteY148" fmla="*/ 3105150 h 4333875"/>
                  <a:gd name="connsiteX149" fmla="*/ 6362700 w 8601075"/>
                  <a:gd name="connsiteY149" fmla="*/ 3076575 h 4333875"/>
                  <a:gd name="connsiteX150" fmla="*/ 6410325 w 8601075"/>
                  <a:gd name="connsiteY150" fmla="*/ 3019425 h 4333875"/>
                  <a:gd name="connsiteX151" fmla="*/ 6438900 w 8601075"/>
                  <a:gd name="connsiteY151" fmla="*/ 2819400 h 4333875"/>
                  <a:gd name="connsiteX152" fmla="*/ 6496050 w 8601075"/>
                  <a:gd name="connsiteY152" fmla="*/ 2762250 h 4333875"/>
                  <a:gd name="connsiteX153" fmla="*/ 6657975 w 8601075"/>
                  <a:gd name="connsiteY153" fmla="*/ 2752725 h 4333875"/>
                  <a:gd name="connsiteX154" fmla="*/ 6781800 w 8601075"/>
                  <a:gd name="connsiteY154" fmla="*/ 2838450 h 4333875"/>
                  <a:gd name="connsiteX155" fmla="*/ 7010400 w 8601075"/>
                  <a:gd name="connsiteY155" fmla="*/ 2838450 h 4333875"/>
                  <a:gd name="connsiteX156" fmla="*/ 7162800 w 8601075"/>
                  <a:gd name="connsiteY156" fmla="*/ 2705100 h 4333875"/>
                  <a:gd name="connsiteX157" fmla="*/ 7229475 w 8601075"/>
                  <a:gd name="connsiteY157" fmla="*/ 2590800 h 4333875"/>
                  <a:gd name="connsiteX158" fmla="*/ 7248525 w 8601075"/>
                  <a:gd name="connsiteY158" fmla="*/ 2524125 h 4333875"/>
                  <a:gd name="connsiteX159" fmla="*/ 7372350 w 8601075"/>
                  <a:gd name="connsiteY159" fmla="*/ 2543175 h 4333875"/>
                  <a:gd name="connsiteX160" fmla="*/ 7553325 w 8601075"/>
                  <a:gd name="connsiteY160" fmla="*/ 2447925 h 4333875"/>
                  <a:gd name="connsiteX161" fmla="*/ 7620000 w 8601075"/>
                  <a:gd name="connsiteY161" fmla="*/ 2324100 h 4333875"/>
                  <a:gd name="connsiteX162" fmla="*/ 7696200 w 8601075"/>
                  <a:gd name="connsiteY162" fmla="*/ 2314575 h 4333875"/>
                  <a:gd name="connsiteX163" fmla="*/ 7658100 w 8601075"/>
                  <a:gd name="connsiteY163" fmla="*/ 2257425 h 4333875"/>
                  <a:gd name="connsiteX164" fmla="*/ 7753350 w 8601075"/>
                  <a:gd name="connsiteY164" fmla="*/ 2057400 h 4333875"/>
                  <a:gd name="connsiteX165" fmla="*/ 7934325 w 8601075"/>
                  <a:gd name="connsiteY165" fmla="*/ 2028825 h 4333875"/>
                  <a:gd name="connsiteX166" fmla="*/ 7953375 w 8601075"/>
                  <a:gd name="connsiteY166" fmla="*/ 1952625 h 4333875"/>
                  <a:gd name="connsiteX167" fmla="*/ 7953375 w 8601075"/>
                  <a:gd name="connsiteY167" fmla="*/ 1952625 h 4333875"/>
                  <a:gd name="connsiteX168" fmla="*/ 8010525 w 8601075"/>
                  <a:gd name="connsiteY168" fmla="*/ 1895475 h 4333875"/>
                  <a:gd name="connsiteX169" fmla="*/ 8048625 w 8601075"/>
                  <a:gd name="connsiteY169" fmla="*/ 1971675 h 4333875"/>
                  <a:gd name="connsiteX170" fmla="*/ 8077200 w 8601075"/>
                  <a:gd name="connsiteY170" fmla="*/ 1885950 h 4333875"/>
                  <a:gd name="connsiteX171" fmla="*/ 8220075 w 8601075"/>
                  <a:gd name="connsiteY171" fmla="*/ 1847850 h 4333875"/>
                  <a:gd name="connsiteX172" fmla="*/ 8296275 w 8601075"/>
                  <a:gd name="connsiteY172" fmla="*/ 1809750 h 4333875"/>
                  <a:gd name="connsiteX173" fmla="*/ 8324850 w 8601075"/>
                  <a:gd name="connsiteY173" fmla="*/ 1790700 h 4333875"/>
                  <a:gd name="connsiteX174" fmla="*/ 8410575 w 8601075"/>
                  <a:gd name="connsiteY174" fmla="*/ 1847850 h 4333875"/>
                  <a:gd name="connsiteX175" fmla="*/ 8505825 w 8601075"/>
                  <a:gd name="connsiteY175" fmla="*/ 1781175 h 4333875"/>
                  <a:gd name="connsiteX176" fmla="*/ 8572500 w 8601075"/>
                  <a:gd name="connsiteY176" fmla="*/ 1809750 h 4333875"/>
                  <a:gd name="connsiteX177" fmla="*/ 8601075 w 8601075"/>
                  <a:gd name="connsiteY177" fmla="*/ 1704975 h 4333875"/>
                  <a:gd name="connsiteX178" fmla="*/ 8553450 w 8601075"/>
                  <a:gd name="connsiteY178" fmla="*/ 1676400 h 4333875"/>
                  <a:gd name="connsiteX179" fmla="*/ 8534400 w 8601075"/>
                  <a:gd name="connsiteY179" fmla="*/ 1609725 h 4333875"/>
                  <a:gd name="connsiteX180" fmla="*/ 8277225 w 8601075"/>
                  <a:gd name="connsiteY180" fmla="*/ 1409700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124825 w 8601075"/>
                  <a:gd name="connsiteY183" fmla="*/ 1352550 h 4333875"/>
                  <a:gd name="connsiteX184" fmla="*/ 7924800 w 8601075"/>
                  <a:gd name="connsiteY184" fmla="*/ 1362075 h 4333875"/>
                  <a:gd name="connsiteX185" fmla="*/ 7867650 w 8601075"/>
                  <a:gd name="connsiteY185" fmla="*/ 1457325 h 4333875"/>
                  <a:gd name="connsiteX186" fmla="*/ 7896225 w 8601075"/>
                  <a:gd name="connsiteY186" fmla="*/ 1476375 h 4333875"/>
                  <a:gd name="connsiteX187" fmla="*/ 7858125 w 8601075"/>
                  <a:gd name="connsiteY187" fmla="*/ 1533525 h 4333875"/>
                  <a:gd name="connsiteX188" fmla="*/ 7658100 w 8601075"/>
                  <a:gd name="connsiteY188" fmla="*/ 1447800 h 4333875"/>
                  <a:gd name="connsiteX189" fmla="*/ 7515225 w 8601075"/>
                  <a:gd name="connsiteY189" fmla="*/ 1495425 h 4333875"/>
                  <a:gd name="connsiteX190" fmla="*/ 7467600 w 8601075"/>
                  <a:gd name="connsiteY190" fmla="*/ 1581150 h 4333875"/>
                  <a:gd name="connsiteX191" fmla="*/ 7296150 w 8601075"/>
                  <a:gd name="connsiteY19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19575 w 8601075"/>
                  <a:gd name="connsiteY35" fmla="*/ 838200 h 4333875"/>
                  <a:gd name="connsiteX36" fmla="*/ 4105275 w 8601075"/>
                  <a:gd name="connsiteY36" fmla="*/ 828675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05275 w 8601075"/>
                  <a:gd name="connsiteY36" fmla="*/ 828675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010025 w 8601075"/>
                  <a:gd name="connsiteY37" fmla="*/ 771525 h 4333875"/>
                  <a:gd name="connsiteX38" fmla="*/ 3895725 w 8601075"/>
                  <a:gd name="connsiteY38" fmla="*/ 695325 h 4333875"/>
                  <a:gd name="connsiteX39" fmla="*/ 3781425 w 8601075"/>
                  <a:gd name="connsiteY39" fmla="*/ 590550 h 4333875"/>
                  <a:gd name="connsiteX40" fmla="*/ 3810000 w 8601075"/>
                  <a:gd name="connsiteY40" fmla="*/ 514350 h 4333875"/>
                  <a:gd name="connsiteX41" fmla="*/ 3781425 w 8601075"/>
                  <a:gd name="connsiteY41" fmla="*/ 390525 h 4333875"/>
                  <a:gd name="connsiteX42" fmla="*/ 3771900 w 8601075"/>
                  <a:gd name="connsiteY42" fmla="*/ 352425 h 4333875"/>
                  <a:gd name="connsiteX43" fmla="*/ 3600450 w 8601075"/>
                  <a:gd name="connsiteY43" fmla="*/ 285750 h 4333875"/>
                  <a:gd name="connsiteX44" fmla="*/ 3533775 w 8601075"/>
                  <a:gd name="connsiteY44" fmla="*/ 314325 h 4333875"/>
                  <a:gd name="connsiteX45" fmla="*/ 3409950 w 8601075"/>
                  <a:gd name="connsiteY45" fmla="*/ 190500 h 4333875"/>
                  <a:gd name="connsiteX46" fmla="*/ 3257550 w 8601075"/>
                  <a:gd name="connsiteY46" fmla="*/ 180975 h 4333875"/>
                  <a:gd name="connsiteX47" fmla="*/ 3209925 w 8601075"/>
                  <a:gd name="connsiteY47" fmla="*/ 104775 h 4333875"/>
                  <a:gd name="connsiteX48" fmla="*/ 3152775 w 8601075"/>
                  <a:gd name="connsiteY48" fmla="*/ 104775 h 4333875"/>
                  <a:gd name="connsiteX49" fmla="*/ 2990850 w 8601075"/>
                  <a:gd name="connsiteY49" fmla="*/ 0 h 4333875"/>
                  <a:gd name="connsiteX50" fmla="*/ 2933700 w 8601075"/>
                  <a:gd name="connsiteY50" fmla="*/ 114300 h 4333875"/>
                  <a:gd name="connsiteX51" fmla="*/ 2867025 w 8601075"/>
                  <a:gd name="connsiteY51" fmla="*/ 171450 h 4333875"/>
                  <a:gd name="connsiteX52" fmla="*/ 2867025 w 8601075"/>
                  <a:gd name="connsiteY52" fmla="*/ 171450 h 4333875"/>
                  <a:gd name="connsiteX53" fmla="*/ 2800350 w 8601075"/>
                  <a:gd name="connsiteY53" fmla="*/ 257175 h 4333875"/>
                  <a:gd name="connsiteX54" fmla="*/ 2724150 w 8601075"/>
                  <a:gd name="connsiteY54" fmla="*/ 304800 h 4333875"/>
                  <a:gd name="connsiteX55" fmla="*/ 2705100 w 8601075"/>
                  <a:gd name="connsiteY55" fmla="*/ 466725 h 4333875"/>
                  <a:gd name="connsiteX56" fmla="*/ 2762250 w 8601075"/>
                  <a:gd name="connsiteY56" fmla="*/ 571500 h 4333875"/>
                  <a:gd name="connsiteX57" fmla="*/ 2800350 w 8601075"/>
                  <a:gd name="connsiteY57" fmla="*/ 628650 h 4333875"/>
                  <a:gd name="connsiteX58" fmla="*/ 2752725 w 8601075"/>
                  <a:gd name="connsiteY58" fmla="*/ 781050 h 4333875"/>
                  <a:gd name="connsiteX59" fmla="*/ 2686050 w 8601075"/>
                  <a:gd name="connsiteY59" fmla="*/ 857250 h 4333875"/>
                  <a:gd name="connsiteX60" fmla="*/ 2609850 w 8601075"/>
                  <a:gd name="connsiteY60" fmla="*/ 857250 h 4333875"/>
                  <a:gd name="connsiteX61" fmla="*/ 2514600 w 8601075"/>
                  <a:gd name="connsiteY61" fmla="*/ 914400 h 4333875"/>
                  <a:gd name="connsiteX62" fmla="*/ 2400300 w 8601075"/>
                  <a:gd name="connsiteY62" fmla="*/ 866775 h 4333875"/>
                  <a:gd name="connsiteX63" fmla="*/ 2305050 w 8601075"/>
                  <a:gd name="connsiteY63" fmla="*/ 809625 h 4333875"/>
                  <a:gd name="connsiteX64" fmla="*/ 2200275 w 8601075"/>
                  <a:gd name="connsiteY64" fmla="*/ 752475 h 4333875"/>
                  <a:gd name="connsiteX65" fmla="*/ 2105025 w 8601075"/>
                  <a:gd name="connsiteY65" fmla="*/ 762000 h 4333875"/>
                  <a:gd name="connsiteX66" fmla="*/ 1990725 w 8601075"/>
                  <a:gd name="connsiteY66" fmla="*/ 762000 h 4333875"/>
                  <a:gd name="connsiteX67" fmla="*/ 1885950 w 8601075"/>
                  <a:gd name="connsiteY67" fmla="*/ 742950 h 4333875"/>
                  <a:gd name="connsiteX68" fmla="*/ 1800225 w 8601075"/>
                  <a:gd name="connsiteY68" fmla="*/ 638175 h 4333875"/>
                  <a:gd name="connsiteX69" fmla="*/ 1809750 w 8601075"/>
                  <a:gd name="connsiteY69" fmla="*/ 495300 h 4333875"/>
                  <a:gd name="connsiteX70" fmla="*/ 1733550 w 8601075"/>
                  <a:gd name="connsiteY70" fmla="*/ 466725 h 4333875"/>
                  <a:gd name="connsiteX71" fmla="*/ 1485900 w 8601075"/>
                  <a:gd name="connsiteY71" fmla="*/ 419100 h 4333875"/>
                  <a:gd name="connsiteX72" fmla="*/ 1457325 w 8601075"/>
                  <a:gd name="connsiteY72" fmla="*/ 323850 h 4333875"/>
                  <a:gd name="connsiteX73" fmla="*/ 1457325 w 8601075"/>
                  <a:gd name="connsiteY73" fmla="*/ 323850 h 4333875"/>
                  <a:gd name="connsiteX74" fmla="*/ 1323975 w 8601075"/>
                  <a:gd name="connsiteY74" fmla="*/ 285750 h 4333875"/>
                  <a:gd name="connsiteX75" fmla="*/ 1266825 w 8601075"/>
                  <a:gd name="connsiteY75" fmla="*/ 352425 h 4333875"/>
                  <a:gd name="connsiteX76" fmla="*/ 1009650 w 8601075"/>
                  <a:gd name="connsiteY76" fmla="*/ 390525 h 4333875"/>
                  <a:gd name="connsiteX77" fmla="*/ 828675 w 8601075"/>
                  <a:gd name="connsiteY77" fmla="*/ 447675 h 4333875"/>
                  <a:gd name="connsiteX78" fmla="*/ 619125 w 8601075"/>
                  <a:gd name="connsiteY78" fmla="*/ 533400 h 4333875"/>
                  <a:gd name="connsiteX79" fmla="*/ 619125 w 8601075"/>
                  <a:gd name="connsiteY79" fmla="*/ 533400 h 4333875"/>
                  <a:gd name="connsiteX80" fmla="*/ 561975 w 8601075"/>
                  <a:gd name="connsiteY80" fmla="*/ 619125 h 4333875"/>
                  <a:gd name="connsiteX81" fmla="*/ 447675 w 8601075"/>
                  <a:gd name="connsiteY81" fmla="*/ 63817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295275 w 8601075"/>
                  <a:gd name="connsiteY84" fmla="*/ 657225 h 4333875"/>
                  <a:gd name="connsiteX85" fmla="*/ 180975 w 8601075"/>
                  <a:gd name="connsiteY85" fmla="*/ 638175 h 4333875"/>
                  <a:gd name="connsiteX86" fmla="*/ 180975 w 8601075"/>
                  <a:gd name="connsiteY86" fmla="*/ 638175 h 4333875"/>
                  <a:gd name="connsiteX87" fmla="*/ 57150 w 8601075"/>
                  <a:gd name="connsiteY87" fmla="*/ 733425 h 4333875"/>
                  <a:gd name="connsiteX88" fmla="*/ 19050 w 8601075"/>
                  <a:gd name="connsiteY88" fmla="*/ 790575 h 4333875"/>
                  <a:gd name="connsiteX89" fmla="*/ 0 w 8601075"/>
                  <a:gd name="connsiteY89" fmla="*/ 876300 h 4333875"/>
                  <a:gd name="connsiteX90" fmla="*/ 57150 w 8601075"/>
                  <a:gd name="connsiteY90" fmla="*/ 923925 h 4333875"/>
                  <a:gd name="connsiteX91" fmla="*/ 57150 w 8601075"/>
                  <a:gd name="connsiteY91" fmla="*/ 923925 h 4333875"/>
                  <a:gd name="connsiteX92" fmla="*/ 209550 w 8601075"/>
                  <a:gd name="connsiteY92" fmla="*/ 1114425 h 4333875"/>
                  <a:gd name="connsiteX93" fmla="*/ 209550 w 8601075"/>
                  <a:gd name="connsiteY93" fmla="*/ 1114425 h 4333875"/>
                  <a:gd name="connsiteX94" fmla="*/ 266700 w 8601075"/>
                  <a:gd name="connsiteY94" fmla="*/ 1295400 h 4333875"/>
                  <a:gd name="connsiteX95" fmla="*/ 409575 w 8601075"/>
                  <a:gd name="connsiteY95" fmla="*/ 1276350 h 4333875"/>
                  <a:gd name="connsiteX96" fmla="*/ 466725 w 8601075"/>
                  <a:gd name="connsiteY96" fmla="*/ 1362075 h 4333875"/>
                  <a:gd name="connsiteX97" fmla="*/ 542925 w 8601075"/>
                  <a:gd name="connsiteY97" fmla="*/ 1428750 h 4333875"/>
                  <a:gd name="connsiteX98" fmla="*/ 628650 w 8601075"/>
                  <a:gd name="connsiteY98" fmla="*/ 1571625 h 4333875"/>
                  <a:gd name="connsiteX99" fmla="*/ 628650 w 8601075"/>
                  <a:gd name="connsiteY99" fmla="*/ 1704975 h 4333875"/>
                  <a:gd name="connsiteX100" fmla="*/ 676275 w 8601075"/>
                  <a:gd name="connsiteY100" fmla="*/ 1771650 h 4333875"/>
                  <a:gd name="connsiteX101" fmla="*/ 657225 w 8601075"/>
                  <a:gd name="connsiteY101" fmla="*/ 2000250 h 4333875"/>
                  <a:gd name="connsiteX102" fmla="*/ 619125 w 8601075"/>
                  <a:gd name="connsiteY102" fmla="*/ 2095500 h 4333875"/>
                  <a:gd name="connsiteX103" fmla="*/ 542925 w 8601075"/>
                  <a:gd name="connsiteY103" fmla="*/ 2228850 h 4333875"/>
                  <a:gd name="connsiteX104" fmla="*/ 485775 w 8601075"/>
                  <a:gd name="connsiteY104" fmla="*/ 2362200 h 4333875"/>
                  <a:gd name="connsiteX105" fmla="*/ 552450 w 8601075"/>
                  <a:gd name="connsiteY105" fmla="*/ 2486025 h 4333875"/>
                  <a:gd name="connsiteX106" fmla="*/ 771525 w 8601075"/>
                  <a:gd name="connsiteY106" fmla="*/ 2571750 h 4333875"/>
                  <a:gd name="connsiteX107" fmla="*/ 866775 w 8601075"/>
                  <a:gd name="connsiteY107" fmla="*/ 2571750 h 4333875"/>
                  <a:gd name="connsiteX108" fmla="*/ 914400 w 8601075"/>
                  <a:gd name="connsiteY108" fmla="*/ 2638425 h 4333875"/>
                  <a:gd name="connsiteX109" fmla="*/ 1066800 w 8601075"/>
                  <a:gd name="connsiteY109" fmla="*/ 2638425 h 4333875"/>
                  <a:gd name="connsiteX110" fmla="*/ 1285875 w 8601075"/>
                  <a:gd name="connsiteY110" fmla="*/ 2705100 h 4333875"/>
                  <a:gd name="connsiteX111" fmla="*/ 1438275 w 8601075"/>
                  <a:gd name="connsiteY111" fmla="*/ 2838450 h 4333875"/>
                  <a:gd name="connsiteX112" fmla="*/ 1485900 w 8601075"/>
                  <a:gd name="connsiteY112" fmla="*/ 2914650 h 4333875"/>
                  <a:gd name="connsiteX113" fmla="*/ 1657350 w 8601075"/>
                  <a:gd name="connsiteY113" fmla="*/ 3038475 h 4333875"/>
                  <a:gd name="connsiteX114" fmla="*/ 1752600 w 8601075"/>
                  <a:gd name="connsiteY114" fmla="*/ 3057525 h 4333875"/>
                  <a:gd name="connsiteX115" fmla="*/ 1724025 w 8601075"/>
                  <a:gd name="connsiteY115" fmla="*/ 3143250 h 4333875"/>
                  <a:gd name="connsiteX116" fmla="*/ 1724025 w 8601075"/>
                  <a:gd name="connsiteY116" fmla="*/ 3143250 h 4333875"/>
                  <a:gd name="connsiteX117" fmla="*/ 1781175 w 8601075"/>
                  <a:gd name="connsiteY117" fmla="*/ 3181350 h 4333875"/>
                  <a:gd name="connsiteX118" fmla="*/ 1819275 w 8601075"/>
                  <a:gd name="connsiteY118" fmla="*/ 3362325 h 4333875"/>
                  <a:gd name="connsiteX119" fmla="*/ 1828800 w 8601075"/>
                  <a:gd name="connsiteY119" fmla="*/ 3457575 h 4333875"/>
                  <a:gd name="connsiteX120" fmla="*/ 1971675 w 8601075"/>
                  <a:gd name="connsiteY120" fmla="*/ 3590925 h 4333875"/>
                  <a:gd name="connsiteX121" fmla="*/ 1990725 w 8601075"/>
                  <a:gd name="connsiteY121" fmla="*/ 3714750 h 4333875"/>
                  <a:gd name="connsiteX122" fmla="*/ 2200275 w 8601075"/>
                  <a:gd name="connsiteY122" fmla="*/ 3695700 h 4333875"/>
                  <a:gd name="connsiteX123" fmla="*/ 2886075 w 8601075"/>
                  <a:gd name="connsiteY123" fmla="*/ 3886200 h 4333875"/>
                  <a:gd name="connsiteX124" fmla="*/ 3038475 w 8601075"/>
                  <a:gd name="connsiteY124" fmla="*/ 3819525 h 4333875"/>
                  <a:gd name="connsiteX125" fmla="*/ 3105150 w 8601075"/>
                  <a:gd name="connsiteY125" fmla="*/ 3867150 h 4333875"/>
                  <a:gd name="connsiteX126" fmla="*/ 3181350 w 8601075"/>
                  <a:gd name="connsiteY126" fmla="*/ 3800475 h 4333875"/>
                  <a:gd name="connsiteX127" fmla="*/ 3590925 w 8601075"/>
                  <a:gd name="connsiteY127" fmla="*/ 3943350 h 4333875"/>
                  <a:gd name="connsiteX128" fmla="*/ 3686175 w 8601075"/>
                  <a:gd name="connsiteY128" fmla="*/ 4057650 h 4333875"/>
                  <a:gd name="connsiteX129" fmla="*/ 3838575 w 8601075"/>
                  <a:gd name="connsiteY129" fmla="*/ 4057650 h 4333875"/>
                  <a:gd name="connsiteX130" fmla="*/ 4162425 w 8601075"/>
                  <a:gd name="connsiteY130" fmla="*/ 4248150 h 4333875"/>
                  <a:gd name="connsiteX131" fmla="*/ 4391025 w 8601075"/>
                  <a:gd name="connsiteY131" fmla="*/ 4200525 h 4333875"/>
                  <a:gd name="connsiteX132" fmla="*/ 4410075 w 8601075"/>
                  <a:gd name="connsiteY132" fmla="*/ 4305300 h 4333875"/>
                  <a:gd name="connsiteX133" fmla="*/ 4505325 w 8601075"/>
                  <a:gd name="connsiteY133" fmla="*/ 4276725 h 4333875"/>
                  <a:gd name="connsiteX134" fmla="*/ 4572000 w 8601075"/>
                  <a:gd name="connsiteY134" fmla="*/ 4333875 h 4333875"/>
                  <a:gd name="connsiteX135" fmla="*/ 4591050 w 8601075"/>
                  <a:gd name="connsiteY135" fmla="*/ 4248150 h 4333875"/>
                  <a:gd name="connsiteX136" fmla="*/ 5295900 w 8601075"/>
                  <a:gd name="connsiteY136" fmla="*/ 3924300 h 4333875"/>
                  <a:gd name="connsiteX137" fmla="*/ 5353050 w 8601075"/>
                  <a:gd name="connsiteY137" fmla="*/ 3990975 h 4333875"/>
                  <a:gd name="connsiteX138" fmla="*/ 5524500 w 8601075"/>
                  <a:gd name="connsiteY138" fmla="*/ 3914775 h 4333875"/>
                  <a:gd name="connsiteX139" fmla="*/ 5667375 w 8601075"/>
                  <a:gd name="connsiteY139" fmla="*/ 3962400 h 4333875"/>
                  <a:gd name="connsiteX140" fmla="*/ 5753100 w 8601075"/>
                  <a:gd name="connsiteY140" fmla="*/ 3924300 h 4333875"/>
                  <a:gd name="connsiteX141" fmla="*/ 5905500 w 8601075"/>
                  <a:gd name="connsiteY141" fmla="*/ 3943350 h 4333875"/>
                  <a:gd name="connsiteX142" fmla="*/ 6000750 w 8601075"/>
                  <a:gd name="connsiteY142" fmla="*/ 3800475 h 4333875"/>
                  <a:gd name="connsiteX143" fmla="*/ 6153150 w 8601075"/>
                  <a:gd name="connsiteY143" fmla="*/ 3781425 h 4333875"/>
                  <a:gd name="connsiteX144" fmla="*/ 6257925 w 8601075"/>
                  <a:gd name="connsiteY144" fmla="*/ 3581400 h 4333875"/>
                  <a:gd name="connsiteX145" fmla="*/ 6448425 w 8601075"/>
                  <a:gd name="connsiteY145" fmla="*/ 3448050 h 4333875"/>
                  <a:gd name="connsiteX146" fmla="*/ 6581775 w 8601075"/>
                  <a:gd name="connsiteY146" fmla="*/ 3276600 h 4333875"/>
                  <a:gd name="connsiteX147" fmla="*/ 6496050 w 8601075"/>
                  <a:gd name="connsiteY147" fmla="*/ 3228975 h 4333875"/>
                  <a:gd name="connsiteX148" fmla="*/ 6438900 w 8601075"/>
                  <a:gd name="connsiteY148" fmla="*/ 3162300 h 4333875"/>
                  <a:gd name="connsiteX149" fmla="*/ 6419850 w 8601075"/>
                  <a:gd name="connsiteY149" fmla="*/ 3105150 h 4333875"/>
                  <a:gd name="connsiteX150" fmla="*/ 6362700 w 8601075"/>
                  <a:gd name="connsiteY150" fmla="*/ 3076575 h 4333875"/>
                  <a:gd name="connsiteX151" fmla="*/ 6410325 w 8601075"/>
                  <a:gd name="connsiteY151" fmla="*/ 3019425 h 4333875"/>
                  <a:gd name="connsiteX152" fmla="*/ 6438900 w 8601075"/>
                  <a:gd name="connsiteY152" fmla="*/ 2819400 h 4333875"/>
                  <a:gd name="connsiteX153" fmla="*/ 6496050 w 8601075"/>
                  <a:gd name="connsiteY153" fmla="*/ 2762250 h 4333875"/>
                  <a:gd name="connsiteX154" fmla="*/ 6657975 w 8601075"/>
                  <a:gd name="connsiteY154" fmla="*/ 2752725 h 4333875"/>
                  <a:gd name="connsiteX155" fmla="*/ 6781800 w 8601075"/>
                  <a:gd name="connsiteY155" fmla="*/ 2838450 h 4333875"/>
                  <a:gd name="connsiteX156" fmla="*/ 7010400 w 8601075"/>
                  <a:gd name="connsiteY156" fmla="*/ 2838450 h 4333875"/>
                  <a:gd name="connsiteX157" fmla="*/ 7162800 w 8601075"/>
                  <a:gd name="connsiteY157" fmla="*/ 2705100 h 4333875"/>
                  <a:gd name="connsiteX158" fmla="*/ 7229475 w 8601075"/>
                  <a:gd name="connsiteY158" fmla="*/ 2590800 h 4333875"/>
                  <a:gd name="connsiteX159" fmla="*/ 7248525 w 8601075"/>
                  <a:gd name="connsiteY159" fmla="*/ 2524125 h 4333875"/>
                  <a:gd name="connsiteX160" fmla="*/ 7372350 w 8601075"/>
                  <a:gd name="connsiteY160" fmla="*/ 2543175 h 4333875"/>
                  <a:gd name="connsiteX161" fmla="*/ 7553325 w 8601075"/>
                  <a:gd name="connsiteY161" fmla="*/ 2447925 h 4333875"/>
                  <a:gd name="connsiteX162" fmla="*/ 7620000 w 8601075"/>
                  <a:gd name="connsiteY162" fmla="*/ 2324100 h 4333875"/>
                  <a:gd name="connsiteX163" fmla="*/ 7696200 w 8601075"/>
                  <a:gd name="connsiteY163" fmla="*/ 2314575 h 4333875"/>
                  <a:gd name="connsiteX164" fmla="*/ 7658100 w 8601075"/>
                  <a:gd name="connsiteY164" fmla="*/ 2257425 h 4333875"/>
                  <a:gd name="connsiteX165" fmla="*/ 7753350 w 8601075"/>
                  <a:gd name="connsiteY165" fmla="*/ 2057400 h 4333875"/>
                  <a:gd name="connsiteX166" fmla="*/ 7934325 w 8601075"/>
                  <a:gd name="connsiteY166" fmla="*/ 2028825 h 4333875"/>
                  <a:gd name="connsiteX167" fmla="*/ 7953375 w 8601075"/>
                  <a:gd name="connsiteY167" fmla="*/ 1952625 h 4333875"/>
                  <a:gd name="connsiteX168" fmla="*/ 7953375 w 8601075"/>
                  <a:gd name="connsiteY168" fmla="*/ 1952625 h 4333875"/>
                  <a:gd name="connsiteX169" fmla="*/ 8010525 w 8601075"/>
                  <a:gd name="connsiteY169" fmla="*/ 1895475 h 4333875"/>
                  <a:gd name="connsiteX170" fmla="*/ 8048625 w 8601075"/>
                  <a:gd name="connsiteY170" fmla="*/ 1971675 h 4333875"/>
                  <a:gd name="connsiteX171" fmla="*/ 8077200 w 8601075"/>
                  <a:gd name="connsiteY171" fmla="*/ 1885950 h 4333875"/>
                  <a:gd name="connsiteX172" fmla="*/ 8220075 w 8601075"/>
                  <a:gd name="connsiteY172" fmla="*/ 1847850 h 4333875"/>
                  <a:gd name="connsiteX173" fmla="*/ 8296275 w 8601075"/>
                  <a:gd name="connsiteY173" fmla="*/ 1809750 h 4333875"/>
                  <a:gd name="connsiteX174" fmla="*/ 8324850 w 8601075"/>
                  <a:gd name="connsiteY174" fmla="*/ 1790700 h 4333875"/>
                  <a:gd name="connsiteX175" fmla="*/ 8410575 w 8601075"/>
                  <a:gd name="connsiteY175" fmla="*/ 1847850 h 4333875"/>
                  <a:gd name="connsiteX176" fmla="*/ 8505825 w 8601075"/>
                  <a:gd name="connsiteY176" fmla="*/ 1781175 h 4333875"/>
                  <a:gd name="connsiteX177" fmla="*/ 8572500 w 8601075"/>
                  <a:gd name="connsiteY177" fmla="*/ 1809750 h 4333875"/>
                  <a:gd name="connsiteX178" fmla="*/ 8601075 w 8601075"/>
                  <a:gd name="connsiteY178" fmla="*/ 1704975 h 4333875"/>
                  <a:gd name="connsiteX179" fmla="*/ 8553450 w 8601075"/>
                  <a:gd name="connsiteY179" fmla="*/ 1676400 h 4333875"/>
                  <a:gd name="connsiteX180" fmla="*/ 8534400 w 8601075"/>
                  <a:gd name="connsiteY180" fmla="*/ 1609725 h 4333875"/>
                  <a:gd name="connsiteX181" fmla="*/ 8277225 w 8601075"/>
                  <a:gd name="connsiteY181" fmla="*/ 1409700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124825 w 8601075"/>
                  <a:gd name="connsiteY184" fmla="*/ 1352550 h 4333875"/>
                  <a:gd name="connsiteX185" fmla="*/ 7924800 w 8601075"/>
                  <a:gd name="connsiteY185" fmla="*/ 1362075 h 4333875"/>
                  <a:gd name="connsiteX186" fmla="*/ 7867650 w 8601075"/>
                  <a:gd name="connsiteY186" fmla="*/ 1457325 h 4333875"/>
                  <a:gd name="connsiteX187" fmla="*/ 7896225 w 8601075"/>
                  <a:gd name="connsiteY187" fmla="*/ 1476375 h 4333875"/>
                  <a:gd name="connsiteX188" fmla="*/ 7858125 w 8601075"/>
                  <a:gd name="connsiteY188" fmla="*/ 1533525 h 4333875"/>
                  <a:gd name="connsiteX189" fmla="*/ 7658100 w 8601075"/>
                  <a:gd name="connsiteY189" fmla="*/ 1447800 h 4333875"/>
                  <a:gd name="connsiteX190" fmla="*/ 7515225 w 8601075"/>
                  <a:gd name="connsiteY190" fmla="*/ 1495425 h 4333875"/>
                  <a:gd name="connsiteX191" fmla="*/ 7467600 w 8601075"/>
                  <a:gd name="connsiteY191" fmla="*/ 1581150 h 4333875"/>
                  <a:gd name="connsiteX192" fmla="*/ 7296150 w 8601075"/>
                  <a:gd name="connsiteY19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10025 w 8601075"/>
                  <a:gd name="connsiteY38" fmla="*/ 771525 h 4333875"/>
                  <a:gd name="connsiteX39" fmla="*/ 3895725 w 8601075"/>
                  <a:gd name="connsiteY39" fmla="*/ 695325 h 4333875"/>
                  <a:gd name="connsiteX40" fmla="*/ 3781425 w 8601075"/>
                  <a:gd name="connsiteY40" fmla="*/ 590550 h 4333875"/>
                  <a:gd name="connsiteX41" fmla="*/ 3810000 w 8601075"/>
                  <a:gd name="connsiteY41" fmla="*/ 514350 h 4333875"/>
                  <a:gd name="connsiteX42" fmla="*/ 3781425 w 8601075"/>
                  <a:gd name="connsiteY42" fmla="*/ 390525 h 4333875"/>
                  <a:gd name="connsiteX43" fmla="*/ 3771900 w 8601075"/>
                  <a:gd name="connsiteY43" fmla="*/ 352425 h 4333875"/>
                  <a:gd name="connsiteX44" fmla="*/ 3600450 w 8601075"/>
                  <a:gd name="connsiteY44" fmla="*/ 285750 h 4333875"/>
                  <a:gd name="connsiteX45" fmla="*/ 3533775 w 8601075"/>
                  <a:gd name="connsiteY45" fmla="*/ 314325 h 4333875"/>
                  <a:gd name="connsiteX46" fmla="*/ 3409950 w 8601075"/>
                  <a:gd name="connsiteY46" fmla="*/ 190500 h 4333875"/>
                  <a:gd name="connsiteX47" fmla="*/ 3257550 w 8601075"/>
                  <a:gd name="connsiteY47" fmla="*/ 180975 h 4333875"/>
                  <a:gd name="connsiteX48" fmla="*/ 3209925 w 8601075"/>
                  <a:gd name="connsiteY48" fmla="*/ 104775 h 4333875"/>
                  <a:gd name="connsiteX49" fmla="*/ 3152775 w 8601075"/>
                  <a:gd name="connsiteY49" fmla="*/ 104775 h 4333875"/>
                  <a:gd name="connsiteX50" fmla="*/ 2990850 w 8601075"/>
                  <a:gd name="connsiteY50" fmla="*/ 0 h 4333875"/>
                  <a:gd name="connsiteX51" fmla="*/ 2933700 w 8601075"/>
                  <a:gd name="connsiteY51" fmla="*/ 114300 h 4333875"/>
                  <a:gd name="connsiteX52" fmla="*/ 2867025 w 8601075"/>
                  <a:gd name="connsiteY52" fmla="*/ 171450 h 4333875"/>
                  <a:gd name="connsiteX53" fmla="*/ 2867025 w 8601075"/>
                  <a:gd name="connsiteY53" fmla="*/ 171450 h 4333875"/>
                  <a:gd name="connsiteX54" fmla="*/ 2800350 w 8601075"/>
                  <a:gd name="connsiteY54" fmla="*/ 257175 h 4333875"/>
                  <a:gd name="connsiteX55" fmla="*/ 2724150 w 8601075"/>
                  <a:gd name="connsiteY55" fmla="*/ 304800 h 4333875"/>
                  <a:gd name="connsiteX56" fmla="*/ 2705100 w 8601075"/>
                  <a:gd name="connsiteY56" fmla="*/ 466725 h 4333875"/>
                  <a:gd name="connsiteX57" fmla="*/ 2762250 w 8601075"/>
                  <a:gd name="connsiteY57" fmla="*/ 571500 h 4333875"/>
                  <a:gd name="connsiteX58" fmla="*/ 2800350 w 8601075"/>
                  <a:gd name="connsiteY58" fmla="*/ 628650 h 4333875"/>
                  <a:gd name="connsiteX59" fmla="*/ 2752725 w 8601075"/>
                  <a:gd name="connsiteY59" fmla="*/ 781050 h 4333875"/>
                  <a:gd name="connsiteX60" fmla="*/ 2686050 w 8601075"/>
                  <a:gd name="connsiteY60" fmla="*/ 857250 h 4333875"/>
                  <a:gd name="connsiteX61" fmla="*/ 2609850 w 8601075"/>
                  <a:gd name="connsiteY61" fmla="*/ 857250 h 4333875"/>
                  <a:gd name="connsiteX62" fmla="*/ 2514600 w 8601075"/>
                  <a:gd name="connsiteY62" fmla="*/ 914400 h 4333875"/>
                  <a:gd name="connsiteX63" fmla="*/ 2400300 w 8601075"/>
                  <a:gd name="connsiteY63" fmla="*/ 866775 h 4333875"/>
                  <a:gd name="connsiteX64" fmla="*/ 2305050 w 8601075"/>
                  <a:gd name="connsiteY64" fmla="*/ 809625 h 4333875"/>
                  <a:gd name="connsiteX65" fmla="*/ 2200275 w 8601075"/>
                  <a:gd name="connsiteY65" fmla="*/ 752475 h 4333875"/>
                  <a:gd name="connsiteX66" fmla="*/ 2105025 w 8601075"/>
                  <a:gd name="connsiteY66" fmla="*/ 762000 h 4333875"/>
                  <a:gd name="connsiteX67" fmla="*/ 1990725 w 8601075"/>
                  <a:gd name="connsiteY67" fmla="*/ 762000 h 4333875"/>
                  <a:gd name="connsiteX68" fmla="*/ 1885950 w 8601075"/>
                  <a:gd name="connsiteY68" fmla="*/ 742950 h 4333875"/>
                  <a:gd name="connsiteX69" fmla="*/ 1800225 w 8601075"/>
                  <a:gd name="connsiteY69" fmla="*/ 638175 h 4333875"/>
                  <a:gd name="connsiteX70" fmla="*/ 1809750 w 8601075"/>
                  <a:gd name="connsiteY70" fmla="*/ 495300 h 4333875"/>
                  <a:gd name="connsiteX71" fmla="*/ 1733550 w 8601075"/>
                  <a:gd name="connsiteY71" fmla="*/ 466725 h 4333875"/>
                  <a:gd name="connsiteX72" fmla="*/ 1485900 w 8601075"/>
                  <a:gd name="connsiteY72" fmla="*/ 419100 h 4333875"/>
                  <a:gd name="connsiteX73" fmla="*/ 1457325 w 8601075"/>
                  <a:gd name="connsiteY73" fmla="*/ 323850 h 4333875"/>
                  <a:gd name="connsiteX74" fmla="*/ 1457325 w 8601075"/>
                  <a:gd name="connsiteY74" fmla="*/ 323850 h 4333875"/>
                  <a:gd name="connsiteX75" fmla="*/ 1323975 w 8601075"/>
                  <a:gd name="connsiteY75" fmla="*/ 285750 h 4333875"/>
                  <a:gd name="connsiteX76" fmla="*/ 1266825 w 8601075"/>
                  <a:gd name="connsiteY76" fmla="*/ 352425 h 4333875"/>
                  <a:gd name="connsiteX77" fmla="*/ 1009650 w 8601075"/>
                  <a:gd name="connsiteY77" fmla="*/ 390525 h 4333875"/>
                  <a:gd name="connsiteX78" fmla="*/ 828675 w 8601075"/>
                  <a:gd name="connsiteY78" fmla="*/ 447675 h 4333875"/>
                  <a:gd name="connsiteX79" fmla="*/ 619125 w 8601075"/>
                  <a:gd name="connsiteY79" fmla="*/ 533400 h 4333875"/>
                  <a:gd name="connsiteX80" fmla="*/ 619125 w 8601075"/>
                  <a:gd name="connsiteY80" fmla="*/ 533400 h 4333875"/>
                  <a:gd name="connsiteX81" fmla="*/ 561975 w 8601075"/>
                  <a:gd name="connsiteY81" fmla="*/ 619125 h 4333875"/>
                  <a:gd name="connsiteX82" fmla="*/ 447675 w 8601075"/>
                  <a:gd name="connsiteY82" fmla="*/ 63817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295275 w 8601075"/>
                  <a:gd name="connsiteY85" fmla="*/ 657225 h 4333875"/>
                  <a:gd name="connsiteX86" fmla="*/ 180975 w 8601075"/>
                  <a:gd name="connsiteY86" fmla="*/ 638175 h 4333875"/>
                  <a:gd name="connsiteX87" fmla="*/ 180975 w 8601075"/>
                  <a:gd name="connsiteY87" fmla="*/ 638175 h 4333875"/>
                  <a:gd name="connsiteX88" fmla="*/ 57150 w 8601075"/>
                  <a:gd name="connsiteY88" fmla="*/ 733425 h 4333875"/>
                  <a:gd name="connsiteX89" fmla="*/ 19050 w 8601075"/>
                  <a:gd name="connsiteY89" fmla="*/ 790575 h 4333875"/>
                  <a:gd name="connsiteX90" fmla="*/ 0 w 8601075"/>
                  <a:gd name="connsiteY90" fmla="*/ 876300 h 4333875"/>
                  <a:gd name="connsiteX91" fmla="*/ 57150 w 8601075"/>
                  <a:gd name="connsiteY91" fmla="*/ 923925 h 4333875"/>
                  <a:gd name="connsiteX92" fmla="*/ 57150 w 8601075"/>
                  <a:gd name="connsiteY92" fmla="*/ 923925 h 4333875"/>
                  <a:gd name="connsiteX93" fmla="*/ 209550 w 8601075"/>
                  <a:gd name="connsiteY93" fmla="*/ 1114425 h 4333875"/>
                  <a:gd name="connsiteX94" fmla="*/ 209550 w 8601075"/>
                  <a:gd name="connsiteY94" fmla="*/ 1114425 h 4333875"/>
                  <a:gd name="connsiteX95" fmla="*/ 266700 w 8601075"/>
                  <a:gd name="connsiteY95" fmla="*/ 1295400 h 4333875"/>
                  <a:gd name="connsiteX96" fmla="*/ 409575 w 8601075"/>
                  <a:gd name="connsiteY96" fmla="*/ 1276350 h 4333875"/>
                  <a:gd name="connsiteX97" fmla="*/ 466725 w 8601075"/>
                  <a:gd name="connsiteY97" fmla="*/ 1362075 h 4333875"/>
                  <a:gd name="connsiteX98" fmla="*/ 542925 w 8601075"/>
                  <a:gd name="connsiteY98" fmla="*/ 1428750 h 4333875"/>
                  <a:gd name="connsiteX99" fmla="*/ 628650 w 8601075"/>
                  <a:gd name="connsiteY99" fmla="*/ 1571625 h 4333875"/>
                  <a:gd name="connsiteX100" fmla="*/ 628650 w 8601075"/>
                  <a:gd name="connsiteY100" fmla="*/ 1704975 h 4333875"/>
                  <a:gd name="connsiteX101" fmla="*/ 676275 w 8601075"/>
                  <a:gd name="connsiteY101" fmla="*/ 1771650 h 4333875"/>
                  <a:gd name="connsiteX102" fmla="*/ 657225 w 8601075"/>
                  <a:gd name="connsiteY102" fmla="*/ 2000250 h 4333875"/>
                  <a:gd name="connsiteX103" fmla="*/ 619125 w 8601075"/>
                  <a:gd name="connsiteY103" fmla="*/ 2095500 h 4333875"/>
                  <a:gd name="connsiteX104" fmla="*/ 542925 w 8601075"/>
                  <a:gd name="connsiteY104" fmla="*/ 2228850 h 4333875"/>
                  <a:gd name="connsiteX105" fmla="*/ 485775 w 8601075"/>
                  <a:gd name="connsiteY105" fmla="*/ 2362200 h 4333875"/>
                  <a:gd name="connsiteX106" fmla="*/ 552450 w 8601075"/>
                  <a:gd name="connsiteY106" fmla="*/ 2486025 h 4333875"/>
                  <a:gd name="connsiteX107" fmla="*/ 771525 w 8601075"/>
                  <a:gd name="connsiteY107" fmla="*/ 2571750 h 4333875"/>
                  <a:gd name="connsiteX108" fmla="*/ 866775 w 8601075"/>
                  <a:gd name="connsiteY108" fmla="*/ 2571750 h 4333875"/>
                  <a:gd name="connsiteX109" fmla="*/ 914400 w 8601075"/>
                  <a:gd name="connsiteY109" fmla="*/ 2638425 h 4333875"/>
                  <a:gd name="connsiteX110" fmla="*/ 1066800 w 8601075"/>
                  <a:gd name="connsiteY110" fmla="*/ 2638425 h 4333875"/>
                  <a:gd name="connsiteX111" fmla="*/ 1285875 w 8601075"/>
                  <a:gd name="connsiteY111" fmla="*/ 2705100 h 4333875"/>
                  <a:gd name="connsiteX112" fmla="*/ 1438275 w 8601075"/>
                  <a:gd name="connsiteY112" fmla="*/ 2838450 h 4333875"/>
                  <a:gd name="connsiteX113" fmla="*/ 1485900 w 8601075"/>
                  <a:gd name="connsiteY113" fmla="*/ 2914650 h 4333875"/>
                  <a:gd name="connsiteX114" fmla="*/ 1657350 w 8601075"/>
                  <a:gd name="connsiteY114" fmla="*/ 3038475 h 4333875"/>
                  <a:gd name="connsiteX115" fmla="*/ 1752600 w 8601075"/>
                  <a:gd name="connsiteY115" fmla="*/ 3057525 h 4333875"/>
                  <a:gd name="connsiteX116" fmla="*/ 1724025 w 8601075"/>
                  <a:gd name="connsiteY116" fmla="*/ 3143250 h 4333875"/>
                  <a:gd name="connsiteX117" fmla="*/ 1724025 w 8601075"/>
                  <a:gd name="connsiteY117" fmla="*/ 3143250 h 4333875"/>
                  <a:gd name="connsiteX118" fmla="*/ 1781175 w 8601075"/>
                  <a:gd name="connsiteY118" fmla="*/ 3181350 h 4333875"/>
                  <a:gd name="connsiteX119" fmla="*/ 1819275 w 8601075"/>
                  <a:gd name="connsiteY119" fmla="*/ 3362325 h 4333875"/>
                  <a:gd name="connsiteX120" fmla="*/ 1828800 w 8601075"/>
                  <a:gd name="connsiteY120" fmla="*/ 3457575 h 4333875"/>
                  <a:gd name="connsiteX121" fmla="*/ 1971675 w 8601075"/>
                  <a:gd name="connsiteY121" fmla="*/ 3590925 h 4333875"/>
                  <a:gd name="connsiteX122" fmla="*/ 1990725 w 8601075"/>
                  <a:gd name="connsiteY122" fmla="*/ 3714750 h 4333875"/>
                  <a:gd name="connsiteX123" fmla="*/ 2200275 w 8601075"/>
                  <a:gd name="connsiteY123" fmla="*/ 3695700 h 4333875"/>
                  <a:gd name="connsiteX124" fmla="*/ 2886075 w 8601075"/>
                  <a:gd name="connsiteY124" fmla="*/ 3886200 h 4333875"/>
                  <a:gd name="connsiteX125" fmla="*/ 3038475 w 8601075"/>
                  <a:gd name="connsiteY125" fmla="*/ 3819525 h 4333875"/>
                  <a:gd name="connsiteX126" fmla="*/ 3105150 w 8601075"/>
                  <a:gd name="connsiteY126" fmla="*/ 3867150 h 4333875"/>
                  <a:gd name="connsiteX127" fmla="*/ 3181350 w 8601075"/>
                  <a:gd name="connsiteY127" fmla="*/ 3800475 h 4333875"/>
                  <a:gd name="connsiteX128" fmla="*/ 3590925 w 8601075"/>
                  <a:gd name="connsiteY128" fmla="*/ 3943350 h 4333875"/>
                  <a:gd name="connsiteX129" fmla="*/ 3686175 w 8601075"/>
                  <a:gd name="connsiteY129" fmla="*/ 4057650 h 4333875"/>
                  <a:gd name="connsiteX130" fmla="*/ 3838575 w 8601075"/>
                  <a:gd name="connsiteY130" fmla="*/ 4057650 h 4333875"/>
                  <a:gd name="connsiteX131" fmla="*/ 4162425 w 8601075"/>
                  <a:gd name="connsiteY131" fmla="*/ 4248150 h 4333875"/>
                  <a:gd name="connsiteX132" fmla="*/ 4391025 w 8601075"/>
                  <a:gd name="connsiteY132" fmla="*/ 4200525 h 4333875"/>
                  <a:gd name="connsiteX133" fmla="*/ 4410075 w 8601075"/>
                  <a:gd name="connsiteY133" fmla="*/ 4305300 h 4333875"/>
                  <a:gd name="connsiteX134" fmla="*/ 4505325 w 8601075"/>
                  <a:gd name="connsiteY134" fmla="*/ 4276725 h 4333875"/>
                  <a:gd name="connsiteX135" fmla="*/ 4572000 w 8601075"/>
                  <a:gd name="connsiteY135" fmla="*/ 4333875 h 4333875"/>
                  <a:gd name="connsiteX136" fmla="*/ 4591050 w 8601075"/>
                  <a:gd name="connsiteY136" fmla="*/ 4248150 h 4333875"/>
                  <a:gd name="connsiteX137" fmla="*/ 5295900 w 8601075"/>
                  <a:gd name="connsiteY137" fmla="*/ 3924300 h 4333875"/>
                  <a:gd name="connsiteX138" fmla="*/ 5353050 w 8601075"/>
                  <a:gd name="connsiteY138" fmla="*/ 3990975 h 4333875"/>
                  <a:gd name="connsiteX139" fmla="*/ 5524500 w 8601075"/>
                  <a:gd name="connsiteY139" fmla="*/ 3914775 h 4333875"/>
                  <a:gd name="connsiteX140" fmla="*/ 5667375 w 8601075"/>
                  <a:gd name="connsiteY140" fmla="*/ 3962400 h 4333875"/>
                  <a:gd name="connsiteX141" fmla="*/ 5753100 w 8601075"/>
                  <a:gd name="connsiteY141" fmla="*/ 3924300 h 4333875"/>
                  <a:gd name="connsiteX142" fmla="*/ 5905500 w 8601075"/>
                  <a:gd name="connsiteY142" fmla="*/ 3943350 h 4333875"/>
                  <a:gd name="connsiteX143" fmla="*/ 6000750 w 8601075"/>
                  <a:gd name="connsiteY143" fmla="*/ 3800475 h 4333875"/>
                  <a:gd name="connsiteX144" fmla="*/ 6153150 w 8601075"/>
                  <a:gd name="connsiteY144" fmla="*/ 3781425 h 4333875"/>
                  <a:gd name="connsiteX145" fmla="*/ 6257925 w 8601075"/>
                  <a:gd name="connsiteY145" fmla="*/ 3581400 h 4333875"/>
                  <a:gd name="connsiteX146" fmla="*/ 6448425 w 8601075"/>
                  <a:gd name="connsiteY146" fmla="*/ 3448050 h 4333875"/>
                  <a:gd name="connsiteX147" fmla="*/ 6581775 w 8601075"/>
                  <a:gd name="connsiteY147" fmla="*/ 3276600 h 4333875"/>
                  <a:gd name="connsiteX148" fmla="*/ 6496050 w 8601075"/>
                  <a:gd name="connsiteY148" fmla="*/ 3228975 h 4333875"/>
                  <a:gd name="connsiteX149" fmla="*/ 6438900 w 8601075"/>
                  <a:gd name="connsiteY149" fmla="*/ 3162300 h 4333875"/>
                  <a:gd name="connsiteX150" fmla="*/ 6419850 w 8601075"/>
                  <a:gd name="connsiteY150" fmla="*/ 3105150 h 4333875"/>
                  <a:gd name="connsiteX151" fmla="*/ 6362700 w 8601075"/>
                  <a:gd name="connsiteY151" fmla="*/ 3076575 h 4333875"/>
                  <a:gd name="connsiteX152" fmla="*/ 6410325 w 8601075"/>
                  <a:gd name="connsiteY152" fmla="*/ 3019425 h 4333875"/>
                  <a:gd name="connsiteX153" fmla="*/ 6438900 w 8601075"/>
                  <a:gd name="connsiteY153" fmla="*/ 2819400 h 4333875"/>
                  <a:gd name="connsiteX154" fmla="*/ 6496050 w 8601075"/>
                  <a:gd name="connsiteY154" fmla="*/ 2762250 h 4333875"/>
                  <a:gd name="connsiteX155" fmla="*/ 6657975 w 8601075"/>
                  <a:gd name="connsiteY155" fmla="*/ 2752725 h 4333875"/>
                  <a:gd name="connsiteX156" fmla="*/ 6781800 w 8601075"/>
                  <a:gd name="connsiteY156" fmla="*/ 2838450 h 4333875"/>
                  <a:gd name="connsiteX157" fmla="*/ 7010400 w 8601075"/>
                  <a:gd name="connsiteY157" fmla="*/ 2838450 h 4333875"/>
                  <a:gd name="connsiteX158" fmla="*/ 7162800 w 8601075"/>
                  <a:gd name="connsiteY158" fmla="*/ 2705100 h 4333875"/>
                  <a:gd name="connsiteX159" fmla="*/ 7229475 w 8601075"/>
                  <a:gd name="connsiteY159" fmla="*/ 2590800 h 4333875"/>
                  <a:gd name="connsiteX160" fmla="*/ 7248525 w 8601075"/>
                  <a:gd name="connsiteY160" fmla="*/ 2524125 h 4333875"/>
                  <a:gd name="connsiteX161" fmla="*/ 7372350 w 8601075"/>
                  <a:gd name="connsiteY161" fmla="*/ 2543175 h 4333875"/>
                  <a:gd name="connsiteX162" fmla="*/ 7553325 w 8601075"/>
                  <a:gd name="connsiteY162" fmla="*/ 2447925 h 4333875"/>
                  <a:gd name="connsiteX163" fmla="*/ 7620000 w 8601075"/>
                  <a:gd name="connsiteY163" fmla="*/ 2324100 h 4333875"/>
                  <a:gd name="connsiteX164" fmla="*/ 7696200 w 8601075"/>
                  <a:gd name="connsiteY164" fmla="*/ 2314575 h 4333875"/>
                  <a:gd name="connsiteX165" fmla="*/ 7658100 w 8601075"/>
                  <a:gd name="connsiteY165" fmla="*/ 2257425 h 4333875"/>
                  <a:gd name="connsiteX166" fmla="*/ 7753350 w 8601075"/>
                  <a:gd name="connsiteY166" fmla="*/ 2057400 h 4333875"/>
                  <a:gd name="connsiteX167" fmla="*/ 7934325 w 8601075"/>
                  <a:gd name="connsiteY167" fmla="*/ 2028825 h 4333875"/>
                  <a:gd name="connsiteX168" fmla="*/ 7953375 w 8601075"/>
                  <a:gd name="connsiteY168" fmla="*/ 1952625 h 4333875"/>
                  <a:gd name="connsiteX169" fmla="*/ 7953375 w 8601075"/>
                  <a:gd name="connsiteY169" fmla="*/ 1952625 h 4333875"/>
                  <a:gd name="connsiteX170" fmla="*/ 8010525 w 8601075"/>
                  <a:gd name="connsiteY170" fmla="*/ 1895475 h 4333875"/>
                  <a:gd name="connsiteX171" fmla="*/ 8048625 w 8601075"/>
                  <a:gd name="connsiteY171" fmla="*/ 1971675 h 4333875"/>
                  <a:gd name="connsiteX172" fmla="*/ 8077200 w 8601075"/>
                  <a:gd name="connsiteY172" fmla="*/ 1885950 h 4333875"/>
                  <a:gd name="connsiteX173" fmla="*/ 8220075 w 8601075"/>
                  <a:gd name="connsiteY173" fmla="*/ 1847850 h 4333875"/>
                  <a:gd name="connsiteX174" fmla="*/ 8296275 w 8601075"/>
                  <a:gd name="connsiteY174" fmla="*/ 1809750 h 4333875"/>
                  <a:gd name="connsiteX175" fmla="*/ 8324850 w 8601075"/>
                  <a:gd name="connsiteY175" fmla="*/ 1790700 h 4333875"/>
                  <a:gd name="connsiteX176" fmla="*/ 8410575 w 8601075"/>
                  <a:gd name="connsiteY176" fmla="*/ 1847850 h 4333875"/>
                  <a:gd name="connsiteX177" fmla="*/ 8505825 w 8601075"/>
                  <a:gd name="connsiteY177" fmla="*/ 1781175 h 4333875"/>
                  <a:gd name="connsiteX178" fmla="*/ 8572500 w 8601075"/>
                  <a:gd name="connsiteY178" fmla="*/ 1809750 h 4333875"/>
                  <a:gd name="connsiteX179" fmla="*/ 8601075 w 8601075"/>
                  <a:gd name="connsiteY179" fmla="*/ 1704975 h 4333875"/>
                  <a:gd name="connsiteX180" fmla="*/ 8553450 w 8601075"/>
                  <a:gd name="connsiteY180" fmla="*/ 1676400 h 4333875"/>
                  <a:gd name="connsiteX181" fmla="*/ 8534400 w 8601075"/>
                  <a:gd name="connsiteY181" fmla="*/ 1609725 h 4333875"/>
                  <a:gd name="connsiteX182" fmla="*/ 8277225 w 8601075"/>
                  <a:gd name="connsiteY182" fmla="*/ 1409700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124825 w 8601075"/>
                  <a:gd name="connsiteY185" fmla="*/ 1352550 h 4333875"/>
                  <a:gd name="connsiteX186" fmla="*/ 7924800 w 8601075"/>
                  <a:gd name="connsiteY186" fmla="*/ 1362075 h 4333875"/>
                  <a:gd name="connsiteX187" fmla="*/ 7867650 w 8601075"/>
                  <a:gd name="connsiteY187" fmla="*/ 1457325 h 4333875"/>
                  <a:gd name="connsiteX188" fmla="*/ 7896225 w 8601075"/>
                  <a:gd name="connsiteY188" fmla="*/ 1476375 h 4333875"/>
                  <a:gd name="connsiteX189" fmla="*/ 7858125 w 8601075"/>
                  <a:gd name="connsiteY189" fmla="*/ 1533525 h 4333875"/>
                  <a:gd name="connsiteX190" fmla="*/ 7658100 w 8601075"/>
                  <a:gd name="connsiteY190" fmla="*/ 1447800 h 4333875"/>
                  <a:gd name="connsiteX191" fmla="*/ 7515225 w 8601075"/>
                  <a:gd name="connsiteY191" fmla="*/ 1495425 h 4333875"/>
                  <a:gd name="connsiteX192" fmla="*/ 7467600 w 8601075"/>
                  <a:gd name="connsiteY192" fmla="*/ 1581150 h 4333875"/>
                  <a:gd name="connsiteX193" fmla="*/ 7296150 w 8601075"/>
                  <a:gd name="connsiteY19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10025 w 8601075"/>
                  <a:gd name="connsiteY39" fmla="*/ 771525 h 4333875"/>
                  <a:gd name="connsiteX40" fmla="*/ 3895725 w 8601075"/>
                  <a:gd name="connsiteY40" fmla="*/ 695325 h 4333875"/>
                  <a:gd name="connsiteX41" fmla="*/ 3781425 w 8601075"/>
                  <a:gd name="connsiteY41" fmla="*/ 590550 h 4333875"/>
                  <a:gd name="connsiteX42" fmla="*/ 3810000 w 8601075"/>
                  <a:gd name="connsiteY42" fmla="*/ 514350 h 4333875"/>
                  <a:gd name="connsiteX43" fmla="*/ 3781425 w 8601075"/>
                  <a:gd name="connsiteY43" fmla="*/ 390525 h 4333875"/>
                  <a:gd name="connsiteX44" fmla="*/ 3771900 w 8601075"/>
                  <a:gd name="connsiteY44" fmla="*/ 352425 h 4333875"/>
                  <a:gd name="connsiteX45" fmla="*/ 3600450 w 8601075"/>
                  <a:gd name="connsiteY45" fmla="*/ 285750 h 4333875"/>
                  <a:gd name="connsiteX46" fmla="*/ 3533775 w 8601075"/>
                  <a:gd name="connsiteY46" fmla="*/ 314325 h 4333875"/>
                  <a:gd name="connsiteX47" fmla="*/ 3409950 w 8601075"/>
                  <a:gd name="connsiteY47" fmla="*/ 190500 h 4333875"/>
                  <a:gd name="connsiteX48" fmla="*/ 3257550 w 8601075"/>
                  <a:gd name="connsiteY48" fmla="*/ 180975 h 4333875"/>
                  <a:gd name="connsiteX49" fmla="*/ 3209925 w 8601075"/>
                  <a:gd name="connsiteY49" fmla="*/ 104775 h 4333875"/>
                  <a:gd name="connsiteX50" fmla="*/ 3152775 w 8601075"/>
                  <a:gd name="connsiteY50" fmla="*/ 104775 h 4333875"/>
                  <a:gd name="connsiteX51" fmla="*/ 2990850 w 8601075"/>
                  <a:gd name="connsiteY51" fmla="*/ 0 h 4333875"/>
                  <a:gd name="connsiteX52" fmla="*/ 2933700 w 8601075"/>
                  <a:gd name="connsiteY52" fmla="*/ 114300 h 4333875"/>
                  <a:gd name="connsiteX53" fmla="*/ 2867025 w 8601075"/>
                  <a:gd name="connsiteY53" fmla="*/ 171450 h 4333875"/>
                  <a:gd name="connsiteX54" fmla="*/ 2867025 w 8601075"/>
                  <a:gd name="connsiteY54" fmla="*/ 171450 h 4333875"/>
                  <a:gd name="connsiteX55" fmla="*/ 2800350 w 8601075"/>
                  <a:gd name="connsiteY55" fmla="*/ 257175 h 4333875"/>
                  <a:gd name="connsiteX56" fmla="*/ 2724150 w 8601075"/>
                  <a:gd name="connsiteY56" fmla="*/ 304800 h 4333875"/>
                  <a:gd name="connsiteX57" fmla="*/ 2705100 w 8601075"/>
                  <a:gd name="connsiteY57" fmla="*/ 466725 h 4333875"/>
                  <a:gd name="connsiteX58" fmla="*/ 2762250 w 8601075"/>
                  <a:gd name="connsiteY58" fmla="*/ 571500 h 4333875"/>
                  <a:gd name="connsiteX59" fmla="*/ 2800350 w 8601075"/>
                  <a:gd name="connsiteY59" fmla="*/ 628650 h 4333875"/>
                  <a:gd name="connsiteX60" fmla="*/ 2752725 w 8601075"/>
                  <a:gd name="connsiteY60" fmla="*/ 781050 h 4333875"/>
                  <a:gd name="connsiteX61" fmla="*/ 2686050 w 8601075"/>
                  <a:gd name="connsiteY61" fmla="*/ 857250 h 4333875"/>
                  <a:gd name="connsiteX62" fmla="*/ 2609850 w 8601075"/>
                  <a:gd name="connsiteY62" fmla="*/ 857250 h 4333875"/>
                  <a:gd name="connsiteX63" fmla="*/ 2514600 w 8601075"/>
                  <a:gd name="connsiteY63" fmla="*/ 914400 h 4333875"/>
                  <a:gd name="connsiteX64" fmla="*/ 2400300 w 8601075"/>
                  <a:gd name="connsiteY64" fmla="*/ 866775 h 4333875"/>
                  <a:gd name="connsiteX65" fmla="*/ 2305050 w 8601075"/>
                  <a:gd name="connsiteY65" fmla="*/ 809625 h 4333875"/>
                  <a:gd name="connsiteX66" fmla="*/ 2200275 w 8601075"/>
                  <a:gd name="connsiteY66" fmla="*/ 752475 h 4333875"/>
                  <a:gd name="connsiteX67" fmla="*/ 2105025 w 8601075"/>
                  <a:gd name="connsiteY67" fmla="*/ 762000 h 4333875"/>
                  <a:gd name="connsiteX68" fmla="*/ 1990725 w 8601075"/>
                  <a:gd name="connsiteY68" fmla="*/ 762000 h 4333875"/>
                  <a:gd name="connsiteX69" fmla="*/ 1885950 w 8601075"/>
                  <a:gd name="connsiteY69" fmla="*/ 742950 h 4333875"/>
                  <a:gd name="connsiteX70" fmla="*/ 1800225 w 8601075"/>
                  <a:gd name="connsiteY70" fmla="*/ 638175 h 4333875"/>
                  <a:gd name="connsiteX71" fmla="*/ 1809750 w 8601075"/>
                  <a:gd name="connsiteY71" fmla="*/ 495300 h 4333875"/>
                  <a:gd name="connsiteX72" fmla="*/ 1733550 w 8601075"/>
                  <a:gd name="connsiteY72" fmla="*/ 466725 h 4333875"/>
                  <a:gd name="connsiteX73" fmla="*/ 1485900 w 8601075"/>
                  <a:gd name="connsiteY73" fmla="*/ 419100 h 4333875"/>
                  <a:gd name="connsiteX74" fmla="*/ 1457325 w 8601075"/>
                  <a:gd name="connsiteY74" fmla="*/ 323850 h 4333875"/>
                  <a:gd name="connsiteX75" fmla="*/ 1457325 w 8601075"/>
                  <a:gd name="connsiteY75" fmla="*/ 323850 h 4333875"/>
                  <a:gd name="connsiteX76" fmla="*/ 1323975 w 8601075"/>
                  <a:gd name="connsiteY76" fmla="*/ 285750 h 4333875"/>
                  <a:gd name="connsiteX77" fmla="*/ 1266825 w 8601075"/>
                  <a:gd name="connsiteY77" fmla="*/ 352425 h 4333875"/>
                  <a:gd name="connsiteX78" fmla="*/ 1009650 w 8601075"/>
                  <a:gd name="connsiteY78" fmla="*/ 390525 h 4333875"/>
                  <a:gd name="connsiteX79" fmla="*/ 828675 w 8601075"/>
                  <a:gd name="connsiteY79" fmla="*/ 447675 h 4333875"/>
                  <a:gd name="connsiteX80" fmla="*/ 619125 w 8601075"/>
                  <a:gd name="connsiteY80" fmla="*/ 533400 h 4333875"/>
                  <a:gd name="connsiteX81" fmla="*/ 619125 w 8601075"/>
                  <a:gd name="connsiteY81" fmla="*/ 533400 h 4333875"/>
                  <a:gd name="connsiteX82" fmla="*/ 561975 w 8601075"/>
                  <a:gd name="connsiteY82" fmla="*/ 61912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295275 w 8601075"/>
                  <a:gd name="connsiteY86" fmla="*/ 657225 h 4333875"/>
                  <a:gd name="connsiteX87" fmla="*/ 180975 w 8601075"/>
                  <a:gd name="connsiteY87" fmla="*/ 638175 h 4333875"/>
                  <a:gd name="connsiteX88" fmla="*/ 180975 w 8601075"/>
                  <a:gd name="connsiteY88" fmla="*/ 638175 h 4333875"/>
                  <a:gd name="connsiteX89" fmla="*/ 57150 w 8601075"/>
                  <a:gd name="connsiteY89" fmla="*/ 733425 h 4333875"/>
                  <a:gd name="connsiteX90" fmla="*/ 19050 w 8601075"/>
                  <a:gd name="connsiteY90" fmla="*/ 790575 h 4333875"/>
                  <a:gd name="connsiteX91" fmla="*/ 0 w 8601075"/>
                  <a:gd name="connsiteY91" fmla="*/ 876300 h 4333875"/>
                  <a:gd name="connsiteX92" fmla="*/ 57150 w 8601075"/>
                  <a:gd name="connsiteY92" fmla="*/ 923925 h 4333875"/>
                  <a:gd name="connsiteX93" fmla="*/ 57150 w 8601075"/>
                  <a:gd name="connsiteY93" fmla="*/ 923925 h 4333875"/>
                  <a:gd name="connsiteX94" fmla="*/ 209550 w 8601075"/>
                  <a:gd name="connsiteY94" fmla="*/ 1114425 h 4333875"/>
                  <a:gd name="connsiteX95" fmla="*/ 209550 w 8601075"/>
                  <a:gd name="connsiteY95" fmla="*/ 1114425 h 4333875"/>
                  <a:gd name="connsiteX96" fmla="*/ 266700 w 8601075"/>
                  <a:gd name="connsiteY96" fmla="*/ 1295400 h 4333875"/>
                  <a:gd name="connsiteX97" fmla="*/ 409575 w 8601075"/>
                  <a:gd name="connsiteY97" fmla="*/ 1276350 h 4333875"/>
                  <a:gd name="connsiteX98" fmla="*/ 466725 w 8601075"/>
                  <a:gd name="connsiteY98" fmla="*/ 1362075 h 4333875"/>
                  <a:gd name="connsiteX99" fmla="*/ 542925 w 8601075"/>
                  <a:gd name="connsiteY99" fmla="*/ 1428750 h 4333875"/>
                  <a:gd name="connsiteX100" fmla="*/ 628650 w 8601075"/>
                  <a:gd name="connsiteY100" fmla="*/ 1571625 h 4333875"/>
                  <a:gd name="connsiteX101" fmla="*/ 628650 w 8601075"/>
                  <a:gd name="connsiteY101" fmla="*/ 1704975 h 4333875"/>
                  <a:gd name="connsiteX102" fmla="*/ 676275 w 8601075"/>
                  <a:gd name="connsiteY102" fmla="*/ 1771650 h 4333875"/>
                  <a:gd name="connsiteX103" fmla="*/ 657225 w 8601075"/>
                  <a:gd name="connsiteY103" fmla="*/ 2000250 h 4333875"/>
                  <a:gd name="connsiteX104" fmla="*/ 619125 w 8601075"/>
                  <a:gd name="connsiteY104" fmla="*/ 2095500 h 4333875"/>
                  <a:gd name="connsiteX105" fmla="*/ 542925 w 8601075"/>
                  <a:gd name="connsiteY105" fmla="*/ 2228850 h 4333875"/>
                  <a:gd name="connsiteX106" fmla="*/ 485775 w 8601075"/>
                  <a:gd name="connsiteY106" fmla="*/ 2362200 h 4333875"/>
                  <a:gd name="connsiteX107" fmla="*/ 552450 w 8601075"/>
                  <a:gd name="connsiteY107" fmla="*/ 2486025 h 4333875"/>
                  <a:gd name="connsiteX108" fmla="*/ 771525 w 8601075"/>
                  <a:gd name="connsiteY108" fmla="*/ 2571750 h 4333875"/>
                  <a:gd name="connsiteX109" fmla="*/ 866775 w 8601075"/>
                  <a:gd name="connsiteY109" fmla="*/ 2571750 h 4333875"/>
                  <a:gd name="connsiteX110" fmla="*/ 914400 w 8601075"/>
                  <a:gd name="connsiteY110" fmla="*/ 2638425 h 4333875"/>
                  <a:gd name="connsiteX111" fmla="*/ 1066800 w 8601075"/>
                  <a:gd name="connsiteY111" fmla="*/ 2638425 h 4333875"/>
                  <a:gd name="connsiteX112" fmla="*/ 1285875 w 8601075"/>
                  <a:gd name="connsiteY112" fmla="*/ 2705100 h 4333875"/>
                  <a:gd name="connsiteX113" fmla="*/ 1438275 w 8601075"/>
                  <a:gd name="connsiteY113" fmla="*/ 2838450 h 4333875"/>
                  <a:gd name="connsiteX114" fmla="*/ 1485900 w 8601075"/>
                  <a:gd name="connsiteY114" fmla="*/ 2914650 h 4333875"/>
                  <a:gd name="connsiteX115" fmla="*/ 1657350 w 8601075"/>
                  <a:gd name="connsiteY115" fmla="*/ 3038475 h 4333875"/>
                  <a:gd name="connsiteX116" fmla="*/ 1752600 w 8601075"/>
                  <a:gd name="connsiteY116" fmla="*/ 3057525 h 4333875"/>
                  <a:gd name="connsiteX117" fmla="*/ 1724025 w 8601075"/>
                  <a:gd name="connsiteY117" fmla="*/ 3143250 h 4333875"/>
                  <a:gd name="connsiteX118" fmla="*/ 1724025 w 8601075"/>
                  <a:gd name="connsiteY118" fmla="*/ 3143250 h 4333875"/>
                  <a:gd name="connsiteX119" fmla="*/ 1781175 w 8601075"/>
                  <a:gd name="connsiteY119" fmla="*/ 3181350 h 4333875"/>
                  <a:gd name="connsiteX120" fmla="*/ 1819275 w 8601075"/>
                  <a:gd name="connsiteY120" fmla="*/ 3362325 h 4333875"/>
                  <a:gd name="connsiteX121" fmla="*/ 1828800 w 8601075"/>
                  <a:gd name="connsiteY121" fmla="*/ 3457575 h 4333875"/>
                  <a:gd name="connsiteX122" fmla="*/ 1971675 w 8601075"/>
                  <a:gd name="connsiteY122" fmla="*/ 3590925 h 4333875"/>
                  <a:gd name="connsiteX123" fmla="*/ 1990725 w 8601075"/>
                  <a:gd name="connsiteY123" fmla="*/ 3714750 h 4333875"/>
                  <a:gd name="connsiteX124" fmla="*/ 2200275 w 8601075"/>
                  <a:gd name="connsiteY124" fmla="*/ 3695700 h 4333875"/>
                  <a:gd name="connsiteX125" fmla="*/ 2886075 w 8601075"/>
                  <a:gd name="connsiteY125" fmla="*/ 3886200 h 4333875"/>
                  <a:gd name="connsiteX126" fmla="*/ 3038475 w 8601075"/>
                  <a:gd name="connsiteY126" fmla="*/ 3819525 h 4333875"/>
                  <a:gd name="connsiteX127" fmla="*/ 3105150 w 8601075"/>
                  <a:gd name="connsiteY127" fmla="*/ 3867150 h 4333875"/>
                  <a:gd name="connsiteX128" fmla="*/ 3181350 w 8601075"/>
                  <a:gd name="connsiteY128" fmla="*/ 3800475 h 4333875"/>
                  <a:gd name="connsiteX129" fmla="*/ 3590925 w 8601075"/>
                  <a:gd name="connsiteY129" fmla="*/ 3943350 h 4333875"/>
                  <a:gd name="connsiteX130" fmla="*/ 3686175 w 8601075"/>
                  <a:gd name="connsiteY130" fmla="*/ 4057650 h 4333875"/>
                  <a:gd name="connsiteX131" fmla="*/ 3838575 w 8601075"/>
                  <a:gd name="connsiteY131" fmla="*/ 4057650 h 4333875"/>
                  <a:gd name="connsiteX132" fmla="*/ 4162425 w 8601075"/>
                  <a:gd name="connsiteY132" fmla="*/ 4248150 h 4333875"/>
                  <a:gd name="connsiteX133" fmla="*/ 4391025 w 8601075"/>
                  <a:gd name="connsiteY133" fmla="*/ 4200525 h 4333875"/>
                  <a:gd name="connsiteX134" fmla="*/ 4410075 w 8601075"/>
                  <a:gd name="connsiteY134" fmla="*/ 4305300 h 4333875"/>
                  <a:gd name="connsiteX135" fmla="*/ 4505325 w 8601075"/>
                  <a:gd name="connsiteY135" fmla="*/ 4276725 h 4333875"/>
                  <a:gd name="connsiteX136" fmla="*/ 4572000 w 8601075"/>
                  <a:gd name="connsiteY136" fmla="*/ 4333875 h 4333875"/>
                  <a:gd name="connsiteX137" fmla="*/ 4591050 w 8601075"/>
                  <a:gd name="connsiteY137" fmla="*/ 4248150 h 4333875"/>
                  <a:gd name="connsiteX138" fmla="*/ 5295900 w 8601075"/>
                  <a:gd name="connsiteY138" fmla="*/ 3924300 h 4333875"/>
                  <a:gd name="connsiteX139" fmla="*/ 5353050 w 8601075"/>
                  <a:gd name="connsiteY139" fmla="*/ 3990975 h 4333875"/>
                  <a:gd name="connsiteX140" fmla="*/ 5524500 w 8601075"/>
                  <a:gd name="connsiteY140" fmla="*/ 3914775 h 4333875"/>
                  <a:gd name="connsiteX141" fmla="*/ 5667375 w 8601075"/>
                  <a:gd name="connsiteY141" fmla="*/ 3962400 h 4333875"/>
                  <a:gd name="connsiteX142" fmla="*/ 5753100 w 8601075"/>
                  <a:gd name="connsiteY142" fmla="*/ 3924300 h 4333875"/>
                  <a:gd name="connsiteX143" fmla="*/ 5905500 w 8601075"/>
                  <a:gd name="connsiteY143" fmla="*/ 3943350 h 4333875"/>
                  <a:gd name="connsiteX144" fmla="*/ 6000750 w 8601075"/>
                  <a:gd name="connsiteY144" fmla="*/ 3800475 h 4333875"/>
                  <a:gd name="connsiteX145" fmla="*/ 6153150 w 8601075"/>
                  <a:gd name="connsiteY145" fmla="*/ 3781425 h 4333875"/>
                  <a:gd name="connsiteX146" fmla="*/ 6257925 w 8601075"/>
                  <a:gd name="connsiteY146" fmla="*/ 3581400 h 4333875"/>
                  <a:gd name="connsiteX147" fmla="*/ 6448425 w 8601075"/>
                  <a:gd name="connsiteY147" fmla="*/ 3448050 h 4333875"/>
                  <a:gd name="connsiteX148" fmla="*/ 6581775 w 8601075"/>
                  <a:gd name="connsiteY148" fmla="*/ 3276600 h 4333875"/>
                  <a:gd name="connsiteX149" fmla="*/ 6496050 w 8601075"/>
                  <a:gd name="connsiteY149" fmla="*/ 3228975 h 4333875"/>
                  <a:gd name="connsiteX150" fmla="*/ 6438900 w 8601075"/>
                  <a:gd name="connsiteY150" fmla="*/ 3162300 h 4333875"/>
                  <a:gd name="connsiteX151" fmla="*/ 6419850 w 8601075"/>
                  <a:gd name="connsiteY151" fmla="*/ 3105150 h 4333875"/>
                  <a:gd name="connsiteX152" fmla="*/ 6362700 w 8601075"/>
                  <a:gd name="connsiteY152" fmla="*/ 3076575 h 4333875"/>
                  <a:gd name="connsiteX153" fmla="*/ 6410325 w 8601075"/>
                  <a:gd name="connsiteY153" fmla="*/ 3019425 h 4333875"/>
                  <a:gd name="connsiteX154" fmla="*/ 6438900 w 8601075"/>
                  <a:gd name="connsiteY154" fmla="*/ 2819400 h 4333875"/>
                  <a:gd name="connsiteX155" fmla="*/ 6496050 w 8601075"/>
                  <a:gd name="connsiteY155" fmla="*/ 2762250 h 4333875"/>
                  <a:gd name="connsiteX156" fmla="*/ 6657975 w 8601075"/>
                  <a:gd name="connsiteY156" fmla="*/ 2752725 h 4333875"/>
                  <a:gd name="connsiteX157" fmla="*/ 6781800 w 8601075"/>
                  <a:gd name="connsiteY157" fmla="*/ 2838450 h 4333875"/>
                  <a:gd name="connsiteX158" fmla="*/ 7010400 w 8601075"/>
                  <a:gd name="connsiteY158" fmla="*/ 2838450 h 4333875"/>
                  <a:gd name="connsiteX159" fmla="*/ 7162800 w 8601075"/>
                  <a:gd name="connsiteY159" fmla="*/ 2705100 h 4333875"/>
                  <a:gd name="connsiteX160" fmla="*/ 7229475 w 8601075"/>
                  <a:gd name="connsiteY160" fmla="*/ 2590800 h 4333875"/>
                  <a:gd name="connsiteX161" fmla="*/ 7248525 w 8601075"/>
                  <a:gd name="connsiteY161" fmla="*/ 2524125 h 4333875"/>
                  <a:gd name="connsiteX162" fmla="*/ 7372350 w 8601075"/>
                  <a:gd name="connsiteY162" fmla="*/ 2543175 h 4333875"/>
                  <a:gd name="connsiteX163" fmla="*/ 7553325 w 8601075"/>
                  <a:gd name="connsiteY163" fmla="*/ 2447925 h 4333875"/>
                  <a:gd name="connsiteX164" fmla="*/ 7620000 w 8601075"/>
                  <a:gd name="connsiteY164" fmla="*/ 2324100 h 4333875"/>
                  <a:gd name="connsiteX165" fmla="*/ 7696200 w 8601075"/>
                  <a:gd name="connsiteY165" fmla="*/ 2314575 h 4333875"/>
                  <a:gd name="connsiteX166" fmla="*/ 7658100 w 8601075"/>
                  <a:gd name="connsiteY166" fmla="*/ 2257425 h 4333875"/>
                  <a:gd name="connsiteX167" fmla="*/ 7753350 w 8601075"/>
                  <a:gd name="connsiteY167" fmla="*/ 2057400 h 4333875"/>
                  <a:gd name="connsiteX168" fmla="*/ 7934325 w 8601075"/>
                  <a:gd name="connsiteY168" fmla="*/ 2028825 h 4333875"/>
                  <a:gd name="connsiteX169" fmla="*/ 7953375 w 8601075"/>
                  <a:gd name="connsiteY169" fmla="*/ 1952625 h 4333875"/>
                  <a:gd name="connsiteX170" fmla="*/ 7953375 w 8601075"/>
                  <a:gd name="connsiteY170" fmla="*/ 1952625 h 4333875"/>
                  <a:gd name="connsiteX171" fmla="*/ 8010525 w 8601075"/>
                  <a:gd name="connsiteY171" fmla="*/ 1895475 h 4333875"/>
                  <a:gd name="connsiteX172" fmla="*/ 8048625 w 8601075"/>
                  <a:gd name="connsiteY172" fmla="*/ 1971675 h 4333875"/>
                  <a:gd name="connsiteX173" fmla="*/ 8077200 w 8601075"/>
                  <a:gd name="connsiteY173" fmla="*/ 1885950 h 4333875"/>
                  <a:gd name="connsiteX174" fmla="*/ 8220075 w 8601075"/>
                  <a:gd name="connsiteY174" fmla="*/ 1847850 h 4333875"/>
                  <a:gd name="connsiteX175" fmla="*/ 8296275 w 8601075"/>
                  <a:gd name="connsiteY175" fmla="*/ 1809750 h 4333875"/>
                  <a:gd name="connsiteX176" fmla="*/ 8324850 w 8601075"/>
                  <a:gd name="connsiteY176" fmla="*/ 1790700 h 4333875"/>
                  <a:gd name="connsiteX177" fmla="*/ 8410575 w 8601075"/>
                  <a:gd name="connsiteY177" fmla="*/ 1847850 h 4333875"/>
                  <a:gd name="connsiteX178" fmla="*/ 8505825 w 8601075"/>
                  <a:gd name="connsiteY178" fmla="*/ 1781175 h 4333875"/>
                  <a:gd name="connsiteX179" fmla="*/ 8572500 w 8601075"/>
                  <a:gd name="connsiteY179" fmla="*/ 1809750 h 4333875"/>
                  <a:gd name="connsiteX180" fmla="*/ 8601075 w 8601075"/>
                  <a:gd name="connsiteY180" fmla="*/ 1704975 h 4333875"/>
                  <a:gd name="connsiteX181" fmla="*/ 8553450 w 8601075"/>
                  <a:gd name="connsiteY181" fmla="*/ 1676400 h 4333875"/>
                  <a:gd name="connsiteX182" fmla="*/ 8534400 w 8601075"/>
                  <a:gd name="connsiteY182" fmla="*/ 1609725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124825 w 8601075"/>
                  <a:gd name="connsiteY186" fmla="*/ 1352550 h 4333875"/>
                  <a:gd name="connsiteX187" fmla="*/ 7924800 w 8601075"/>
                  <a:gd name="connsiteY187" fmla="*/ 1362075 h 4333875"/>
                  <a:gd name="connsiteX188" fmla="*/ 7867650 w 8601075"/>
                  <a:gd name="connsiteY188" fmla="*/ 1457325 h 4333875"/>
                  <a:gd name="connsiteX189" fmla="*/ 7896225 w 8601075"/>
                  <a:gd name="connsiteY189" fmla="*/ 1476375 h 4333875"/>
                  <a:gd name="connsiteX190" fmla="*/ 7858125 w 8601075"/>
                  <a:gd name="connsiteY190" fmla="*/ 1533525 h 4333875"/>
                  <a:gd name="connsiteX191" fmla="*/ 7658100 w 8601075"/>
                  <a:gd name="connsiteY191" fmla="*/ 1447800 h 4333875"/>
                  <a:gd name="connsiteX192" fmla="*/ 7515225 w 8601075"/>
                  <a:gd name="connsiteY192" fmla="*/ 1495425 h 4333875"/>
                  <a:gd name="connsiteX193" fmla="*/ 7467600 w 8601075"/>
                  <a:gd name="connsiteY193" fmla="*/ 1581150 h 4333875"/>
                  <a:gd name="connsiteX194" fmla="*/ 7296150 w 8601075"/>
                  <a:gd name="connsiteY19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895725 w 8601075"/>
                  <a:gd name="connsiteY40" fmla="*/ 695325 h 4333875"/>
                  <a:gd name="connsiteX41" fmla="*/ 3781425 w 8601075"/>
                  <a:gd name="connsiteY41" fmla="*/ 590550 h 4333875"/>
                  <a:gd name="connsiteX42" fmla="*/ 3810000 w 8601075"/>
                  <a:gd name="connsiteY42" fmla="*/ 514350 h 4333875"/>
                  <a:gd name="connsiteX43" fmla="*/ 3781425 w 8601075"/>
                  <a:gd name="connsiteY43" fmla="*/ 390525 h 4333875"/>
                  <a:gd name="connsiteX44" fmla="*/ 3771900 w 8601075"/>
                  <a:gd name="connsiteY44" fmla="*/ 352425 h 4333875"/>
                  <a:gd name="connsiteX45" fmla="*/ 3600450 w 8601075"/>
                  <a:gd name="connsiteY45" fmla="*/ 285750 h 4333875"/>
                  <a:gd name="connsiteX46" fmla="*/ 3533775 w 8601075"/>
                  <a:gd name="connsiteY46" fmla="*/ 314325 h 4333875"/>
                  <a:gd name="connsiteX47" fmla="*/ 3409950 w 8601075"/>
                  <a:gd name="connsiteY47" fmla="*/ 190500 h 4333875"/>
                  <a:gd name="connsiteX48" fmla="*/ 3257550 w 8601075"/>
                  <a:gd name="connsiteY48" fmla="*/ 180975 h 4333875"/>
                  <a:gd name="connsiteX49" fmla="*/ 3209925 w 8601075"/>
                  <a:gd name="connsiteY49" fmla="*/ 104775 h 4333875"/>
                  <a:gd name="connsiteX50" fmla="*/ 3152775 w 8601075"/>
                  <a:gd name="connsiteY50" fmla="*/ 104775 h 4333875"/>
                  <a:gd name="connsiteX51" fmla="*/ 2990850 w 8601075"/>
                  <a:gd name="connsiteY51" fmla="*/ 0 h 4333875"/>
                  <a:gd name="connsiteX52" fmla="*/ 2933700 w 8601075"/>
                  <a:gd name="connsiteY52" fmla="*/ 114300 h 4333875"/>
                  <a:gd name="connsiteX53" fmla="*/ 2867025 w 8601075"/>
                  <a:gd name="connsiteY53" fmla="*/ 171450 h 4333875"/>
                  <a:gd name="connsiteX54" fmla="*/ 2867025 w 8601075"/>
                  <a:gd name="connsiteY54" fmla="*/ 171450 h 4333875"/>
                  <a:gd name="connsiteX55" fmla="*/ 2800350 w 8601075"/>
                  <a:gd name="connsiteY55" fmla="*/ 257175 h 4333875"/>
                  <a:gd name="connsiteX56" fmla="*/ 2724150 w 8601075"/>
                  <a:gd name="connsiteY56" fmla="*/ 304800 h 4333875"/>
                  <a:gd name="connsiteX57" fmla="*/ 2705100 w 8601075"/>
                  <a:gd name="connsiteY57" fmla="*/ 466725 h 4333875"/>
                  <a:gd name="connsiteX58" fmla="*/ 2762250 w 8601075"/>
                  <a:gd name="connsiteY58" fmla="*/ 571500 h 4333875"/>
                  <a:gd name="connsiteX59" fmla="*/ 2800350 w 8601075"/>
                  <a:gd name="connsiteY59" fmla="*/ 628650 h 4333875"/>
                  <a:gd name="connsiteX60" fmla="*/ 2752725 w 8601075"/>
                  <a:gd name="connsiteY60" fmla="*/ 781050 h 4333875"/>
                  <a:gd name="connsiteX61" fmla="*/ 2686050 w 8601075"/>
                  <a:gd name="connsiteY61" fmla="*/ 857250 h 4333875"/>
                  <a:gd name="connsiteX62" fmla="*/ 2609850 w 8601075"/>
                  <a:gd name="connsiteY62" fmla="*/ 857250 h 4333875"/>
                  <a:gd name="connsiteX63" fmla="*/ 2514600 w 8601075"/>
                  <a:gd name="connsiteY63" fmla="*/ 914400 h 4333875"/>
                  <a:gd name="connsiteX64" fmla="*/ 2400300 w 8601075"/>
                  <a:gd name="connsiteY64" fmla="*/ 866775 h 4333875"/>
                  <a:gd name="connsiteX65" fmla="*/ 2305050 w 8601075"/>
                  <a:gd name="connsiteY65" fmla="*/ 809625 h 4333875"/>
                  <a:gd name="connsiteX66" fmla="*/ 2200275 w 8601075"/>
                  <a:gd name="connsiteY66" fmla="*/ 752475 h 4333875"/>
                  <a:gd name="connsiteX67" fmla="*/ 2105025 w 8601075"/>
                  <a:gd name="connsiteY67" fmla="*/ 762000 h 4333875"/>
                  <a:gd name="connsiteX68" fmla="*/ 1990725 w 8601075"/>
                  <a:gd name="connsiteY68" fmla="*/ 762000 h 4333875"/>
                  <a:gd name="connsiteX69" fmla="*/ 1885950 w 8601075"/>
                  <a:gd name="connsiteY69" fmla="*/ 742950 h 4333875"/>
                  <a:gd name="connsiteX70" fmla="*/ 1800225 w 8601075"/>
                  <a:gd name="connsiteY70" fmla="*/ 638175 h 4333875"/>
                  <a:gd name="connsiteX71" fmla="*/ 1809750 w 8601075"/>
                  <a:gd name="connsiteY71" fmla="*/ 495300 h 4333875"/>
                  <a:gd name="connsiteX72" fmla="*/ 1733550 w 8601075"/>
                  <a:gd name="connsiteY72" fmla="*/ 466725 h 4333875"/>
                  <a:gd name="connsiteX73" fmla="*/ 1485900 w 8601075"/>
                  <a:gd name="connsiteY73" fmla="*/ 419100 h 4333875"/>
                  <a:gd name="connsiteX74" fmla="*/ 1457325 w 8601075"/>
                  <a:gd name="connsiteY74" fmla="*/ 323850 h 4333875"/>
                  <a:gd name="connsiteX75" fmla="*/ 1457325 w 8601075"/>
                  <a:gd name="connsiteY75" fmla="*/ 323850 h 4333875"/>
                  <a:gd name="connsiteX76" fmla="*/ 1323975 w 8601075"/>
                  <a:gd name="connsiteY76" fmla="*/ 285750 h 4333875"/>
                  <a:gd name="connsiteX77" fmla="*/ 1266825 w 8601075"/>
                  <a:gd name="connsiteY77" fmla="*/ 352425 h 4333875"/>
                  <a:gd name="connsiteX78" fmla="*/ 1009650 w 8601075"/>
                  <a:gd name="connsiteY78" fmla="*/ 390525 h 4333875"/>
                  <a:gd name="connsiteX79" fmla="*/ 828675 w 8601075"/>
                  <a:gd name="connsiteY79" fmla="*/ 447675 h 4333875"/>
                  <a:gd name="connsiteX80" fmla="*/ 619125 w 8601075"/>
                  <a:gd name="connsiteY80" fmla="*/ 533400 h 4333875"/>
                  <a:gd name="connsiteX81" fmla="*/ 619125 w 8601075"/>
                  <a:gd name="connsiteY81" fmla="*/ 533400 h 4333875"/>
                  <a:gd name="connsiteX82" fmla="*/ 561975 w 8601075"/>
                  <a:gd name="connsiteY82" fmla="*/ 619125 h 4333875"/>
                  <a:gd name="connsiteX83" fmla="*/ 447675 w 8601075"/>
                  <a:gd name="connsiteY83" fmla="*/ 63817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295275 w 8601075"/>
                  <a:gd name="connsiteY86" fmla="*/ 657225 h 4333875"/>
                  <a:gd name="connsiteX87" fmla="*/ 180975 w 8601075"/>
                  <a:gd name="connsiteY87" fmla="*/ 638175 h 4333875"/>
                  <a:gd name="connsiteX88" fmla="*/ 180975 w 8601075"/>
                  <a:gd name="connsiteY88" fmla="*/ 638175 h 4333875"/>
                  <a:gd name="connsiteX89" fmla="*/ 57150 w 8601075"/>
                  <a:gd name="connsiteY89" fmla="*/ 733425 h 4333875"/>
                  <a:gd name="connsiteX90" fmla="*/ 19050 w 8601075"/>
                  <a:gd name="connsiteY90" fmla="*/ 790575 h 4333875"/>
                  <a:gd name="connsiteX91" fmla="*/ 0 w 8601075"/>
                  <a:gd name="connsiteY91" fmla="*/ 876300 h 4333875"/>
                  <a:gd name="connsiteX92" fmla="*/ 57150 w 8601075"/>
                  <a:gd name="connsiteY92" fmla="*/ 923925 h 4333875"/>
                  <a:gd name="connsiteX93" fmla="*/ 57150 w 8601075"/>
                  <a:gd name="connsiteY93" fmla="*/ 923925 h 4333875"/>
                  <a:gd name="connsiteX94" fmla="*/ 209550 w 8601075"/>
                  <a:gd name="connsiteY94" fmla="*/ 1114425 h 4333875"/>
                  <a:gd name="connsiteX95" fmla="*/ 209550 w 8601075"/>
                  <a:gd name="connsiteY95" fmla="*/ 1114425 h 4333875"/>
                  <a:gd name="connsiteX96" fmla="*/ 266700 w 8601075"/>
                  <a:gd name="connsiteY96" fmla="*/ 1295400 h 4333875"/>
                  <a:gd name="connsiteX97" fmla="*/ 409575 w 8601075"/>
                  <a:gd name="connsiteY97" fmla="*/ 1276350 h 4333875"/>
                  <a:gd name="connsiteX98" fmla="*/ 466725 w 8601075"/>
                  <a:gd name="connsiteY98" fmla="*/ 1362075 h 4333875"/>
                  <a:gd name="connsiteX99" fmla="*/ 542925 w 8601075"/>
                  <a:gd name="connsiteY99" fmla="*/ 1428750 h 4333875"/>
                  <a:gd name="connsiteX100" fmla="*/ 628650 w 8601075"/>
                  <a:gd name="connsiteY100" fmla="*/ 1571625 h 4333875"/>
                  <a:gd name="connsiteX101" fmla="*/ 628650 w 8601075"/>
                  <a:gd name="connsiteY101" fmla="*/ 1704975 h 4333875"/>
                  <a:gd name="connsiteX102" fmla="*/ 676275 w 8601075"/>
                  <a:gd name="connsiteY102" fmla="*/ 1771650 h 4333875"/>
                  <a:gd name="connsiteX103" fmla="*/ 657225 w 8601075"/>
                  <a:gd name="connsiteY103" fmla="*/ 2000250 h 4333875"/>
                  <a:gd name="connsiteX104" fmla="*/ 619125 w 8601075"/>
                  <a:gd name="connsiteY104" fmla="*/ 2095500 h 4333875"/>
                  <a:gd name="connsiteX105" fmla="*/ 542925 w 8601075"/>
                  <a:gd name="connsiteY105" fmla="*/ 2228850 h 4333875"/>
                  <a:gd name="connsiteX106" fmla="*/ 485775 w 8601075"/>
                  <a:gd name="connsiteY106" fmla="*/ 2362200 h 4333875"/>
                  <a:gd name="connsiteX107" fmla="*/ 552450 w 8601075"/>
                  <a:gd name="connsiteY107" fmla="*/ 2486025 h 4333875"/>
                  <a:gd name="connsiteX108" fmla="*/ 771525 w 8601075"/>
                  <a:gd name="connsiteY108" fmla="*/ 2571750 h 4333875"/>
                  <a:gd name="connsiteX109" fmla="*/ 866775 w 8601075"/>
                  <a:gd name="connsiteY109" fmla="*/ 2571750 h 4333875"/>
                  <a:gd name="connsiteX110" fmla="*/ 914400 w 8601075"/>
                  <a:gd name="connsiteY110" fmla="*/ 2638425 h 4333875"/>
                  <a:gd name="connsiteX111" fmla="*/ 1066800 w 8601075"/>
                  <a:gd name="connsiteY111" fmla="*/ 2638425 h 4333875"/>
                  <a:gd name="connsiteX112" fmla="*/ 1285875 w 8601075"/>
                  <a:gd name="connsiteY112" fmla="*/ 2705100 h 4333875"/>
                  <a:gd name="connsiteX113" fmla="*/ 1438275 w 8601075"/>
                  <a:gd name="connsiteY113" fmla="*/ 2838450 h 4333875"/>
                  <a:gd name="connsiteX114" fmla="*/ 1485900 w 8601075"/>
                  <a:gd name="connsiteY114" fmla="*/ 2914650 h 4333875"/>
                  <a:gd name="connsiteX115" fmla="*/ 1657350 w 8601075"/>
                  <a:gd name="connsiteY115" fmla="*/ 3038475 h 4333875"/>
                  <a:gd name="connsiteX116" fmla="*/ 1752600 w 8601075"/>
                  <a:gd name="connsiteY116" fmla="*/ 3057525 h 4333875"/>
                  <a:gd name="connsiteX117" fmla="*/ 1724025 w 8601075"/>
                  <a:gd name="connsiteY117" fmla="*/ 3143250 h 4333875"/>
                  <a:gd name="connsiteX118" fmla="*/ 1724025 w 8601075"/>
                  <a:gd name="connsiteY118" fmla="*/ 3143250 h 4333875"/>
                  <a:gd name="connsiteX119" fmla="*/ 1781175 w 8601075"/>
                  <a:gd name="connsiteY119" fmla="*/ 3181350 h 4333875"/>
                  <a:gd name="connsiteX120" fmla="*/ 1819275 w 8601075"/>
                  <a:gd name="connsiteY120" fmla="*/ 3362325 h 4333875"/>
                  <a:gd name="connsiteX121" fmla="*/ 1828800 w 8601075"/>
                  <a:gd name="connsiteY121" fmla="*/ 3457575 h 4333875"/>
                  <a:gd name="connsiteX122" fmla="*/ 1971675 w 8601075"/>
                  <a:gd name="connsiteY122" fmla="*/ 3590925 h 4333875"/>
                  <a:gd name="connsiteX123" fmla="*/ 1990725 w 8601075"/>
                  <a:gd name="connsiteY123" fmla="*/ 3714750 h 4333875"/>
                  <a:gd name="connsiteX124" fmla="*/ 2200275 w 8601075"/>
                  <a:gd name="connsiteY124" fmla="*/ 3695700 h 4333875"/>
                  <a:gd name="connsiteX125" fmla="*/ 2886075 w 8601075"/>
                  <a:gd name="connsiteY125" fmla="*/ 3886200 h 4333875"/>
                  <a:gd name="connsiteX126" fmla="*/ 3038475 w 8601075"/>
                  <a:gd name="connsiteY126" fmla="*/ 3819525 h 4333875"/>
                  <a:gd name="connsiteX127" fmla="*/ 3105150 w 8601075"/>
                  <a:gd name="connsiteY127" fmla="*/ 3867150 h 4333875"/>
                  <a:gd name="connsiteX128" fmla="*/ 3181350 w 8601075"/>
                  <a:gd name="connsiteY128" fmla="*/ 3800475 h 4333875"/>
                  <a:gd name="connsiteX129" fmla="*/ 3590925 w 8601075"/>
                  <a:gd name="connsiteY129" fmla="*/ 3943350 h 4333875"/>
                  <a:gd name="connsiteX130" fmla="*/ 3686175 w 8601075"/>
                  <a:gd name="connsiteY130" fmla="*/ 4057650 h 4333875"/>
                  <a:gd name="connsiteX131" fmla="*/ 3838575 w 8601075"/>
                  <a:gd name="connsiteY131" fmla="*/ 4057650 h 4333875"/>
                  <a:gd name="connsiteX132" fmla="*/ 4162425 w 8601075"/>
                  <a:gd name="connsiteY132" fmla="*/ 4248150 h 4333875"/>
                  <a:gd name="connsiteX133" fmla="*/ 4391025 w 8601075"/>
                  <a:gd name="connsiteY133" fmla="*/ 4200525 h 4333875"/>
                  <a:gd name="connsiteX134" fmla="*/ 4410075 w 8601075"/>
                  <a:gd name="connsiteY134" fmla="*/ 4305300 h 4333875"/>
                  <a:gd name="connsiteX135" fmla="*/ 4505325 w 8601075"/>
                  <a:gd name="connsiteY135" fmla="*/ 4276725 h 4333875"/>
                  <a:gd name="connsiteX136" fmla="*/ 4572000 w 8601075"/>
                  <a:gd name="connsiteY136" fmla="*/ 4333875 h 4333875"/>
                  <a:gd name="connsiteX137" fmla="*/ 4591050 w 8601075"/>
                  <a:gd name="connsiteY137" fmla="*/ 4248150 h 4333875"/>
                  <a:gd name="connsiteX138" fmla="*/ 5295900 w 8601075"/>
                  <a:gd name="connsiteY138" fmla="*/ 3924300 h 4333875"/>
                  <a:gd name="connsiteX139" fmla="*/ 5353050 w 8601075"/>
                  <a:gd name="connsiteY139" fmla="*/ 3990975 h 4333875"/>
                  <a:gd name="connsiteX140" fmla="*/ 5524500 w 8601075"/>
                  <a:gd name="connsiteY140" fmla="*/ 3914775 h 4333875"/>
                  <a:gd name="connsiteX141" fmla="*/ 5667375 w 8601075"/>
                  <a:gd name="connsiteY141" fmla="*/ 3962400 h 4333875"/>
                  <a:gd name="connsiteX142" fmla="*/ 5753100 w 8601075"/>
                  <a:gd name="connsiteY142" fmla="*/ 3924300 h 4333875"/>
                  <a:gd name="connsiteX143" fmla="*/ 5905500 w 8601075"/>
                  <a:gd name="connsiteY143" fmla="*/ 3943350 h 4333875"/>
                  <a:gd name="connsiteX144" fmla="*/ 6000750 w 8601075"/>
                  <a:gd name="connsiteY144" fmla="*/ 3800475 h 4333875"/>
                  <a:gd name="connsiteX145" fmla="*/ 6153150 w 8601075"/>
                  <a:gd name="connsiteY145" fmla="*/ 3781425 h 4333875"/>
                  <a:gd name="connsiteX146" fmla="*/ 6257925 w 8601075"/>
                  <a:gd name="connsiteY146" fmla="*/ 3581400 h 4333875"/>
                  <a:gd name="connsiteX147" fmla="*/ 6448425 w 8601075"/>
                  <a:gd name="connsiteY147" fmla="*/ 3448050 h 4333875"/>
                  <a:gd name="connsiteX148" fmla="*/ 6581775 w 8601075"/>
                  <a:gd name="connsiteY148" fmla="*/ 3276600 h 4333875"/>
                  <a:gd name="connsiteX149" fmla="*/ 6496050 w 8601075"/>
                  <a:gd name="connsiteY149" fmla="*/ 3228975 h 4333875"/>
                  <a:gd name="connsiteX150" fmla="*/ 6438900 w 8601075"/>
                  <a:gd name="connsiteY150" fmla="*/ 3162300 h 4333875"/>
                  <a:gd name="connsiteX151" fmla="*/ 6419850 w 8601075"/>
                  <a:gd name="connsiteY151" fmla="*/ 3105150 h 4333875"/>
                  <a:gd name="connsiteX152" fmla="*/ 6362700 w 8601075"/>
                  <a:gd name="connsiteY152" fmla="*/ 3076575 h 4333875"/>
                  <a:gd name="connsiteX153" fmla="*/ 6410325 w 8601075"/>
                  <a:gd name="connsiteY153" fmla="*/ 3019425 h 4333875"/>
                  <a:gd name="connsiteX154" fmla="*/ 6438900 w 8601075"/>
                  <a:gd name="connsiteY154" fmla="*/ 2819400 h 4333875"/>
                  <a:gd name="connsiteX155" fmla="*/ 6496050 w 8601075"/>
                  <a:gd name="connsiteY155" fmla="*/ 2762250 h 4333875"/>
                  <a:gd name="connsiteX156" fmla="*/ 6657975 w 8601075"/>
                  <a:gd name="connsiteY156" fmla="*/ 2752725 h 4333875"/>
                  <a:gd name="connsiteX157" fmla="*/ 6781800 w 8601075"/>
                  <a:gd name="connsiteY157" fmla="*/ 2838450 h 4333875"/>
                  <a:gd name="connsiteX158" fmla="*/ 7010400 w 8601075"/>
                  <a:gd name="connsiteY158" fmla="*/ 2838450 h 4333875"/>
                  <a:gd name="connsiteX159" fmla="*/ 7162800 w 8601075"/>
                  <a:gd name="connsiteY159" fmla="*/ 2705100 h 4333875"/>
                  <a:gd name="connsiteX160" fmla="*/ 7229475 w 8601075"/>
                  <a:gd name="connsiteY160" fmla="*/ 2590800 h 4333875"/>
                  <a:gd name="connsiteX161" fmla="*/ 7248525 w 8601075"/>
                  <a:gd name="connsiteY161" fmla="*/ 2524125 h 4333875"/>
                  <a:gd name="connsiteX162" fmla="*/ 7372350 w 8601075"/>
                  <a:gd name="connsiteY162" fmla="*/ 2543175 h 4333875"/>
                  <a:gd name="connsiteX163" fmla="*/ 7553325 w 8601075"/>
                  <a:gd name="connsiteY163" fmla="*/ 2447925 h 4333875"/>
                  <a:gd name="connsiteX164" fmla="*/ 7620000 w 8601075"/>
                  <a:gd name="connsiteY164" fmla="*/ 2324100 h 4333875"/>
                  <a:gd name="connsiteX165" fmla="*/ 7696200 w 8601075"/>
                  <a:gd name="connsiteY165" fmla="*/ 2314575 h 4333875"/>
                  <a:gd name="connsiteX166" fmla="*/ 7658100 w 8601075"/>
                  <a:gd name="connsiteY166" fmla="*/ 2257425 h 4333875"/>
                  <a:gd name="connsiteX167" fmla="*/ 7753350 w 8601075"/>
                  <a:gd name="connsiteY167" fmla="*/ 2057400 h 4333875"/>
                  <a:gd name="connsiteX168" fmla="*/ 7934325 w 8601075"/>
                  <a:gd name="connsiteY168" fmla="*/ 2028825 h 4333875"/>
                  <a:gd name="connsiteX169" fmla="*/ 7953375 w 8601075"/>
                  <a:gd name="connsiteY169" fmla="*/ 1952625 h 4333875"/>
                  <a:gd name="connsiteX170" fmla="*/ 7953375 w 8601075"/>
                  <a:gd name="connsiteY170" fmla="*/ 1952625 h 4333875"/>
                  <a:gd name="connsiteX171" fmla="*/ 8010525 w 8601075"/>
                  <a:gd name="connsiteY171" fmla="*/ 1895475 h 4333875"/>
                  <a:gd name="connsiteX172" fmla="*/ 8048625 w 8601075"/>
                  <a:gd name="connsiteY172" fmla="*/ 1971675 h 4333875"/>
                  <a:gd name="connsiteX173" fmla="*/ 8077200 w 8601075"/>
                  <a:gd name="connsiteY173" fmla="*/ 1885950 h 4333875"/>
                  <a:gd name="connsiteX174" fmla="*/ 8220075 w 8601075"/>
                  <a:gd name="connsiteY174" fmla="*/ 1847850 h 4333875"/>
                  <a:gd name="connsiteX175" fmla="*/ 8296275 w 8601075"/>
                  <a:gd name="connsiteY175" fmla="*/ 1809750 h 4333875"/>
                  <a:gd name="connsiteX176" fmla="*/ 8324850 w 8601075"/>
                  <a:gd name="connsiteY176" fmla="*/ 1790700 h 4333875"/>
                  <a:gd name="connsiteX177" fmla="*/ 8410575 w 8601075"/>
                  <a:gd name="connsiteY177" fmla="*/ 1847850 h 4333875"/>
                  <a:gd name="connsiteX178" fmla="*/ 8505825 w 8601075"/>
                  <a:gd name="connsiteY178" fmla="*/ 1781175 h 4333875"/>
                  <a:gd name="connsiteX179" fmla="*/ 8572500 w 8601075"/>
                  <a:gd name="connsiteY179" fmla="*/ 1809750 h 4333875"/>
                  <a:gd name="connsiteX180" fmla="*/ 8601075 w 8601075"/>
                  <a:gd name="connsiteY180" fmla="*/ 1704975 h 4333875"/>
                  <a:gd name="connsiteX181" fmla="*/ 8553450 w 8601075"/>
                  <a:gd name="connsiteY181" fmla="*/ 1676400 h 4333875"/>
                  <a:gd name="connsiteX182" fmla="*/ 8534400 w 8601075"/>
                  <a:gd name="connsiteY182" fmla="*/ 1609725 h 4333875"/>
                  <a:gd name="connsiteX183" fmla="*/ 8277225 w 8601075"/>
                  <a:gd name="connsiteY183" fmla="*/ 1409700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124825 w 8601075"/>
                  <a:gd name="connsiteY186" fmla="*/ 1352550 h 4333875"/>
                  <a:gd name="connsiteX187" fmla="*/ 7924800 w 8601075"/>
                  <a:gd name="connsiteY187" fmla="*/ 1362075 h 4333875"/>
                  <a:gd name="connsiteX188" fmla="*/ 7867650 w 8601075"/>
                  <a:gd name="connsiteY188" fmla="*/ 1457325 h 4333875"/>
                  <a:gd name="connsiteX189" fmla="*/ 7896225 w 8601075"/>
                  <a:gd name="connsiteY189" fmla="*/ 1476375 h 4333875"/>
                  <a:gd name="connsiteX190" fmla="*/ 7858125 w 8601075"/>
                  <a:gd name="connsiteY190" fmla="*/ 1533525 h 4333875"/>
                  <a:gd name="connsiteX191" fmla="*/ 7658100 w 8601075"/>
                  <a:gd name="connsiteY191" fmla="*/ 1447800 h 4333875"/>
                  <a:gd name="connsiteX192" fmla="*/ 7515225 w 8601075"/>
                  <a:gd name="connsiteY192" fmla="*/ 1495425 h 4333875"/>
                  <a:gd name="connsiteX193" fmla="*/ 7467600 w 8601075"/>
                  <a:gd name="connsiteY193" fmla="*/ 1581150 h 4333875"/>
                  <a:gd name="connsiteX194" fmla="*/ 7296150 w 8601075"/>
                  <a:gd name="connsiteY19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895725 w 8601075"/>
                  <a:gd name="connsiteY41" fmla="*/ 695325 h 4333875"/>
                  <a:gd name="connsiteX42" fmla="*/ 3781425 w 8601075"/>
                  <a:gd name="connsiteY42" fmla="*/ 590550 h 4333875"/>
                  <a:gd name="connsiteX43" fmla="*/ 3810000 w 8601075"/>
                  <a:gd name="connsiteY43" fmla="*/ 514350 h 4333875"/>
                  <a:gd name="connsiteX44" fmla="*/ 3781425 w 8601075"/>
                  <a:gd name="connsiteY44" fmla="*/ 390525 h 4333875"/>
                  <a:gd name="connsiteX45" fmla="*/ 3771900 w 8601075"/>
                  <a:gd name="connsiteY45" fmla="*/ 352425 h 4333875"/>
                  <a:gd name="connsiteX46" fmla="*/ 3600450 w 8601075"/>
                  <a:gd name="connsiteY46" fmla="*/ 285750 h 4333875"/>
                  <a:gd name="connsiteX47" fmla="*/ 3533775 w 8601075"/>
                  <a:gd name="connsiteY47" fmla="*/ 314325 h 4333875"/>
                  <a:gd name="connsiteX48" fmla="*/ 3409950 w 8601075"/>
                  <a:gd name="connsiteY48" fmla="*/ 190500 h 4333875"/>
                  <a:gd name="connsiteX49" fmla="*/ 3257550 w 8601075"/>
                  <a:gd name="connsiteY49" fmla="*/ 180975 h 4333875"/>
                  <a:gd name="connsiteX50" fmla="*/ 3209925 w 8601075"/>
                  <a:gd name="connsiteY50" fmla="*/ 104775 h 4333875"/>
                  <a:gd name="connsiteX51" fmla="*/ 3152775 w 8601075"/>
                  <a:gd name="connsiteY51" fmla="*/ 104775 h 4333875"/>
                  <a:gd name="connsiteX52" fmla="*/ 2990850 w 8601075"/>
                  <a:gd name="connsiteY52" fmla="*/ 0 h 4333875"/>
                  <a:gd name="connsiteX53" fmla="*/ 2933700 w 8601075"/>
                  <a:gd name="connsiteY53" fmla="*/ 114300 h 4333875"/>
                  <a:gd name="connsiteX54" fmla="*/ 2867025 w 8601075"/>
                  <a:gd name="connsiteY54" fmla="*/ 171450 h 4333875"/>
                  <a:gd name="connsiteX55" fmla="*/ 2867025 w 8601075"/>
                  <a:gd name="connsiteY55" fmla="*/ 171450 h 4333875"/>
                  <a:gd name="connsiteX56" fmla="*/ 2800350 w 8601075"/>
                  <a:gd name="connsiteY56" fmla="*/ 257175 h 4333875"/>
                  <a:gd name="connsiteX57" fmla="*/ 2724150 w 8601075"/>
                  <a:gd name="connsiteY57" fmla="*/ 304800 h 4333875"/>
                  <a:gd name="connsiteX58" fmla="*/ 2705100 w 8601075"/>
                  <a:gd name="connsiteY58" fmla="*/ 466725 h 4333875"/>
                  <a:gd name="connsiteX59" fmla="*/ 2762250 w 8601075"/>
                  <a:gd name="connsiteY59" fmla="*/ 571500 h 4333875"/>
                  <a:gd name="connsiteX60" fmla="*/ 2800350 w 8601075"/>
                  <a:gd name="connsiteY60" fmla="*/ 628650 h 4333875"/>
                  <a:gd name="connsiteX61" fmla="*/ 2752725 w 8601075"/>
                  <a:gd name="connsiteY61" fmla="*/ 781050 h 4333875"/>
                  <a:gd name="connsiteX62" fmla="*/ 2686050 w 8601075"/>
                  <a:gd name="connsiteY62" fmla="*/ 857250 h 4333875"/>
                  <a:gd name="connsiteX63" fmla="*/ 2609850 w 8601075"/>
                  <a:gd name="connsiteY63" fmla="*/ 857250 h 4333875"/>
                  <a:gd name="connsiteX64" fmla="*/ 2514600 w 8601075"/>
                  <a:gd name="connsiteY64" fmla="*/ 914400 h 4333875"/>
                  <a:gd name="connsiteX65" fmla="*/ 2400300 w 8601075"/>
                  <a:gd name="connsiteY65" fmla="*/ 866775 h 4333875"/>
                  <a:gd name="connsiteX66" fmla="*/ 2305050 w 8601075"/>
                  <a:gd name="connsiteY66" fmla="*/ 809625 h 4333875"/>
                  <a:gd name="connsiteX67" fmla="*/ 2200275 w 8601075"/>
                  <a:gd name="connsiteY67" fmla="*/ 752475 h 4333875"/>
                  <a:gd name="connsiteX68" fmla="*/ 2105025 w 8601075"/>
                  <a:gd name="connsiteY68" fmla="*/ 762000 h 4333875"/>
                  <a:gd name="connsiteX69" fmla="*/ 1990725 w 8601075"/>
                  <a:gd name="connsiteY69" fmla="*/ 762000 h 4333875"/>
                  <a:gd name="connsiteX70" fmla="*/ 1885950 w 8601075"/>
                  <a:gd name="connsiteY70" fmla="*/ 742950 h 4333875"/>
                  <a:gd name="connsiteX71" fmla="*/ 1800225 w 8601075"/>
                  <a:gd name="connsiteY71" fmla="*/ 638175 h 4333875"/>
                  <a:gd name="connsiteX72" fmla="*/ 1809750 w 8601075"/>
                  <a:gd name="connsiteY72" fmla="*/ 495300 h 4333875"/>
                  <a:gd name="connsiteX73" fmla="*/ 1733550 w 8601075"/>
                  <a:gd name="connsiteY73" fmla="*/ 466725 h 4333875"/>
                  <a:gd name="connsiteX74" fmla="*/ 1485900 w 8601075"/>
                  <a:gd name="connsiteY74" fmla="*/ 419100 h 4333875"/>
                  <a:gd name="connsiteX75" fmla="*/ 1457325 w 8601075"/>
                  <a:gd name="connsiteY75" fmla="*/ 323850 h 4333875"/>
                  <a:gd name="connsiteX76" fmla="*/ 1457325 w 8601075"/>
                  <a:gd name="connsiteY76" fmla="*/ 323850 h 4333875"/>
                  <a:gd name="connsiteX77" fmla="*/ 1323975 w 8601075"/>
                  <a:gd name="connsiteY77" fmla="*/ 285750 h 4333875"/>
                  <a:gd name="connsiteX78" fmla="*/ 1266825 w 8601075"/>
                  <a:gd name="connsiteY78" fmla="*/ 352425 h 4333875"/>
                  <a:gd name="connsiteX79" fmla="*/ 1009650 w 8601075"/>
                  <a:gd name="connsiteY79" fmla="*/ 390525 h 4333875"/>
                  <a:gd name="connsiteX80" fmla="*/ 828675 w 8601075"/>
                  <a:gd name="connsiteY80" fmla="*/ 447675 h 4333875"/>
                  <a:gd name="connsiteX81" fmla="*/ 619125 w 8601075"/>
                  <a:gd name="connsiteY81" fmla="*/ 533400 h 4333875"/>
                  <a:gd name="connsiteX82" fmla="*/ 619125 w 8601075"/>
                  <a:gd name="connsiteY82" fmla="*/ 533400 h 4333875"/>
                  <a:gd name="connsiteX83" fmla="*/ 561975 w 8601075"/>
                  <a:gd name="connsiteY83" fmla="*/ 619125 h 4333875"/>
                  <a:gd name="connsiteX84" fmla="*/ 447675 w 8601075"/>
                  <a:gd name="connsiteY84" fmla="*/ 638175 h 4333875"/>
                  <a:gd name="connsiteX85" fmla="*/ 447675 w 8601075"/>
                  <a:gd name="connsiteY85" fmla="*/ 638175 h 4333875"/>
                  <a:gd name="connsiteX86" fmla="*/ 447675 w 8601075"/>
                  <a:gd name="connsiteY86" fmla="*/ 638175 h 4333875"/>
                  <a:gd name="connsiteX87" fmla="*/ 295275 w 8601075"/>
                  <a:gd name="connsiteY87" fmla="*/ 657225 h 4333875"/>
                  <a:gd name="connsiteX88" fmla="*/ 180975 w 8601075"/>
                  <a:gd name="connsiteY88" fmla="*/ 638175 h 4333875"/>
                  <a:gd name="connsiteX89" fmla="*/ 180975 w 8601075"/>
                  <a:gd name="connsiteY89" fmla="*/ 638175 h 4333875"/>
                  <a:gd name="connsiteX90" fmla="*/ 57150 w 8601075"/>
                  <a:gd name="connsiteY90" fmla="*/ 733425 h 4333875"/>
                  <a:gd name="connsiteX91" fmla="*/ 19050 w 8601075"/>
                  <a:gd name="connsiteY91" fmla="*/ 790575 h 4333875"/>
                  <a:gd name="connsiteX92" fmla="*/ 0 w 8601075"/>
                  <a:gd name="connsiteY92" fmla="*/ 876300 h 4333875"/>
                  <a:gd name="connsiteX93" fmla="*/ 57150 w 8601075"/>
                  <a:gd name="connsiteY93" fmla="*/ 923925 h 4333875"/>
                  <a:gd name="connsiteX94" fmla="*/ 57150 w 8601075"/>
                  <a:gd name="connsiteY94" fmla="*/ 923925 h 4333875"/>
                  <a:gd name="connsiteX95" fmla="*/ 209550 w 8601075"/>
                  <a:gd name="connsiteY95" fmla="*/ 1114425 h 4333875"/>
                  <a:gd name="connsiteX96" fmla="*/ 209550 w 8601075"/>
                  <a:gd name="connsiteY96" fmla="*/ 1114425 h 4333875"/>
                  <a:gd name="connsiteX97" fmla="*/ 266700 w 8601075"/>
                  <a:gd name="connsiteY97" fmla="*/ 1295400 h 4333875"/>
                  <a:gd name="connsiteX98" fmla="*/ 409575 w 8601075"/>
                  <a:gd name="connsiteY98" fmla="*/ 1276350 h 4333875"/>
                  <a:gd name="connsiteX99" fmla="*/ 466725 w 8601075"/>
                  <a:gd name="connsiteY99" fmla="*/ 1362075 h 4333875"/>
                  <a:gd name="connsiteX100" fmla="*/ 542925 w 8601075"/>
                  <a:gd name="connsiteY100" fmla="*/ 1428750 h 4333875"/>
                  <a:gd name="connsiteX101" fmla="*/ 628650 w 8601075"/>
                  <a:gd name="connsiteY101" fmla="*/ 1571625 h 4333875"/>
                  <a:gd name="connsiteX102" fmla="*/ 628650 w 8601075"/>
                  <a:gd name="connsiteY102" fmla="*/ 1704975 h 4333875"/>
                  <a:gd name="connsiteX103" fmla="*/ 676275 w 8601075"/>
                  <a:gd name="connsiteY103" fmla="*/ 1771650 h 4333875"/>
                  <a:gd name="connsiteX104" fmla="*/ 657225 w 8601075"/>
                  <a:gd name="connsiteY104" fmla="*/ 2000250 h 4333875"/>
                  <a:gd name="connsiteX105" fmla="*/ 619125 w 8601075"/>
                  <a:gd name="connsiteY105" fmla="*/ 2095500 h 4333875"/>
                  <a:gd name="connsiteX106" fmla="*/ 542925 w 8601075"/>
                  <a:gd name="connsiteY106" fmla="*/ 2228850 h 4333875"/>
                  <a:gd name="connsiteX107" fmla="*/ 485775 w 8601075"/>
                  <a:gd name="connsiteY107" fmla="*/ 2362200 h 4333875"/>
                  <a:gd name="connsiteX108" fmla="*/ 552450 w 8601075"/>
                  <a:gd name="connsiteY108" fmla="*/ 2486025 h 4333875"/>
                  <a:gd name="connsiteX109" fmla="*/ 771525 w 8601075"/>
                  <a:gd name="connsiteY109" fmla="*/ 2571750 h 4333875"/>
                  <a:gd name="connsiteX110" fmla="*/ 866775 w 8601075"/>
                  <a:gd name="connsiteY110" fmla="*/ 2571750 h 4333875"/>
                  <a:gd name="connsiteX111" fmla="*/ 914400 w 8601075"/>
                  <a:gd name="connsiteY111" fmla="*/ 2638425 h 4333875"/>
                  <a:gd name="connsiteX112" fmla="*/ 1066800 w 8601075"/>
                  <a:gd name="connsiteY112" fmla="*/ 2638425 h 4333875"/>
                  <a:gd name="connsiteX113" fmla="*/ 1285875 w 8601075"/>
                  <a:gd name="connsiteY113" fmla="*/ 2705100 h 4333875"/>
                  <a:gd name="connsiteX114" fmla="*/ 1438275 w 8601075"/>
                  <a:gd name="connsiteY114" fmla="*/ 2838450 h 4333875"/>
                  <a:gd name="connsiteX115" fmla="*/ 1485900 w 8601075"/>
                  <a:gd name="connsiteY115" fmla="*/ 2914650 h 4333875"/>
                  <a:gd name="connsiteX116" fmla="*/ 1657350 w 8601075"/>
                  <a:gd name="connsiteY116" fmla="*/ 3038475 h 4333875"/>
                  <a:gd name="connsiteX117" fmla="*/ 1752600 w 8601075"/>
                  <a:gd name="connsiteY117" fmla="*/ 3057525 h 4333875"/>
                  <a:gd name="connsiteX118" fmla="*/ 1724025 w 8601075"/>
                  <a:gd name="connsiteY118" fmla="*/ 3143250 h 4333875"/>
                  <a:gd name="connsiteX119" fmla="*/ 1724025 w 8601075"/>
                  <a:gd name="connsiteY119" fmla="*/ 3143250 h 4333875"/>
                  <a:gd name="connsiteX120" fmla="*/ 1781175 w 8601075"/>
                  <a:gd name="connsiteY120" fmla="*/ 3181350 h 4333875"/>
                  <a:gd name="connsiteX121" fmla="*/ 1819275 w 8601075"/>
                  <a:gd name="connsiteY121" fmla="*/ 3362325 h 4333875"/>
                  <a:gd name="connsiteX122" fmla="*/ 1828800 w 8601075"/>
                  <a:gd name="connsiteY122" fmla="*/ 3457575 h 4333875"/>
                  <a:gd name="connsiteX123" fmla="*/ 1971675 w 8601075"/>
                  <a:gd name="connsiteY123" fmla="*/ 3590925 h 4333875"/>
                  <a:gd name="connsiteX124" fmla="*/ 1990725 w 8601075"/>
                  <a:gd name="connsiteY124" fmla="*/ 3714750 h 4333875"/>
                  <a:gd name="connsiteX125" fmla="*/ 2200275 w 8601075"/>
                  <a:gd name="connsiteY125" fmla="*/ 3695700 h 4333875"/>
                  <a:gd name="connsiteX126" fmla="*/ 2886075 w 8601075"/>
                  <a:gd name="connsiteY126" fmla="*/ 3886200 h 4333875"/>
                  <a:gd name="connsiteX127" fmla="*/ 3038475 w 8601075"/>
                  <a:gd name="connsiteY127" fmla="*/ 3819525 h 4333875"/>
                  <a:gd name="connsiteX128" fmla="*/ 3105150 w 8601075"/>
                  <a:gd name="connsiteY128" fmla="*/ 3867150 h 4333875"/>
                  <a:gd name="connsiteX129" fmla="*/ 3181350 w 8601075"/>
                  <a:gd name="connsiteY129" fmla="*/ 3800475 h 4333875"/>
                  <a:gd name="connsiteX130" fmla="*/ 3590925 w 8601075"/>
                  <a:gd name="connsiteY130" fmla="*/ 3943350 h 4333875"/>
                  <a:gd name="connsiteX131" fmla="*/ 3686175 w 8601075"/>
                  <a:gd name="connsiteY131" fmla="*/ 4057650 h 4333875"/>
                  <a:gd name="connsiteX132" fmla="*/ 3838575 w 8601075"/>
                  <a:gd name="connsiteY132" fmla="*/ 4057650 h 4333875"/>
                  <a:gd name="connsiteX133" fmla="*/ 4162425 w 8601075"/>
                  <a:gd name="connsiteY133" fmla="*/ 4248150 h 4333875"/>
                  <a:gd name="connsiteX134" fmla="*/ 4391025 w 8601075"/>
                  <a:gd name="connsiteY134" fmla="*/ 4200525 h 4333875"/>
                  <a:gd name="connsiteX135" fmla="*/ 4410075 w 8601075"/>
                  <a:gd name="connsiteY135" fmla="*/ 4305300 h 4333875"/>
                  <a:gd name="connsiteX136" fmla="*/ 4505325 w 8601075"/>
                  <a:gd name="connsiteY136" fmla="*/ 4276725 h 4333875"/>
                  <a:gd name="connsiteX137" fmla="*/ 4572000 w 8601075"/>
                  <a:gd name="connsiteY137" fmla="*/ 4333875 h 4333875"/>
                  <a:gd name="connsiteX138" fmla="*/ 4591050 w 8601075"/>
                  <a:gd name="connsiteY138" fmla="*/ 4248150 h 4333875"/>
                  <a:gd name="connsiteX139" fmla="*/ 5295900 w 8601075"/>
                  <a:gd name="connsiteY139" fmla="*/ 3924300 h 4333875"/>
                  <a:gd name="connsiteX140" fmla="*/ 5353050 w 8601075"/>
                  <a:gd name="connsiteY140" fmla="*/ 3990975 h 4333875"/>
                  <a:gd name="connsiteX141" fmla="*/ 5524500 w 8601075"/>
                  <a:gd name="connsiteY141" fmla="*/ 3914775 h 4333875"/>
                  <a:gd name="connsiteX142" fmla="*/ 5667375 w 8601075"/>
                  <a:gd name="connsiteY142" fmla="*/ 3962400 h 4333875"/>
                  <a:gd name="connsiteX143" fmla="*/ 5753100 w 8601075"/>
                  <a:gd name="connsiteY143" fmla="*/ 3924300 h 4333875"/>
                  <a:gd name="connsiteX144" fmla="*/ 5905500 w 8601075"/>
                  <a:gd name="connsiteY144" fmla="*/ 3943350 h 4333875"/>
                  <a:gd name="connsiteX145" fmla="*/ 6000750 w 8601075"/>
                  <a:gd name="connsiteY145" fmla="*/ 3800475 h 4333875"/>
                  <a:gd name="connsiteX146" fmla="*/ 6153150 w 8601075"/>
                  <a:gd name="connsiteY146" fmla="*/ 3781425 h 4333875"/>
                  <a:gd name="connsiteX147" fmla="*/ 6257925 w 8601075"/>
                  <a:gd name="connsiteY147" fmla="*/ 3581400 h 4333875"/>
                  <a:gd name="connsiteX148" fmla="*/ 6448425 w 8601075"/>
                  <a:gd name="connsiteY148" fmla="*/ 3448050 h 4333875"/>
                  <a:gd name="connsiteX149" fmla="*/ 6581775 w 8601075"/>
                  <a:gd name="connsiteY149" fmla="*/ 3276600 h 4333875"/>
                  <a:gd name="connsiteX150" fmla="*/ 6496050 w 8601075"/>
                  <a:gd name="connsiteY150" fmla="*/ 3228975 h 4333875"/>
                  <a:gd name="connsiteX151" fmla="*/ 6438900 w 8601075"/>
                  <a:gd name="connsiteY151" fmla="*/ 3162300 h 4333875"/>
                  <a:gd name="connsiteX152" fmla="*/ 6419850 w 8601075"/>
                  <a:gd name="connsiteY152" fmla="*/ 3105150 h 4333875"/>
                  <a:gd name="connsiteX153" fmla="*/ 6362700 w 8601075"/>
                  <a:gd name="connsiteY153" fmla="*/ 3076575 h 4333875"/>
                  <a:gd name="connsiteX154" fmla="*/ 6410325 w 8601075"/>
                  <a:gd name="connsiteY154" fmla="*/ 3019425 h 4333875"/>
                  <a:gd name="connsiteX155" fmla="*/ 6438900 w 8601075"/>
                  <a:gd name="connsiteY155" fmla="*/ 2819400 h 4333875"/>
                  <a:gd name="connsiteX156" fmla="*/ 6496050 w 8601075"/>
                  <a:gd name="connsiteY156" fmla="*/ 2762250 h 4333875"/>
                  <a:gd name="connsiteX157" fmla="*/ 6657975 w 8601075"/>
                  <a:gd name="connsiteY157" fmla="*/ 2752725 h 4333875"/>
                  <a:gd name="connsiteX158" fmla="*/ 6781800 w 8601075"/>
                  <a:gd name="connsiteY158" fmla="*/ 2838450 h 4333875"/>
                  <a:gd name="connsiteX159" fmla="*/ 7010400 w 8601075"/>
                  <a:gd name="connsiteY159" fmla="*/ 2838450 h 4333875"/>
                  <a:gd name="connsiteX160" fmla="*/ 7162800 w 8601075"/>
                  <a:gd name="connsiteY160" fmla="*/ 2705100 h 4333875"/>
                  <a:gd name="connsiteX161" fmla="*/ 7229475 w 8601075"/>
                  <a:gd name="connsiteY161" fmla="*/ 2590800 h 4333875"/>
                  <a:gd name="connsiteX162" fmla="*/ 7248525 w 8601075"/>
                  <a:gd name="connsiteY162" fmla="*/ 2524125 h 4333875"/>
                  <a:gd name="connsiteX163" fmla="*/ 7372350 w 8601075"/>
                  <a:gd name="connsiteY163" fmla="*/ 2543175 h 4333875"/>
                  <a:gd name="connsiteX164" fmla="*/ 7553325 w 8601075"/>
                  <a:gd name="connsiteY164" fmla="*/ 2447925 h 4333875"/>
                  <a:gd name="connsiteX165" fmla="*/ 7620000 w 8601075"/>
                  <a:gd name="connsiteY165" fmla="*/ 2324100 h 4333875"/>
                  <a:gd name="connsiteX166" fmla="*/ 7696200 w 8601075"/>
                  <a:gd name="connsiteY166" fmla="*/ 2314575 h 4333875"/>
                  <a:gd name="connsiteX167" fmla="*/ 7658100 w 8601075"/>
                  <a:gd name="connsiteY167" fmla="*/ 2257425 h 4333875"/>
                  <a:gd name="connsiteX168" fmla="*/ 7753350 w 8601075"/>
                  <a:gd name="connsiteY168" fmla="*/ 2057400 h 4333875"/>
                  <a:gd name="connsiteX169" fmla="*/ 7934325 w 8601075"/>
                  <a:gd name="connsiteY169" fmla="*/ 2028825 h 4333875"/>
                  <a:gd name="connsiteX170" fmla="*/ 7953375 w 8601075"/>
                  <a:gd name="connsiteY170" fmla="*/ 1952625 h 4333875"/>
                  <a:gd name="connsiteX171" fmla="*/ 7953375 w 8601075"/>
                  <a:gd name="connsiteY171" fmla="*/ 1952625 h 4333875"/>
                  <a:gd name="connsiteX172" fmla="*/ 8010525 w 8601075"/>
                  <a:gd name="connsiteY172" fmla="*/ 1895475 h 4333875"/>
                  <a:gd name="connsiteX173" fmla="*/ 8048625 w 8601075"/>
                  <a:gd name="connsiteY173" fmla="*/ 1971675 h 4333875"/>
                  <a:gd name="connsiteX174" fmla="*/ 8077200 w 8601075"/>
                  <a:gd name="connsiteY174" fmla="*/ 1885950 h 4333875"/>
                  <a:gd name="connsiteX175" fmla="*/ 8220075 w 8601075"/>
                  <a:gd name="connsiteY175" fmla="*/ 1847850 h 4333875"/>
                  <a:gd name="connsiteX176" fmla="*/ 8296275 w 8601075"/>
                  <a:gd name="connsiteY176" fmla="*/ 1809750 h 4333875"/>
                  <a:gd name="connsiteX177" fmla="*/ 8324850 w 8601075"/>
                  <a:gd name="connsiteY177" fmla="*/ 1790700 h 4333875"/>
                  <a:gd name="connsiteX178" fmla="*/ 8410575 w 8601075"/>
                  <a:gd name="connsiteY178" fmla="*/ 1847850 h 4333875"/>
                  <a:gd name="connsiteX179" fmla="*/ 8505825 w 8601075"/>
                  <a:gd name="connsiteY179" fmla="*/ 1781175 h 4333875"/>
                  <a:gd name="connsiteX180" fmla="*/ 8572500 w 8601075"/>
                  <a:gd name="connsiteY180" fmla="*/ 1809750 h 4333875"/>
                  <a:gd name="connsiteX181" fmla="*/ 8601075 w 8601075"/>
                  <a:gd name="connsiteY181" fmla="*/ 1704975 h 4333875"/>
                  <a:gd name="connsiteX182" fmla="*/ 8553450 w 8601075"/>
                  <a:gd name="connsiteY182" fmla="*/ 1676400 h 4333875"/>
                  <a:gd name="connsiteX183" fmla="*/ 8534400 w 8601075"/>
                  <a:gd name="connsiteY183" fmla="*/ 1609725 h 4333875"/>
                  <a:gd name="connsiteX184" fmla="*/ 8277225 w 8601075"/>
                  <a:gd name="connsiteY184" fmla="*/ 1409700 h 4333875"/>
                  <a:gd name="connsiteX185" fmla="*/ 8277225 w 8601075"/>
                  <a:gd name="connsiteY185" fmla="*/ 1409700 h 4333875"/>
                  <a:gd name="connsiteX186" fmla="*/ 8277225 w 8601075"/>
                  <a:gd name="connsiteY186" fmla="*/ 1409700 h 4333875"/>
                  <a:gd name="connsiteX187" fmla="*/ 8124825 w 8601075"/>
                  <a:gd name="connsiteY187" fmla="*/ 1352550 h 4333875"/>
                  <a:gd name="connsiteX188" fmla="*/ 7924800 w 8601075"/>
                  <a:gd name="connsiteY188" fmla="*/ 1362075 h 4333875"/>
                  <a:gd name="connsiteX189" fmla="*/ 7867650 w 8601075"/>
                  <a:gd name="connsiteY189" fmla="*/ 1457325 h 4333875"/>
                  <a:gd name="connsiteX190" fmla="*/ 7896225 w 8601075"/>
                  <a:gd name="connsiteY190" fmla="*/ 1476375 h 4333875"/>
                  <a:gd name="connsiteX191" fmla="*/ 7858125 w 8601075"/>
                  <a:gd name="connsiteY191" fmla="*/ 1533525 h 4333875"/>
                  <a:gd name="connsiteX192" fmla="*/ 7658100 w 8601075"/>
                  <a:gd name="connsiteY192" fmla="*/ 1447800 h 4333875"/>
                  <a:gd name="connsiteX193" fmla="*/ 7515225 w 8601075"/>
                  <a:gd name="connsiteY193" fmla="*/ 1495425 h 4333875"/>
                  <a:gd name="connsiteX194" fmla="*/ 7467600 w 8601075"/>
                  <a:gd name="connsiteY194" fmla="*/ 1581150 h 4333875"/>
                  <a:gd name="connsiteX195" fmla="*/ 7296150 w 8601075"/>
                  <a:gd name="connsiteY19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895725 w 8601075"/>
                  <a:gd name="connsiteY42" fmla="*/ 695325 h 4333875"/>
                  <a:gd name="connsiteX43" fmla="*/ 3781425 w 8601075"/>
                  <a:gd name="connsiteY43" fmla="*/ 590550 h 4333875"/>
                  <a:gd name="connsiteX44" fmla="*/ 3810000 w 8601075"/>
                  <a:gd name="connsiteY44" fmla="*/ 514350 h 4333875"/>
                  <a:gd name="connsiteX45" fmla="*/ 3781425 w 8601075"/>
                  <a:gd name="connsiteY45" fmla="*/ 390525 h 4333875"/>
                  <a:gd name="connsiteX46" fmla="*/ 3771900 w 8601075"/>
                  <a:gd name="connsiteY46" fmla="*/ 352425 h 4333875"/>
                  <a:gd name="connsiteX47" fmla="*/ 3600450 w 8601075"/>
                  <a:gd name="connsiteY47" fmla="*/ 285750 h 4333875"/>
                  <a:gd name="connsiteX48" fmla="*/ 3533775 w 8601075"/>
                  <a:gd name="connsiteY48" fmla="*/ 314325 h 4333875"/>
                  <a:gd name="connsiteX49" fmla="*/ 3409950 w 8601075"/>
                  <a:gd name="connsiteY49" fmla="*/ 190500 h 4333875"/>
                  <a:gd name="connsiteX50" fmla="*/ 3257550 w 8601075"/>
                  <a:gd name="connsiteY50" fmla="*/ 180975 h 4333875"/>
                  <a:gd name="connsiteX51" fmla="*/ 3209925 w 8601075"/>
                  <a:gd name="connsiteY51" fmla="*/ 104775 h 4333875"/>
                  <a:gd name="connsiteX52" fmla="*/ 3152775 w 8601075"/>
                  <a:gd name="connsiteY52" fmla="*/ 104775 h 4333875"/>
                  <a:gd name="connsiteX53" fmla="*/ 2990850 w 8601075"/>
                  <a:gd name="connsiteY53" fmla="*/ 0 h 4333875"/>
                  <a:gd name="connsiteX54" fmla="*/ 2933700 w 8601075"/>
                  <a:gd name="connsiteY54" fmla="*/ 114300 h 4333875"/>
                  <a:gd name="connsiteX55" fmla="*/ 2867025 w 8601075"/>
                  <a:gd name="connsiteY55" fmla="*/ 171450 h 4333875"/>
                  <a:gd name="connsiteX56" fmla="*/ 2867025 w 8601075"/>
                  <a:gd name="connsiteY56" fmla="*/ 171450 h 4333875"/>
                  <a:gd name="connsiteX57" fmla="*/ 2800350 w 8601075"/>
                  <a:gd name="connsiteY57" fmla="*/ 257175 h 4333875"/>
                  <a:gd name="connsiteX58" fmla="*/ 2724150 w 8601075"/>
                  <a:gd name="connsiteY58" fmla="*/ 304800 h 4333875"/>
                  <a:gd name="connsiteX59" fmla="*/ 2705100 w 8601075"/>
                  <a:gd name="connsiteY59" fmla="*/ 466725 h 4333875"/>
                  <a:gd name="connsiteX60" fmla="*/ 2762250 w 8601075"/>
                  <a:gd name="connsiteY60" fmla="*/ 571500 h 4333875"/>
                  <a:gd name="connsiteX61" fmla="*/ 2800350 w 8601075"/>
                  <a:gd name="connsiteY61" fmla="*/ 628650 h 4333875"/>
                  <a:gd name="connsiteX62" fmla="*/ 2752725 w 8601075"/>
                  <a:gd name="connsiteY62" fmla="*/ 781050 h 4333875"/>
                  <a:gd name="connsiteX63" fmla="*/ 2686050 w 8601075"/>
                  <a:gd name="connsiteY63" fmla="*/ 857250 h 4333875"/>
                  <a:gd name="connsiteX64" fmla="*/ 2609850 w 8601075"/>
                  <a:gd name="connsiteY64" fmla="*/ 857250 h 4333875"/>
                  <a:gd name="connsiteX65" fmla="*/ 2514600 w 8601075"/>
                  <a:gd name="connsiteY65" fmla="*/ 914400 h 4333875"/>
                  <a:gd name="connsiteX66" fmla="*/ 2400300 w 8601075"/>
                  <a:gd name="connsiteY66" fmla="*/ 866775 h 4333875"/>
                  <a:gd name="connsiteX67" fmla="*/ 2305050 w 8601075"/>
                  <a:gd name="connsiteY67" fmla="*/ 809625 h 4333875"/>
                  <a:gd name="connsiteX68" fmla="*/ 2200275 w 8601075"/>
                  <a:gd name="connsiteY68" fmla="*/ 752475 h 4333875"/>
                  <a:gd name="connsiteX69" fmla="*/ 2105025 w 8601075"/>
                  <a:gd name="connsiteY69" fmla="*/ 762000 h 4333875"/>
                  <a:gd name="connsiteX70" fmla="*/ 1990725 w 8601075"/>
                  <a:gd name="connsiteY70" fmla="*/ 762000 h 4333875"/>
                  <a:gd name="connsiteX71" fmla="*/ 1885950 w 8601075"/>
                  <a:gd name="connsiteY71" fmla="*/ 742950 h 4333875"/>
                  <a:gd name="connsiteX72" fmla="*/ 1800225 w 8601075"/>
                  <a:gd name="connsiteY72" fmla="*/ 638175 h 4333875"/>
                  <a:gd name="connsiteX73" fmla="*/ 1809750 w 8601075"/>
                  <a:gd name="connsiteY73" fmla="*/ 495300 h 4333875"/>
                  <a:gd name="connsiteX74" fmla="*/ 1733550 w 8601075"/>
                  <a:gd name="connsiteY74" fmla="*/ 466725 h 4333875"/>
                  <a:gd name="connsiteX75" fmla="*/ 1485900 w 8601075"/>
                  <a:gd name="connsiteY75" fmla="*/ 419100 h 4333875"/>
                  <a:gd name="connsiteX76" fmla="*/ 1457325 w 8601075"/>
                  <a:gd name="connsiteY76" fmla="*/ 323850 h 4333875"/>
                  <a:gd name="connsiteX77" fmla="*/ 1457325 w 8601075"/>
                  <a:gd name="connsiteY77" fmla="*/ 323850 h 4333875"/>
                  <a:gd name="connsiteX78" fmla="*/ 1323975 w 8601075"/>
                  <a:gd name="connsiteY78" fmla="*/ 285750 h 4333875"/>
                  <a:gd name="connsiteX79" fmla="*/ 1266825 w 8601075"/>
                  <a:gd name="connsiteY79" fmla="*/ 352425 h 4333875"/>
                  <a:gd name="connsiteX80" fmla="*/ 1009650 w 8601075"/>
                  <a:gd name="connsiteY80" fmla="*/ 390525 h 4333875"/>
                  <a:gd name="connsiteX81" fmla="*/ 828675 w 8601075"/>
                  <a:gd name="connsiteY81" fmla="*/ 447675 h 4333875"/>
                  <a:gd name="connsiteX82" fmla="*/ 619125 w 8601075"/>
                  <a:gd name="connsiteY82" fmla="*/ 533400 h 4333875"/>
                  <a:gd name="connsiteX83" fmla="*/ 619125 w 8601075"/>
                  <a:gd name="connsiteY83" fmla="*/ 533400 h 4333875"/>
                  <a:gd name="connsiteX84" fmla="*/ 561975 w 8601075"/>
                  <a:gd name="connsiteY84" fmla="*/ 619125 h 4333875"/>
                  <a:gd name="connsiteX85" fmla="*/ 447675 w 8601075"/>
                  <a:gd name="connsiteY85" fmla="*/ 638175 h 4333875"/>
                  <a:gd name="connsiteX86" fmla="*/ 447675 w 8601075"/>
                  <a:gd name="connsiteY86" fmla="*/ 638175 h 4333875"/>
                  <a:gd name="connsiteX87" fmla="*/ 447675 w 8601075"/>
                  <a:gd name="connsiteY87" fmla="*/ 638175 h 4333875"/>
                  <a:gd name="connsiteX88" fmla="*/ 295275 w 8601075"/>
                  <a:gd name="connsiteY88" fmla="*/ 657225 h 4333875"/>
                  <a:gd name="connsiteX89" fmla="*/ 180975 w 8601075"/>
                  <a:gd name="connsiteY89" fmla="*/ 638175 h 4333875"/>
                  <a:gd name="connsiteX90" fmla="*/ 180975 w 8601075"/>
                  <a:gd name="connsiteY90" fmla="*/ 638175 h 4333875"/>
                  <a:gd name="connsiteX91" fmla="*/ 57150 w 8601075"/>
                  <a:gd name="connsiteY91" fmla="*/ 733425 h 4333875"/>
                  <a:gd name="connsiteX92" fmla="*/ 19050 w 8601075"/>
                  <a:gd name="connsiteY92" fmla="*/ 790575 h 4333875"/>
                  <a:gd name="connsiteX93" fmla="*/ 0 w 8601075"/>
                  <a:gd name="connsiteY93" fmla="*/ 876300 h 4333875"/>
                  <a:gd name="connsiteX94" fmla="*/ 57150 w 8601075"/>
                  <a:gd name="connsiteY94" fmla="*/ 923925 h 4333875"/>
                  <a:gd name="connsiteX95" fmla="*/ 57150 w 8601075"/>
                  <a:gd name="connsiteY95" fmla="*/ 923925 h 4333875"/>
                  <a:gd name="connsiteX96" fmla="*/ 209550 w 8601075"/>
                  <a:gd name="connsiteY96" fmla="*/ 1114425 h 4333875"/>
                  <a:gd name="connsiteX97" fmla="*/ 209550 w 8601075"/>
                  <a:gd name="connsiteY97" fmla="*/ 1114425 h 4333875"/>
                  <a:gd name="connsiteX98" fmla="*/ 266700 w 8601075"/>
                  <a:gd name="connsiteY98" fmla="*/ 1295400 h 4333875"/>
                  <a:gd name="connsiteX99" fmla="*/ 409575 w 8601075"/>
                  <a:gd name="connsiteY99" fmla="*/ 1276350 h 4333875"/>
                  <a:gd name="connsiteX100" fmla="*/ 466725 w 8601075"/>
                  <a:gd name="connsiteY100" fmla="*/ 1362075 h 4333875"/>
                  <a:gd name="connsiteX101" fmla="*/ 542925 w 8601075"/>
                  <a:gd name="connsiteY101" fmla="*/ 1428750 h 4333875"/>
                  <a:gd name="connsiteX102" fmla="*/ 628650 w 8601075"/>
                  <a:gd name="connsiteY102" fmla="*/ 1571625 h 4333875"/>
                  <a:gd name="connsiteX103" fmla="*/ 628650 w 8601075"/>
                  <a:gd name="connsiteY103" fmla="*/ 1704975 h 4333875"/>
                  <a:gd name="connsiteX104" fmla="*/ 676275 w 8601075"/>
                  <a:gd name="connsiteY104" fmla="*/ 1771650 h 4333875"/>
                  <a:gd name="connsiteX105" fmla="*/ 657225 w 8601075"/>
                  <a:gd name="connsiteY105" fmla="*/ 2000250 h 4333875"/>
                  <a:gd name="connsiteX106" fmla="*/ 619125 w 8601075"/>
                  <a:gd name="connsiteY106" fmla="*/ 2095500 h 4333875"/>
                  <a:gd name="connsiteX107" fmla="*/ 542925 w 8601075"/>
                  <a:gd name="connsiteY107" fmla="*/ 2228850 h 4333875"/>
                  <a:gd name="connsiteX108" fmla="*/ 485775 w 8601075"/>
                  <a:gd name="connsiteY108" fmla="*/ 2362200 h 4333875"/>
                  <a:gd name="connsiteX109" fmla="*/ 552450 w 8601075"/>
                  <a:gd name="connsiteY109" fmla="*/ 2486025 h 4333875"/>
                  <a:gd name="connsiteX110" fmla="*/ 771525 w 8601075"/>
                  <a:gd name="connsiteY110" fmla="*/ 2571750 h 4333875"/>
                  <a:gd name="connsiteX111" fmla="*/ 866775 w 8601075"/>
                  <a:gd name="connsiteY111" fmla="*/ 2571750 h 4333875"/>
                  <a:gd name="connsiteX112" fmla="*/ 914400 w 8601075"/>
                  <a:gd name="connsiteY112" fmla="*/ 2638425 h 4333875"/>
                  <a:gd name="connsiteX113" fmla="*/ 1066800 w 8601075"/>
                  <a:gd name="connsiteY113" fmla="*/ 2638425 h 4333875"/>
                  <a:gd name="connsiteX114" fmla="*/ 1285875 w 8601075"/>
                  <a:gd name="connsiteY114" fmla="*/ 2705100 h 4333875"/>
                  <a:gd name="connsiteX115" fmla="*/ 1438275 w 8601075"/>
                  <a:gd name="connsiteY115" fmla="*/ 2838450 h 4333875"/>
                  <a:gd name="connsiteX116" fmla="*/ 1485900 w 8601075"/>
                  <a:gd name="connsiteY116" fmla="*/ 2914650 h 4333875"/>
                  <a:gd name="connsiteX117" fmla="*/ 1657350 w 8601075"/>
                  <a:gd name="connsiteY117" fmla="*/ 3038475 h 4333875"/>
                  <a:gd name="connsiteX118" fmla="*/ 1752600 w 8601075"/>
                  <a:gd name="connsiteY118" fmla="*/ 3057525 h 4333875"/>
                  <a:gd name="connsiteX119" fmla="*/ 1724025 w 8601075"/>
                  <a:gd name="connsiteY119" fmla="*/ 3143250 h 4333875"/>
                  <a:gd name="connsiteX120" fmla="*/ 1724025 w 8601075"/>
                  <a:gd name="connsiteY120" fmla="*/ 3143250 h 4333875"/>
                  <a:gd name="connsiteX121" fmla="*/ 1781175 w 8601075"/>
                  <a:gd name="connsiteY121" fmla="*/ 3181350 h 4333875"/>
                  <a:gd name="connsiteX122" fmla="*/ 1819275 w 8601075"/>
                  <a:gd name="connsiteY122" fmla="*/ 3362325 h 4333875"/>
                  <a:gd name="connsiteX123" fmla="*/ 1828800 w 8601075"/>
                  <a:gd name="connsiteY123" fmla="*/ 3457575 h 4333875"/>
                  <a:gd name="connsiteX124" fmla="*/ 1971675 w 8601075"/>
                  <a:gd name="connsiteY124" fmla="*/ 3590925 h 4333875"/>
                  <a:gd name="connsiteX125" fmla="*/ 1990725 w 8601075"/>
                  <a:gd name="connsiteY125" fmla="*/ 3714750 h 4333875"/>
                  <a:gd name="connsiteX126" fmla="*/ 2200275 w 8601075"/>
                  <a:gd name="connsiteY126" fmla="*/ 3695700 h 4333875"/>
                  <a:gd name="connsiteX127" fmla="*/ 2886075 w 8601075"/>
                  <a:gd name="connsiteY127" fmla="*/ 3886200 h 4333875"/>
                  <a:gd name="connsiteX128" fmla="*/ 3038475 w 8601075"/>
                  <a:gd name="connsiteY128" fmla="*/ 3819525 h 4333875"/>
                  <a:gd name="connsiteX129" fmla="*/ 3105150 w 8601075"/>
                  <a:gd name="connsiteY129" fmla="*/ 3867150 h 4333875"/>
                  <a:gd name="connsiteX130" fmla="*/ 3181350 w 8601075"/>
                  <a:gd name="connsiteY130" fmla="*/ 3800475 h 4333875"/>
                  <a:gd name="connsiteX131" fmla="*/ 3590925 w 8601075"/>
                  <a:gd name="connsiteY131" fmla="*/ 3943350 h 4333875"/>
                  <a:gd name="connsiteX132" fmla="*/ 3686175 w 8601075"/>
                  <a:gd name="connsiteY132" fmla="*/ 4057650 h 4333875"/>
                  <a:gd name="connsiteX133" fmla="*/ 3838575 w 8601075"/>
                  <a:gd name="connsiteY133" fmla="*/ 4057650 h 4333875"/>
                  <a:gd name="connsiteX134" fmla="*/ 4162425 w 8601075"/>
                  <a:gd name="connsiteY134" fmla="*/ 4248150 h 4333875"/>
                  <a:gd name="connsiteX135" fmla="*/ 4391025 w 8601075"/>
                  <a:gd name="connsiteY135" fmla="*/ 4200525 h 4333875"/>
                  <a:gd name="connsiteX136" fmla="*/ 4410075 w 8601075"/>
                  <a:gd name="connsiteY136" fmla="*/ 4305300 h 4333875"/>
                  <a:gd name="connsiteX137" fmla="*/ 4505325 w 8601075"/>
                  <a:gd name="connsiteY137" fmla="*/ 4276725 h 4333875"/>
                  <a:gd name="connsiteX138" fmla="*/ 4572000 w 8601075"/>
                  <a:gd name="connsiteY138" fmla="*/ 4333875 h 4333875"/>
                  <a:gd name="connsiteX139" fmla="*/ 4591050 w 8601075"/>
                  <a:gd name="connsiteY139" fmla="*/ 4248150 h 4333875"/>
                  <a:gd name="connsiteX140" fmla="*/ 5295900 w 8601075"/>
                  <a:gd name="connsiteY140" fmla="*/ 3924300 h 4333875"/>
                  <a:gd name="connsiteX141" fmla="*/ 5353050 w 8601075"/>
                  <a:gd name="connsiteY141" fmla="*/ 3990975 h 4333875"/>
                  <a:gd name="connsiteX142" fmla="*/ 5524500 w 8601075"/>
                  <a:gd name="connsiteY142" fmla="*/ 3914775 h 4333875"/>
                  <a:gd name="connsiteX143" fmla="*/ 5667375 w 8601075"/>
                  <a:gd name="connsiteY143" fmla="*/ 3962400 h 4333875"/>
                  <a:gd name="connsiteX144" fmla="*/ 5753100 w 8601075"/>
                  <a:gd name="connsiteY144" fmla="*/ 3924300 h 4333875"/>
                  <a:gd name="connsiteX145" fmla="*/ 5905500 w 8601075"/>
                  <a:gd name="connsiteY145" fmla="*/ 3943350 h 4333875"/>
                  <a:gd name="connsiteX146" fmla="*/ 6000750 w 8601075"/>
                  <a:gd name="connsiteY146" fmla="*/ 3800475 h 4333875"/>
                  <a:gd name="connsiteX147" fmla="*/ 6153150 w 8601075"/>
                  <a:gd name="connsiteY147" fmla="*/ 3781425 h 4333875"/>
                  <a:gd name="connsiteX148" fmla="*/ 6257925 w 8601075"/>
                  <a:gd name="connsiteY148" fmla="*/ 3581400 h 4333875"/>
                  <a:gd name="connsiteX149" fmla="*/ 6448425 w 8601075"/>
                  <a:gd name="connsiteY149" fmla="*/ 3448050 h 4333875"/>
                  <a:gd name="connsiteX150" fmla="*/ 6581775 w 8601075"/>
                  <a:gd name="connsiteY150" fmla="*/ 3276600 h 4333875"/>
                  <a:gd name="connsiteX151" fmla="*/ 6496050 w 8601075"/>
                  <a:gd name="connsiteY151" fmla="*/ 3228975 h 4333875"/>
                  <a:gd name="connsiteX152" fmla="*/ 6438900 w 8601075"/>
                  <a:gd name="connsiteY152" fmla="*/ 3162300 h 4333875"/>
                  <a:gd name="connsiteX153" fmla="*/ 6419850 w 8601075"/>
                  <a:gd name="connsiteY153" fmla="*/ 3105150 h 4333875"/>
                  <a:gd name="connsiteX154" fmla="*/ 6362700 w 8601075"/>
                  <a:gd name="connsiteY154" fmla="*/ 3076575 h 4333875"/>
                  <a:gd name="connsiteX155" fmla="*/ 6410325 w 8601075"/>
                  <a:gd name="connsiteY155" fmla="*/ 3019425 h 4333875"/>
                  <a:gd name="connsiteX156" fmla="*/ 6438900 w 8601075"/>
                  <a:gd name="connsiteY156" fmla="*/ 2819400 h 4333875"/>
                  <a:gd name="connsiteX157" fmla="*/ 6496050 w 8601075"/>
                  <a:gd name="connsiteY157" fmla="*/ 2762250 h 4333875"/>
                  <a:gd name="connsiteX158" fmla="*/ 6657975 w 8601075"/>
                  <a:gd name="connsiteY158" fmla="*/ 2752725 h 4333875"/>
                  <a:gd name="connsiteX159" fmla="*/ 6781800 w 8601075"/>
                  <a:gd name="connsiteY159" fmla="*/ 2838450 h 4333875"/>
                  <a:gd name="connsiteX160" fmla="*/ 7010400 w 8601075"/>
                  <a:gd name="connsiteY160" fmla="*/ 2838450 h 4333875"/>
                  <a:gd name="connsiteX161" fmla="*/ 7162800 w 8601075"/>
                  <a:gd name="connsiteY161" fmla="*/ 2705100 h 4333875"/>
                  <a:gd name="connsiteX162" fmla="*/ 7229475 w 8601075"/>
                  <a:gd name="connsiteY162" fmla="*/ 2590800 h 4333875"/>
                  <a:gd name="connsiteX163" fmla="*/ 7248525 w 8601075"/>
                  <a:gd name="connsiteY163" fmla="*/ 2524125 h 4333875"/>
                  <a:gd name="connsiteX164" fmla="*/ 7372350 w 8601075"/>
                  <a:gd name="connsiteY164" fmla="*/ 2543175 h 4333875"/>
                  <a:gd name="connsiteX165" fmla="*/ 7553325 w 8601075"/>
                  <a:gd name="connsiteY165" fmla="*/ 2447925 h 4333875"/>
                  <a:gd name="connsiteX166" fmla="*/ 7620000 w 8601075"/>
                  <a:gd name="connsiteY166" fmla="*/ 2324100 h 4333875"/>
                  <a:gd name="connsiteX167" fmla="*/ 7696200 w 8601075"/>
                  <a:gd name="connsiteY167" fmla="*/ 2314575 h 4333875"/>
                  <a:gd name="connsiteX168" fmla="*/ 7658100 w 8601075"/>
                  <a:gd name="connsiteY168" fmla="*/ 2257425 h 4333875"/>
                  <a:gd name="connsiteX169" fmla="*/ 7753350 w 8601075"/>
                  <a:gd name="connsiteY169" fmla="*/ 2057400 h 4333875"/>
                  <a:gd name="connsiteX170" fmla="*/ 7934325 w 8601075"/>
                  <a:gd name="connsiteY170" fmla="*/ 2028825 h 4333875"/>
                  <a:gd name="connsiteX171" fmla="*/ 7953375 w 8601075"/>
                  <a:gd name="connsiteY171" fmla="*/ 1952625 h 4333875"/>
                  <a:gd name="connsiteX172" fmla="*/ 7953375 w 8601075"/>
                  <a:gd name="connsiteY172" fmla="*/ 1952625 h 4333875"/>
                  <a:gd name="connsiteX173" fmla="*/ 8010525 w 8601075"/>
                  <a:gd name="connsiteY173" fmla="*/ 1895475 h 4333875"/>
                  <a:gd name="connsiteX174" fmla="*/ 8048625 w 8601075"/>
                  <a:gd name="connsiteY174" fmla="*/ 1971675 h 4333875"/>
                  <a:gd name="connsiteX175" fmla="*/ 8077200 w 8601075"/>
                  <a:gd name="connsiteY175" fmla="*/ 1885950 h 4333875"/>
                  <a:gd name="connsiteX176" fmla="*/ 8220075 w 8601075"/>
                  <a:gd name="connsiteY176" fmla="*/ 1847850 h 4333875"/>
                  <a:gd name="connsiteX177" fmla="*/ 8296275 w 8601075"/>
                  <a:gd name="connsiteY177" fmla="*/ 1809750 h 4333875"/>
                  <a:gd name="connsiteX178" fmla="*/ 8324850 w 8601075"/>
                  <a:gd name="connsiteY178" fmla="*/ 1790700 h 4333875"/>
                  <a:gd name="connsiteX179" fmla="*/ 8410575 w 8601075"/>
                  <a:gd name="connsiteY179" fmla="*/ 1847850 h 4333875"/>
                  <a:gd name="connsiteX180" fmla="*/ 8505825 w 8601075"/>
                  <a:gd name="connsiteY180" fmla="*/ 1781175 h 4333875"/>
                  <a:gd name="connsiteX181" fmla="*/ 8572500 w 8601075"/>
                  <a:gd name="connsiteY181" fmla="*/ 1809750 h 4333875"/>
                  <a:gd name="connsiteX182" fmla="*/ 8601075 w 8601075"/>
                  <a:gd name="connsiteY182" fmla="*/ 1704975 h 4333875"/>
                  <a:gd name="connsiteX183" fmla="*/ 8553450 w 8601075"/>
                  <a:gd name="connsiteY183" fmla="*/ 1676400 h 4333875"/>
                  <a:gd name="connsiteX184" fmla="*/ 8534400 w 8601075"/>
                  <a:gd name="connsiteY184" fmla="*/ 1609725 h 4333875"/>
                  <a:gd name="connsiteX185" fmla="*/ 8277225 w 8601075"/>
                  <a:gd name="connsiteY185" fmla="*/ 1409700 h 4333875"/>
                  <a:gd name="connsiteX186" fmla="*/ 8277225 w 8601075"/>
                  <a:gd name="connsiteY186" fmla="*/ 1409700 h 4333875"/>
                  <a:gd name="connsiteX187" fmla="*/ 8277225 w 8601075"/>
                  <a:gd name="connsiteY187" fmla="*/ 1409700 h 4333875"/>
                  <a:gd name="connsiteX188" fmla="*/ 8124825 w 8601075"/>
                  <a:gd name="connsiteY188" fmla="*/ 1352550 h 4333875"/>
                  <a:gd name="connsiteX189" fmla="*/ 7924800 w 8601075"/>
                  <a:gd name="connsiteY189" fmla="*/ 1362075 h 4333875"/>
                  <a:gd name="connsiteX190" fmla="*/ 7867650 w 8601075"/>
                  <a:gd name="connsiteY190" fmla="*/ 1457325 h 4333875"/>
                  <a:gd name="connsiteX191" fmla="*/ 7896225 w 8601075"/>
                  <a:gd name="connsiteY191" fmla="*/ 1476375 h 4333875"/>
                  <a:gd name="connsiteX192" fmla="*/ 7858125 w 8601075"/>
                  <a:gd name="connsiteY192" fmla="*/ 1533525 h 4333875"/>
                  <a:gd name="connsiteX193" fmla="*/ 7658100 w 8601075"/>
                  <a:gd name="connsiteY193" fmla="*/ 1447800 h 4333875"/>
                  <a:gd name="connsiteX194" fmla="*/ 7515225 w 8601075"/>
                  <a:gd name="connsiteY194" fmla="*/ 1495425 h 4333875"/>
                  <a:gd name="connsiteX195" fmla="*/ 7467600 w 8601075"/>
                  <a:gd name="connsiteY195" fmla="*/ 1581150 h 4333875"/>
                  <a:gd name="connsiteX196" fmla="*/ 7296150 w 8601075"/>
                  <a:gd name="connsiteY19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95725 w 8601075"/>
                  <a:gd name="connsiteY43" fmla="*/ 695325 h 4333875"/>
                  <a:gd name="connsiteX44" fmla="*/ 3781425 w 8601075"/>
                  <a:gd name="connsiteY44" fmla="*/ 590550 h 4333875"/>
                  <a:gd name="connsiteX45" fmla="*/ 3810000 w 8601075"/>
                  <a:gd name="connsiteY45" fmla="*/ 514350 h 4333875"/>
                  <a:gd name="connsiteX46" fmla="*/ 3781425 w 8601075"/>
                  <a:gd name="connsiteY46" fmla="*/ 390525 h 4333875"/>
                  <a:gd name="connsiteX47" fmla="*/ 3771900 w 8601075"/>
                  <a:gd name="connsiteY47" fmla="*/ 352425 h 4333875"/>
                  <a:gd name="connsiteX48" fmla="*/ 3600450 w 8601075"/>
                  <a:gd name="connsiteY48" fmla="*/ 285750 h 4333875"/>
                  <a:gd name="connsiteX49" fmla="*/ 3533775 w 8601075"/>
                  <a:gd name="connsiteY49" fmla="*/ 314325 h 4333875"/>
                  <a:gd name="connsiteX50" fmla="*/ 3409950 w 8601075"/>
                  <a:gd name="connsiteY50" fmla="*/ 190500 h 4333875"/>
                  <a:gd name="connsiteX51" fmla="*/ 3257550 w 8601075"/>
                  <a:gd name="connsiteY51" fmla="*/ 180975 h 4333875"/>
                  <a:gd name="connsiteX52" fmla="*/ 3209925 w 8601075"/>
                  <a:gd name="connsiteY52" fmla="*/ 104775 h 4333875"/>
                  <a:gd name="connsiteX53" fmla="*/ 3152775 w 8601075"/>
                  <a:gd name="connsiteY53" fmla="*/ 104775 h 4333875"/>
                  <a:gd name="connsiteX54" fmla="*/ 2990850 w 8601075"/>
                  <a:gd name="connsiteY54" fmla="*/ 0 h 4333875"/>
                  <a:gd name="connsiteX55" fmla="*/ 2933700 w 8601075"/>
                  <a:gd name="connsiteY55" fmla="*/ 114300 h 4333875"/>
                  <a:gd name="connsiteX56" fmla="*/ 2867025 w 8601075"/>
                  <a:gd name="connsiteY56" fmla="*/ 171450 h 4333875"/>
                  <a:gd name="connsiteX57" fmla="*/ 2867025 w 8601075"/>
                  <a:gd name="connsiteY57" fmla="*/ 171450 h 4333875"/>
                  <a:gd name="connsiteX58" fmla="*/ 2800350 w 8601075"/>
                  <a:gd name="connsiteY58" fmla="*/ 257175 h 4333875"/>
                  <a:gd name="connsiteX59" fmla="*/ 2724150 w 8601075"/>
                  <a:gd name="connsiteY59" fmla="*/ 304800 h 4333875"/>
                  <a:gd name="connsiteX60" fmla="*/ 2705100 w 8601075"/>
                  <a:gd name="connsiteY60" fmla="*/ 466725 h 4333875"/>
                  <a:gd name="connsiteX61" fmla="*/ 2762250 w 8601075"/>
                  <a:gd name="connsiteY61" fmla="*/ 571500 h 4333875"/>
                  <a:gd name="connsiteX62" fmla="*/ 2800350 w 8601075"/>
                  <a:gd name="connsiteY62" fmla="*/ 628650 h 4333875"/>
                  <a:gd name="connsiteX63" fmla="*/ 2752725 w 8601075"/>
                  <a:gd name="connsiteY63" fmla="*/ 781050 h 4333875"/>
                  <a:gd name="connsiteX64" fmla="*/ 2686050 w 8601075"/>
                  <a:gd name="connsiteY64" fmla="*/ 857250 h 4333875"/>
                  <a:gd name="connsiteX65" fmla="*/ 2609850 w 8601075"/>
                  <a:gd name="connsiteY65" fmla="*/ 857250 h 4333875"/>
                  <a:gd name="connsiteX66" fmla="*/ 2514600 w 8601075"/>
                  <a:gd name="connsiteY66" fmla="*/ 914400 h 4333875"/>
                  <a:gd name="connsiteX67" fmla="*/ 2400300 w 8601075"/>
                  <a:gd name="connsiteY67" fmla="*/ 866775 h 4333875"/>
                  <a:gd name="connsiteX68" fmla="*/ 2305050 w 8601075"/>
                  <a:gd name="connsiteY68" fmla="*/ 809625 h 4333875"/>
                  <a:gd name="connsiteX69" fmla="*/ 2200275 w 8601075"/>
                  <a:gd name="connsiteY69" fmla="*/ 752475 h 4333875"/>
                  <a:gd name="connsiteX70" fmla="*/ 2105025 w 8601075"/>
                  <a:gd name="connsiteY70" fmla="*/ 762000 h 4333875"/>
                  <a:gd name="connsiteX71" fmla="*/ 1990725 w 8601075"/>
                  <a:gd name="connsiteY71" fmla="*/ 762000 h 4333875"/>
                  <a:gd name="connsiteX72" fmla="*/ 1885950 w 8601075"/>
                  <a:gd name="connsiteY72" fmla="*/ 742950 h 4333875"/>
                  <a:gd name="connsiteX73" fmla="*/ 1800225 w 8601075"/>
                  <a:gd name="connsiteY73" fmla="*/ 638175 h 4333875"/>
                  <a:gd name="connsiteX74" fmla="*/ 1809750 w 8601075"/>
                  <a:gd name="connsiteY74" fmla="*/ 495300 h 4333875"/>
                  <a:gd name="connsiteX75" fmla="*/ 1733550 w 8601075"/>
                  <a:gd name="connsiteY75" fmla="*/ 466725 h 4333875"/>
                  <a:gd name="connsiteX76" fmla="*/ 1485900 w 8601075"/>
                  <a:gd name="connsiteY76" fmla="*/ 419100 h 4333875"/>
                  <a:gd name="connsiteX77" fmla="*/ 1457325 w 8601075"/>
                  <a:gd name="connsiteY77" fmla="*/ 323850 h 4333875"/>
                  <a:gd name="connsiteX78" fmla="*/ 1457325 w 8601075"/>
                  <a:gd name="connsiteY78" fmla="*/ 323850 h 4333875"/>
                  <a:gd name="connsiteX79" fmla="*/ 1323975 w 8601075"/>
                  <a:gd name="connsiteY79" fmla="*/ 285750 h 4333875"/>
                  <a:gd name="connsiteX80" fmla="*/ 1266825 w 8601075"/>
                  <a:gd name="connsiteY80" fmla="*/ 352425 h 4333875"/>
                  <a:gd name="connsiteX81" fmla="*/ 1009650 w 8601075"/>
                  <a:gd name="connsiteY81" fmla="*/ 390525 h 4333875"/>
                  <a:gd name="connsiteX82" fmla="*/ 828675 w 8601075"/>
                  <a:gd name="connsiteY82" fmla="*/ 447675 h 4333875"/>
                  <a:gd name="connsiteX83" fmla="*/ 619125 w 8601075"/>
                  <a:gd name="connsiteY83" fmla="*/ 533400 h 4333875"/>
                  <a:gd name="connsiteX84" fmla="*/ 619125 w 8601075"/>
                  <a:gd name="connsiteY84" fmla="*/ 533400 h 4333875"/>
                  <a:gd name="connsiteX85" fmla="*/ 561975 w 8601075"/>
                  <a:gd name="connsiteY85" fmla="*/ 619125 h 4333875"/>
                  <a:gd name="connsiteX86" fmla="*/ 447675 w 8601075"/>
                  <a:gd name="connsiteY86" fmla="*/ 63817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295275 w 8601075"/>
                  <a:gd name="connsiteY89" fmla="*/ 657225 h 4333875"/>
                  <a:gd name="connsiteX90" fmla="*/ 180975 w 8601075"/>
                  <a:gd name="connsiteY90" fmla="*/ 638175 h 4333875"/>
                  <a:gd name="connsiteX91" fmla="*/ 180975 w 8601075"/>
                  <a:gd name="connsiteY91" fmla="*/ 638175 h 4333875"/>
                  <a:gd name="connsiteX92" fmla="*/ 57150 w 8601075"/>
                  <a:gd name="connsiteY92" fmla="*/ 733425 h 4333875"/>
                  <a:gd name="connsiteX93" fmla="*/ 19050 w 8601075"/>
                  <a:gd name="connsiteY93" fmla="*/ 790575 h 4333875"/>
                  <a:gd name="connsiteX94" fmla="*/ 0 w 8601075"/>
                  <a:gd name="connsiteY94" fmla="*/ 876300 h 4333875"/>
                  <a:gd name="connsiteX95" fmla="*/ 57150 w 8601075"/>
                  <a:gd name="connsiteY95" fmla="*/ 923925 h 4333875"/>
                  <a:gd name="connsiteX96" fmla="*/ 57150 w 8601075"/>
                  <a:gd name="connsiteY96" fmla="*/ 923925 h 4333875"/>
                  <a:gd name="connsiteX97" fmla="*/ 209550 w 8601075"/>
                  <a:gd name="connsiteY97" fmla="*/ 1114425 h 4333875"/>
                  <a:gd name="connsiteX98" fmla="*/ 209550 w 8601075"/>
                  <a:gd name="connsiteY98" fmla="*/ 1114425 h 4333875"/>
                  <a:gd name="connsiteX99" fmla="*/ 266700 w 8601075"/>
                  <a:gd name="connsiteY99" fmla="*/ 1295400 h 4333875"/>
                  <a:gd name="connsiteX100" fmla="*/ 409575 w 8601075"/>
                  <a:gd name="connsiteY100" fmla="*/ 1276350 h 4333875"/>
                  <a:gd name="connsiteX101" fmla="*/ 466725 w 8601075"/>
                  <a:gd name="connsiteY101" fmla="*/ 1362075 h 4333875"/>
                  <a:gd name="connsiteX102" fmla="*/ 542925 w 8601075"/>
                  <a:gd name="connsiteY102" fmla="*/ 1428750 h 4333875"/>
                  <a:gd name="connsiteX103" fmla="*/ 628650 w 8601075"/>
                  <a:gd name="connsiteY103" fmla="*/ 1571625 h 4333875"/>
                  <a:gd name="connsiteX104" fmla="*/ 628650 w 8601075"/>
                  <a:gd name="connsiteY104" fmla="*/ 1704975 h 4333875"/>
                  <a:gd name="connsiteX105" fmla="*/ 676275 w 8601075"/>
                  <a:gd name="connsiteY105" fmla="*/ 1771650 h 4333875"/>
                  <a:gd name="connsiteX106" fmla="*/ 657225 w 8601075"/>
                  <a:gd name="connsiteY106" fmla="*/ 2000250 h 4333875"/>
                  <a:gd name="connsiteX107" fmla="*/ 619125 w 8601075"/>
                  <a:gd name="connsiteY107" fmla="*/ 2095500 h 4333875"/>
                  <a:gd name="connsiteX108" fmla="*/ 542925 w 8601075"/>
                  <a:gd name="connsiteY108" fmla="*/ 2228850 h 4333875"/>
                  <a:gd name="connsiteX109" fmla="*/ 485775 w 8601075"/>
                  <a:gd name="connsiteY109" fmla="*/ 2362200 h 4333875"/>
                  <a:gd name="connsiteX110" fmla="*/ 552450 w 8601075"/>
                  <a:gd name="connsiteY110" fmla="*/ 2486025 h 4333875"/>
                  <a:gd name="connsiteX111" fmla="*/ 771525 w 8601075"/>
                  <a:gd name="connsiteY111" fmla="*/ 2571750 h 4333875"/>
                  <a:gd name="connsiteX112" fmla="*/ 866775 w 8601075"/>
                  <a:gd name="connsiteY112" fmla="*/ 2571750 h 4333875"/>
                  <a:gd name="connsiteX113" fmla="*/ 914400 w 8601075"/>
                  <a:gd name="connsiteY113" fmla="*/ 2638425 h 4333875"/>
                  <a:gd name="connsiteX114" fmla="*/ 1066800 w 8601075"/>
                  <a:gd name="connsiteY114" fmla="*/ 2638425 h 4333875"/>
                  <a:gd name="connsiteX115" fmla="*/ 1285875 w 8601075"/>
                  <a:gd name="connsiteY115" fmla="*/ 2705100 h 4333875"/>
                  <a:gd name="connsiteX116" fmla="*/ 1438275 w 8601075"/>
                  <a:gd name="connsiteY116" fmla="*/ 2838450 h 4333875"/>
                  <a:gd name="connsiteX117" fmla="*/ 1485900 w 8601075"/>
                  <a:gd name="connsiteY117" fmla="*/ 2914650 h 4333875"/>
                  <a:gd name="connsiteX118" fmla="*/ 1657350 w 8601075"/>
                  <a:gd name="connsiteY118" fmla="*/ 3038475 h 4333875"/>
                  <a:gd name="connsiteX119" fmla="*/ 1752600 w 8601075"/>
                  <a:gd name="connsiteY119" fmla="*/ 3057525 h 4333875"/>
                  <a:gd name="connsiteX120" fmla="*/ 1724025 w 8601075"/>
                  <a:gd name="connsiteY120" fmla="*/ 3143250 h 4333875"/>
                  <a:gd name="connsiteX121" fmla="*/ 1724025 w 8601075"/>
                  <a:gd name="connsiteY121" fmla="*/ 3143250 h 4333875"/>
                  <a:gd name="connsiteX122" fmla="*/ 1781175 w 8601075"/>
                  <a:gd name="connsiteY122" fmla="*/ 3181350 h 4333875"/>
                  <a:gd name="connsiteX123" fmla="*/ 1819275 w 8601075"/>
                  <a:gd name="connsiteY123" fmla="*/ 3362325 h 4333875"/>
                  <a:gd name="connsiteX124" fmla="*/ 1828800 w 8601075"/>
                  <a:gd name="connsiteY124" fmla="*/ 3457575 h 4333875"/>
                  <a:gd name="connsiteX125" fmla="*/ 1971675 w 8601075"/>
                  <a:gd name="connsiteY125" fmla="*/ 3590925 h 4333875"/>
                  <a:gd name="connsiteX126" fmla="*/ 1990725 w 8601075"/>
                  <a:gd name="connsiteY126" fmla="*/ 3714750 h 4333875"/>
                  <a:gd name="connsiteX127" fmla="*/ 2200275 w 8601075"/>
                  <a:gd name="connsiteY127" fmla="*/ 3695700 h 4333875"/>
                  <a:gd name="connsiteX128" fmla="*/ 2886075 w 8601075"/>
                  <a:gd name="connsiteY128" fmla="*/ 3886200 h 4333875"/>
                  <a:gd name="connsiteX129" fmla="*/ 3038475 w 8601075"/>
                  <a:gd name="connsiteY129" fmla="*/ 3819525 h 4333875"/>
                  <a:gd name="connsiteX130" fmla="*/ 3105150 w 8601075"/>
                  <a:gd name="connsiteY130" fmla="*/ 3867150 h 4333875"/>
                  <a:gd name="connsiteX131" fmla="*/ 3181350 w 8601075"/>
                  <a:gd name="connsiteY131" fmla="*/ 3800475 h 4333875"/>
                  <a:gd name="connsiteX132" fmla="*/ 3590925 w 8601075"/>
                  <a:gd name="connsiteY132" fmla="*/ 3943350 h 4333875"/>
                  <a:gd name="connsiteX133" fmla="*/ 3686175 w 8601075"/>
                  <a:gd name="connsiteY133" fmla="*/ 4057650 h 4333875"/>
                  <a:gd name="connsiteX134" fmla="*/ 3838575 w 8601075"/>
                  <a:gd name="connsiteY134" fmla="*/ 4057650 h 4333875"/>
                  <a:gd name="connsiteX135" fmla="*/ 4162425 w 8601075"/>
                  <a:gd name="connsiteY135" fmla="*/ 4248150 h 4333875"/>
                  <a:gd name="connsiteX136" fmla="*/ 4391025 w 8601075"/>
                  <a:gd name="connsiteY136" fmla="*/ 4200525 h 4333875"/>
                  <a:gd name="connsiteX137" fmla="*/ 4410075 w 8601075"/>
                  <a:gd name="connsiteY137" fmla="*/ 4305300 h 4333875"/>
                  <a:gd name="connsiteX138" fmla="*/ 4505325 w 8601075"/>
                  <a:gd name="connsiteY138" fmla="*/ 4276725 h 4333875"/>
                  <a:gd name="connsiteX139" fmla="*/ 4572000 w 8601075"/>
                  <a:gd name="connsiteY139" fmla="*/ 4333875 h 4333875"/>
                  <a:gd name="connsiteX140" fmla="*/ 4591050 w 8601075"/>
                  <a:gd name="connsiteY140" fmla="*/ 4248150 h 4333875"/>
                  <a:gd name="connsiteX141" fmla="*/ 5295900 w 8601075"/>
                  <a:gd name="connsiteY141" fmla="*/ 3924300 h 4333875"/>
                  <a:gd name="connsiteX142" fmla="*/ 5353050 w 8601075"/>
                  <a:gd name="connsiteY142" fmla="*/ 3990975 h 4333875"/>
                  <a:gd name="connsiteX143" fmla="*/ 5524500 w 8601075"/>
                  <a:gd name="connsiteY143" fmla="*/ 3914775 h 4333875"/>
                  <a:gd name="connsiteX144" fmla="*/ 5667375 w 8601075"/>
                  <a:gd name="connsiteY144" fmla="*/ 3962400 h 4333875"/>
                  <a:gd name="connsiteX145" fmla="*/ 5753100 w 8601075"/>
                  <a:gd name="connsiteY145" fmla="*/ 3924300 h 4333875"/>
                  <a:gd name="connsiteX146" fmla="*/ 5905500 w 8601075"/>
                  <a:gd name="connsiteY146" fmla="*/ 3943350 h 4333875"/>
                  <a:gd name="connsiteX147" fmla="*/ 6000750 w 8601075"/>
                  <a:gd name="connsiteY147" fmla="*/ 3800475 h 4333875"/>
                  <a:gd name="connsiteX148" fmla="*/ 6153150 w 8601075"/>
                  <a:gd name="connsiteY148" fmla="*/ 3781425 h 4333875"/>
                  <a:gd name="connsiteX149" fmla="*/ 6257925 w 8601075"/>
                  <a:gd name="connsiteY149" fmla="*/ 3581400 h 4333875"/>
                  <a:gd name="connsiteX150" fmla="*/ 6448425 w 8601075"/>
                  <a:gd name="connsiteY150" fmla="*/ 3448050 h 4333875"/>
                  <a:gd name="connsiteX151" fmla="*/ 6581775 w 8601075"/>
                  <a:gd name="connsiteY151" fmla="*/ 3276600 h 4333875"/>
                  <a:gd name="connsiteX152" fmla="*/ 6496050 w 8601075"/>
                  <a:gd name="connsiteY152" fmla="*/ 3228975 h 4333875"/>
                  <a:gd name="connsiteX153" fmla="*/ 6438900 w 8601075"/>
                  <a:gd name="connsiteY153" fmla="*/ 3162300 h 4333875"/>
                  <a:gd name="connsiteX154" fmla="*/ 6419850 w 8601075"/>
                  <a:gd name="connsiteY154" fmla="*/ 3105150 h 4333875"/>
                  <a:gd name="connsiteX155" fmla="*/ 6362700 w 8601075"/>
                  <a:gd name="connsiteY155" fmla="*/ 3076575 h 4333875"/>
                  <a:gd name="connsiteX156" fmla="*/ 6410325 w 8601075"/>
                  <a:gd name="connsiteY156" fmla="*/ 3019425 h 4333875"/>
                  <a:gd name="connsiteX157" fmla="*/ 6438900 w 8601075"/>
                  <a:gd name="connsiteY157" fmla="*/ 2819400 h 4333875"/>
                  <a:gd name="connsiteX158" fmla="*/ 6496050 w 8601075"/>
                  <a:gd name="connsiteY158" fmla="*/ 2762250 h 4333875"/>
                  <a:gd name="connsiteX159" fmla="*/ 6657975 w 8601075"/>
                  <a:gd name="connsiteY159" fmla="*/ 2752725 h 4333875"/>
                  <a:gd name="connsiteX160" fmla="*/ 6781800 w 8601075"/>
                  <a:gd name="connsiteY160" fmla="*/ 2838450 h 4333875"/>
                  <a:gd name="connsiteX161" fmla="*/ 7010400 w 8601075"/>
                  <a:gd name="connsiteY161" fmla="*/ 2838450 h 4333875"/>
                  <a:gd name="connsiteX162" fmla="*/ 7162800 w 8601075"/>
                  <a:gd name="connsiteY162" fmla="*/ 2705100 h 4333875"/>
                  <a:gd name="connsiteX163" fmla="*/ 7229475 w 8601075"/>
                  <a:gd name="connsiteY163" fmla="*/ 2590800 h 4333875"/>
                  <a:gd name="connsiteX164" fmla="*/ 7248525 w 8601075"/>
                  <a:gd name="connsiteY164" fmla="*/ 2524125 h 4333875"/>
                  <a:gd name="connsiteX165" fmla="*/ 7372350 w 8601075"/>
                  <a:gd name="connsiteY165" fmla="*/ 2543175 h 4333875"/>
                  <a:gd name="connsiteX166" fmla="*/ 7553325 w 8601075"/>
                  <a:gd name="connsiteY166" fmla="*/ 2447925 h 4333875"/>
                  <a:gd name="connsiteX167" fmla="*/ 7620000 w 8601075"/>
                  <a:gd name="connsiteY167" fmla="*/ 2324100 h 4333875"/>
                  <a:gd name="connsiteX168" fmla="*/ 7696200 w 8601075"/>
                  <a:gd name="connsiteY168" fmla="*/ 2314575 h 4333875"/>
                  <a:gd name="connsiteX169" fmla="*/ 7658100 w 8601075"/>
                  <a:gd name="connsiteY169" fmla="*/ 2257425 h 4333875"/>
                  <a:gd name="connsiteX170" fmla="*/ 7753350 w 8601075"/>
                  <a:gd name="connsiteY170" fmla="*/ 2057400 h 4333875"/>
                  <a:gd name="connsiteX171" fmla="*/ 7934325 w 8601075"/>
                  <a:gd name="connsiteY171" fmla="*/ 2028825 h 4333875"/>
                  <a:gd name="connsiteX172" fmla="*/ 7953375 w 8601075"/>
                  <a:gd name="connsiteY172" fmla="*/ 1952625 h 4333875"/>
                  <a:gd name="connsiteX173" fmla="*/ 7953375 w 8601075"/>
                  <a:gd name="connsiteY173" fmla="*/ 1952625 h 4333875"/>
                  <a:gd name="connsiteX174" fmla="*/ 8010525 w 8601075"/>
                  <a:gd name="connsiteY174" fmla="*/ 1895475 h 4333875"/>
                  <a:gd name="connsiteX175" fmla="*/ 8048625 w 8601075"/>
                  <a:gd name="connsiteY175" fmla="*/ 1971675 h 4333875"/>
                  <a:gd name="connsiteX176" fmla="*/ 8077200 w 8601075"/>
                  <a:gd name="connsiteY176" fmla="*/ 1885950 h 4333875"/>
                  <a:gd name="connsiteX177" fmla="*/ 8220075 w 8601075"/>
                  <a:gd name="connsiteY177" fmla="*/ 1847850 h 4333875"/>
                  <a:gd name="connsiteX178" fmla="*/ 8296275 w 8601075"/>
                  <a:gd name="connsiteY178" fmla="*/ 1809750 h 4333875"/>
                  <a:gd name="connsiteX179" fmla="*/ 8324850 w 8601075"/>
                  <a:gd name="connsiteY179" fmla="*/ 1790700 h 4333875"/>
                  <a:gd name="connsiteX180" fmla="*/ 8410575 w 8601075"/>
                  <a:gd name="connsiteY180" fmla="*/ 1847850 h 4333875"/>
                  <a:gd name="connsiteX181" fmla="*/ 8505825 w 8601075"/>
                  <a:gd name="connsiteY181" fmla="*/ 1781175 h 4333875"/>
                  <a:gd name="connsiteX182" fmla="*/ 8572500 w 8601075"/>
                  <a:gd name="connsiteY182" fmla="*/ 1809750 h 4333875"/>
                  <a:gd name="connsiteX183" fmla="*/ 8601075 w 8601075"/>
                  <a:gd name="connsiteY183" fmla="*/ 1704975 h 4333875"/>
                  <a:gd name="connsiteX184" fmla="*/ 8553450 w 8601075"/>
                  <a:gd name="connsiteY184" fmla="*/ 1676400 h 4333875"/>
                  <a:gd name="connsiteX185" fmla="*/ 8534400 w 8601075"/>
                  <a:gd name="connsiteY185" fmla="*/ 1609725 h 4333875"/>
                  <a:gd name="connsiteX186" fmla="*/ 8277225 w 8601075"/>
                  <a:gd name="connsiteY186" fmla="*/ 1409700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124825 w 8601075"/>
                  <a:gd name="connsiteY189" fmla="*/ 1352550 h 4333875"/>
                  <a:gd name="connsiteX190" fmla="*/ 7924800 w 8601075"/>
                  <a:gd name="connsiteY190" fmla="*/ 1362075 h 4333875"/>
                  <a:gd name="connsiteX191" fmla="*/ 7867650 w 8601075"/>
                  <a:gd name="connsiteY191" fmla="*/ 1457325 h 4333875"/>
                  <a:gd name="connsiteX192" fmla="*/ 7896225 w 8601075"/>
                  <a:gd name="connsiteY192" fmla="*/ 1476375 h 4333875"/>
                  <a:gd name="connsiteX193" fmla="*/ 7858125 w 8601075"/>
                  <a:gd name="connsiteY193" fmla="*/ 1533525 h 4333875"/>
                  <a:gd name="connsiteX194" fmla="*/ 7658100 w 8601075"/>
                  <a:gd name="connsiteY194" fmla="*/ 1447800 h 4333875"/>
                  <a:gd name="connsiteX195" fmla="*/ 7515225 w 8601075"/>
                  <a:gd name="connsiteY195" fmla="*/ 1495425 h 4333875"/>
                  <a:gd name="connsiteX196" fmla="*/ 7467600 w 8601075"/>
                  <a:gd name="connsiteY196" fmla="*/ 1581150 h 4333875"/>
                  <a:gd name="connsiteX197" fmla="*/ 7296150 w 8601075"/>
                  <a:gd name="connsiteY19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95725 w 8601075"/>
                  <a:gd name="connsiteY43" fmla="*/ 695325 h 4333875"/>
                  <a:gd name="connsiteX44" fmla="*/ 3874294 w 8601075"/>
                  <a:gd name="connsiteY44" fmla="*/ 669131 h 4333875"/>
                  <a:gd name="connsiteX45" fmla="*/ 3781425 w 8601075"/>
                  <a:gd name="connsiteY45" fmla="*/ 590550 h 4333875"/>
                  <a:gd name="connsiteX46" fmla="*/ 3810000 w 8601075"/>
                  <a:gd name="connsiteY46" fmla="*/ 514350 h 4333875"/>
                  <a:gd name="connsiteX47" fmla="*/ 3781425 w 8601075"/>
                  <a:gd name="connsiteY47" fmla="*/ 390525 h 4333875"/>
                  <a:gd name="connsiteX48" fmla="*/ 3771900 w 8601075"/>
                  <a:gd name="connsiteY48" fmla="*/ 352425 h 4333875"/>
                  <a:gd name="connsiteX49" fmla="*/ 3600450 w 8601075"/>
                  <a:gd name="connsiteY49" fmla="*/ 285750 h 4333875"/>
                  <a:gd name="connsiteX50" fmla="*/ 3533775 w 8601075"/>
                  <a:gd name="connsiteY50" fmla="*/ 314325 h 4333875"/>
                  <a:gd name="connsiteX51" fmla="*/ 3409950 w 8601075"/>
                  <a:gd name="connsiteY51" fmla="*/ 190500 h 4333875"/>
                  <a:gd name="connsiteX52" fmla="*/ 3257550 w 8601075"/>
                  <a:gd name="connsiteY52" fmla="*/ 180975 h 4333875"/>
                  <a:gd name="connsiteX53" fmla="*/ 3209925 w 8601075"/>
                  <a:gd name="connsiteY53" fmla="*/ 104775 h 4333875"/>
                  <a:gd name="connsiteX54" fmla="*/ 3152775 w 8601075"/>
                  <a:gd name="connsiteY54" fmla="*/ 104775 h 4333875"/>
                  <a:gd name="connsiteX55" fmla="*/ 2990850 w 8601075"/>
                  <a:gd name="connsiteY55" fmla="*/ 0 h 4333875"/>
                  <a:gd name="connsiteX56" fmla="*/ 2933700 w 8601075"/>
                  <a:gd name="connsiteY56" fmla="*/ 114300 h 4333875"/>
                  <a:gd name="connsiteX57" fmla="*/ 2867025 w 8601075"/>
                  <a:gd name="connsiteY57" fmla="*/ 171450 h 4333875"/>
                  <a:gd name="connsiteX58" fmla="*/ 2867025 w 8601075"/>
                  <a:gd name="connsiteY58" fmla="*/ 171450 h 4333875"/>
                  <a:gd name="connsiteX59" fmla="*/ 2800350 w 8601075"/>
                  <a:gd name="connsiteY59" fmla="*/ 257175 h 4333875"/>
                  <a:gd name="connsiteX60" fmla="*/ 2724150 w 8601075"/>
                  <a:gd name="connsiteY60" fmla="*/ 304800 h 4333875"/>
                  <a:gd name="connsiteX61" fmla="*/ 2705100 w 8601075"/>
                  <a:gd name="connsiteY61" fmla="*/ 466725 h 4333875"/>
                  <a:gd name="connsiteX62" fmla="*/ 2762250 w 8601075"/>
                  <a:gd name="connsiteY62" fmla="*/ 571500 h 4333875"/>
                  <a:gd name="connsiteX63" fmla="*/ 2800350 w 8601075"/>
                  <a:gd name="connsiteY63" fmla="*/ 628650 h 4333875"/>
                  <a:gd name="connsiteX64" fmla="*/ 2752725 w 8601075"/>
                  <a:gd name="connsiteY64" fmla="*/ 781050 h 4333875"/>
                  <a:gd name="connsiteX65" fmla="*/ 2686050 w 8601075"/>
                  <a:gd name="connsiteY65" fmla="*/ 857250 h 4333875"/>
                  <a:gd name="connsiteX66" fmla="*/ 2609850 w 8601075"/>
                  <a:gd name="connsiteY66" fmla="*/ 857250 h 4333875"/>
                  <a:gd name="connsiteX67" fmla="*/ 2514600 w 8601075"/>
                  <a:gd name="connsiteY67" fmla="*/ 914400 h 4333875"/>
                  <a:gd name="connsiteX68" fmla="*/ 2400300 w 8601075"/>
                  <a:gd name="connsiteY68" fmla="*/ 866775 h 4333875"/>
                  <a:gd name="connsiteX69" fmla="*/ 2305050 w 8601075"/>
                  <a:gd name="connsiteY69" fmla="*/ 809625 h 4333875"/>
                  <a:gd name="connsiteX70" fmla="*/ 2200275 w 8601075"/>
                  <a:gd name="connsiteY70" fmla="*/ 752475 h 4333875"/>
                  <a:gd name="connsiteX71" fmla="*/ 2105025 w 8601075"/>
                  <a:gd name="connsiteY71" fmla="*/ 762000 h 4333875"/>
                  <a:gd name="connsiteX72" fmla="*/ 1990725 w 8601075"/>
                  <a:gd name="connsiteY72" fmla="*/ 762000 h 4333875"/>
                  <a:gd name="connsiteX73" fmla="*/ 1885950 w 8601075"/>
                  <a:gd name="connsiteY73" fmla="*/ 742950 h 4333875"/>
                  <a:gd name="connsiteX74" fmla="*/ 1800225 w 8601075"/>
                  <a:gd name="connsiteY74" fmla="*/ 638175 h 4333875"/>
                  <a:gd name="connsiteX75" fmla="*/ 1809750 w 8601075"/>
                  <a:gd name="connsiteY75" fmla="*/ 495300 h 4333875"/>
                  <a:gd name="connsiteX76" fmla="*/ 1733550 w 8601075"/>
                  <a:gd name="connsiteY76" fmla="*/ 466725 h 4333875"/>
                  <a:gd name="connsiteX77" fmla="*/ 1485900 w 8601075"/>
                  <a:gd name="connsiteY77" fmla="*/ 419100 h 4333875"/>
                  <a:gd name="connsiteX78" fmla="*/ 1457325 w 8601075"/>
                  <a:gd name="connsiteY78" fmla="*/ 323850 h 4333875"/>
                  <a:gd name="connsiteX79" fmla="*/ 1457325 w 8601075"/>
                  <a:gd name="connsiteY79" fmla="*/ 323850 h 4333875"/>
                  <a:gd name="connsiteX80" fmla="*/ 1323975 w 8601075"/>
                  <a:gd name="connsiteY80" fmla="*/ 285750 h 4333875"/>
                  <a:gd name="connsiteX81" fmla="*/ 1266825 w 8601075"/>
                  <a:gd name="connsiteY81" fmla="*/ 352425 h 4333875"/>
                  <a:gd name="connsiteX82" fmla="*/ 1009650 w 8601075"/>
                  <a:gd name="connsiteY82" fmla="*/ 390525 h 4333875"/>
                  <a:gd name="connsiteX83" fmla="*/ 828675 w 8601075"/>
                  <a:gd name="connsiteY83" fmla="*/ 447675 h 4333875"/>
                  <a:gd name="connsiteX84" fmla="*/ 619125 w 8601075"/>
                  <a:gd name="connsiteY84" fmla="*/ 533400 h 4333875"/>
                  <a:gd name="connsiteX85" fmla="*/ 619125 w 8601075"/>
                  <a:gd name="connsiteY85" fmla="*/ 533400 h 4333875"/>
                  <a:gd name="connsiteX86" fmla="*/ 561975 w 8601075"/>
                  <a:gd name="connsiteY86" fmla="*/ 61912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295275 w 8601075"/>
                  <a:gd name="connsiteY90" fmla="*/ 657225 h 4333875"/>
                  <a:gd name="connsiteX91" fmla="*/ 180975 w 8601075"/>
                  <a:gd name="connsiteY91" fmla="*/ 638175 h 4333875"/>
                  <a:gd name="connsiteX92" fmla="*/ 180975 w 8601075"/>
                  <a:gd name="connsiteY92" fmla="*/ 638175 h 4333875"/>
                  <a:gd name="connsiteX93" fmla="*/ 57150 w 8601075"/>
                  <a:gd name="connsiteY93" fmla="*/ 733425 h 4333875"/>
                  <a:gd name="connsiteX94" fmla="*/ 19050 w 8601075"/>
                  <a:gd name="connsiteY94" fmla="*/ 790575 h 4333875"/>
                  <a:gd name="connsiteX95" fmla="*/ 0 w 8601075"/>
                  <a:gd name="connsiteY95" fmla="*/ 876300 h 4333875"/>
                  <a:gd name="connsiteX96" fmla="*/ 57150 w 8601075"/>
                  <a:gd name="connsiteY96" fmla="*/ 923925 h 4333875"/>
                  <a:gd name="connsiteX97" fmla="*/ 57150 w 8601075"/>
                  <a:gd name="connsiteY97" fmla="*/ 923925 h 4333875"/>
                  <a:gd name="connsiteX98" fmla="*/ 209550 w 8601075"/>
                  <a:gd name="connsiteY98" fmla="*/ 1114425 h 4333875"/>
                  <a:gd name="connsiteX99" fmla="*/ 209550 w 8601075"/>
                  <a:gd name="connsiteY99" fmla="*/ 1114425 h 4333875"/>
                  <a:gd name="connsiteX100" fmla="*/ 266700 w 8601075"/>
                  <a:gd name="connsiteY100" fmla="*/ 1295400 h 4333875"/>
                  <a:gd name="connsiteX101" fmla="*/ 409575 w 8601075"/>
                  <a:gd name="connsiteY101" fmla="*/ 1276350 h 4333875"/>
                  <a:gd name="connsiteX102" fmla="*/ 466725 w 8601075"/>
                  <a:gd name="connsiteY102" fmla="*/ 1362075 h 4333875"/>
                  <a:gd name="connsiteX103" fmla="*/ 542925 w 8601075"/>
                  <a:gd name="connsiteY103" fmla="*/ 1428750 h 4333875"/>
                  <a:gd name="connsiteX104" fmla="*/ 628650 w 8601075"/>
                  <a:gd name="connsiteY104" fmla="*/ 1571625 h 4333875"/>
                  <a:gd name="connsiteX105" fmla="*/ 628650 w 8601075"/>
                  <a:gd name="connsiteY105" fmla="*/ 1704975 h 4333875"/>
                  <a:gd name="connsiteX106" fmla="*/ 676275 w 8601075"/>
                  <a:gd name="connsiteY106" fmla="*/ 1771650 h 4333875"/>
                  <a:gd name="connsiteX107" fmla="*/ 657225 w 8601075"/>
                  <a:gd name="connsiteY107" fmla="*/ 2000250 h 4333875"/>
                  <a:gd name="connsiteX108" fmla="*/ 619125 w 8601075"/>
                  <a:gd name="connsiteY108" fmla="*/ 2095500 h 4333875"/>
                  <a:gd name="connsiteX109" fmla="*/ 542925 w 8601075"/>
                  <a:gd name="connsiteY109" fmla="*/ 2228850 h 4333875"/>
                  <a:gd name="connsiteX110" fmla="*/ 485775 w 8601075"/>
                  <a:gd name="connsiteY110" fmla="*/ 2362200 h 4333875"/>
                  <a:gd name="connsiteX111" fmla="*/ 552450 w 8601075"/>
                  <a:gd name="connsiteY111" fmla="*/ 2486025 h 4333875"/>
                  <a:gd name="connsiteX112" fmla="*/ 771525 w 8601075"/>
                  <a:gd name="connsiteY112" fmla="*/ 2571750 h 4333875"/>
                  <a:gd name="connsiteX113" fmla="*/ 866775 w 8601075"/>
                  <a:gd name="connsiteY113" fmla="*/ 2571750 h 4333875"/>
                  <a:gd name="connsiteX114" fmla="*/ 914400 w 8601075"/>
                  <a:gd name="connsiteY114" fmla="*/ 2638425 h 4333875"/>
                  <a:gd name="connsiteX115" fmla="*/ 1066800 w 8601075"/>
                  <a:gd name="connsiteY115" fmla="*/ 2638425 h 4333875"/>
                  <a:gd name="connsiteX116" fmla="*/ 1285875 w 8601075"/>
                  <a:gd name="connsiteY116" fmla="*/ 2705100 h 4333875"/>
                  <a:gd name="connsiteX117" fmla="*/ 1438275 w 8601075"/>
                  <a:gd name="connsiteY117" fmla="*/ 2838450 h 4333875"/>
                  <a:gd name="connsiteX118" fmla="*/ 1485900 w 8601075"/>
                  <a:gd name="connsiteY118" fmla="*/ 2914650 h 4333875"/>
                  <a:gd name="connsiteX119" fmla="*/ 1657350 w 8601075"/>
                  <a:gd name="connsiteY119" fmla="*/ 3038475 h 4333875"/>
                  <a:gd name="connsiteX120" fmla="*/ 1752600 w 8601075"/>
                  <a:gd name="connsiteY120" fmla="*/ 3057525 h 4333875"/>
                  <a:gd name="connsiteX121" fmla="*/ 1724025 w 8601075"/>
                  <a:gd name="connsiteY121" fmla="*/ 3143250 h 4333875"/>
                  <a:gd name="connsiteX122" fmla="*/ 1724025 w 8601075"/>
                  <a:gd name="connsiteY122" fmla="*/ 3143250 h 4333875"/>
                  <a:gd name="connsiteX123" fmla="*/ 1781175 w 8601075"/>
                  <a:gd name="connsiteY123" fmla="*/ 3181350 h 4333875"/>
                  <a:gd name="connsiteX124" fmla="*/ 1819275 w 8601075"/>
                  <a:gd name="connsiteY124" fmla="*/ 3362325 h 4333875"/>
                  <a:gd name="connsiteX125" fmla="*/ 1828800 w 8601075"/>
                  <a:gd name="connsiteY125" fmla="*/ 3457575 h 4333875"/>
                  <a:gd name="connsiteX126" fmla="*/ 1971675 w 8601075"/>
                  <a:gd name="connsiteY126" fmla="*/ 3590925 h 4333875"/>
                  <a:gd name="connsiteX127" fmla="*/ 1990725 w 8601075"/>
                  <a:gd name="connsiteY127" fmla="*/ 3714750 h 4333875"/>
                  <a:gd name="connsiteX128" fmla="*/ 2200275 w 8601075"/>
                  <a:gd name="connsiteY128" fmla="*/ 3695700 h 4333875"/>
                  <a:gd name="connsiteX129" fmla="*/ 2886075 w 8601075"/>
                  <a:gd name="connsiteY129" fmla="*/ 3886200 h 4333875"/>
                  <a:gd name="connsiteX130" fmla="*/ 3038475 w 8601075"/>
                  <a:gd name="connsiteY130" fmla="*/ 3819525 h 4333875"/>
                  <a:gd name="connsiteX131" fmla="*/ 3105150 w 8601075"/>
                  <a:gd name="connsiteY131" fmla="*/ 3867150 h 4333875"/>
                  <a:gd name="connsiteX132" fmla="*/ 3181350 w 8601075"/>
                  <a:gd name="connsiteY132" fmla="*/ 3800475 h 4333875"/>
                  <a:gd name="connsiteX133" fmla="*/ 3590925 w 8601075"/>
                  <a:gd name="connsiteY133" fmla="*/ 3943350 h 4333875"/>
                  <a:gd name="connsiteX134" fmla="*/ 3686175 w 8601075"/>
                  <a:gd name="connsiteY134" fmla="*/ 4057650 h 4333875"/>
                  <a:gd name="connsiteX135" fmla="*/ 3838575 w 8601075"/>
                  <a:gd name="connsiteY135" fmla="*/ 4057650 h 4333875"/>
                  <a:gd name="connsiteX136" fmla="*/ 4162425 w 8601075"/>
                  <a:gd name="connsiteY136" fmla="*/ 4248150 h 4333875"/>
                  <a:gd name="connsiteX137" fmla="*/ 4391025 w 8601075"/>
                  <a:gd name="connsiteY137" fmla="*/ 4200525 h 4333875"/>
                  <a:gd name="connsiteX138" fmla="*/ 4410075 w 8601075"/>
                  <a:gd name="connsiteY138" fmla="*/ 4305300 h 4333875"/>
                  <a:gd name="connsiteX139" fmla="*/ 4505325 w 8601075"/>
                  <a:gd name="connsiteY139" fmla="*/ 4276725 h 4333875"/>
                  <a:gd name="connsiteX140" fmla="*/ 4572000 w 8601075"/>
                  <a:gd name="connsiteY140" fmla="*/ 4333875 h 4333875"/>
                  <a:gd name="connsiteX141" fmla="*/ 4591050 w 8601075"/>
                  <a:gd name="connsiteY141" fmla="*/ 4248150 h 4333875"/>
                  <a:gd name="connsiteX142" fmla="*/ 5295900 w 8601075"/>
                  <a:gd name="connsiteY142" fmla="*/ 3924300 h 4333875"/>
                  <a:gd name="connsiteX143" fmla="*/ 5353050 w 8601075"/>
                  <a:gd name="connsiteY143" fmla="*/ 3990975 h 4333875"/>
                  <a:gd name="connsiteX144" fmla="*/ 5524500 w 8601075"/>
                  <a:gd name="connsiteY144" fmla="*/ 3914775 h 4333875"/>
                  <a:gd name="connsiteX145" fmla="*/ 5667375 w 8601075"/>
                  <a:gd name="connsiteY145" fmla="*/ 3962400 h 4333875"/>
                  <a:gd name="connsiteX146" fmla="*/ 5753100 w 8601075"/>
                  <a:gd name="connsiteY146" fmla="*/ 3924300 h 4333875"/>
                  <a:gd name="connsiteX147" fmla="*/ 5905500 w 8601075"/>
                  <a:gd name="connsiteY147" fmla="*/ 3943350 h 4333875"/>
                  <a:gd name="connsiteX148" fmla="*/ 6000750 w 8601075"/>
                  <a:gd name="connsiteY148" fmla="*/ 3800475 h 4333875"/>
                  <a:gd name="connsiteX149" fmla="*/ 6153150 w 8601075"/>
                  <a:gd name="connsiteY149" fmla="*/ 3781425 h 4333875"/>
                  <a:gd name="connsiteX150" fmla="*/ 6257925 w 8601075"/>
                  <a:gd name="connsiteY150" fmla="*/ 3581400 h 4333875"/>
                  <a:gd name="connsiteX151" fmla="*/ 6448425 w 8601075"/>
                  <a:gd name="connsiteY151" fmla="*/ 3448050 h 4333875"/>
                  <a:gd name="connsiteX152" fmla="*/ 6581775 w 8601075"/>
                  <a:gd name="connsiteY152" fmla="*/ 3276600 h 4333875"/>
                  <a:gd name="connsiteX153" fmla="*/ 6496050 w 8601075"/>
                  <a:gd name="connsiteY153" fmla="*/ 3228975 h 4333875"/>
                  <a:gd name="connsiteX154" fmla="*/ 6438900 w 8601075"/>
                  <a:gd name="connsiteY154" fmla="*/ 3162300 h 4333875"/>
                  <a:gd name="connsiteX155" fmla="*/ 6419850 w 8601075"/>
                  <a:gd name="connsiteY155" fmla="*/ 3105150 h 4333875"/>
                  <a:gd name="connsiteX156" fmla="*/ 6362700 w 8601075"/>
                  <a:gd name="connsiteY156" fmla="*/ 3076575 h 4333875"/>
                  <a:gd name="connsiteX157" fmla="*/ 6410325 w 8601075"/>
                  <a:gd name="connsiteY157" fmla="*/ 3019425 h 4333875"/>
                  <a:gd name="connsiteX158" fmla="*/ 6438900 w 8601075"/>
                  <a:gd name="connsiteY158" fmla="*/ 2819400 h 4333875"/>
                  <a:gd name="connsiteX159" fmla="*/ 6496050 w 8601075"/>
                  <a:gd name="connsiteY159" fmla="*/ 2762250 h 4333875"/>
                  <a:gd name="connsiteX160" fmla="*/ 6657975 w 8601075"/>
                  <a:gd name="connsiteY160" fmla="*/ 2752725 h 4333875"/>
                  <a:gd name="connsiteX161" fmla="*/ 6781800 w 8601075"/>
                  <a:gd name="connsiteY161" fmla="*/ 2838450 h 4333875"/>
                  <a:gd name="connsiteX162" fmla="*/ 7010400 w 8601075"/>
                  <a:gd name="connsiteY162" fmla="*/ 2838450 h 4333875"/>
                  <a:gd name="connsiteX163" fmla="*/ 7162800 w 8601075"/>
                  <a:gd name="connsiteY163" fmla="*/ 2705100 h 4333875"/>
                  <a:gd name="connsiteX164" fmla="*/ 7229475 w 8601075"/>
                  <a:gd name="connsiteY164" fmla="*/ 2590800 h 4333875"/>
                  <a:gd name="connsiteX165" fmla="*/ 7248525 w 8601075"/>
                  <a:gd name="connsiteY165" fmla="*/ 2524125 h 4333875"/>
                  <a:gd name="connsiteX166" fmla="*/ 7372350 w 8601075"/>
                  <a:gd name="connsiteY166" fmla="*/ 2543175 h 4333875"/>
                  <a:gd name="connsiteX167" fmla="*/ 7553325 w 8601075"/>
                  <a:gd name="connsiteY167" fmla="*/ 2447925 h 4333875"/>
                  <a:gd name="connsiteX168" fmla="*/ 7620000 w 8601075"/>
                  <a:gd name="connsiteY168" fmla="*/ 2324100 h 4333875"/>
                  <a:gd name="connsiteX169" fmla="*/ 7696200 w 8601075"/>
                  <a:gd name="connsiteY169" fmla="*/ 2314575 h 4333875"/>
                  <a:gd name="connsiteX170" fmla="*/ 7658100 w 8601075"/>
                  <a:gd name="connsiteY170" fmla="*/ 2257425 h 4333875"/>
                  <a:gd name="connsiteX171" fmla="*/ 7753350 w 8601075"/>
                  <a:gd name="connsiteY171" fmla="*/ 2057400 h 4333875"/>
                  <a:gd name="connsiteX172" fmla="*/ 7934325 w 8601075"/>
                  <a:gd name="connsiteY172" fmla="*/ 2028825 h 4333875"/>
                  <a:gd name="connsiteX173" fmla="*/ 7953375 w 8601075"/>
                  <a:gd name="connsiteY173" fmla="*/ 1952625 h 4333875"/>
                  <a:gd name="connsiteX174" fmla="*/ 7953375 w 8601075"/>
                  <a:gd name="connsiteY174" fmla="*/ 1952625 h 4333875"/>
                  <a:gd name="connsiteX175" fmla="*/ 8010525 w 8601075"/>
                  <a:gd name="connsiteY175" fmla="*/ 1895475 h 4333875"/>
                  <a:gd name="connsiteX176" fmla="*/ 8048625 w 8601075"/>
                  <a:gd name="connsiteY176" fmla="*/ 1971675 h 4333875"/>
                  <a:gd name="connsiteX177" fmla="*/ 8077200 w 8601075"/>
                  <a:gd name="connsiteY177" fmla="*/ 1885950 h 4333875"/>
                  <a:gd name="connsiteX178" fmla="*/ 8220075 w 8601075"/>
                  <a:gd name="connsiteY178" fmla="*/ 1847850 h 4333875"/>
                  <a:gd name="connsiteX179" fmla="*/ 8296275 w 8601075"/>
                  <a:gd name="connsiteY179" fmla="*/ 1809750 h 4333875"/>
                  <a:gd name="connsiteX180" fmla="*/ 8324850 w 8601075"/>
                  <a:gd name="connsiteY180" fmla="*/ 1790700 h 4333875"/>
                  <a:gd name="connsiteX181" fmla="*/ 8410575 w 8601075"/>
                  <a:gd name="connsiteY181" fmla="*/ 1847850 h 4333875"/>
                  <a:gd name="connsiteX182" fmla="*/ 8505825 w 8601075"/>
                  <a:gd name="connsiteY182" fmla="*/ 1781175 h 4333875"/>
                  <a:gd name="connsiteX183" fmla="*/ 8572500 w 8601075"/>
                  <a:gd name="connsiteY183" fmla="*/ 1809750 h 4333875"/>
                  <a:gd name="connsiteX184" fmla="*/ 8601075 w 8601075"/>
                  <a:gd name="connsiteY184" fmla="*/ 1704975 h 4333875"/>
                  <a:gd name="connsiteX185" fmla="*/ 8553450 w 8601075"/>
                  <a:gd name="connsiteY185" fmla="*/ 1676400 h 4333875"/>
                  <a:gd name="connsiteX186" fmla="*/ 8534400 w 8601075"/>
                  <a:gd name="connsiteY186" fmla="*/ 1609725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124825 w 8601075"/>
                  <a:gd name="connsiteY190" fmla="*/ 1352550 h 4333875"/>
                  <a:gd name="connsiteX191" fmla="*/ 7924800 w 8601075"/>
                  <a:gd name="connsiteY191" fmla="*/ 1362075 h 4333875"/>
                  <a:gd name="connsiteX192" fmla="*/ 7867650 w 8601075"/>
                  <a:gd name="connsiteY192" fmla="*/ 1457325 h 4333875"/>
                  <a:gd name="connsiteX193" fmla="*/ 7896225 w 8601075"/>
                  <a:gd name="connsiteY193" fmla="*/ 1476375 h 4333875"/>
                  <a:gd name="connsiteX194" fmla="*/ 7858125 w 8601075"/>
                  <a:gd name="connsiteY194" fmla="*/ 1533525 h 4333875"/>
                  <a:gd name="connsiteX195" fmla="*/ 7658100 w 8601075"/>
                  <a:gd name="connsiteY195" fmla="*/ 1447800 h 4333875"/>
                  <a:gd name="connsiteX196" fmla="*/ 7515225 w 8601075"/>
                  <a:gd name="connsiteY196" fmla="*/ 1495425 h 4333875"/>
                  <a:gd name="connsiteX197" fmla="*/ 7467600 w 8601075"/>
                  <a:gd name="connsiteY197" fmla="*/ 1581150 h 4333875"/>
                  <a:gd name="connsiteX198" fmla="*/ 7296150 w 8601075"/>
                  <a:gd name="connsiteY19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781425 w 8601075"/>
                  <a:gd name="connsiteY45" fmla="*/ 590550 h 4333875"/>
                  <a:gd name="connsiteX46" fmla="*/ 3810000 w 8601075"/>
                  <a:gd name="connsiteY46" fmla="*/ 514350 h 4333875"/>
                  <a:gd name="connsiteX47" fmla="*/ 3781425 w 8601075"/>
                  <a:gd name="connsiteY47" fmla="*/ 390525 h 4333875"/>
                  <a:gd name="connsiteX48" fmla="*/ 3771900 w 8601075"/>
                  <a:gd name="connsiteY48" fmla="*/ 352425 h 4333875"/>
                  <a:gd name="connsiteX49" fmla="*/ 3600450 w 8601075"/>
                  <a:gd name="connsiteY49" fmla="*/ 285750 h 4333875"/>
                  <a:gd name="connsiteX50" fmla="*/ 3533775 w 8601075"/>
                  <a:gd name="connsiteY50" fmla="*/ 314325 h 4333875"/>
                  <a:gd name="connsiteX51" fmla="*/ 3409950 w 8601075"/>
                  <a:gd name="connsiteY51" fmla="*/ 190500 h 4333875"/>
                  <a:gd name="connsiteX52" fmla="*/ 3257550 w 8601075"/>
                  <a:gd name="connsiteY52" fmla="*/ 180975 h 4333875"/>
                  <a:gd name="connsiteX53" fmla="*/ 3209925 w 8601075"/>
                  <a:gd name="connsiteY53" fmla="*/ 104775 h 4333875"/>
                  <a:gd name="connsiteX54" fmla="*/ 3152775 w 8601075"/>
                  <a:gd name="connsiteY54" fmla="*/ 104775 h 4333875"/>
                  <a:gd name="connsiteX55" fmla="*/ 2990850 w 8601075"/>
                  <a:gd name="connsiteY55" fmla="*/ 0 h 4333875"/>
                  <a:gd name="connsiteX56" fmla="*/ 2933700 w 8601075"/>
                  <a:gd name="connsiteY56" fmla="*/ 114300 h 4333875"/>
                  <a:gd name="connsiteX57" fmla="*/ 2867025 w 8601075"/>
                  <a:gd name="connsiteY57" fmla="*/ 171450 h 4333875"/>
                  <a:gd name="connsiteX58" fmla="*/ 2867025 w 8601075"/>
                  <a:gd name="connsiteY58" fmla="*/ 171450 h 4333875"/>
                  <a:gd name="connsiteX59" fmla="*/ 2800350 w 8601075"/>
                  <a:gd name="connsiteY59" fmla="*/ 257175 h 4333875"/>
                  <a:gd name="connsiteX60" fmla="*/ 2724150 w 8601075"/>
                  <a:gd name="connsiteY60" fmla="*/ 304800 h 4333875"/>
                  <a:gd name="connsiteX61" fmla="*/ 2705100 w 8601075"/>
                  <a:gd name="connsiteY61" fmla="*/ 466725 h 4333875"/>
                  <a:gd name="connsiteX62" fmla="*/ 2762250 w 8601075"/>
                  <a:gd name="connsiteY62" fmla="*/ 571500 h 4333875"/>
                  <a:gd name="connsiteX63" fmla="*/ 2800350 w 8601075"/>
                  <a:gd name="connsiteY63" fmla="*/ 628650 h 4333875"/>
                  <a:gd name="connsiteX64" fmla="*/ 2752725 w 8601075"/>
                  <a:gd name="connsiteY64" fmla="*/ 781050 h 4333875"/>
                  <a:gd name="connsiteX65" fmla="*/ 2686050 w 8601075"/>
                  <a:gd name="connsiteY65" fmla="*/ 857250 h 4333875"/>
                  <a:gd name="connsiteX66" fmla="*/ 2609850 w 8601075"/>
                  <a:gd name="connsiteY66" fmla="*/ 857250 h 4333875"/>
                  <a:gd name="connsiteX67" fmla="*/ 2514600 w 8601075"/>
                  <a:gd name="connsiteY67" fmla="*/ 914400 h 4333875"/>
                  <a:gd name="connsiteX68" fmla="*/ 2400300 w 8601075"/>
                  <a:gd name="connsiteY68" fmla="*/ 866775 h 4333875"/>
                  <a:gd name="connsiteX69" fmla="*/ 2305050 w 8601075"/>
                  <a:gd name="connsiteY69" fmla="*/ 809625 h 4333875"/>
                  <a:gd name="connsiteX70" fmla="*/ 2200275 w 8601075"/>
                  <a:gd name="connsiteY70" fmla="*/ 752475 h 4333875"/>
                  <a:gd name="connsiteX71" fmla="*/ 2105025 w 8601075"/>
                  <a:gd name="connsiteY71" fmla="*/ 762000 h 4333875"/>
                  <a:gd name="connsiteX72" fmla="*/ 1990725 w 8601075"/>
                  <a:gd name="connsiteY72" fmla="*/ 762000 h 4333875"/>
                  <a:gd name="connsiteX73" fmla="*/ 1885950 w 8601075"/>
                  <a:gd name="connsiteY73" fmla="*/ 742950 h 4333875"/>
                  <a:gd name="connsiteX74" fmla="*/ 1800225 w 8601075"/>
                  <a:gd name="connsiteY74" fmla="*/ 638175 h 4333875"/>
                  <a:gd name="connsiteX75" fmla="*/ 1809750 w 8601075"/>
                  <a:gd name="connsiteY75" fmla="*/ 495300 h 4333875"/>
                  <a:gd name="connsiteX76" fmla="*/ 1733550 w 8601075"/>
                  <a:gd name="connsiteY76" fmla="*/ 466725 h 4333875"/>
                  <a:gd name="connsiteX77" fmla="*/ 1485900 w 8601075"/>
                  <a:gd name="connsiteY77" fmla="*/ 419100 h 4333875"/>
                  <a:gd name="connsiteX78" fmla="*/ 1457325 w 8601075"/>
                  <a:gd name="connsiteY78" fmla="*/ 323850 h 4333875"/>
                  <a:gd name="connsiteX79" fmla="*/ 1457325 w 8601075"/>
                  <a:gd name="connsiteY79" fmla="*/ 323850 h 4333875"/>
                  <a:gd name="connsiteX80" fmla="*/ 1323975 w 8601075"/>
                  <a:gd name="connsiteY80" fmla="*/ 285750 h 4333875"/>
                  <a:gd name="connsiteX81" fmla="*/ 1266825 w 8601075"/>
                  <a:gd name="connsiteY81" fmla="*/ 352425 h 4333875"/>
                  <a:gd name="connsiteX82" fmla="*/ 1009650 w 8601075"/>
                  <a:gd name="connsiteY82" fmla="*/ 390525 h 4333875"/>
                  <a:gd name="connsiteX83" fmla="*/ 828675 w 8601075"/>
                  <a:gd name="connsiteY83" fmla="*/ 447675 h 4333875"/>
                  <a:gd name="connsiteX84" fmla="*/ 619125 w 8601075"/>
                  <a:gd name="connsiteY84" fmla="*/ 533400 h 4333875"/>
                  <a:gd name="connsiteX85" fmla="*/ 619125 w 8601075"/>
                  <a:gd name="connsiteY85" fmla="*/ 533400 h 4333875"/>
                  <a:gd name="connsiteX86" fmla="*/ 561975 w 8601075"/>
                  <a:gd name="connsiteY86" fmla="*/ 619125 h 4333875"/>
                  <a:gd name="connsiteX87" fmla="*/ 447675 w 8601075"/>
                  <a:gd name="connsiteY87" fmla="*/ 63817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295275 w 8601075"/>
                  <a:gd name="connsiteY90" fmla="*/ 657225 h 4333875"/>
                  <a:gd name="connsiteX91" fmla="*/ 180975 w 8601075"/>
                  <a:gd name="connsiteY91" fmla="*/ 638175 h 4333875"/>
                  <a:gd name="connsiteX92" fmla="*/ 180975 w 8601075"/>
                  <a:gd name="connsiteY92" fmla="*/ 638175 h 4333875"/>
                  <a:gd name="connsiteX93" fmla="*/ 57150 w 8601075"/>
                  <a:gd name="connsiteY93" fmla="*/ 733425 h 4333875"/>
                  <a:gd name="connsiteX94" fmla="*/ 19050 w 8601075"/>
                  <a:gd name="connsiteY94" fmla="*/ 790575 h 4333875"/>
                  <a:gd name="connsiteX95" fmla="*/ 0 w 8601075"/>
                  <a:gd name="connsiteY95" fmla="*/ 876300 h 4333875"/>
                  <a:gd name="connsiteX96" fmla="*/ 57150 w 8601075"/>
                  <a:gd name="connsiteY96" fmla="*/ 923925 h 4333875"/>
                  <a:gd name="connsiteX97" fmla="*/ 57150 w 8601075"/>
                  <a:gd name="connsiteY97" fmla="*/ 923925 h 4333875"/>
                  <a:gd name="connsiteX98" fmla="*/ 209550 w 8601075"/>
                  <a:gd name="connsiteY98" fmla="*/ 1114425 h 4333875"/>
                  <a:gd name="connsiteX99" fmla="*/ 209550 w 8601075"/>
                  <a:gd name="connsiteY99" fmla="*/ 1114425 h 4333875"/>
                  <a:gd name="connsiteX100" fmla="*/ 266700 w 8601075"/>
                  <a:gd name="connsiteY100" fmla="*/ 1295400 h 4333875"/>
                  <a:gd name="connsiteX101" fmla="*/ 409575 w 8601075"/>
                  <a:gd name="connsiteY101" fmla="*/ 1276350 h 4333875"/>
                  <a:gd name="connsiteX102" fmla="*/ 466725 w 8601075"/>
                  <a:gd name="connsiteY102" fmla="*/ 1362075 h 4333875"/>
                  <a:gd name="connsiteX103" fmla="*/ 542925 w 8601075"/>
                  <a:gd name="connsiteY103" fmla="*/ 1428750 h 4333875"/>
                  <a:gd name="connsiteX104" fmla="*/ 628650 w 8601075"/>
                  <a:gd name="connsiteY104" fmla="*/ 1571625 h 4333875"/>
                  <a:gd name="connsiteX105" fmla="*/ 628650 w 8601075"/>
                  <a:gd name="connsiteY105" fmla="*/ 1704975 h 4333875"/>
                  <a:gd name="connsiteX106" fmla="*/ 676275 w 8601075"/>
                  <a:gd name="connsiteY106" fmla="*/ 1771650 h 4333875"/>
                  <a:gd name="connsiteX107" fmla="*/ 657225 w 8601075"/>
                  <a:gd name="connsiteY107" fmla="*/ 2000250 h 4333875"/>
                  <a:gd name="connsiteX108" fmla="*/ 619125 w 8601075"/>
                  <a:gd name="connsiteY108" fmla="*/ 2095500 h 4333875"/>
                  <a:gd name="connsiteX109" fmla="*/ 542925 w 8601075"/>
                  <a:gd name="connsiteY109" fmla="*/ 2228850 h 4333875"/>
                  <a:gd name="connsiteX110" fmla="*/ 485775 w 8601075"/>
                  <a:gd name="connsiteY110" fmla="*/ 2362200 h 4333875"/>
                  <a:gd name="connsiteX111" fmla="*/ 552450 w 8601075"/>
                  <a:gd name="connsiteY111" fmla="*/ 2486025 h 4333875"/>
                  <a:gd name="connsiteX112" fmla="*/ 771525 w 8601075"/>
                  <a:gd name="connsiteY112" fmla="*/ 2571750 h 4333875"/>
                  <a:gd name="connsiteX113" fmla="*/ 866775 w 8601075"/>
                  <a:gd name="connsiteY113" fmla="*/ 2571750 h 4333875"/>
                  <a:gd name="connsiteX114" fmla="*/ 914400 w 8601075"/>
                  <a:gd name="connsiteY114" fmla="*/ 2638425 h 4333875"/>
                  <a:gd name="connsiteX115" fmla="*/ 1066800 w 8601075"/>
                  <a:gd name="connsiteY115" fmla="*/ 2638425 h 4333875"/>
                  <a:gd name="connsiteX116" fmla="*/ 1285875 w 8601075"/>
                  <a:gd name="connsiteY116" fmla="*/ 2705100 h 4333875"/>
                  <a:gd name="connsiteX117" fmla="*/ 1438275 w 8601075"/>
                  <a:gd name="connsiteY117" fmla="*/ 2838450 h 4333875"/>
                  <a:gd name="connsiteX118" fmla="*/ 1485900 w 8601075"/>
                  <a:gd name="connsiteY118" fmla="*/ 2914650 h 4333875"/>
                  <a:gd name="connsiteX119" fmla="*/ 1657350 w 8601075"/>
                  <a:gd name="connsiteY119" fmla="*/ 3038475 h 4333875"/>
                  <a:gd name="connsiteX120" fmla="*/ 1752600 w 8601075"/>
                  <a:gd name="connsiteY120" fmla="*/ 3057525 h 4333875"/>
                  <a:gd name="connsiteX121" fmla="*/ 1724025 w 8601075"/>
                  <a:gd name="connsiteY121" fmla="*/ 3143250 h 4333875"/>
                  <a:gd name="connsiteX122" fmla="*/ 1724025 w 8601075"/>
                  <a:gd name="connsiteY122" fmla="*/ 3143250 h 4333875"/>
                  <a:gd name="connsiteX123" fmla="*/ 1781175 w 8601075"/>
                  <a:gd name="connsiteY123" fmla="*/ 3181350 h 4333875"/>
                  <a:gd name="connsiteX124" fmla="*/ 1819275 w 8601075"/>
                  <a:gd name="connsiteY124" fmla="*/ 3362325 h 4333875"/>
                  <a:gd name="connsiteX125" fmla="*/ 1828800 w 8601075"/>
                  <a:gd name="connsiteY125" fmla="*/ 3457575 h 4333875"/>
                  <a:gd name="connsiteX126" fmla="*/ 1971675 w 8601075"/>
                  <a:gd name="connsiteY126" fmla="*/ 3590925 h 4333875"/>
                  <a:gd name="connsiteX127" fmla="*/ 1990725 w 8601075"/>
                  <a:gd name="connsiteY127" fmla="*/ 3714750 h 4333875"/>
                  <a:gd name="connsiteX128" fmla="*/ 2200275 w 8601075"/>
                  <a:gd name="connsiteY128" fmla="*/ 3695700 h 4333875"/>
                  <a:gd name="connsiteX129" fmla="*/ 2886075 w 8601075"/>
                  <a:gd name="connsiteY129" fmla="*/ 3886200 h 4333875"/>
                  <a:gd name="connsiteX130" fmla="*/ 3038475 w 8601075"/>
                  <a:gd name="connsiteY130" fmla="*/ 3819525 h 4333875"/>
                  <a:gd name="connsiteX131" fmla="*/ 3105150 w 8601075"/>
                  <a:gd name="connsiteY131" fmla="*/ 3867150 h 4333875"/>
                  <a:gd name="connsiteX132" fmla="*/ 3181350 w 8601075"/>
                  <a:gd name="connsiteY132" fmla="*/ 3800475 h 4333875"/>
                  <a:gd name="connsiteX133" fmla="*/ 3590925 w 8601075"/>
                  <a:gd name="connsiteY133" fmla="*/ 3943350 h 4333875"/>
                  <a:gd name="connsiteX134" fmla="*/ 3686175 w 8601075"/>
                  <a:gd name="connsiteY134" fmla="*/ 4057650 h 4333875"/>
                  <a:gd name="connsiteX135" fmla="*/ 3838575 w 8601075"/>
                  <a:gd name="connsiteY135" fmla="*/ 4057650 h 4333875"/>
                  <a:gd name="connsiteX136" fmla="*/ 4162425 w 8601075"/>
                  <a:gd name="connsiteY136" fmla="*/ 4248150 h 4333875"/>
                  <a:gd name="connsiteX137" fmla="*/ 4391025 w 8601075"/>
                  <a:gd name="connsiteY137" fmla="*/ 4200525 h 4333875"/>
                  <a:gd name="connsiteX138" fmla="*/ 4410075 w 8601075"/>
                  <a:gd name="connsiteY138" fmla="*/ 4305300 h 4333875"/>
                  <a:gd name="connsiteX139" fmla="*/ 4505325 w 8601075"/>
                  <a:gd name="connsiteY139" fmla="*/ 4276725 h 4333875"/>
                  <a:gd name="connsiteX140" fmla="*/ 4572000 w 8601075"/>
                  <a:gd name="connsiteY140" fmla="*/ 4333875 h 4333875"/>
                  <a:gd name="connsiteX141" fmla="*/ 4591050 w 8601075"/>
                  <a:gd name="connsiteY141" fmla="*/ 4248150 h 4333875"/>
                  <a:gd name="connsiteX142" fmla="*/ 5295900 w 8601075"/>
                  <a:gd name="connsiteY142" fmla="*/ 3924300 h 4333875"/>
                  <a:gd name="connsiteX143" fmla="*/ 5353050 w 8601075"/>
                  <a:gd name="connsiteY143" fmla="*/ 3990975 h 4333875"/>
                  <a:gd name="connsiteX144" fmla="*/ 5524500 w 8601075"/>
                  <a:gd name="connsiteY144" fmla="*/ 3914775 h 4333875"/>
                  <a:gd name="connsiteX145" fmla="*/ 5667375 w 8601075"/>
                  <a:gd name="connsiteY145" fmla="*/ 3962400 h 4333875"/>
                  <a:gd name="connsiteX146" fmla="*/ 5753100 w 8601075"/>
                  <a:gd name="connsiteY146" fmla="*/ 3924300 h 4333875"/>
                  <a:gd name="connsiteX147" fmla="*/ 5905500 w 8601075"/>
                  <a:gd name="connsiteY147" fmla="*/ 3943350 h 4333875"/>
                  <a:gd name="connsiteX148" fmla="*/ 6000750 w 8601075"/>
                  <a:gd name="connsiteY148" fmla="*/ 3800475 h 4333875"/>
                  <a:gd name="connsiteX149" fmla="*/ 6153150 w 8601075"/>
                  <a:gd name="connsiteY149" fmla="*/ 3781425 h 4333875"/>
                  <a:gd name="connsiteX150" fmla="*/ 6257925 w 8601075"/>
                  <a:gd name="connsiteY150" fmla="*/ 3581400 h 4333875"/>
                  <a:gd name="connsiteX151" fmla="*/ 6448425 w 8601075"/>
                  <a:gd name="connsiteY151" fmla="*/ 3448050 h 4333875"/>
                  <a:gd name="connsiteX152" fmla="*/ 6581775 w 8601075"/>
                  <a:gd name="connsiteY152" fmla="*/ 3276600 h 4333875"/>
                  <a:gd name="connsiteX153" fmla="*/ 6496050 w 8601075"/>
                  <a:gd name="connsiteY153" fmla="*/ 3228975 h 4333875"/>
                  <a:gd name="connsiteX154" fmla="*/ 6438900 w 8601075"/>
                  <a:gd name="connsiteY154" fmla="*/ 3162300 h 4333875"/>
                  <a:gd name="connsiteX155" fmla="*/ 6419850 w 8601075"/>
                  <a:gd name="connsiteY155" fmla="*/ 3105150 h 4333875"/>
                  <a:gd name="connsiteX156" fmla="*/ 6362700 w 8601075"/>
                  <a:gd name="connsiteY156" fmla="*/ 3076575 h 4333875"/>
                  <a:gd name="connsiteX157" fmla="*/ 6410325 w 8601075"/>
                  <a:gd name="connsiteY157" fmla="*/ 3019425 h 4333875"/>
                  <a:gd name="connsiteX158" fmla="*/ 6438900 w 8601075"/>
                  <a:gd name="connsiteY158" fmla="*/ 2819400 h 4333875"/>
                  <a:gd name="connsiteX159" fmla="*/ 6496050 w 8601075"/>
                  <a:gd name="connsiteY159" fmla="*/ 2762250 h 4333875"/>
                  <a:gd name="connsiteX160" fmla="*/ 6657975 w 8601075"/>
                  <a:gd name="connsiteY160" fmla="*/ 2752725 h 4333875"/>
                  <a:gd name="connsiteX161" fmla="*/ 6781800 w 8601075"/>
                  <a:gd name="connsiteY161" fmla="*/ 2838450 h 4333875"/>
                  <a:gd name="connsiteX162" fmla="*/ 7010400 w 8601075"/>
                  <a:gd name="connsiteY162" fmla="*/ 2838450 h 4333875"/>
                  <a:gd name="connsiteX163" fmla="*/ 7162800 w 8601075"/>
                  <a:gd name="connsiteY163" fmla="*/ 2705100 h 4333875"/>
                  <a:gd name="connsiteX164" fmla="*/ 7229475 w 8601075"/>
                  <a:gd name="connsiteY164" fmla="*/ 2590800 h 4333875"/>
                  <a:gd name="connsiteX165" fmla="*/ 7248525 w 8601075"/>
                  <a:gd name="connsiteY165" fmla="*/ 2524125 h 4333875"/>
                  <a:gd name="connsiteX166" fmla="*/ 7372350 w 8601075"/>
                  <a:gd name="connsiteY166" fmla="*/ 2543175 h 4333875"/>
                  <a:gd name="connsiteX167" fmla="*/ 7553325 w 8601075"/>
                  <a:gd name="connsiteY167" fmla="*/ 2447925 h 4333875"/>
                  <a:gd name="connsiteX168" fmla="*/ 7620000 w 8601075"/>
                  <a:gd name="connsiteY168" fmla="*/ 2324100 h 4333875"/>
                  <a:gd name="connsiteX169" fmla="*/ 7696200 w 8601075"/>
                  <a:gd name="connsiteY169" fmla="*/ 2314575 h 4333875"/>
                  <a:gd name="connsiteX170" fmla="*/ 7658100 w 8601075"/>
                  <a:gd name="connsiteY170" fmla="*/ 2257425 h 4333875"/>
                  <a:gd name="connsiteX171" fmla="*/ 7753350 w 8601075"/>
                  <a:gd name="connsiteY171" fmla="*/ 2057400 h 4333875"/>
                  <a:gd name="connsiteX172" fmla="*/ 7934325 w 8601075"/>
                  <a:gd name="connsiteY172" fmla="*/ 2028825 h 4333875"/>
                  <a:gd name="connsiteX173" fmla="*/ 7953375 w 8601075"/>
                  <a:gd name="connsiteY173" fmla="*/ 1952625 h 4333875"/>
                  <a:gd name="connsiteX174" fmla="*/ 7953375 w 8601075"/>
                  <a:gd name="connsiteY174" fmla="*/ 1952625 h 4333875"/>
                  <a:gd name="connsiteX175" fmla="*/ 8010525 w 8601075"/>
                  <a:gd name="connsiteY175" fmla="*/ 1895475 h 4333875"/>
                  <a:gd name="connsiteX176" fmla="*/ 8048625 w 8601075"/>
                  <a:gd name="connsiteY176" fmla="*/ 1971675 h 4333875"/>
                  <a:gd name="connsiteX177" fmla="*/ 8077200 w 8601075"/>
                  <a:gd name="connsiteY177" fmla="*/ 1885950 h 4333875"/>
                  <a:gd name="connsiteX178" fmla="*/ 8220075 w 8601075"/>
                  <a:gd name="connsiteY178" fmla="*/ 1847850 h 4333875"/>
                  <a:gd name="connsiteX179" fmla="*/ 8296275 w 8601075"/>
                  <a:gd name="connsiteY179" fmla="*/ 1809750 h 4333875"/>
                  <a:gd name="connsiteX180" fmla="*/ 8324850 w 8601075"/>
                  <a:gd name="connsiteY180" fmla="*/ 1790700 h 4333875"/>
                  <a:gd name="connsiteX181" fmla="*/ 8410575 w 8601075"/>
                  <a:gd name="connsiteY181" fmla="*/ 1847850 h 4333875"/>
                  <a:gd name="connsiteX182" fmla="*/ 8505825 w 8601075"/>
                  <a:gd name="connsiteY182" fmla="*/ 1781175 h 4333875"/>
                  <a:gd name="connsiteX183" fmla="*/ 8572500 w 8601075"/>
                  <a:gd name="connsiteY183" fmla="*/ 1809750 h 4333875"/>
                  <a:gd name="connsiteX184" fmla="*/ 8601075 w 8601075"/>
                  <a:gd name="connsiteY184" fmla="*/ 1704975 h 4333875"/>
                  <a:gd name="connsiteX185" fmla="*/ 8553450 w 8601075"/>
                  <a:gd name="connsiteY185" fmla="*/ 1676400 h 4333875"/>
                  <a:gd name="connsiteX186" fmla="*/ 8534400 w 8601075"/>
                  <a:gd name="connsiteY186" fmla="*/ 1609725 h 4333875"/>
                  <a:gd name="connsiteX187" fmla="*/ 8277225 w 8601075"/>
                  <a:gd name="connsiteY187" fmla="*/ 1409700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124825 w 8601075"/>
                  <a:gd name="connsiteY190" fmla="*/ 1352550 h 4333875"/>
                  <a:gd name="connsiteX191" fmla="*/ 7924800 w 8601075"/>
                  <a:gd name="connsiteY191" fmla="*/ 1362075 h 4333875"/>
                  <a:gd name="connsiteX192" fmla="*/ 7867650 w 8601075"/>
                  <a:gd name="connsiteY192" fmla="*/ 1457325 h 4333875"/>
                  <a:gd name="connsiteX193" fmla="*/ 7896225 w 8601075"/>
                  <a:gd name="connsiteY193" fmla="*/ 1476375 h 4333875"/>
                  <a:gd name="connsiteX194" fmla="*/ 7858125 w 8601075"/>
                  <a:gd name="connsiteY194" fmla="*/ 1533525 h 4333875"/>
                  <a:gd name="connsiteX195" fmla="*/ 7658100 w 8601075"/>
                  <a:gd name="connsiteY195" fmla="*/ 1447800 h 4333875"/>
                  <a:gd name="connsiteX196" fmla="*/ 7515225 w 8601075"/>
                  <a:gd name="connsiteY196" fmla="*/ 1495425 h 4333875"/>
                  <a:gd name="connsiteX197" fmla="*/ 7467600 w 8601075"/>
                  <a:gd name="connsiteY197" fmla="*/ 1581150 h 4333875"/>
                  <a:gd name="connsiteX198" fmla="*/ 7296150 w 8601075"/>
                  <a:gd name="connsiteY19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781425 w 8601075"/>
                  <a:gd name="connsiteY46" fmla="*/ 590550 h 4333875"/>
                  <a:gd name="connsiteX47" fmla="*/ 3810000 w 8601075"/>
                  <a:gd name="connsiteY47" fmla="*/ 514350 h 4333875"/>
                  <a:gd name="connsiteX48" fmla="*/ 3781425 w 8601075"/>
                  <a:gd name="connsiteY48" fmla="*/ 390525 h 4333875"/>
                  <a:gd name="connsiteX49" fmla="*/ 3771900 w 8601075"/>
                  <a:gd name="connsiteY49" fmla="*/ 352425 h 4333875"/>
                  <a:gd name="connsiteX50" fmla="*/ 3600450 w 8601075"/>
                  <a:gd name="connsiteY50" fmla="*/ 285750 h 4333875"/>
                  <a:gd name="connsiteX51" fmla="*/ 3533775 w 8601075"/>
                  <a:gd name="connsiteY51" fmla="*/ 314325 h 4333875"/>
                  <a:gd name="connsiteX52" fmla="*/ 3409950 w 8601075"/>
                  <a:gd name="connsiteY52" fmla="*/ 190500 h 4333875"/>
                  <a:gd name="connsiteX53" fmla="*/ 3257550 w 8601075"/>
                  <a:gd name="connsiteY53" fmla="*/ 180975 h 4333875"/>
                  <a:gd name="connsiteX54" fmla="*/ 3209925 w 8601075"/>
                  <a:gd name="connsiteY54" fmla="*/ 104775 h 4333875"/>
                  <a:gd name="connsiteX55" fmla="*/ 3152775 w 8601075"/>
                  <a:gd name="connsiteY55" fmla="*/ 104775 h 4333875"/>
                  <a:gd name="connsiteX56" fmla="*/ 2990850 w 8601075"/>
                  <a:gd name="connsiteY56" fmla="*/ 0 h 4333875"/>
                  <a:gd name="connsiteX57" fmla="*/ 2933700 w 8601075"/>
                  <a:gd name="connsiteY57" fmla="*/ 114300 h 4333875"/>
                  <a:gd name="connsiteX58" fmla="*/ 2867025 w 8601075"/>
                  <a:gd name="connsiteY58" fmla="*/ 171450 h 4333875"/>
                  <a:gd name="connsiteX59" fmla="*/ 2867025 w 8601075"/>
                  <a:gd name="connsiteY59" fmla="*/ 171450 h 4333875"/>
                  <a:gd name="connsiteX60" fmla="*/ 2800350 w 8601075"/>
                  <a:gd name="connsiteY60" fmla="*/ 257175 h 4333875"/>
                  <a:gd name="connsiteX61" fmla="*/ 2724150 w 8601075"/>
                  <a:gd name="connsiteY61" fmla="*/ 304800 h 4333875"/>
                  <a:gd name="connsiteX62" fmla="*/ 2705100 w 8601075"/>
                  <a:gd name="connsiteY62" fmla="*/ 466725 h 4333875"/>
                  <a:gd name="connsiteX63" fmla="*/ 2762250 w 8601075"/>
                  <a:gd name="connsiteY63" fmla="*/ 571500 h 4333875"/>
                  <a:gd name="connsiteX64" fmla="*/ 2800350 w 8601075"/>
                  <a:gd name="connsiteY64" fmla="*/ 628650 h 4333875"/>
                  <a:gd name="connsiteX65" fmla="*/ 2752725 w 8601075"/>
                  <a:gd name="connsiteY65" fmla="*/ 781050 h 4333875"/>
                  <a:gd name="connsiteX66" fmla="*/ 2686050 w 8601075"/>
                  <a:gd name="connsiteY66" fmla="*/ 857250 h 4333875"/>
                  <a:gd name="connsiteX67" fmla="*/ 2609850 w 8601075"/>
                  <a:gd name="connsiteY67" fmla="*/ 857250 h 4333875"/>
                  <a:gd name="connsiteX68" fmla="*/ 2514600 w 8601075"/>
                  <a:gd name="connsiteY68" fmla="*/ 914400 h 4333875"/>
                  <a:gd name="connsiteX69" fmla="*/ 2400300 w 8601075"/>
                  <a:gd name="connsiteY69" fmla="*/ 866775 h 4333875"/>
                  <a:gd name="connsiteX70" fmla="*/ 2305050 w 8601075"/>
                  <a:gd name="connsiteY70" fmla="*/ 809625 h 4333875"/>
                  <a:gd name="connsiteX71" fmla="*/ 2200275 w 8601075"/>
                  <a:gd name="connsiteY71" fmla="*/ 752475 h 4333875"/>
                  <a:gd name="connsiteX72" fmla="*/ 2105025 w 8601075"/>
                  <a:gd name="connsiteY72" fmla="*/ 762000 h 4333875"/>
                  <a:gd name="connsiteX73" fmla="*/ 1990725 w 8601075"/>
                  <a:gd name="connsiteY73" fmla="*/ 762000 h 4333875"/>
                  <a:gd name="connsiteX74" fmla="*/ 1885950 w 8601075"/>
                  <a:gd name="connsiteY74" fmla="*/ 742950 h 4333875"/>
                  <a:gd name="connsiteX75" fmla="*/ 1800225 w 8601075"/>
                  <a:gd name="connsiteY75" fmla="*/ 638175 h 4333875"/>
                  <a:gd name="connsiteX76" fmla="*/ 1809750 w 8601075"/>
                  <a:gd name="connsiteY76" fmla="*/ 495300 h 4333875"/>
                  <a:gd name="connsiteX77" fmla="*/ 1733550 w 8601075"/>
                  <a:gd name="connsiteY77" fmla="*/ 466725 h 4333875"/>
                  <a:gd name="connsiteX78" fmla="*/ 1485900 w 8601075"/>
                  <a:gd name="connsiteY78" fmla="*/ 419100 h 4333875"/>
                  <a:gd name="connsiteX79" fmla="*/ 1457325 w 8601075"/>
                  <a:gd name="connsiteY79" fmla="*/ 323850 h 4333875"/>
                  <a:gd name="connsiteX80" fmla="*/ 1457325 w 8601075"/>
                  <a:gd name="connsiteY80" fmla="*/ 323850 h 4333875"/>
                  <a:gd name="connsiteX81" fmla="*/ 1323975 w 8601075"/>
                  <a:gd name="connsiteY81" fmla="*/ 285750 h 4333875"/>
                  <a:gd name="connsiteX82" fmla="*/ 1266825 w 8601075"/>
                  <a:gd name="connsiteY82" fmla="*/ 352425 h 4333875"/>
                  <a:gd name="connsiteX83" fmla="*/ 1009650 w 8601075"/>
                  <a:gd name="connsiteY83" fmla="*/ 390525 h 4333875"/>
                  <a:gd name="connsiteX84" fmla="*/ 828675 w 8601075"/>
                  <a:gd name="connsiteY84" fmla="*/ 447675 h 4333875"/>
                  <a:gd name="connsiteX85" fmla="*/ 619125 w 8601075"/>
                  <a:gd name="connsiteY85" fmla="*/ 533400 h 4333875"/>
                  <a:gd name="connsiteX86" fmla="*/ 619125 w 8601075"/>
                  <a:gd name="connsiteY86" fmla="*/ 533400 h 4333875"/>
                  <a:gd name="connsiteX87" fmla="*/ 561975 w 8601075"/>
                  <a:gd name="connsiteY87" fmla="*/ 619125 h 4333875"/>
                  <a:gd name="connsiteX88" fmla="*/ 447675 w 8601075"/>
                  <a:gd name="connsiteY88" fmla="*/ 63817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295275 w 8601075"/>
                  <a:gd name="connsiteY91" fmla="*/ 657225 h 4333875"/>
                  <a:gd name="connsiteX92" fmla="*/ 180975 w 8601075"/>
                  <a:gd name="connsiteY92" fmla="*/ 638175 h 4333875"/>
                  <a:gd name="connsiteX93" fmla="*/ 180975 w 8601075"/>
                  <a:gd name="connsiteY93" fmla="*/ 638175 h 4333875"/>
                  <a:gd name="connsiteX94" fmla="*/ 57150 w 8601075"/>
                  <a:gd name="connsiteY94" fmla="*/ 733425 h 4333875"/>
                  <a:gd name="connsiteX95" fmla="*/ 19050 w 8601075"/>
                  <a:gd name="connsiteY95" fmla="*/ 790575 h 4333875"/>
                  <a:gd name="connsiteX96" fmla="*/ 0 w 8601075"/>
                  <a:gd name="connsiteY96" fmla="*/ 876300 h 4333875"/>
                  <a:gd name="connsiteX97" fmla="*/ 57150 w 8601075"/>
                  <a:gd name="connsiteY97" fmla="*/ 923925 h 4333875"/>
                  <a:gd name="connsiteX98" fmla="*/ 57150 w 8601075"/>
                  <a:gd name="connsiteY98" fmla="*/ 923925 h 4333875"/>
                  <a:gd name="connsiteX99" fmla="*/ 209550 w 8601075"/>
                  <a:gd name="connsiteY99" fmla="*/ 1114425 h 4333875"/>
                  <a:gd name="connsiteX100" fmla="*/ 209550 w 8601075"/>
                  <a:gd name="connsiteY100" fmla="*/ 1114425 h 4333875"/>
                  <a:gd name="connsiteX101" fmla="*/ 266700 w 8601075"/>
                  <a:gd name="connsiteY101" fmla="*/ 1295400 h 4333875"/>
                  <a:gd name="connsiteX102" fmla="*/ 409575 w 8601075"/>
                  <a:gd name="connsiteY102" fmla="*/ 1276350 h 4333875"/>
                  <a:gd name="connsiteX103" fmla="*/ 466725 w 8601075"/>
                  <a:gd name="connsiteY103" fmla="*/ 1362075 h 4333875"/>
                  <a:gd name="connsiteX104" fmla="*/ 542925 w 8601075"/>
                  <a:gd name="connsiteY104" fmla="*/ 1428750 h 4333875"/>
                  <a:gd name="connsiteX105" fmla="*/ 628650 w 8601075"/>
                  <a:gd name="connsiteY105" fmla="*/ 1571625 h 4333875"/>
                  <a:gd name="connsiteX106" fmla="*/ 628650 w 8601075"/>
                  <a:gd name="connsiteY106" fmla="*/ 1704975 h 4333875"/>
                  <a:gd name="connsiteX107" fmla="*/ 676275 w 8601075"/>
                  <a:gd name="connsiteY107" fmla="*/ 1771650 h 4333875"/>
                  <a:gd name="connsiteX108" fmla="*/ 657225 w 8601075"/>
                  <a:gd name="connsiteY108" fmla="*/ 2000250 h 4333875"/>
                  <a:gd name="connsiteX109" fmla="*/ 619125 w 8601075"/>
                  <a:gd name="connsiteY109" fmla="*/ 2095500 h 4333875"/>
                  <a:gd name="connsiteX110" fmla="*/ 542925 w 8601075"/>
                  <a:gd name="connsiteY110" fmla="*/ 2228850 h 4333875"/>
                  <a:gd name="connsiteX111" fmla="*/ 485775 w 8601075"/>
                  <a:gd name="connsiteY111" fmla="*/ 2362200 h 4333875"/>
                  <a:gd name="connsiteX112" fmla="*/ 552450 w 8601075"/>
                  <a:gd name="connsiteY112" fmla="*/ 2486025 h 4333875"/>
                  <a:gd name="connsiteX113" fmla="*/ 771525 w 8601075"/>
                  <a:gd name="connsiteY113" fmla="*/ 2571750 h 4333875"/>
                  <a:gd name="connsiteX114" fmla="*/ 866775 w 8601075"/>
                  <a:gd name="connsiteY114" fmla="*/ 2571750 h 4333875"/>
                  <a:gd name="connsiteX115" fmla="*/ 914400 w 8601075"/>
                  <a:gd name="connsiteY115" fmla="*/ 2638425 h 4333875"/>
                  <a:gd name="connsiteX116" fmla="*/ 1066800 w 8601075"/>
                  <a:gd name="connsiteY116" fmla="*/ 2638425 h 4333875"/>
                  <a:gd name="connsiteX117" fmla="*/ 1285875 w 8601075"/>
                  <a:gd name="connsiteY117" fmla="*/ 2705100 h 4333875"/>
                  <a:gd name="connsiteX118" fmla="*/ 1438275 w 8601075"/>
                  <a:gd name="connsiteY118" fmla="*/ 2838450 h 4333875"/>
                  <a:gd name="connsiteX119" fmla="*/ 1485900 w 8601075"/>
                  <a:gd name="connsiteY119" fmla="*/ 2914650 h 4333875"/>
                  <a:gd name="connsiteX120" fmla="*/ 1657350 w 8601075"/>
                  <a:gd name="connsiteY120" fmla="*/ 3038475 h 4333875"/>
                  <a:gd name="connsiteX121" fmla="*/ 1752600 w 8601075"/>
                  <a:gd name="connsiteY121" fmla="*/ 3057525 h 4333875"/>
                  <a:gd name="connsiteX122" fmla="*/ 1724025 w 8601075"/>
                  <a:gd name="connsiteY122" fmla="*/ 3143250 h 4333875"/>
                  <a:gd name="connsiteX123" fmla="*/ 1724025 w 8601075"/>
                  <a:gd name="connsiteY123" fmla="*/ 3143250 h 4333875"/>
                  <a:gd name="connsiteX124" fmla="*/ 1781175 w 8601075"/>
                  <a:gd name="connsiteY124" fmla="*/ 3181350 h 4333875"/>
                  <a:gd name="connsiteX125" fmla="*/ 1819275 w 8601075"/>
                  <a:gd name="connsiteY125" fmla="*/ 3362325 h 4333875"/>
                  <a:gd name="connsiteX126" fmla="*/ 1828800 w 8601075"/>
                  <a:gd name="connsiteY126" fmla="*/ 3457575 h 4333875"/>
                  <a:gd name="connsiteX127" fmla="*/ 1971675 w 8601075"/>
                  <a:gd name="connsiteY127" fmla="*/ 3590925 h 4333875"/>
                  <a:gd name="connsiteX128" fmla="*/ 1990725 w 8601075"/>
                  <a:gd name="connsiteY128" fmla="*/ 3714750 h 4333875"/>
                  <a:gd name="connsiteX129" fmla="*/ 2200275 w 8601075"/>
                  <a:gd name="connsiteY129" fmla="*/ 3695700 h 4333875"/>
                  <a:gd name="connsiteX130" fmla="*/ 2886075 w 8601075"/>
                  <a:gd name="connsiteY130" fmla="*/ 3886200 h 4333875"/>
                  <a:gd name="connsiteX131" fmla="*/ 3038475 w 8601075"/>
                  <a:gd name="connsiteY131" fmla="*/ 3819525 h 4333875"/>
                  <a:gd name="connsiteX132" fmla="*/ 3105150 w 8601075"/>
                  <a:gd name="connsiteY132" fmla="*/ 3867150 h 4333875"/>
                  <a:gd name="connsiteX133" fmla="*/ 3181350 w 8601075"/>
                  <a:gd name="connsiteY133" fmla="*/ 3800475 h 4333875"/>
                  <a:gd name="connsiteX134" fmla="*/ 3590925 w 8601075"/>
                  <a:gd name="connsiteY134" fmla="*/ 3943350 h 4333875"/>
                  <a:gd name="connsiteX135" fmla="*/ 3686175 w 8601075"/>
                  <a:gd name="connsiteY135" fmla="*/ 4057650 h 4333875"/>
                  <a:gd name="connsiteX136" fmla="*/ 3838575 w 8601075"/>
                  <a:gd name="connsiteY136" fmla="*/ 4057650 h 4333875"/>
                  <a:gd name="connsiteX137" fmla="*/ 4162425 w 8601075"/>
                  <a:gd name="connsiteY137" fmla="*/ 4248150 h 4333875"/>
                  <a:gd name="connsiteX138" fmla="*/ 4391025 w 8601075"/>
                  <a:gd name="connsiteY138" fmla="*/ 4200525 h 4333875"/>
                  <a:gd name="connsiteX139" fmla="*/ 4410075 w 8601075"/>
                  <a:gd name="connsiteY139" fmla="*/ 4305300 h 4333875"/>
                  <a:gd name="connsiteX140" fmla="*/ 4505325 w 8601075"/>
                  <a:gd name="connsiteY140" fmla="*/ 4276725 h 4333875"/>
                  <a:gd name="connsiteX141" fmla="*/ 4572000 w 8601075"/>
                  <a:gd name="connsiteY141" fmla="*/ 4333875 h 4333875"/>
                  <a:gd name="connsiteX142" fmla="*/ 4591050 w 8601075"/>
                  <a:gd name="connsiteY142" fmla="*/ 4248150 h 4333875"/>
                  <a:gd name="connsiteX143" fmla="*/ 5295900 w 8601075"/>
                  <a:gd name="connsiteY143" fmla="*/ 3924300 h 4333875"/>
                  <a:gd name="connsiteX144" fmla="*/ 5353050 w 8601075"/>
                  <a:gd name="connsiteY144" fmla="*/ 3990975 h 4333875"/>
                  <a:gd name="connsiteX145" fmla="*/ 5524500 w 8601075"/>
                  <a:gd name="connsiteY145" fmla="*/ 3914775 h 4333875"/>
                  <a:gd name="connsiteX146" fmla="*/ 5667375 w 8601075"/>
                  <a:gd name="connsiteY146" fmla="*/ 3962400 h 4333875"/>
                  <a:gd name="connsiteX147" fmla="*/ 5753100 w 8601075"/>
                  <a:gd name="connsiteY147" fmla="*/ 3924300 h 4333875"/>
                  <a:gd name="connsiteX148" fmla="*/ 5905500 w 8601075"/>
                  <a:gd name="connsiteY148" fmla="*/ 3943350 h 4333875"/>
                  <a:gd name="connsiteX149" fmla="*/ 6000750 w 8601075"/>
                  <a:gd name="connsiteY149" fmla="*/ 3800475 h 4333875"/>
                  <a:gd name="connsiteX150" fmla="*/ 6153150 w 8601075"/>
                  <a:gd name="connsiteY150" fmla="*/ 3781425 h 4333875"/>
                  <a:gd name="connsiteX151" fmla="*/ 6257925 w 8601075"/>
                  <a:gd name="connsiteY151" fmla="*/ 3581400 h 4333875"/>
                  <a:gd name="connsiteX152" fmla="*/ 6448425 w 8601075"/>
                  <a:gd name="connsiteY152" fmla="*/ 3448050 h 4333875"/>
                  <a:gd name="connsiteX153" fmla="*/ 6581775 w 8601075"/>
                  <a:gd name="connsiteY153" fmla="*/ 3276600 h 4333875"/>
                  <a:gd name="connsiteX154" fmla="*/ 6496050 w 8601075"/>
                  <a:gd name="connsiteY154" fmla="*/ 3228975 h 4333875"/>
                  <a:gd name="connsiteX155" fmla="*/ 6438900 w 8601075"/>
                  <a:gd name="connsiteY155" fmla="*/ 3162300 h 4333875"/>
                  <a:gd name="connsiteX156" fmla="*/ 6419850 w 8601075"/>
                  <a:gd name="connsiteY156" fmla="*/ 3105150 h 4333875"/>
                  <a:gd name="connsiteX157" fmla="*/ 6362700 w 8601075"/>
                  <a:gd name="connsiteY157" fmla="*/ 3076575 h 4333875"/>
                  <a:gd name="connsiteX158" fmla="*/ 6410325 w 8601075"/>
                  <a:gd name="connsiteY158" fmla="*/ 3019425 h 4333875"/>
                  <a:gd name="connsiteX159" fmla="*/ 6438900 w 8601075"/>
                  <a:gd name="connsiteY159" fmla="*/ 2819400 h 4333875"/>
                  <a:gd name="connsiteX160" fmla="*/ 6496050 w 8601075"/>
                  <a:gd name="connsiteY160" fmla="*/ 2762250 h 4333875"/>
                  <a:gd name="connsiteX161" fmla="*/ 6657975 w 8601075"/>
                  <a:gd name="connsiteY161" fmla="*/ 2752725 h 4333875"/>
                  <a:gd name="connsiteX162" fmla="*/ 6781800 w 8601075"/>
                  <a:gd name="connsiteY162" fmla="*/ 2838450 h 4333875"/>
                  <a:gd name="connsiteX163" fmla="*/ 7010400 w 8601075"/>
                  <a:gd name="connsiteY163" fmla="*/ 2838450 h 4333875"/>
                  <a:gd name="connsiteX164" fmla="*/ 7162800 w 8601075"/>
                  <a:gd name="connsiteY164" fmla="*/ 2705100 h 4333875"/>
                  <a:gd name="connsiteX165" fmla="*/ 7229475 w 8601075"/>
                  <a:gd name="connsiteY165" fmla="*/ 2590800 h 4333875"/>
                  <a:gd name="connsiteX166" fmla="*/ 7248525 w 8601075"/>
                  <a:gd name="connsiteY166" fmla="*/ 2524125 h 4333875"/>
                  <a:gd name="connsiteX167" fmla="*/ 7372350 w 8601075"/>
                  <a:gd name="connsiteY167" fmla="*/ 2543175 h 4333875"/>
                  <a:gd name="connsiteX168" fmla="*/ 7553325 w 8601075"/>
                  <a:gd name="connsiteY168" fmla="*/ 2447925 h 4333875"/>
                  <a:gd name="connsiteX169" fmla="*/ 7620000 w 8601075"/>
                  <a:gd name="connsiteY169" fmla="*/ 2324100 h 4333875"/>
                  <a:gd name="connsiteX170" fmla="*/ 7696200 w 8601075"/>
                  <a:gd name="connsiteY170" fmla="*/ 2314575 h 4333875"/>
                  <a:gd name="connsiteX171" fmla="*/ 7658100 w 8601075"/>
                  <a:gd name="connsiteY171" fmla="*/ 2257425 h 4333875"/>
                  <a:gd name="connsiteX172" fmla="*/ 7753350 w 8601075"/>
                  <a:gd name="connsiteY172" fmla="*/ 2057400 h 4333875"/>
                  <a:gd name="connsiteX173" fmla="*/ 7934325 w 8601075"/>
                  <a:gd name="connsiteY173" fmla="*/ 2028825 h 4333875"/>
                  <a:gd name="connsiteX174" fmla="*/ 7953375 w 8601075"/>
                  <a:gd name="connsiteY174" fmla="*/ 1952625 h 4333875"/>
                  <a:gd name="connsiteX175" fmla="*/ 7953375 w 8601075"/>
                  <a:gd name="connsiteY175" fmla="*/ 1952625 h 4333875"/>
                  <a:gd name="connsiteX176" fmla="*/ 8010525 w 8601075"/>
                  <a:gd name="connsiteY176" fmla="*/ 1895475 h 4333875"/>
                  <a:gd name="connsiteX177" fmla="*/ 8048625 w 8601075"/>
                  <a:gd name="connsiteY177" fmla="*/ 1971675 h 4333875"/>
                  <a:gd name="connsiteX178" fmla="*/ 8077200 w 8601075"/>
                  <a:gd name="connsiteY178" fmla="*/ 1885950 h 4333875"/>
                  <a:gd name="connsiteX179" fmla="*/ 8220075 w 8601075"/>
                  <a:gd name="connsiteY179" fmla="*/ 1847850 h 4333875"/>
                  <a:gd name="connsiteX180" fmla="*/ 8296275 w 8601075"/>
                  <a:gd name="connsiteY180" fmla="*/ 1809750 h 4333875"/>
                  <a:gd name="connsiteX181" fmla="*/ 8324850 w 8601075"/>
                  <a:gd name="connsiteY181" fmla="*/ 1790700 h 4333875"/>
                  <a:gd name="connsiteX182" fmla="*/ 8410575 w 8601075"/>
                  <a:gd name="connsiteY182" fmla="*/ 1847850 h 4333875"/>
                  <a:gd name="connsiteX183" fmla="*/ 8505825 w 8601075"/>
                  <a:gd name="connsiteY183" fmla="*/ 1781175 h 4333875"/>
                  <a:gd name="connsiteX184" fmla="*/ 8572500 w 8601075"/>
                  <a:gd name="connsiteY184" fmla="*/ 1809750 h 4333875"/>
                  <a:gd name="connsiteX185" fmla="*/ 8601075 w 8601075"/>
                  <a:gd name="connsiteY185" fmla="*/ 1704975 h 4333875"/>
                  <a:gd name="connsiteX186" fmla="*/ 8553450 w 8601075"/>
                  <a:gd name="connsiteY186" fmla="*/ 1676400 h 4333875"/>
                  <a:gd name="connsiteX187" fmla="*/ 8534400 w 8601075"/>
                  <a:gd name="connsiteY187" fmla="*/ 1609725 h 4333875"/>
                  <a:gd name="connsiteX188" fmla="*/ 8277225 w 8601075"/>
                  <a:gd name="connsiteY188" fmla="*/ 1409700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124825 w 8601075"/>
                  <a:gd name="connsiteY191" fmla="*/ 1352550 h 4333875"/>
                  <a:gd name="connsiteX192" fmla="*/ 7924800 w 8601075"/>
                  <a:gd name="connsiteY192" fmla="*/ 1362075 h 4333875"/>
                  <a:gd name="connsiteX193" fmla="*/ 7867650 w 8601075"/>
                  <a:gd name="connsiteY193" fmla="*/ 1457325 h 4333875"/>
                  <a:gd name="connsiteX194" fmla="*/ 7896225 w 8601075"/>
                  <a:gd name="connsiteY194" fmla="*/ 1476375 h 4333875"/>
                  <a:gd name="connsiteX195" fmla="*/ 7858125 w 8601075"/>
                  <a:gd name="connsiteY195" fmla="*/ 1533525 h 4333875"/>
                  <a:gd name="connsiteX196" fmla="*/ 7658100 w 8601075"/>
                  <a:gd name="connsiteY196" fmla="*/ 1447800 h 4333875"/>
                  <a:gd name="connsiteX197" fmla="*/ 7515225 w 8601075"/>
                  <a:gd name="connsiteY197" fmla="*/ 1495425 h 4333875"/>
                  <a:gd name="connsiteX198" fmla="*/ 7467600 w 8601075"/>
                  <a:gd name="connsiteY198" fmla="*/ 1581150 h 4333875"/>
                  <a:gd name="connsiteX199" fmla="*/ 7296150 w 8601075"/>
                  <a:gd name="connsiteY19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781425 w 8601075"/>
                  <a:gd name="connsiteY47" fmla="*/ 590550 h 4333875"/>
                  <a:gd name="connsiteX48" fmla="*/ 3810000 w 8601075"/>
                  <a:gd name="connsiteY48" fmla="*/ 514350 h 4333875"/>
                  <a:gd name="connsiteX49" fmla="*/ 3781425 w 8601075"/>
                  <a:gd name="connsiteY49" fmla="*/ 390525 h 4333875"/>
                  <a:gd name="connsiteX50" fmla="*/ 3771900 w 8601075"/>
                  <a:gd name="connsiteY50" fmla="*/ 352425 h 4333875"/>
                  <a:gd name="connsiteX51" fmla="*/ 3600450 w 8601075"/>
                  <a:gd name="connsiteY51" fmla="*/ 285750 h 4333875"/>
                  <a:gd name="connsiteX52" fmla="*/ 3533775 w 8601075"/>
                  <a:gd name="connsiteY52" fmla="*/ 314325 h 4333875"/>
                  <a:gd name="connsiteX53" fmla="*/ 3409950 w 8601075"/>
                  <a:gd name="connsiteY53" fmla="*/ 190500 h 4333875"/>
                  <a:gd name="connsiteX54" fmla="*/ 3257550 w 8601075"/>
                  <a:gd name="connsiteY54" fmla="*/ 180975 h 4333875"/>
                  <a:gd name="connsiteX55" fmla="*/ 3209925 w 8601075"/>
                  <a:gd name="connsiteY55" fmla="*/ 104775 h 4333875"/>
                  <a:gd name="connsiteX56" fmla="*/ 3152775 w 8601075"/>
                  <a:gd name="connsiteY56" fmla="*/ 104775 h 4333875"/>
                  <a:gd name="connsiteX57" fmla="*/ 2990850 w 8601075"/>
                  <a:gd name="connsiteY57" fmla="*/ 0 h 4333875"/>
                  <a:gd name="connsiteX58" fmla="*/ 2933700 w 8601075"/>
                  <a:gd name="connsiteY58" fmla="*/ 114300 h 4333875"/>
                  <a:gd name="connsiteX59" fmla="*/ 2867025 w 8601075"/>
                  <a:gd name="connsiteY59" fmla="*/ 171450 h 4333875"/>
                  <a:gd name="connsiteX60" fmla="*/ 2867025 w 8601075"/>
                  <a:gd name="connsiteY60" fmla="*/ 171450 h 4333875"/>
                  <a:gd name="connsiteX61" fmla="*/ 2800350 w 8601075"/>
                  <a:gd name="connsiteY61" fmla="*/ 257175 h 4333875"/>
                  <a:gd name="connsiteX62" fmla="*/ 2724150 w 8601075"/>
                  <a:gd name="connsiteY62" fmla="*/ 304800 h 4333875"/>
                  <a:gd name="connsiteX63" fmla="*/ 2705100 w 8601075"/>
                  <a:gd name="connsiteY63" fmla="*/ 466725 h 4333875"/>
                  <a:gd name="connsiteX64" fmla="*/ 2762250 w 8601075"/>
                  <a:gd name="connsiteY64" fmla="*/ 571500 h 4333875"/>
                  <a:gd name="connsiteX65" fmla="*/ 2800350 w 8601075"/>
                  <a:gd name="connsiteY65" fmla="*/ 628650 h 4333875"/>
                  <a:gd name="connsiteX66" fmla="*/ 2752725 w 8601075"/>
                  <a:gd name="connsiteY66" fmla="*/ 781050 h 4333875"/>
                  <a:gd name="connsiteX67" fmla="*/ 2686050 w 8601075"/>
                  <a:gd name="connsiteY67" fmla="*/ 857250 h 4333875"/>
                  <a:gd name="connsiteX68" fmla="*/ 2609850 w 8601075"/>
                  <a:gd name="connsiteY68" fmla="*/ 857250 h 4333875"/>
                  <a:gd name="connsiteX69" fmla="*/ 2514600 w 8601075"/>
                  <a:gd name="connsiteY69" fmla="*/ 914400 h 4333875"/>
                  <a:gd name="connsiteX70" fmla="*/ 2400300 w 8601075"/>
                  <a:gd name="connsiteY70" fmla="*/ 866775 h 4333875"/>
                  <a:gd name="connsiteX71" fmla="*/ 2305050 w 8601075"/>
                  <a:gd name="connsiteY71" fmla="*/ 809625 h 4333875"/>
                  <a:gd name="connsiteX72" fmla="*/ 2200275 w 8601075"/>
                  <a:gd name="connsiteY72" fmla="*/ 752475 h 4333875"/>
                  <a:gd name="connsiteX73" fmla="*/ 2105025 w 8601075"/>
                  <a:gd name="connsiteY73" fmla="*/ 762000 h 4333875"/>
                  <a:gd name="connsiteX74" fmla="*/ 1990725 w 8601075"/>
                  <a:gd name="connsiteY74" fmla="*/ 762000 h 4333875"/>
                  <a:gd name="connsiteX75" fmla="*/ 1885950 w 8601075"/>
                  <a:gd name="connsiteY75" fmla="*/ 742950 h 4333875"/>
                  <a:gd name="connsiteX76" fmla="*/ 1800225 w 8601075"/>
                  <a:gd name="connsiteY76" fmla="*/ 638175 h 4333875"/>
                  <a:gd name="connsiteX77" fmla="*/ 1809750 w 8601075"/>
                  <a:gd name="connsiteY77" fmla="*/ 495300 h 4333875"/>
                  <a:gd name="connsiteX78" fmla="*/ 1733550 w 8601075"/>
                  <a:gd name="connsiteY78" fmla="*/ 466725 h 4333875"/>
                  <a:gd name="connsiteX79" fmla="*/ 1485900 w 8601075"/>
                  <a:gd name="connsiteY79" fmla="*/ 419100 h 4333875"/>
                  <a:gd name="connsiteX80" fmla="*/ 1457325 w 8601075"/>
                  <a:gd name="connsiteY80" fmla="*/ 323850 h 4333875"/>
                  <a:gd name="connsiteX81" fmla="*/ 1457325 w 8601075"/>
                  <a:gd name="connsiteY81" fmla="*/ 323850 h 4333875"/>
                  <a:gd name="connsiteX82" fmla="*/ 1323975 w 8601075"/>
                  <a:gd name="connsiteY82" fmla="*/ 285750 h 4333875"/>
                  <a:gd name="connsiteX83" fmla="*/ 1266825 w 8601075"/>
                  <a:gd name="connsiteY83" fmla="*/ 352425 h 4333875"/>
                  <a:gd name="connsiteX84" fmla="*/ 1009650 w 8601075"/>
                  <a:gd name="connsiteY84" fmla="*/ 390525 h 4333875"/>
                  <a:gd name="connsiteX85" fmla="*/ 828675 w 8601075"/>
                  <a:gd name="connsiteY85" fmla="*/ 447675 h 4333875"/>
                  <a:gd name="connsiteX86" fmla="*/ 619125 w 8601075"/>
                  <a:gd name="connsiteY86" fmla="*/ 533400 h 4333875"/>
                  <a:gd name="connsiteX87" fmla="*/ 619125 w 8601075"/>
                  <a:gd name="connsiteY87" fmla="*/ 533400 h 4333875"/>
                  <a:gd name="connsiteX88" fmla="*/ 561975 w 8601075"/>
                  <a:gd name="connsiteY88" fmla="*/ 61912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295275 w 8601075"/>
                  <a:gd name="connsiteY92" fmla="*/ 657225 h 4333875"/>
                  <a:gd name="connsiteX93" fmla="*/ 180975 w 8601075"/>
                  <a:gd name="connsiteY93" fmla="*/ 638175 h 4333875"/>
                  <a:gd name="connsiteX94" fmla="*/ 180975 w 8601075"/>
                  <a:gd name="connsiteY94" fmla="*/ 638175 h 4333875"/>
                  <a:gd name="connsiteX95" fmla="*/ 57150 w 8601075"/>
                  <a:gd name="connsiteY95" fmla="*/ 733425 h 4333875"/>
                  <a:gd name="connsiteX96" fmla="*/ 19050 w 8601075"/>
                  <a:gd name="connsiteY96" fmla="*/ 790575 h 4333875"/>
                  <a:gd name="connsiteX97" fmla="*/ 0 w 8601075"/>
                  <a:gd name="connsiteY97" fmla="*/ 876300 h 4333875"/>
                  <a:gd name="connsiteX98" fmla="*/ 57150 w 8601075"/>
                  <a:gd name="connsiteY98" fmla="*/ 923925 h 4333875"/>
                  <a:gd name="connsiteX99" fmla="*/ 57150 w 8601075"/>
                  <a:gd name="connsiteY99" fmla="*/ 923925 h 4333875"/>
                  <a:gd name="connsiteX100" fmla="*/ 209550 w 8601075"/>
                  <a:gd name="connsiteY100" fmla="*/ 1114425 h 4333875"/>
                  <a:gd name="connsiteX101" fmla="*/ 209550 w 8601075"/>
                  <a:gd name="connsiteY101" fmla="*/ 1114425 h 4333875"/>
                  <a:gd name="connsiteX102" fmla="*/ 266700 w 8601075"/>
                  <a:gd name="connsiteY102" fmla="*/ 1295400 h 4333875"/>
                  <a:gd name="connsiteX103" fmla="*/ 409575 w 8601075"/>
                  <a:gd name="connsiteY103" fmla="*/ 1276350 h 4333875"/>
                  <a:gd name="connsiteX104" fmla="*/ 466725 w 8601075"/>
                  <a:gd name="connsiteY104" fmla="*/ 1362075 h 4333875"/>
                  <a:gd name="connsiteX105" fmla="*/ 542925 w 8601075"/>
                  <a:gd name="connsiteY105" fmla="*/ 1428750 h 4333875"/>
                  <a:gd name="connsiteX106" fmla="*/ 628650 w 8601075"/>
                  <a:gd name="connsiteY106" fmla="*/ 1571625 h 4333875"/>
                  <a:gd name="connsiteX107" fmla="*/ 628650 w 8601075"/>
                  <a:gd name="connsiteY107" fmla="*/ 1704975 h 4333875"/>
                  <a:gd name="connsiteX108" fmla="*/ 676275 w 8601075"/>
                  <a:gd name="connsiteY108" fmla="*/ 1771650 h 4333875"/>
                  <a:gd name="connsiteX109" fmla="*/ 657225 w 8601075"/>
                  <a:gd name="connsiteY109" fmla="*/ 2000250 h 4333875"/>
                  <a:gd name="connsiteX110" fmla="*/ 619125 w 8601075"/>
                  <a:gd name="connsiteY110" fmla="*/ 2095500 h 4333875"/>
                  <a:gd name="connsiteX111" fmla="*/ 542925 w 8601075"/>
                  <a:gd name="connsiteY111" fmla="*/ 2228850 h 4333875"/>
                  <a:gd name="connsiteX112" fmla="*/ 485775 w 8601075"/>
                  <a:gd name="connsiteY112" fmla="*/ 2362200 h 4333875"/>
                  <a:gd name="connsiteX113" fmla="*/ 552450 w 8601075"/>
                  <a:gd name="connsiteY113" fmla="*/ 2486025 h 4333875"/>
                  <a:gd name="connsiteX114" fmla="*/ 771525 w 8601075"/>
                  <a:gd name="connsiteY114" fmla="*/ 2571750 h 4333875"/>
                  <a:gd name="connsiteX115" fmla="*/ 866775 w 8601075"/>
                  <a:gd name="connsiteY115" fmla="*/ 2571750 h 4333875"/>
                  <a:gd name="connsiteX116" fmla="*/ 914400 w 8601075"/>
                  <a:gd name="connsiteY116" fmla="*/ 2638425 h 4333875"/>
                  <a:gd name="connsiteX117" fmla="*/ 1066800 w 8601075"/>
                  <a:gd name="connsiteY117" fmla="*/ 2638425 h 4333875"/>
                  <a:gd name="connsiteX118" fmla="*/ 1285875 w 8601075"/>
                  <a:gd name="connsiteY118" fmla="*/ 2705100 h 4333875"/>
                  <a:gd name="connsiteX119" fmla="*/ 1438275 w 8601075"/>
                  <a:gd name="connsiteY119" fmla="*/ 2838450 h 4333875"/>
                  <a:gd name="connsiteX120" fmla="*/ 1485900 w 8601075"/>
                  <a:gd name="connsiteY120" fmla="*/ 2914650 h 4333875"/>
                  <a:gd name="connsiteX121" fmla="*/ 1657350 w 8601075"/>
                  <a:gd name="connsiteY121" fmla="*/ 3038475 h 4333875"/>
                  <a:gd name="connsiteX122" fmla="*/ 1752600 w 8601075"/>
                  <a:gd name="connsiteY122" fmla="*/ 3057525 h 4333875"/>
                  <a:gd name="connsiteX123" fmla="*/ 1724025 w 8601075"/>
                  <a:gd name="connsiteY123" fmla="*/ 3143250 h 4333875"/>
                  <a:gd name="connsiteX124" fmla="*/ 1724025 w 8601075"/>
                  <a:gd name="connsiteY124" fmla="*/ 3143250 h 4333875"/>
                  <a:gd name="connsiteX125" fmla="*/ 1781175 w 8601075"/>
                  <a:gd name="connsiteY125" fmla="*/ 3181350 h 4333875"/>
                  <a:gd name="connsiteX126" fmla="*/ 1819275 w 8601075"/>
                  <a:gd name="connsiteY126" fmla="*/ 3362325 h 4333875"/>
                  <a:gd name="connsiteX127" fmla="*/ 1828800 w 8601075"/>
                  <a:gd name="connsiteY127" fmla="*/ 3457575 h 4333875"/>
                  <a:gd name="connsiteX128" fmla="*/ 1971675 w 8601075"/>
                  <a:gd name="connsiteY128" fmla="*/ 3590925 h 4333875"/>
                  <a:gd name="connsiteX129" fmla="*/ 1990725 w 8601075"/>
                  <a:gd name="connsiteY129" fmla="*/ 3714750 h 4333875"/>
                  <a:gd name="connsiteX130" fmla="*/ 2200275 w 8601075"/>
                  <a:gd name="connsiteY130" fmla="*/ 3695700 h 4333875"/>
                  <a:gd name="connsiteX131" fmla="*/ 2886075 w 8601075"/>
                  <a:gd name="connsiteY131" fmla="*/ 3886200 h 4333875"/>
                  <a:gd name="connsiteX132" fmla="*/ 3038475 w 8601075"/>
                  <a:gd name="connsiteY132" fmla="*/ 3819525 h 4333875"/>
                  <a:gd name="connsiteX133" fmla="*/ 3105150 w 8601075"/>
                  <a:gd name="connsiteY133" fmla="*/ 3867150 h 4333875"/>
                  <a:gd name="connsiteX134" fmla="*/ 3181350 w 8601075"/>
                  <a:gd name="connsiteY134" fmla="*/ 3800475 h 4333875"/>
                  <a:gd name="connsiteX135" fmla="*/ 3590925 w 8601075"/>
                  <a:gd name="connsiteY135" fmla="*/ 3943350 h 4333875"/>
                  <a:gd name="connsiteX136" fmla="*/ 3686175 w 8601075"/>
                  <a:gd name="connsiteY136" fmla="*/ 4057650 h 4333875"/>
                  <a:gd name="connsiteX137" fmla="*/ 3838575 w 8601075"/>
                  <a:gd name="connsiteY137" fmla="*/ 4057650 h 4333875"/>
                  <a:gd name="connsiteX138" fmla="*/ 4162425 w 8601075"/>
                  <a:gd name="connsiteY138" fmla="*/ 4248150 h 4333875"/>
                  <a:gd name="connsiteX139" fmla="*/ 4391025 w 8601075"/>
                  <a:gd name="connsiteY139" fmla="*/ 4200525 h 4333875"/>
                  <a:gd name="connsiteX140" fmla="*/ 4410075 w 8601075"/>
                  <a:gd name="connsiteY140" fmla="*/ 4305300 h 4333875"/>
                  <a:gd name="connsiteX141" fmla="*/ 4505325 w 8601075"/>
                  <a:gd name="connsiteY141" fmla="*/ 4276725 h 4333875"/>
                  <a:gd name="connsiteX142" fmla="*/ 4572000 w 8601075"/>
                  <a:gd name="connsiteY142" fmla="*/ 4333875 h 4333875"/>
                  <a:gd name="connsiteX143" fmla="*/ 4591050 w 8601075"/>
                  <a:gd name="connsiteY143" fmla="*/ 4248150 h 4333875"/>
                  <a:gd name="connsiteX144" fmla="*/ 5295900 w 8601075"/>
                  <a:gd name="connsiteY144" fmla="*/ 3924300 h 4333875"/>
                  <a:gd name="connsiteX145" fmla="*/ 5353050 w 8601075"/>
                  <a:gd name="connsiteY145" fmla="*/ 3990975 h 4333875"/>
                  <a:gd name="connsiteX146" fmla="*/ 5524500 w 8601075"/>
                  <a:gd name="connsiteY146" fmla="*/ 3914775 h 4333875"/>
                  <a:gd name="connsiteX147" fmla="*/ 5667375 w 8601075"/>
                  <a:gd name="connsiteY147" fmla="*/ 3962400 h 4333875"/>
                  <a:gd name="connsiteX148" fmla="*/ 5753100 w 8601075"/>
                  <a:gd name="connsiteY148" fmla="*/ 3924300 h 4333875"/>
                  <a:gd name="connsiteX149" fmla="*/ 5905500 w 8601075"/>
                  <a:gd name="connsiteY149" fmla="*/ 3943350 h 4333875"/>
                  <a:gd name="connsiteX150" fmla="*/ 6000750 w 8601075"/>
                  <a:gd name="connsiteY150" fmla="*/ 3800475 h 4333875"/>
                  <a:gd name="connsiteX151" fmla="*/ 6153150 w 8601075"/>
                  <a:gd name="connsiteY151" fmla="*/ 3781425 h 4333875"/>
                  <a:gd name="connsiteX152" fmla="*/ 6257925 w 8601075"/>
                  <a:gd name="connsiteY152" fmla="*/ 3581400 h 4333875"/>
                  <a:gd name="connsiteX153" fmla="*/ 6448425 w 8601075"/>
                  <a:gd name="connsiteY153" fmla="*/ 3448050 h 4333875"/>
                  <a:gd name="connsiteX154" fmla="*/ 6581775 w 8601075"/>
                  <a:gd name="connsiteY154" fmla="*/ 3276600 h 4333875"/>
                  <a:gd name="connsiteX155" fmla="*/ 6496050 w 8601075"/>
                  <a:gd name="connsiteY155" fmla="*/ 3228975 h 4333875"/>
                  <a:gd name="connsiteX156" fmla="*/ 6438900 w 8601075"/>
                  <a:gd name="connsiteY156" fmla="*/ 3162300 h 4333875"/>
                  <a:gd name="connsiteX157" fmla="*/ 6419850 w 8601075"/>
                  <a:gd name="connsiteY157" fmla="*/ 3105150 h 4333875"/>
                  <a:gd name="connsiteX158" fmla="*/ 6362700 w 8601075"/>
                  <a:gd name="connsiteY158" fmla="*/ 3076575 h 4333875"/>
                  <a:gd name="connsiteX159" fmla="*/ 6410325 w 8601075"/>
                  <a:gd name="connsiteY159" fmla="*/ 3019425 h 4333875"/>
                  <a:gd name="connsiteX160" fmla="*/ 6438900 w 8601075"/>
                  <a:gd name="connsiteY160" fmla="*/ 2819400 h 4333875"/>
                  <a:gd name="connsiteX161" fmla="*/ 6496050 w 8601075"/>
                  <a:gd name="connsiteY161" fmla="*/ 2762250 h 4333875"/>
                  <a:gd name="connsiteX162" fmla="*/ 6657975 w 8601075"/>
                  <a:gd name="connsiteY162" fmla="*/ 2752725 h 4333875"/>
                  <a:gd name="connsiteX163" fmla="*/ 6781800 w 8601075"/>
                  <a:gd name="connsiteY163" fmla="*/ 2838450 h 4333875"/>
                  <a:gd name="connsiteX164" fmla="*/ 7010400 w 8601075"/>
                  <a:gd name="connsiteY164" fmla="*/ 2838450 h 4333875"/>
                  <a:gd name="connsiteX165" fmla="*/ 7162800 w 8601075"/>
                  <a:gd name="connsiteY165" fmla="*/ 2705100 h 4333875"/>
                  <a:gd name="connsiteX166" fmla="*/ 7229475 w 8601075"/>
                  <a:gd name="connsiteY166" fmla="*/ 2590800 h 4333875"/>
                  <a:gd name="connsiteX167" fmla="*/ 7248525 w 8601075"/>
                  <a:gd name="connsiteY167" fmla="*/ 2524125 h 4333875"/>
                  <a:gd name="connsiteX168" fmla="*/ 7372350 w 8601075"/>
                  <a:gd name="connsiteY168" fmla="*/ 2543175 h 4333875"/>
                  <a:gd name="connsiteX169" fmla="*/ 7553325 w 8601075"/>
                  <a:gd name="connsiteY169" fmla="*/ 2447925 h 4333875"/>
                  <a:gd name="connsiteX170" fmla="*/ 7620000 w 8601075"/>
                  <a:gd name="connsiteY170" fmla="*/ 2324100 h 4333875"/>
                  <a:gd name="connsiteX171" fmla="*/ 7696200 w 8601075"/>
                  <a:gd name="connsiteY171" fmla="*/ 2314575 h 4333875"/>
                  <a:gd name="connsiteX172" fmla="*/ 7658100 w 8601075"/>
                  <a:gd name="connsiteY172" fmla="*/ 2257425 h 4333875"/>
                  <a:gd name="connsiteX173" fmla="*/ 7753350 w 8601075"/>
                  <a:gd name="connsiteY173" fmla="*/ 2057400 h 4333875"/>
                  <a:gd name="connsiteX174" fmla="*/ 7934325 w 8601075"/>
                  <a:gd name="connsiteY174" fmla="*/ 2028825 h 4333875"/>
                  <a:gd name="connsiteX175" fmla="*/ 7953375 w 8601075"/>
                  <a:gd name="connsiteY175" fmla="*/ 1952625 h 4333875"/>
                  <a:gd name="connsiteX176" fmla="*/ 7953375 w 8601075"/>
                  <a:gd name="connsiteY176" fmla="*/ 1952625 h 4333875"/>
                  <a:gd name="connsiteX177" fmla="*/ 8010525 w 8601075"/>
                  <a:gd name="connsiteY177" fmla="*/ 1895475 h 4333875"/>
                  <a:gd name="connsiteX178" fmla="*/ 8048625 w 8601075"/>
                  <a:gd name="connsiteY178" fmla="*/ 1971675 h 4333875"/>
                  <a:gd name="connsiteX179" fmla="*/ 8077200 w 8601075"/>
                  <a:gd name="connsiteY179" fmla="*/ 1885950 h 4333875"/>
                  <a:gd name="connsiteX180" fmla="*/ 8220075 w 8601075"/>
                  <a:gd name="connsiteY180" fmla="*/ 1847850 h 4333875"/>
                  <a:gd name="connsiteX181" fmla="*/ 8296275 w 8601075"/>
                  <a:gd name="connsiteY181" fmla="*/ 1809750 h 4333875"/>
                  <a:gd name="connsiteX182" fmla="*/ 8324850 w 8601075"/>
                  <a:gd name="connsiteY182" fmla="*/ 1790700 h 4333875"/>
                  <a:gd name="connsiteX183" fmla="*/ 8410575 w 8601075"/>
                  <a:gd name="connsiteY183" fmla="*/ 1847850 h 4333875"/>
                  <a:gd name="connsiteX184" fmla="*/ 8505825 w 8601075"/>
                  <a:gd name="connsiteY184" fmla="*/ 1781175 h 4333875"/>
                  <a:gd name="connsiteX185" fmla="*/ 8572500 w 8601075"/>
                  <a:gd name="connsiteY185" fmla="*/ 1809750 h 4333875"/>
                  <a:gd name="connsiteX186" fmla="*/ 8601075 w 8601075"/>
                  <a:gd name="connsiteY186" fmla="*/ 1704975 h 4333875"/>
                  <a:gd name="connsiteX187" fmla="*/ 8553450 w 8601075"/>
                  <a:gd name="connsiteY187" fmla="*/ 1676400 h 4333875"/>
                  <a:gd name="connsiteX188" fmla="*/ 8534400 w 8601075"/>
                  <a:gd name="connsiteY188" fmla="*/ 1609725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124825 w 8601075"/>
                  <a:gd name="connsiteY192" fmla="*/ 1352550 h 4333875"/>
                  <a:gd name="connsiteX193" fmla="*/ 7924800 w 8601075"/>
                  <a:gd name="connsiteY193" fmla="*/ 1362075 h 4333875"/>
                  <a:gd name="connsiteX194" fmla="*/ 7867650 w 8601075"/>
                  <a:gd name="connsiteY194" fmla="*/ 1457325 h 4333875"/>
                  <a:gd name="connsiteX195" fmla="*/ 7896225 w 8601075"/>
                  <a:gd name="connsiteY195" fmla="*/ 1476375 h 4333875"/>
                  <a:gd name="connsiteX196" fmla="*/ 7858125 w 8601075"/>
                  <a:gd name="connsiteY196" fmla="*/ 1533525 h 4333875"/>
                  <a:gd name="connsiteX197" fmla="*/ 7658100 w 8601075"/>
                  <a:gd name="connsiteY197" fmla="*/ 1447800 h 4333875"/>
                  <a:gd name="connsiteX198" fmla="*/ 7515225 w 8601075"/>
                  <a:gd name="connsiteY198" fmla="*/ 1495425 h 4333875"/>
                  <a:gd name="connsiteX199" fmla="*/ 7467600 w 8601075"/>
                  <a:gd name="connsiteY199" fmla="*/ 1581150 h 4333875"/>
                  <a:gd name="connsiteX200" fmla="*/ 7296150 w 8601075"/>
                  <a:gd name="connsiteY20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10000 w 8601075"/>
                  <a:gd name="connsiteY48" fmla="*/ 514350 h 4333875"/>
                  <a:gd name="connsiteX49" fmla="*/ 3781425 w 8601075"/>
                  <a:gd name="connsiteY49" fmla="*/ 390525 h 4333875"/>
                  <a:gd name="connsiteX50" fmla="*/ 3771900 w 8601075"/>
                  <a:gd name="connsiteY50" fmla="*/ 352425 h 4333875"/>
                  <a:gd name="connsiteX51" fmla="*/ 3600450 w 8601075"/>
                  <a:gd name="connsiteY51" fmla="*/ 285750 h 4333875"/>
                  <a:gd name="connsiteX52" fmla="*/ 3533775 w 8601075"/>
                  <a:gd name="connsiteY52" fmla="*/ 314325 h 4333875"/>
                  <a:gd name="connsiteX53" fmla="*/ 3409950 w 8601075"/>
                  <a:gd name="connsiteY53" fmla="*/ 190500 h 4333875"/>
                  <a:gd name="connsiteX54" fmla="*/ 3257550 w 8601075"/>
                  <a:gd name="connsiteY54" fmla="*/ 180975 h 4333875"/>
                  <a:gd name="connsiteX55" fmla="*/ 3209925 w 8601075"/>
                  <a:gd name="connsiteY55" fmla="*/ 104775 h 4333875"/>
                  <a:gd name="connsiteX56" fmla="*/ 3152775 w 8601075"/>
                  <a:gd name="connsiteY56" fmla="*/ 104775 h 4333875"/>
                  <a:gd name="connsiteX57" fmla="*/ 2990850 w 8601075"/>
                  <a:gd name="connsiteY57" fmla="*/ 0 h 4333875"/>
                  <a:gd name="connsiteX58" fmla="*/ 2933700 w 8601075"/>
                  <a:gd name="connsiteY58" fmla="*/ 114300 h 4333875"/>
                  <a:gd name="connsiteX59" fmla="*/ 2867025 w 8601075"/>
                  <a:gd name="connsiteY59" fmla="*/ 171450 h 4333875"/>
                  <a:gd name="connsiteX60" fmla="*/ 2867025 w 8601075"/>
                  <a:gd name="connsiteY60" fmla="*/ 171450 h 4333875"/>
                  <a:gd name="connsiteX61" fmla="*/ 2800350 w 8601075"/>
                  <a:gd name="connsiteY61" fmla="*/ 257175 h 4333875"/>
                  <a:gd name="connsiteX62" fmla="*/ 2724150 w 8601075"/>
                  <a:gd name="connsiteY62" fmla="*/ 304800 h 4333875"/>
                  <a:gd name="connsiteX63" fmla="*/ 2705100 w 8601075"/>
                  <a:gd name="connsiteY63" fmla="*/ 466725 h 4333875"/>
                  <a:gd name="connsiteX64" fmla="*/ 2762250 w 8601075"/>
                  <a:gd name="connsiteY64" fmla="*/ 571500 h 4333875"/>
                  <a:gd name="connsiteX65" fmla="*/ 2800350 w 8601075"/>
                  <a:gd name="connsiteY65" fmla="*/ 628650 h 4333875"/>
                  <a:gd name="connsiteX66" fmla="*/ 2752725 w 8601075"/>
                  <a:gd name="connsiteY66" fmla="*/ 781050 h 4333875"/>
                  <a:gd name="connsiteX67" fmla="*/ 2686050 w 8601075"/>
                  <a:gd name="connsiteY67" fmla="*/ 857250 h 4333875"/>
                  <a:gd name="connsiteX68" fmla="*/ 2609850 w 8601075"/>
                  <a:gd name="connsiteY68" fmla="*/ 857250 h 4333875"/>
                  <a:gd name="connsiteX69" fmla="*/ 2514600 w 8601075"/>
                  <a:gd name="connsiteY69" fmla="*/ 914400 h 4333875"/>
                  <a:gd name="connsiteX70" fmla="*/ 2400300 w 8601075"/>
                  <a:gd name="connsiteY70" fmla="*/ 866775 h 4333875"/>
                  <a:gd name="connsiteX71" fmla="*/ 2305050 w 8601075"/>
                  <a:gd name="connsiteY71" fmla="*/ 809625 h 4333875"/>
                  <a:gd name="connsiteX72" fmla="*/ 2200275 w 8601075"/>
                  <a:gd name="connsiteY72" fmla="*/ 752475 h 4333875"/>
                  <a:gd name="connsiteX73" fmla="*/ 2105025 w 8601075"/>
                  <a:gd name="connsiteY73" fmla="*/ 762000 h 4333875"/>
                  <a:gd name="connsiteX74" fmla="*/ 1990725 w 8601075"/>
                  <a:gd name="connsiteY74" fmla="*/ 762000 h 4333875"/>
                  <a:gd name="connsiteX75" fmla="*/ 1885950 w 8601075"/>
                  <a:gd name="connsiteY75" fmla="*/ 742950 h 4333875"/>
                  <a:gd name="connsiteX76" fmla="*/ 1800225 w 8601075"/>
                  <a:gd name="connsiteY76" fmla="*/ 638175 h 4333875"/>
                  <a:gd name="connsiteX77" fmla="*/ 1809750 w 8601075"/>
                  <a:gd name="connsiteY77" fmla="*/ 495300 h 4333875"/>
                  <a:gd name="connsiteX78" fmla="*/ 1733550 w 8601075"/>
                  <a:gd name="connsiteY78" fmla="*/ 466725 h 4333875"/>
                  <a:gd name="connsiteX79" fmla="*/ 1485900 w 8601075"/>
                  <a:gd name="connsiteY79" fmla="*/ 419100 h 4333875"/>
                  <a:gd name="connsiteX80" fmla="*/ 1457325 w 8601075"/>
                  <a:gd name="connsiteY80" fmla="*/ 323850 h 4333875"/>
                  <a:gd name="connsiteX81" fmla="*/ 1457325 w 8601075"/>
                  <a:gd name="connsiteY81" fmla="*/ 323850 h 4333875"/>
                  <a:gd name="connsiteX82" fmla="*/ 1323975 w 8601075"/>
                  <a:gd name="connsiteY82" fmla="*/ 285750 h 4333875"/>
                  <a:gd name="connsiteX83" fmla="*/ 1266825 w 8601075"/>
                  <a:gd name="connsiteY83" fmla="*/ 352425 h 4333875"/>
                  <a:gd name="connsiteX84" fmla="*/ 1009650 w 8601075"/>
                  <a:gd name="connsiteY84" fmla="*/ 390525 h 4333875"/>
                  <a:gd name="connsiteX85" fmla="*/ 828675 w 8601075"/>
                  <a:gd name="connsiteY85" fmla="*/ 447675 h 4333875"/>
                  <a:gd name="connsiteX86" fmla="*/ 619125 w 8601075"/>
                  <a:gd name="connsiteY86" fmla="*/ 533400 h 4333875"/>
                  <a:gd name="connsiteX87" fmla="*/ 619125 w 8601075"/>
                  <a:gd name="connsiteY87" fmla="*/ 533400 h 4333875"/>
                  <a:gd name="connsiteX88" fmla="*/ 561975 w 8601075"/>
                  <a:gd name="connsiteY88" fmla="*/ 619125 h 4333875"/>
                  <a:gd name="connsiteX89" fmla="*/ 447675 w 8601075"/>
                  <a:gd name="connsiteY89" fmla="*/ 63817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295275 w 8601075"/>
                  <a:gd name="connsiteY92" fmla="*/ 657225 h 4333875"/>
                  <a:gd name="connsiteX93" fmla="*/ 180975 w 8601075"/>
                  <a:gd name="connsiteY93" fmla="*/ 638175 h 4333875"/>
                  <a:gd name="connsiteX94" fmla="*/ 180975 w 8601075"/>
                  <a:gd name="connsiteY94" fmla="*/ 638175 h 4333875"/>
                  <a:gd name="connsiteX95" fmla="*/ 57150 w 8601075"/>
                  <a:gd name="connsiteY95" fmla="*/ 733425 h 4333875"/>
                  <a:gd name="connsiteX96" fmla="*/ 19050 w 8601075"/>
                  <a:gd name="connsiteY96" fmla="*/ 790575 h 4333875"/>
                  <a:gd name="connsiteX97" fmla="*/ 0 w 8601075"/>
                  <a:gd name="connsiteY97" fmla="*/ 876300 h 4333875"/>
                  <a:gd name="connsiteX98" fmla="*/ 57150 w 8601075"/>
                  <a:gd name="connsiteY98" fmla="*/ 923925 h 4333875"/>
                  <a:gd name="connsiteX99" fmla="*/ 57150 w 8601075"/>
                  <a:gd name="connsiteY99" fmla="*/ 923925 h 4333875"/>
                  <a:gd name="connsiteX100" fmla="*/ 209550 w 8601075"/>
                  <a:gd name="connsiteY100" fmla="*/ 1114425 h 4333875"/>
                  <a:gd name="connsiteX101" fmla="*/ 209550 w 8601075"/>
                  <a:gd name="connsiteY101" fmla="*/ 1114425 h 4333875"/>
                  <a:gd name="connsiteX102" fmla="*/ 266700 w 8601075"/>
                  <a:gd name="connsiteY102" fmla="*/ 1295400 h 4333875"/>
                  <a:gd name="connsiteX103" fmla="*/ 409575 w 8601075"/>
                  <a:gd name="connsiteY103" fmla="*/ 1276350 h 4333875"/>
                  <a:gd name="connsiteX104" fmla="*/ 466725 w 8601075"/>
                  <a:gd name="connsiteY104" fmla="*/ 1362075 h 4333875"/>
                  <a:gd name="connsiteX105" fmla="*/ 542925 w 8601075"/>
                  <a:gd name="connsiteY105" fmla="*/ 1428750 h 4333875"/>
                  <a:gd name="connsiteX106" fmla="*/ 628650 w 8601075"/>
                  <a:gd name="connsiteY106" fmla="*/ 1571625 h 4333875"/>
                  <a:gd name="connsiteX107" fmla="*/ 628650 w 8601075"/>
                  <a:gd name="connsiteY107" fmla="*/ 1704975 h 4333875"/>
                  <a:gd name="connsiteX108" fmla="*/ 676275 w 8601075"/>
                  <a:gd name="connsiteY108" fmla="*/ 1771650 h 4333875"/>
                  <a:gd name="connsiteX109" fmla="*/ 657225 w 8601075"/>
                  <a:gd name="connsiteY109" fmla="*/ 2000250 h 4333875"/>
                  <a:gd name="connsiteX110" fmla="*/ 619125 w 8601075"/>
                  <a:gd name="connsiteY110" fmla="*/ 2095500 h 4333875"/>
                  <a:gd name="connsiteX111" fmla="*/ 542925 w 8601075"/>
                  <a:gd name="connsiteY111" fmla="*/ 2228850 h 4333875"/>
                  <a:gd name="connsiteX112" fmla="*/ 485775 w 8601075"/>
                  <a:gd name="connsiteY112" fmla="*/ 2362200 h 4333875"/>
                  <a:gd name="connsiteX113" fmla="*/ 552450 w 8601075"/>
                  <a:gd name="connsiteY113" fmla="*/ 2486025 h 4333875"/>
                  <a:gd name="connsiteX114" fmla="*/ 771525 w 8601075"/>
                  <a:gd name="connsiteY114" fmla="*/ 2571750 h 4333875"/>
                  <a:gd name="connsiteX115" fmla="*/ 866775 w 8601075"/>
                  <a:gd name="connsiteY115" fmla="*/ 2571750 h 4333875"/>
                  <a:gd name="connsiteX116" fmla="*/ 914400 w 8601075"/>
                  <a:gd name="connsiteY116" fmla="*/ 2638425 h 4333875"/>
                  <a:gd name="connsiteX117" fmla="*/ 1066800 w 8601075"/>
                  <a:gd name="connsiteY117" fmla="*/ 2638425 h 4333875"/>
                  <a:gd name="connsiteX118" fmla="*/ 1285875 w 8601075"/>
                  <a:gd name="connsiteY118" fmla="*/ 2705100 h 4333875"/>
                  <a:gd name="connsiteX119" fmla="*/ 1438275 w 8601075"/>
                  <a:gd name="connsiteY119" fmla="*/ 2838450 h 4333875"/>
                  <a:gd name="connsiteX120" fmla="*/ 1485900 w 8601075"/>
                  <a:gd name="connsiteY120" fmla="*/ 2914650 h 4333875"/>
                  <a:gd name="connsiteX121" fmla="*/ 1657350 w 8601075"/>
                  <a:gd name="connsiteY121" fmla="*/ 3038475 h 4333875"/>
                  <a:gd name="connsiteX122" fmla="*/ 1752600 w 8601075"/>
                  <a:gd name="connsiteY122" fmla="*/ 3057525 h 4333875"/>
                  <a:gd name="connsiteX123" fmla="*/ 1724025 w 8601075"/>
                  <a:gd name="connsiteY123" fmla="*/ 3143250 h 4333875"/>
                  <a:gd name="connsiteX124" fmla="*/ 1724025 w 8601075"/>
                  <a:gd name="connsiteY124" fmla="*/ 3143250 h 4333875"/>
                  <a:gd name="connsiteX125" fmla="*/ 1781175 w 8601075"/>
                  <a:gd name="connsiteY125" fmla="*/ 3181350 h 4333875"/>
                  <a:gd name="connsiteX126" fmla="*/ 1819275 w 8601075"/>
                  <a:gd name="connsiteY126" fmla="*/ 3362325 h 4333875"/>
                  <a:gd name="connsiteX127" fmla="*/ 1828800 w 8601075"/>
                  <a:gd name="connsiteY127" fmla="*/ 3457575 h 4333875"/>
                  <a:gd name="connsiteX128" fmla="*/ 1971675 w 8601075"/>
                  <a:gd name="connsiteY128" fmla="*/ 3590925 h 4333875"/>
                  <a:gd name="connsiteX129" fmla="*/ 1990725 w 8601075"/>
                  <a:gd name="connsiteY129" fmla="*/ 3714750 h 4333875"/>
                  <a:gd name="connsiteX130" fmla="*/ 2200275 w 8601075"/>
                  <a:gd name="connsiteY130" fmla="*/ 3695700 h 4333875"/>
                  <a:gd name="connsiteX131" fmla="*/ 2886075 w 8601075"/>
                  <a:gd name="connsiteY131" fmla="*/ 3886200 h 4333875"/>
                  <a:gd name="connsiteX132" fmla="*/ 3038475 w 8601075"/>
                  <a:gd name="connsiteY132" fmla="*/ 3819525 h 4333875"/>
                  <a:gd name="connsiteX133" fmla="*/ 3105150 w 8601075"/>
                  <a:gd name="connsiteY133" fmla="*/ 3867150 h 4333875"/>
                  <a:gd name="connsiteX134" fmla="*/ 3181350 w 8601075"/>
                  <a:gd name="connsiteY134" fmla="*/ 3800475 h 4333875"/>
                  <a:gd name="connsiteX135" fmla="*/ 3590925 w 8601075"/>
                  <a:gd name="connsiteY135" fmla="*/ 3943350 h 4333875"/>
                  <a:gd name="connsiteX136" fmla="*/ 3686175 w 8601075"/>
                  <a:gd name="connsiteY136" fmla="*/ 4057650 h 4333875"/>
                  <a:gd name="connsiteX137" fmla="*/ 3838575 w 8601075"/>
                  <a:gd name="connsiteY137" fmla="*/ 4057650 h 4333875"/>
                  <a:gd name="connsiteX138" fmla="*/ 4162425 w 8601075"/>
                  <a:gd name="connsiteY138" fmla="*/ 4248150 h 4333875"/>
                  <a:gd name="connsiteX139" fmla="*/ 4391025 w 8601075"/>
                  <a:gd name="connsiteY139" fmla="*/ 4200525 h 4333875"/>
                  <a:gd name="connsiteX140" fmla="*/ 4410075 w 8601075"/>
                  <a:gd name="connsiteY140" fmla="*/ 4305300 h 4333875"/>
                  <a:gd name="connsiteX141" fmla="*/ 4505325 w 8601075"/>
                  <a:gd name="connsiteY141" fmla="*/ 4276725 h 4333875"/>
                  <a:gd name="connsiteX142" fmla="*/ 4572000 w 8601075"/>
                  <a:gd name="connsiteY142" fmla="*/ 4333875 h 4333875"/>
                  <a:gd name="connsiteX143" fmla="*/ 4591050 w 8601075"/>
                  <a:gd name="connsiteY143" fmla="*/ 4248150 h 4333875"/>
                  <a:gd name="connsiteX144" fmla="*/ 5295900 w 8601075"/>
                  <a:gd name="connsiteY144" fmla="*/ 3924300 h 4333875"/>
                  <a:gd name="connsiteX145" fmla="*/ 5353050 w 8601075"/>
                  <a:gd name="connsiteY145" fmla="*/ 3990975 h 4333875"/>
                  <a:gd name="connsiteX146" fmla="*/ 5524500 w 8601075"/>
                  <a:gd name="connsiteY146" fmla="*/ 3914775 h 4333875"/>
                  <a:gd name="connsiteX147" fmla="*/ 5667375 w 8601075"/>
                  <a:gd name="connsiteY147" fmla="*/ 3962400 h 4333875"/>
                  <a:gd name="connsiteX148" fmla="*/ 5753100 w 8601075"/>
                  <a:gd name="connsiteY148" fmla="*/ 3924300 h 4333875"/>
                  <a:gd name="connsiteX149" fmla="*/ 5905500 w 8601075"/>
                  <a:gd name="connsiteY149" fmla="*/ 3943350 h 4333875"/>
                  <a:gd name="connsiteX150" fmla="*/ 6000750 w 8601075"/>
                  <a:gd name="connsiteY150" fmla="*/ 3800475 h 4333875"/>
                  <a:gd name="connsiteX151" fmla="*/ 6153150 w 8601075"/>
                  <a:gd name="connsiteY151" fmla="*/ 3781425 h 4333875"/>
                  <a:gd name="connsiteX152" fmla="*/ 6257925 w 8601075"/>
                  <a:gd name="connsiteY152" fmla="*/ 3581400 h 4333875"/>
                  <a:gd name="connsiteX153" fmla="*/ 6448425 w 8601075"/>
                  <a:gd name="connsiteY153" fmla="*/ 3448050 h 4333875"/>
                  <a:gd name="connsiteX154" fmla="*/ 6581775 w 8601075"/>
                  <a:gd name="connsiteY154" fmla="*/ 3276600 h 4333875"/>
                  <a:gd name="connsiteX155" fmla="*/ 6496050 w 8601075"/>
                  <a:gd name="connsiteY155" fmla="*/ 3228975 h 4333875"/>
                  <a:gd name="connsiteX156" fmla="*/ 6438900 w 8601075"/>
                  <a:gd name="connsiteY156" fmla="*/ 3162300 h 4333875"/>
                  <a:gd name="connsiteX157" fmla="*/ 6419850 w 8601075"/>
                  <a:gd name="connsiteY157" fmla="*/ 3105150 h 4333875"/>
                  <a:gd name="connsiteX158" fmla="*/ 6362700 w 8601075"/>
                  <a:gd name="connsiteY158" fmla="*/ 3076575 h 4333875"/>
                  <a:gd name="connsiteX159" fmla="*/ 6410325 w 8601075"/>
                  <a:gd name="connsiteY159" fmla="*/ 3019425 h 4333875"/>
                  <a:gd name="connsiteX160" fmla="*/ 6438900 w 8601075"/>
                  <a:gd name="connsiteY160" fmla="*/ 2819400 h 4333875"/>
                  <a:gd name="connsiteX161" fmla="*/ 6496050 w 8601075"/>
                  <a:gd name="connsiteY161" fmla="*/ 2762250 h 4333875"/>
                  <a:gd name="connsiteX162" fmla="*/ 6657975 w 8601075"/>
                  <a:gd name="connsiteY162" fmla="*/ 2752725 h 4333875"/>
                  <a:gd name="connsiteX163" fmla="*/ 6781800 w 8601075"/>
                  <a:gd name="connsiteY163" fmla="*/ 2838450 h 4333875"/>
                  <a:gd name="connsiteX164" fmla="*/ 7010400 w 8601075"/>
                  <a:gd name="connsiteY164" fmla="*/ 2838450 h 4333875"/>
                  <a:gd name="connsiteX165" fmla="*/ 7162800 w 8601075"/>
                  <a:gd name="connsiteY165" fmla="*/ 2705100 h 4333875"/>
                  <a:gd name="connsiteX166" fmla="*/ 7229475 w 8601075"/>
                  <a:gd name="connsiteY166" fmla="*/ 2590800 h 4333875"/>
                  <a:gd name="connsiteX167" fmla="*/ 7248525 w 8601075"/>
                  <a:gd name="connsiteY167" fmla="*/ 2524125 h 4333875"/>
                  <a:gd name="connsiteX168" fmla="*/ 7372350 w 8601075"/>
                  <a:gd name="connsiteY168" fmla="*/ 2543175 h 4333875"/>
                  <a:gd name="connsiteX169" fmla="*/ 7553325 w 8601075"/>
                  <a:gd name="connsiteY169" fmla="*/ 2447925 h 4333875"/>
                  <a:gd name="connsiteX170" fmla="*/ 7620000 w 8601075"/>
                  <a:gd name="connsiteY170" fmla="*/ 2324100 h 4333875"/>
                  <a:gd name="connsiteX171" fmla="*/ 7696200 w 8601075"/>
                  <a:gd name="connsiteY171" fmla="*/ 2314575 h 4333875"/>
                  <a:gd name="connsiteX172" fmla="*/ 7658100 w 8601075"/>
                  <a:gd name="connsiteY172" fmla="*/ 2257425 h 4333875"/>
                  <a:gd name="connsiteX173" fmla="*/ 7753350 w 8601075"/>
                  <a:gd name="connsiteY173" fmla="*/ 2057400 h 4333875"/>
                  <a:gd name="connsiteX174" fmla="*/ 7934325 w 8601075"/>
                  <a:gd name="connsiteY174" fmla="*/ 2028825 h 4333875"/>
                  <a:gd name="connsiteX175" fmla="*/ 7953375 w 8601075"/>
                  <a:gd name="connsiteY175" fmla="*/ 1952625 h 4333875"/>
                  <a:gd name="connsiteX176" fmla="*/ 7953375 w 8601075"/>
                  <a:gd name="connsiteY176" fmla="*/ 1952625 h 4333875"/>
                  <a:gd name="connsiteX177" fmla="*/ 8010525 w 8601075"/>
                  <a:gd name="connsiteY177" fmla="*/ 1895475 h 4333875"/>
                  <a:gd name="connsiteX178" fmla="*/ 8048625 w 8601075"/>
                  <a:gd name="connsiteY178" fmla="*/ 1971675 h 4333875"/>
                  <a:gd name="connsiteX179" fmla="*/ 8077200 w 8601075"/>
                  <a:gd name="connsiteY179" fmla="*/ 1885950 h 4333875"/>
                  <a:gd name="connsiteX180" fmla="*/ 8220075 w 8601075"/>
                  <a:gd name="connsiteY180" fmla="*/ 1847850 h 4333875"/>
                  <a:gd name="connsiteX181" fmla="*/ 8296275 w 8601075"/>
                  <a:gd name="connsiteY181" fmla="*/ 1809750 h 4333875"/>
                  <a:gd name="connsiteX182" fmla="*/ 8324850 w 8601075"/>
                  <a:gd name="connsiteY182" fmla="*/ 1790700 h 4333875"/>
                  <a:gd name="connsiteX183" fmla="*/ 8410575 w 8601075"/>
                  <a:gd name="connsiteY183" fmla="*/ 1847850 h 4333875"/>
                  <a:gd name="connsiteX184" fmla="*/ 8505825 w 8601075"/>
                  <a:gd name="connsiteY184" fmla="*/ 1781175 h 4333875"/>
                  <a:gd name="connsiteX185" fmla="*/ 8572500 w 8601075"/>
                  <a:gd name="connsiteY185" fmla="*/ 1809750 h 4333875"/>
                  <a:gd name="connsiteX186" fmla="*/ 8601075 w 8601075"/>
                  <a:gd name="connsiteY186" fmla="*/ 1704975 h 4333875"/>
                  <a:gd name="connsiteX187" fmla="*/ 8553450 w 8601075"/>
                  <a:gd name="connsiteY187" fmla="*/ 1676400 h 4333875"/>
                  <a:gd name="connsiteX188" fmla="*/ 8534400 w 8601075"/>
                  <a:gd name="connsiteY188" fmla="*/ 1609725 h 4333875"/>
                  <a:gd name="connsiteX189" fmla="*/ 8277225 w 8601075"/>
                  <a:gd name="connsiteY189" fmla="*/ 1409700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124825 w 8601075"/>
                  <a:gd name="connsiteY192" fmla="*/ 1352550 h 4333875"/>
                  <a:gd name="connsiteX193" fmla="*/ 7924800 w 8601075"/>
                  <a:gd name="connsiteY193" fmla="*/ 1362075 h 4333875"/>
                  <a:gd name="connsiteX194" fmla="*/ 7867650 w 8601075"/>
                  <a:gd name="connsiteY194" fmla="*/ 1457325 h 4333875"/>
                  <a:gd name="connsiteX195" fmla="*/ 7896225 w 8601075"/>
                  <a:gd name="connsiteY195" fmla="*/ 1476375 h 4333875"/>
                  <a:gd name="connsiteX196" fmla="*/ 7858125 w 8601075"/>
                  <a:gd name="connsiteY196" fmla="*/ 1533525 h 4333875"/>
                  <a:gd name="connsiteX197" fmla="*/ 7658100 w 8601075"/>
                  <a:gd name="connsiteY197" fmla="*/ 1447800 h 4333875"/>
                  <a:gd name="connsiteX198" fmla="*/ 7515225 w 8601075"/>
                  <a:gd name="connsiteY198" fmla="*/ 1495425 h 4333875"/>
                  <a:gd name="connsiteX199" fmla="*/ 7467600 w 8601075"/>
                  <a:gd name="connsiteY199" fmla="*/ 1581150 h 4333875"/>
                  <a:gd name="connsiteX200" fmla="*/ 7296150 w 8601075"/>
                  <a:gd name="connsiteY20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0000 w 8601075"/>
                  <a:gd name="connsiteY49" fmla="*/ 514350 h 4333875"/>
                  <a:gd name="connsiteX50" fmla="*/ 3781425 w 8601075"/>
                  <a:gd name="connsiteY50" fmla="*/ 390525 h 4333875"/>
                  <a:gd name="connsiteX51" fmla="*/ 3771900 w 8601075"/>
                  <a:gd name="connsiteY51" fmla="*/ 352425 h 4333875"/>
                  <a:gd name="connsiteX52" fmla="*/ 3600450 w 8601075"/>
                  <a:gd name="connsiteY52" fmla="*/ 285750 h 4333875"/>
                  <a:gd name="connsiteX53" fmla="*/ 3533775 w 8601075"/>
                  <a:gd name="connsiteY53" fmla="*/ 314325 h 4333875"/>
                  <a:gd name="connsiteX54" fmla="*/ 3409950 w 8601075"/>
                  <a:gd name="connsiteY54" fmla="*/ 190500 h 4333875"/>
                  <a:gd name="connsiteX55" fmla="*/ 3257550 w 8601075"/>
                  <a:gd name="connsiteY55" fmla="*/ 180975 h 4333875"/>
                  <a:gd name="connsiteX56" fmla="*/ 3209925 w 8601075"/>
                  <a:gd name="connsiteY56" fmla="*/ 104775 h 4333875"/>
                  <a:gd name="connsiteX57" fmla="*/ 3152775 w 8601075"/>
                  <a:gd name="connsiteY57" fmla="*/ 104775 h 4333875"/>
                  <a:gd name="connsiteX58" fmla="*/ 2990850 w 8601075"/>
                  <a:gd name="connsiteY58" fmla="*/ 0 h 4333875"/>
                  <a:gd name="connsiteX59" fmla="*/ 2933700 w 8601075"/>
                  <a:gd name="connsiteY59" fmla="*/ 114300 h 4333875"/>
                  <a:gd name="connsiteX60" fmla="*/ 2867025 w 8601075"/>
                  <a:gd name="connsiteY60" fmla="*/ 171450 h 4333875"/>
                  <a:gd name="connsiteX61" fmla="*/ 2867025 w 8601075"/>
                  <a:gd name="connsiteY61" fmla="*/ 171450 h 4333875"/>
                  <a:gd name="connsiteX62" fmla="*/ 2800350 w 8601075"/>
                  <a:gd name="connsiteY62" fmla="*/ 257175 h 4333875"/>
                  <a:gd name="connsiteX63" fmla="*/ 2724150 w 8601075"/>
                  <a:gd name="connsiteY63" fmla="*/ 304800 h 4333875"/>
                  <a:gd name="connsiteX64" fmla="*/ 2705100 w 8601075"/>
                  <a:gd name="connsiteY64" fmla="*/ 466725 h 4333875"/>
                  <a:gd name="connsiteX65" fmla="*/ 2762250 w 8601075"/>
                  <a:gd name="connsiteY65" fmla="*/ 571500 h 4333875"/>
                  <a:gd name="connsiteX66" fmla="*/ 2800350 w 8601075"/>
                  <a:gd name="connsiteY66" fmla="*/ 628650 h 4333875"/>
                  <a:gd name="connsiteX67" fmla="*/ 2752725 w 8601075"/>
                  <a:gd name="connsiteY67" fmla="*/ 781050 h 4333875"/>
                  <a:gd name="connsiteX68" fmla="*/ 2686050 w 8601075"/>
                  <a:gd name="connsiteY68" fmla="*/ 857250 h 4333875"/>
                  <a:gd name="connsiteX69" fmla="*/ 2609850 w 8601075"/>
                  <a:gd name="connsiteY69" fmla="*/ 857250 h 4333875"/>
                  <a:gd name="connsiteX70" fmla="*/ 2514600 w 8601075"/>
                  <a:gd name="connsiteY70" fmla="*/ 914400 h 4333875"/>
                  <a:gd name="connsiteX71" fmla="*/ 2400300 w 8601075"/>
                  <a:gd name="connsiteY71" fmla="*/ 866775 h 4333875"/>
                  <a:gd name="connsiteX72" fmla="*/ 2305050 w 8601075"/>
                  <a:gd name="connsiteY72" fmla="*/ 809625 h 4333875"/>
                  <a:gd name="connsiteX73" fmla="*/ 2200275 w 8601075"/>
                  <a:gd name="connsiteY73" fmla="*/ 752475 h 4333875"/>
                  <a:gd name="connsiteX74" fmla="*/ 2105025 w 8601075"/>
                  <a:gd name="connsiteY74" fmla="*/ 762000 h 4333875"/>
                  <a:gd name="connsiteX75" fmla="*/ 1990725 w 8601075"/>
                  <a:gd name="connsiteY75" fmla="*/ 762000 h 4333875"/>
                  <a:gd name="connsiteX76" fmla="*/ 1885950 w 8601075"/>
                  <a:gd name="connsiteY76" fmla="*/ 742950 h 4333875"/>
                  <a:gd name="connsiteX77" fmla="*/ 1800225 w 8601075"/>
                  <a:gd name="connsiteY77" fmla="*/ 638175 h 4333875"/>
                  <a:gd name="connsiteX78" fmla="*/ 1809750 w 8601075"/>
                  <a:gd name="connsiteY78" fmla="*/ 495300 h 4333875"/>
                  <a:gd name="connsiteX79" fmla="*/ 1733550 w 8601075"/>
                  <a:gd name="connsiteY79" fmla="*/ 466725 h 4333875"/>
                  <a:gd name="connsiteX80" fmla="*/ 1485900 w 8601075"/>
                  <a:gd name="connsiteY80" fmla="*/ 419100 h 4333875"/>
                  <a:gd name="connsiteX81" fmla="*/ 1457325 w 8601075"/>
                  <a:gd name="connsiteY81" fmla="*/ 323850 h 4333875"/>
                  <a:gd name="connsiteX82" fmla="*/ 1457325 w 8601075"/>
                  <a:gd name="connsiteY82" fmla="*/ 323850 h 4333875"/>
                  <a:gd name="connsiteX83" fmla="*/ 1323975 w 8601075"/>
                  <a:gd name="connsiteY83" fmla="*/ 285750 h 4333875"/>
                  <a:gd name="connsiteX84" fmla="*/ 1266825 w 8601075"/>
                  <a:gd name="connsiteY84" fmla="*/ 352425 h 4333875"/>
                  <a:gd name="connsiteX85" fmla="*/ 1009650 w 8601075"/>
                  <a:gd name="connsiteY85" fmla="*/ 390525 h 4333875"/>
                  <a:gd name="connsiteX86" fmla="*/ 828675 w 8601075"/>
                  <a:gd name="connsiteY86" fmla="*/ 447675 h 4333875"/>
                  <a:gd name="connsiteX87" fmla="*/ 619125 w 8601075"/>
                  <a:gd name="connsiteY87" fmla="*/ 533400 h 4333875"/>
                  <a:gd name="connsiteX88" fmla="*/ 619125 w 8601075"/>
                  <a:gd name="connsiteY88" fmla="*/ 533400 h 4333875"/>
                  <a:gd name="connsiteX89" fmla="*/ 561975 w 8601075"/>
                  <a:gd name="connsiteY89" fmla="*/ 61912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295275 w 8601075"/>
                  <a:gd name="connsiteY93" fmla="*/ 657225 h 4333875"/>
                  <a:gd name="connsiteX94" fmla="*/ 180975 w 8601075"/>
                  <a:gd name="connsiteY94" fmla="*/ 638175 h 4333875"/>
                  <a:gd name="connsiteX95" fmla="*/ 180975 w 8601075"/>
                  <a:gd name="connsiteY95" fmla="*/ 638175 h 4333875"/>
                  <a:gd name="connsiteX96" fmla="*/ 57150 w 8601075"/>
                  <a:gd name="connsiteY96" fmla="*/ 733425 h 4333875"/>
                  <a:gd name="connsiteX97" fmla="*/ 19050 w 8601075"/>
                  <a:gd name="connsiteY97" fmla="*/ 790575 h 4333875"/>
                  <a:gd name="connsiteX98" fmla="*/ 0 w 8601075"/>
                  <a:gd name="connsiteY98" fmla="*/ 876300 h 4333875"/>
                  <a:gd name="connsiteX99" fmla="*/ 57150 w 8601075"/>
                  <a:gd name="connsiteY99" fmla="*/ 923925 h 4333875"/>
                  <a:gd name="connsiteX100" fmla="*/ 57150 w 8601075"/>
                  <a:gd name="connsiteY100" fmla="*/ 923925 h 4333875"/>
                  <a:gd name="connsiteX101" fmla="*/ 209550 w 8601075"/>
                  <a:gd name="connsiteY101" fmla="*/ 1114425 h 4333875"/>
                  <a:gd name="connsiteX102" fmla="*/ 209550 w 8601075"/>
                  <a:gd name="connsiteY102" fmla="*/ 1114425 h 4333875"/>
                  <a:gd name="connsiteX103" fmla="*/ 266700 w 8601075"/>
                  <a:gd name="connsiteY103" fmla="*/ 1295400 h 4333875"/>
                  <a:gd name="connsiteX104" fmla="*/ 409575 w 8601075"/>
                  <a:gd name="connsiteY104" fmla="*/ 1276350 h 4333875"/>
                  <a:gd name="connsiteX105" fmla="*/ 466725 w 8601075"/>
                  <a:gd name="connsiteY105" fmla="*/ 1362075 h 4333875"/>
                  <a:gd name="connsiteX106" fmla="*/ 542925 w 8601075"/>
                  <a:gd name="connsiteY106" fmla="*/ 1428750 h 4333875"/>
                  <a:gd name="connsiteX107" fmla="*/ 628650 w 8601075"/>
                  <a:gd name="connsiteY107" fmla="*/ 1571625 h 4333875"/>
                  <a:gd name="connsiteX108" fmla="*/ 628650 w 8601075"/>
                  <a:gd name="connsiteY108" fmla="*/ 1704975 h 4333875"/>
                  <a:gd name="connsiteX109" fmla="*/ 676275 w 8601075"/>
                  <a:gd name="connsiteY109" fmla="*/ 1771650 h 4333875"/>
                  <a:gd name="connsiteX110" fmla="*/ 657225 w 8601075"/>
                  <a:gd name="connsiteY110" fmla="*/ 2000250 h 4333875"/>
                  <a:gd name="connsiteX111" fmla="*/ 619125 w 8601075"/>
                  <a:gd name="connsiteY111" fmla="*/ 2095500 h 4333875"/>
                  <a:gd name="connsiteX112" fmla="*/ 542925 w 8601075"/>
                  <a:gd name="connsiteY112" fmla="*/ 2228850 h 4333875"/>
                  <a:gd name="connsiteX113" fmla="*/ 485775 w 8601075"/>
                  <a:gd name="connsiteY113" fmla="*/ 2362200 h 4333875"/>
                  <a:gd name="connsiteX114" fmla="*/ 552450 w 8601075"/>
                  <a:gd name="connsiteY114" fmla="*/ 2486025 h 4333875"/>
                  <a:gd name="connsiteX115" fmla="*/ 771525 w 8601075"/>
                  <a:gd name="connsiteY115" fmla="*/ 2571750 h 4333875"/>
                  <a:gd name="connsiteX116" fmla="*/ 866775 w 8601075"/>
                  <a:gd name="connsiteY116" fmla="*/ 2571750 h 4333875"/>
                  <a:gd name="connsiteX117" fmla="*/ 914400 w 8601075"/>
                  <a:gd name="connsiteY117" fmla="*/ 2638425 h 4333875"/>
                  <a:gd name="connsiteX118" fmla="*/ 1066800 w 8601075"/>
                  <a:gd name="connsiteY118" fmla="*/ 2638425 h 4333875"/>
                  <a:gd name="connsiteX119" fmla="*/ 1285875 w 8601075"/>
                  <a:gd name="connsiteY119" fmla="*/ 2705100 h 4333875"/>
                  <a:gd name="connsiteX120" fmla="*/ 1438275 w 8601075"/>
                  <a:gd name="connsiteY120" fmla="*/ 2838450 h 4333875"/>
                  <a:gd name="connsiteX121" fmla="*/ 1485900 w 8601075"/>
                  <a:gd name="connsiteY121" fmla="*/ 2914650 h 4333875"/>
                  <a:gd name="connsiteX122" fmla="*/ 1657350 w 8601075"/>
                  <a:gd name="connsiteY122" fmla="*/ 3038475 h 4333875"/>
                  <a:gd name="connsiteX123" fmla="*/ 1752600 w 8601075"/>
                  <a:gd name="connsiteY123" fmla="*/ 3057525 h 4333875"/>
                  <a:gd name="connsiteX124" fmla="*/ 1724025 w 8601075"/>
                  <a:gd name="connsiteY124" fmla="*/ 3143250 h 4333875"/>
                  <a:gd name="connsiteX125" fmla="*/ 1724025 w 8601075"/>
                  <a:gd name="connsiteY125" fmla="*/ 3143250 h 4333875"/>
                  <a:gd name="connsiteX126" fmla="*/ 1781175 w 8601075"/>
                  <a:gd name="connsiteY126" fmla="*/ 3181350 h 4333875"/>
                  <a:gd name="connsiteX127" fmla="*/ 1819275 w 8601075"/>
                  <a:gd name="connsiteY127" fmla="*/ 3362325 h 4333875"/>
                  <a:gd name="connsiteX128" fmla="*/ 1828800 w 8601075"/>
                  <a:gd name="connsiteY128" fmla="*/ 3457575 h 4333875"/>
                  <a:gd name="connsiteX129" fmla="*/ 1971675 w 8601075"/>
                  <a:gd name="connsiteY129" fmla="*/ 3590925 h 4333875"/>
                  <a:gd name="connsiteX130" fmla="*/ 1990725 w 8601075"/>
                  <a:gd name="connsiteY130" fmla="*/ 3714750 h 4333875"/>
                  <a:gd name="connsiteX131" fmla="*/ 2200275 w 8601075"/>
                  <a:gd name="connsiteY131" fmla="*/ 3695700 h 4333875"/>
                  <a:gd name="connsiteX132" fmla="*/ 2886075 w 8601075"/>
                  <a:gd name="connsiteY132" fmla="*/ 3886200 h 4333875"/>
                  <a:gd name="connsiteX133" fmla="*/ 3038475 w 8601075"/>
                  <a:gd name="connsiteY133" fmla="*/ 3819525 h 4333875"/>
                  <a:gd name="connsiteX134" fmla="*/ 3105150 w 8601075"/>
                  <a:gd name="connsiteY134" fmla="*/ 3867150 h 4333875"/>
                  <a:gd name="connsiteX135" fmla="*/ 3181350 w 8601075"/>
                  <a:gd name="connsiteY135" fmla="*/ 3800475 h 4333875"/>
                  <a:gd name="connsiteX136" fmla="*/ 3590925 w 8601075"/>
                  <a:gd name="connsiteY136" fmla="*/ 3943350 h 4333875"/>
                  <a:gd name="connsiteX137" fmla="*/ 3686175 w 8601075"/>
                  <a:gd name="connsiteY137" fmla="*/ 4057650 h 4333875"/>
                  <a:gd name="connsiteX138" fmla="*/ 3838575 w 8601075"/>
                  <a:gd name="connsiteY138" fmla="*/ 4057650 h 4333875"/>
                  <a:gd name="connsiteX139" fmla="*/ 4162425 w 8601075"/>
                  <a:gd name="connsiteY139" fmla="*/ 4248150 h 4333875"/>
                  <a:gd name="connsiteX140" fmla="*/ 4391025 w 8601075"/>
                  <a:gd name="connsiteY140" fmla="*/ 4200525 h 4333875"/>
                  <a:gd name="connsiteX141" fmla="*/ 4410075 w 8601075"/>
                  <a:gd name="connsiteY141" fmla="*/ 4305300 h 4333875"/>
                  <a:gd name="connsiteX142" fmla="*/ 4505325 w 8601075"/>
                  <a:gd name="connsiteY142" fmla="*/ 4276725 h 4333875"/>
                  <a:gd name="connsiteX143" fmla="*/ 4572000 w 8601075"/>
                  <a:gd name="connsiteY143" fmla="*/ 4333875 h 4333875"/>
                  <a:gd name="connsiteX144" fmla="*/ 4591050 w 8601075"/>
                  <a:gd name="connsiteY144" fmla="*/ 4248150 h 4333875"/>
                  <a:gd name="connsiteX145" fmla="*/ 5295900 w 8601075"/>
                  <a:gd name="connsiteY145" fmla="*/ 3924300 h 4333875"/>
                  <a:gd name="connsiteX146" fmla="*/ 5353050 w 8601075"/>
                  <a:gd name="connsiteY146" fmla="*/ 3990975 h 4333875"/>
                  <a:gd name="connsiteX147" fmla="*/ 5524500 w 8601075"/>
                  <a:gd name="connsiteY147" fmla="*/ 3914775 h 4333875"/>
                  <a:gd name="connsiteX148" fmla="*/ 5667375 w 8601075"/>
                  <a:gd name="connsiteY148" fmla="*/ 3962400 h 4333875"/>
                  <a:gd name="connsiteX149" fmla="*/ 5753100 w 8601075"/>
                  <a:gd name="connsiteY149" fmla="*/ 3924300 h 4333875"/>
                  <a:gd name="connsiteX150" fmla="*/ 5905500 w 8601075"/>
                  <a:gd name="connsiteY150" fmla="*/ 3943350 h 4333875"/>
                  <a:gd name="connsiteX151" fmla="*/ 6000750 w 8601075"/>
                  <a:gd name="connsiteY151" fmla="*/ 3800475 h 4333875"/>
                  <a:gd name="connsiteX152" fmla="*/ 6153150 w 8601075"/>
                  <a:gd name="connsiteY152" fmla="*/ 3781425 h 4333875"/>
                  <a:gd name="connsiteX153" fmla="*/ 6257925 w 8601075"/>
                  <a:gd name="connsiteY153" fmla="*/ 3581400 h 4333875"/>
                  <a:gd name="connsiteX154" fmla="*/ 6448425 w 8601075"/>
                  <a:gd name="connsiteY154" fmla="*/ 3448050 h 4333875"/>
                  <a:gd name="connsiteX155" fmla="*/ 6581775 w 8601075"/>
                  <a:gd name="connsiteY155" fmla="*/ 3276600 h 4333875"/>
                  <a:gd name="connsiteX156" fmla="*/ 6496050 w 8601075"/>
                  <a:gd name="connsiteY156" fmla="*/ 3228975 h 4333875"/>
                  <a:gd name="connsiteX157" fmla="*/ 6438900 w 8601075"/>
                  <a:gd name="connsiteY157" fmla="*/ 3162300 h 4333875"/>
                  <a:gd name="connsiteX158" fmla="*/ 6419850 w 8601075"/>
                  <a:gd name="connsiteY158" fmla="*/ 3105150 h 4333875"/>
                  <a:gd name="connsiteX159" fmla="*/ 6362700 w 8601075"/>
                  <a:gd name="connsiteY159" fmla="*/ 3076575 h 4333875"/>
                  <a:gd name="connsiteX160" fmla="*/ 6410325 w 8601075"/>
                  <a:gd name="connsiteY160" fmla="*/ 3019425 h 4333875"/>
                  <a:gd name="connsiteX161" fmla="*/ 6438900 w 8601075"/>
                  <a:gd name="connsiteY161" fmla="*/ 2819400 h 4333875"/>
                  <a:gd name="connsiteX162" fmla="*/ 6496050 w 8601075"/>
                  <a:gd name="connsiteY162" fmla="*/ 2762250 h 4333875"/>
                  <a:gd name="connsiteX163" fmla="*/ 6657975 w 8601075"/>
                  <a:gd name="connsiteY163" fmla="*/ 2752725 h 4333875"/>
                  <a:gd name="connsiteX164" fmla="*/ 6781800 w 8601075"/>
                  <a:gd name="connsiteY164" fmla="*/ 2838450 h 4333875"/>
                  <a:gd name="connsiteX165" fmla="*/ 7010400 w 8601075"/>
                  <a:gd name="connsiteY165" fmla="*/ 2838450 h 4333875"/>
                  <a:gd name="connsiteX166" fmla="*/ 7162800 w 8601075"/>
                  <a:gd name="connsiteY166" fmla="*/ 2705100 h 4333875"/>
                  <a:gd name="connsiteX167" fmla="*/ 7229475 w 8601075"/>
                  <a:gd name="connsiteY167" fmla="*/ 2590800 h 4333875"/>
                  <a:gd name="connsiteX168" fmla="*/ 7248525 w 8601075"/>
                  <a:gd name="connsiteY168" fmla="*/ 2524125 h 4333875"/>
                  <a:gd name="connsiteX169" fmla="*/ 7372350 w 8601075"/>
                  <a:gd name="connsiteY169" fmla="*/ 2543175 h 4333875"/>
                  <a:gd name="connsiteX170" fmla="*/ 7553325 w 8601075"/>
                  <a:gd name="connsiteY170" fmla="*/ 2447925 h 4333875"/>
                  <a:gd name="connsiteX171" fmla="*/ 7620000 w 8601075"/>
                  <a:gd name="connsiteY171" fmla="*/ 2324100 h 4333875"/>
                  <a:gd name="connsiteX172" fmla="*/ 7696200 w 8601075"/>
                  <a:gd name="connsiteY172" fmla="*/ 2314575 h 4333875"/>
                  <a:gd name="connsiteX173" fmla="*/ 7658100 w 8601075"/>
                  <a:gd name="connsiteY173" fmla="*/ 2257425 h 4333875"/>
                  <a:gd name="connsiteX174" fmla="*/ 7753350 w 8601075"/>
                  <a:gd name="connsiteY174" fmla="*/ 2057400 h 4333875"/>
                  <a:gd name="connsiteX175" fmla="*/ 7934325 w 8601075"/>
                  <a:gd name="connsiteY175" fmla="*/ 2028825 h 4333875"/>
                  <a:gd name="connsiteX176" fmla="*/ 7953375 w 8601075"/>
                  <a:gd name="connsiteY176" fmla="*/ 1952625 h 4333875"/>
                  <a:gd name="connsiteX177" fmla="*/ 7953375 w 8601075"/>
                  <a:gd name="connsiteY177" fmla="*/ 1952625 h 4333875"/>
                  <a:gd name="connsiteX178" fmla="*/ 8010525 w 8601075"/>
                  <a:gd name="connsiteY178" fmla="*/ 1895475 h 4333875"/>
                  <a:gd name="connsiteX179" fmla="*/ 8048625 w 8601075"/>
                  <a:gd name="connsiteY179" fmla="*/ 1971675 h 4333875"/>
                  <a:gd name="connsiteX180" fmla="*/ 8077200 w 8601075"/>
                  <a:gd name="connsiteY180" fmla="*/ 1885950 h 4333875"/>
                  <a:gd name="connsiteX181" fmla="*/ 8220075 w 8601075"/>
                  <a:gd name="connsiteY181" fmla="*/ 1847850 h 4333875"/>
                  <a:gd name="connsiteX182" fmla="*/ 8296275 w 8601075"/>
                  <a:gd name="connsiteY182" fmla="*/ 1809750 h 4333875"/>
                  <a:gd name="connsiteX183" fmla="*/ 8324850 w 8601075"/>
                  <a:gd name="connsiteY183" fmla="*/ 1790700 h 4333875"/>
                  <a:gd name="connsiteX184" fmla="*/ 8410575 w 8601075"/>
                  <a:gd name="connsiteY184" fmla="*/ 1847850 h 4333875"/>
                  <a:gd name="connsiteX185" fmla="*/ 8505825 w 8601075"/>
                  <a:gd name="connsiteY185" fmla="*/ 1781175 h 4333875"/>
                  <a:gd name="connsiteX186" fmla="*/ 8572500 w 8601075"/>
                  <a:gd name="connsiteY186" fmla="*/ 1809750 h 4333875"/>
                  <a:gd name="connsiteX187" fmla="*/ 8601075 w 8601075"/>
                  <a:gd name="connsiteY187" fmla="*/ 1704975 h 4333875"/>
                  <a:gd name="connsiteX188" fmla="*/ 8553450 w 8601075"/>
                  <a:gd name="connsiteY188" fmla="*/ 1676400 h 4333875"/>
                  <a:gd name="connsiteX189" fmla="*/ 8534400 w 8601075"/>
                  <a:gd name="connsiteY189" fmla="*/ 1609725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124825 w 8601075"/>
                  <a:gd name="connsiteY193" fmla="*/ 1352550 h 4333875"/>
                  <a:gd name="connsiteX194" fmla="*/ 7924800 w 8601075"/>
                  <a:gd name="connsiteY194" fmla="*/ 1362075 h 4333875"/>
                  <a:gd name="connsiteX195" fmla="*/ 7867650 w 8601075"/>
                  <a:gd name="connsiteY195" fmla="*/ 1457325 h 4333875"/>
                  <a:gd name="connsiteX196" fmla="*/ 7896225 w 8601075"/>
                  <a:gd name="connsiteY196" fmla="*/ 1476375 h 4333875"/>
                  <a:gd name="connsiteX197" fmla="*/ 7858125 w 8601075"/>
                  <a:gd name="connsiteY197" fmla="*/ 1533525 h 4333875"/>
                  <a:gd name="connsiteX198" fmla="*/ 7658100 w 8601075"/>
                  <a:gd name="connsiteY198" fmla="*/ 1447800 h 4333875"/>
                  <a:gd name="connsiteX199" fmla="*/ 7515225 w 8601075"/>
                  <a:gd name="connsiteY199" fmla="*/ 1495425 h 4333875"/>
                  <a:gd name="connsiteX200" fmla="*/ 7467600 w 8601075"/>
                  <a:gd name="connsiteY200" fmla="*/ 1581150 h 4333875"/>
                  <a:gd name="connsiteX201" fmla="*/ 7296150 w 8601075"/>
                  <a:gd name="connsiteY20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81425 w 8601075"/>
                  <a:gd name="connsiteY50" fmla="*/ 390525 h 4333875"/>
                  <a:gd name="connsiteX51" fmla="*/ 3771900 w 8601075"/>
                  <a:gd name="connsiteY51" fmla="*/ 352425 h 4333875"/>
                  <a:gd name="connsiteX52" fmla="*/ 3600450 w 8601075"/>
                  <a:gd name="connsiteY52" fmla="*/ 285750 h 4333875"/>
                  <a:gd name="connsiteX53" fmla="*/ 3533775 w 8601075"/>
                  <a:gd name="connsiteY53" fmla="*/ 314325 h 4333875"/>
                  <a:gd name="connsiteX54" fmla="*/ 3409950 w 8601075"/>
                  <a:gd name="connsiteY54" fmla="*/ 190500 h 4333875"/>
                  <a:gd name="connsiteX55" fmla="*/ 3257550 w 8601075"/>
                  <a:gd name="connsiteY55" fmla="*/ 180975 h 4333875"/>
                  <a:gd name="connsiteX56" fmla="*/ 3209925 w 8601075"/>
                  <a:gd name="connsiteY56" fmla="*/ 104775 h 4333875"/>
                  <a:gd name="connsiteX57" fmla="*/ 3152775 w 8601075"/>
                  <a:gd name="connsiteY57" fmla="*/ 104775 h 4333875"/>
                  <a:gd name="connsiteX58" fmla="*/ 2990850 w 8601075"/>
                  <a:gd name="connsiteY58" fmla="*/ 0 h 4333875"/>
                  <a:gd name="connsiteX59" fmla="*/ 2933700 w 8601075"/>
                  <a:gd name="connsiteY59" fmla="*/ 114300 h 4333875"/>
                  <a:gd name="connsiteX60" fmla="*/ 2867025 w 8601075"/>
                  <a:gd name="connsiteY60" fmla="*/ 171450 h 4333875"/>
                  <a:gd name="connsiteX61" fmla="*/ 2867025 w 8601075"/>
                  <a:gd name="connsiteY61" fmla="*/ 171450 h 4333875"/>
                  <a:gd name="connsiteX62" fmla="*/ 2800350 w 8601075"/>
                  <a:gd name="connsiteY62" fmla="*/ 257175 h 4333875"/>
                  <a:gd name="connsiteX63" fmla="*/ 2724150 w 8601075"/>
                  <a:gd name="connsiteY63" fmla="*/ 304800 h 4333875"/>
                  <a:gd name="connsiteX64" fmla="*/ 2705100 w 8601075"/>
                  <a:gd name="connsiteY64" fmla="*/ 466725 h 4333875"/>
                  <a:gd name="connsiteX65" fmla="*/ 2762250 w 8601075"/>
                  <a:gd name="connsiteY65" fmla="*/ 571500 h 4333875"/>
                  <a:gd name="connsiteX66" fmla="*/ 2800350 w 8601075"/>
                  <a:gd name="connsiteY66" fmla="*/ 628650 h 4333875"/>
                  <a:gd name="connsiteX67" fmla="*/ 2752725 w 8601075"/>
                  <a:gd name="connsiteY67" fmla="*/ 781050 h 4333875"/>
                  <a:gd name="connsiteX68" fmla="*/ 2686050 w 8601075"/>
                  <a:gd name="connsiteY68" fmla="*/ 857250 h 4333875"/>
                  <a:gd name="connsiteX69" fmla="*/ 2609850 w 8601075"/>
                  <a:gd name="connsiteY69" fmla="*/ 857250 h 4333875"/>
                  <a:gd name="connsiteX70" fmla="*/ 2514600 w 8601075"/>
                  <a:gd name="connsiteY70" fmla="*/ 914400 h 4333875"/>
                  <a:gd name="connsiteX71" fmla="*/ 2400300 w 8601075"/>
                  <a:gd name="connsiteY71" fmla="*/ 866775 h 4333875"/>
                  <a:gd name="connsiteX72" fmla="*/ 2305050 w 8601075"/>
                  <a:gd name="connsiteY72" fmla="*/ 809625 h 4333875"/>
                  <a:gd name="connsiteX73" fmla="*/ 2200275 w 8601075"/>
                  <a:gd name="connsiteY73" fmla="*/ 752475 h 4333875"/>
                  <a:gd name="connsiteX74" fmla="*/ 2105025 w 8601075"/>
                  <a:gd name="connsiteY74" fmla="*/ 762000 h 4333875"/>
                  <a:gd name="connsiteX75" fmla="*/ 1990725 w 8601075"/>
                  <a:gd name="connsiteY75" fmla="*/ 762000 h 4333875"/>
                  <a:gd name="connsiteX76" fmla="*/ 1885950 w 8601075"/>
                  <a:gd name="connsiteY76" fmla="*/ 742950 h 4333875"/>
                  <a:gd name="connsiteX77" fmla="*/ 1800225 w 8601075"/>
                  <a:gd name="connsiteY77" fmla="*/ 638175 h 4333875"/>
                  <a:gd name="connsiteX78" fmla="*/ 1809750 w 8601075"/>
                  <a:gd name="connsiteY78" fmla="*/ 495300 h 4333875"/>
                  <a:gd name="connsiteX79" fmla="*/ 1733550 w 8601075"/>
                  <a:gd name="connsiteY79" fmla="*/ 466725 h 4333875"/>
                  <a:gd name="connsiteX80" fmla="*/ 1485900 w 8601075"/>
                  <a:gd name="connsiteY80" fmla="*/ 419100 h 4333875"/>
                  <a:gd name="connsiteX81" fmla="*/ 1457325 w 8601075"/>
                  <a:gd name="connsiteY81" fmla="*/ 323850 h 4333875"/>
                  <a:gd name="connsiteX82" fmla="*/ 1457325 w 8601075"/>
                  <a:gd name="connsiteY82" fmla="*/ 323850 h 4333875"/>
                  <a:gd name="connsiteX83" fmla="*/ 1323975 w 8601075"/>
                  <a:gd name="connsiteY83" fmla="*/ 285750 h 4333875"/>
                  <a:gd name="connsiteX84" fmla="*/ 1266825 w 8601075"/>
                  <a:gd name="connsiteY84" fmla="*/ 352425 h 4333875"/>
                  <a:gd name="connsiteX85" fmla="*/ 1009650 w 8601075"/>
                  <a:gd name="connsiteY85" fmla="*/ 390525 h 4333875"/>
                  <a:gd name="connsiteX86" fmla="*/ 828675 w 8601075"/>
                  <a:gd name="connsiteY86" fmla="*/ 447675 h 4333875"/>
                  <a:gd name="connsiteX87" fmla="*/ 619125 w 8601075"/>
                  <a:gd name="connsiteY87" fmla="*/ 533400 h 4333875"/>
                  <a:gd name="connsiteX88" fmla="*/ 619125 w 8601075"/>
                  <a:gd name="connsiteY88" fmla="*/ 533400 h 4333875"/>
                  <a:gd name="connsiteX89" fmla="*/ 561975 w 8601075"/>
                  <a:gd name="connsiteY89" fmla="*/ 619125 h 4333875"/>
                  <a:gd name="connsiteX90" fmla="*/ 447675 w 8601075"/>
                  <a:gd name="connsiteY90" fmla="*/ 63817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295275 w 8601075"/>
                  <a:gd name="connsiteY93" fmla="*/ 657225 h 4333875"/>
                  <a:gd name="connsiteX94" fmla="*/ 180975 w 8601075"/>
                  <a:gd name="connsiteY94" fmla="*/ 638175 h 4333875"/>
                  <a:gd name="connsiteX95" fmla="*/ 180975 w 8601075"/>
                  <a:gd name="connsiteY95" fmla="*/ 638175 h 4333875"/>
                  <a:gd name="connsiteX96" fmla="*/ 57150 w 8601075"/>
                  <a:gd name="connsiteY96" fmla="*/ 733425 h 4333875"/>
                  <a:gd name="connsiteX97" fmla="*/ 19050 w 8601075"/>
                  <a:gd name="connsiteY97" fmla="*/ 790575 h 4333875"/>
                  <a:gd name="connsiteX98" fmla="*/ 0 w 8601075"/>
                  <a:gd name="connsiteY98" fmla="*/ 876300 h 4333875"/>
                  <a:gd name="connsiteX99" fmla="*/ 57150 w 8601075"/>
                  <a:gd name="connsiteY99" fmla="*/ 923925 h 4333875"/>
                  <a:gd name="connsiteX100" fmla="*/ 57150 w 8601075"/>
                  <a:gd name="connsiteY100" fmla="*/ 923925 h 4333875"/>
                  <a:gd name="connsiteX101" fmla="*/ 209550 w 8601075"/>
                  <a:gd name="connsiteY101" fmla="*/ 1114425 h 4333875"/>
                  <a:gd name="connsiteX102" fmla="*/ 209550 w 8601075"/>
                  <a:gd name="connsiteY102" fmla="*/ 1114425 h 4333875"/>
                  <a:gd name="connsiteX103" fmla="*/ 266700 w 8601075"/>
                  <a:gd name="connsiteY103" fmla="*/ 1295400 h 4333875"/>
                  <a:gd name="connsiteX104" fmla="*/ 409575 w 8601075"/>
                  <a:gd name="connsiteY104" fmla="*/ 1276350 h 4333875"/>
                  <a:gd name="connsiteX105" fmla="*/ 466725 w 8601075"/>
                  <a:gd name="connsiteY105" fmla="*/ 1362075 h 4333875"/>
                  <a:gd name="connsiteX106" fmla="*/ 542925 w 8601075"/>
                  <a:gd name="connsiteY106" fmla="*/ 1428750 h 4333875"/>
                  <a:gd name="connsiteX107" fmla="*/ 628650 w 8601075"/>
                  <a:gd name="connsiteY107" fmla="*/ 1571625 h 4333875"/>
                  <a:gd name="connsiteX108" fmla="*/ 628650 w 8601075"/>
                  <a:gd name="connsiteY108" fmla="*/ 1704975 h 4333875"/>
                  <a:gd name="connsiteX109" fmla="*/ 676275 w 8601075"/>
                  <a:gd name="connsiteY109" fmla="*/ 1771650 h 4333875"/>
                  <a:gd name="connsiteX110" fmla="*/ 657225 w 8601075"/>
                  <a:gd name="connsiteY110" fmla="*/ 2000250 h 4333875"/>
                  <a:gd name="connsiteX111" fmla="*/ 619125 w 8601075"/>
                  <a:gd name="connsiteY111" fmla="*/ 2095500 h 4333875"/>
                  <a:gd name="connsiteX112" fmla="*/ 542925 w 8601075"/>
                  <a:gd name="connsiteY112" fmla="*/ 2228850 h 4333875"/>
                  <a:gd name="connsiteX113" fmla="*/ 485775 w 8601075"/>
                  <a:gd name="connsiteY113" fmla="*/ 2362200 h 4333875"/>
                  <a:gd name="connsiteX114" fmla="*/ 552450 w 8601075"/>
                  <a:gd name="connsiteY114" fmla="*/ 2486025 h 4333875"/>
                  <a:gd name="connsiteX115" fmla="*/ 771525 w 8601075"/>
                  <a:gd name="connsiteY115" fmla="*/ 2571750 h 4333875"/>
                  <a:gd name="connsiteX116" fmla="*/ 866775 w 8601075"/>
                  <a:gd name="connsiteY116" fmla="*/ 2571750 h 4333875"/>
                  <a:gd name="connsiteX117" fmla="*/ 914400 w 8601075"/>
                  <a:gd name="connsiteY117" fmla="*/ 2638425 h 4333875"/>
                  <a:gd name="connsiteX118" fmla="*/ 1066800 w 8601075"/>
                  <a:gd name="connsiteY118" fmla="*/ 2638425 h 4333875"/>
                  <a:gd name="connsiteX119" fmla="*/ 1285875 w 8601075"/>
                  <a:gd name="connsiteY119" fmla="*/ 2705100 h 4333875"/>
                  <a:gd name="connsiteX120" fmla="*/ 1438275 w 8601075"/>
                  <a:gd name="connsiteY120" fmla="*/ 2838450 h 4333875"/>
                  <a:gd name="connsiteX121" fmla="*/ 1485900 w 8601075"/>
                  <a:gd name="connsiteY121" fmla="*/ 2914650 h 4333875"/>
                  <a:gd name="connsiteX122" fmla="*/ 1657350 w 8601075"/>
                  <a:gd name="connsiteY122" fmla="*/ 3038475 h 4333875"/>
                  <a:gd name="connsiteX123" fmla="*/ 1752600 w 8601075"/>
                  <a:gd name="connsiteY123" fmla="*/ 3057525 h 4333875"/>
                  <a:gd name="connsiteX124" fmla="*/ 1724025 w 8601075"/>
                  <a:gd name="connsiteY124" fmla="*/ 3143250 h 4333875"/>
                  <a:gd name="connsiteX125" fmla="*/ 1724025 w 8601075"/>
                  <a:gd name="connsiteY125" fmla="*/ 3143250 h 4333875"/>
                  <a:gd name="connsiteX126" fmla="*/ 1781175 w 8601075"/>
                  <a:gd name="connsiteY126" fmla="*/ 3181350 h 4333875"/>
                  <a:gd name="connsiteX127" fmla="*/ 1819275 w 8601075"/>
                  <a:gd name="connsiteY127" fmla="*/ 3362325 h 4333875"/>
                  <a:gd name="connsiteX128" fmla="*/ 1828800 w 8601075"/>
                  <a:gd name="connsiteY128" fmla="*/ 3457575 h 4333875"/>
                  <a:gd name="connsiteX129" fmla="*/ 1971675 w 8601075"/>
                  <a:gd name="connsiteY129" fmla="*/ 3590925 h 4333875"/>
                  <a:gd name="connsiteX130" fmla="*/ 1990725 w 8601075"/>
                  <a:gd name="connsiteY130" fmla="*/ 3714750 h 4333875"/>
                  <a:gd name="connsiteX131" fmla="*/ 2200275 w 8601075"/>
                  <a:gd name="connsiteY131" fmla="*/ 3695700 h 4333875"/>
                  <a:gd name="connsiteX132" fmla="*/ 2886075 w 8601075"/>
                  <a:gd name="connsiteY132" fmla="*/ 3886200 h 4333875"/>
                  <a:gd name="connsiteX133" fmla="*/ 3038475 w 8601075"/>
                  <a:gd name="connsiteY133" fmla="*/ 3819525 h 4333875"/>
                  <a:gd name="connsiteX134" fmla="*/ 3105150 w 8601075"/>
                  <a:gd name="connsiteY134" fmla="*/ 3867150 h 4333875"/>
                  <a:gd name="connsiteX135" fmla="*/ 3181350 w 8601075"/>
                  <a:gd name="connsiteY135" fmla="*/ 3800475 h 4333875"/>
                  <a:gd name="connsiteX136" fmla="*/ 3590925 w 8601075"/>
                  <a:gd name="connsiteY136" fmla="*/ 3943350 h 4333875"/>
                  <a:gd name="connsiteX137" fmla="*/ 3686175 w 8601075"/>
                  <a:gd name="connsiteY137" fmla="*/ 4057650 h 4333875"/>
                  <a:gd name="connsiteX138" fmla="*/ 3838575 w 8601075"/>
                  <a:gd name="connsiteY138" fmla="*/ 4057650 h 4333875"/>
                  <a:gd name="connsiteX139" fmla="*/ 4162425 w 8601075"/>
                  <a:gd name="connsiteY139" fmla="*/ 4248150 h 4333875"/>
                  <a:gd name="connsiteX140" fmla="*/ 4391025 w 8601075"/>
                  <a:gd name="connsiteY140" fmla="*/ 4200525 h 4333875"/>
                  <a:gd name="connsiteX141" fmla="*/ 4410075 w 8601075"/>
                  <a:gd name="connsiteY141" fmla="*/ 4305300 h 4333875"/>
                  <a:gd name="connsiteX142" fmla="*/ 4505325 w 8601075"/>
                  <a:gd name="connsiteY142" fmla="*/ 4276725 h 4333875"/>
                  <a:gd name="connsiteX143" fmla="*/ 4572000 w 8601075"/>
                  <a:gd name="connsiteY143" fmla="*/ 4333875 h 4333875"/>
                  <a:gd name="connsiteX144" fmla="*/ 4591050 w 8601075"/>
                  <a:gd name="connsiteY144" fmla="*/ 4248150 h 4333875"/>
                  <a:gd name="connsiteX145" fmla="*/ 5295900 w 8601075"/>
                  <a:gd name="connsiteY145" fmla="*/ 3924300 h 4333875"/>
                  <a:gd name="connsiteX146" fmla="*/ 5353050 w 8601075"/>
                  <a:gd name="connsiteY146" fmla="*/ 3990975 h 4333875"/>
                  <a:gd name="connsiteX147" fmla="*/ 5524500 w 8601075"/>
                  <a:gd name="connsiteY147" fmla="*/ 3914775 h 4333875"/>
                  <a:gd name="connsiteX148" fmla="*/ 5667375 w 8601075"/>
                  <a:gd name="connsiteY148" fmla="*/ 3962400 h 4333875"/>
                  <a:gd name="connsiteX149" fmla="*/ 5753100 w 8601075"/>
                  <a:gd name="connsiteY149" fmla="*/ 3924300 h 4333875"/>
                  <a:gd name="connsiteX150" fmla="*/ 5905500 w 8601075"/>
                  <a:gd name="connsiteY150" fmla="*/ 3943350 h 4333875"/>
                  <a:gd name="connsiteX151" fmla="*/ 6000750 w 8601075"/>
                  <a:gd name="connsiteY151" fmla="*/ 3800475 h 4333875"/>
                  <a:gd name="connsiteX152" fmla="*/ 6153150 w 8601075"/>
                  <a:gd name="connsiteY152" fmla="*/ 3781425 h 4333875"/>
                  <a:gd name="connsiteX153" fmla="*/ 6257925 w 8601075"/>
                  <a:gd name="connsiteY153" fmla="*/ 3581400 h 4333875"/>
                  <a:gd name="connsiteX154" fmla="*/ 6448425 w 8601075"/>
                  <a:gd name="connsiteY154" fmla="*/ 3448050 h 4333875"/>
                  <a:gd name="connsiteX155" fmla="*/ 6581775 w 8601075"/>
                  <a:gd name="connsiteY155" fmla="*/ 3276600 h 4333875"/>
                  <a:gd name="connsiteX156" fmla="*/ 6496050 w 8601075"/>
                  <a:gd name="connsiteY156" fmla="*/ 3228975 h 4333875"/>
                  <a:gd name="connsiteX157" fmla="*/ 6438900 w 8601075"/>
                  <a:gd name="connsiteY157" fmla="*/ 3162300 h 4333875"/>
                  <a:gd name="connsiteX158" fmla="*/ 6419850 w 8601075"/>
                  <a:gd name="connsiteY158" fmla="*/ 3105150 h 4333875"/>
                  <a:gd name="connsiteX159" fmla="*/ 6362700 w 8601075"/>
                  <a:gd name="connsiteY159" fmla="*/ 3076575 h 4333875"/>
                  <a:gd name="connsiteX160" fmla="*/ 6410325 w 8601075"/>
                  <a:gd name="connsiteY160" fmla="*/ 3019425 h 4333875"/>
                  <a:gd name="connsiteX161" fmla="*/ 6438900 w 8601075"/>
                  <a:gd name="connsiteY161" fmla="*/ 2819400 h 4333875"/>
                  <a:gd name="connsiteX162" fmla="*/ 6496050 w 8601075"/>
                  <a:gd name="connsiteY162" fmla="*/ 2762250 h 4333875"/>
                  <a:gd name="connsiteX163" fmla="*/ 6657975 w 8601075"/>
                  <a:gd name="connsiteY163" fmla="*/ 2752725 h 4333875"/>
                  <a:gd name="connsiteX164" fmla="*/ 6781800 w 8601075"/>
                  <a:gd name="connsiteY164" fmla="*/ 2838450 h 4333875"/>
                  <a:gd name="connsiteX165" fmla="*/ 7010400 w 8601075"/>
                  <a:gd name="connsiteY165" fmla="*/ 2838450 h 4333875"/>
                  <a:gd name="connsiteX166" fmla="*/ 7162800 w 8601075"/>
                  <a:gd name="connsiteY166" fmla="*/ 2705100 h 4333875"/>
                  <a:gd name="connsiteX167" fmla="*/ 7229475 w 8601075"/>
                  <a:gd name="connsiteY167" fmla="*/ 2590800 h 4333875"/>
                  <a:gd name="connsiteX168" fmla="*/ 7248525 w 8601075"/>
                  <a:gd name="connsiteY168" fmla="*/ 2524125 h 4333875"/>
                  <a:gd name="connsiteX169" fmla="*/ 7372350 w 8601075"/>
                  <a:gd name="connsiteY169" fmla="*/ 2543175 h 4333875"/>
                  <a:gd name="connsiteX170" fmla="*/ 7553325 w 8601075"/>
                  <a:gd name="connsiteY170" fmla="*/ 2447925 h 4333875"/>
                  <a:gd name="connsiteX171" fmla="*/ 7620000 w 8601075"/>
                  <a:gd name="connsiteY171" fmla="*/ 2324100 h 4333875"/>
                  <a:gd name="connsiteX172" fmla="*/ 7696200 w 8601075"/>
                  <a:gd name="connsiteY172" fmla="*/ 2314575 h 4333875"/>
                  <a:gd name="connsiteX173" fmla="*/ 7658100 w 8601075"/>
                  <a:gd name="connsiteY173" fmla="*/ 2257425 h 4333875"/>
                  <a:gd name="connsiteX174" fmla="*/ 7753350 w 8601075"/>
                  <a:gd name="connsiteY174" fmla="*/ 2057400 h 4333875"/>
                  <a:gd name="connsiteX175" fmla="*/ 7934325 w 8601075"/>
                  <a:gd name="connsiteY175" fmla="*/ 2028825 h 4333875"/>
                  <a:gd name="connsiteX176" fmla="*/ 7953375 w 8601075"/>
                  <a:gd name="connsiteY176" fmla="*/ 1952625 h 4333875"/>
                  <a:gd name="connsiteX177" fmla="*/ 7953375 w 8601075"/>
                  <a:gd name="connsiteY177" fmla="*/ 1952625 h 4333875"/>
                  <a:gd name="connsiteX178" fmla="*/ 8010525 w 8601075"/>
                  <a:gd name="connsiteY178" fmla="*/ 1895475 h 4333875"/>
                  <a:gd name="connsiteX179" fmla="*/ 8048625 w 8601075"/>
                  <a:gd name="connsiteY179" fmla="*/ 1971675 h 4333875"/>
                  <a:gd name="connsiteX180" fmla="*/ 8077200 w 8601075"/>
                  <a:gd name="connsiteY180" fmla="*/ 1885950 h 4333875"/>
                  <a:gd name="connsiteX181" fmla="*/ 8220075 w 8601075"/>
                  <a:gd name="connsiteY181" fmla="*/ 1847850 h 4333875"/>
                  <a:gd name="connsiteX182" fmla="*/ 8296275 w 8601075"/>
                  <a:gd name="connsiteY182" fmla="*/ 1809750 h 4333875"/>
                  <a:gd name="connsiteX183" fmla="*/ 8324850 w 8601075"/>
                  <a:gd name="connsiteY183" fmla="*/ 1790700 h 4333875"/>
                  <a:gd name="connsiteX184" fmla="*/ 8410575 w 8601075"/>
                  <a:gd name="connsiteY184" fmla="*/ 1847850 h 4333875"/>
                  <a:gd name="connsiteX185" fmla="*/ 8505825 w 8601075"/>
                  <a:gd name="connsiteY185" fmla="*/ 1781175 h 4333875"/>
                  <a:gd name="connsiteX186" fmla="*/ 8572500 w 8601075"/>
                  <a:gd name="connsiteY186" fmla="*/ 1809750 h 4333875"/>
                  <a:gd name="connsiteX187" fmla="*/ 8601075 w 8601075"/>
                  <a:gd name="connsiteY187" fmla="*/ 1704975 h 4333875"/>
                  <a:gd name="connsiteX188" fmla="*/ 8553450 w 8601075"/>
                  <a:gd name="connsiteY188" fmla="*/ 1676400 h 4333875"/>
                  <a:gd name="connsiteX189" fmla="*/ 8534400 w 8601075"/>
                  <a:gd name="connsiteY189" fmla="*/ 1609725 h 4333875"/>
                  <a:gd name="connsiteX190" fmla="*/ 8277225 w 8601075"/>
                  <a:gd name="connsiteY190" fmla="*/ 1409700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124825 w 8601075"/>
                  <a:gd name="connsiteY193" fmla="*/ 1352550 h 4333875"/>
                  <a:gd name="connsiteX194" fmla="*/ 7924800 w 8601075"/>
                  <a:gd name="connsiteY194" fmla="*/ 1362075 h 4333875"/>
                  <a:gd name="connsiteX195" fmla="*/ 7867650 w 8601075"/>
                  <a:gd name="connsiteY195" fmla="*/ 1457325 h 4333875"/>
                  <a:gd name="connsiteX196" fmla="*/ 7896225 w 8601075"/>
                  <a:gd name="connsiteY196" fmla="*/ 1476375 h 4333875"/>
                  <a:gd name="connsiteX197" fmla="*/ 7858125 w 8601075"/>
                  <a:gd name="connsiteY197" fmla="*/ 1533525 h 4333875"/>
                  <a:gd name="connsiteX198" fmla="*/ 7658100 w 8601075"/>
                  <a:gd name="connsiteY198" fmla="*/ 1447800 h 4333875"/>
                  <a:gd name="connsiteX199" fmla="*/ 7515225 w 8601075"/>
                  <a:gd name="connsiteY199" fmla="*/ 1495425 h 4333875"/>
                  <a:gd name="connsiteX200" fmla="*/ 7467600 w 8601075"/>
                  <a:gd name="connsiteY200" fmla="*/ 1581150 h 4333875"/>
                  <a:gd name="connsiteX201" fmla="*/ 7296150 w 8601075"/>
                  <a:gd name="connsiteY20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1425 w 8601075"/>
                  <a:gd name="connsiteY51" fmla="*/ 390525 h 4333875"/>
                  <a:gd name="connsiteX52" fmla="*/ 3771900 w 8601075"/>
                  <a:gd name="connsiteY52" fmla="*/ 352425 h 4333875"/>
                  <a:gd name="connsiteX53" fmla="*/ 3600450 w 8601075"/>
                  <a:gd name="connsiteY53" fmla="*/ 285750 h 4333875"/>
                  <a:gd name="connsiteX54" fmla="*/ 3533775 w 8601075"/>
                  <a:gd name="connsiteY54" fmla="*/ 314325 h 4333875"/>
                  <a:gd name="connsiteX55" fmla="*/ 3409950 w 8601075"/>
                  <a:gd name="connsiteY55" fmla="*/ 190500 h 4333875"/>
                  <a:gd name="connsiteX56" fmla="*/ 3257550 w 8601075"/>
                  <a:gd name="connsiteY56" fmla="*/ 180975 h 4333875"/>
                  <a:gd name="connsiteX57" fmla="*/ 3209925 w 8601075"/>
                  <a:gd name="connsiteY57" fmla="*/ 104775 h 4333875"/>
                  <a:gd name="connsiteX58" fmla="*/ 3152775 w 8601075"/>
                  <a:gd name="connsiteY58" fmla="*/ 104775 h 4333875"/>
                  <a:gd name="connsiteX59" fmla="*/ 2990850 w 8601075"/>
                  <a:gd name="connsiteY59" fmla="*/ 0 h 4333875"/>
                  <a:gd name="connsiteX60" fmla="*/ 2933700 w 8601075"/>
                  <a:gd name="connsiteY60" fmla="*/ 114300 h 4333875"/>
                  <a:gd name="connsiteX61" fmla="*/ 2867025 w 8601075"/>
                  <a:gd name="connsiteY61" fmla="*/ 171450 h 4333875"/>
                  <a:gd name="connsiteX62" fmla="*/ 2867025 w 8601075"/>
                  <a:gd name="connsiteY62" fmla="*/ 171450 h 4333875"/>
                  <a:gd name="connsiteX63" fmla="*/ 2800350 w 8601075"/>
                  <a:gd name="connsiteY63" fmla="*/ 257175 h 4333875"/>
                  <a:gd name="connsiteX64" fmla="*/ 2724150 w 8601075"/>
                  <a:gd name="connsiteY64" fmla="*/ 304800 h 4333875"/>
                  <a:gd name="connsiteX65" fmla="*/ 2705100 w 8601075"/>
                  <a:gd name="connsiteY65" fmla="*/ 466725 h 4333875"/>
                  <a:gd name="connsiteX66" fmla="*/ 2762250 w 8601075"/>
                  <a:gd name="connsiteY66" fmla="*/ 571500 h 4333875"/>
                  <a:gd name="connsiteX67" fmla="*/ 2800350 w 8601075"/>
                  <a:gd name="connsiteY67" fmla="*/ 628650 h 4333875"/>
                  <a:gd name="connsiteX68" fmla="*/ 2752725 w 8601075"/>
                  <a:gd name="connsiteY68" fmla="*/ 781050 h 4333875"/>
                  <a:gd name="connsiteX69" fmla="*/ 2686050 w 8601075"/>
                  <a:gd name="connsiteY69" fmla="*/ 857250 h 4333875"/>
                  <a:gd name="connsiteX70" fmla="*/ 2609850 w 8601075"/>
                  <a:gd name="connsiteY70" fmla="*/ 857250 h 4333875"/>
                  <a:gd name="connsiteX71" fmla="*/ 2514600 w 8601075"/>
                  <a:gd name="connsiteY71" fmla="*/ 914400 h 4333875"/>
                  <a:gd name="connsiteX72" fmla="*/ 2400300 w 8601075"/>
                  <a:gd name="connsiteY72" fmla="*/ 866775 h 4333875"/>
                  <a:gd name="connsiteX73" fmla="*/ 2305050 w 8601075"/>
                  <a:gd name="connsiteY73" fmla="*/ 809625 h 4333875"/>
                  <a:gd name="connsiteX74" fmla="*/ 2200275 w 8601075"/>
                  <a:gd name="connsiteY74" fmla="*/ 752475 h 4333875"/>
                  <a:gd name="connsiteX75" fmla="*/ 2105025 w 8601075"/>
                  <a:gd name="connsiteY75" fmla="*/ 762000 h 4333875"/>
                  <a:gd name="connsiteX76" fmla="*/ 1990725 w 8601075"/>
                  <a:gd name="connsiteY76" fmla="*/ 762000 h 4333875"/>
                  <a:gd name="connsiteX77" fmla="*/ 1885950 w 8601075"/>
                  <a:gd name="connsiteY77" fmla="*/ 742950 h 4333875"/>
                  <a:gd name="connsiteX78" fmla="*/ 1800225 w 8601075"/>
                  <a:gd name="connsiteY78" fmla="*/ 638175 h 4333875"/>
                  <a:gd name="connsiteX79" fmla="*/ 1809750 w 8601075"/>
                  <a:gd name="connsiteY79" fmla="*/ 495300 h 4333875"/>
                  <a:gd name="connsiteX80" fmla="*/ 1733550 w 8601075"/>
                  <a:gd name="connsiteY80" fmla="*/ 466725 h 4333875"/>
                  <a:gd name="connsiteX81" fmla="*/ 1485900 w 8601075"/>
                  <a:gd name="connsiteY81" fmla="*/ 419100 h 4333875"/>
                  <a:gd name="connsiteX82" fmla="*/ 1457325 w 8601075"/>
                  <a:gd name="connsiteY82" fmla="*/ 323850 h 4333875"/>
                  <a:gd name="connsiteX83" fmla="*/ 1457325 w 8601075"/>
                  <a:gd name="connsiteY83" fmla="*/ 323850 h 4333875"/>
                  <a:gd name="connsiteX84" fmla="*/ 1323975 w 8601075"/>
                  <a:gd name="connsiteY84" fmla="*/ 285750 h 4333875"/>
                  <a:gd name="connsiteX85" fmla="*/ 1266825 w 8601075"/>
                  <a:gd name="connsiteY85" fmla="*/ 352425 h 4333875"/>
                  <a:gd name="connsiteX86" fmla="*/ 1009650 w 8601075"/>
                  <a:gd name="connsiteY86" fmla="*/ 390525 h 4333875"/>
                  <a:gd name="connsiteX87" fmla="*/ 828675 w 8601075"/>
                  <a:gd name="connsiteY87" fmla="*/ 447675 h 4333875"/>
                  <a:gd name="connsiteX88" fmla="*/ 619125 w 8601075"/>
                  <a:gd name="connsiteY88" fmla="*/ 533400 h 4333875"/>
                  <a:gd name="connsiteX89" fmla="*/ 619125 w 8601075"/>
                  <a:gd name="connsiteY89" fmla="*/ 533400 h 4333875"/>
                  <a:gd name="connsiteX90" fmla="*/ 561975 w 8601075"/>
                  <a:gd name="connsiteY90" fmla="*/ 61912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295275 w 8601075"/>
                  <a:gd name="connsiteY94" fmla="*/ 657225 h 4333875"/>
                  <a:gd name="connsiteX95" fmla="*/ 180975 w 8601075"/>
                  <a:gd name="connsiteY95" fmla="*/ 638175 h 4333875"/>
                  <a:gd name="connsiteX96" fmla="*/ 180975 w 8601075"/>
                  <a:gd name="connsiteY96" fmla="*/ 638175 h 4333875"/>
                  <a:gd name="connsiteX97" fmla="*/ 57150 w 8601075"/>
                  <a:gd name="connsiteY97" fmla="*/ 733425 h 4333875"/>
                  <a:gd name="connsiteX98" fmla="*/ 19050 w 8601075"/>
                  <a:gd name="connsiteY98" fmla="*/ 790575 h 4333875"/>
                  <a:gd name="connsiteX99" fmla="*/ 0 w 8601075"/>
                  <a:gd name="connsiteY99" fmla="*/ 876300 h 4333875"/>
                  <a:gd name="connsiteX100" fmla="*/ 57150 w 8601075"/>
                  <a:gd name="connsiteY100" fmla="*/ 923925 h 4333875"/>
                  <a:gd name="connsiteX101" fmla="*/ 57150 w 8601075"/>
                  <a:gd name="connsiteY101" fmla="*/ 923925 h 4333875"/>
                  <a:gd name="connsiteX102" fmla="*/ 209550 w 8601075"/>
                  <a:gd name="connsiteY102" fmla="*/ 1114425 h 4333875"/>
                  <a:gd name="connsiteX103" fmla="*/ 209550 w 8601075"/>
                  <a:gd name="connsiteY103" fmla="*/ 1114425 h 4333875"/>
                  <a:gd name="connsiteX104" fmla="*/ 266700 w 8601075"/>
                  <a:gd name="connsiteY104" fmla="*/ 1295400 h 4333875"/>
                  <a:gd name="connsiteX105" fmla="*/ 409575 w 8601075"/>
                  <a:gd name="connsiteY105" fmla="*/ 1276350 h 4333875"/>
                  <a:gd name="connsiteX106" fmla="*/ 466725 w 8601075"/>
                  <a:gd name="connsiteY106" fmla="*/ 1362075 h 4333875"/>
                  <a:gd name="connsiteX107" fmla="*/ 542925 w 8601075"/>
                  <a:gd name="connsiteY107" fmla="*/ 1428750 h 4333875"/>
                  <a:gd name="connsiteX108" fmla="*/ 628650 w 8601075"/>
                  <a:gd name="connsiteY108" fmla="*/ 1571625 h 4333875"/>
                  <a:gd name="connsiteX109" fmla="*/ 628650 w 8601075"/>
                  <a:gd name="connsiteY109" fmla="*/ 1704975 h 4333875"/>
                  <a:gd name="connsiteX110" fmla="*/ 676275 w 8601075"/>
                  <a:gd name="connsiteY110" fmla="*/ 1771650 h 4333875"/>
                  <a:gd name="connsiteX111" fmla="*/ 657225 w 8601075"/>
                  <a:gd name="connsiteY111" fmla="*/ 2000250 h 4333875"/>
                  <a:gd name="connsiteX112" fmla="*/ 619125 w 8601075"/>
                  <a:gd name="connsiteY112" fmla="*/ 2095500 h 4333875"/>
                  <a:gd name="connsiteX113" fmla="*/ 542925 w 8601075"/>
                  <a:gd name="connsiteY113" fmla="*/ 2228850 h 4333875"/>
                  <a:gd name="connsiteX114" fmla="*/ 485775 w 8601075"/>
                  <a:gd name="connsiteY114" fmla="*/ 2362200 h 4333875"/>
                  <a:gd name="connsiteX115" fmla="*/ 552450 w 8601075"/>
                  <a:gd name="connsiteY115" fmla="*/ 2486025 h 4333875"/>
                  <a:gd name="connsiteX116" fmla="*/ 771525 w 8601075"/>
                  <a:gd name="connsiteY116" fmla="*/ 2571750 h 4333875"/>
                  <a:gd name="connsiteX117" fmla="*/ 866775 w 8601075"/>
                  <a:gd name="connsiteY117" fmla="*/ 2571750 h 4333875"/>
                  <a:gd name="connsiteX118" fmla="*/ 914400 w 8601075"/>
                  <a:gd name="connsiteY118" fmla="*/ 2638425 h 4333875"/>
                  <a:gd name="connsiteX119" fmla="*/ 1066800 w 8601075"/>
                  <a:gd name="connsiteY119" fmla="*/ 2638425 h 4333875"/>
                  <a:gd name="connsiteX120" fmla="*/ 1285875 w 8601075"/>
                  <a:gd name="connsiteY120" fmla="*/ 2705100 h 4333875"/>
                  <a:gd name="connsiteX121" fmla="*/ 1438275 w 8601075"/>
                  <a:gd name="connsiteY121" fmla="*/ 2838450 h 4333875"/>
                  <a:gd name="connsiteX122" fmla="*/ 1485900 w 8601075"/>
                  <a:gd name="connsiteY122" fmla="*/ 2914650 h 4333875"/>
                  <a:gd name="connsiteX123" fmla="*/ 1657350 w 8601075"/>
                  <a:gd name="connsiteY123" fmla="*/ 3038475 h 4333875"/>
                  <a:gd name="connsiteX124" fmla="*/ 1752600 w 8601075"/>
                  <a:gd name="connsiteY124" fmla="*/ 3057525 h 4333875"/>
                  <a:gd name="connsiteX125" fmla="*/ 1724025 w 8601075"/>
                  <a:gd name="connsiteY125" fmla="*/ 3143250 h 4333875"/>
                  <a:gd name="connsiteX126" fmla="*/ 1724025 w 8601075"/>
                  <a:gd name="connsiteY126" fmla="*/ 3143250 h 4333875"/>
                  <a:gd name="connsiteX127" fmla="*/ 1781175 w 8601075"/>
                  <a:gd name="connsiteY127" fmla="*/ 3181350 h 4333875"/>
                  <a:gd name="connsiteX128" fmla="*/ 1819275 w 8601075"/>
                  <a:gd name="connsiteY128" fmla="*/ 3362325 h 4333875"/>
                  <a:gd name="connsiteX129" fmla="*/ 1828800 w 8601075"/>
                  <a:gd name="connsiteY129" fmla="*/ 3457575 h 4333875"/>
                  <a:gd name="connsiteX130" fmla="*/ 1971675 w 8601075"/>
                  <a:gd name="connsiteY130" fmla="*/ 3590925 h 4333875"/>
                  <a:gd name="connsiteX131" fmla="*/ 1990725 w 8601075"/>
                  <a:gd name="connsiteY131" fmla="*/ 3714750 h 4333875"/>
                  <a:gd name="connsiteX132" fmla="*/ 2200275 w 8601075"/>
                  <a:gd name="connsiteY132" fmla="*/ 3695700 h 4333875"/>
                  <a:gd name="connsiteX133" fmla="*/ 2886075 w 8601075"/>
                  <a:gd name="connsiteY133" fmla="*/ 3886200 h 4333875"/>
                  <a:gd name="connsiteX134" fmla="*/ 3038475 w 8601075"/>
                  <a:gd name="connsiteY134" fmla="*/ 3819525 h 4333875"/>
                  <a:gd name="connsiteX135" fmla="*/ 3105150 w 8601075"/>
                  <a:gd name="connsiteY135" fmla="*/ 3867150 h 4333875"/>
                  <a:gd name="connsiteX136" fmla="*/ 3181350 w 8601075"/>
                  <a:gd name="connsiteY136" fmla="*/ 3800475 h 4333875"/>
                  <a:gd name="connsiteX137" fmla="*/ 3590925 w 8601075"/>
                  <a:gd name="connsiteY137" fmla="*/ 3943350 h 4333875"/>
                  <a:gd name="connsiteX138" fmla="*/ 3686175 w 8601075"/>
                  <a:gd name="connsiteY138" fmla="*/ 4057650 h 4333875"/>
                  <a:gd name="connsiteX139" fmla="*/ 3838575 w 8601075"/>
                  <a:gd name="connsiteY139" fmla="*/ 4057650 h 4333875"/>
                  <a:gd name="connsiteX140" fmla="*/ 4162425 w 8601075"/>
                  <a:gd name="connsiteY140" fmla="*/ 4248150 h 4333875"/>
                  <a:gd name="connsiteX141" fmla="*/ 4391025 w 8601075"/>
                  <a:gd name="connsiteY141" fmla="*/ 4200525 h 4333875"/>
                  <a:gd name="connsiteX142" fmla="*/ 4410075 w 8601075"/>
                  <a:gd name="connsiteY142" fmla="*/ 4305300 h 4333875"/>
                  <a:gd name="connsiteX143" fmla="*/ 4505325 w 8601075"/>
                  <a:gd name="connsiteY143" fmla="*/ 4276725 h 4333875"/>
                  <a:gd name="connsiteX144" fmla="*/ 4572000 w 8601075"/>
                  <a:gd name="connsiteY144" fmla="*/ 4333875 h 4333875"/>
                  <a:gd name="connsiteX145" fmla="*/ 4591050 w 8601075"/>
                  <a:gd name="connsiteY145" fmla="*/ 4248150 h 4333875"/>
                  <a:gd name="connsiteX146" fmla="*/ 5295900 w 8601075"/>
                  <a:gd name="connsiteY146" fmla="*/ 3924300 h 4333875"/>
                  <a:gd name="connsiteX147" fmla="*/ 5353050 w 8601075"/>
                  <a:gd name="connsiteY147" fmla="*/ 3990975 h 4333875"/>
                  <a:gd name="connsiteX148" fmla="*/ 5524500 w 8601075"/>
                  <a:gd name="connsiteY148" fmla="*/ 3914775 h 4333875"/>
                  <a:gd name="connsiteX149" fmla="*/ 5667375 w 8601075"/>
                  <a:gd name="connsiteY149" fmla="*/ 3962400 h 4333875"/>
                  <a:gd name="connsiteX150" fmla="*/ 5753100 w 8601075"/>
                  <a:gd name="connsiteY150" fmla="*/ 3924300 h 4333875"/>
                  <a:gd name="connsiteX151" fmla="*/ 5905500 w 8601075"/>
                  <a:gd name="connsiteY151" fmla="*/ 3943350 h 4333875"/>
                  <a:gd name="connsiteX152" fmla="*/ 6000750 w 8601075"/>
                  <a:gd name="connsiteY152" fmla="*/ 3800475 h 4333875"/>
                  <a:gd name="connsiteX153" fmla="*/ 6153150 w 8601075"/>
                  <a:gd name="connsiteY153" fmla="*/ 3781425 h 4333875"/>
                  <a:gd name="connsiteX154" fmla="*/ 6257925 w 8601075"/>
                  <a:gd name="connsiteY154" fmla="*/ 3581400 h 4333875"/>
                  <a:gd name="connsiteX155" fmla="*/ 6448425 w 8601075"/>
                  <a:gd name="connsiteY155" fmla="*/ 3448050 h 4333875"/>
                  <a:gd name="connsiteX156" fmla="*/ 6581775 w 8601075"/>
                  <a:gd name="connsiteY156" fmla="*/ 3276600 h 4333875"/>
                  <a:gd name="connsiteX157" fmla="*/ 6496050 w 8601075"/>
                  <a:gd name="connsiteY157" fmla="*/ 3228975 h 4333875"/>
                  <a:gd name="connsiteX158" fmla="*/ 6438900 w 8601075"/>
                  <a:gd name="connsiteY158" fmla="*/ 3162300 h 4333875"/>
                  <a:gd name="connsiteX159" fmla="*/ 6419850 w 8601075"/>
                  <a:gd name="connsiteY159" fmla="*/ 3105150 h 4333875"/>
                  <a:gd name="connsiteX160" fmla="*/ 6362700 w 8601075"/>
                  <a:gd name="connsiteY160" fmla="*/ 3076575 h 4333875"/>
                  <a:gd name="connsiteX161" fmla="*/ 6410325 w 8601075"/>
                  <a:gd name="connsiteY161" fmla="*/ 3019425 h 4333875"/>
                  <a:gd name="connsiteX162" fmla="*/ 6438900 w 8601075"/>
                  <a:gd name="connsiteY162" fmla="*/ 2819400 h 4333875"/>
                  <a:gd name="connsiteX163" fmla="*/ 6496050 w 8601075"/>
                  <a:gd name="connsiteY163" fmla="*/ 2762250 h 4333875"/>
                  <a:gd name="connsiteX164" fmla="*/ 6657975 w 8601075"/>
                  <a:gd name="connsiteY164" fmla="*/ 2752725 h 4333875"/>
                  <a:gd name="connsiteX165" fmla="*/ 6781800 w 8601075"/>
                  <a:gd name="connsiteY165" fmla="*/ 2838450 h 4333875"/>
                  <a:gd name="connsiteX166" fmla="*/ 7010400 w 8601075"/>
                  <a:gd name="connsiteY166" fmla="*/ 2838450 h 4333875"/>
                  <a:gd name="connsiteX167" fmla="*/ 7162800 w 8601075"/>
                  <a:gd name="connsiteY167" fmla="*/ 2705100 h 4333875"/>
                  <a:gd name="connsiteX168" fmla="*/ 7229475 w 8601075"/>
                  <a:gd name="connsiteY168" fmla="*/ 2590800 h 4333875"/>
                  <a:gd name="connsiteX169" fmla="*/ 7248525 w 8601075"/>
                  <a:gd name="connsiteY169" fmla="*/ 2524125 h 4333875"/>
                  <a:gd name="connsiteX170" fmla="*/ 7372350 w 8601075"/>
                  <a:gd name="connsiteY170" fmla="*/ 2543175 h 4333875"/>
                  <a:gd name="connsiteX171" fmla="*/ 7553325 w 8601075"/>
                  <a:gd name="connsiteY171" fmla="*/ 2447925 h 4333875"/>
                  <a:gd name="connsiteX172" fmla="*/ 7620000 w 8601075"/>
                  <a:gd name="connsiteY172" fmla="*/ 2324100 h 4333875"/>
                  <a:gd name="connsiteX173" fmla="*/ 7696200 w 8601075"/>
                  <a:gd name="connsiteY173" fmla="*/ 2314575 h 4333875"/>
                  <a:gd name="connsiteX174" fmla="*/ 7658100 w 8601075"/>
                  <a:gd name="connsiteY174" fmla="*/ 2257425 h 4333875"/>
                  <a:gd name="connsiteX175" fmla="*/ 7753350 w 8601075"/>
                  <a:gd name="connsiteY175" fmla="*/ 2057400 h 4333875"/>
                  <a:gd name="connsiteX176" fmla="*/ 7934325 w 8601075"/>
                  <a:gd name="connsiteY176" fmla="*/ 2028825 h 4333875"/>
                  <a:gd name="connsiteX177" fmla="*/ 7953375 w 8601075"/>
                  <a:gd name="connsiteY177" fmla="*/ 1952625 h 4333875"/>
                  <a:gd name="connsiteX178" fmla="*/ 7953375 w 8601075"/>
                  <a:gd name="connsiteY178" fmla="*/ 1952625 h 4333875"/>
                  <a:gd name="connsiteX179" fmla="*/ 8010525 w 8601075"/>
                  <a:gd name="connsiteY179" fmla="*/ 1895475 h 4333875"/>
                  <a:gd name="connsiteX180" fmla="*/ 8048625 w 8601075"/>
                  <a:gd name="connsiteY180" fmla="*/ 1971675 h 4333875"/>
                  <a:gd name="connsiteX181" fmla="*/ 8077200 w 8601075"/>
                  <a:gd name="connsiteY181" fmla="*/ 1885950 h 4333875"/>
                  <a:gd name="connsiteX182" fmla="*/ 8220075 w 8601075"/>
                  <a:gd name="connsiteY182" fmla="*/ 1847850 h 4333875"/>
                  <a:gd name="connsiteX183" fmla="*/ 8296275 w 8601075"/>
                  <a:gd name="connsiteY183" fmla="*/ 1809750 h 4333875"/>
                  <a:gd name="connsiteX184" fmla="*/ 8324850 w 8601075"/>
                  <a:gd name="connsiteY184" fmla="*/ 1790700 h 4333875"/>
                  <a:gd name="connsiteX185" fmla="*/ 8410575 w 8601075"/>
                  <a:gd name="connsiteY185" fmla="*/ 1847850 h 4333875"/>
                  <a:gd name="connsiteX186" fmla="*/ 8505825 w 8601075"/>
                  <a:gd name="connsiteY186" fmla="*/ 1781175 h 4333875"/>
                  <a:gd name="connsiteX187" fmla="*/ 8572500 w 8601075"/>
                  <a:gd name="connsiteY187" fmla="*/ 1809750 h 4333875"/>
                  <a:gd name="connsiteX188" fmla="*/ 8601075 w 8601075"/>
                  <a:gd name="connsiteY188" fmla="*/ 1704975 h 4333875"/>
                  <a:gd name="connsiteX189" fmla="*/ 8553450 w 8601075"/>
                  <a:gd name="connsiteY189" fmla="*/ 1676400 h 4333875"/>
                  <a:gd name="connsiteX190" fmla="*/ 8534400 w 8601075"/>
                  <a:gd name="connsiteY190" fmla="*/ 1609725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124825 w 8601075"/>
                  <a:gd name="connsiteY194" fmla="*/ 1352550 h 4333875"/>
                  <a:gd name="connsiteX195" fmla="*/ 7924800 w 8601075"/>
                  <a:gd name="connsiteY195" fmla="*/ 1362075 h 4333875"/>
                  <a:gd name="connsiteX196" fmla="*/ 7867650 w 8601075"/>
                  <a:gd name="connsiteY196" fmla="*/ 1457325 h 4333875"/>
                  <a:gd name="connsiteX197" fmla="*/ 7896225 w 8601075"/>
                  <a:gd name="connsiteY197" fmla="*/ 1476375 h 4333875"/>
                  <a:gd name="connsiteX198" fmla="*/ 7858125 w 8601075"/>
                  <a:gd name="connsiteY198" fmla="*/ 1533525 h 4333875"/>
                  <a:gd name="connsiteX199" fmla="*/ 7658100 w 8601075"/>
                  <a:gd name="connsiteY199" fmla="*/ 1447800 h 4333875"/>
                  <a:gd name="connsiteX200" fmla="*/ 7515225 w 8601075"/>
                  <a:gd name="connsiteY200" fmla="*/ 1495425 h 4333875"/>
                  <a:gd name="connsiteX201" fmla="*/ 7467600 w 8601075"/>
                  <a:gd name="connsiteY201" fmla="*/ 1581150 h 4333875"/>
                  <a:gd name="connsiteX202" fmla="*/ 7296150 w 8601075"/>
                  <a:gd name="connsiteY20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810000 w 8601075"/>
                  <a:gd name="connsiteY51" fmla="*/ 350043 h 4333875"/>
                  <a:gd name="connsiteX52" fmla="*/ 3771900 w 8601075"/>
                  <a:gd name="connsiteY52" fmla="*/ 352425 h 4333875"/>
                  <a:gd name="connsiteX53" fmla="*/ 3600450 w 8601075"/>
                  <a:gd name="connsiteY53" fmla="*/ 285750 h 4333875"/>
                  <a:gd name="connsiteX54" fmla="*/ 3533775 w 8601075"/>
                  <a:gd name="connsiteY54" fmla="*/ 314325 h 4333875"/>
                  <a:gd name="connsiteX55" fmla="*/ 3409950 w 8601075"/>
                  <a:gd name="connsiteY55" fmla="*/ 190500 h 4333875"/>
                  <a:gd name="connsiteX56" fmla="*/ 3257550 w 8601075"/>
                  <a:gd name="connsiteY56" fmla="*/ 180975 h 4333875"/>
                  <a:gd name="connsiteX57" fmla="*/ 3209925 w 8601075"/>
                  <a:gd name="connsiteY57" fmla="*/ 104775 h 4333875"/>
                  <a:gd name="connsiteX58" fmla="*/ 3152775 w 8601075"/>
                  <a:gd name="connsiteY58" fmla="*/ 104775 h 4333875"/>
                  <a:gd name="connsiteX59" fmla="*/ 2990850 w 8601075"/>
                  <a:gd name="connsiteY59" fmla="*/ 0 h 4333875"/>
                  <a:gd name="connsiteX60" fmla="*/ 2933700 w 8601075"/>
                  <a:gd name="connsiteY60" fmla="*/ 114300 h 4333875"/>
                  <a:gd name="connsiteX61" fmla="*/ 2867025 w 8601075"/>
                  <a:gd name="connsiteY61" fmla="*/ 171450 h 4333875"/>
                  <a:gd name="connsiteX62" fmla="*/ 2867025 w 8601075"/>
                  <a:gd name="connsiteY62" fmla="*/ 171450 h 4333875"/>
                  <a:gd name="connsiteX63" fmla="*/ 2800350 w 8601075"/>
                  <a:gd name="connsiteY63" fmla="*/ 257175 h 4333875"/>
                  <a:gd name="connsiteX64" fmla="*/ 2724150 w 8601075"/>
                  <a:gd name="connsiteY64" fmla="*/ 304800 h 4333875"/>
                  <a:gd name="connsiteX65" fmla="*/ 2705100 w 8601075"/>
                  <a:gd name="connsiteY65" fmla="*/ 466725 h 4333875"/>
                  <a:gd name="connsiteX66" fmla="*/ 2762250 w 8601075"/>
                  <a:gd name="connsiteY66" fmla="*/ 571500 h 4333875"/>
                  <a:gd name="connsiteX67" fmla="*/ 2800350 w 8601075"/>
                  <a:gd name="connsiteY67" fmla="*/ 628650 h 4333875"/>
                  <a:gd name="connsiteX68" fmla="*/ 2752725 w 8601075"/>
                  <a:gd name="connsiteY68" fmla="*/ 781050 h 4333875"/>
                  <a:gd name="connsiteX69" fmla="*/ 2686050 w 8601075"/>
                  <a:gd name="connsiteY69" fmla="*/ 857250 h 4333875"/>
                  <a:gd name="connsiteX70" fmla="*/ 2609850 w 8601075"/>
                  <a:gd name="connsiteY70" fmla="*/ 857250 h 4333875"/>
                  <a:gd name="connsiteX71" fmla="*/ 2514600 w 8601075"/>
                  <a:gd name="connsiteY71" fmla="*/ 914400 h 4333875"/>
                  <a:gd name="connsiteX72" fmla="*/ 2400300 w 8601075"/>
                  <a:gd name="connsiteY72" fmla="*/ 866775 h 4333875"/>
                  <a:gd name="connsiteX73" fmla="*/ 2305050 w 8601075"/>
                  <a:gd name="connsiteY73" fmla="*/ 809625 h 4333875"/>
                  <a:gd name="connsiteX74" fmla="*/ 2200275 w 8601075"/>
                  <a:gd name="connsiteY74" fmla="*/ 752475 h 4333875"/>
                  <a:gd name="connsiteX75" fmla="*/ 2105025 w 8601075"/>
                  <a:gd name="connsiteY75" fmla="*/ 762000 h 4333875"/>
                  <a:gd name="connsiteX76" fmla="*/ 1990725 w 8601075"/>
                  <a:gd name="connsiteY76" fmla="*/ 762000 h 4333875"/>
                  <a:gd name="connsiteX77" fmla="*/ 1885950 w 8601075"/>
                  <a:gd name="connsiteY77" fmla="*/ 742950 h 4333875"/>
                  <a:gd name="connsiteX78" fmla="*/ 1800225 w 8601075"/>
                  <a:gd name="connsiteY78" fmla="*/ 638175 h 4333875"/>
                  <a:gd name="connsiteX79" fmla="*/ 1809750 w 8601075"/>
                  <a:gd name="connsiteY79" fmla="*/ 495300 h 4333875"/>
                  <a:gd name="connsiteX80" fmla="*/ 1733550 w 8601075"/>
                  <a:gd name="connsiteY80" fmla="*/ 466725 h 4333875"/>
                  <a:gd name="connsiteX81" fmla="*/ 1485900 w 8601075"/>
                  <a:gd name="connsiteY81" fmla="*/ 419100 h 4333875"/>
                  <a:gd name="connsiteX82" fmla="*/ 1457325 w 8601075"/>
                  <a:gd name="connsiteY82" fmla="*/ 323850 h 4333875"/>
                  <a:gd name="connsiteX83" fmla="*/ 1457325 w 8601075"/>
                  <a:gd name="connsiteY83" fmla="*/ 323850 h 4333875"/>
                  <a:gd name="connsiteX84" fmla="*/ 1323975 w 8601075"/>
                  <a:gd name="connsiteY84" fmla="*/ 285750 h 4333875"/>
                  <a:gd name="connsiteX85" fmla="*/ 1266825 w 8601075"/>
                  <a:gd name="connsiteY85" fmla="*/ 352425 h 4333875"/>
                  <a:gd name="connsiteX86" fmla="*/ 1009650 w 8601075"/>
                  <a:gd name="connsiteY86" fmla="*/ 390525 h 4333875"/>
                  <a:gd name="connsiteX87" fmla="*/ 828675 w 8601075"/>
                  <a:gd name="connsiteY87" fmla="*/ 447675 h 4333875"/>
                  <a:gd name="connsiteX88" fmla="*/ 619125 w 8601075"/>
                  <a:gd name="connsiteY88" fmla="*/ 533400 h 4333875"/>
                  <a:gd name="connsiteX89" fmla="*/ 619125 w 8601075"/>
                  <a:gd name="connsiteY89" fmla="*/ 533400 h 4333875"/>
                  <a:gd name="connsiteX90" fmla="*/ 561975 w 8601075"/>
                  <a:gd name="connsiteY90" fmla="*/ 619125 h 4333875"/>
                  <a:gd name="connsiteX91" fmla="*/ 447675 w 8601075"/>
                  <a:gd name="connsiteY91" fmla="*/ 63817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295275 w 8601075"/>
                  <a:gd name="connsiteY94" fmla="*/ 657225 h 4333875"/>
                  <a:gd name="connsiteX95" fmla="*/ 180975 w 8601075"/>
                  <a:gd name="connsiteY95" fmla="*/ 638175 h 4333875"/>
                  <a:gd name="connsiteX96" fmla="*/ 180975 w 8601075"/>
                  <a:gd name="connsiteY96" fmla="*/ 638175 h 4333875"/>
                  <a:gd name="connsiteX97" fmla="*/ 57150 w 8601075"/>
                  <a:gd name="connsiteY97" fmla="*/ 733425 h 4333875"/>
                  <a:gd name="connsiteX98" fmla="*/ 19050 w 8601075"/>
                  <a:gd name="connsiteY98" fmla="*/ 790575 h 4333875"/>
                  <a:gd name="connsiteX99" fmla="*/ 0 w 8601075"/>
                  <a:gd name="connsiteY99" fmla="*/ 876300 h 4333875"/>
                  <a:gd name="connsiteX100" fmla="*/ 57150 w 8601075"/>
                  <a:gd name="connsiteY100" fmla="*/ 923925 h 4333875"/>
                  <a:gd name="connsiteX101" fmla="*/ 57150 w 8601075"/>
                  <a:gd name="connsiteY101" fmla="*/ 923925 h 4333875"/>
                  <a:gd name="connsiteX102" fmla="*/ 209550 w 8601075"/>
                  <a:gd name="connsiteY102" fmla="*/ 1114425 h 4333875"/>
                  <a:gd name="connsiteX103" fmla="*/ 209550 w 8601075"/>
                  <a:gd name="connsiteY103" fmla="*/ 1114425 h 4333875"/>
                  <a:gd name="connsiteX104" fmla="*/ 266700 w 8601075"/>
                  <a:gd name="connsiteY104" fmla="*/ 1295400 h 4333875"/>
                  <a:gd name="connsiteX105" fmla="*/ 409575 w 8601075"/>
                  <a:gd name="connsiteY105" fmla="*/ 1276350 h 4333875"/>
                  <a:gd name="connsiteX106" fmla="*/ 466725 w 8601075"/>
                  <a:gd name="connsiteY106" fmla="*/ 1362075 h 4333875"/>
                  <a:gd name="connsiteX107" fmla="*/ 542925 w 8601075"/>
                  <a:gd name="connsiteY107" fmla="*/ 1428750 h 4333875"/>
                  <a:gd name="connsiteX108" fmla="*/ 628650 w 8601075"/>
                  <a:gd name="connsiteY108" fmla="*/ 1571625 h 4333875"/>
                  <a:gd name="connsiteX109" fmla="*/ 628650 w 8601075"/>
                  <a:gd name="connsiteY109" fmla="*/ 1704975 h 4333875"/>
                  <a:gd name="connsiteX110" fmla="*/ 676275 w 8601075"/>
                  <a:gd name="connsiteY110" fmla="*/ 1771650 h 4333875"/>
                  <a:gd name="connsiteX111" fmla="*/ 657225 w 8601075"/>
                  <a:gd name="connsiteY111" fmla="*/ 2000250 h 4333875"/>
                  <a:gd name="connsiteX112" fmla="*/ 619125 w 8601075"/>
                  <a:gd name="connsiteY112" fmla="*/ 2095500 h 4333875"/>
                  <a:gd name="connsiteX113" fmla="*/ 542925 w 8601075"/>
                  <a:gd name="connsiteY113" fmla="*/ 2228850 h 4333875"/>
                  <a:gd name="connsiteX114" fmla="*/ 485775 w 8601075"/>
                  <a:gd name="connsiteY114" fmla="*/ 2362200 h 4333875"/>
                  <a:gd name="connsiteX115" fmla="*/ 552450 w 8601075"/>
                  <a:gd name="connsiteY115" fmla="*/ 2486025 h 4333875"/>
                  <a:gd name="connsiteX116" fmla="*/ 771525 w 8601075"/>
                  <a:gd name="connsiteY116" fmla="*/ 2571750 h 4333875"/>
                  <a:gd name="connsiteX117" fmla="*/ 866775 w 8601075"/>
                  <a:gd name="connsiteY117" fmla="*/ 2571750 h 4333875"/>
                  <a:gd name="connsiteX118" fmla="*/ 914400 w 8601075"/>
                  <a:gd name="connsiteY118" fmla="*/ 2638425 h 4333875"/>
                  <a:gd name="connsiteX119" fmla="*/ 1066800 w 8601075"/>
                  <a:gd name="connsiteY119" fmla="*/ 2638425 h 4333875"/>
                  <a:gd name="connsiteX120" fmla="*/ 1285875 w 8601075"/>
                  <a:gd name="connsiteY120" fmla="*/ 2705100 h 4333875"/>
                  <a:gd name="connsiteX121" fmla="*/ 1438275 w 8601075"/>
                  <a:gd name="connsiteY121" fmla="*/ 2838450 h 4333875"/>
                  <a:gd name="connsiteX122" fmla="*/ 1485900 w 8601075"/>
                  <a:gd name="connsiteY122" fmla="*/ 2914650 h 4333875"/>
                  <a:gd name="connsiteX123" fmla="*/ 1657350 w 8601075"/>
                  <a:gd name="connsiteY123" fmla="*/ 3038475 h 4333875"/>
                  <a:gd name="connsiteX124" fmla="*/ 1752600 w 8601075"/>
                  <a:gd name="connsiteY124" fmla="*/ 3057525 h 4333875"/>
                  <a:gd name="connsiteX125" fmla="*/ 1724025 w 8601075"/>
                  <a:gd name="connsiteY125" fmla="*/ 3143250 h 4333875"/>
                  <a:gd name="connsiteX126" fmla="*/ 1724025 w 8601075"/>
                  <a:gd name="connsiteY126" fmla="*/ 3143250 h 4333875"/>
                  <a:gd name="connsiteX127" fmla="*/ 1781175 w 8601075"/>
                  <a:gd name="connsiteY127" fmla="*/ 3181350 h 4333875"/>
                  <a:gd name="connsiteX128" fmla="*/ 1819275 w 8601075"/>
                  <a:gd name="connsiteY128" fmla="*/ 3362325 h 4333875"/>
                  <a:gd name="connsiteX129" fmla="*/ 1828800 w 8601075"/>
                  <a:gd name="connsiteY129" fmla="*/ 3457575 h 4333875"/>
                  <a:gd name="connsiteX130" fmla="*/ 1971675 w 8601075"/>
                  <a:gd name="connsiteY130" fmla="*/ 3590925 h 4333875"/>
                  <a:gd name="connsiteX131" fmla="*/ 1990725 w 8601075"/>
                  <a:gd name="connsiteY131" fmla="*/ 3714750 h 4333875"/>
                  <a:gd name="connsiteX132" fmla="*/ 2200275 w 8601075"/>
                  <a:gd name="connsiteY132" fmla="*/ 3695700 h 4333875"/>
                  <a:gd name="connsiteX133" fmla="*/ 2886075 w 8601075"/>
                  <a:gd name="connsiteY133" fmla="*/ 3886200 h 4333875"/>
                  <a:gd name="connsiteX134" fmla="*/ 3038475 w 8601075"/>
                  <a:gd name="connsiteY134" fmla="*/ 3819525 h 4333875"/>
                  <a:gd name="connsiteX135" fmla="*/ 3105150 w 8601075"/>
                  <a:gd name="connsiteY135" fmla="*/ 3867150 h 4333875"/>
                  <a:gd name="connsiteX136" fmla="*/ 3181350 w 8601075"/>
                  <a:gd name="connsiteY136" fmla="*/ 3800475 h 4333875"/>
                  <a:gd name="connsiteX137" fmla="*/ 3590925 w 8601075"/>
                  <a:gd name="connsiteY137" fmla="*/ 3943350 h 4333875"/>
                  <a:gd name="connsiteX138" fmla="*/ 3686175 w 8601075"/>
                  <a:gd name="connsiteY138" fmla="*/ 4057650 h 4333875"/>
                  <a:gd name="connsiteX139" fmla="*/ 3838575 w 8601075"/>
                  <a:gd name="connsiteY139" fmla="*/ 4057650 h 4333875"/>
                  <a:gd name="connsiteX140" fmla="*/ 4162425 w 8601075"/>
                  <a:gd name="connsiteY140" fmla="*/ 4248150 h 4333875"/>
                  <a:gd name="connsiteX141" fmla="*/ 4391025 w 8601075"/>
                  <a:gd name="connsiteY141" fmla="*/ 4200525 h 4333875"/>
                  <a:gd name="connsiteX142" fmla="*/ 4410075 w 8601075"/>
                  <a:gd name="connsiteY142" fmla="*/ 4305300 h 4333875"/>
                  <a:gd name="connsiteX143" fmla="*/ 4505325 w 8601075"/>
                  <a:gd name="connsiteY143" fmla="*/ 4276725 h 4333875"/>
                  <a:gd name="connsiteX144" fmla="*/ 4572000 w 8601075"/>
                  <a:gd name="connsiteY144" fmla="*/ 4333875 h 4333875"/>
                  <a:gd name="connsiteX145" fmla="*/ 4591050 w 8601075"/>
                  <a:gd name="connsiteY145" fmla="*/ 4248150 h 4333875"/>
                  <a:gd name="connsiteX146" fmla="*/ 5295900 w 8601075"/>
                  <a:gd name="connsiteY146" fmla="*/ 3924300 h 4333875"/>
                  <a:gd name="connsiteX147" fmla="*/ 5353050 w 8601075"/>
                  <a:gd name="connsiteY147" fmla="*/ 3990975 h 4333875"/>
                  <a:gd name="connsiteX148" fmla="*/ 5524500 w 8601075"/>
                  <a:gd name="connsiteY148" fmla="*/ 3914775 h 4333875"/>
                  <a:gd name="connsiteX149" fmla="*/ 5667375 w 8601075"/>
                  <a:gd name="connsiteY149" fmla="*/ 3962400 h 4333875"/>
                  <a:gd name="connsiteX150" fmla="*/ 5753100 w 8601075"/>
                  <a:gd name="connsiteY150" fmla="*/ 3924300 h 4333875"/>
                  <a:gd name="connsiteX151" fmla="*/ 5905500 w 8601075"/>
                  <a:gd name="connsiteY151" fmla="*/ 3943350 h 4333875"/>
                  <a:gd name="connsiteX152" fmla="*/ 6000750 w 8601075"/>
                  <a:gd name="connsiteY152" fmla="*/ 3800475 h 4333875"/>
                  <a:gd name="connsiteX153" fmla="*/ 6153150 w 8601075"/>
                  <a:gd name="connsiteY153" fmla="*/ 3781425 h 4333875"/>
                  <a:gd name="connsiteX154" fmla="*/ 6257925 w 8601075"/>
                  <a:gd name="connsiteY154" fmla="*/ 3581400 h 4333875"/>
                  <a:gd name="connsiteX155" fmla="*/ 6448425 w 8601075"/>
                  <a:gd name="connsiteY155" fmla="*/ 3448050 h 4333875"/>
                  <a:gd name="connsiteX156" fmla="*/ 6581775 w 8601075"/>
                  <a:gd name="connsiteY156" fmla="*/ 3276600 h 4333875"/>
                  <a:gd name="connsiteX157" fmla="*/ 6496050 w 8601075"/>
                  <a:gd name="connsiteY157" fmla="*/ 3228975 h 4333875"/>
                  <a:gd name="connsiteX158" fmla="*/ 6438900 w 8601075"/>
                  <a:gd name="connsiteY158" fmla="*/ 3162300 h 4333875"/>
                  <a:gd name="connsiteX159" fmla="*/ 6419850 w 8601075"/>
                  <a:gd name="connsiteY159" fmla="*/ 3105150 h 4333875"/>
                  <a:gd name="connsiteX160" fmla="*/ 6362700 w 8601075"/>
                  <a:gd name="connsiteY160" fmla="*/ 3076575 h 4333875"/>
                  <a:gd name="connsiteX161" fmla="*/ 6410325 w 8601075"/>
                  <a:gd name="connsiteY161" fmla="*/ 3019425 h 4333875"/>
                  <a:gd name="connsiteX162" fmla="*/ 6438900 w 8601075"/>
                  <a:gd name="connsiteY162" fmla="*/ 2819400 h 4333875"/>
                  <a:gd name="connsiteX163" fmla="*/ 6496050 w 8601075"/>
                  <a:gd name="connsiteY163" fmla="*/ 2762250 h 4333875"/>
                  <a:gd name="connsiteX164" fmla="*/ 6657975 w 8601075"/>
                  <a:gd name="connsiteY164" fmla="*/ 2752725 h 4333875"/>
                  <a:gd name="connsiteX165" fmla="*/ 6781800 w 8601075"/>
                  <a:gd name="connsiteY165" fmla="*/ 2838450 h 4333875"/>
                  <a:gd name="connsiteX166" fmla="*/ 7010400 w 8601075"/>
                  <a:gd name="connsiteY166" fmla="*/ 2838450 h 4333875"/>
                  <a:gd name="connsiteX167" fmla="*/ 7162800 w 8601075"/>
                  <a:gd name="connsiteY167" fmla="*/ 2705100 h 4333875"/>
                  <a:gd name="connsiteX168" fmla="*/ 7229475 w 8601075"/>
                  <a:gd name="connsiteY168" fmla="*/ 2590800 h 4333875"/>
                  <a:gd name="connsiteX169" fmla="*/ 7248525 w 8601075"/>
                  <a:gd name="connsiteY169" fmla="*/ 2524125 h 4333875"/>
                  <a:gd name="connsiteX170" fmla="*/ 7372350 w 8601075"/>
                  <a:gd name="connsiteY170" fmla="*/ 2543175 h 4333875"/>
                  <a:gd name="connsiteX171" fmla="*/ 7553325 w 8601075"/>
                  <a:gd name="connsiteY171" fmla="*/ 2447925 h 4333875"/>
                  <a:gd name="connsiteX172" fmla="*/ 7620000 w 8601075"/>
                  <a:gd name="connsiteY172" fmla="*/ 2324100 h 4333875"/>
                  <a:gd name="connsiteX173" fmla="*/ 7696200 w 8601075"/>
                  <a:gd name="connsiteY173" fmla="*/ 2314575 h 4333875"/>
                  <a:gd name="connsiteX174" fmla="*/ 7658100 w 8601075"/>
                  <a:gd name="connsiteY174" fmla="*/ 2257425 h 4333875"/>
                  <a:gd name="connsiteX175" fmla="*/ 7753350 w 8601075"/>
                  <a:gd name="connsiteY175" fmla="*/ 2057400 h 4333875"/>
                  <a:gd name="connsiteX176" fmla="*/ 7934325 w 8601075"/>
                  <a:gd name="connsiteY176" fmla="*/ 2028825 h 4333875"/>
                  <a:gd name="connsiteX177" fmla="*/ 7953375 w 8601075"/>
                  <a:gd name="connsiteY177" fmla="*/ 1952625 h 4333875"/>
                  <a:gd name="connsiteX178" fmla="*/ 7953375 w 8601075"/>
                  <a:gd name="connsiteY178" fmla="*/ 1952625 h 4333875"/>
                  <a:gd name="connsiteX179" fmla="*/ 8010525 w 8601075"/>
                  <a:gd name="connsiteY179" fmla="*/ 1895475 h 4333875"/>
                  <a:gd name="connsiteX180" fmla="*/ 8048625 w 8601075"/>
                  <a:gd name="connsiteY180" fmla="*/ 1971675 h 4333875"/>
                  <a:gd name="connsiteX181" fmla="*/ 8077200 w 8601075"/>
                  <a:gd name="connsiteY181" fmla="*/ 1885950 h 4333875"/>
                  <a:gd name="connsiteX182" fmla="*/ 8220075 w 8601075"/>
                  <a:gd name="connsiteY182" fmla="*/ 1847850 h 4333875"/>
                  <a:gd name="connsiteX183" fmla="*/ 8296275 w 8601075"/>
                  <a:gd name="connsiteY183" fmla="*/ 1809750 h 4333875"/>
                  <a:gd name="connsiteX184" fmla="*/ 8324850 w 8601075"/>
                  <a:gd name="connsiteY184" fmla="*/ 1790700 h 4333875"/>
                  <a:gd name="connsiteX185" fmla="*/ 8410575 w 8601075"/>
                  <a:gd name="connsiteY185" fmla="*/ 1847850 h 4333875"/>
                  <a:gd name="connsiteX186" fmla="*/ 8505825 w 8601075"/>
                  <a:gd name="connsiteY186" fmla="*/ 1781175 h 4333875"/>
                  <a:gd name="connsiteX187" fmla="*/ 8572500 w 8601075"/>
                  <a:gd name="connsiteY187" fmla="*/ 1809750 h 4333875"/>
                  <a:gd name="connsiteX188" fmla="*/ 8601075 w 8601075"/>
                  <a:gd name="connsiteY188" fmla="*/ 1704975 h 4333875"/>
                  <a:gd name="connsiteX189" fmla="*/ 8553450 w 8601075"/>
                  <a:gd name="connsiteY189" fmla="*/ 1676400 h 4333875"/>
                  <a:gd name="connsiteX190" fmla="*/ 8534400 w 8601075"/>
                  <a:gd name="connsiteY190" fmla="*/ 1609725 h 4333875"/>
                  <a:gd name="connsiteX191" fmla="*/ 8277225 w 8601075"/>
                  <a:gd name="connsiteY191" fmla="*/ 1409700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124825 w 8601075"/>
                  <a:gd name="connsiteY194" fmla="*/ 1352550 h 4333875"/>
                  <a:gd name="connsiteX195" fmla="*/ 7924800 w 8601075"/>
                  <a:gd name="connsiteY195" fmla="*/ 1362075 h 4333875"/>
                  <a:gd name="connsiteX196" fmla="*/ 7867650 w 8601075"/>
                  <a:gd name="connsiteY196" fmla="*/ 1457325 h 4333875"/>
                  <a:gd name="connsiteX197" fmla="*/ 7896225 w 8601075"/>
                  <a:gd name="connsiteY197" fmla="*/ 1476375 h 4333875"/>
                  <a:gd name="connsiteX198" fmla="*/ 7858125 w 8601075"/>
                  <a:gd name="connsiteY198" fmla="*/ 1533525 h 4333875"/>
                  <a:gd name="connsiteX199" fmla="*/ 7658100 w 8601075"/>
                  <a:gd name="connsiteY199" fmla="*/ 1447800 h 4333875"/>
                  <a:gd name="connsiteX200" fmla="*/ 7515225 w 8601075"/>
                  <a:gd name="connsiteY200" fmla="*/ 1495425 h 4333875"/>
                  <a:gd name="connsiteX201" fmla="*/ 7467600 w 8601075"/>
                  <a:gd name="connsiteY201" fmla="*/ 1581150 h 4333875"/>
                  <a:gd name="connsiteX202" fmla="*/ 7296150 w 8601075"/>
                  <a:gd name="connsiteY20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00450 w 8601075"/>
                  <a:gd name="connsiteY54" fmla="*/ 285750 h 4333875"/>
                  <a:gd name="connsiteX55" fmla="*/ 3533775 w 8601075"/>
                  <a:gd name="connsiteY55" fmla="*/ 314325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533775 w 8601075"/>
                  <a:gd name="connsiteY55" fmla="*/ 314325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57550 w 8601075"/>
                  <a:gd name="connsiteY57" fmla="*/ 180975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240881 w 8601075"/>
                  <a:gd name="connsiteY57" fmla="*/ 169068 h 4333875"/>
                  <a:gd name="connsiteX58" fmla="*/ 3209925 w 8601075"/>
                  <a:gd name="connsiteY58" fmla="*/ 104775 h 4333875"/>
                  <a:gd name="connsiteX59" fmla="*/ 3152775 w 8601075"/>
                  <a:gd name="connsiteY59" fmla="*/ 104775 h 4333875"/>
                  <a:gd name="connsiteX60" fmla="*/ 2990850 w 8601075"/>
                  <a:gd name="connsiteY60" fmla="*/ 0 h 4333875"/>
                  <a:gd name="connsiteX61" fmla="*/ 2933700 w 8601075"/>
                  <a:gd name="connsiteY61" fmla="*/ 114300 h 4333875"/>
                  <a:gd name="connsiteX62" fmla="*/ 2867025 w 8601075"/>
                  <a:gd name="connsiteY62" fmla="*/ 171450 h 4333875"/>
                  <a:gd name="connsiteX63" fmla="*/ 2867025 w 8601075"/>
                  <a:gd name="connsiteY63" fmla="*/ 171450 h 4333875"/>
                  <a:gd name="connsiteX64" fmla="*/ 2800350 w 8601075"/>
                  <a:gd name="connsiteY64" fmla="*/ 257175 h 4333875"/>
                  <a:gd name="connsiteX65" fmla="*/ 2724150 w 8601075"/>
                  <a:gd name="connsiteY65" fmla="*/ 304800 h 4333875"/>
                  <a:gd name="connsiteX66" fmla="*/ 2705100 w 8601075"/>
                  <a:gd name="connsiteY66" fmla="*/ 466725 h 4333875"/>
                  <a:gd name="connsiteX67" fmla="*/ 2762250 w 8601075"/>
                  <a:gd name="connsiteY67" fmla="*/ 571500 h 4333875"/>
                  <a:gd name="connsiteX68" fmla="*/ 2800350 w 8601075"/>
                  <a:gd name="connsiteY68" fmla="*/ 628650 h 4333875"/>
                  <a:gd name="connsiteX69" fmla="*/ 2752725 w 8601075"/>
                  <a:gd name="connsiteY69" fmla="*/ 781050 h 4333875"/>
                  <a:gd name="connsiteX70" fmla="*/ 2686050 w 8601075"/>
                  <a:gd name="connsiteY70" fmla="*/ 857250 h 4333875"/>
                  <a:gd name="connsiteX71" fmla="*/ 2609850 w 8601075"/>
                  <a:gd name="connsiteY71" fmla="*/ 857250 h 4333875"/>
                  <a:gd name="connsiteX72" fmla="*/ 2514600 w 8601075"/>
                  <a:gd name="connsiteY72" fmla="*/ 914400 h 4333875"/>
                  <a:gd name="connsiteX73" fmla="*/ 2400300 w 8601075"/>
                  <a:gd name="connsiteY73" fmla="*/ 866775 h 4333875"/>
                  <a:gd name="connsiteX74" fmla="*/ 2305050 w 8601075"/>
                  <a:gd name="connsiteY74" fmla="*/ 809625 h 4333875"/>
                  <a:gd name="connsiteX75" fmla="*/ 2200275 w 8601075"/>
                  <a:gd name="connsiteY75" fmla="*/ 752475 h 4333875"/>
                  <a:gd name="connsiteX76" fmla="*/ 2105025 w 8601075"/>
                  <a:gd name="connsiteY76" fmla="*/ 762000 h 4333875"/>
                  <a:gd name="connsiteX77" fmla="*/ 1990725 w 8601075"/>
                  <a:gd name="connsiteY77" fmla="*/ 762000 h 4333875"/>
                  <a:gd name="connsiteX78" fmla="*/ 1885950 w 8601075"/>
                  <a:gd name="connsiteY78" fmla="*/ 742950 h 4333875"/>
                  <a:gd name="connsiteX79" fmla="*/ 1800225 w 8601075"/>
                  <a:gd name="connsiteY79" fmla="*/ 638175 h 4333875"/>
                  <a:gd name="connsiteX80" fmla="*/ 1809750 w 8601075"/>
                  <a:gd name="connsiteY80" fmla="*/ 495300 h 4333875"/>
                  <a:gd name="connsiteX81" fmla="*/ 1733550 w 8601075"/>
                  <a:gd name="connsiteY81" fmla="*/ 466725 h 4333875"/>
                  <a:gd name="connsiteX82" fmla="*/ 1485900 w 8601075"/>
                  <a:gd name="connsiteY82" fmla="*/ 419100 h 4333875"/>
                  <a:gd name="connsiteX83" fmla="*/ 1457325 w 8601075"/>
                  <a:gd name="connsiteY83" fmla="*/ 323850 h 4333875"/>
                  <a:gd name="connsiteX84" fmla="*/ 1457325 w 8601075"/>
                  <a:gd name="connsiteY84" fmla="*/ 323850 h 4333875"/>
                  <a:gd name="connsiteX85" fmla="*/ 1323975 w 8601075"/>
                  <a:gd name="connsiteY85" fmla="*/ 285750 h 4333875"/>
                  <a:gd name="connsiteX86" fmla="*/ 1266825 w 8601075"/>
                  <a:gd name="connsiteY86" fmla="*/ 352425 h 4333875"/>
                  <a:gd name="connsiteX87" fmla="*/ 1009650 w 8601075"/>
                  <a:gd name="connsiteY87" fmla="*/ 390525 h 4333875"/>
                  <a:gd name="connsiteX88" fmla="*/ 828675 w 8601075"/>
                  <a:gd name="connsiteY88" fmla="*/ 447675 h 4333875"/>
                  <a:gd name="connsiteX89" fmla="*/ 619125 w 8601075"/>
                  <a:gd name="connsiteY89" fmla="*/ 533400 h 4333875"/>
                  <a:gd name="connsiteX90" fmla="*/ 619125 w 8601075"/>
                  <a:gd name="connsiteY90" fmla="*/ 533400 h 4333875"/>
                  <a:gd name="connsiteX91" fmla="*/ 561975 w 8601075"/>
                  <a:gd name="connsiteY91" fmla="*/ 619125 h 4333875"/>
                  <a:gd name="connsiteX92" fmla="*/ 447675 w 8601075"/>
                  <a:gd name="connsiteY92" fmla="*/ 63817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295275 w 8601075"/>
                  <a:gd name="connsiteY95" fmla="*/ 657225 h 4333875"/>
                  <a:gd name="connsiteX96" fmla="*/ 180975 w 8601075"/>
                  <a:gd name="connsiteY96" fmla="*/ 638175 h 4333875"/>
                  <a:gd name="connsiteX97" fmla="*/ 180975 w 8601075"/>
                  <a:gd name="connsiteY97" fmla="*/ 638175 h 4333875"/>
                  <a:gd name="connsiteX98" fmla="*/ 57150 w 8601075"/>
                  <a:gd name="connsiteY98" fmla="*/ 733425 h 4333875"/>
                  <a:gd name="connsiteX99" fmla="*/ 19050 w 8601075"/>
                  <a:gd name="connsiteY99" fmla="*/ 790575 h 4333875"/>
                  <a:gd name="connsiteX100" fmla="*/ 0 w 8601075"/>
                  <a:gd name="connsiteY100" fmla="*/ 876300 h 4333875"/>
                  <a:gd name="connsiteX101" fmla="*/ 57150 w 8601075"/>
                  <a:gd name="connsiteY101" fmla="*/ 923925 h 4333875"/>
                  <a:gd name="connsiteX102" fmla="*/ 57150 w 8601075"/>
                  <a:gd name="connsiteY102" fmla="*/ 923925 h 4333875"/>
                  <a:gd name="connsiteX103" fmla="*/ 209550 w 8601075"/>
                  <a:gd name="connsiteY103" fmla="*/ 1114425 h 4333875"/>
                  <a:gd name="connsiteX104" fmla="*/ 209550 w 8601075"/>
                  <a:gd name="connsiteY104" fmla="*/ 1114425 h 4333875"/>
                  <a:gd name="connsiteX105" fmla="*/ 266700 w 8601075"/>
                  <a:gd name="connsiteY105" fmla="*/ 1295400 h 4333875"/>
                  <a:gd name="connsiteX106" fmla="*/ 409575 w 8601075"/>
                  <a:gd name="connsiteY106" fmla="*/ 1276350 h 4333875"/>
                  <a:gd name="connsiteX107" fmla="*/ 466725 w 8601075"/>
                  <a:gd name="connsiteY107" fmla="*/ 1362075 h 4333875"/>
                  <a:gd name="connsiteX108" fmla="*/ 542925 w 8601075"/>
                  <a:gd name="connsiteY108" fmla="*/ 1428750 h 4333875"/>
                  <a:gd name="connsiteX109" fmla="*/ 628650 w 8601075"/>
                  <a:gd name="connsiteY109" fmla="*/ 1571625 h 4333875"/>
                  <a:gd name="connsiteX110" fmla="*/ 628650 w 8601075"/>
                  <a:gd name="connsiteY110" fmla="*/ 1704975 h 4333875"/>
                  <a:gd name="connsiteX111" fmla="*/ 676275 w 8601075"/>
                  <a:gd name="connsiteY111" fmla="*/ 1771650 h 4333875"/>
                  <a:gd name="connsiteX112" fmla="*/ 657225 w 8601075"/>
                  <a:gd name="connsiteY112" fmla="*/ 2000250 h 4333875"/>
                  <a:gd name="connsiteX113" fmla="*/ 619125 w 8601075"/>
                  <a:gd name="connsiteY113" fmla="*/ 2095500 h 4333875"/>
                  <a:gd name="connsiteX114" fmla="*/ 542925 w 8601075"/>
                  <a:gd name="connsiteY114" fmla="*/ 2228850 h 4333875"/>
                  <a:gd name="connsiteX115" fmla="*/ 485775 w 8601075"/>
                  <a:gd name="connsiteY115" fmla="*/ 2362200 h 4333875"/>
                  <a:gd name="connsiteX116" fmla="*/ 552450 w 8601075"/>
                  <a:gd name="connsiteY116" fmla="*/ 2486025 h 4333875"/>
                  <a:gd name="connsiteX117" fmla="*/ 771525 w 8601075"/>
                  <a:gd name="connsiteY117" fmla="*/ 2571750 h 4333875"/>
                  <a:gd name="connsiteX118" fmla="*/ 866775 w 8601075"/>
                  <a:gd name="connsiteY118" fmla="*/ 2571750 h 4333875"/>
                  <a:gd name="connsiteX119" fmla="*/ 914400 w 8601075"/>
                  <a:gd name="connsiteY119" fmla="*/ 2638425 h 4333875"/>
                  <a:gd name="connsiteX120" fmla="*/ 1066800 w 8601075"/>
                  <a:gd name="connsiteY120" fmla="*/ 2638425 h 4333875"/>
                  <a:gd name="connsiteX121" fmla="*/ 1285875 w 8601075"/>
                  <a:gd name="connsiteY121" fmla="*/ 2705100 h 4333875"/>
                  <a:gd name="connsiteX122" fmla="*/ 1438275 w 8601075"/>
                  <a:gd name="connsiteY122" fmla="*/ 2838450 h 4333875"/>
                  <a:gd name="connsiteX123" fmla="*/ 1485900 w 8601075"/>
                  <a:gd name="connsiteY123" fmla="*/ 2914650 h 4333875"/>
                  <a:gd name="connsiteX124" fmla="*/ 1657350 w 8601075"/>
                  <a:gd name="connsiteY124" fmla="*/ 3038475 h 4333875"/>
                  <a:gd name="connsiteX125" fmla="*/ 1752600 w 8601075"/>
                  <a:gd name="connsiteY125" fmla="*/ 3057525 h 4333875"/>
                  <a:gd name="connsiteX126" fmla="*/ 1724025 w 8601075"/>
                  <a:gd name="connsiteY126" fmla="*/ 3143250 h 4333875"/>
                  <a:gd name="connsiteX127" fmla="*/ 1724025 w 8601075"/>
                  <a:gd name="connsiteY127" fmla="*/ 3143250 h 4333875"/>
                  <a:gd name="connsiteX128" fmla="*/ 1781175 w 8601075"/>
                  <a:gd name="connsiteY128" fmla="*/ 3181350 h 4333875"/>
                  <a:gd name="connsiteX129" fmla="*/ 1819275 w 8601075"/>
                  <a:gd name="connsiteY129" fmla="*/ 3362325 h 4333875"/>
                  <a:gd name="connsiteX130" fmla="*/ 1828800 w 8601075"/>
                  <a:gd name="connsiteY130" fmla="*/ 3457575 h 4333875"/>
                  <a:gd name="connsiteX131" fmla="*/ 1971675 w 8601075"/>
                  <a:gd name="connsiteY131" fmla="*/ 3590925 h 4333875"/>
                  <a:gd name="connsiteX132" fmla="*/ 1990725 w 8601075"/>
                  <a:gd name="connsiteY132" fmla="*/ 3714750 h 4333875"/>
                  <a:gd name="connsiteX133" fmla="*/ 2200275 w 8601075"/>
                  <a:gd name="connsiteY133" fmla="*/ 3695700 h 4333875"/>
                  <a:gd name="connsiteX134" fmla="*/ 2886075 w 8601075"/>
                  <a:gd name="connsiteY134" fmla="*/ 3886200 h 4333875"/>
                  <a:gd name="connsiteX135" fmla="*/ 3038475 w 8601075"/>
                  <a:gd name="connsiteY135" fmla="*/ 3819525 h 4333875"/>
                  <a:gd name="connsiteX136" fmla="*/ 3105150 w 8601075"/>
                  <a:gd name="connsiteY136" fmla="*/ 3867150 h 4333875"/>
                  <a:gd name="connsiteX137" fmla="*/ 3181350 w 8601075"/>
                  <a:gd name="connsiteY137" fmla="*/ 3800475 h 4333875"/>
                  <a:gd name="connsiteX138" fmla="*/ 3590925 w 8601075"/>
                  <a:gd name="connsiteY138" fmla="*/ 3943350 h 4333875"/>
                  <a:gd name="connsiteX139" fmla="*/ 3686175 w 8601075"/>
                  <a:gd name="connsiteY139" fmla="*/ 4057650 h 4333875"/>
                  <a:gd name="connsiteX140" fmla="*/ 3838575 w 8601075"/>
                  <a:gd name="connsiteY140" fmla="*/ 4057650 h 4333875"/>
                  <a:gd name="connsiteX141" fmla="*/ 4162425 w 8601075"/>
                  <a:gd name="connsiteY141" fmla="*/ 4248150 h 4333875"/>
                  <a:gd name="connsiteX142" fmla="*/ 4391025 w 8601075"/>
                  <a:gd name="connsiteY142" fmla="*/ 4200525 h 4333875"/>
                  <a:gd name="connsiteX143" fmla="*/ 4410075 w 8601075"/>
                  <a:gd name="connsiteY143" fmla="*/ 4305300 h 4333875"/>
                  <a:gd name="connsiteX144" fmla="*/ 4505325 w 8601075"/>
                  <a:gd name="connsiteY144" fmla="*/ 4276725 h 4333875"/>
                  <a:gd name="connsiteX145" fmla="*/ 4572000 w 8601075"/>
                  <a:gd name="connsiteY145" fmla="*/ 4333875 h 4333875"/>
                  <a:gd name="connsiteX146" fmla="*/ 4591050 w 8601075"/>
                  <a:gd name="connsiteY146" fmla="*/ 4248150 h 4333875"/>
                  <a:gd name="connsiteX147" fmla="*/ 5295900 w 8601075"/>
                  <a:gd name="connsiteY147" fmla="*/ 3924300 h 4333875"/>
                  <a:gd name="connsiteX148" fmla="*/ 5353050 w 8601075"/>
                  <a:gd name="connsiteY148" fmla="*/ 3990975 h 4333875"/>
                  <a:gd name="connsiteX149" fmla="*/ 5524500 w 8601075"/>
                  <a:gd name="connsiteY149" fmla="*/ 3914775 h 4333875"/>
                  <a:gd name="connsiteX150" fmla="*/ 5667375 w 8601075"/>
                  <a:gd name="connsiteY150" fmla="*/ 3962400 h 4333875"/>
                  <a:gd name="connsiteX151" fmla="*/ 5753100 w 8601075"/>
                  <a:gd name="connsiteY151" fmla="*/ 3924300 h 4333875"/>
                  <a:gd name="connsiteX152" fmla="*/ 5905500 w 8601075"/>
                  <a:gd name="connsiteY152" fmla="*/ 3943350 h 4333875"/>
                  <a:gd name="connsiteX153" fmla="*/ 6000750 w 8601075"/>
                  <a:gd name="connsiteY153" fmla="*/ 3800475 h 4333875"/>
                  <a:gd name="connsiteX154" fmla="*/ 6153150 w 8601075"/>
                  <a:gd name="connsiteY154" fmla="*/ 3781425 h 4333875"/>
                  <a:gd name="connsiteX155" fmla="*/ 6257925 w 8601075"/>
                  <a:gd name="connsiteY155" fmla="*/ 3581400 h 4333875"/>
                  <a:gd name="connsiteX156" fmla="*/ 6448425 w 8601075"/>
                  <a:gd name="connsiteY156" fmla="*/ 3448050 h 4333875"/>
                  <a:gd name="connsiteX157" fmla="*/ 6581775 w 8601075"/>
                  <a:gd name="connsiteY157" fmla="*/ 3276600 h 4333875"/>
                  <a:gd name="connsiteX158" fmla="*/ 6496050 w 8601075"/>
                  <a:gd name="connsiteY158" fmla="*/ 3228975 h 4333875"/>
                  <a:gd name="connsiteX159" fmla="*/ 6438900 w 8601075"/>
                  <a:gd name="connsiteY159" fmla="*/ 3162300 h 4333875"/>
                  <a:gd name="connsiteX160" fmla="*/ 6419850 w 8601075"/>
                  <a:gd name="connsiteY160" fmla="*/ 3105150 h 4333875"/>
                  <a:gd name="connsiteX161" fmla="*/ 6362700 w 8601075"/>
                  <a:gd name="connsiteY161" fmla="*/ 3076575 h 4333875"/>
                  <a:gd name="connsiteX162" fmla="*/ 6410325 w 8601075"/>
                  <a:gd name="connsiteY162" fmla="*/ 3019425 h 4333875"/>
                  <a:gd name="connsiteX163" fmla="*/ 6438900 w 8601075"/>
                  <a:gd name="connsiteY163" fmla="*/ 2819400 h 4333875"/>
                  <a:gd name="connsiteX164" fmla="*/ 6496050 w 8601075"/>
                  <a:gd name="connsiteY164" fmla="*/ 2762250 h 4333875"/>
                  <a:gd name="connsiteX165" fmla="*/ 6657975 w 8601075"/>
                  <a:gd name="connsiteY165" fmla="*/ 2752725 h 4333875"/>
                  <a:gd name="connsiteX166" fmla="*/ 6781800 w 8601075"/>
                  <a:gd name="connsiteY166" fmla="*/ 2838450 h 4333875"/>
                  <a:gd name="connsiteX167" fmla="*/ 7010400 w 8601075"/>
                  <a:gd name="connsiteY167" fmla="*/ 2838450 h 4333875"/>
                  <a:gd name="connsiteX168" fmla="*/ 7162800 w 8601075"/>
                  <a:gd name="connsiteY168" fmla="*/ 2705100 h 4333875"/>
                  <a:gd name="connsiteX169" fmla="*/ 7229475 w 8601075"/>
                  <a:gd name="connsiteY169" fmla="*/ 2590800 h 4333875"/>
                  <a:gd name="connsiteX170" fmla="*/ 7248525 w 8601075"/>
                  <a:gd name="connsiteY170" fmla="*/ 2524125 h 4333875"/>
                  <a:gd name="connsiteX171" fmla="*/ 7372350 w 8601075"/>
                  <a:gd name="connsiteY171" fmla="*/ 2543175 h 4333875"/>
                  <a:gd name="connsiteX172" fmla="*/ 7553325 w 8601075"/>
                  <a:gd name="connsiteY172" fmla="*/ 2447925 h 4333875"/>
                  <a:gd name="connsiteX173" fmla="*/ 7620000 w 8601075"/>
                  <a:gd name="connsiteY173" fmla="*/ 2324100 h 4333875"/>
                  <a:gd name="connsiteX174" fmla="*/ 7696200 w 8601075"/>
                  <a:gd name="connsiteY174" fmla="*/ 2314575 h 4333875"/>
                  <a:gd name="connsiteX175" fmla="*/ 7658100 w 8601075"/>
                  <a:gd name="connsiteY175" fmla="*/ 2257425 h 4333875"/>
                  <a:gd name="connsiteX176" fmla="*/ 7753350 w 8601075"/>
                  <a:gd name="connsiteY176" fmla="*/ 2057400 h 4333875"/>
                  <a:gd name="connsiteX177" fmla="*/ 7934325 w 8601075"/>
                  <a:gd name="connsiteY177" fmla="*/ 2028825 h 4333875"/>
                  <a:gd name="connsiteX178" fmla="*/ 7953375 w 8601075"/>
                  <a:gd name="connsiteY178" fmla="*/ 1952625 h 4333875"/>
                  <a:gd name="connsiteX179" fmla="*/ 7953375 w 8601075"/>
                  <a:gd name="connsiteY179" fmla="*/ 1952625 h 4333875"/>
                  <a:gd name="connsiteX180" fmla="*/ 8010525 w 8601075"/>
                  <a:gd name="connsiteY180" fmla="*/ 1895475 h 4333875"/>
                  <a:gd name="connsiteX181" fmla="*/ 8048625 w 8601075"/>
                  <a:gd name="connsiteY181" fmla="*/ 1971675 h 4333875"/>
                  <a:gd name="connsiteX182" fmla="*/ 8077200 w 8601075"/>
                  <a:gd name="connsiteY182" fmla="*/ 1885950 h 4333875"/>
                  <a:gd name="connsiteX183" fmla="*/ 8220075 w 8601075"/>
                  <a:gd name="connsiteY183" fmla="*/ 1847850 h 4333875"/>
                  <a:gd name="connsiteX184" fmla="*/ 8296275 w 8601075"/>
                  <a:gd name="connsiteY184" fmla="*/ 1809750 h 4333875"/>
                  <a:gd name="connsiteX185" fmla="*/ 8324850 w 8601075"/>
                  <a:gd name="connsiteY185" fmla="*/ 1790700 h 4333875"/>
                  <a:gd name="connsiteX186" fmla="*/ 8410575 w 8601075"/>
                  <a:gd name="connsiteY186" fmla="*/ 1847850 h 4333875"/>
                  <a:gd name="connsiteX187" fmla="*/ 8505825 w 8601075"/>
                  <a:gd name="connsiteY187" fmla="*/ 1781175 h 4333875"/>
                  <a:gd name="connsiteX188" fmla="*/ 8572500 w 8601075"/>
                  <a:gd name="connsiteY188" fmla="*/ 1809750 h 4333875"/>
                  <a:gd name="connsiteX189" fmla="*/ 8601075 w 8601075"/>
                  <a:gd name="connsiteY189" fmla="*/ 1704975 h 4333875"/>
                  <a:gd name="connsiteX190" fmla="*/ 8553450 w 8601075"/>
                  <a:gd name="connsiteY190" fmla="*/ 1676400 h 4333875"/>
                  <a:gd name="connsiteX191" fmla="*/ 8534400 w 8601075"/>
                  <a:gd name="connsiteY191" fmla="*/ 1609725 h 4333875"/>
                  <a:gd name="connsiteX192" fmla="*/ 8277225 w 8601075"/>
                  <a:gd name="connsiteY192" fmla="*/ 1409700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124825 w 8601075"/>
                  <a:gd name="connsiteY195" fmla="*/ 1352550 h 4333875"/>
                  <a:gd name="connsiteX196" fmla="*/ 7924800 w 8601075"/>
                  <a:gd name="connsiteY196" fmla="*/ 1362075 h 4333875"/>
                  <a:gd name="connsiteX197" fmla="*/ 7867650 w 8601075"/>
                  <a:gd name="connsiteY197" fmla="*/ 1457325 h 4333875"/>
                  <a:gd name="connsiteX198" fmla="*/ 7896225 w 8601075"/>
                  <a:gd name="connsiteY198" fmla="*/ 1476375 h 4333875"/>
                  <a:gd name="connsiteX199" fmla="*/ 7858125 w 8601075"/>
                  <a:gd name="connsiteY199" fmla="*/ 1533525 h 4333875"/>
                  <a:gd name="connsiteX200" fmla="*/ 7658100 w 8601075"/>
                  <a:gd name="connsiteY200" fmla="*/ 1447800 h 4333875"/>
                  <a:gd name="connsiteX201" fmla="*/ 7515225 w 8601075"/>
                  <a:gd name="connsiteY201" fmla="*/ 1495425 h 4333875"/>
                  <a:gd name="connsiteX202" fmla="*/ 7467600 w 8601075"/>
                  <a:gd name="connsiteY202" fmla="*/ 1581150 h 4333875"/>
                  <a:gd name="connsiteX203" fmla="*/ 7296150 w 8601075"/>
                  <a:gd name="connsiteY20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2990850 w 8601075"/>
                  <a:gd name="connsiteY61" fmla="*/ 0 h 4333875"/>
                  <a:gd name="connsiteX62" fmla="*/ 2933700 w 8601075"/>
                  <a:gd name="connsiteY62" fmla="*/ 114300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33700 w 8601075"/>
                  <a:gd name="connsiteY62" fmla="*/ 114300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867025 w 8601075"/>
                  <a:gd name="connsiteY63" fmla="*/ 171450 h 4333875"/>
                  <a:gd name="connsiteX64" fmla="*/ 2867025 w 8601075"/>
                  <a:gd name="connsiteY64" fmla="*/ 171450 h 4333875"/>
                  <a:gd name="connsiteX65" fmla="*/ 2800350 w 8601075"/>
                  <a:gd name="connsiteY65" fmla="*/ 257175 h 4333875"/>
                  <a:gd name="connsiteX66" fmla="*/ 2724150 w 8601075"/>
                  <a:gd name="connsiteY66" fmla="*/ 304800 h 4333875"/>
                  <a:gd name="connsiteX67" fmla="*/ 2705100 w 8601075"/>
                  <a:gd name="connsiteY67" fmla="*/ 466725 h 4333875"/>
                  <a:gd name="connsiteX68" fmla="*/ 2762250 w 8601075"/>
                  <a:gd name="connsiteY68" fmla="*/ 571500 h 4333875"/>
                  <a:gd name="connsiteX69" fmla="*/ 2800350 w 8601075"/>
                  <a:gd name="connsiteY69" fmla="*/ 628650 h 4333875"/>
                  <a:gd name="connsiteX70" fmla="*/ 2752725 w 8601075"/>
                  <a:gd name="connsiteY70" fmla="*/ 781050 h 4333875"/>
                  <a:gd name="connsiteX71" fmla="*/ 2686050 w 8601075"/>
                  <a:gd name="connsiteY71" fmla="*/ 857250 h 4333875"/>
                  <a:gd name="connsiteX72" fmla="*/ 2609850 w 8601075"/>
                  <a:gd name="connsiteY72" fmla="*/ 857250 h 4333875"/>
                  <a:gd name="connsiteX73" fmla="*/ 2514600 w 8601075"/>
                  <a:gd name="connsiteY73" fmla="*/ 914400 h 4333875"/>
                  <a:gd name="connsiteX74" fmla="*/ 2400300 w 8601075"/>
                  <a:gd name="connsiteY74" fmla="*/ 866775 h 4333875"/>
                  <a:gd name="connsiteX75" fmla="*/ 2305050 w 8601075"/>
                  <a:gd name="connsiteY75" fmla="*/ 809625 h 4333875"/>
                  <a:gd name="connsiteX76" fmla="*/ 2200275 w 8601075"/>
                  <a:gd name="connsiteY76" fmla="*/ 752475 h 4333875"/>
                  <a:gd name="connsiteX77" fmla="*/ 2105025 w 8601075"/>
                  <a:gd name="connsiteY77" fmla="*/ 762000 h 4333875"/>
                  <a:gd name="connsiteX78" fmla="*/ 1990725 w 8601075"/>
                  <a:gd name="connsiteY78" fmla="*/ 762000 h 4333875"/>
                  <a:gd name="connsiteX79" fmla="*/ 1885950 w 8601075"/>
                  <a:gd name="connsiteY79" fmla="*/ 742950 h 4333875"/>
                  <a:gd name="connsiteX80" fmla="*/ 1800225 w 8601075"/>
                  <a:gd name="connsiteY80" fmla="*/ 638175 h 4333875"/>
                  <a:gd name="connsiteX81" fmla="*/ 1809750 w 8601075"/>
                  <a:gd name="connsiteY81" fmla="*/ 495300 h 4333875"/>
                  <a:gd name="connsiteX82" fmla="*/ 1733550 w 8601075"/>
                  <a:gd name="connsiteY82" fmla="*/ 466725 h 4333875"/>
                  <a:gd name="connsiteX83" fmla="*/ 1485900 w 8601075"/>
                  <a:gd name="connsiteY83" fmla="*/ 419100 h 4333875"/>
                  <a:gd name="connsiteX84" fmla="*/ 1457325 w 8601075"/>
                  <a:gd name="connsiteY84" fmla="*/ 323850 h 4333875"/>
                  <a:gd name="connsiteX85" fmla="*/ 1457325 w 8601075"/>
                  <a:gd name="connsiteY85" fmla="*/ 323850 h 4333875"/>
                  <a:gd name="connsiteX86" fmla="*/ 1323975 w 8601075"/>
                  <a:gd name="connsiteY86" fmla="*/ 285750 h 4333875"/>
                  <a:gd name="connsiteX87" fmla="*/ 1266825 w 8601075"/>
                  <a:gd name="connsiteY87" fmla="*/ 352425 h 4333875"/>
                  <a:gd name="connsiteX88" fmla="*/ 1009650 w 8601075"/>
                  <a:gd name="connsiteY88" fmla="*/ 390525 h 4333875"/>
                  <a:gd name="connsiteX89" fmla="*/ 828675 w 8601075"/>
                  <a:gd name="connsiteY89" fmla="*/ 447675 h 4333875"/>
                  <a:gd name="connsiteX90" fmla="*/ 619125 w 8601075"/>
                  <a:gd name="connsiteY90" fmla="*/ 533400 h 4333875"/>
                  <a:gd name="connsiteX91" fmla="*/ 619125 w 8601075"/>
                  <a:gd name="connsiteY91" fmla="*/ 533400 h 4333875"/>
                  <a:gd name="connsiteX92" fmla="*/ 561975 w 8601075"/>
                  <a:gd name="connsiteY92" fmla="*/ 619125 h 4333875"/>
                  <a:gd name="connsiteX93" fmla="*/ 447675 w 8601075"/>
                  <a:gd name="connsiteY93" fmla="*/ 63817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295275 w 8601075"/>
                  <a:gd name="connsiteY96" fmla="*/ 657225 h 4333875"/>
                  <a:gd name="connsiteX97" fmla="*/ 180975 w 8601075"/>
                  <a:gd name="connsiteY97" fmla="*/ 638175 h 4333875"/>
                  <a:gd name="connsiteX98" fmla="*/ 180975 w 8601075"/>
                  <a:gd name="connsiteY98" fmla="*/ 638175 h 4333875"/>
                  <a:gd name="connsiteX99" fmla="*/ 57150 w 8601075"/>
                  <a:gd name="connsiteY99" fmla="*/ 733425 h 4333875"/>
                  <a:gd name="connsiteX100" fmla="*/ 19050 w 8601075"/>
                  <a:gd name="connsiteY100" fmla="*/ 790575 h 4333875"/>
                  <a:gd name="connsiteX101" fmla="*/ 0 w 8601075"/>
                  <a:gd name="connsiteY101" fmla="*/ 876300 h 4333875"/>
                  <a:gd name="connsiteX102" fmla="*/ 57150 w 8601075"/>
                  <a:gd name="connsiteY102" fmla="*/ 923925 h 4333875"/>
                  <a:gd name="connsiteX103" fmla="*/ 57150 w 8601075"/>
                  <a:gd name="connsiteY103" fmla="*/ 923925 h 4333875"/>
                  <a:gd name="connsiteX104" fmla="*/ 209550 w 8601075"/>
                  <a:gd name="connsiteY104" fmla="*/ 1114425 h 4333875"/>
                  <a:gd name="connsiteX105" fmla="*/ 209550 w 8601075"/>
                  <a:gd name="connsiteY105" fmla="*/ 1114425 h 4333875"/>
                  <a:gd name="connsiteX106" fmla="*/ 266700 w 8601075"/>
                  <a:gd name="connsiteY106" fmla="*/ 1295400 h 4333875"/>
                  <a:gd name="connsiteX107" fmla="*/ 409575 w 8601075"/>
                  <a:gd name="connsiteY107" fmla="*/ 1276350 h 4333875"/>
                  <a:gd name="connsiteX108" fmla="*/ 466725 w 8601075"/>
                  <a:gd name="connsiteY108" fmla="*/ 1362075 h 4333875"/>
                  <a:gd name="connsiteX109" fmla="*/ 542925 w 8601075"/>
                  <a:gd name="connsiteY109" fmla="*/ 1428750 h 4333875"/>
                  <a:gd name="connsiteX110" fmla="*/ 628650 w 8601075"/>
                  <a:gd name="connsiteY110" fmla="*/ 1571625 h 4333875"/>
                  <a:gd name="connsiteX111" fmla="*/ 628650 w 8601075"/>
                  <a:gd name="connsiteY111" fmla="*/ 1704975 h 4333875"/>
                  <a:gd name="connsiteX112" fmla="*/ 676275 w 8601075"/>
                  <a:gd name="connsiteY112" fmla="*/ 1771650 h 4333875"/>
                  <a:gd name="connsiteX113" fmla="*/ 657225 w 8601075"/>
                  <a:gd name="connsiteY113" fmla="*/ 2000250 h 4333875"/>
                  <a:gd name="connsiteX114" fmla="*/ 619125 w 8601075"/>
                  <a:gd name="connsiteY114" fmla="*/ 2095500 h 4333875"/>
                  <a:gd name="connsiteX115" fmla="*/ 542925 w 8601075"/>
                  <a:gd name="connsiteY115" fmla="*/ 2228850 h 4333875"/>
                  <a:gd name="connsiteX116" fmla="*/ 485775 w 8601075"/>
                  <a:gd name="connsiteY116" fmla="*/ 2362200 h 4333875"/>
                  <a:gd name="connsiteX117" fmla="*/ 552450 w 8601075"/>
                  <a:gd name="connsiteY117" fmla="*/ 2486025 h 4333875"/>
                  <a:gd name="connsiteX118" fmla="*/ 771525 w 8601075"/>
                  <a:gd name="connsiteY118" fmla="*/ 2571750 h 4333875"/>
                  <a:gd name="connsiteX119" fmla="*/ 866775 w 8601075"/>
                  <a:gd name="connsiteY119" fmla="*/ 2571750 h 4333875"/>
                  <a:gd name="connsiteX120" fmla="*/ 914400 w 8601075"/>
                  <a:gd name="connsiteY120" fmla="*/ 2638425 h 4333875"/>
                  <a:gd name="connsiteX121" fmla="*/ 1066800 w 8601075"/>
                  <a:gd name="connsiteY121" fmla="*/ 2638425 h 4333875"/>
                  <a:gd name="connsiteX122" fmla="*/ 1285875 w 8601075"/>
                  <a:gd name="connsiteY122" fmla="*/ 2705100 h 4333875"/>
                  <a:gd name="connsiteX123" fmla="*/ 1438275 w 8601075"/>
                  <a:gd name="connsiteY123" fmla="*/ 2838450 h 4333875"/>
                  <a:gd name="connsiteX124" fmla="*/ 1485900 w 8601075"/>
                  <a:gd name="connsiteY124" fmla="*/ 2914650 h 4333875"/>
                  <a:gd name="connsiteX125" fmla="*/ 1657350 w 8601075"/>
                  <a:gd name="connsiteY125" fmla="*/ 3038475 h 4333875"/>
                  <a:gd name="connsiteX126" fmla="*/ 1752600 w 8601075"/>
                  <a:gd name="connsiteY126" fmla="*/ 3057525 h 4333875"/>
                  <a:gd name="connsiteX127" fmla="*/ 1724025 w 8601075"/>
                  <a:gd name="connsiteY127" fmla="*/ 3143250 h 4333875"/>
                  <a:gd name="connsiteX128" fmla="*/ 1724025 w 8601075"/>
                  <a:gd name="connsiteY128" fmla="*/ 3143250 h 4333875"/>
                  <a:gd name="connsiteX129" fmla="*/ 1781175 w 8601075"/>
                  <a:gd name="connsiteY129" fmla="*/ 3181350 h 4333875"/>
                  <a:gd name="connsiteX130" fmla="*/ 1819275 w 8601075"/>
                  <a:gd name="connsiteY130" fmla="*/ 3362325 h 4333875"/>
                  <a:gd name="connsiteX131" fmla="*/ 1828800 w 8601075"/>
                  <a:gd name="connsiteY131" fmla="*/ 3457575 h 4333875"/>
                  <a:gd name="connsiteX132" fmla="*/ 1971675 w 8601075"/>
                  <a:gd name="connsiteY132" fmla="*/ 3590925 h 4333875"/>
                  <a:gd name="connsiteX133" fmla="*/ 1990725 w 8601075"/>
                  <a:gd name="connsiteY133" fmla="*/ 3714750 h 4333875"/>
                  <a:gd name="connsiteX134" fmla="*/ 2200275 w 8601075"/>
                  <a:gd name="connsiteY134" fmla="*/ 3695700 h 4333875"/>
                  <a:gd name="connsiteX135" fmla="*/ 2886075 w 8601075"/>
                  <a:gd name="connsiteY135" fmla="*/ 3886200 h 4333875"/>
                  <a:gd name="connsiteX136" fmla="*/ 3038475 w 8601075"/>
                  <a:gd name="connsiteY136" fmla="*/ 3819525 h 4333875"/>
                  <a:gd name="connsiteX137" fmla="*/ 3105150 w 8601075"/>
                  <a:gd name="connsiteY137" fmla="*/ 3867150 h 4333875"/>
                  <a:gd name="connsiteX138" fmla="*/ 3181350 w 8601075"/>
                  <a:gd name="connsiteY138" fmla="*/ 3800475 h 4333875"/>
                  <a:gd name="connsiteX139" fmla="*/ 3590925 w 8601075"/>
                  <a:gd name="connsiteY139" fmla="*/ 3943350 h 4333875"/>
                  <a:gd name="connsiteX140" fmla="*/ 3686175 w 8601075"/>
                  <a:gd name="connsiteY140" fmla="*/ 4057650 h 4333875"/>
                  <a:gd name="connsiteX141" fmla="*/ 3838575 w 8601075"/>
                  <a:gd name="connsiteY141" fmla="*/ 4057650 h 4333875"/>
                  <a:gd name="connsiteX142" fmla="*/ 4162425 w 8601075"/>
                  <a:gd name="connsiteY142" fmla="*/ 4248150 h 4333875"/>
                  <a:gd name="connsiteX143" fmla="*/ 4391025 w 8601075"/>
                  <a:gd name="connsiteY143" fmla="*/ 4200525 h 4333875"/>
                  <a:gd name="connsiteX144" fmla="*/ 4410075 w 8601075"/>
                  <a:gd name="connsiteY144" fmla="*/ 4305300 h 4333875"/>
                  <a:gd name="connsiteX145" fmla="*/ 4505325 w 8601075"/>
                  <a:gd name="connsiteY145" fmla="*/ 4276725 h 4333875"/>
                  <a:gd name="connsiteX146" fmla="*/ 4572000 w 8601075"/>
                  <a:gd name="connsiteY146" fmla="*/ 4333875 h 4333875"/>
                  <a:gd name="connsiteX147" fmla="*/ 4591050 w 8601075"/>
                  <a:gd name="connsiteY147" fmla="*/ 4248150 h 4333875"/>
                  <a:gd name="connsiteX148" fmla="*/ 5295900 w 8601075"/>
                  <a:gd name="connsiteY148" fmla="*/ 3924300 h 4333875"/>
                  <a:gd name="connsiteX149" fmla="*/ 5353050 w 8601075"/>
                  <a:gd name="connsiteY149" fmla="*/ 3990975 h 4333875"/>
                  <a:gd name="connsiteX150" fmla="*/ 5524500 w 8601075"/>
                  <a:gd name="connsiteY150" fmla="*/ 3914775 h 4333875"/>
                  <a:gd name="connsiteX151" fmla="*/ 5667375 w 8601075"/>
                  <a:gd name="connsiteY151" fmla="*/ 3962400 h 4333875"/>
                  <a:gd name="connsiteX152" fmla="*/ 5753100 w 8601075"/>
                  <a:gd name="connsiteY152" fmla="*/ 3924300 h 4333875"/>
                  <a:gd name="connsiteX153" fmla="*/ 5905500 w 8601075"/>
                  <a:gd name="connsiteY153" fmla="*/ 3943350 h 4333875"/>
                  <a:gd name="connsiteX154" fmla="*/ 6000750 w 8601075"/>
                  <a:gd name="connsiteY154" fmla="*/ 3800475 h 4333875"/>
                  <a:gd name="connsiteX155" fmla="*/ 6153150 w 8601075"/>
                  <a:gd name="connsiteY155" fmla="*/ 3781425 h 4333875"/>
                  <a:gd name="connsiteX156" fmla="*/ 6257925 w 8601075"/>
                  <a:gd name="connsiteY156" fmla="*/ 3581400 h 4333875"/>
                  <a:gd name="connsiteX157" fmla="*/ 6448425 w 8601075"/>
                  <a:gd name="connsiteY157" fmla="*/ 3448050 h 4333875"/>
                  <a:gd name="connsiteX158" fmla="*/ 6581775 w 8601075"/>
                  <a:gd name="connsiteY158" fmla="*/ 3276600 h 4333875"/>
                  <a:gd name="connsiteX159" fmla="*/ 6496050 w 8601075"/>
                  <a:gd name="connsiteY159" fmla="*/ 3228975 h 4333875"/>
                  <a:gd name="connsiteX160" fmla="*/ 6438900 w 8601075"/>
                  <a:gd name="connsiteY160" fmla="*/ 3162300 h 4333875"/>
                  <a:gd name="connsiteX161" fmla="*/ 6419850 w 8601075"/>
                  <a:gd name="connsiteY161" fmla="*/ 3105150 h 4333875"/>
                  <a:gd name="connsiteX162" fmla="*/ 6362700 w 8601075"/>
                  <a:gd name="connsiteY162" fmla="*/ 3076575 h 4333875"/>
                  <a:gd name="connsiteX163" fmla="*/ 6410325 w 8601075"/>
                  <a:gd name="connsiteY163" fmla="*/ 3019425 h 4333875"/>
                  <a:gd name="connsiteX164" fmla="*/ 6438900 w 8601075"/>
                  <a:gd name="connsiteY164" fmla="*/ 2819400 h 4333875"/>
                  <a:gd name="connsiteX165" fmla="*/ 6496050 w 8601075"/>
                  <a:gd name="connsiteY165" fmla="*/ 2762250 h 4333875"/>
                  <a:gd name="connsiteX166" fmla="*/ 6657975 w 8601075"/>
                  <a:gd name="connsiteY166" fmla="*/ 2752725 h 4333875"/>
                  <a:gd name="connsiteX167" fmla="*/ 6781800 w 8601075"/>
                  <a:gd name="connsiteY167" fmla="*/ 2838450 h 4333875"/>
                  <a:gd name="connsiteX168" fmla="*/ 7010400 w 8601075"/>
                  <a:gd name="connsiteY168" fmla="*/ 2838450 h 4333875"/>
                  <a:gd name="connsiteX169" fmla="*/ 7162800 w 8601075"/>
                  <a:gd name="connsiteY169" fmla="*/ 2705100 h 4333875"/>
                  <a:gd name="connsiteX170" fmla="*/ 7229475 w 8601075"/>
                  <a:gd name="connsiteY170" fmla="*/ 2590800 h 4333875"/>
                  <a:gd name="connsiteX171" fmla="*/ 7248525 w 8601075"/>
                  <a:gd name="connsiteY171" fmla="*/ 2524125 h 4333875"/>
                  <a:gd name="connsiteX172" fmla="*/ 7372350 w 8601075"/>
                  <a:gd name="connsiteY172" fmla="*/ 2543175 h 4333875"/>
                  <a:gd name="connsiteX173" fmla="*/ 7553325 w 8601075"/>
                  <a:gd name="connsiteY173" fmla="*/ 2447925 h 4333875"/>
                  <a:gd name="connsiteX174" fmla="*/ 7620000 w 8601075"/>
                  <a:gd name="connsiteY174" fmla="*/ 2324100 h 4333875"/>
                  <a:gd name="connsiteX175" fmla="*/ 7696200 w 8601075"/>
                  <a:gd name="connsiteY175" fmla="*/ 2314575 h 4333875"/>
                  <a:gd name="connsiteX176" fmla="*/ 7658100 w 8601075"/>
                  <a:gd name="connsiteY176" fmla="*/ 2257425 h 4333875"/>
                  <a:gd name="connsiteX177" fmla="*/ 7753350 w 8601075"/>
                  <a:gd name="connsiteY177" fmla="*/ 2057400 h 4333875"/>
                  <a:gd name="connsiteX178" fmla="*/ 7934325 w 8601075"/>
                  <a:gd name="connsiteY178" fmla="*/ 2028825 h 4333875"/>
                  <a:gd name="connsiteX179" fmla="*/ 7953375 w 8601075"/>
                  <a:gd name="connsiteY179" fmla="*/ 1952625 h 4333875"/>
                  <a:gd name="connsiteX180" fmla="*/ 7953375 w 8601075"/>
                  <a:gd name="connsiteY180" fmla="*/ 1952625 h 4333875"/>
                  <a:gd name="connsiteX181" fmla="*/ 8010525 w 8601075"/>
                  <a:gd name="connsiteY181" fmla="*/ 1895475 h 4333875"/>
                  <a:gd name="connsiteX182" fmla="*/ 8048625 w 8601075"/>
                  <a:gd name="connsiteY182" fmla="*/ 1971675 h 4333875"/>
                  <a:gd name="connsiteX183" fmla="*/ 8077200 w 8601075"/>
                  <a:gd name="connsiteY183" fmla="*/ 1885950 h 4333875"/>
                  <a:gd name="connsiteX184" fmla="*/ 8220075 w 8601075"/>
                  <a:gd name="connsiteY184" fmla="*/ 1847850 h 4333875"/>
                  <a:gd name="connsiteX185" fmla="*/ 8296275 w 8601075"/>
                  <a:gd name="connsiteY185" fmla="*/ 1809750 h 4333875"/>
                  <a:gd name="connsiteX186" fmla="*/ 8324850 w 8601075"/>
                  <a:gd name="connsiteY186" fmla="*/ 1790700 h 4333875"/>
                  <a:gd name="connsiteX187" fmla="*/ 8410575 w 8601075"/>
                  <a:gd name="connsiteY187" fmla="*/ 1847850 h 4333875"/>
                  <a:gd name="connsiteX188" fmla="*/ 8505825 w 8601075"/>
                  <a:gd name="connsiteY188" fmla="*/ 1781175 h 4333875"/>
                  <a:gd name="connsiteX189" fmla="*/ 8572500 w 8601075"/>
                  <a:gd name="connsiteY189" fmla="*/ 1809750 h 4333875"/>
                  <a:gd name="connsiteX190" fmla="*/ 8601075 w 8601075"/>
                  <a:gd name="connsiteY190" fmla="*/ 1704975 h 4333875"/>
                  <a:gd name="connsiteX191" fmla="*/ 8553450 w 8601075"/>
                  <a:gd name="connsiteY191" fmla="*/ 1676400 h 4333875"/>
                  <a:gd name="connsiteX192" fmla="*/ 8534400 w 8601075"/>
                  <a:gd name="connsiteY192" fmla="*/ 1609725 h 4333875"/>
                  <a:gd name="connsiteX193" fmla="*/ 8277225 w 8601075"/>
                  <a:gd name="connsiteY193" fmla="*/ 1409700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124825 w 8601075"/>
                  <a:gd name="connsiteY196" fmla="*/ 1352550 h 4333875"/>
                  <a:gd name="connsiteX197" fmla="*/ 7924800 w 8601075"/>
                  <a:gd name="connsiteY197" fmla="*/ 1362075 h 4333875"/>
                  <a:gd name="connsiteX198" fmla="*/ 7867650 w 8601075"/>
                  <a:gd name="connsiteY198" fmla="*/ 1457325 h 4333875"/>
                  <a:gd name="connsiteX199" fmla="*/ 7896225 w 8601075"/>
                  <a:gd name="connsiteY199" fmla="*/ 1476375 h 4333875"/>
                  <a:gd name="connsiteX200" fmla="*/ 7858125 w 8601075"/>
                  <a:gd name="connsiteY200" fmla="*/ 1533525 h 4333875"/>
                  <a:gd name="connsiteX201" fmla="*/ 7658100 w 8601075"/>
                  <a:gd name="connsiteY201" fmla="*/ 1447800 h 4333875"/>
                  <a:gd name="connsiteX202" fmla="*/ 7515225 w 8601075"/>
                  <a:gd name="connsiteY202" fmla="*/ 1495425 h 4333875"/>
                  <a:gd name="connsiteX203" fmla="*/ 7467600 w 8601075"/>
                  <a:gd name="connsiteY203" fmla="*/ 1581150 h 4333875"/>
                  <a:gd name="connsiteX204" fmla="*/ 7296150 w 8601075"/>
                  <a:gd name="connsiteY20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67025 w 8601075"/>
                  <a:gd name="connsiteY64" fmla="*/ 171450 h 4333875"/>
                  <a:gd name="connsiteX65" fmla="*/ 2867025 w 8601075"/>
                  <a:gd name="connsiteY65" fmla="*/ 171450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67025 w 8601075"/>
                  <a:gd name="connsiteY64" fmla="*/ 171450 h 4333875"/>
                  <a:gd name="connsiteX65" fmla="*/ 2852738 w 8601075"/>
                  <a:gd name="connsiteY65" fmla="*/ 138113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00350 w 8601075"/>
                  <a:gd name="connsiteY66" fmla="*/ 257175 h 4333875"/>
                  <a:gd name="connsiteX67" fmla="*/ 2724150 w 8601075"/>
                  <a:gd name="connsiteY67" fmla="*/ 304800 h 4333875"/>
                  <a:gd name="connsiteX68" fmla="*/ 2705100 w 8601075"/>
                  <a:gd name="connsiteY68" fmla="*/ 466725 h 4333875"/>
                  <a:gd name="connsiteX69" fmla="*/ 2762250 w 8601075"/>
                  <a:gd name="connsiteY69" fmla="*/ 571500 h 4333875"/>
                  <a:gd name="connsiteX70" fmla="*/ 2800350 w 8601075"/>
                  <a:gd name="connsiteY70" fmla="*/ 628650 h 4333875"/>
                  <a:gd name="connsiteX71" fmla="*/ 2752725 w 8601075"/>
                  <a:gd name="connsiteY71" fmla="*/ 781050 h 4333875"/>
                  <a:gd name="connsiteX72" fmla="*/ 2686050 w 8601075"/>
                  <a:gd name="connsiteY72" fmla="*/ 857250 h 4333875"/>
                  <a:gd name="connsiteX73" fmla="*/ 2609850 w 8601075"/>
                  <a:gd name="connsiteY73" fmla="*/ 857250 h 4333875"/>
                  <a:gd name="connsiteX74" fmla="*/ 2514600 w 8601075"/>
                  <a:gd name="connsiteY74" fmla="*/ 914400 h 4333875"/>
                  <a:gd name="connsiteX75" fmla="*/ 2400300 w 8601075"/>
                  <a:gd name="connsiteY75" fmla="*/ 866775 h 4333875"/>
                  <a:gd name="connsiteX76" fmla="*/ 2305050 w 8601075"/>
                  <a:gd name="connsiteY76" fmla="*/ 809625 h 4333875"/>
                  <a:gd name="connsiteX77" fmla="*/ 2200275 w 8601075"/>
                  <a:gd name="connsiteY77" fmla="*/ 752475 h 4333875"/>
                  <a:gd name="connsiteX78" fmla="*/ 2105025 w 8601075"/>
                  <a:gd name="connsiteY78" fmla="*/ 762000 h 4333875"/>
                  <a:gd name="connsiteX79" fmla="*/ 1990725 w 8601075"/>
                  <a:gd name="connsiteY79" fmla="*/ 762000 h 4333875"/>
                  <a:gd name="connsiteX80" fmla="*/ 1885950 w 8601075"/>
                  <a:gd name="connsiteY80" fmla="*/ 742950 h 4333875"/>
                  <a:gd name="connsiteX81" fmla="*/ 1800225 w 8601075"/>
                  <a:gd name="connsiteY81" fmla="*/ 638175 h 4333875"/>
                  <a:gd name="connsiteX82" fmla="*/ 1809750 w 8601075"/>
                  <a:gd name="connsiteY82" fmla="*/ 495300 h 4333875"/>
                  <a:gd name="connsiteX83" fmla="*/ 1733550 w 8601075"/>
                  <a:gd name="connsiteY83" fmla="*/ 466725 h 4333875"/>
                  <a:gd name="connsiteX84" fmla="*/ 1485900 w 8601075"/>
                  <a:gd name="connsiteY84" fmla="*/ 419100 h 4333875"/>
                  <a:gd name="connsiteX85" fmla="*/ 1457325 w 8601075"/>
                  <a:gd name="connsiteY85" fmla="*/ 323850 h 4333875"/>
                  <a:gd name="connsiteX86" fmla="*/ 1457325 w 8601075"/>
                  <a:gd name="connsiteY86" fmla="*/ 323850 h 4333875"/>
                  <a:gd name="connsiteX87" fmla="*/ 1323975 w 8601075"/>
                  <a:gd name="connsiteY87" fmla="*/ 285750 h 4333875"/>
                  <a:gd name="connsiteX88" fmla="*/ 1266825 w 8601075"/>
                  <a:gd name="connsiteY88" fmla="*/ 352425 h 4333875"/>
                  <a:gd name="connsiteX89" fmla="*/ 1009650 w 8601075"/>
                  <a:gd name="connsiteY89" fmla="*/ 390525 h 4333875"/>
                  <a:gd name="connsiteX90" fmla="*/ 828675 w 8601075"/>
                  <a:gd name="connsiteY90" fmla="*/ 447675 h 4333875"/>
                  <a:gd name="connsiteX91" fmla="*/ 619125 w 8601075"/>
                  <a:gd name="connsiteY91" fmla="*/ 533400 h 4333875"/>
                  <a:gd name="connsiteX92" fmla="*/ 619125 w 8601075"/>
                  <a:gd name="connsiteY92" fmla="*/ 533400 h 4333875"/>
                  <a:gd name="connsiteX93" fmla="*/ 561975 w 8601075"/>
                  <a:gd name="connsiteY93" fmla="*/ 619125 h 4333875"/>
                  <a:gd name="connsiteX94" fmla="*/ 447675 w 8601075"/>
                  <a:gd name="connsiteY94" fmla="*/ 63817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295275 w 8601075"/>
                  <a:gd name="connsiteY97" fmla="*/ 657225 h 4333875"/>
                  <a:gd name="connsiteX98" fmla="*/ 180975 w 8601075"/>
                  <a:gd name="connsiteY98" fmla="*/ 638175 h 4333875"/>
                  <a:gd name="connsiteX99" fmla="*/ 180975 w 8601075"/>
                  <a:gd name="connsiteY99" fmla="*/ 638175 h 4333875"/>
                  <a:gd name="connsiteX100" fmla="*/ 57150 w 8601075"/>
                  <a:gd name="connsiteY100" fmla="*/ 733425 h 4333875"/>
                  <a:gd name="connsiteX101" fmla="*/ 19050 w 8601075"/>
                  <a:gd name="connsiteY101" fmla="*/ 790575 h 4333875"/>
                  <a:gd name="connsiteX102" fmla="*/ 0 w 8601075"/>
                  <a:gd name="connsiteY102" fmla="*/ 876300 h 4333875"/>
                  <a:gd name="connsiteX103" fmla="*/ 57150 w 8601075"/>
                  <a:gd name="connsiteY103" fmla="*/ 923925 h 4333875"/>
                  <a:gd name="connsiteX104" fmla="*/ 57150 w 8601075"/>
                  <a:gd name="connsiteY104" fmla="*/ 923925 h 4333875"/>
                  <a:gd name="connsiteX105" fmla="*/ 209550 w 8601075"/>
                  <a:gd name="connsiteY105" fmla="*/ 1114425 h 4333875"/>
                  <a:gd name="connsiteX106" fmla="*/ 209550 w 8601075"/>
                  <a:gd name="connsiteY106" fmla="*/ 1114425 h 4333875"/>
                  <a:gd name="connsiteX107" fmla="*/ 266700 w 8601075"/>
                  <a:gd name="connsiteY107" fmla="*/ 1295400 h 4333875"/>
                  <a:gd name="connsiteX108" fmla="*/ 409575 w 8601075"/>
                  <a:gd name="connsiteY108" fmla="*/ 1276350 h 4333875"/>
                  <a:gd name="connsiteX109" fmla="*/ 466725 w 8601075"/>
                  <a:gd name="connsiteY109" fmla="*/ 1362075 h 4333875"/>
                  <a:gd name="connsiteX110" fmla="*/ 542925 w 8601075"/>
                  <a:gd name="connsiteY110" fmla="*/ 1428750 h 4333875"/>
                  <a:gd name="connsiteX111" fmla="*/ 628650 w 8601075"/>
                  <a:gd name="connsiteY111" fmla="*/ 1571625 h 4333875"/>
                  <a:gd name="connsiteX112" fmla="*/ 628650 w 8601075"/>
                  <a:gd name="connsiteY112" fmla="*/ 1704975 h 4333875"/>
                  <a:gd name="connsiteX113" fmla="*/ 676275 w 8601075"/>
                  <a:gd name="connsiteY113" fmla="*/ 1771650 h 4333875"/>
                  <a:gd name="connsiteX114" fmla="*/ 657225 w 8601075"/>
                  <a:gd name="connsiteY114" fmla="*/ 2000250 h 4333875"/>
                  <a:gd name="connsiteX115" fmla="*/ 619125 w 8601075"/>
                  <a:gd name="connsiteY115" fmla="*/ 2095500 h 4333875"/>
                  <a:gd name="connsiteX116" fmla="*/ 542925 w 8601075"/>
                  <a:gd name="connsiteY116" fmla="*/ 2228850 h 4333875"/>
                  <a:gd name="connsiteX117" fmla="*/ 485775 w 8601075"/>
                  <a:gd name="connsiteY117" fmla="*/ 2362200 h 4333875"/>
                  <a:gd name="connsiteX118" fmla="*/ 552450 w 8601075"/>
                  <a:gd name="connsiteY118" fmla="*/ 2486025 h 4333875"/>
                  <a:gd name="connsiteX119" fmla="*/ 771525 w 8601075"/>
                  <a:gd name="connsiteY119" fmla="*/ 2571750 h 4333875"/>
                  <a:gd name="connsiteX120" fmla="*/ 866775 w 8601075"/>
                  <a:gd name="connsiteY120" fmla="*/ 2571750 h 4333875"/>
                  <a:gd name="connsiteX121" fmla="*/ 914400 w 8601075"/>
                  <a:gd name="connsiteY121" fmla="*/ 2638425 h 4333875"/>
                  <a:gd name="connsiteX122" fmla="*/ 1066800 w 8601075"/>
                  <a:gd name="connsiteY122" fmla="*/ 2638425 h 4333875"/>
                  <a:gd name="connsiteX123" fmla="*/ 1285875 w 8601075"/>
                  <a:gd name="connsiteY123" fmla="*/ 2705100 h 4333875"/>
                  <a:gd name="connsiteX124" fmla="*/ 1438275 w 8601075"/>
                  <a:gd name="connsiteY124" fmla="*/ 2838450 h 4333875"/>
                  <a:gd name="connsiteX125" fmla="*/ 1485900 w 8601075"/>
                  <a:gd name="connsiteY125" fmla="*/ 2914650 h 4333875"/>
                  <a:gd name="connsiteX126" fmla="*/ 1657350 w 8601075"/>
                  <a:gd name="connsiteY126" fmla="*/ 3038475 h 4333875"/>
                  <a:gd name="connsiteX127" fmla="*/ 1752600 w 8601075"/>
                  <a:gd name="connsiteY127" fmla="*/ 3057525 h 4333875"/>
                  <a:gd name="connsiteX128" fmla="*/ 1724025 w 8601075"/>
                  <a:gd name="connsiteY128" fmla="*/ 3143250 h 4333875"/>
                  <a:gd name="connsiteX129" fmla="*/ 1724025 w 8601075"/>
                  <a:gd name="connsiteY129" fmla="*/ 3143250 h 4333875"/>
                  <a:gd name="connsiteX130" fmla="*/ 1781175 w 8601075"/>
                  <a:gd name="connsiteY130" fmla="*/ 3181350 h 4333875"/>
                  <a:gd name="connsiteX131" fmla="*/ 1819275 w 8601075"/>
                  <a:gd name="connsiteY131" fmla="*/ 3362325 h 4333875"/>
                  <a:gd name="connsiteX132" fmla="*/ 1828800 w 8601075"/>
                  <a:gd name="connsiteY132" fmla="*/ 3457575 h 4333875"/>
                  <a:gd name="connsiteX133" fmla="*/ 1971675 w 8601075"/>
                  <a:gd name="connsiteY133" fmla="*/ 3590925 h 4333875"/>
                  <a:gd name="connsiteX134" fmla="*/ 1990725 w 8601075"/>
                  <a:gd name="connsiteY134" fmla="*/ 3714750 h 4333875"/>
                  <a:gd name="connsiteX135" fmla="*/ 2200275 w 8601075"/>
                  <a:gd name="connsiteY135" fmla="*/ 3695700 h 4333875"/>
                  <a:gd name="connsiteX136" fmla="*/ 2886075 w 8601075"/>
                  <a:gd name="connsiteY136" fmla="*/ 3886200 h 4333875"/>
                  <a:gd name="connsiteX137" fmla="*/ 3038475 w 8601075"/>
                  <a:gd name="connsiteY137" fmla="*/ 3819525 h 4333875"/>
                  <a:gd name="connsiteX138" fmla="*/ 3105150 w 8601075"/>
                  <a:gd name="connsiteY138" fmla="*/ 3867150 h 4333875"/>
                  <a:gd name="connsiteX139" fmla="*/ 3181350 w 8601075"/>
                  <a:gd name="connsiteY139" fmla="*/ 3800475 h 4333875"/>
                  <a:gd name="connsiteX140" fmla="*/ 3590925 w 8601075"/>
                  <a:gd name="connsiteY140" fmla="*/ 3943350 h 4333875"/>
                  <a:gd name="connsiteX141" fmla="*/ 3686175 w 8601075"/>
                  <a:gd name="connsiteY141" fmla="*/ 4057650 h 4333875"/>
                  <a:gd name="connsiteX142" fmla="*/ 3838575 w 8601075"/>
                  <a:gd name="connsiteY142" fmla="*/ 4057650 h 4333875"/>
                  <a:gd name="connsiteX143" fmla="*/ 4162425 w 8601075"/>
                  <a:gd name="connsiteY143" fmla="*/ 4248150 h 4333875"/>
                  <a:gd name="connsiteX144" fmla="*/ 4391025 w 8601075"/>
                  <a:gd name="connsiteY144" fmla="*/ 4200525 h 4333875"/>
                  <a:gd name="connsiteX145" fmla="*/ 4410075 w 8601075"/>
                  <a:gd name="connsiteY145" fmla="*/ 4305300 h 4333875"/>
                  <a:gd name="connsiteX146" fmla="*/ 4505325 w 8601075"/>
                  <a:gd name="connsiteY146" fmla="*/ 4276725 h 4333875"/>
                  <a:gd name="connsiteX147" fmla="*/ 4572000 w 8601075"/>
                  <a:gd name="connsiteY147" fmla="*/ 4333875 h 4333875"/>
                  <a:gd name="connsiteX148" fmla="*/ 4591050 w 8601075"/>
                  <a:gd name="connsiteY148" fmla="*/ 4248150 h 4333875"/>
                  <a:gd name="connsiteX149" fmla="*/ 5295900 w 8601075"/>
                  <a:gd name="connsiteY149" fmla="*/ 3924300 h 4333875"/>
                  <a:gd name="connsiteX150" fmla="*/ 5353050 w 8601075"/>
                  <a:gd name="connsiteY150" fmla="*/ 3990975 h 4333875"/>
                  <a:gd name="connsiteX151" fmla="*/ 5524500 w 8601075"/>
                  <a:gd name="connsiteY151" fmla="*/ 3914775 h 4333875"/>
                  <a:gd name="connsiteX152" fmla="*/ 5667375 w 8601075"/>
                  <a:gd name="connsiteY152" fmla="*/ 3962400 h 4333875"/>
                  <a:gd name="connsiteX153" fmla="*/ 5753100 w 8601075"/>
                  <a:gd name="connsiteY153" fmla="*/ 3924300 h 4333875"/>
                  <a:gd name="connsiteX154" fmla="*/ 5905500 w 8601075"/>
                  <a:gd name="connsiteY154" fmla="*/ 3943350 h 4333875"/>
                  <a:gd name="connsiteX155" fmla="*/ 6000750 w 8601075"/>
                  <a:gd name="connsiteY155" fmla="*/ 3800475 h 4333875"/>
                  <a:gd name="connsiteX156" fmla="*/ 6153150 w 8601075"/>
                  <a:gd name="connsiteY156" fmla="*/ 3781425 h 4333875"/>
                  <a:gd name="connsiteX157" fmla="*/ 6257925 w 8601075"/>
                  <a:gd name="connsiteY157" fmla="*/ 3581400 h 4333875"/>
                  <a:gd name="connsiteX158" fmla="*/ 6448425 w 8601075"/>
                  <a:gd name="connsiteY158" fmla="*/ 3448050 h 4333875"/>
                  <a:gd name="connsiteX159" fmla="*/ 6581775 w 8601075"/>
                  <a:gd name="connsiteY159" fmla="*/ 3276600 h 4333875"/>
                  <a:gd name="connsiteX160" fmla="*/ 6496050 w 8601075"/>
                  <a:gd name="connsiteY160" fmla="*/ 3228975 h 4333875"/>
                  <a:gd name="connsiteX161" fmla="*/ 6438900 w 8601075"/>
                  <a:gd name="connsiteY161" fmla="*/ 3162300 h 4333875"/>
                  <a:gd name="connsiteX162" fmla="*/ 6419850 w 8601075"/>
                  <a:gd name="connsiteY162" fmla="*/ 3105150 h 4333875"/>
                  <a:gd name="connsiteX163" fmla="*/ 6362700 w 8601075"/>
                  <a:gd name="connsiteY163" fmla="*/ 3076575 h 4333875"/>
                  <a:gd name="connsiteX164" fmla="*/ 6410325 w 8601075"/>
                  <a:gd name="connsiteY164" fmla="*/ 3019425 h 4333875"/>
                  <a:gd name="connsiteX165" fmla="*/ 6438900 w 8601075"/>
                  <a:gd name="connsiteY165" fmla="*/ 2819400 h 4333875"/>
                  <a:gd name="connsiteX166" fmla="*/ 6496050 w 8601075"/>
                  <a:gd name="connsiteY166" fmla="*/ 2762250 h 4333875"/>
                  <a:gd name="connsiteX167" fmla="*/ 6657975 w 8601075"/>
                  <a:gd name="connsiteY167" fmla="*/ 2752725 h 4333875"/>
                  <a:gd name="connsiteX168" fmla="*/ 6781800 w 8601075"/>
                  <a:gd name="connsiteY168" fmla="*/ 2838450 h 4333875"/>
                  <a:gd name="connsiteX169" fmla="*/ 7010400 w 8601075"/>
                  <a:gd name="connsiteY169" fmla="*/ 2838450 h 4333875"/>
                  <a:gd name="connsiteX170" fmla="*/ 7162800 w 8601075"/>
                  <a:gd name="connsiteY170" fmla="*/ 2705100 h 4333875"/>
                  <a:gd name="connsiteX171" fmla="*/ 7229475 w 8601075"/>
                  <a:gd name="connsiteY171" fmla="*/ 2590800 h 4333875"/>
                  <a:gd name="connsiteX172" fmla="*/ 7248525 w 8601075"/>
                  <a:gd name="connsiteY172" fmla="*/ 2524125 h 4333875"/>
                  <a:gd name="connsiteX173" fmla="*/ 7372350 w 8601075"/>
                  <a:gd name="connsiteY173" fmla="*/ 2543175 h 4333875"/>
                  <a:gd name="connsiteX174" fmla="*/ 7553325 w 8601075"/>
                  <a:gd name="connsiteY174" fmla="*/ 2447925 h 4333875"/>
                  <a:gd name="connsiteX175" fmla="*/ 7620000 w 8601075"/>
                  <a:gd name="connsiteY175" fmla="*/ 2324100 h 4333875"/>
                  <a:gd name="connsiteX176" fmla="*/ 7696200 w 8601075"/>
                  <a:gd name="connsiteY176" fmla="*/ 2314575 h 4333875"/>
                  <a:gd name="connsiteX177" fmla="*/ 7658100 w 8601075"/>
                  <a:gd name="connsiteY177" fmla="*/ 2257425 h 4333875"/>
                  <a:gd name="connsiteX178" fmla="*/ 7753350 w 8601075"/>
                  <a:gd name="connsiteY178" fmla="*/ 2057400 h 4333875"/>
                  <a:gd name="connsiteX179" fmla="*/ 7934325 w 8601075"/>
                  <a:gd name="connsiteY179" fmla="*/ 2028825 h 4333875"/>
                  <a:gd name="connsiteX180" fmla="*/ 7953375 w 8601075"/>
                  <a:gd name="connsiteY180" fmla="*/ 1952625 h 4333875"/>
                  <a:gd name="connsiteX181" fmla="*/ 7953375 w 8601075"/>
                  <a:gd name="connsiteY181" fmla="*/ 1952625 h 4333875"/>
                  <a:gd name="connsiteX182" fmla="*/ 8010525 w 8601075"/>
                  <a:gd name="connsiteY182" fmla="*/ 1895475 h 4333875"/>
                  <a:gd name="connsiteX183" fmla="*/ 8048625 w 8601075"/>
                  <a:gd name="connsiteY183" fmla="*/ 1971675 h 4333875"/>
                  <a:gd name="connsiteX184" fmla="*/ 8077200 w 8601075"/>
                  <a:gd name="connsiteY184" fmla="*/ 1885950 h 4333875"/>
                  <a:gd name="connsiteX185" fmla="*/ 8220075 w 8601075"/>
                  <a:gd name="connsiteY185" fmla="*/ 1847850 h 4333875"/>
                  <a:gd name="connsiteX186" fmla="*/ 8296275 w 8601075"/>
                  <a:gd name="connsiteY186" fmla="*/ 1809750 h 4333875"/>
                  <a:gd name="connsiteX187" fmla="*/ 8324850 w 8601075"/>
                  <a:gd name="connsiteY187" fmla="*/ 1790700 h 4333875"/>
                  <a:gd name="connsiteX188" fmla="*/ 8410575 w 8601075"/>
                  <a:gd name="connsiteY188" fmla="*/ 1847850 h 4333875"/>
                  <a:gd name="connsiteX189" fmla="*/ 8505825 w 8601075"/>
                  <a:gd name="connsiteY189" fmla="*/ 1781175 h 4333875"/>
                  <a:gd name="connsiteX190" fmla="*/ 8572500 w 8601075"/>
                  <a:gd name="connsiteY190" fmla="*/ 1809750 h 4333875"/>
                  <a:gd name="connsiteX191" fmla="*/ 8601075 w 8601075"/>
                  <a:gd name="connsiteY191" fmla="*/ 1704975 h 4333875"/>
                  <a:gd name="connsiteX192" fmla="*/ 8553450 w 8601075"/>
                  <a:gd name="connsiteY192" fmla="*/ 1676400 h 4333875"/>
                  <a:gd name="connsiteX193" fmla="*/ 8534400 w 8601075"/>
                  <a:gd name="connsiteY193" fmla="*/ 1609725 h 4333875"/>
                  <a:gd name="connsiteX194" fmla="*/ 8277225 w 8601075"/>
                  <a:gd name="connsiteY194" fmla="*/ 1409700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124825 w 8601075"/>
                  <a:gd name="connsiteY197" fmla="*/ 1352550 h 4333875"/>
                  <a:gd name="connsiteX198" fmla="*/ 7924800 w 8601075"/>
                  <a:gd name="connsiteY198" fmla="*/ 1362075 h 4333875"/>
                  <a:gd name="connsiteX199" fmla="*/ 7867650 w 8601075"/>
                  <a:gd name="connsiteY199" fmla="*/ 1457325 h 4333875"/>
                  <a:gd name="connsiteX200" fmla="*/ 7896225 w 8601075"/>
                  <a:gd name="connsiteY200" fmla="*/ 1476375 h 4333875"/>
                  <a:gd name="connsiteX201" fmla="*/ 7858125 w 8601075"/>
                  <a:gd name="connsiteY201" fmla="*/ 1533525 h 4333875"/>
                  <a:gd name="connsiteX202" fmla="*/ 7658100 w 8601075"/>
                  <a:gd name="connsiteY202" fmla="*/ 1447800 h 4333875"/>
                  <a:gd name="connsiteX203" fmla="*/ 7515225 w 8601075"/>
                  <a:gd name="connsiteY203" fmla="*/ 1495425 h 4333875"/>
                  <a:gd name="connsiteX204" fmla="*/ 7467600 w 8601075"/>
                  <a:gd name="connsiteY204" fmla="*/ 1581150 h 4333875"/>
                  <a:gd name="connsiteX205" fmla="*/ 7296150 w 8601075"/>
                  <a:gd name="connsiteY20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0350 w 8601075"/>
                  <a:gd name="connsiteY67" fmla="*/ 257175 h 4333875"/>
                  <a:gd name="connsiteX68" fmla="*/ 2724150 w 8601075"/>
                  <a:gd name="connsiteY68" fmla="*/ 304800 h 4333875"/>
                  <a:gd name="connsiteX69" fmla="*/ 2705100 w 8601075"/>
                  <a:gd name="connsiteY69" fmla="*/ 466725 h 4333875"/>
                  <a:gd name="connsiteX70" fmla="*/ 2762250 w 8601075"/>
                  <a:gd name="connsiteY70" fmla="*/ 571500 h 4333875"/>
                  <a:gd name="connsiteX71" fmla="*/ 2800350 w 8601075"/>
                  <a:gd name="connsiteY71" fmla="*/ 628650 h 4333875"/>
                  <a:gd name="connsiteX72" fmla="*/ 2752725 w 8601075"/>
                  <a:gd name="connsiteY72" fmla="*/ 781050 h 4333875"/>
                  <a:gd name="connsiteX73" fmla="*/ 2686050 w 8601075"/>
                  <a:gd name="connsiteY73" fmla="*/ 857250 h 4333875"/>
                  <a:gd name="connsiteX74" fmla="*/ 2609850 w 8601075"/>
                  <a:gd name="connsiteY74" fmla="*/ 857250 h 4333875"/>
                  <a:gd name="connsiteX75" fmla="*/ 2514600 w 8601075"/>
                  <a:gd name="connsiteY75" fmla="*/ 914400 h 4333875"/>
                  <a:gd name="connsiteX76" fmla="*/ 2400300 w 8601075"/>
                  <a:gd name="connsiteY76" fmla="*/ 866775 h 4333875"/>
                  <a:gd name="connsiteX77" fmla="*/ 2305050 w 8601075"/>
                  <a:gd name="connsiteY77" fmla="*/ 809625 h 4333875"/>
                  <a:gd name="connsiteX78" fmla="*/ 2200275 w 8601075"/>
                  <a:gd name="connsiteY78" fmla="*/ 752475 h 4333875"/>
                  <a:gd name="connsiteX79" fmla="*/ 2105025 w 8601075"/>
                  <a:gd name="connsiteY79" fmla="*/ 762000 h 4333875"/>
                  <a:gd name="connsiteX80" fmla="*/ 1990725 w 8601075"/>
                  <a:gd name="connsiteY80" fmla="*/ 762000 h 4333875"/>
                  <a:gd name="connsiteX81" fmla="*/ 1885950 w 8601075"/>
                  <a:gd name="connsiteY81" fmla="*/ 742950 h 4333875"/>
                  <a:gd name="connsiteX82" fmla="*/ 1800225 w 8601075"/>
                  <a:gd name="connsiteY82" fmla="*/ 638175 h 4333875"/>
                  <a:gd name="connsiteX83" fmla="*/ 1809750 w 8601075"/>
                  <a:gd name="connsiteY83" fmla="*/ 495300 h 4333875"/>
                  <a:gd name="connsiteX84" fmla="*/ 1733550 w 8601075"/>
                  <a:gd name="connsiteY84" fmla="*/ 466725 h 4333875"/>
                  <a:gd name="connsiteX85" fmla="*/ 1485900 w 8601075"/>
                  <a:gd name="connsiteY85" fmla="*/ 419100 h 4333875"/>
                  <a:gd name="connsiteX86" fmla="*/ 1457325 w 8601075"/>
                  <a:gd name="connsiteY86" fmla="*/ 323850 h 4333875"/>
                  <a:gd name="connsiteX87" fmla="*/ 1457325 w 8601075"/>
                  <a:gd name="connsiteY87" fmla="*/ 323850 h 4333875"/>
                  <a:gd name="connsiteX88" fmla="*/ 1323975 w 8601075"/>
                  <a:gd name="connsiteY88" fmla="*/ 285750 h 4333875"/>
                  <a:gd name="connsiteX89" fmla="*/ 1266825 w 8601075"/>
                  <a:gd name="connsiteY89" fmla="*/ 352425 h 4333875"/>
                  <a:gd name="connsiteX90" fmla="*/ 1009650 w 8601075"/>
                  <a:gd name="connsiteY90" fmla="*/ 390525 h 4333875"/>
                  <a:gd name="connsiteX91" fmla="*/ 828675 w 8601075"/>
                  <a:gd name="connsiteY91" fmla="*/ 447675 h 4333875"/>
                  <a:gd name="connsiteX92" fmla="*/ 619125 w 8601075"/>
                  <a:gd name="connsiteY92" fmla="*/ 533400 h 4333875"/>
                  <a:gd name="connsiteX93" fmla="*/ 619125 w 8601075"/>
                  <a:gd name="connsiteY93" fmla="*/ 533400 h 4333875"/>
                  <a:gd name="connsiteX94" fmla="*/ 561975 w 8601075"/>
                  <a:gd name="connsiteY94" fmla="*/ 61912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295275 w 8601075"/>
                  <a:gd name="connsiteY98" fmla="*/ 657225 h 4333875"/>
                  <a:gd name="connsiteX99" fmla="*/ 180975 w 8601075"/>
                  <a:gd name="connsiteY99" fmla="*/ 638175 h 4333875"/>
                  <a:gd name="connsiteX100" fmla="*/ 180975 w 8601075"/>
                  <a:gd name="connsiteY100" fmla="*/ 638175 h 4333875"/>
                  <a:gd name="connsiteX101" fmla="*/ 57150 w 8601075"/>
                  <a:gd name="connsiteY101" fmla="*/ 733425 h 4333875"/>
                  <a:gd name="connsiteX102" fmla="*/ 19050 w 8601075"/>
                  <a:gd name="connsiteY102" fmla="*/ 790575 h 4333875"/>
                  <a:gd name="connsiteX103" fmla="*/ 0 w 8601075"/>
                  <a:gd name="connsiteY103" fmla="*/ 876300 h 4333875"/>
                  <a:gd name="connsiteX104" fmla="*/ 57150 w 8601075"/>
                  <a:gd name="connsiteY104" fmla="*/ 923925 h 4333875"/>
                  <a:gd name="connsiteX105" fmla="*/ 57150 w 8601075"/>
                  <a:gd name="connsiteY105" fmla="*/ 923925 h 4333875"/>
                  <a:gd name="connsiteX106" fmla="*/ 209550 w 8601075"/>
                  <a:gd name="connsiteY106" fmla="*/ 1114425 h 4333875"/>
                  <a:gd name="connsiteX107" fmla="*/ 209550 w 8601075"/>
                  <a:gd name="connsiteY107" fmla="*/ 1114425 h 4333875"/>
                  <a:gd name="connsiteX108" fmla="*/ 266700 w 8601075"/>
                  <a:gd name="connsiteY108" fmla="*/ 1295400 h 4333875"/>
                  <a:gd name="connsiteX109" fmla="*/ 409575 w 8601075"/>
                  <a:gd name="connsiteY109" fmla="*/ 1276350 h 4333875"/>
                  <a:gd name="connsiteX110" fmla="*/ 466725 w 8601075"/>
                  <a:gd name="connsiteY110" fmla="*/ 1362075 h 4333875"/>
                  <a:gd name="connsiteX111" fmla="*/ 542925 w 8601075"/>
                  <a:gd name="connsiteY111" fmla="*/ 1428750 h 4333875"/>
                  <a:gd name="connsiteX112" fmla="*/ 628650 w 8601075"/>
                  <a:gd name="connsiteY112" fmla="*/ 1571625 h 4333875"/>
                  <a:gd name="connsiteX113" fmla="*/ 628650 w 8601075"/>
                  <a:gd name="connsiteY113" fmla="*/ 1704975 h 4333875"/>
                  <a:gd name="connsiteX114" fmla="*/ 676275 w 8601075"/>
                  <a:gd name="connsiteY114" fmla="*/ 1771650 h 4333875"/>
                  <a:gd name="connsiteX115" fmla="*/ 657225 w 8601075"/>
                  <a:gd name="connsiteY115" fmla="*/ 2000250 h 4333875"/>
                  <a:gd name="connsiteX116" fmla="*/ 619125 w 8601075"/>
                  <a:gd name="connsiteY116" fmla="*/ 2095500 h 4333875"/>
                  <a:gd name="connsiteX117" fmla="*/ 542925 w 8601075"/>
                  <a:gd name="connsiteY117" fmla="*/ 2228850 h 4333875"/>
                  <a:gd name="connsiteX118" fmla="*/ 485775 w 8601075"/>
                  <a:gd name="connsiteY118" fmla="*/ 2362200 h 4333875"/>
                  <a:gd name="connsiteX119" fmla="*/ 552450 w 8601075"/>
                  <a:gd name="connsiteY119" fmla="*/ 2486025 h 4333875"/>
                  <a:gd name="connsiteX120" fmla="*/ 771525 w 8601075"/>
                  <a:gd name="connsiteY120" fmla="*/ 2571750 h 4333875"/>
                  <a:gd name="connsiteX121" fmla="*/ 866775 w 8601075"/>
                  <a:gd name="connsiteY121" fmla="*/ 2571750 h 4333875"/>
                  <a:gd name="connsiteX122" fmla="*/ 914400 w 8601075"/>
                  <a:gd name="connsiteY122" fmla="*/ 2638425 h 4333875"/>
                  <a:gd name="connsiteX123" fmla="*/ 1066800 w 8601075"/>
                  <a:gd name="connsiteY123" fmla="*/ 2638425 h 4333875"/>
                  <a:gd name="connsiteX124" fmla="*/ 1285875 w 8601075"/>
                  <a:gd name="connsiteY124" fmla="*/ 2705100 h 4333875"/>
                  <a:gd name="connsiteX125" fmla="*/ 1438275 w 8601075"/>
                  <a:gd name="connsiteY125" fmla="*/ 2838450 h 4333875"/>
                  <a:gd name="connsiteX126" fmla="*/ 1485900 w 8601075"/>
                  <a:gd name="connsiteY126" fmla="*/ 2914650 h 4333875"/>
                  <a:gd name="connsiteX127" fmla="*/ 1657350 w 8601075"/>
                  <a:gd name="connsiteY127" fmla="*/ 3038475 h 4333875"/>
                  <a:gd name="connsiteX128" fmla="*/ 1752600 w 8601075"/>
                  <a:gd name="connsiteY128" fmla="*/ 3057525 h 4333875"/>
                  <a:gd name="connsiteX129" fmla="*/ 1724025 w 8601075"/>
                  <a:gd name="connsiteY129" fmla="*/ 3143250 h 4333875"/>
                  <a:gd name="connsiteX130" fmla="*/ 1724025 w 8601075"/>
                  <a:gd name="connsiteY130" fmla="*/ 3143250 h 4333875"/>
                  <a:gd name="connsiteX131" fmla="*/ 1781175 w 8601075"/>
                  <a:gd name="connsiteY131" fmla="*/ 3181350 h 4333875"/>
                  <a:gd name="connsiteX132" fmla="*/ 1819275 w 8601075"/>
                  <a:gd name="connsiteY132" fmla="*/ 3362325 h 4333875"/>
                  <a:gd name="connsiteX133" fmla="*/ 1828800 w 8601075"/>
                  <a:gd name="connsiteY133" fmla="*/ 3457575 h 4333875"/>
                  <a:gd name="connsiteX134" fmla="*/ 1971675 w 8601075"/>
                  <a:gd name="connsiteY134" fmla="*/ 3590925 h 4333875"/>
                  <a:gd name="connsiteX135" fmla="*/ 1990725 w 8601075"/>
                  <a:gd name="connsiteY135" fmla="*/ 3714750 h 4333875"/>
                  <a:gd name="connsiteX136" fmla="*/ 2200275 w 8601075"/>
                  <a:gd name="connsiteY136" fmla="*/ 3695700 h 4333875"/>
                  <a:gd name="connsiteX137" fmla="*/ 2886075 w 8601075"/>
                  <a:gd name="connsiteY137" fmla="*/ 3886200 h 4333875"/>
                  <a:gd name="connsiteX138" fmla="*/ 3038475 w 8601075"/>
                  <a:gd name="connsiteY138" fmla="*/ 3819525 h 4333875"/>
                  <a:gd name="connsiteX139" fmla="*/ 3105150 w 8601075"/>
                  <a:gd name="connsiteY139" fmla="*/ 3867150 h 4333875"/>
                  <a:gd name="connsiteX140" fmla="*/ 3181350 w 8601075"/>
                  <a:gd name="connsiteY140" fmla="*/ 3800475 h 4333875"/>
                  <a:gd name="connsiteX141" fmla="*/ 3590925 w 8601075"/>
                  <a:gd name="connsiteY141" fmla="*/ 3943350 h 4333875"/>
                  <a:gd name="connsiteX142" fmla="*/ 3686175 w 8601075"/>
                  <a:gd name="connsiteY142" fmla="*/ 4057650 h 4333875"/>
                  <a:gd name="connsiteX143" fmla="*/ 3838575 w 8601075"/>
                  <a:gd name="connsiteY143" fmla="*/ 4057650 h 4333875"/>
                  <a:gd name="connsiteX144" fmla="*/ 4162425 w 8601075"/>
                  <a:gd name="connsiteY144" fmla="*/ 4248150 h 4333875"/>
                  <a:gd name="connsiteX145" fmla="*/ 4391025 w 8601075"/>
                  <a:gd name="connsiteY145" fmla="*/ 4200525 h 4333875"/>
                  <a:gd name="connsiteX146" fmla="*/ 4410075 w 8601075"/>
                  <a:gd name="connsiteY146" fmla="*/ 4305300 h 4333875"/>
                  <a:gd name="connsiteX147" fmla="*/ 4505325 w 8601075"/>
                  <a:gd name="connsiteY147" fmla="*/ 4276725 h 4333875"/>
                  <a:gd name="connsiteX148" fmla="*/ 4572000 w 8601075"/>
                  <a:gd name="connsiteY148" fmla="*/ 4333875 h 4333875"/>
                  <a:gd name="connsiteX149" fmla="*/ 4591050 w 8601075"/>
                  <a:gd name="connsiteY149" fmla="*/ 4248150 h 4333875"/>
                  <a:gd name="connsiteX150" fmla="*/ 5295900 w 8601075"/>
                  <a:gd name="connsiteY150" fmla="*/ 3924300 h 4333875"/>
                  <a:gd name="connsiteX151" fmla="*/ 5353050 w 8601075"/>
                  <a:gd name="connsiteY151" fmla="*/ 3990975 h 4333875"/>
                  <a:gd name="connsiteX152" fmla="*/ 5524500 w 8601075"/>
                  <a:gd name="connsiteY152" fmla="*/ 3914775 h 4333875"/>
                  <a:gd name="connsiteX153" fmla="*/ 5667375 w 8601075"/>
                  <a:gd name="connsiteY153" fmla="*/ 3962400 h 4333875"/>
                  <a:gd name="connsiteX154" fmla="*/ 5753100 w 8601075"/>
                  <a:gd name="connsiteY154" fmla="*/ 3924300 h 4333875"/>
                  <a:gd name="connsiteX155" fmla="*/ 5905500 w 8601075"/>
                  <a:gd name="connsiteY155" fmla="*/ 3943350 h 4333875"/>
                  <a:gd name="connsiteX156" fmla="*/ 6000750 w 8601075"/>
                  <a:gd name="connsiteY156" fmla="*/ 3800475 h 4333875"/>
                  <a:gd name="connsiteX157" fmla="*/ 6153150 w 8601075"/>
                  <a:gd name="connsiteY157" fmla="*/ 3781425 h 4333875"/>
                  <a:gd name="connsiteX158" fmla="*/ 6257925 w 8601075"/>
                  <a:gd name="connsiteY158" fmla="*/ 3581400 h 4333875"/>
                  <a:gd name="connsiteX159" fmla="*/ 6448425 w 8601075"/>
                  <a:gd name="connsiteY159" fmla="*/ 3448050 h 4333875"/>
                  <a:gd name="connsiteX160" fmla="*/ 6581775 w 8601075"/>
                  <a:gd name="connsiteY160" fmla="*/ 3276600 h 4333875"/>
                  <a:gd name="connsiteX161" fmla="*/ 6496050 w 8601075"/>
                  <a:gd name="connsiteY161" fmla="*/ 3228975 h 4333875"/>
                  <a:gd name="connsiteX162" fmla="*/ 6438900 w 8601075"/>
                  <a:gd name="connsiteY162" fmla="*/ 3162300 h 4333875"/>
                  <a:gd name="connsiteX163" fmla="*/ 6419850 w 8601075"/>
                  <a:gd name="connsiteY163" fmla="*/ 3105150 h 4333875"/>
                  <a:gd name="connsiteX164" fmla="*/ 6362700 w 8601075"/>
                  <a:gd name="connsiteY164" fmla="*/ 3076575 h 4333875"/>
                  <a:gd name="connsiteX165" fmla="*/ 6410325 w 8601075"/>
                  <a:gd name="connsiteY165" fmla="*/ 3019425 h 4333875"/>
                  <a:gd name="connsiteX166" fmla="*/ 6438900 w 8601075"/>
                  <a:gd name="connsiteY166" fmla="*/ 2819400 h 4333875"/>
                  <a:gd name="connsiteX167" fmla="*/ 6496050 w 8601075"/>
                  <a:gd name="connsiteY167" fmla="*/ 2762250 h 4333875"/>
                  <a:gd name="connsiteX168" fmla="*/ 6657975 w 8601075"/>
                  <a:gd name="connsiteY168" fmla="*/ 2752725 h 4333875"/>
                  <a:gd name="connsiteX169" fmla="*/ 6781800 w 8601075"/>
                  <a:gd name="connsiteY169" fmla="*/ 2838450 h 4333875"/>
                  <a:gd name="connsiteX170" fmla="*/ 7010400 w 8601075"/>
                  <a:gd name="connsiteY170" fmla="*/ 2838450 h 4333875"/>
                  <a:gd name="connsiteX171" fmla="*/ 7162800 w 8601075"/>
                  <a:gd name="connsiteY171" fmla="*/ 2705100 h 4333875"/>
                  <a:gd name="connsiteX172" fmla="*/ 7229475 w 8601075"/>
                  <a:gd name="connsiteY172" fmla="*/ 2590800 h 4333875"/>
                  <a:gd name="connsiteX173" fmla="*/ 7248525 w 8601075"/>
                  <a:gd name="connsiteY173" fmla="*/ 2524125 h 4333875"/>
                  <a:gd name="connsiteX174" fmla="*/ 7372350 w 8601075"/>
                  <a:gd name="connsiteY174" fmla="*/ 2543175 h 4333875"/>
                  <a:gd name="connsiteX175" fmla="*/ 7553325 w 8601075"/>
                  <a:gd name="connsiteY175" fmla="*/ 2447925 h 4333875"/>
                  <a:gd name="connsiteX176" fmla="*/ 7620000 w 8601075"/>
                  <a:gd name="connsiteY176" fmla="*/ 2324100 h 4333875"/>
                  <a:gd name="connsiteX177" fmla="*/ 7696200 w 8601075"/>
                  <a:gd name="connsiteY177" fmla="*/ 2314575 h 4333875"/>
                  <a:gd name="connsiteX178" fmla="*/ 7658100 w 8601075"/>
                  <a:gd name="connsiteY178" fmla="*/ 2257425 h 4333875"/>
                  <a:gd name="connsiteX179" fmla="*/ 7753350 w 8601075"/>
                  <a:gd name="connsiteY179" fmla="*/ 2057400 h 4333875"/>
                  <a:gd name="connsiteX180" fmla="*/ 7934325 w 8601075"/>
                  <a:gd name="connsiteY180" fmla="*/ 2028825 h 4333875"/>
                  <a:gd name="connsiteX181" fmla="*/ 7953375 w 8601075"/>
                  <a:gd name="connsiteY181" fmla="*/ 1952625 h 4333875"/>
                  <a:gd name="connsiteX182" fmla="*/ 7953375 w 8601075"/>
                  <a:gd name="connsiteY182" fmla="*/ 1952625 h 4333875"/>
                  <a:gd name="connsiteX183" fmla="*/ 8010525 w 8601075"/>
                  <a:gd name="connsiteY183" fmla="*/ 1895475 h 4333875"/>
                  <a:gd name="connsiteX184" fmla="*/ 8048625 w 8601075"/>
                  <a:gd name="connsiteY184" fmla="*/ 1971675 h 4333875"/>
                  <a:gd name="connsiteX185" fmla="*/ 8077200 w 8601075"/>
                  <a:gd name="connsiteY185" fmla="*/ 1885950 h 4333875"/>
                  <a:gd name="connsiteX186" fmla="*/ 8220075 w 8601075"/>
                  <a:gd name="connsiteY186" fmla="*/ 1847850 h 4333875"/>
                  <a:gd name="connsiteX187" fmla="*/ 8296275 w 8601075"/>
                  <a:gd name="connsiteY187" fmla="*/ 1809750 h 4333875"/>
                  <a:gd name="connsiteX188" fmla="*/ 8324850 w 8601075"/>
                  <a:gd name="connsiteY188" fmla="*/ 1790700 h 4333875"/>
                  <a:gd name="connsiteX189" fmla="*/ 8410575 w 8601075"/>
                  <a:gd name="connsiteY189" fmla="*/ 1847850 h 4333875"/>
                  <a:gd name="connsiteX190" fmla="*/ 8505825 w 8601075"/>
                  <a:gd name="connsiteY190" fmla="*/ 1781175 h 4333875"/>
                  <a:gd name="connsiteX191" fmla="*/ 8572500 w 8601075"/>
                  <a:gd name="connsiteY191" fmla="*/ 1809750 h 4333875"/>
                  <a:gd name="connsiteX192" fmla="*/ 8601075 w 8601075"/>
                  <a:gd name="connsiteY192" fmla="*/ 1704975 h 4333875"/>
                  <a:gd name="connsiteX193" fmla="*/ 8553450 w 8601075"/>
                  <a:gd name="connsiteY193" fmla="*/ 1676400 h 4333875"/>
                  <a:gd name="connsiteX194" fmla="*/ 8534400 w 8601075"/>
                  <a:gd name="connsiteY194" fmla="*/ 1609725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124825 w 8601075"/>
                  <a:gd name="connsiteY198" fmla="*/ 1352550 h 4333875"/>
                  <a:gd name="connsiteX199" fmla="*/ 7924800 w 8601075"/>
                  <a:gd name="connsiteY199" fmla="*/ 1362075 h 4333875"/>
                  <a:gd name="connsiteX200" fmla="*/ 7867650 w 8601075"/>
                  <a:gd name="connsiteY200" fmla="*/ 1457325 h 4333875"/>
                  <a:gd name="connsiteX201" fmla="*/ 7896225 w 8601075"/>
                  <a:gd name="connsiteY201" fmla="*/ 1476375 h 4333875"/>
                  <a:gd name="connsiteX202" fmla="*/ 7858125 w 8601075"/>
                  <a:gd name="connsiteY202" fmla="*/ 1533525 h 4333875"/>
                  <a:gd name="connsiteX203" fmla="*/ 7658100 w 8601075"/>
                  <a:gd name="connsiteY203" fmla="*/ 1447800 h 4333875"/>
                  <a:gd name="connsiteX204" fmla="*/ 7515225 w 8601075"/>
                  <a:gd name="connsiteY204" fmla="*/ 1495425 h 4333875"/>
                  <a:gd name="connsiteX205" fmla="*/ 7467600 w 8601075"/>
                  <a:gd name="connsiteY205" fmla="*/ 1581150 h 4333875"/>
                  <a:gd name="connsiteX206" fmla="*/ 7296150 w 8601075"/>
                  <a:gd name="connsiteY20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17018 w 8601075"/>
                  <a:gd name="connsiteY67" fmla="*/ 230981 h 4333875"/>
                  <a:gd name="connsiteX68" fmla="*/ 2724150 w 8601075"/>
                  <a:gd name="connsiteY68" fmla="*/ 304800 h 4333875"/>
                  <a:gd name="connsiteX69" fmla="*/ 2705100 w 8601075"/>
                  <a:gd name="connsiteY69" fmla="*/ 466725 h 4333875"/>
                  <a:gd name="connsiteX70" fmla="*/ 2762250 w 8601075"/>
                  <a:gd name="connsiteY70" fmla="*/ 571500 h 4333875"/>
                  <a:gd name="connsiteX71" fmla="*/ 2800350 w 8601075"/>
                  <a:gd name="connsiteY71" fmla="*/ 628650 h 4333875"/>
                  <a:gd name="connsiteX72" fmla="*/ 2752725 w 8601075"/>
                  <a:gd name="connsiteY72" fmla="*/ 781050 h 4333875"/>
                  <a:gd name="connsiteX73" fmla="*/ 2686050 w 8601075"/>
                  <a:gd name="connsiteY73" fmla="*/ 857250 h 4333875"/>
                  <a:gd name="connsiteX74" fmla="*/ 2609850 w 8601075"/>
                  <a:gd name="connsiteY74" fmla="*/ 857250 h 4333875"/>
                  <a:gd name="connsiteX75" fmla="*/ 2514600 w 8601075"/>
                  <a:gd name="connsiteY75" fmla="*/ 914400 h 4333875"/>
                  <a:gd name="connsiteX76" fmla="*/ 2400300 w 8601075"/>
                  <a:gd name="connsiteY76" fmla="*/ 866775 h 4333875"/>
                  <a:gd name="connsiteX77" fmla="*/ 2305050 w 8601075"/>
                  <a:gd name="connsiteY77" fmla="*/ 809625 h 4333875"/>
                  <a:gd name="connsiteX78" fmla="*/ 2200275 w 8601075"/>
                  <a:gd name="connsiteY78" fmla="*/ 752475 h 4333875"/>
                  <a:gd name="connsiteX79" fmla="*/ 2105025 w 8601075"/>
                  <a:gd name="connsiteY79" fmla="*/ 762000 h 4333875"/>
                  <a:gd name="connsiteX80" fmla="*/ 1990725 w 8601075"/>
                  <a:gd name="connsiteY80" fmla="*/ 762000 h 4333875"/>
                  <a:gd name="connsiteX81" fmla="*/ 1885950 w 8601075"/>
                  <a:gd name="connsiteY81" fmla="*/ 742950 h 4333875"/>
                  <a:gd name="connsiteX82" fmla="*/ 1800225 w 8601075"/>
                  <a:gd name="connsiteY82" fmla="*/ 638175 h 4333875"/>
                  <a:gd name="connsiteX83" fmla="*/ 1809750 w 8601075"/>
                  <a:gd name="connsiteY83" fmla="*/ 495300 h 4333875"/>
                  <a:gd name="connsiteX84" fmla="*/ 1733550 w 8601075"/>
                  <a:gd name="connsiteY84" fmla="*/ 466725 h 4333875"/>
                  <a:gd name="connsiteX85" fmla="*/ 1485900 w 8601075"/>
                  <a:gd name="connsiteY85" fmla="*/ 419100 h 4333875"/>
                  <a:gd name="connsiteX86" fmla="*/ 1457325 w 8601075"/>
                  <a:gd name="connsiteY86" fmla="*/ 323850 h 4333875"/>
                  <a:gd name="connsiteX87" fmla="*/ 1457325 w 8601075"/>
                  <a:gd name="connsiteY87" fmla="*/ 323850 h 4333875"/>
                  <a:gd name="connsiteX88" fmla="*/ 1323975 w 8601075"/>
                  <a:gd name="connsiteY88" fmla="*/ 285750 h 4333875"/>
                  <a:gd name="connsiteX89" fmla="*/ 1266825 w 8601075"/>
                  <a:gd name="connsiteY89" fmla="*/ 352425 h 4333875"/>
                  <a:gd name="connsiteX90" fmla="*/ 1009650 w 8601075"/>
                  <a:gd name="connsiteY90" fmla="*/ 390525 h 4333875"/>
                  <a:gd name="connsiteX91" fmla="*/ 828675 w 8601075"/>
                  <a:gd name="connsiteY91" fmla="*/ 447675 h 4333875"/>
                  <a:gd name="connsiteX92" fmla="*/ 619125 w 8601075"/>
                  <a:gd name="connsiteY92" fmla="*/ 533400 h 4333875"/>
                  <a:gd name="connsiteX93" fmla="*/ 619125 w 8601075"/>
                  <a:gd name="connsiteY93" fmla="*/ 533400 h 4333875"/>
                  <a:gd name="connsiteX94" fmla="*/ 561975 w 8601075"/>
                  <a:gd name="connsiteY94" fmla="*/ 619125 h 4333875"/>
                  <a:gd name="connsiteX95" fmla="*/ 447675 w 8601075"/>
                  <a:gd name="connsiteY95" fmla="*/ 63817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295275 w 8601075"/>
                  <a:gd name="connsiteY98" fmla="*/ 657225 h 4333875"/>
                  <a:gd name="connsiteX99" fmla="*/ 180975 w 8601075"/>
                  <a:gd name="connsiteY99" fmla="*/ 638175 h 4333875"/>
                  <a:gd name="connsiteX100" fmla="*/ 180975 w 8601075"/>
                  <a:gd name="connsiteY100" fmla="*/ 638175 h 4333875"/>
                  <a:gd name="connsiteX101" fmla="*/ 57150 w 8601075"/>
                  <a:gd name="connsiteY101" fmla="*/ 733425 h 4333875"/>
                  <a:gd name="connsiteX102" fmla="*/ 19050 w 8601075"/>
                  <a:gd name="connsiteY102" fmla="*/ 790575 h 4333875"/>
                  <a:gd name="connsiteX103" fmla="*/ 0 w 8601075"/>
                  <a:gd name="connsiteY103" fmla="*/ 876300 h 4333875"/>
                  <a:gd name="connsiteX104" fmla="*/ 57150 w 8601075"/>
                  <a:gd name="connsiteY104" fmla="*/ 923925 h 4333875"/>
                  <a:gd name="connsiteX105" fmla="*/ 57150 w 8601075"/>
                  <a:gd name="connsiteY105" fmla="*/ 923925 h 4333875"/>
                  <a:gd name="connsiteX106" fmla="*/ 209550 w 8601075"/>
                  <a:gd name="connsiteY106" fmla="*/ 1114425 h 4333875"/>
                  <a:gd name="connsiteX107" fmla="*/ 209550 w 8601075"/>
                  <a:gd name="connsiteY107" fmla="*/ 1114425 h 4333875"/>
                  <a:gd name="connsiteX108" fmla="*/ 266700 w 8601075"/>
                  <a:gd name="connsiteY108" fmla="*/ 1295400 h 4333875"/>
                  <a:gd name="connsiteX109" fmla="*/ 409575 w 8601075"/>
                  <a:gd name="connsiteY109" fmla="*/ 1276350 h 4333875"/>
                  <a:gd name="connsiteX110" fmla="*/ 466725 w 8601075"/>
                  <a:gd name="connsiteY110" fmla="*/ 1362075 h 4333875"/>
                  <a:gd name="connsiteX111" fmla="*/ 542925 w 8601075"/>
                  <a:gd name="connsiteY111" fmla="*/ 1428750 h 4333875"/>
                  <a:gd name="connsiteX112" fmla="*/ 628650 w 8601075"/>
                  <a:gd name="connsiteY112" fmla="*/ 1571625 h 4333875"/>
                  <a:gd name="connsiteX113" fmla="*/ 628650 w 8601075"/>
                  <a:gd name="connsiteY113" fmla="*/ 1704975 h 4333875"/>
                  <a:gd name="connsiteX114" fmla="*/ 676275 w 8601075"/>
                  <a:gd name="connsiteY114" fmla="*/ 1771650 h 4333875"/>
                  <a:gd name="connsiteX115" fmla="*/ 657225 w 8601075"/>
                  <a:gd name="connsiteY115" fmla="*/ 2000250 h 4333875"/>
                  <a:gd name="connsiteX116" fmla="*/ 619125 w 8601075"/>
                  <a:gd name="connsiteY116" fmla="*/ 2095500 h 4333875"/>
                  <a:gd name="connsiteX117" fmla="*/ 542925 w 8601075"/>
                  <a:gd name="connsiteY117" fmla="*/ 2228850 h 4333875"/>
                  <a:gd name="connsiteX118" fmla="*/ 485775 w 8601075"/>
                  <a:gd name="connsiteY118" fmla="*/ 2362200 h 4333875"/>
                  <a:gd name="connsiteX119" fmla="*/ 552450 w 8601075"/>
                  <a:gd name="connsiteY119" fmla="*/ 2486025 h 4333875"/>
                  <a:gd name="connsiteX120" fmla="*/ 771525 w 8601075"/>
                  <a:gd name="connsiteY120" fmla="*/ 2571750 h 4333875"/>
                  <a:gd name="connsiteX121" fmla="*/ 866775 w 8601075"/>
                  <a:gd name="connsiteY121" fmla="*/ 2571750 h 4333875"/>
                  <a:gd name="connsiteX122" fmla="*/ 914400 w 8601075"/>
                  <a:gd name="connsiteY122" fmla="*/ 2638425 h 4333875"/>
                  <a:gd name="connsiteX123" fmla="*/ 1066800 w 8601075"/>
                  <a:gd name="connsiteY123" fmla="*/ 2638425 h 4333875"/>
                  <a:gd name="connsiteX124" fmla="*/ 1285875 w 8601075"/>
                  <a:gd name="connsiteY124" fmla="*/ 2705100 h 4333875"/>
                  <a:gd name="connsiteX125" fmla="*/ 1438275 w 8601075"/>
                  <a:gd name="connsiteY125" fmla="*/ 2838450 h 4333875"/>
                  <a:gd name="connsiteX126" fmla="*/ 1485900 w 8601075"/>
                  <a:gd name="connsiteY126" fmla="*/ 2914650 h 4333875"/>
                  <a:gd name="connsiteX127" fmla="*/ 1657350 w 8601075"/>
                  <a:gd name="connsiteY127" fmla="*/ 3038475 h 4333875"/>
                  <a:gd name="connsiteX128" fmla="*/ 1752600 w 8601075"/>
                  <a:gd name="connsiteY128" fmla="*/ 3057525 h 4333875"/>
                  <a:gd name="connsiteX129" fmla="*/ 1724025 w 8601075"/>
                  <a:gd name="connsiteY129" fmla="*/ 3143250 h 4333875"/>
                  <a:gd name="connsiteX130" fmla="*/ 1724025 w 8601075"/>
                  <a:gd name="connsiteY130" fmla="*/ 3143250 h 4333875"/>
                  <a:gd name="connsiteX131" fmla="*/ 1781175 w 8601075"/>
                  <a:gd name="connsiteY131" fmla="*/ 3181350 h 4333875"/>
                  <a:gd name="connsiteX132" fmla="*/ 1819275 w 8601075"/>
                  <a:gd name="connsiteY132" fmla="*/ 3362325 h 4333875"/>
                  <a:gd name="connsiteX133" fmla="*/ 1828800 w 8601075"/>
                  <a:gd name="connsiteY133" fmla="*/ 3457575 h 4333875"/>
                  <a:gd name="connsiteX134" fmla="*/ 1971675 w 8601075"/>
                  <a:gd name="connsiteY134" fmla="*/ 3590925 h 4333875"/>
                  <a:gd name="connsiteX135" fmla="*/ 1990725 w 8601075"/>
                  <a:gd name="connsiteY135" fmla="*/ 3714750 h 4333875"/>
                  <a:gd name="connsiteX136" fmla="*/ 2200275 w 8601075"/>
                  <a:gd name="connsiteY136" fmla="*/ 3695700 h 4333875"/>
                  <a:gd name="connsiteX137" fmla="*/ 2886075 w 8601075"/>
                  <a:gd name="connsiteY137" fmla="*/ 3886200 h 4333875"/>
                  <a:gd name="connsiteX138" fmla="*/ 3038475 w 8601075"/>
                  <a:gd name="connsiteY138" fmla="*/ 3819525 h 4333875"/>
                  <a:gd name="connsiteX139" fmla="*/ 3105150 w 8601075"/>
                  <a:gd name="connsiteY139" fmla="*/ 3867150 h 4333875"/>
                  <a:gd name="connsiteX140" fmla="*/ 3181350 w 8601075"/>
                  <a:gd name="connsiteY140" fmla="*/ 3800475 h 4333875"/>
                  <a:gd name="connsiteX141" fmla="*/ 3590925 w 8601075"/>
                  <a:gd name="connsiteY141" fmla="*/ 3943350 h 4333875"/>
                  <a:gd name="connsiteX142" fmla="*/ 3686175 w 8601075"/>
                  <a:gd name="connsiteY142" fmla="*/ 4057650 h 4333875"/>
                  <a:gd name="connsiteX143" fmla="*/ 3838575 w 8601075"/>
                  <a:gd name="connsiteY143" fmla="*/ 4057650 h 4333875"/>
                  <a:gd name="connsiteX144" fmla="*/ 4162425 w 8601075"/>
                  <a:gd name="connsiteY144" fmla="*/ 4248150 h 4333875"/>
                  <a:gd name="connsiteX145" fmla="*/ 4391025 w 8601075"/>
                  <a:gd name="connsiteY145" fmla="*/ 4200525 h 4333875"/>
                  <a:gd name="connsiteX146" fmla="*/ 4410075 w 8601075"/>
                  <a:gd name="connsiteY146" fmla="*/ 4305300 h 4333875"/>
                  <a:gd name="connsiteX147" fmla="*/ 4505325 w 8601075"/>
                  <a:gd name="connsiteY147" fmla="*/ 4276725 h 4333875"/>
                  <a:gd name="connsiteX148" fmla="*/ 4572000 w 8601075"/>
                  <a:gd name="connsiteY148" fmla="*/ 4333875 h 4333875"/>
                  <a:gd name="connsiteX149" fmla="*/ 4591050 w 8601075"/>
                  <a:gd name="connsiteY149" fmla="*/ 4248150 h 4333875"/>
                  <a:gd name="connsiteX150" fmla="*/ 5295900 w 8601075"/>
                  <a:gd name="connsiteY150" fmla="*/ 3924300 h 4333875"/>
                  <a:gd name="connsiteX151" fmla="*/ 5353050 w 8601075"/>
                  <a:gd name="connsiteY151" fmla="*/ 3990975 h 4333875"/>
                  <a:gd name="connsiteX152" fmla="*/ 5524500 w 8601075"/>
                  <a:gd name="connsiteY152" fmla="*/ 3914775 h 4333875"/>
                  <a:gd name="connsiteX153" fmla="*/ 5667375 w 8601075"/>
                  <a:gd name="connsiteY153" fmla="*/ 3962400 h 4333875"/>
                  <a:gd name="connsiteX154" fmla="*/ 5753100 w 8601075"/>
                  <a:gd name="connsiteY154" fmla="*/ 3924300 h 4333875"/>
                  <a:gd name="connsiteX155" fmla="*/ 5905500 w 8601075"/>
                  <a:gd name="connsiteY155" fmla="*/ 3943350 h 4333875"/>
                  <a:gd name="connsiteX156" fmla="*/ 6000750 w 8601075"/>
                  <a:gd name="connsiteY156" fmla="*/ 3800475 h 4333875"/>
                  <a:gd name="connsiteX157" fmla="*/ 6153150 w 8601075"/>
                  <a:gd name="connsiteY157" fmla="*/ 3781425 h 4333875"/>
                  <a:gd name="connsiteX158" fmla="*/ 6257925 w 8601075"/>
                  <a:gd name="connsiteY158" fmla="*/ 3581400 h 4333875"/>
                  <a:gd name="connsiteX159" fmla="*/ 6448425 w 8601075"/>
                  <a:gd name="connsiteY159" fmla="*/ 3448050 h 4333875"/>
                  <a:gd name="connsiteX160" fmla="*/ 6581775 w 8601075"/>
                  <a:gd name="connsiteY160" fmla="*/ 3276600 h 4333875"/>
                  <a:gd name="connsiteX161" fmla="*/ 6496050 w 8601075"/>
                  <a:gd name="connsiteY161" fmla="*/ 3228975 h 4333875"/>
                  <a:gd name="connsiteX162" fmla="*/ 6438900 w 8601075"/>
                  <a:gd name="connsiteY162" fmla="*/ 3162300 h 4333875"/>
                  <a:gd name="connsiteX163" fmla="*/ 6419850 w 8601075"/>
                  <a:gd name="connsiteY163" fmla="*/ 3105150 h 4333875"/>
                  <a:gd name="connsiteX164" fmla="*/ 6362700 w 8601075"/>
                  <a:gd name="connsiteY164" fmla="*/ 3076575 h 4333875"/>
                  <a:gd name="connsiteX165" fmla="*/ 6410325 w 8601075"/>
                  <a:gd name="connsiteY165" fmla="*/ 3019425 h 4333875"/>
                  <a:gd name="connsiteX166" fmla="*/ 6438900 w 8601075"/>
                  <a:gd name="connsiteY166" fmla="*/ 2819400 h 4333875"/>
                  <a:gd name="connsiteX167" fmla="*/ 6496050 w 8601075"/>
                  <a:gd name="connsiteY167" fmla="*/ 2762250 h 4333875"/>
                  <a:gd name="connsiteX168" fmla="*/ 6657975 w 8601075"/>
                  <a:gd name="connsiteY168" fmla="*/ 2752725 h 4333875"/>
                  <a:gd name="connsiteX169" fmla="*/ 6781800 w 8601075"/>
                  <a:gd name="connsiteY169" fmla="*/ 2838450 h 4333875"/>
                  <a:gd name="connsiteX170" fmla="*/ 7010400 w 8601075"/>
                  <a:gd name="connsiteY170" fmla="*/ 2838450 h 4333875"/>
                  <a:gd name="connsiteX171" fmla="*/ 7162800 w 8601075"/>
                  <a:gd name="connsiteY171" fmla="*/ 2705100 h 4333875"/>
                  <a:gd name="connsiteX172" fmla="*/ 7229475 w 8601075"/>
                  <a:gd name="connsiteY172" fmla="*/ 2590800 h 4333875"/>
                  <a:gd name="connsiteX173" fmla="*/ 7248525 w 8601075"/>
                  <a:gd name="connsiteY173" fmla="*/ 2524125 h 4333875"/>
                  <a:gd name="connsiteX174" fmla="*/ 7372350 w 8601075"/>
                  <a:gd name="connsiteY174" fmla="*/ 2543175 h 4333875"/>
                  <a:gd name="connsiteX175" fmla="*/ 7553325 w 8601075"/>
                  <a:gd name="connsiteY175" fmla="*/ 2447925 h 4333875"/>
                  <a:gd name="connsiteX176" fmla="*/ 7620000 w 8601075"/>
                  <a:gd name="connsiteY176" fmla="*/ 2324100 h 4333875"/>
                  <a:gd name="connsiteX177" fmla="*/ 7696200 w 8601075"/>
                  <a:gd name="connsiteY177" fmla="*/ 2314575 h 4333875"/>
                  <a:gd name="connsiteX178" fmla="*/ 7658100 w 8601075"/>
                  <a:gd name="connsiteY178" fmla="*/ 2257425 h 4333875"/>
                  <a:gd name="connsiteX179" fmla="*/ 7753350 w 8601075"/>
                  <a:gd name="connsiteY179" fmla="*/ 2057400 h 4333875"/>
                  <a:gd name="connsiteX180" fmla="*/ 7934325 w 8601075"/>
                  <a:gd name="connsiteY180" fmla="*/ 2028825 h 4333875"/>
                  <a:gd name="connsiteX181" fmla="*/ 7953375 w 8601075"/>
                  <a:gd name="connsiteY181" fmla="*/ 1952625 h 4333875"/>
                  <a:gd name="connsiteX182" fmla="*/ 7953375 w 8601075"/>
                  <a:gd name="connsiteY182" fmla="*/ 1952625 h 4333875"/>
                  <a:gd name="connsiteX183" fmla="*/ 8010525 w 8601075"/>
                  <a:gd name="connsiteY183" fmla="*/ 1895475 h 4333875"/>
                  <a:gd name="connsiteX184" fmla="*/ 8048625 w 8601075"/>
                  <a:gd name="connsiteY184" fmla="*/ 1971675 h 4333875"/>
                  <a:gd name="connsiteX185" fmla="*/ 8077200 w 8601075"/>
                  <a:gd name="connsiteY185" fmla="*/ 1885950 h 4333875"/>
                  <a:gd name="connsiteX186" fmla="*/ 8220075 w 8601075"/>
                  <a:gd name="connsiteY186" fmla="*/ 1847850 h 4333875"/>
                  <a:gd name="connsiteX187" fmla="*/ 8296275 w 8601075"/>
                  <a:gd name="connsiteY187" fmla="*/ 1809750 h 4333875"/>
                  <a:gd name="connsiteX188" fmla="*/ 8324850 w 8601075"/>
                  <a:gd name="connsiteY188" fmla="*/ 1790700 h 4333875"/>
                  <a:gd name="connsiteX189" fmla="*/ 8410575 w 8601075"/>
                  <a:gd name="connsiteY189" fmla="*/ 1847850 h 4333875"/>
                  <a:gd name="connsiteX190" fmla="*/ 8505825 w 8601075"/>
                  <a:gd name="connsiteY190" fmla="*/ 1781175 h 4333875"/>
                  <a:gd name="connsiteX191" fmla="*/ 8572500 w 8601075"/>
                  <a:gd name="connsiteY191" fmla="*/ 1809750 h 4333875"/>
                  <a:gd name="connsiteX192" fmla="*/ 8601075 w 8601075"/>
                  <a:gd name="connsiteY192" fmla="*/ 1704975 h 4333875"/>
                  <a:gd name="connsiteX193" fmla="*/ 8553450 w 8601075"/>
                  <a:gd name="connsiteY193" fmla="*/ 1676400 h 4333875"/>
                  <a:gd name="connsiteX194" fmla="*/ 8534400 w 8601075"/>
                  <a:gd name="connsiteY194" fmla="*/ 1609725 h 4333875"/>
                  <a:gd name="connsiteX195" fmla="*/ 8277225 w 8601075"/>
                  <a:gd name="connsiteY195" fmla="*/ 1409700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124825 w 8601075"/>
                  <a:gd name="connsiteY198" fmla="*/ 1352550 h 4333875"/>
                  <a:gd name="connsiteX199" fmla="*/ 7924800 w 8601075"/>
                  <a:gd name="connsiteY199" fmla="*/ 1362075 h 4333875"/>
                  <a:gd name="connsiteX200" fmla="*/ 7867650 w 8601075"/>
                  <a:gd name="connsiteY200" fmla="*/ 1457325 h 4333875"/>
                  <a:gd name="connsiteX201" fmla="*/ 7896225 w 8601075"/>
                  <a:gd name="connsiteY201" fmla="*/ 1476375 h 4333875"/>
                  <a:gd name="connsiteX202" fmla="*/ 7858125 w 8601075"/>
                  <a:gd name="connsiteY202" fmla="*/ 1533525 h 4333875"/>
                  <a:gd name="connsiteX203" fmla="*/ 7658100 w 8601075"/>
                  <a:gd name="connsiteY203" fmla="*/ 1447800 h 4333875"/>
                  <a:gd name="connsiteX204" fmla="*/ 7515225 w 8601075"/>
                  <a:gd name="connsiteY204" fmla="*/ 1495425 h 4333875"/>
                  <a:gd name="connsiteX205" fmla="*/ 7467600 w 8601075"/>
                  <a:gd name="connsiteY205" fmla="*/ 1581150 h 4333875"/>
                  <a:gd name="connsiteX206" fmla="*/ 7296150 w 8601075"/>
                  <a:gd name="connsiteY20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17018 w 8601075"/>
                  <a:gd name="connsiteY67" fmla="*/ 230981 h 4333875"/>
                  <a:gd name="connsiteX68" fmla="*/ 2759869 w 8601075"/>
                  <a:gd name="connsiteY68" fmla="*/ 242888 h 4333875"/>
                  <a:gd name="connsiteX69" fmla="*/ 2724150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4150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05100 w 8601075"/>
                  <a:gd name="connsiteY70" fmla="*/ 466725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697957 w 8601075"/>
                  <a:gd name="connsiteY70" fmla="*/ 407194 h 4333875"/>
                  <a:gd name="connsiteX71" fmla="*/ 2762250 w 8601075"/>
                  <a:gd name="connsiteY71" fmla="*/ 571500 h 4333875"/>
                  <a:gd name="connsiteX72" fmla="*/ 2800350 w 8601075"/>
                  <a:gd name="connsiteY72" fmla="*/ 628650 h 4333875"/>
                  <a:gd name="connsiteX73" fmla="*/ 2752725 w 8601075"/>
                  <a:gd name="connsiteY73" fmla="*/ 781050 h 4333875"/>
                  <a:gd name="connsiteX74" fmla="*/ 2686050 w 8601075"/>
                  <a:gd name="connsiteY74" fmla="*/ 857250 h 4333875"/>
                  <a:gd name="connsiteX75" fmla="*/ 2609850 w 8601075"/>
                  <a:gd name="connsiteY75" fmla="*/ 857250 h 4333875"/>
                  <a:gd name="connsiteX76" fmla="*/ 2514600 w 8601075"/>
                  <a:gd name="connsiteY76" fmla="*/ 914400 h 4333875"/>
                  <a:gd name="connsiteX77" fmla="*/ 2400300 w 8601075"/>
                  <a:gd name="connsiteY77" fmla="*/ 866775 h 4333875"/>
                  <a:gd name="connsiteX78" fmla="*/ 2305050 w 8601075"/>
                  <a:gd name="connsiteY78" fmla="*/ 809625 h 4333875"/>
                  <a:gd name="connsiteX79" fmla="*/ 2200275 w 8601075"/>
                  <a:gd name="connsiteY79" fmla="*/ 752475 h 4333875"/>
                  <a:gd name="connsiteX80" fmla="*/ 2105025 w 8601075"/>
                  <a:gd name="connsiteY80" fmla="*/ 762000 h 4333875"/>
                  <a:gd name="connsiteX81" fmla="*/ 1990725 w 8601075"/>
                  <a:gd name="connsiteY81" fmla="*/ 762000 h 4333875"/>
                  <a:gd name="connsiteX82" fmla="*/ 1885950 w 8601075"/>
                  <a:gd name="connsiteY82" fmla="*/ 742950 h 4333875"/>
                  <a:gd name="connsiteX83" fmla="*/ 1800225 w 8601075"/>
                  <a:gd name="connsiteY83" fmla="*/ 638175 h 4333875"/>
                  <a:gd name="connsiteX84" fmla="*/ 1809750 w 8601075"/>
                  <a:gd name="connsiteY84" fmla="*/ 495300 h 4333875"/>
                  <a:gd name="connsiteX85" fmla="*/ 1733550 w 8601075"/>
                  <a:gd name="connsiteY85" fmla="*/ 466725 h 4333875"/>
                  <a:gd name="connsiteX86" fmla="*/ 1485900 w 8601075"/>
                  <a:gd name="connsiteY86" fmla="*/ 419100 h 4333875"/>
                  <a:gd name="connsiteX87" fmla="*/ 1457325 w 8601075"/>
                  <a:gd name="connsiteY87" fmla="*/ 323850 h 4333875"/>
                  <a:gd name="connsiteX88" fmla="*/ 1457325 w 8601075"/>
                  <a:gd name="connsiteY88" fmla="*/ 323850 h 4333875"/>
                  <a:gd name="connsiteX89" fmla="*/ 1323975 w 8601075"/>
                  <a:gd name="connsiteY89" fmla="*/ 285750 h 4333875"/>
                  <a:gd name="connsiteX90" fmla="*/ 1266825 w 8601075"/>
                  <a:gd name="connsiteY90" fmla="*/ 352425 h 4333875"/>
                  <a:gd name="connsiteX91" fmla="*/ 1009650 w 8601075"/>
                  <a:gd name="connsiteY91" fmla="*/ 390525 h 4333875"/>
                  <a:gd name="connsiteX92" fmla="*/ 828675 w 8601075"/>
                  <a:gd name="connsiteY92" fmla="*/ 447675 h 4333875"/>
                  <a:gd name="connsiteX93" fmla="*/ 619125 w 8601075"/>
                  <a:gd name="connsiteY93" fmla="*/ 533400 h 4333875"/>
                  <a:gd name="connsiteX94" fmla="*/ 619125 w 8601075"/>
                  <a:gd name="connsiteY94" fmla="*/ 533400 h 4333875"/>
                  <a:gd name="connsiteX95" fmla="*/ 561975 w 8601075"/>
                  <a:gd name="connsiteY95" fmla="*/ 619125 h 4333875"/>
                  <a:gd name="connsiteX96" fmla="*/ 447675 w 8601075"/>
                  <a:gd name="connsiteY96" fmla="*/ 63817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295275 w 8601075"/>
                  <a:gd name="connsiteY99" fmla="*/ 657225 h 4333875"/>
                  <a:gd name="connsiteX100" fmla="*/ 180975 w 8601075"/>
                  <a:gd name="connsiteY100" fmla="*/ 638175 h 4333875"/>
                  <a:gd name="connsiteX101" fmla="*/ 180975 w 8601075"/>
                  <a:gd name="connsiteY101" fmla="*/ 638175 h 4333875"/>
                  <a:gd name="connsiteX102" fmla="*/ 57150 w 8601075"/>
                  <a:gd name="connsiteY102" fmla="*/ 733425 h 4333875"/>
                  <a:gd name="connsiteX103" fmla="*/ 19050 w 8601075"/>
                  <a:gd name="connsiteY103" fmla="*/ 790575 h 4333875"/>
                  <a:gd name="connsiteX104" fmla="*/ 0 w 8601075"/>
                  <a:gd name="connsiteY104" fmla="*/ 876300 h 4333875"/>
                  <a:gd name="connsiteX105" fmla="*/ 57150 w 8601075"/>
                  <a:gd name="connsiteY105" fmla="*/ 923925 h 4333875"/>
                  <a:gd name="connsiteX106" fmla="*/ 57150 w 8601075"/>
                  <a:gd name="connsiteY106" fmla="*/ 923925 h 4333875"/>
                  <a:gd name="connsiteX107" fmla="*/ 209550 w 8601075"/>
                  <a:gd name="connsiteY107" fmla="*/ 1114425 h 4333875"/>
                  <a:gd name="connsiteX108" fmla="*/ 209550 w 8601075"/>
                  <a:gd name="connsiteY108" fmla="*/ 1114425 h 4333875"/>
                  <a:gd name="connsiteX109" fmla="*/ 266700 w 8601075"/>
                  <a:gd name="connsiteY109" fmla="*/ 1295400 h 4333875"/>
                  <a:gd name="connsiteX110" fmla="*/ 409575 w 8601075"/>
                  <a:gd name="connsiteY110" fmla="*/ 1276350 h 4333875"/>
                  <a:gd name="connsiteX111" fmla="*/ 466725 w 8601075"/>
                  <a:gd name="connsiteY111" fmla="*/ 1362075 h 4333875"/>
                  <a:gd name="connsiteX112" fmla="*/ 542925 w 8601075"/>
                  <a:gd name="connsiteY112" fmla="*/ 1428750 h 4333875"/>
                  <a:gd name="connsiteX113" fmla="*/ 628650 w 8601075"/>
                  <a:gd name="connsiteY113" fmla="*/ 1571625 h 4333875"/>
                  <a:gd name="connsiteX114" fmla="*/ 628650 w 8601075"/>
                  <a:gd name="connsiteY114" fmla="*/ 1704975 h 4333875"/>
                  <a:gd name="connsiteX115" fmla="*/ 676275 w 8601075"/>
                  <a:gd name="connsiteY115" fmla="*/ 1771650 h 4333875"/>
                  <a:gd name="connsiteX116" fmla="*/ 657225 w 8601075"/>
                  <a:gd name="connsiteY116" fmla="*/ 2000250 h 4333875"/>
                  <a:gd name="connsiteX117" fmla="*/ 619125 w 8601075"/>
                  <a:gd name="connsiteY117" fmla="*/ 2095500 h 4333875"/>
                  <a:gd name="connsiteX118" fmla="*/ 542925 w 8601075"/>
                  <a:gd name="connsiteY118" fmla="*/ 2228850 h 4333875"/>
                  <a:gd name="connsiteX119" fmla="*/ 485775 w 8601075"/>
                  <a:gd name="connsiteY119" fmla="*/ 2362200 h 4333875"/>
                  <a:gd name="connsiteX120" fmla="*/ 552450 w 8601075"/>
                  <a:gd name="connsiteY120" fmla="*/ 2486025 h 4333875"/>
                  <a:gd name="connsiteX121" fmla="*/ 771525 w 8601075"/>
                  <a:gd name="connsiteY121" fmla="*/ 2571750 h 4333875"/>
                  <a:gd name="connsiteX122" fmla="*/ 866775 w 8601075"/>
                  <a:gd name="connsiteY122" fmla="*/ 2571750 h 4333875"/>
                  <a:gd name="connsiteX123" fmla="*/ 914400 w 8601075"/>
                  <a:gd name="connsiteY123" fmla="*/ 2638425 h 4333875"/>
                  <a:gd name="connsiteX124" fmla="*/ 1066800 w 8601075"/>
                  <a:gd name="connsiteY124" fmla="*/ 2638425 h 4333875"/>
                  <a:gd name="connsiteX125" fmla="*/ 1285875 w 8601075"/>
                  <a:gd name="connsiteY125" fmla="*/ 2705100 h 4333875"/>
                  <a:gd name="connsiteX126" fmla="*/ 1438275 w 8601075"/>
                  <a:gd name="connsiteY126" fmla="*/ 2838450 h 4333875"/>
                  <a:gd name="connsiteX127" fmla="*/ 1485900 w 8601075"/>
                  <a:gd name="connsiteY127" fmla="*/ 2914650 h 4333875"/>
                  <a:gd name="connsiteX128" fmla="*/ 1657350 w 8601075"/>
                  <a:gd name="connsiteY128" fmla="*/ 3038475 h 4333875"/>
                  <a:gd name="connsiteX129" fmla="*/ 1752600 w 8601075"/>
                  <a:gd name="connsiteY129" fmla="*/ 3057525 h 4333875"/>
                  <a:gd name="connsiteX130" fmla="*/ 1724025 w 8601075"/>
                  <a:gd name="connsiteY130" fmla="*/ 3143250 h 4333875"/>
                  <a:gd name="connsiteX131" fmla="*/ 1724025 w 8601075"/>
                  <a:gd name="connsiteY131" fmla="*/ 3143250 h 4333875"/>
                  <a:gd name="connsiteX132" fmla="*/ 1781175 w 8601075"/>
                  <a:gd name="connsiteY132" fmla="*/ 3181350 h 4333875"/>
                  <a:gd name="connsiteX133" fmla="*/ 1819275 w 8601075"/>
                  <a:gd name="connsiteY133" fmla="*/ 3362325 h 4333875"/>
                  <a:gd name="connsiteX134" fmla="*/ 1828800 w 8601075"/>
                  <a:gd name="connsiteY134" fmla="*/ 3457575 h 4333875"/>
                  <a:gd name="connsiteX135" fmla="*/ 1971675 w 8601075"/>
                  <a:gd name="connsiteY135" fmla="*/ 3590925 h 4333875"/>
                  <a:gd name="connsiteX136" fmla="*/ 1990725 w 8601075"/>
                  <a:gd name="connsiteY136" fmla="*/ 3714750 h 4333875"/>
                  <a:gd name="connsiteX137" fmla="*/ 2200275 w 8601075"/>
                  <a:gd name="connsiteY137" fmla="*/ 3695700 h 4333875"/>
                  <a:gd name="connsiteX138" fmla="*/ 2886075 w 8601075"/>
                  <a:gd name="connsiteY138" fmla="*/ 3886200 h 4333875"/>
                  <a:gd name="connsiteX139" fmla="*/ 3038475 w 8601075"/>
                  <a:gd name="connsiteY139" fmla="*/ 3819525 h 4333875"/>
                  <a:gd name="connsiteX140" fmla="*/ 3105150 w 8601075"/>
                  <a:gd name="connsiteY140" fmla="*/ 3867150 h 4333875"/>
                  <a:gd name="connsiteX141" fmla="*/ 3181350 w 8601075"/>
                  <a:gd name="connsiteY141" fmla="*/ 3800475 h 4333875"/>
                  <a:gd name="connsiteX142" fmla="*/ 3590925 w 8601075"/>
                  <a:gd name="connsiteY142" fmla="*/ 3943350 h 4333875"/>
                  <a:gd name="connsiteX143" fmla="*/ 3686175 w 8601075"/>
                  <a:gd name="connsiteY143" fmla="*/ 4057650 h 4333875"/>
                  <a:gd name="connsiteX144" fmla="*/ 3838575 w 8601075"/>
                  <a:gd name="connsiteY144" fmla="*/ 4057650 h 4333875"/>
                  <a:gd name="connsiteX145" fmla="*/ 4162425 w 8601075"/>
                  <a:gd name="connsiteY145" fmla="*/ 4248150 h 4333875"/>
                  <a:gd name="connsiteX146" fmla="*/ 4391025 w 8601075"/>
                  <a:gd name="connsiteY146" fmla="*/ 4200525 h 4333875"/>
                  <a:gd name="connsiteX147" fmla="*/ 4410075 w 8601075"/>
                  <a:gd name="connsiteY147" fmla="*/ 4305300 h 4333875"/>
                  <a:gd name="connsiteX148" fmla="*/ 4505325 w 8601075"/>
                  <a:gd name="connsiteY148" fmla="*/ 4276725 h 4333875"/>
                  <a:gd name="connsiteX149" fmla="*/ 4572000 w 8601075"/>
                  <a:gd name="connsiteY149" fmla="*/ 4333875 h 4333875"/>
                  <a:gd name="connsiteX150" fmla="*/ 4591050 w 8601075"/>
                  <a:gd name="connsiteY150" fmla="*/ 4248150 h 4333875"/>
                  <a:gd name="connsiteX151" fmla="*/ 5295900 w 8601075"/>
                  <a:gd name="connsiteY151" fmla="*/ 3924300 h 4333875"/>
                  <a:gd name="connsiteX152" fmla="*/ 5353050 w 8601075"/>
                  <a:gd name="connsiteY152" fmla="*/ 3990975 h 4333875"/>
                  <a:gd name="connsiteX153" fmla="*/ 5524500 w 8601075"/>
                  <a:gd name="connsiteY153" fmla="*/ 3914775 h 4333875"/>
                  <a:gd name="connsiteX154" fmla="*/ 5667375 w 8601075"/>
                  <a:gd name="connsiteY154" fmla="*/ 3962400 h 4333875"/>
                  <a:gd name="connsiteX155" fmla="*/ 5753100 w 8601075"/>
                  <a:gd name="connsiteY155" fmla="*/ 3924300 h 4333875"/>
                  <a:gd name="connsiteX156" fmla="*/ 5905500 w 8601075"/>
                  <a:gd name="connsiteY156" fmla="*/ 3943350 h 4333875"/>
                  <a:gd name="connsiteX157" fmla="*/ 6000750 w 8601075"/>
                  <a:gd name="connsiteY157" fmla="*/ 3800475 h 4333875"/>
                  <a:gd name="connsiteX158" fmla="*/ 6153150 w 8601075"/>
                  <a:gd name="connsiteY158" fmla="*/ 3781425 h 4333875"/>
                  <a:gd name="connsiteX159" fmla="*/ 6257925 w 8601075"/>
                  <a:gd name="connsiteY159" fmla="*/ 3581400 h 4333875"/>
                  <a:gd name="connsiteX160" fmla="*/ 6448425 w 8601075"/>
                  <a:gd name="connsiteY160" fmla="*/ 3448050 h 4333875"/>
                  <a:gd name="connsiteX161" fmla="*/ 6581775 w 8601075"/>
                  <a:gd name="connsiteY161" fmla="*/ 3276600 h 4333875"/>
                  <a:gd name="connsiteX162" fmla="*/ 6496050 w 8601075"/>
                  <a:gd name="connsiteY162" fmla="*/ 3228975 h 4333875"/>
                  <a:gd name="connsiteX163" fmla="*/ 6438900 w 8601075"/>
                  <a:gd name="connsiteY163" fmla="*/ 3162300 h 4333875"/>
                  <a:gd name="connsiteX164" fmla="*/ 6419850 w 8601075"/>
                  <a:gd name="connsiteY164" fmla="*/ 3105150 h 4333875"/>
                  <a:gd name="connsiteX165" fmla="*/ 6362700 w 8601075"/>
                  <a:gd name="connsiteY165" fmla="*/ 3076575 h 4333875"/>
                  <a:gd name="connsiteX166" fmla="*/ 6410325 w 8601075"/>
                  <a:gd name="connsiteY166" fmla="*/ 3019425 h 4333875"/>
                  <a:gd name="connsiteX167" fmla="*/ 6438900 w 8601075"/>
                  <a:gd name="connsiteY167" fmla="*/ 2819400 h 4333875"/>
                  <a:gd name="connsiteX168" fmla="*/ 6496050 w 8601075"/>
                  <a:gd name="connsiteY168" fmla="*/ 2762250 h 4333875"/>
                  <a:gd name="connsiteX169" fmla="*/ 6657975 w 8601075"/>
                  <a:gd name="connsiteY169" fmla="*/ 2752725 h 4333875"/>
                  <a:gd name="connsiteX170" fmla="*/ 6781800 w 8601075"/>
                  <a:gd name="connsiteY170" fmla="*/ 2838450 h 4333875"/>
                  <a:gd name="connsiteX171" fmla="*/ 7010400 w 8601075"/>
                  <a:gd name="connsiteY171" fmla="*/ 2838450 h 4333875"/>
                  <a:gd name="connsiteX172" fmla="*/ 7162800 w 8601075"/>
                  <a:gd name="connsiteY172" fmla="*/ 2705100 h 4333875"/>
                  <a:gd name="connsiteX173" fmla="*/ 7229475 w 8601075"/>
                  <a:gd name="connsiteY173" fmla="*/ 2590800 h 4333875"/>
                  <a:gd name="connsiteX174" fmla="*/ 7248525 w 8601075"/>
                  <a:gd name="connsiteY174" fmla="*/ 2524125 h 4333875"/>
                  <a:gd name="connsiteX175" fmla="*/ 7372350 w 8601075"/>
                  <a:gd name="connsiteY175" fmla="*/ 2543175 h 4333875"/>
                  <a:gd name="connsiteX176" fmla="*/ 7553325 w 8601075"/>
                  <a:gd name="connsiteY176" fmla="*/ 2447925 h 4333875"/>
                  <a:gd name="connsiteX177" fmla="*/ 7620000 w 8601075"/>
                  <a:gd name="connsiteY177" fmla="*/ 2324100 h 4333875"/>
                  <a:gd name="connsiteX178" fmla="*/ 7696200 w 8601075"/>
                  <a:gd name="connsiteY178" fmla="*/ 2314575 h 4333875"/>
                  <a:gd name="connsiteX179" fmla="*/ 7658100 w 8601075"/>
                  <a:gd name="connsiteY179" fmla="*/ 2257425 h 4333875"/>
                  <a:gd name="connsiteX180" fmla="*/ 7753350 w 8601075"/>
                  <a:gd name="connsiteY180" fmla="*/ 2057400 h 4333875"/>
                  <a:gd name="connsiteX181" fmla="*/ 7934325 w 8601075"/>
                  <a:gd name="connsiteY181" fmla="*/ 2028825 h 4333875"/>
                  <a:gd name="connsiteX182" fmla="*/ 7953375 w 8601075"/>
                  <a:gd name="connsiteY182" fmla="*/ 1952625 h 4333875"/>
                  <a:gd name="connsiteX183" fmla="*/ 7953375 w 8601075"/>
                  <a:gd name="connsiteY183" fmla="*/ 1952625 h 4333875"/>
                  <a:gd name="connsiteX184" fmla="*/ 8010525 w 8601075"/>
                  <a:gd name="connsiteY184" fmla="*/ 1895475 h 4333875"/>
                  <a:gd name="connsiteX185" fmla="*/ 8048625 w 8601075"/>
                  <a:gd name="connsiteY185" fmla="*/ 1971675 h 4333875"/>
                  <a:gd name="connsiteX186" fmla="*/ 8077200 w 8601075"/>
                  <a:gd name="connsiteY186" fmla="*/ 1885950 h 4333875"/>
                  <a:gd name="connsiteX187" fmla="*/ 8220075 w 8601075"/>
                  <a:gd name="connsiteY187" fmla="*/ 1847850 h 4333875"/>
                  <a:gd name="connsiteX188" fmla="*/ 8296275 w 8601075"/>
                  <a:gd name="connsiteY188" fmla="*/ 1809750 h 4333875"/>
                  <a:gd name="connsiteX189" fmla="*/ 8324850 w 8601075"/>
                  <a:gd name="connsiteY189" fmla="*/ 1790700 h 4333875"/>
                  <a:gd name="connsiteX190" fmla="*/ 8410575 w 8601075"/>
                  <a:gd name="connsiteY190" fmla="*/ 1847850 h 4333875"/>
                  <a:gd name="connsiteX191" fmla="*/ 8505825 w 8601075"/>
                  <a:gd name="connsiteY191" fmla="*/ 1781175 h 4333875"/>
                  <a:gd name="connsiteX192" fmla="*/ 8572500 w 8601075"/>
                  <a:gd name="connsiteY192" fmla="*/ 1809750 h 4333875"/>
                  <a:gd name="connsiteX193" fmla="*/ 8601075 w 8601075"/>
                  <a:gd name="connsiteY193" fmla="*/ 1704975 h 4333875"/>
                  <a:gd name="connsiteX194" fmla="*/ 8553450 w 8601075"/>
                  <a:gd name="connsiteY194" fmla="*/ 1676400 h 4333875"/>
                  <a:gd name="connsiteX195" fmla="*/ 8534400 w 8601075"/>
                  <a:gd name="connsiteY195" fmla="*/ 1609725 h 4333875"/>
                  <a:gd name="connsiteX196" fmla="*/ 8277225 w 8601075"/>
                  <a:gd name="connsiteY196" fmla="*/ 1409700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124825 w 8601075"/>
                  <a:gd name="connsiteY199" fmla="*/ 1352550 h 4333875"/>
                  <a:gd name="connsiteX200" fmla="*/ 7924800 w 8601075"/>
                  <a:gd name="connsiteY200" fmla="*/ 1362075 h 4333875"/>
                  <a:gd name="connsiteX201" fmla="*/ 7867650 w 8601075"/>
                  <a:gd name="connsiteY201" fmla="*/ 1457325 h 4333875"/>
                  <a:gd name="connsiteX202" fmla="*/ 7896225 w 8601075"/>
                  <a:gd name="connsiteY202" fmla="*/ 1476375 h 4333875"/>
                  <a:gd name="connsiteX203" fmla="*/ 7858125 w 8601075"/>
                  <a:gd name="connsiteY203" fmla="*/ 1533525 h 4333875"/>
                  <a:gd name="connsiteX204" fmla="*/ 7658100 w 8601075"/>
                  <a:gd name="connsiteY204" fmla="*/ 1447800 h 4333875"/>
                  <a:gd name="connsiteX205" fmla="*/ 7515225 w 8601075"/>
                  <a:gd name="connsiteY205" fmla="*/ 1495425 h 4333875"/>
                  <a:gd name="connsiteX206" fmla="*/ 7467600 w 8601075"/>
                  <a:gd name="connsiteY206" fmla="*/ 1581150 h 4333875"/>
                  <a:gd name="connsiteX207" fmla="*/ 7296150 w 8601075"/>
                  <a:gd name="connsiteY20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62250 w 8601075"/>
                  <a:gd name="connsiteY72" fmla="*/ 571500 h 4333875"/>
                  <a:gd name="connsiteX73" fmla="*/ 2800350 w 8601075"/>
                  <a:gd name="connsiteY73" fmla="*/ 628650 h 4333875"/>
                  <a:gd name="connsiteX74" fmla="*/ 2752725 w 8601075"/>
                  <a:gd name="connsiteY74" fmla="*/ 781050 h 4333875"/>
                  <a:gd name="connsiteX75" fmla="*/ 2686050 w 8601075"/>
                  <a:gd name="connsiteY75" fmla="*/ 857250 h 4333875"/>
                  <a:gd name="connsiteX76" fmla="*/ 2609850 w 8601075"/>
                  <a:gd name="connsiteY76" fmla="*/ 857250 h 4333875"/>
                  <a:gd name="connsiteX77" fmla="*/ 2514600 w 8601075"/>
                  <a:gd name="connsiteY77" fmla="*/ 914400 h 4333875"/>
                  <a:gd name="connsiteX78" fmla="*/ 2400300 w 8601075"/>
                  <a:gd name="connsiteY78" fmla="*/ 866775 h 4333875"/>
                  <a:gd name="connsiteX79" fmla="*/ 2305050 w 8601075"/>
                  <a:gd name="connsiteY79" fmla="*/ 809625 h 4333875"/>
                  <a:gd name="connsiteX80" fmla="*/ 2200275 w 8601075"/>
                  <a:gd name="connsiteY80" fmla="*/ 752475 h 4333875"/>
                  <a:gd name="connsiteX81" fmla="*/ 2105025 w 8601075"/>
                  <a:gd name="connsiteY81" fmla="*/ 762000 h 4333875"/>
                  <a:gd name="connsiteX82" fmla="*/ 1990725 w 8601075"/>
                  <a:gd name="connsiteY82" fmla="*/ 762000 h 4333875"/>
                  <a:gd name="connsiteX83" fmla="*/ 1885950 w 8601075"/>
                  <a:gd name="connsiteY83" fmla="*/ 742950 h 4333875"/>
                  <a:gd name="connsiteX84" fmla="*/ 1800225 w 8601075"/>
                  <a:gd name="connsiteY84" fmla="*/ 638175 h 4333875"/>
                  <a:gd name="connsiteX85" fmla="*/ 1809750 w 8601075"/>
                  <a:gd name="connsiteY85" fmla="*/ 495300 h 4333875"/>
                  <a:gd name="connsiteX86" fmla="*/ 1733550 w 8601075"/>
                  <a:gd name="connsiteY86" fmla="*/ 466725 h 4333875"/>
                  <a:gd name="connsiteX87" fmla="*/ 1485900 w 8601075"/>
                  <a:gd name="connsiteY87" fmla="*/ 419100 h 4333875"/>
                  <a:gd name="connsiteX88" fmla="*/ 1457325 w 8601075"/>
                  <a:gd name="connsiteY88" fmla="*/ 323850 h 4333875"/>
                  <a:gd name="connsiteX89" fmla="*/ 1457325 w 8601075"/>
                  <a:gd name="connsiteY89" fmla="*/ 323850 h 4333875"/>
                  <a:gd name="connsiteX90" fmla="*/ 1323975 w 8601075"/>
                  <a:gd name="connsiteY90" fmla="*/ 285750 h 4333875"/>
                  <a:gd name="connsiteX91" fmla="*/ 1266825 w 8601075"/>
                  <a:gd name="connsiteY91" fmla="*/ 352425 h 4333875"/>
                  <a:gd name="connsiteX92" fmla="*/ 1009650 w 8601075"/>
                  <a:gd name="connsiteY92" fmla="*/ 390525 h 4333875"/>
                  <a:gd name="connsiteX93" fmla="*/ 828675 w 8601075"/>
                  <a:gd name="connsiteY93" fmla="*/ 447675 h 4333875"/>
                  <a:gd name="connsiteX94" fmla="*/ 619125 w 8601075"/>
                  <a:gd name="connsiteY94" fmla="*/ 533400 h 4333875"/>
                  <a:gd name="connsiteX95" fmla="*/ 619125 w 8601075"/>
                  <a:gd name="connsiteY95" fmla="*/ 533400 h 4333875"/>
                  <a:gd name="connsiteX96" fmla="*/ 561975 w 8601075"/>
                  <a:gd name="connsiteY96" fmla="*/ 619125 h 4333875"/>
                  <a:gd name="connsiteX97" fmla="*/ 447675 w 8601075"/>
                  <a:gd name="connsiteY97" fmla="*/ 63817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295275 w 8601075"/>
                  <a:gd name="connsiteY100" fmla="*/ 657225 h 4333875"/>
                  <a:gd name="connsiteX101" fmla="*/ 180975 w 8601075"/>
                  <a:gd name="connsiteY101" fmla="*/ 638175 h 4333875"/>
                  <a:gd name="connsiteX102" fmla="*/ 180975 w 8601075"/>
                  <a:gd name="connsiteY102" fmla="*/ 638175 h 4333875"/>
                  <a:gd name="connsiteX103" fmla="*/ 57150 w 8601075"/>
                  <a:gd name="connsiteY103" fmla="*/ 733425 h 4333875"/>
                  <a:gd name="connsiteX104" fmla="*/ 19050 w 8601075"/>
                  <a:gd name="connsiteY104" fmla="*/ 790575 h 4333875"/>
                  <a:gd name="connsiteX105" fmla="*/ 0 w 8601075"/>
                  <a:gd name="connsiteY105" fmla="*/ 876300 h 4333875"/>
                  <a:gd name="connsiteX106" fmla="*/ 57150 w 8601075"/>
                  <a:gd name="connsiteY106" fmla="*/ 923925 h 4333875"/>
                  <a:gd name="connsiteX107" fmla="*/ 57150 w 8601075"/>
                  <a:gd name="connsiteY107" fmla="*/ 923925 h 4333875"/>
                  <a:gd name="connsiteX108" fmla="*/ 209550 w 8601075"/>
                  <a:gd name="connsiteY108" fmla="*/ 1114425 h 4333875"/>
                  <a:gd name="connsiteX109" fmla="*/ 209550 w 8601075"/>
                  <a:gd name="connsiteY109" fmla="*/ 1114425 h 4333875"/>
                  <a:gd name="connsiteX110" fmla="*/ 266700 w 8601075"/>
                  <a:gd name="connsiteY110" fmla="*/ 1295400 h 4333875"/>
                  <a:gd name="connsiteX111" fmla="*/ 409575 w 8601075"/>
                  <a:gd name="connsiteY111" fmla="*/ 1276350 h 4333875"/>
                  <a:gd name="connsiteX112" fmla="*/ 466725 w 8601075"/>
                  <a:gd name="connsiteY112" fmla="*/ 1362075 h 4333875"/>
                  <a:gd name="connsiteX113" fmla="*/ 542925 w 8601075"/>
                  <a:gd name="connsiteY113" fmla="*/ 1428750 h 4333875"/>
                  <a:gd name="connsiteX114" fmla="*/ 628650 w 8601075"/>
                  <a:gd name="connsiteY114" fmla="*/ 1571625 h 4333875"/>
                  <a:gd name="connsiteX115" fmla="*/ 628650 w 8601075"/>
                  <a:gd name="connsiteY115" fmla="*/ 1704975 h 4333875"/>
                  <a:gd name="connsiteX116" fmla="*/ 676275 w 8601075"/>
                  <a:gd name="connsiteY116" fmla="*/ 1771650 h 4333875"/>
                  <a:gd name="connsiteX117" fmla="*/ 657225 w 8601075"/>
                  <a:gd name="connsiteY117" fmla="*/ 2000250 h 4333875"/>
                  <a:gd name="connsiteX118" fmla="*/ 619125 w 8601075"/>
                  <a:gd name="connsiteY118" fmla="*/ 2095500 h 4333875"/>
                  <a:gd name="connsiteX119" fmla="*/ 542925 w 8601075"/>
                  <a:gd name="connsiteY119" fmla="*/ 2228850 h 4333875"/>
                  <a:gd name="connsiteX120" fmla="*/ 485775 w 8601075"/>
                  <a:gd name="connsiteY120" fmla="*/ 2362200 h 4333875"/>
                  <a:gd name="connsiteX121" fmla="*/ 552450 w 8601075"/>
                  <a:gd name="connsiteY121" fmla="*/ 2486025 h 4333875"/>
                  <a:gd name="connsiteX122" fmla="*/ 771525 w 8601075"/>
                  <a:gd name="connsiteY122" fmla="*/ 2571750 h 4333875"/>
                  <a:gd name="connsiteX123" fmla="*/ 866775 w 8601075"/>
                  <a:gd name="connsiteY123" fmla="*/ 2571750 h 4333875"/>
                  <a:gd name="connsiteX124" fmla="*/ 914400 w 8601075"/>
                  <a:gd name="connsiteY124" fmla="*/ 2638425 h 4333875"/>
                  <a:gd name="connsiteX125" fmla="*/ 1066800 w 8601075"/>
                  <a:gd name="connsiteY125" fmla="*/ 2638425 h 4333875"/>
                  <a:gd name="connsiteX126" fmla="*/ 1285875 w 8601075"/>
                  <a:gd name="connsiteY126" fmla="*/ 2705100 h 4333875"/>
                  <a:gd name="connsiteX127" fmla="*/ 1438275 w 8601075"/>
                  <a:gd name="connsiteY127" fmla="*/ 2838450 h 4333875"/>
                  <a:gd name="connsiteX128" fmla="*/ 1485900 w 8601075"/>
                  <a:gd name="connsiteY128" fmla="*/ 2914650 h 4333875"/>
                  <a:gd name="connsiteX129" fmla="*/ 1657350 w 8601075"/>
                  <a:gd name="connsiteY129" fmla="*/ 3038475 h 4333875"/>
                  <a:gd name="connsiteX130" fmla="*/ 1752600 w 8601075"/>
                  <a:gd name="connsiteY130" fmla="*/ 3057525 h 4333875"/>
                  <a:gd name="connsiteX131" fmla="*/ 1724025 w 8601075"/>
                  <a:gd name="connsiteY131" fmla="*/ 3143250 h 4333875"/>
                  <a:gd name="connsiteX132" fmla="*/ 1724025 w 8601075"/>
                  <a:gd name="connsiteY132" fmla="*/ 3143250 h 4333875"/>
                  <a:gd name="connsiteX133" fmla="*/ 1781175 w 8601075"/>
                  <a:gd name="connsiteY133" fmla="*/ 3181350 h 4333875"/>
                  <a:gd name="connsiteX134" fmla="*/ 1819275 w 8601075"/>
                  <a:gd name="connsiteY134" fmla="*/ 3362325 h 4333875"/>
                  <a:gd name="connsiteX135" fmla="*/ 1828800 w 8601075"/>
                  <a:gd name="connsiteY135" fmla="*/ 3457575 h 4333875"/>
                  <a:gd name="connsiteX136" fmla="*/ 1971675 w 8601075"/>
                  <a:gd name="connsiteY136" fmla="*/ 3590925 h 4333875"/>
                  <a:gd name="connsiteX137" fmla="*/ 1990725 w 8601075"/>
                  <a:gd name="connsiteY137" fmla="*/ 3714750 h 4333875"/>
                  <a:gd name="connsiteX138" fmla="*/ 2200275 w 8601075"/>
                  <a:gd name="connsiteY138" fmla="*/ 3695700 h 4333875"/>
                  <a:gd name="connsiteX139" fmla="*/ 2886075 w 8601075"/>
                  <a:gd name="connsiteY139" fmla="*/ 3886200 h 4333875"/>
                  <a:gd name="connsiteX140" fmla="*/ 3038475 w 8601075"/>
                  <a:gd name="connsiteY140" fmla="*/ 3819525 h 4333875"/>
                  <a:gd name="connsiteX141" fmla="*/ 3105150 w 8601075"/>
                  <a:gd name="connsiteY141" fmla="*/ 3867150 h 4333875"/>
                  <a:gd name="connsiteX142" fmla="*/ 3181350 w 8601075"/>
                  <a:gd name="connsiteY142" fmla="*/ 3800475 h 4333875"/>
                  <a:gd name="connsiteX143" fmla="*/ 3590925 w 8601075"/>
                  <a:gd name="connsiteY143" fmla="*/ 3943350 h 4333875"/>
                  <a:gd name="connsiteX144" fmla="*/ 3686175 w 8601075"/>
                  <a:gd name="connsiteY144" fmla="*/ 4057650 h 4333875"/>
                  <a:gd name="connsiteX145" fmla="*/ 3838575 w 8601075"/>
                  <a:gd name="connsiteY145" fmla="*/ 4057650 h 4333875"/>
                  <a:gd name="connsiteX146" fmla="*/ 4162425 w 8601075"/>
                  <a:gd name="connsiteY146" fmla="*/ 4248150 h 4333875"/>
                  <a:gd name="connsiteX147" fmla="*/ 4391025 w 8601075"/>
                  <a:gd name="connsiteY147" fmla="*/ 4200525 h 4333875"/>
                  <a:gd name="connsiteX148" fmla="*/ 4410075 w 8601075"/>
                  <a:gd name="connsiteY148" fmla="*/ 4305300 h 4333875"/>
                  <a:gd name="connsiteX149" fmla="*/ 4505325 w 8601075"/>
                  <a:gd name="connsiteY149" fmla="*/ 4276725 h 4333875"/>
                  <a:gd name="connsiteX150" fmla="*/ 4572000 w 8601075"/>
                  <a:gd name="connsiteY150" fmla="*/ 4333875 h 4333875"/>
                  <a:gd name="connsiteX151" fmla="*/ 4591050 w 8601075"/>
                  <a:gd name="connsiteY151" fmla="*/ 4248150 h 4333875"/>
                  <a:gd name="connsiteX152" fmla="*/ 5295900 w 8601075"/>
                  <a:gd name="connsiteY152" fmla="*/ 3924300 h 4333875"/>
                  <a:gd name="connsiteX153" fmla="*/ 5353050 w 8601075"/>
                  <a:gd name="connsiteY153" fmla="*/ 3990975 h 4333875"/>
                  <a:gd name="connsiteX154" fmla="*/ 5524500 w 8601075"/>
                  <a:gd name="connsiteY154" fmla="*/ 3914775 h 4333875"/>
                  <a:gd name="connsiteX155" fmla="*/ 5667375 w 8601075"/>
                  <a:gd name="connsiteY155" fmla="*/ 3962400 h 4333875"/>
                  <a:gd name="connsiteX156" fmla="*/ 5753100 w 8601075"/>
                  <a:gd name="connsiteY156" fmla="*/ 3924300 h 4333875"/>
                  <a:gd name="connsiteX157" fmla="*/ 5905500 w 8601075"/>
                  <a:gd name="connsiteY157" fmla="*/ 3943350 h 4333875"/>
                  <a:gd name="connsiteX158" fmla="*/ 6000750 w 8601075"/>
                  <a:gd name="connsiteY158" fmla="*/ 3800475 h 4333875"/>
                  <a:gd name="connsiteX159" fmla="*/ 6153150 w 8601075"/>
                  <a:gd name="connsiteY159" fmla="*/ 3781425 h 4333875"/>
                  <a:gd name="connsiteX160" fmla="*/ 6257925 w 8601075"/>
                  <a:gd name="connsiteY160" fmla="*/ 3581400 h 4333875"/>
                  <a:gd name="connsiteX161" fmla="*/ 6448425 w 8601075"/>
                  <a:gd name="connsiteY161" fmla="*/ 3448050 h 4333875"/>
                  <a:gd name="connsiteX162" fmla="*/ 6581775 w 8601075"/>
                  <a:gd name="connsiteY162" fmla="*/ 3276600 h 4333875"/>
                  <a:gd name="connsiteX163" fmla="*/ 6496050 w 8601075"/>
                  <a:gd name="connsiteY163" fmla="*/ 3228975 h 4333875"/>
                  <a:gd name="connsiteX164" fmla="*/ 6438900 w 8601075"/>
                  <a:gd name="connsiteY164" fmla="*/ 3162300 h 4333875"/>
                  <a:gd name="connsiteX165" fmla="*/ 6419850 w 8601075"/>
                  <a:gd name="connsiteY165" fmla="*/ 3105150 h 4333875"/>
                  <a:gd name="connsiteX166" fmla="*/ 6362700 w 8601075"/>
                  <a:gd name="connsiteY166" fmla="*/ 3076575 h 4333875"/>
                  <a:gd name="connsiteX167" fmla="*/ 6410325 w 8601075"/>
                  <a:gd name="connsiteY167" fmla="*/ 3019425 h 4333875"/>
                  <a:gd name="connsiteX168" fmla="*/ 6438900 w 8601075"/>
                  <a:gd name="connsiteY168" fmla="*/ 2819400 h 4333875"/>
                  <a:gd name="connsiteX169" fmla="*/ 6496050 w 8601075"/>
                  <a:gd name="connsiteY169" fmla="*/ 2762250 h 4333875"/>
                  <a:gd name="connsiteX170" fmla="*/ 6657975 w 8601075"/>
                  <a:gd name="connsiteY170" fmla="*/ 2752725 h 4333875"/>
                  <a:gd name="connsiteX171" fmla="*/ 6781800 w 8601075"/>
                  <a:gd name="connsiteY171" fmla="*/ 2838450 h 4333875"/>
                  <a:gd name="connsiteX172" fmla="*/ 7010400 w 8601075"/>
                  <a:gd name="connsiteY172" fmla="*/ 2838450 h 4333875"/>
                  <a:gd name="connsiteX173" fmla="*/ 7162800 w 8601075"/>
                  <a:gd name="connsiteY173" fmla="*/ 2705100 h 4333875"/>
                  <a:gd name="connsiteX174" fmla="*/ 7229475 w 8601075"/>
                  <a:gd name="connsiteY174" fmla="*/ 2590800 h 4333875"/>
                  <a:gd name="connsiteX175" fmla="*/ 7248525 w 8601075"/>
                  <a:gd name="connsiteY175" fmla="*/ 2524125 h 4333875"/>
                  <a:gd name="connsiteX176" fmla="*/ 7372350 w 8601075"/>
                  <a:gd name="connsiteY176" fmla="*/ 2543175 h 4333875"/>
                  <a:gd name="connsiteX177" fmla="*/ 7553325 w 8601075"/>
                  <a:gd name="connsiteY177" fmla="*/ 2447925 h 4333875"/>
                  <a:gd name="connsiteX178" fmla="*/ 7620000 w 8601075"/>
                  <a:gd name="connsiteY178" fmla="*/ 2324100 h 4333875"/>
                  <a:gd name="connsiteX179" fmla="*/ 7696200 w 8601075"/>
                  <a:gd name="connsiteY179" fmla="*/ 2314575 h 4333875"/>
                  <a:gd name="connsiteX180" fmla="*/ 7658100 w 8601075"/>
                  <a:gd name="connsiteY180" fmla="*/ 2257425 h 4333875"/>
                  <a:gd name="connsiteX181" fmla="*/ 7753350 w 8601075"/>
                  <a:gd name="connsiteY181" fmla="*/ 2057400 h 4333875"/>
                  <a:gd name="connsiteX182" fmla="*/ 7934325 w 8601075"/>
                  <a:gd name="connsiteY182" fmla="*/ 2028825 h 4333875"/>
                  <a:gd name="connsiteX183" fmla="*/ 7953375 w 8601075"/>
                  <a:gd name="connsiteY183" fmla="*/ 1952625 h 4333875"/>
                  <a:gd name="connsiteX184" fmla="*/ 7953375 w 8601075"/>
                  <a:gd name="connsiteY184" fmla="*/ 1952625 h 4333875"/>
                  <a:gd name="connsiteX185" fmla="*/ 8010525 w 8601075"/>
                  <a:gd name="connsiteY185" fmla="*/ 1895475 h 4333875"/>
                  <a:gd name="connsiteX186" fmla="*/ 8048625 w 8601075"/>
                  <a:gd name="connsiteY186" fmla="*/ 1971675 h 4333875"/>
                  <a:gd name="connsiteX187" fmla="*/ 8077200 w 8601075"/>
                  <a:gd name="connsiteY187" fmla="*/ 1885950 h 4333875"/>
                  <a:gd name="connsiteX188" fmla="*/ 8220075 w 8601075"/>
                  <a:gd name="connsiteY188" fmla="*/ 1847850 h 4333875"/>
                  <a:gd name="connsiteX189" fmla="*/ 8296275 w 8601075"/>
                  <a:gd name="connsiteY189" fmla="*/ 1809750 h 4333875"/>
                  <a:gd name="connsiteX190" fmla="*/ 8324850 w 8601075"/>
                  <a:gd name="connsiteY190" fmla="*/ 1790700 h 4333875"/>
                  <a:gd name="connsiteX191" fmla="*/ 8410575 w 8601075"/>
                  <a:gd name="connsiteY191" fmla="*/ 1847850 h 4333875"/>
                  <a:gd name="connsiteX192" fmla="*/ 8505825 w 8601075"/>
                  <a:gd name="connsiteY192" fmla="*/ 1781175 h 4333875"/>
                  <a:gd name="connsiteX193" fmla="*/ 8572500 w 8601075"/>
                  <a:gd name="connsiteY193" fmla="*/ 1809750 h 4333875"/>
                  <a:gd name="connsiteX194" fmla="*/ 8601075 w 8601075"/>
                  <a:gd name="connsiteY194" fmla="*/ 1704975 h 4333875"/>
                  <a:gd name="connsiteX195" fmla="*/ 8553450 w 8601075"/>
                  <a:gd name="connsiteY195" fmla="*/ 1676400 h 4333875"/>
                  <a:gd name="connsiteX196" fmla="*/ 8534400 w 8601075"/>
                  <a:gd name="connsiteY196" fmla="*/ 1609725 h 4333875"/>
                  <a:gd name="connsiteX197" fmla="*/ 8277225 w 8601075"/>
                  <a:gd name="connsiteY197" fmla="*/ 1409700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124825 w 8601075"/>
                  <a:gd name="connsiteY200" fmla="*/ 1352550 h 4333875"/>
                  <a:gd name="connsiteX201" fmla="*/ 7924800 w 8601075"/>
                  <a:gd name="connsiteY201" fmla="*/ 1362075 h 4333875"/>
                  <a:gd name="connsiteX202" fmla="*/ 7867650 w 8601075"/>
                  <a:gd name="connsiteY202" fmla="*/ 1457325 h 4333875"/>
                  <a:gd name="connsiteX203" fmla="*/ 7896225 w 8601075"/>
                  <a:gd name="connsiteY203" fmla="*/ 1476375 h 4333875"/>
                  <a:gd name="connsiteX204" fmla="*/ 7858125 w 8601075"/>
                  <a:gd name="connsiteY204" fmla="*/ 1533525 h 4333875"/>
                  <a:gd name="connsiteX205" fmla="*/ 7658100 w 8601075"/>
                  <a:gd name="connsiteY205" fmla="*/ 1447800 h 4333875"/>
                  <a:gd name="connsiteX206" fmla="*/ 7515225 w 8601075"/>
                  <a:gd name="connsiteY206" fmla="*/ 1495425 h 4333875"/>
                  <a:gd name="connsiteX207" fmla="*/ 7467600 w 8601075"/>
                  <a:gd name="connsiteY207" fmla="*/ 1581150 h 4333875"/>
                  <a:gd name="connsiteX208" fmla="*/ 7296150 w 8601075"/>
                  <a:gd name="connsiteY20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62250 w 8601075"/>
                  <a:gd name="connsiteY73" fmla="*/ 571500 h 4333875"/>
                  <a:gd name="connsiteX74" fmla="*/ 2800350 w 8601075"/>
                  <a:gd name="connsiteY74" fmla="*/ 628650 h 4333875"/>
                  <a:gd name="connsiteX75" fmla="*/ 2752725 w 8601075"/>
                  <a:gd name="connsiteY75" fmla="*/ 781050 h 4333875"/>
                  <a:gd name="connsiteX76" fmla="*/ 2686050 w 8601075"/>
                  <a:gd name="connsiteY76" fmla="*/ 857250 h 4333875"/>
                  <a:gd name="connsiteX77" fmla="*/ 2609850 w 8601075"/>
                  <a:gd name="connsiteY77" fmla="*/ 857250 h 4333875"/>
                  <a:gd name="connsiteX78" fmla="*/ 2514600 w 8601075"/>
                  <a:gd name="connsiteY78" fmla="*/ 914400 h 4333875"/>
                  <a:gd name="connsiteX79" fmla="*/ 2400300 w 8601075"/>
                  <a:gd name="connsiteY79" fmla="*/ 866775 h 4333875"/>
                  <a:gd name="connsiteX80" fmla="*/ 2305050 w 8601075"/>
                  <a:gd name="connsiteY80" fmla="*/ 809625 h 4333875"/>
                  <a:gd name="connsiteX81" fmla="*/ 2200275 w 8601075"/>
                  <a:gd name="connsiteY81" fmla="*/ 752475 h 4333875"/>
                  <a:gd name="connsiteX82" fmla="*/ 2105025 w 8601075"/>
                  <a:gd name="connsiteY82" fmla="*/ 762000 h 4333875"/>
                  <a:gd name="connsiteX83" fmla="*/ 1990725 w 8601075"/>
                  <a:gd name="connsiteY83" fmla="*/ 762000 h 4333875"/>
                  <a:gd name="connsiteX84" fmla="*/ 1885950 w 8601075"/>
                  <a:gd name="connsiteY84" fmla="*/ 742950 h 4333875"/>
                  <a:gd name="connsiteX85" fmla="*/ 1800225 w 8601075"/>
                  <a:gd name="connsiteY85" fmla="*/ 638175 h 4333875"/>
                  <a:gd name="connsiteX86" fmla="*/ 1809750 w 8601075"/>
                  <a:gd name="connsiteY86" fmla="*/ 495300 h 4333875"/>
                  <a:gd name="connsiteX87" fmla="*/ 1733550 w 8601075"/>
                  <a:gd name="connsiteY87" fmla="*/ 466725 h 4333875"/>
                  <a:gd name="connsiteX88" fmla="*/ 1485900 w 8601075"/>
                  <a:gd name="connsiteY88" fmla="*/ 419100 h 4333875"/>
                  <a:gd name="connsiteX89" fmla="*/ 1457325 w 8601075"/>
                  <a:gd name="connsiteY89" fmla="*/ 323850 h 4333875"/>
                  <a:gd name="connsiteX90" fmla="*/ 1457325 w 8601075"/>
                  <a:gd name="connsiteY90" fmla="*/ 323850 h 4333875"/>
                  <a:gd name="connsiteX91" fmla="*/ 1323975 w 8601075"/>
                  <a:gd name="connsiteY91" fmla="*/ 285750 h 4333875"/>
                  <a:gd name="connsiteX92" fmla="*/ 1266825 w 8601075"/>
                  <a:gd name="connsiteY92" fmla="*/ 352425 h 4333875"/>
                  <a:gd name="connsiteX93" fmla="*/ 1009650 w 8601075"/>
                  <a:gd name="connsiteY93" fmla="*/ 390525 h 4333875"/>
                  <a:gd name="connsiteX94" fmla="*/ 828675 w 8601075"/>
                  <a:gd name="connsiteY94" fmla="*/ 447675 h 4333875"/>
                  <a:gd name="connsiteX95" fmla="*/ 619125 w 8601075"/>
                  <a:gd name="connsiteY95" fmla="*/ 533400 h 4333875"/>
                  <a:gd name="connsiteX96" fmla="*/ 619125 w 8601075"/>
                  <a:gd name="connsiteY96" fmla="*/ 533400 h 4333875"/>
                  <a:gd name="connsiteX97" fmla="*/ 561975 w 8601075"/>
                  <a:gd name="connsiteY97" fmla="*/ 61912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295275 w 8601075"/>
                  <a:gd name="connsiteY101" fmla="*/ 657225 h 4333875"/>
                  <a:gd name="connsiteX102" fmla="*/ 180975 w 8601075"/>
                  <a:gd name="connsiteY102" fmla="*/ 638175 h 4333875"/>
                  <a:gd name="connsiteX103" fmla="*/ 180975 w 8601075"/>
                  <a:gd name="connsiteY103" fmla="*/ 638175 h 4333875"/>
                  <a:gd name="connsiteX104" fmla="*/ 57150 w 8601075"/>
                  <a:gd name="connsiteY104" fmla="*/ 733425 h 4333875"/>
                  <a:gd name="connsiteX105" fmla="*/ 19050 w 8601075"/>
                  <a:gd name="connsiteY105" fmla="*/ 790575 h 4333875"/>
                  <a:gd name="connsiteX106" fmla="*/ 0 w 8601075"/>
                  <a:gd name="connsiteY106" fmla="*/ 876300 h 4333875"/>
                  <a:gd name="connsiteX107" fmla="*/ 57150 w 8601075"/>
                  <a:gd name="connsiteY107" fmla="*/ 923925 h 4333875"/>
                  <a:gd name="connsiteX108" fmla="*/ 57150 w 8601075"/>
                  <a:gd name="connsiteY108" fmla="*/ 923925 h 4333875"/>
                  <a:gd name="connsiteX109" fmla="*/ 209550 w 8601075"/>
                  <a:gd name="connsiteY109" fmla="*/ 1114425 h 4333875"/>
                  <a:gd name="connsiteX110" fmla="*/ 209550 w 8601075"/>
                  <a:gd name="connsiteY110" fmla="*/ 1114425 h 4333875"/>
                  <a:gd name="connsiteX111" fmla="*/ 266700 w 8601075"/>
                  <a:gd name="connsiteY111" fmla="*/ 1295400 h 4333875"/>
                  <a:gd name="connsiteX112" fmla="*/ 409575 w 8601075"/>
                  <a:gd name="connsiteY112" fmla="*/ 1276350 h 4333875"/>
                  <a:gd name="connsiteX113" fmla="*/ 466725 w 8601075"/>
                  <a:gd name="connsiteY113" fmla="*/ 1362075 h 4333875"/>
                  <a:gd name="connsiteX114" fmla="*/ 542925 w 8601075"/>
                  <a:gd name="connsiteY114" fmla="*/ 1428750 h 4333875"/>
                  <a:gd name="connsiteX115" fmla="*/ 628650 w 8601075"/>
                  <a:gd name="connsiteY115" fmla="*/ 1571625 h 4333875"/>
                  <a:gd name="connsiteX116" fmla="*/ 628650 w 8601075"/>
                  <a:gd name="connsiteY116" fmla="*/ 1704975 h 4333875"/>
                  <a:gd name="connsiteX117" fmla="*/ 676275 w 8601075"/>
                  <a:gd name="connsiteY117" fmla="*/ 1771650 h 4333875"/>
                  <a:gd name="connsiteX118" fmla="*/ 657225 w 8601075"/>
                  <a:gd name="connsiteY118" fmla="*/ 2000250 h 4333875"/>
                  <a:gd name="connsiteX119" fmla="*/ 619125 w 8601075"/>
                  <a:gd name="connsiteY119" fmla="*/ 2095500 h 4333875"/>
                  <a:gd name="connsiteX120" fmla="*/ 542925 w 8601075"/>
                  <a:gd name="connsiteY120" fmla="*/ 2228850 h 4333875"/>
                  <a:gd name="connsiteX121" fmla="*/ 485775 w 8601075"/>
                  <a:gd name="connsiteY121" fmla="*/ 2362200 h 4333875"/>
                  <a:gd name="connsiteX122" fmla="*/ 552450 w 8601075"/>
                  <a:gd name="connsiteY122" fmla="*/ 2486025 h 4333875"/>
                  <a:gd name="connsiteX123" fmla="*/ 771525 w 8601075"/>
                  <a:gd name="connsiteY123" fmla="*/ 2571750 h 4333875"/>
                  <a:gd name="connsiteX124" fmla="*/ 866775 w 8601075"/>
                  <a:gd name="connsiteY124" fmla="*/ 2571750 h 4333875"/>
                  <a:gd name="connsiteX125" fmla="*/ 914400 w 8601075"/>
                  <a:gd name="connsiteY125" fmla="*/ 2638425 h 4333875"/>
                  <a:gd name="connsiteX126" fmla="*/ 1066800 w 8601075"/>
                  <a:gd name="connsiteY126" fmla="*/ 2638425 h 4333875"/>
                  <a:gd name="connsiteX127" fmla="*/ 1285875 w 8601075"/>
                  <a:gd name="connsiteY127" fmla="*/ 2705100 h 4333875"/>
                  <a:gd name="connsiteX128" fmla="*/ 1438275 w 8601075"/>
                  <a:gd name="connsiteY128" fmla="*/ 2838450 h 4333875"/>
                  <a:gd name="connsiteX129" fmla="*/ 1485900 w 8601075"/>
                  <a:gd name="connsiteY129" fmla="*/ 2914650 h 4333875"/>
                  <a:gd name="connsiteX130" fmla="*/ 1657350 w 8601075"/>
                  <a:gd name="connsiteY130" fmla="*/ 3038475 h 4333875"/>
                  <a:gd name="connsiteX131" fmla="*/ 1752600 w 8601075"/>
                  <a:gd name="connsiteY131" fmla="*/ 3057525 h 4333875"/>
                  <a:gd name="connsiteX132" fmla="*/ 1724025 w 8601075"/>
                  <a:gd name="connsiteY132" fmla="*/ 3143250 h 4333875"/>
                  <a:gd name="connsiteX133" fmla="*/ 1724025 w 8601075"/>
                  <a:gd name="connsiteY133" fmla="*/ 3143250 h 4333875"/>
                  <a:gd name="connsiteX134" fmla="*/ 1781175 w 8601075"/>
                  <a:gd name="connsiteY134" fmla="*/ 3181350 h 4333875"/>
                  <a:gd name="connsiteX135" fmla="*/ 1819275 w 8601075"/>
                  <a:gd name="connsiteY135" fmla="*/ 3362325 h 4333875"/>
                  <a:gd name="connsiteX136" fmla="*/ 1828800 w 8601075"/>
                  <a:gd name="connsiteY136" fmla="*/ 3457575 h 4333875"/>
                  <a:gd name="connsiteX137" fmla="*/ 1971675 w 8601075"/>
                  <a:gd name="connsiteY137" fmla="*/ 3590925 h 4333875"/>
                  <a:gd name="connsiteX138" fmla="*/ 1990725 w 8601075"/>
                  <a:gd name="connsiteY138" fmla="*/ 3714750 h 4333875"/>
                  <a:gd name="connsiteX139" fmla="*/ 2200275 w 8601075"/>
                  <a:gd name="connsiteY139" fmla="*/ 3695700 h 4333875"/>
                  <a:gd name="connsiteX140" fmla="*/ 2886075 w 8601075"/>
                  <a:gd name="connsiteY140" fmla="*/ 3886200 h 4333875"/>
                  <a:gd name="connsiteX141" fmla="*/ 3038475 w 8601075"/>
                  <a:gd name="connsiteY141" fmla="*/ 3819525 h 4333875"/>
                  <a:gd name="connsiteX142" fmla="*/ 3105150 w 8601075"/>
                  <a:gd name="connsiteY142" fmla="*/ 3867150 h 4333875"/>
                  <a:gd name="connsiteX143" fmla="*/ 3181350 w 8601075"/>
                  <a:gd name="connsiteY143" fmla="*/ 3800475 h 4333875"/>
                  <a:gd name="connsiteX144" fmla="*/ 3590925 w 8601075"/>
                  <a:gd name="connsiteY144" fmla="*/ 3943350 h 4333875"/>
                  <a:gd name="connsiteX145" fmla="*/ 3686175 w 8601075"/>
                  <a:gd name="connsiteY145" fmla="*/ 4057650 h 4333875"/>
                  <a:gd name="connsiteX146" fmla="*/ 3838575 w 8601075"/>
                  <a:gd name="connsiteY146" fmla="*/ 4057650 h 4333875"/>
                  <a:gd name="connsiteX147" fmla="*/ 4162425 w 8601075"/>
                  <a:gd name="connsiteY147" fmla="*/ 4248150 h 4333875"/>
                  <a:gd name="connsiteX148" fmla="*/ 4391025 w 8601075"/>
                  <a:gd name="connsiteY148" fmla="*/ 4200525 h 4333875"/>
                  <a:gd name="connsiteX149" fmla="*/ 4410075 w 8601075"/>
                  <a:gd name="connsiteY149" fmla="*/ 4305300 h 4333875"/>
                  <a:gd name="connsiteX150" fmla="*/ 4505325 w 8601075"/>
                  <a:gd name="connsiteY150" fmla="*/ 4276725 h 4333875"/>
                  <a:gd name="connsiteX151" fmla="*/ 4572000 w 8601075"/>
                  <a:gd name="connsiteY151" fmla="*/ 4333875 h 4333875"/>
                  <a:gd name="connsiteX152" fmla="*/ 4591050 w 8601075"/>
                  <a:gd name="connsiteY152" fmla="*/ 4248150 h 4333875"/>
                  <a:gd name="connsiteX153" fmla="*/ 5295900 w 8601075"/>
                  <a:gd name="connsiteY153" fmla="*/ 3924300 h 4333875"/>
                  <a:gd name="connsiteX154" fmla="*/ 5353050 w 8601075"/>
                  <a:gd name="connsiteY154" fmla="*/ 3990975 h 4333875"/>
                  <a:gd name="connsiteX155" fmla="*/ 5524500 w 8601075"/>
                  <a:gd name="connsiteY155" fmla="*/ 3914775 h 4333875"/>
                  <a:gd name="connsiteX156" fmla="*/ 5667375 w 8601075"/>
                  <a:gd name="connsiteY156" fmla="*/ 3962400 h 4333875"/>
                  <a:gd name="connsiteX157" fmla="*/ 5753100 w 8601075"/>
                  <a:gd name="connsiteY157" fmla="*/ 3924300 h 4333875"/>
                  <a:gd name="connsiteX158" fmla="*/ 5905500 w 8601075"/>
                  <a:gd name="connsiteY158" fmla="*/ 3943350 h 4333875"/>
                  <a:gd name="connsiteX159" fmla="*/ 6000750 w 8601075"/>
                  <a:gd name="connsiteY159" fmla="*/ 3800475 h 4333875"/>
                  <a:gd name="connsiteX160" fmla="*/ 6153150 w 8601075"/>
                  <a:gd name="connsiteY160" fmla="*/ 3781425 h 4333875"/>
                  <a:gd name="connsiteX161" fmla="*/ 6257925 w 8601075"/>
                  <a:gd name="connsiteY161" fmla="*/ 3581400 h 4333875"/>
                  <a:gd name="connsiteX162" fmla="*/ 6448425 w 8601075"/>
                  <a:gd name="connsiteY162" fmla="*/ 3448050 h 4333875"/>
                  <a:gd name="connsiteX163" fmla="*/ 6581775 w 8601075"/>
                  <a:gd name="connsiteY163" fmla="*/ 3276600 h 4333875"/>
                  <a:gd name="connsiteX164" fmla="*/ 6496050 w 8601075"/>
                  <a:gd name="connsiteY164" fmla="*/ 3228975 h 4333875"/>
                  <a:gd name="connsiteX165" fmla="*/ 6438900 w 8601075"/>
                  <a:gd name="connsiteY165" fmla="*/ 3162300 h 4333875"/>
                  <a:gd name="connsiteX166" fmla="*/ 6419850 w 8601075"/>
                  <a:gd name="connsiteY166" fmla="*/ 3105150 h 4333875"/>
                  <a:gd name="connsiteX167" fmla="*/ 6362700 w 8601075"/>
                  <a:gd name="connsiteY167" fmla="*/ 3076575 h 4333875"/>
                  <a:gd name="connsiteX168" fmla="*/ 6410325 w 8601075"/>
                  <a:gd name="connsiteY168" fmla="*/ 3019425 h 4333875"/>
                  <a:gd name="connsiteX169" fmla="*/ 6438900 w 8601075"/>
                  <a:gd name="connsiteY169" fmla="*/ 2819400 h 4333875"/>
                  <a:gd name="connsiteX170" fmla="*/ 6496050 w 8601075"/>
                  <a:gd name="connsiteY170" fmla="*/ 2762250 h 4333875"/>
                  <a:gd name="connsiteX171" fmla="*/ 6657975 w 8601075"/>
                  <a:gd name="connsiteY171" fmla="*/ 2752725 h 4333875"/>
                  <a:gd name="connsiteX172" fmla="*/ 6781800 w 8601075"/>
                  <a:gd name="connsiteY172" fmla="*/ 2838450 h 4333875"/>
                  <a:gd name="connsiteX173" fmla="*/ 7010400 w 8601075"/>
                  <a:gd name="connsiteY173" fmla="*/ 2838450 h 4333875"/>
                  <a:gd name="connsiteX174" fmla="*/ 7162800 w 8601075"/>
                  <a:gd name="connsiteY174" fmla="*/ 2705100 h 4333875"/>
                  <a:gd name="connsiteX175" fmla="*/ 7229475 w 8601075"/>
                  <a:gd name="connsiteY175" fmla="*/ 2590800 h 4333875"/>
                  <a:gd name="connsiteX176" fmla="*/ 7248525 w 8601075"/>
                  <a:gd name="connsiteY176" fmla="*/ 2524125 h 4333875"/>
                  <a:gd name="connsiteX177" fmla="*/ 7372350 w 8601075"/>
                  <a:gd name="connsiteY177" fmla="*/ 2543175 h 4333875"/>
                  <a:gd name="connsiteX178" fmla="*/ 7553325 w 8601075"/>
                  <a:gd name="connsiteY178" fmla="*/ 2447925 h 4333875"/>
                  <a:gd name="connsiteX179" fmla="*/ 7620000 w 8601075"/>
                  <a:gd name="connsiteY179" fmla="*/ 2324100 h 4333875"/>
                  <a:gd name="connsiteX180" fmla="*/ 7696200 w 8601075"/>
                  <a:gd name="connsiteY180" fmla="*/ 2314575 h 4333875"/>
                  <a:gd name="connsiteX181" fmla="*/ 7658100 w 8601075"/>
                  <a:gd name="connsiteY181" fmla="*/ 2257425 h 4333875"/>
                  <a:gd name="connsiteX182" fmla="*/ 7753350 w 8601075"/>
                  <a:gd name="connsiteY182" fmla="*/ 2057400 h 4333875"/>
                  <a:gd name="connsiteX183" fmla="*/ 7934325 w 8601075"/>
                  <a:gd name="connsiteY183" fmla="*/ 2028825 h 4333875"/>
                  <a:gd name="connsiteX184" fmla="*/ 7953375 w 8601075"/>
                  <a:gd name="connsiteY184" fmla="*/ 1952625 h 4333875"/>
                  <a:gd name="connsiteX185" fmla="*/ 7953375 w 8601075"/>
                  <a:gd name="connsiteY185" fmla="*/ 1952625 h 4333875"/>
                  <a:gd name="connsiteX186" fmla="*/ 8010525 w 8601075"/>
                  <a:gd name="connsiteY186" fmla="*/ 1895475 h 4333875"/>
                  <a:gd name="connsiteX187" fmla="*/ 8048625 w 8601075"/>
                  <a:gd name="connsiteY187" fmla="*/ 1971675 h 4333875"/>
                  <a:gd name="connsiteX188" fmla="*/ 8077200 w 8601075"/>
                  <a:gd name="connsiteY188" fmla="*/ 1885950 h 4333875"/>
                  <a:gd name="connsiteX189" fmla="*/ 8220075 w 8601075"/>
                  <a:gd name="connsiteY189" fmla="*/ 1847850 h 4333875"/>
                  <a:gd name="connsiteX190" fmla="*/ 8296275 w 8601075"/>
                  <a:gd name="connsiteY190" fmla="*/ 1809750 h 4333875"/>
                  <a:gd name="connsiteX191" fmla="*/ 8324850 w 8601075"/>
                  <a:gd name="connsiteY191" fmla="*/ 1790700 h 4333875"/>
                  <a:gd name="connsiteX192" fmla="*/ 8410575 w 8601075"/>
                  <a:gd name="connsiteY192" fmla="*/ 1847850 h 4333875"/>
                  <a:gd name="connsiteX193" fmla="*/ 8505825 w 8601075"/>
                  <a:gd name="connsiteY193" fmla="*/ 1781175 h 4333875"/>
                  <a:gd name="connsiteX194" fmla="*/ 8572500 w 8601075"/>
                  <a:gd name="connsiteY194" fmla="*/ 1809750 h 4333875"/>
                  <a:gd name="connsiteX195" fmla="*/ 8601075 w 8601075"/>
                  <a:gd name="connsiteY195" fmla="*/ 1704975 h 4333875"/>
                  <a:gd name="connsiteX196" fmla="*/ 8553450 w 8601075"/>
                  <a:gd name="connsiteY196" fmla="*/ 1676400 h 4333875"/>
                  <a:gd name="connsiteX197" fmla="*/ 8534400 w 8601075"/>
                  <a:gd name="connsiteY197" fmla="*/ 1609725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124825 w 8601075"/>
                  <a:gd name="connsiteY201" fmla="*/ 1352550 h 4333875"/>
                  <a:gd name="connsiteX202" fmla="*/ 7924800 w 8601075"/>
                  <a:gd name="connsiteY202" fmla="*/ 1362075 h 4333875"/>
                  <a:gd name="connsiteX203" fmla="*/ 7867650 w 8601075"/>
                  <a:gd name="connsiteY203" fmla="*/ 1457325 h 4333875"/>
                  <a:gd name="connsiteX204" fmla="*/ 7896225 w 8601075"/>
                  <a:gd name="connsiteY204" fmla="*/ 1476375 h 4333875"/>
                  <a:gd name="connsiteX205" fmla="*/ 7858125 w 8601075"/>
                  <a:gd name="connsiteY205" fmla="*/ 1533525 h 4333875"/>
                  <a:gd name="connsiteX206" fmla="*/ 7658100 w 8601075"/>
                  <a:gd name="connsiteY206" fmla="*/ 1447800 h 4333875"/>
                  <a:gd name="connsiteX207" fmla="*/ 7515225 w 8601075"/>
                  <a:gd name="connsiteY207" fmla="*/ 1495425 h 4333875"/>
                  <a:gd name="connsiteX208" fmla="*/ 7467600 w 8601075"/>
                  <a:gd name="connsiteY208" fmla="*/ 1581150 h 4333875"/>
                  <a:gd name="connsiteX209" fmla="*/ 7296150 w 8601075"/>
                  <a:gd name="connsiteY20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800350 w 8601075"/>
                  <a:gd name="connsiteY74" fmla="*/ 628650 h 4333875"/>
                  <a:gd name="connsiteX75" fmla="*/ 2752725 w 8601075"/>
                  <a:gd name="connsiteY75" fmla="*/ 781050 h 4333875"/>
                  <a:gd name="connsiteX76" fmla="*/ 2686050 w 8601075"/>
                  <a:gd name="connsiteY76" fmla="*/ 857250 h 4333875"/>
                  <a:gd name="connsiteX77" fmla="*/ 2609850 w 8601075"/>
                  <a:gd name="connsiteY77" fmla="*/ 857250 h 4333875"/>
                  <a:gd name="connsiteX78" fmla="*/ 2514600 w 8601075"/>
                  <a:gd name="connsiteY78" fmla="*/ 914400 h 4333875"/>
                  <a:gd name="connsiteX79" fmla="*/ 2400300 w 8601075"/>
                  <a:gd name="connsiteY79" fmla="*/ 866775 h 4333875"/>
                  <a:gd name="connsiteX80" fmla="*/ 2305050 w 8601075"/>
                  <a:gd name="connsiteY80" fmla="*/ 809625 h 4333875"/>
                  <a:gd name="connsiteX81" fmla="*/ 2200275 w 8601075"/>
                  <a:gd name="connsiteY81" fmla="*/ 752475 h 4333875"/>
                  <a:gd name="connsiteX82" fmla="*/ 2105025 w 8601075"/>
                  <a:gd name="connsiteY82" fmla="*/ 762000 h 4333875"/>
                  <a:gd name="connsiteX83" fmla="*/ 1990725 w 8601075"/>
                  <a:gd name="connsiteY83" fmla="*/ 762000 h 4333875"/>
                  <a:gd name="connsiteX84" fmla="*/ 1885950 w 8601075"/>
                  <a:gd name="connsiteY84" fmla="*/ 742950 h 4333875"/>
                  <a:gd name="connsiteX85" fmla="*/ 1800225 w 8601075"/>
                  <a:gd name="connsiteY85" fmla="*/ 638175 h 4333875"/>
                  <a:gd name="connsiteX86" fmla="*/ 1809750 w 8601075"/>
                  <a:gd name="connsiteY86" fmla="*/ 495300 h 4333875"/>
                  <a:gd name="connsiteX87" fmla="*/ 1733550 w 8601075"/>
                  <a:gd name="connsiteY87" fmla="*/ 466725 h 4333875"/>
                  <a:gd name="connsiteX88" fmla="*/ 1485900 w 8601075"/>
                  <a:gd name="connsiteY88" fmla="*/ 419100 h 4333875"/>
                  <a:gd name="connsiteX89" fmla="*/ 1457325 w 8601075"/>
                  <a:gd name="connsiteY89" fmla="*/ 323850 h 4333875"/>
                  <a:gd name="connsiteX90" fmla="*/ 1457325 w 8601075"/>
                  <a:gd name="connsiteY90" fmla="*/ 323850 h 4333875"/>
                  <a:gd name="connsiteX91" fmla="*/ 1323975 w 8601075"/>
                  <a:gd name="connsiteY91" fmla="*/ 285750 h 4333875"/>
                  <a:gd name="connsiteX92" fmla="*/ 1266825 w 8601075"/>
                  <a:gd name="connsiteY92" fmla="*/ 352425 h 4333875"/>
                  <a:gd name="connsiteX93" fmla="*/ 1009650 w 8601075"/>
                  <a:gd name="connsiteY93" fmla="*/ 390525 h 4333875"/>
                  <a:gd name="connsiteX94" fmla="*/ 828675 w 8601075"/>
                  <a:gd name="connsiteY94" fmla="*/ 447675 h 4333875"/>
                  <a:gd name="connsiteX95" fmla="*/ 619125 w 8601075"/>
                  <a:gd name="connsiteY95" fmla="*/ 533400 h 4333875"/>
                  <a:gd name="connsiteX96" fmla="*/ 619125 w 8601075"/>
                  <a:gd name="connsiteY96" fmla="*/ 533400 h 4333875"/>
                  <a:gd name="connsiteX97" fmla="*/ 561975 w 8601075"/>
                  <a:gd name="connsiteY97" fmla="*/ 619125 h 4333875"/>
                  <a:gd name="connsiteX98" fmla="*/ 447675 w 8601075"/>
                  <a:gd name="connsiteY98" fmla="*/ 63817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295275 w 8601075"/>
                  <a:gd name="connsiteY101" fmla="*/ 657225 h 4333875"/>
                  <a:gd name="connsiteX102" fmla="*/ 180975 w 8601075"/>
                  <a:gd name="connsiteY102" fmla="*/ 638175 h 4333875"/>
                  <a:gd name="connsiteX103" fmla="*/ 180975 w 8601075"/>
                  <a:gd name="connsiteY103" fmla="*/ 638175 h 4333875"/>
                  <a:gd name="connsiteX104" fmla="*/ 57150 w 8601075"/>
                  <a:gd name="connsiteY104" fmla="*/ 733425 h 4333875"/>
                  <a:gd name="connsiteX105" fmla="*/ 19050 w 8601075"/>
                  <a:gd name="connsiteY105" fmla="*/ 790575 h 4333875"/>
                  <a:gd name="connsiteX106" fmla="*/ 0 w 8601075"/>
                  <a:gd name="connsiteY106" fmla="*/ 876300 h 4333875"/>
                  <a:gd name="connsiteX107" fmla="*/ 57150 w 8601075"/>
                  <a:gd name="connsiteY107" fmla="*/ 923925 h 4333875"/>
                  <a:gd name="connsiteX108" fmla="*/ 57150 w 8601075"/>
                  <a:gd name="connsiteY108" fmla="*/ 923925 h 4333875"/>
                  <a:gd name="connsiteX109" fmla="*/ 209550 w 8601075"/>
                  <a:gd name="connsiteY109" fmla="*/ 1114425 h 4333875"/>
                  <a:gd name="connsiteX110" fmla="*/ 209550 w 8601075"/>
                  <a:gd name="connsiteY110" fmla="*/ 1114425 h 4333875"/>
                  <a:gd name="connsiteX111" fmla="*/ 266700 w 8601075"/>
                  <a:gd name="connsiteY111" fmla="*/ 1295400 h 4333875"/>
                  <a:gd name="connsiteX112" fmla="*/ 409575 w 8601075"/>
                  <a:gd name="connsiteY112" fmla="*/ 1276350 h 4333875"/>
                  <a:gd name="connsiteX113" fmla="*/ 466725 w 8601075"/>
                  <a:gd name="connsiteY113" fmla="*/ 1362075 h 4333875"/>
                  <a:gd name="connsiteX114" fmla="*/ 542925 w 8601075"/>
                  <a:gd name="connsiteY114" fmla="*/ 1428750 h 4333875"/>
                  <a:gd name="connsiteX115" fmla="*/ 628650 w 8601075"/>
                  <a:gd name="connsiteY115" fmla="*/ 1571625 h 4333875"/>
                  <a:gd name="connsiteX116" fmla="*/ 628650 w 8601075"/>
                  <a:gd name="connsiteY116" fmla="*/ 1704975 h 4333875"/>
                  <a:gd name="connsiteX117" fmla="*/ 676275 w 8601075"/>
                  <a:gd name="connsiteY117" fmla="*/ 1771650 h 4333875"/>
                  <a:gd name="connsiteX118" fmla="*/ 657225 w 8601075"/>
                  <a:gd name="connsiteY118" fmla="*/ 2000250 h 4333875"/>
                  <a:gd name="connsiteX119" fmla="*/ 619125 w 8601075"/>
                  <a:gd name="connsiteY119" fmla="*/ 2095500 h 4333875"/>
                  <a:gd name="connsiteX120" fmla="*/ 542925 w 8601075"/>
                  <a:gd name="connsiteY120" fmla="*/ 2228850 h 4333875"/>
                  <a:gd name="connsiteX121" fmla="*/ 485775 w 8601075"/>
                  <a:gd name="connsiteY121" fmla="*/ 2362200 h 4333875"/>
                  <a:gd name="connsiteX122" fmla="*/ 552450 w 8601075"/>
                  <a:gd name="connsiteY122" fmla="*/ 2486025 h 4333875"/>
                  <a:gd name="connsiteX123" fmla="*/ 771525 w 8601075"/>
                  <a:gd name="connsiteY123" fmla="*/ 2571750 h 4333875"/>
                  <a:gd name="connsiteX124" fmla="*/ 866775 w 8601075"/>
                  <a:gd name="connsiteY124" fmla="*/ 2571750 h 4333875"/>
                  <a:gd name="connsiteX125" fmla="*/ 914400 w 8601075"/>
                  <a:gd name="connsiteY125" fmla="*/ 2638425 h 4333875"/>
                  <a:gd name="connsiteX126" fmla="*/ 1066800 w 8601075"/>
                  <a:gd name="connsiteY126" fmla="*/ 2638425 h 4333875"/>
                  <a:gd name="connsiteX127" fmla="*/ 1285875 w 8601075"/>
                  <a:gd name="connsiteY127" fmla="*/ 2705100 h 4333875"/>
                  <a:gd name="connsiteX128" fmla="*/ 1438275 w 8601075"/>
                  <a:gd name="connsiteY128" fmla="*/ 2838450 h 4333875"/>
                  <a:gd name="connsiteX129" fmla="*/ 1485900 w 8601075"/>
                  <a:gd name="connsiteY129" fmla="*/ 2914650 h 4333875"/>
                  <a:gd name="connsiteX130" fmla="*/ 1657350 w 8601075"/>
                  <a:gd name="connsiteY130" fmla="*/ 3038475 h 4333875"/>
                  <a:gd name="connsiteX131" fmla="*/ 1752600 w 8601075"/>
                  <a:gd name="connsiteY131" fmla="*/ 3057525 h 4333875"/>
                  <a:gd name="connsiteX132" fmla="*/ 1724025 w 8601075"/>
                  <a:gd name="connsiteY132" fmla="*/ 3143250 h 4333875"/>
                  <a:gd name="connsiteX133" fmla="*/ 1724025 w 8601075"/>
                  <a:gd name="connsiteY133" fmla="*/ 3143250 h 4333875"/>
                  <a:gd name="connsiteX134" fmla="*/ 1781175 w 8601075"/>
                  <a:gd name="connsiteY134" fmla="*/ 3181350 h 4333875"/>
                  <a:gd name="connsiteX135" fmla="*/ 1819275 w 8601075"/>
                  <a:gd name="connsiteY135" fmla="*/ 3362325 h 4333875"/>
                  <a:gd name="connsiteX136" fmla="*/ 1828800 w 8601075"/>
                  <a:gd name="connsiteY136" fmla="*/ 3457575 h 4333875"/>
                  <a:gd name="connsiteX137" fmla="*/ 1971675 w 8601075"/>
                  <a:gd name="connsiteY137" fmla="*/ 3590925 h 4333875"/>
                  <a:gd name="connsiteX138" fmla="*/ 1990725 w 8601075"/>
                  <a:gd name="connsiteY138" fmla="*/ 3714750 h 4333875"/>
                  <a:gd name="connsiteX139" fmla="*/ 2200275 w 8601075"/>
                  <a:gd name="connsiteY139" fmla="*/ 3695700 h 4333875"/>
                  <a:gd name="connsiteX140" fmla="*/ 2886075 w 8601075"/>
                  <a:gd name="connsiteY140" fmla="*/ 3886200 h 4333875"/>
                  <a:gd name="connsiteX141" fmla="*/ 3038475 w 8601075"/>
                  <a:gd name="connsiteY141" fmla="*/ 3819525 h 4333875"/>
                  <a:gd name="connsiteX142" fmla="*/ 3105150 w 8601075"/>
                  <a:gd name="connsiteY142" fmla="*/ 3867150 h 4333875"/>
                  <a:gd name="connsiteX143" fmla="*/ 3181350 w 8601075"/>
                  <a:gd name="connsiteY143" fmla="*/ 3800475 h 4333875"/>
                  <a:gd name="connsiteX144" fmla="*/ 3590925 w 8601075"/>
                  <a:gd name="connsiteY144" fmla="*/ 3943350 h 4333875"/>
                  <a:gd name="connsiteX145" fmla="*/ 3686175 w 8601075"/>
                  <a:gd name="connsiteY145" fmla="*/ 4057650 h 4333875"/>
                  <a:gd name="connsiteX146" fmla="*/ 3838575 w 8601075"/>
                  <a:gd name="connsiteY146" fmla="*/ 4057650 h 4333875"/>
                  <a:gd name="connsiteX147" fmla="*/ 4162425 w 8601075"/>
                  <a:gd name="connsiteY147" fmla="*/ 4248150 h 4333875"/>
                  <a:gd name="connsiteX148" fmla="*/ 4391025 w 8601075"/>
                  <a:gd name="connsiteY148" fmla="*/ 4200525 h 4333875"/>
                  <a:gd name="connsiteX149" fmla="*/ 4410075 w 8601075"/>
                  <a:gd name="connsiteY149" fmla="*/ 4305300 h 4333875"/>
                  <a:gd name="connsiteX150" fmla="*/ 4505325 w 8601075"/>
                  <a:gd name="connsiteY150" fmla="*/ 4276725 h 4333875"/>
                  <a:gd name="connsiteX151" fmla="*/ 4572000 w 8601075"/>
                  <a:gd name="connsiteY151" fmla="*/ 4333875 h 4333875"/>
                  <a:gd name="connsiteX152" fmla="*/ 4591050 w 8601075"/>
                  <a:gd name="connsiteY152" fmla="*/ 4248150 h 4333875"/>
                  <a:gd name="connsiteX153" fmla="*/ 5295900 w 8601075"/>
                  <a:gd name="connsiteY153" fmla="*/ 3924300 h 4333875"/>
                  <a:gd name="connsiteX154" fmla="*/ 5353050 w 8601075"/>
                  <a:gd name="connsiteY154" fmla="*/ 3990975 h 4333875"/>
                  <a:gd name="connsiteX155" fmla="*/ 5524500 w 8601075"/>
                  <a:gd name="connsiteY155" fmla="*/ 3914775 h 4333875"/>
                  <a:gd name="connsiteX156" fmla="*/ 5667375 w 8601075"/>
                  <a:gd name="connsiteY156" fmla="*/ 3962400 h 4333875"/>
                  <a:gd name="connsiteX157" fmla="*/ 5753100 w 8601075"/>
                  <a:gd name="connsiteY157" fmla="*/ 3924300 h 4333875"/>
                  <a:gd name="connsiteX158" fmla="*/ 5905500 w 8601075"/>
                  <a:gd name="connsiteY158" fmla="*/ 3943350 h 4333875"/>
                  <a:gd name="connsiteX159" fmla="*/ 6000750 w 8601075"/>
                  <a:gd name="connsiteY159" fmla="*/ 3800475 h 4333875"/>
                  <a:gd name="connsiteX160" fmla="*/ 6153150 w 8601075"/>
                  <a:gd name="connsiteY160" fmla="*/ 3781425 h 4333875"/>
                  <a:gd name="connsiteX161" fmla="*/ 6257925 w 8601075"/>
                  <a:gd name="connsiteY161" fmla="*/ 3581400 h 4333875"/>
                  <a:gd name="connsiteX162" fmla="*/ 6448425 w 8601075"/>
                  <a:gd name="connsiteY162" fmla="*/ 3448050 h 4333875"/>
                  <a:gd name="connsiteX163" fmla="*/ 6581775 w 8601075"/>
                  <a:gd name="connsiteY163" fmla="*/ 3276600 h 4333875"/>
                  <a:gd name="connsiteX164" fmla="*/ 6496050 w 8601075"/>
                  <a:gd name="connsiteY164" fmla="*/ 3228975 h 4333875"/>
                  <a:gd name="connsiteX165" fmla="*/ 6438900 w 8601075"/>
                  <a:gd name="connsiteY165" fmla="*/ 3162300 h 4333875"/>
                  <a:gd name="connsiteX166" fmla="*/ 6419850 w 8601075"/>
                  <a:gd name="connsiteY166" fmla="*/ 3105150 h 4333875"/>
                  <a:gd name="connsiteX167" fmla="*/ 6362700 w 8601075"/>
                  <a:gd name="connsiteY167" fmla="*/ 3076575 h 4333875"/>
                  <a:gd name="connsiteX168" fmla="*/ 6410325 w 8601075"/>
                  <a:gd name="connsiteY168" fmla="*/ 3019425 h 4333875"/>
                  <a:gd name="connsiteX169" fmla="*/ 6438900 w 8601075"/>
                  <a:gd name="connsiteY169" fmla="*/ 2819400 h 4333875"/>
                  <a:gd name="connsiteX170" fmla="*/ 6496050 w 8601075"/>
                  <a:gd name="connsiteY170" fmla="*/ 2762250 h 4333875"/>
                  <a:gd name="connsiteX171" fmla="*/ 6657975 w 8601075"/>
                  <a:gd name="connsiteY171" fmla="*/ 2752725 h 4333875"/>
                  <a:gd name="connsiteX172" fmla="*/ 6781800 w 8601075"/>
                  <a:gd name="connsiteY172" fmla="*/ 2838450 h 4333875"/>
                  <a:gd name="connsiteX173" fmla="*/ 7010400 w 8601075"/>
                  <a:gd name="connsiteY173" fmla="*/ 2838450 h 4333875"/>
                  <a:gd name="connsiteX174" fmla="*/ 7162800 w 8601075"/>
                  <a:gd name="connsiteY174" fmla="*/ 2705100 h 4333875"/>
                  <a:gd name="connsiteX175" fmla="*/ 7229475 w 8601075"/>
                  <a:gd name="connsiteY175" fmla="*/ 2590800 h 4333875"/>
                  <a:gd name="connsiteX176" fmla="*/ 7248525 w 8601075"/>
                  <a:gd name="connsiteY176" fmla="*/ 2524125 h 4333875"/>
                  <a:gd name="connsiteX177" fmla="*/ 7372350 w 8601075"/>
                  <a:gd name="connsiteY177" fmla="*/ 2543175 h 4333875"/>
                  <a:gd name="connsiteX178" fmla="*/ 7553325 w 8601075"/>
                  <a:gd name="connsiteY178" fmla="*/ 2447925 h 4333875"/>
                  <a:gd name="connsiteX179" fmla="*/ 7620000 w 8601075"/>
                  <a:gd name="connsiteY179" fmla="*/ 2324100 h 4333875"/>
                  <a:gd name="connsiteX180" fmla="*/ 7696200 w 8601075"/>
                  <a:gd name="connsiteY180" fmla="*/ 2314575 h 4333875"/>
                  <a:gd name="connsiteX181" fmla="*/ 7658100 w 8601075"/>
                  <a:gd name="connsiteY181" fmla="*/ 2257425 h 4333875"/>
                  <a:gd name="connsiteX182" fmla="*/ 7753350 w 8601075"/>
                  <a:gd name="connsiteY182" fmla="*/ 2057400 h 4333875"/>
                  <a:gd name="connsiteX183" fmla="*/ 7934325 w 8601075"/>
                  <a:gd name="connsiteY183" fmla="*/ 2028825 h 4333875"/>
                  <a:gd name="connsiteX184" fmla="*/ 7953375 w 8601075"/>
                  <a:gd name="connsiteY184" fmla="*/ 1952625 h 4333875"/>
                  <a:gd name="connsiteX185" fmla="*/ 7953375 w 8601075"/>
                  <a:gd name="connsiteY185" fmla="*/ 1952625 h 4333875"/>
                  <a:gd name="connsiteX186" fmla="*/ 8010525 w 8601075"/>
                  <a:gd name="connsiteY186" fmla="*/ 1895475 h 4333875"/>
                  <a:gd name="connsiteX187" fmla="*/ 8048625 w 8601075"/>
                  <a:gd name="connsiteY187" fmla="*/ 1971675 h 4333875"/>
                  <a:gd name="connsiteX188" fmla="*/ 8077200 w 8601075"/>
                  <a:gd name="connsiteY188" fmla="*/ 1885950 h 4333875"/>
                  <a:gd name="connsiteX189" fmla="*/ 8220075 w 8601075"/>
                  <a:gd name="connsiteY189" fmla="*/ 1847850 h 4333875"/>
                  <a:gd name="connsiteX190" fmla="*/ 8296275 w 8601075"/>
                  <a:gd name="connsiteY190" fmla="*/ 1809750 h 4333875"/>
                  <a:gd name="connsiteX191" fmla="*/ 8324850 w 8601075"/>
                  <a:gd name="connsiteY191" fmla="*/ 1790700 h 4333875"/>
                  <a:gd name="connsiteX192" fmla="*/ 8410575 w 8601075"/>
                  <a:gd name="connsiteY192" fmla="*/ 1847850 h 4333875"/>
                  <a:gd name="connsiteX193" fmla="*/ 8505825 w 8601075"/>
                  <a:gd name="connsiteY193" fmla="*/ 1781175 h 4333875"/>
                  <a:gd name="connsiteX194" fmla="*/ 8572500 w 8601075"/>
                  <a:gd name="connsiteY194" fmla="*/ 1809750 h 4333875"/>
                  <a:gd name="connsiteX195" fmla="*/ 8601075 w 8601075"/>
                  <a:gd name="connsiteY195" fmla="*/ 1704975 h 4333875"/>
                  <a:gd name="connsiteX196" fmla="*/ 8553450 w 8601075"/>
                  <a:gd name="connsiteY196" fmla="*/ 1676400 h 4333875"/>
                  <a:gd name="connsiteX197" fmla="*/ 8534400 w 8601075"/>
                  <a:gd name="connsiteY197" fmla="*/ 1609725 h 4333875"/>
                  <a:gd name="connsiteX198" fmla="*/ 8277225 w 8601075"/>
                  <a:gd name="connsiteY198" fmla="*/ 1409700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124825 w 8601075"/>
                  <a:gd name="connsiteY201" fmla="*/ 1352550 h 4333875"/>
                  <a:gd name="connsiteX202" fmla="*/ 7924800 w 8601075"/>
                  <a:gd name="connsiteY202" fmla="*/ 1362075 h 4333875"/>
                  <a:gd name="connsiteX203" fmla="*/ 7867650 w 8601075"/>
                  <a:gd name="connsiteY203" fmla="*/ 1457325 h 4333875"/>
                  <a:gd name="connsiteX204" fmla="*/ 7896225 w 8601075"/>
                  <a:gd name="connsiteY204" fmla="*/ 1476375 h 4333875"/>
                  <a:gd name="connsiteX205" fmla="*/ 7858125 w 8601075"/>
                  <a:gd name="connsiteY205" fmla="*/ 1533525 h 4333875"/>
                  <a:gd name="connsiteX206" fmla="*/ 7658100 w 8601075"/>
                  <a:gd name="connsiteY206" fmla="*/ 1447800 h 4333875"/>
                  <a:gd name="connsiteX207" fmla="*/ 7515225 w 8601075"/>
                  <a:gd name="connsiteY207" fmla="*/ 1495425 h 4333875"/>
                  <a:gd name="connsiteX208" fmla="*/ 7467600 w 8601075"/>
                  <a:gd name="connsiteY208" fmla="*/ 1581150 h 4333875"/>
                  <a:gd name="connsiteX209" fmla="*/ 7296150 w 8601075"/>
                  <a:gd name="connsiteY20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0350 w 8601075"/>
                  <a:gd name="connsiteY75" fmla="*/ 628650 h 4333875"/>
                  <a:gd name="connsiteX76" fmla="*/ 2752725 w 8601075"/>
                  <a:gd name="connsiteY76" fmla="*/ 781050 h 4333875"/>
                  <a:gd name="connsiteX77" fmla="*/ 2686050 w 8601075"/>
                  <a:gd name="connsiteY77" fmla="*/ 857250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6050 w 8601075"/>
                  <a:gd name="connsiteY77" fmla="*/ 857250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09850 w 8601075"/>
                  <a:gd name="connsiteY78" fmla="*/ 85725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26519 w 8601075"/>
                  <a:gd name="connsiteY78" fmla="*/ 838200 h 4333875"/>
                  <a:gd name="connsiteX79" fmla="*/ 2514600 w 8601075"/>
                  <a:gd name="connsiteY79" fmla="*/ 914400 h 4333875"/>
                  <a:gd name="connsiteX80" fmla="*/ 2400300 w 8601075"/>
                  <a:gd name="connsiteY80" fmla="*/ 866775 h 4333875"/>
                  <a:gd name="connsiteX81" fmla="*/ 2305050 w 8601075"/>
                  <a:gd name="connsiteY81" fmla="*/ 809625 h 4333875"/>
                  <a:gd name="connsiteX82" fmla="*/ 2200275 w 8601075"/>
                  <a:gd name="connsiteY82" fmla="*/ 752475 h 4333875"/>
                  <a:gd name="connsiteX83" fmla="*/ 2105025 w 8601075"/>
                  <a:gd name="connsiteY83" fmla="*/ 762000 h 4333875"/>
                  <a:gd name="connsiteX84" fmla="*/ 1990725 w 8601075"/>
                  <a:gd name="connsiteY84" fmla="*/ 762000 h 4333875"/>
                  <a:gd name="connsiteX85" fmla="*/ 1885950 w 8601075"/>
                  <a:gd name="connsiteY85" fmla="*/ 742950 h 4333875"/>
                  <a:gd name="connsiteX86" fmla="*/ 1800225 w 8601075"/>
                  <a:gd name="connsiteY86" fmla="*/ 638175 h 4333875"/>
                  <a:gd name="connsiteX87" fmla="*/ 1809750 w 8601075"/>
                  <a:gd name="connsiteY87" fmla="*/ 495300 h 4333875"/>
                  <a:gd name="connsiteX88" fmla="*/ 1733550 w 8601075"/>
                  <a:gd name="connsiteY88" fmla="*/ 466725 h 4333875"/>
                  <a:gd name="connsiteX89" fmla="*/ 1485900 w 8601075"/>
                  <a:gd name="connsiteY89" fmla="*/ 419100 h 4333875"/>
                  <a:gd name="connsiteX90" fmla="*/ 1457325 w 8601075"/>
                  <a:gd name="connsiteY90" fmla="*/ 323850 h 4333875"/>
                  <a:gd name="connsiteX91" fmla="*/ 1457325 w 8601075"/>
                  <a:gd name="connsiteY91" fmla="*/ 323850 h 4333875"/>
                  <a:gd name="connsiteX92" fmla="*/ 1323975 w 8601075"/>
                  <a:gd name="connsiteY92" fmla="*/ 285750 h 4333875"/>
                  <a:gd name="connsiteX93" fmla="*/ 1266825 w 8601075"/>
                  <a:gd name="connsiteY93" fmla="*/ 352425 h 4333875"/>
                  <a:gd name="connsiteX94" fmla="*/ 1009650 w 8601075"/>
                  <a:gd name="connsiteY94" fmla="*/ 390525 h 4333875"/>
                  <a:gd name="connsiteX95" fmla="*/ 828675 w 8601075"/>
                  <a:gd name="connsiteY95" fmla="*/ 447675 h 4333875"/>
                  <a:gd name="connsiteX96" fmla="*/ 619125 w 8601075"/>
                  <a:gd name="connsiteY96" fmla="*/ 533400 h 4333875"/>
                  <a:gd name="connsiteX97" fmla="*/ 619125 w 8601075"/>
                  <a:gd name="connsiteY97" fmla="*/ 533400 h 4333875"/>
                  <a:gd name="connsiteX98" fmla="*/ 561975 w 8601075"/>
                  <a:gd name="connsiteY98" fmla="*/ 619125 h 4333875"/>
                  <a:gd name="connsiteX99" fmla="*/ 447675 w 8601075"/>
                  <a:gd name="connsiteY99" fmla="*/ 63817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295275 w 8601075"/>
                  <a:gd name="connsiteY102" fmla="*/ 657225 h 4333875"/>
                  <a:gd name="connsiteX103" fmla="*/ 180975 w 8601075"/>
                  <a:gd name="connsiteY103" fmla="*/ 638175 h 4333875"/>
                  <a:gd name="connsiteX104" fmla="*/ 180975 w 8601075"/>
                  <a:gd name="connsiteY104" fmla="*/ 638175 h 4333875"/>
                  <a:gd name="connsiteX105" fmla="*/ 57150 w 8601075"/>
                  <a:gd name="connsiteY105" fmla="*/ 733425 h 4333875"/>
                  <a:gd name="connsiteX106" fmla="*/ 19050 w 8601075"/>
                  <a:gd name="connsiteY106" fmla="*/ 790575 h 4333875"/>
                  <a:gd name="connsiteX107" fmla="*/ 0 w 8601075"/>
                  <a:gd name="connsiteY107" fmla="*/ 876300 h 4333875"/>
                  <a:gd name="connsiteX108" fmla="*/ 57150 w 8601075"/>
                  <a:gd name="connsiteY108" fmla="*/ 923925 h 4333875"/>
                  <a:gd name="connsiteX109" fmla="*/ 57150 w 8601075"/>
                  <a:gd name="connsiteY109" fmla="*/ 923925 h 4333875"/>
                  <a:gd name="connsiteX110" fmla="*/ 209550 w 8601075"/>
                  <a:gd name="connsiteY110" fmla="*/ 1114425 h 4333875"/>
                  <a:gd name="connsiteX111" fmla="*/ 209550 w 8601075"/>
                  <a:gd name="connsiteY111" fmla="*/ 1114425 h 4333875"/>
                  <a:gd name="connsiteX112" fmla="*/ 266700 w 8601075"/>
                  <a:gd name="connsiteY112" fmla="*/ 1295400 h 4333875"/>
                  <a:gd name="connsiteX113" fmla="*/ 409575 w 8601075"/>
                  <a:gd name="connsiteY113" fmla="*/ 1276350 h 4333875"/>
                  <a:gd name="connsiteX114" fmla="*/ 466725 w 8601075"/>
                  <a:gd name="connsiteY114" fmla="*/ 1362075 h 4333875"/>
                  <a:gd name="connsiteX115" fmla="*/ 542925 w 8601075"/>
                  <a:gd name="connsiteY115" fmla="*/ 1428750 h 4333875"/>
                  <a:gd name="connsiteX116" fmla="*/ 628650 w 8601075"/>
                  <a:gd name="connsiteY116" fmla="*/ 1571625 h 4333875"/>
                  <a:gd name="connsiteX117" fmla="*/ 628650 w 8601075"/>
                  <a:gd name="connsiteY117" fmla="*/ 1704975 h 4333875"/>
                  <a:gd name="connsiteX118" fmla="*/ 676275 w 8601075"/>
                  <a:gd name="connsiteY118" fmla="*/ 1771650 h 4333875"/>
                  <a:gd name="connsiteX119" fmla="*/ 657225 w 8601075"/>
                  <a:gd name="connsiteY119" fmla="*/ 2000250 h 4333875"/>
                  <a:gd name="connsiteX120" fmla="*/ 619125 w 8601075"/>
                  <a:gd name="connsiteY120" fmla="*/ 2095500 h 4333875"/>
                  <a:gd name="connsiteX121" fmla="*/ 542925 w 8601075"/>
                  <a:gd name="connsiteY121" fmla="*/ 2228850 h 4333875"/>
                  <a:gd name="connsiteX122" fmla="*/ 485775 w 8601075"/>
                  <a:gd name="connsiteY122" fmla="*/ 2362200 h 4333875"/>
                  <a:gd name="connsiteX123" fmla="*/ 552450 w 8601075"/>
                  <a:gd name="connsiteY123" fmla="*/ 2486025 h 4333875"/>
                  <a:gd name="connsiteX124" fmla="*/ 771525 w 8601075"/>
                  <a:gd name="connsiteY124" fmla="*/ 2571750 h 4333875"/>
                  <a:gd name="connsiteX125" fmla="*/ 866775 w 8601075"/>
                  <a:gd name="connsiteY125" fmla="*/ 2571750 h 4333875"/>
                  <a:gd name="connsiteX126" fmla="*/ 914400 w 8601075"/>
                  <a:gd name="connsiteY126" fmla="*/ 2638425 h 4333875"/>
                  <a:gd name="connsiteX127" fmla="*/ 1066800 w 8601075"/>
                  <a:gd name="connsiteY127" fmla="*/ 2638425 h 4333875"/>
                  <a:gd name="connsiteX128" fmla="*/ 1285875 w 8601075"/>
                  <a:gd name="connsiteY128" fmla="*/ 2705100 h 4333875"/>
                  <a:gd name="connsiteX129" fmla="*/ 1438275 w 8601075"/>
                  <a:gd name="connsiteY129" fmla="*/ 2838450 h 4333875"/>
                  <a:gd name="connsiteX130" fmla="*/ 1485900 w 8601075"/>
                  <a:gd name="connsiteY130" fmla="*/ 2914650 h 4333875"/>
                  <a:gd name="connsiteX131" fmla="*/ 1657350 w 8601075"/>
                  <a:gd name="connsiteY131" fmla="*/ 3038475 h 4333875"/>
                  <a:gd name="connsiteX132" fmla="*/ 1752600 w 8601075"/>
                  <a:gd name="connsiteY132" fmla="*/ 3057525 h 4333875"/>
                  <a:gd name="connsiteX133" fmla="*/ 1724025 w 8601075"/>
                  <a:gd name="connsiteY133" fmla="*/ 3143250 h 4333875"/>
                  <a:gd name="connsiteX134" fmla="*/ 1724025 w 8601075"/>
                  <a:gd name="connsiteY134" fmla="*/ 3143250 h 4333875"/>
                  <a:gd name="connsiteX135" fmla="*/ 1781175 w 8601075"/>
                  <a:gd name="connsiteY135" fmla="*/ 3181350 h 4333875"/>
                  <a:gd name="connsiteX136" fmla="*/ 1819275 w 8601075"/>
                  <a:gd name="connsiteY136" fmla="*/ 3362325 h 4333875"/>
                  <a:gd name="connsiteX137" fmla="*/ 1828800 w 8601075"/>
                  <a:gd name="connsiteY137" fmla="*/ 3457575 h 4333875"/>
                  <a:gd name="connsiteX138" fmla="*/ 1971675 w 8601075"/>
                  <a:gd name="connsiteY138" fmla="*/ 3590925 h 4333875"/>
                  <a:gd name="connsiteX139" fmla="*/ 1990725 w 8601075"/>
                  <a:gd name="connsiteY139" fmla="*/ 3714750 h 4333875"/>
                  <a:gd name="connsiteX140" fmla="*/ 2200275 w 8601075"/>
                  <a:gd name="connsiteY140" fmla="*/ 3695700 h 4333875"/>
                  <a:gd name="connsiteX141" fmla="*/ 2886075 w 8601075"/>
                  <a:gd name="connsiteY141" fmla="*/ 3886200 h 4333875"/>
                  <a:gd name="connsiteX142" fmla="*/ 3038475 w 8601075"/>
                  <a:gd name="connsiteY142" fmla="*/ 3819525 h 4333875"/>
                  <a:gd name="connsiteX143" fmla="*/ 3105150 w 8601075"/>
                  <a:gd name="connsiteY143" fmla="*/ 3867150 h 4333875"/>
                  <a:gd name="connsiteX144" fmla="*/ 3181350 w 8601075"/>
                  <a:gd name="connsiteY144" fmla="*/ 3800475 h 4333875"/>
                  <a:gd name="connsiteX145" fmla="*/ 3590925 w 8601075"/>
                  <a:gd name="connsiteY145" fmla="*/ 3943350 h 4333875"/>
                  <a:gd name="connsiteX146" fmla="*/ 3686175 w 8601075"/>
                  <a:gd name="connsiteY146" fmla="*/ 4057650 h 4333875"/>
                  <a:gd name="connsiteX147" fmla="*/ 3838575 w 8601075"/>
                  <a:gd name="connsiteY147" fmla="*/ 4057650 h 4333875"/>
                  <a:gd name="connsiteX148" fmla="*/ 4162425 w 8601075"/>
                  <a:gd name="connsiteY148" fmla="*/ 4248150 h 4333875"/>
                  <a:gd name="connsiteX149" fmla="*/ 4391025 w 8601075"/>
                  <a:gd name="connsiteY149" fmla="*/ 4200525 h 4333875"/>
                  <a:gd name="connsiteX150" fmla="*/ 4410075 w 8601075"/>
                  <a:gd name="connsiteY150" fmla="*/ 4305300 h 4333875"/>
                  <a:gd name="connsiteX151" fmla="*/ 4505325 w 8601075"/>
                  <a:gd name="connsiteY151" fmla="*/ 4276725 h 4333875"/>
                  <a:gd name="connsiteX152" fmla="*/ 4572000 w 8601075"/>
                  <a:gd name="connsiteY152" fmla="*/ 4333875 h 4333875"/>
                  <a:gd name="connsiteX153" fmla="*/ 4591050 w 8601075"/>
                  <a:gd name="connsiteY153" fmla="*/ 4248150 h 4333875"/>
                  <a:gd name="connsiteX154" fmla="*/ 5295900 w 8601075"/>
                  <a:gd name="connsiteY154" fmla="*/ 3924300 h 4333875"/>
                  <a:gd name="connsiteX155" fmla="*/ 5353050 w 8601075"/>
                  <a:gd name="connsiteY155" fmla="*/ 3990975 h 4333875"/>
                  <a:gd name="connsiteX156" fmla="*/ 5524500 w 8601075"/>
                  <a:gd name="connsiteY156" fmla="*/ 3914775 h 4333875"/>
                  <a:gd name="connsiteX157" fmla="*/ 5667375 w 8601075"/>
                  <a:gd name="connsiteY157" fmla="*/ 3962400 h 4333875"/>
                  <a:gd name="connsiteX158" fmla="*/ 5753100 w 8601075"/>
                  <a:gd name="connsiteY158" fmla="*/ 3924300 h 4333875"/>
                  <a:gd name="connsiteX159" fmla="*/ 5905500 w 8601075"/>
                  <a:gd name="connsiteY159" fmla="*/ 3943350 h 4333875"/>
                  <a:gd name="connsiteX160" fmla="*/ 6000750 w 8601075"/>
                  <a:gd name="connsiteY160" fmla="*/ 3800475 h 4333875"/>
                  <a:gd name="connsiteX161" fmla="*/ 6153150 w 8601075"/>
                  <a:gd name="connsiteY161" fmla="*/ 3781425 h 4333875"/>
                  <a:gd name="connsiteX162" fmla="*/ 6257925 w 8601075"/>
                  <a:gd name="connsiteY162" fmla="*/ 3581400 h 4333875"/>
                  <a:gd name="connsiteX163" fmla="*/ 6448425 w 8601075"/>
                  <a:gd name="connsiteY163" fmla="*/ 3448050 h 4333875"/>
                  <a:gd name="connsiteX164" fmla="*/ 6581775 w 8601075"/>
                  <a:gd name="connsiteY164" fmla="*/ 3276600 h 4333875"/>
                  <a:gd name="connsiteX165" fmla="*/ 6496050 w 8601075"/>
                  <a:gd name="connsiteY165" fmla="*/ 3228975 h 4333875"/>
                  <a:gd name="connsiteX166" fmla="*/ 6438900 w 8601075"/>
                  <a:gd name="connsiteY166" fmla="*/ 3162300 h 4333875"/>
                  <a:gd name="connsiteX167" fmla="*/ 6419850 w 8601075"/>
                  <a:gd name="connsiteY167" fmla="*/ 3105150 h 4333875"/>
                  <a:gd name="connsiteX168" fmla="*/ 6362700 w 8601075"/>
                  <a:gd name="connsiteY168" fmla="*/ 3076575 h 4333875"/>
                  <a:gd name="connsiteX169" fmla="*/ 6410325 w 8601075"/>
                  <a:gd name="connsiteY169" fmla="*/ 3019425 h 4333875"/>
                  <a:gd name="connsiteX170" fmla="*/ 6438900 w 8601075"/>
                  <a:gd name="connsiteY170" fmla="*/ 2819400 h 4333875"/>
                  <a:gd name="connsiteX171" fmla="*/ 6496050 w 8601075"/>
                  <a:gd name="connsiteY171" fmla="*/ 2762250 h 4333875"/>
                  <a:gd name="connsiteX172" fmla="*/ 6657975 w 8601075"/>
                  <a:gd name="connsiteY172" fmla="*/ 2752725 h 4333875"/>
                  <a:gd name="connsiteX173" fmla="*/ 6781800 w 8601075"/>
                  <a:gd name="connsiteY173" fmla="*/ 2838450 h 4333875"/>
                  <a:gd name="connsiteX174" fmla="*/ 7010400 w 8601075"/>
                  <a:gd name="connsiteY174" fmla="*/ 2838450 h 4333875"/>
                  <a:gd name="connsiteX175" fmla="*/ 7162800 w 8601075"/>
                  <a:gd name="connsiteY175" fmla="*/ 2705100 h 4333875"/>
                  <a:gd name="connsiteX176" fmla="*/ 7229475 w 8601075"/>
                  <a:gd name="connsiteY176" fmla="*/ 2590800 h 4333875"/>
                  <a:gd name="connsiteX177" fmla="*/ 7248525 w 8601075"/>
                  <a:gd name="connsiteY177" fmla="*/ 2524125 h 4333875"/>
                  <a:gd name="connsiteX178" fmla="*/ 7372350 w 8601075"/>
                  <a:gd name="connsiteY178" fmla="*/ 2543175 h 4333875"/>
                  <a:gd name="connsiteX179" fmla="*/ 7553325 w 8601075"/>
                  <a:gd name="connsiteY179" fmla="*/ 2447925 h 4333875"/>
                  <a:gd name="connsiteX180" fmla="*/ 7620000 w 8601075"/>
                  <a:gd name="connsiteY180" fmla="*/ 2324100 h 4333875"/>
                  <a:gd name="connsiteX181" fmla="*/ 7696200 w 8601075"/>
                  <a:gd name="connsiteY181" fmla="*/ 2314575 h 4333875"/>
                  <a:gd name="connsiteX182" fmla="*/ 7658100 w 8601075"/>
                  <a:gd name="connsiteY182" fmla="*/ 2257425 h 4333875"/>
                  <a:gd name="connsiteX183" fmla="*/ 7753350 w 8601075"/>
                  <a:gd name="connsiteY183" fmla="*/ 2057400 h 4333875"/>
                  <a:gd name="connsiteX184" fmla="*/ 7934325 w 8601075"/>
                  <a:gd name="connsiteY184" fmla="*/ 2028825 h 4333875"/>
                  <a:gd name="connsiteX185" fmla="*/ 7953375 w 8601075"/>
                  <a:gd name="connsiteY185" fmla="*/ 1952625 h 4333875"/>
                  <a:gd name="connsiteX186" fmla="*/ 7953375 w 8601075"/>
                  <a:gd name="connsiteY186" fmla="*/ 1952625 h 4333875"/>
                  <a:gd name="connsiteX187" fmla="*/ 8010525 w 8601075"/>
                  <a:gd name="connsiteY187" fmla="*/ 1895475 h 4333875"/>
                  <a:gd name="connsiteX188" fmla="*/ 8048625 w 8601075"/>
                  <a:gd name="connsiteY188" fmla="*/ 1971675 h 4333875"/>
                  <a:gd name="connsiteX189" fmla="*/ 8077200 w 8601075"/>
                  <a:gd name="connsiteY189" fmla="*/ 1885950 h 4333875"/>
                  <a:gd name="connsiteX190" fmla="*/ 8220075 w 8601075"/>
                  <a:gd name="connsiteY190" fmla="*/ 1847850 h 4333875"/>
                  <a:gd name="connsiteX191" fmla="*/ 8296275 w 8601075"/>
                  <a:gd name="connsiteY191" fmla="*/ 1809750 h 4333875"/>
                  <a:gd name="connsiteX192" fmla="*/ 8324850 w 8601075"/>
                  <a:gd name="connsiteY192" fmla="*/ 1790700 h 4333875"/>
                  <a:gd name="connsiteX193" fmla="*/ 8410575 w 8601075"/>
                  <a:gd name="connsiteY193" fmla="*/ 1847850 h 4333875"/>
                  <a:gd name="connsiteX194" fmla="*/ 8505825 w 8601075"/>
                  <a:gd name="connsiteY194" fmla="*/ 1781175 h 4333875"/>
                  <a:gd name="connsiteX195" fmla="*/ 8572500 w 8601075"/>
                  <a:gd name="connsiteY195" fmla="*/ 1809750 h 4333875"/>
                  <a:gd name="connsiteX196" fmla="*/ 8601075 w 8601075"/>
                  <a:gd name="connsiteY196" fmla="*/ 1704975 h 4333875"/>
                  <a:gd name="connsiteX197" fmla="*/ 8553450 w 8601075"/>
                  <a:gd name="connsiteY197" fmla="*/ 1676400 h 4333875"/>
                  <a:gd name="connsiteX198" fmla="*/ 8534400 w 8601075"/>
                  <a:gd name="connsiteY198" fmla="*/ 1609725 h 4333875"/>
                  <a:gd name="connsiteX199" fmla="*/ 8277225 w 8601075"/>
                  <a:gd name="connsiteY199" fmla="*/ 1409700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124825 w 8601075"/>
                  <a:gd name="connsiteY202" fmla="*/ 1352550 h 4333875"/>
                  <a:gd name="connsiteX203" fmla="*/ 7924800 w 8601075"/>
                  <a:gd name="connsiteY203" fmla="*/ 1362075 h 4333875"/>
                  <a:gd name="connsiteX204" fmla="*/ 7867650 w 8601075"/>
                  <a:gd name="connsiteY204" fmla="*/ 1457325 h 4333875"/>
                  <a:gd name="connsiteX205" fmla="*/ 7896225 w 8601075"/>
                  <a:gd name="connsiteY205" fmla="*/ 1476375 h 4333875"/>
                  <a:gd name="connsiteX206" fmla="*/ 7858125 w 8601075"/>
                  <a:gd name="connsiteY206" fmla="*/ 1533525 h 4333875"/>
                  <a:gd name="connsiteX207" fmla="*/ 7658100 w 8601075"/>
                  <a:gd name="connsiteY207" fmla="*/ 1447800 h 4333875"/>
                  <a:gd name="connsiteX208" fmla="*/ 7515225 w 8601075"/>
                  <a:gd name="connsiteY208" fmla="*/ 1495425 h 4333875"/>
                  <a:gd name="connsiteX209" fmla="*/ 7467600 w 8601075"/>
                  <a:gd name="connsiteY209" fmla="*/ 1581150 h 4333875"/>
                  <a:gd name="connsiteX210" fmla="*/ 7296150 w 8601075"/>
                  <a:gd name="connsiteY21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26519 w 8601075"/>
                  <a:gd name="connsiteY78" fmla="*/ 838200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00300 w 8601075"/>
                  <a:gd name="connsiteY81" fmla="*/ 866775 h 4333875"/>
                  <a:gd name="connsiteX82" fmla="*/ 2305050 w 8601075"/>
                  <a:gd name="connsiteY82" fmla="*/ 809625 h 4333875"/>
                  <a:gd name="connsiteX83" fmla="*/ 2200275 w 8601075"/>
                  <a:gd name="connsiteY83" fmla="*/ 752475 h 4333875"/>
                  <a:gd name="connsiteX84" fmla="*/ 2105025 w 8601075"/>
                  <a:gd name="connsiteY84" fmla="*/ 762000 h 4333875"/>
                  <a:gd name="connsiteX85" fmla="*/ 1990725 w 8601075"/>
                  <a:gd name="connsiteY85" fmla="*/ 762000 h 4333875"/>
                  <a:gd name="connsiteX86" fmla="*/ 1885950 w 8601075"/>
                  <a:gd name="connsiteY86" fmla="*/ 742950 h 4333875"/>
                  <a:gd name="connsiteX87" fmla="*/ 1800225 w 8601075"/>
                  <a:gd name="connsiteY87" fmla="*/ 638175 h 4333875"/>
                  <a:gd name="connsiteX88" fmla="*/ 1809750 w 8601075"/>
                  <a:gd name="connsiteY88" fmla="*/ 495300 h 4333875"/>
                  <a:gd name="connsiteX89" fmla="*/ 1733550 w 8601075"/>
                  <a:gd name="connsiteY89" fmla="*/ 466725 h 4333875"/>
                  <a:gd name="connsiteX90" fmla="*/ 1485900 w 8601075"/>
                  <a:gd name="connsiteY90" fmla="*/ 419100 h 4333875"/>
                  <a:gd name="connsiteX91" fmla="*/ 1457325 w 8601075"/>
                  <a:gd name="connsiteY91" fmla="*/ 323850 h 4333875"/>
                  <a:gd name="connsiteX92" fmla="*/ 1457325 w 8601075"/>
                  <a:gd name="connsiteY92" fmla="*/ 323850 h 4333875"/>
                  <a:gd name="connsiteX93" fmla="*/ 1323975 w 8601075"/>
                  <a:gd name="connsiteY93" fmla="*/ 285750 h 4333875"/>
                  <a:gd name="connsiteX94" fmla="*/ 1266825 w 8601075"/>
                  <a:gd name="connsiteY94" fmla="*/ 352425 h 4333875"/>
                  <a:gd name="connsiteX95" fmla="*/ 1009650 w 8601075"/>
                  <a:gd name="connsiteY95" fmla="*/ 390525 h 4333875"/>
                  <a:gd name="connsiteX96" fmla="*/ 828675 w 8601075"/>
                  <a:gd name="connsiteY96" fmla="*/ 447675 h 4333875"/>
                  <a:gd name="connsiteX97" fmla="*/ 619125 w 8601075"/>
                  <a:gd name="connsiteY97" fmla="*/ 533400 h 4333875"/>
                  <a:gd name="connsiteX98" fmla="*/ 619125 w 8601075"/>
                  <a:gd name="connsiteY98" fmla="*/ 533400 h 4333875"/>
                  <a:gd name="connsiteX99" fmla="*/ 561975 w 8601075"/>
                  <a:gd name="connsiteY99" fmla="*/ 61912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295275 w 8601075"/>
                  <a:gd name="connsiteY103" fmla="*/ 657225 h 4333875"/>
                  <a:gd name="connsiteX104" fmla="*/ 180975 w 8601075"/>
                  <a:gd name="connsiteY104" fmla="*/ 638175 h 4333875"/>
                  <a:gd name="connsiteX105" fmla="*/ 180975 w 8601075"/>
                  <a:gd name="connsiteY105" fmla="*/ 638175 h 4333875"/>
                  <a:gd name="connsiteX106" fmla="*/ 57150 w 8601075"/>
                  <a:gd name="connsiteY106" fmla="*/ 733425 h 4333875"/>
                  <a:gd name="connsiteX107" fmla="*/ 19050 w 8601075"/>
                  <a:gd name="connsiteY107" fmla="*/ 790575 h 4333875"/>
                  <a:gd name="connsiteX108" fmla="*/ 0 w 8601075"/>
                  <a:gd name="connsiteY108" fmla="*/ 876300 h 4333875"/>
                  <a:gd name="connsiteX109" fmla="*/ 57150 w 8601075"/>
                  <a:gd name="connsiteY109" fmla="*/ 923925 h 4333875"/>
                  <a:gd name="connsiteX110" fmla="*/ 57150 w 8601075"/>
                  <a:gd name="connsiteY110" fmla="*/ 923925 h 4333875"/>
                  <a:gd name="connsiteX111" fmla="*/ 209550 w 8601075"/>
                  <a:gd name="connsiteY111" fmla="*/ 1114425 h 4333875"/>
                  <a:gd name="connsiteX112" fmla="*/ 209550 w 8601075"/>
                  <a:gd name="connsiteY112" fmla="*/ 1114425 h 4333875"/>
                  <a:gd name="connsiteX113" fmla="*/ 266700 w 8601075"/>
                  <a:gd name="connsiteY113" fmla="*/ 1295400 h 4333875"/>
                  <a:gd name="connsiteX114" fmla="*/ 409575 w 8601075"/>
                  <a:gd name="connsiteY114" fmla="*/ 1276350 h 4333875"/>
                  <a:gd name="connsiteX115" fmla="*/ 466725 w 8601075"/>
                  <a:gd name="connsiteY115" fmla="*/ 1362075 h 4333875"/>
                  <a:gd name="connsiteX116" fmla="*/ 542925 w 8601075"/>
                  <a:gd name="connsiteY116" fmla="*/ 1428750 h 4333875"/>
                  <a:gd name="connsiteX117" fmla="*/ 628650 w 8601075"/>
                  <a:gd name="connsiteY117" fmla="*/ 1571625 h 4333875"/>
                  <a:gd name="connsiteX118" fmla="*/ 628650 w 8601075"/>
                  <a:gd name="connsiteY118" fmla="*/ 1704975 h 4333875"/>
                  <a:gd name="connsiteX119" fmla="*/ 676275 w 8601075"/>
                  <a:gd name="connsiteY119" fmla="*/ 1771650 h 4333875"/>
                  <a:gd name="connsiteX120" fmla="*/ 657225 w 8601075"/>
                  <a:gd name="connsiteY120" fmla="*/ 2000250 h 4333875"/>
                  <a:gd name="connsiteX121" fmla="*/ 619125 w 8601075"/>
                  <a:gd name="connsiteY121" fmla="*/ 2095500 h 4333875"/>
                  <a:gd name="connsiteX122" fmla="*/ 542925 w 8601075"/>
                  <a:gd name="connsiteY122" fmla="*/ 2228850 h 4333875"/>
                  <a:gd name="connsiteX123" fmla="*/ 485775 w 8601075"/>
                  <a:gd name="connsiteY123" fmla="*/ 2362200 h 4333875"/>
                  <a:gd name="connsiteX124" fmla="*/ 552450 w 8601075"/>
                  <a:gd name="connsiteY124" fmla="*/ 2486025 h 4333875"/>
                  <a:gd name="connsiteX125" fmla="*/ 771525 w 8601075"/>
                  <a:gd name="connsiteY125" fmla="*/ 2571750 h 4333875"/>
                  <a:gd name="connsiteX126" fmla="*/ 866775 w 8601075"/>
                  <a:gd name="connsiteY126" fmla="*/ 2571750 h 4333875"/>
                  <a:gd name="connsiteX127" fmla="*/ 914400 w 8601075"/>
                  <a:gd name="connsiteY127" fmla="*/ 2638425 h 4333875"/>
                  <a:gd name="connsiteX128" fmla="*/ 1066800 w 8601075"/>
                  <a:gd name="connsiteY128" fmla="*/ 2638425 h 4333875"/>
                  <a:gd name="connsiteX129" fmla="*/ 1285875 w 8601075"/>
                  <a:gd name="connsiteY129" fmla="*/ 2705100 h 4333875"/>
                  <a:gd name="connsiteX130" fmla="*/ 1438275 w 8601075"/>
                  <a:gd name="connsiteY130" fmla="*/ 2838450 h 4333875"/>
                  <a:gd name="connsiteX131" fmla="*/ 1485900 w 8601075"/>
                  <a:gd name="connsiteY131" fmla="*/ 2914650 h 4333875"/>
                  <a:gd name="connsiteX132" fmla="*/ 1657350 w 8601075"/>
                  <a:gd name="connsiteY132" fmla="*/ 3038475 h 4333875"/>
                  <a:gd name="connsiteX133" fmla="*/ 1752600 w 8601075"/>
                  <a:gd name="connsiteY133" fmla="*/ 3057525 h 4333875"/>
                  <a:gd name="connsiteX134" fmla="*/ 1724025 w 8601075"/>
                  <a:gd name="connsiteY134" fmla="*/ 3143250 h 4333875"/>
                  <a:gd name="connsiteX135" fmla="*/ 1724025 w 8601075"/>
                  <a:gd name="connsiteY135" fmla="*/ 3143250 h 4333875"/>
                  <a:gd name="connsiteX136" fmla="*/ 1781175 w 8601075"/>
                  <a:gd name="connsiteY136" fmla="*/ 3181350 h 4333875"/>
                  <a:gd name="connsiteX137" fmla="*/ 1819275 w 8601075"/>
                  <a:gd name="connsiteY137" fmla="*/ 3362325 h 4333875"/>
                  <a:gd name="connsiteX138" fmla="*/ 1828800 w 8601075"/>
                  <a:gd name="connsiteY138" fmla="*/ 3457575 h 4333875"/>
                  <a:gd name="connsiteX139" fmla="*/ 1971675 w 8601075"/>
                  <a:gd name="connsiteY139" fmla="*/ 3590925 h 4333875"/>
                  <a:gd name="connsiteX140" fmla="*/ 1990725 w 8601075"/>
                  <a:gd name="connsiteY140" fmla="*/ 3714750 h 4333875"/>
                  <a:gd name="connsiteX141" fmla="*/ 2200275 w 8601075"/>
                  <a:gd name="connsiteY141" fmla="*/ 3695700 h 4333875"/>
                  <a:gd name="connsiteX142" fmla="*/ 2886075 w 8601075"/>
                  <a:gd name="connsiteY142" fmla="*/ 3886200 h 4333875"/>
                  <a:gd name="connsiteX143" fmla="*/ 3038475 w 8601075"/>
                  <a:gd name="connsiteY143" fmla="*/ 3819525 h 4333875"/>
                  <a:gd name="connsiteX144" fmla="*/ 3105150 w 8601075"/>
                  <a:gd name="connsiteY144" fmla="*/ 3867150 h 4333875"/>
                  <a:gd name="connsiteX145" fmla="*/ 3181350 w 8601075"/>
                  <a:gd name="connsiteY145" fmla="*/ 3800475 h 4333875"/>
                  <a:gd name="connsiteX146" fmla="*/ 3590925 w 8601075"/>
                  <a:gd name="connsiteY146" fmla="*/ 3943350 h 4333875"/>
                  <a:gd name="connsiteX147" fmla="*/ 3686175 w 8601075"/>
                  <a:gd name="connsiteY147" fmla="*/ 4057650 h 4333875"/>
                  <a:gd name="connsiteX148" fmla="*/ 3838575 w 8601075"/>
                  <a:gd name="connsiteY148" fmla="*/ 4057650 h 4333875"/>
                  <a:gd name="connsiteX149" fmla="*/ 4162425 w 8601075"/>
                  <a:gd name="connsiteY149" fmla="*/ 4248150 h 4333875"/>
                  <a:gd name="connsiteX150" fmla="*/ 4391025 w 8601075"/>
                  <a:gd name="connsiteY150" fmla="*/ 4200525 h 4333875"/>
                  <a:gd name="connsiteX151" fmla="*/ 4410075 w 8601075"/>
                  <a:gd name="connsiteY151" fmla="*/ 4305300 h 4333875"/>
                  <a:gd name="connsiteX152" fmla="*/ 4505325 w 8601075"/>
                  <a:gd name="connsiteY152" fmla="*/ 4276725 h 4333875"/>
                  <a:gd name="connsiteX153" fmla="*/ 4572000 w 8601075"/>
                  <a:gd name="connsiteY153" fmla="*/ 4333875 h 4333875"/>
                  <a:gd name="connsiteX154" fmla="*/ 4591050 w 8601075"/>
                  <a:gd name="connsiteY154" fmla="*/ 4248150 h 4333875"/>
                  <a:gd name="connsiteX155" fmla="*/ 5295900 w 8601075"/>
                  <a:gd name="connsiteY155" fmla="*/ 3924300 h 4333875"/>
                  <a:gd name="connsiteX156" fmla="*/ 5353050 w 8601075"/>
                  <a:gd name="connsiteY156" fmla="*/ 3990975 h 4333875"/>
                  <a:gd name="connsiteX157" fmla="*/ 5524500 w 8601075"/>
                  <a:gd name="connsiteY157" fmla="*/ 3914775 h 4333875"/>
                  <a:gd name="connsiteX158" fmla="*/ 5667375 w 8601075"/>
                  <a:gd name="connsiteY158" fmla="*/ 3962400 h 4333875"/>
                  <a:gd name="connsiteX159" fmla="*/ 5753100 w 8601075"/>
                  <a:gd name="connsiteY159" fmla="*/ 3924300 h 4333875"/>
                  <a:gd name="connsiteX160" fmla="*/ 5905500 w 8601075"/>
                  <a:gd name="connsiteY160" fmla="*/ 3943350 h 4333875"/>
                  <a:gd name="connsiteX161" fmla="*/ 6000750 w 8601075"/>
                  <a:gd name="connsiteY161" fmla="*/ 3800475 h 4333875"/>
                  <a:gd name="connsiteX162" fmla="*/ 6153150 w 8601075"/>
                  <a:gd name="connsiteY162" fmla="*/ 3781425 h 4333875"/>
                  <a:gd name="connsiteX163" fmla="*/ 6257925 w 8601075"/>
                  <a:gd name="connsiteY163" fmla="*/ 3581400 h 4333875"/>
                  <a:gd name="connsiteX164" fmla="*/ 6448425 w 8601075"/>
                  <a:gd name="connsiteY164" fmla="*/ 3448050 h 4333875"/>
                  <a:gd name="connsiteX165" fmla="*/ 6581775 w 8601075"/>
                  <a:gd name="connsiteY165" fmla="*/ 3276600 h 4333875"/>
                  <a:gd name="connsiteX166" fmla="*/ 6496050 w 8601075"/>
                  <a:gd name="connsiteY166" fmla="*/ 3228975 h 4333875"/>
                  <a:gd name="connsiteX167" fmla="*/ 6438900 w 8601075"/>
                  <a:gd name="connsiteY167" fmla="*/ 3162300 h 4333875"/>
                  <a:gd name="connsiteX168" fmla="*/ 6419850 w 8601075"/>
                  <a:gd name="connsiteY168" fmla="*/ 3105150 h 4333875"/>
                  <a:gd name="connsiteX169" fmla="*/ 6362700 w 8601075"/>
                  <a:gd name="connsiteY169" fmla="*/ 3076575 h 4333875"/>
                  <a:gd name="connsiteX170" fmla="*/ 6410325 w 8601075"/>
                  <a:gd name="connsiteY170" fmla="*/ 3019425 h 4333875"/>
                  <a:gd name="connsiteX171" fmla="*/ 6438900 w 8601075"/>
                  <a:gd name="connsiteY171" fmla="*/ 2819400 h 4333875"/>
                  <a:gd name="connsiteX172" fmla="*/ 6496050 w 8601075"/>
                  <a:gd name="connsiteY172" fmla="*/ 2762250 h 4333875"/>
                  <a:gd name="connsiteX173" fmla="*/ 6657975 w 8601075"/>
                  <a:gd name="connsiteY173" fmla="*/ 2752725 h 4333875"/>
                  <a:gd name="connsiteX174" fmla="*/ 6781800 w 8601075"/>
                  <a:gd name="connsiteY174" fmla="*/ 2838450 h 4333875"/>
                  <a:gd name="connsiteX175" fmla="*/ 7010400 w 8601075"/>
                  <a:gd name="connsiteY175" fmla="*/ 2838450 h 4333875"/>
                  <a:gd name="connsiteX176" fmla="*/ 7162800 w 8601075"/>
                  <a:gd name="connsiteY176" fmla="*/ 2705100 h 4333875"/>
                  <a:gd name="connsiteX177" fmla="*/ 7229475 w 8601075"/>
                  <a:gd name="connsiteY177" fmla="*/ 2590800 h 4333875"/>
                  <a:gd name="connsiteX178" fmla="*/ 7248525 w 8601075"/>
                  <a:gd name="connsiteY178" fmla="*/ 2524125 h 4333875"/>
                  <a:gd name="connsiteX179" fmla="*/ 7372350 w 8601075"/>
                  <a:gd name="connsiteY179" fmla="*/ 2543175 h 4333875"/>
                  <a:gd name="connsiteX180" fmla="*/ 7553325 w 8601075"/>
                  <a:gd name="connsiteY180" fmla="*/ 2447925 h 4333875"/>
                  <a:gd name="connsiteX181" fmla="*/ 7620000 w 8601075"/>
                  <a:gd name="connsiteY181" fmla="*/ 2324100 h 4333875"/>
                  <a:gd name="connsiteX182" fmla="*/ 7696200 w 8601075"/>
                  <a:gd name="connsiteY182" fmla="*/ 2314575 h 4333875"/>
                  <a:gd name="connsiteX183" fmla="*/ 7658100 w 8601075"/>
                  <a:gd name="connsiteY183" fmla="*/ 2257425 h 4333875"/>
                  <a:gd name="connsiteX184" fmla="*/ 7753350 w 8601075"/>
                  <a:gd name="connsiteY184" fmla="*/ 2057400 h 4333875"/>
                  <a:gd name="connsiteX185" fmla="*/ 7934325 w 8601075"/>
                  <a:gd name="connsiteY185" fmla="*/ 2028825 h 4333875"/>
                  <a:gd name="connsiteX186" fmla="*/ 7953375 w 8601075"/>
                  <a:gd name="connsiteY186" fmla="*/ 1952625 h 4333875"/>
                  <a:gd name="connsiteX187" fmla="*/ 7953375 w 8601075"/>
                  <a:gd name="connsiteY187" fmla="*/ 1952625 h 4333875"/>
                  <a:gd name="connsiteX188" fmla="*/ 8010525 w 8601075"/>
                  <a:gd name="connsiteY188" fmla="*/ 1895475 h 4333875"/>
                  <a:gd name="connsiteX189" fmla="*/ 8048625 w 8601075"/>
                  <a:gd name="connsiteY189" fmla="*/ 1971675 h 4333875"/>
                  <a:gd name="connsiteX190" fmla="*/ 8077200 w 8601075"/>
                  <a:gd name="connsiteY190" fmla="*/ 1885950 h 4333875"/>
                  <a:gd name="connsiteX191" fmla="*/ 8220075 w 8601075"/>
                  <a:gd name="connsiteY191" fmla="*/ 1847850 h 4333875"/>
                  <a:gd name="connsiteX192" fmla="*/ 8296275 w 8601075"/>
                  <a:gd name="connsiteY192" fmla="*/ 1809750 h 4333875"/>
                  <a:gd name="connsiteX193" fmla="*/ 8324850 w 8601075"/>
                  <a:gd name="connsiteY193" fmla="*/ 1790700 h 4333875"/>
                  <a:gd name="connsiteX194" fmla="*/ 8410575 w 8601075"/>
                  <a:gd name="connsiteY194" fmla="*/ 1847850 h 4333875"/>
                  <a:gd name="connsiteX195" fmla="*/ 8505825 w 8601075"/>
                  <a:gd name="connsiteY195" fmla="*/ 1781175 h 4333875"/>
                  <a:gd name="connsiteX196" fmla="*/ 8572500 w 8601075"/>
                  <a:gd name="connsiteY196" fmla="*/ 1809750 h 4333875"/>
                  <a:gd name="connsiteX197" fmla="*/ 8601075 w 8601075"/>
                  <a:gd name="connsiteY197" fmla="*/ 1704975 h 4333875"/>
                  <a:gd name="connsiteX198" fmla="*/ 8553450 w 8601075"/>
                  <a:gd name="connsiteY198" fmla="*/ 1676400 h 4333875"/>
                  <a:gd name="connsiteX199" fmla="*/ 8534400 w 8601075"/>
                  <a:gd name="connsiteY199" fmla="*/ 1609725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124825 w 8601075"/>
                  <a:gd name="connsiteY203" fmla="*/ 1352550 h 4333875"/>
                  <a:gd name="connsiteX204" fmla="*/ 7924800 w 8601075"/>
                  <a:gd name="connsiteY204" fmla="*/ 1362075 h 4333875"/>
                  <a:gd name="connsiteX205" fmla="*/ 7867650 w 8601075"/>
                  <a:gd name="connsiteY205" fmla="*/ 1457325 h 4333875"/>
                  <a:gd name="connsiteX206" fmla="*/ 7896225 w 8601075"/>
                  <a:gd name="connsiteY206" fmla="*/ 1476375 h 4333875"/>
                  <a:gd name="connsiteX207" fmla="*/ 7858125 w 8601075"/>
                  <a:gd name="connsiteY207" fmla="*/ 1533525 h 4333875"/>
                  <a:gd name="connsiteX208" fmla="*/ 7658100 w 8601075"/>
                  <a:gd name="connsiteY208" fmla="*/ 1447800 h 4333875"/>
                  <a:gd name="connsiteX209" fmla="*/ 7515225 w 8601075"/>
                  <a:gd name="connsiteY209" fmla="*/ 1495425 h 4333875"/>
                  <a:gd name="connsiteX210" fmla="*/ 7467600 w 8601075"/>
                  <a:gd name="connsiteY210" fmla="*/ 1581150 h 4333875"/>
                  <a:gd name="connsiteX211" fmla="*/ 7296150 w 8601075"/>
                  <a:gd name="connsiteY21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00300 w 8601075"/>
                  <a:gd name="connsiteY81" fmla="*/ 866775 h 4333875"/>
                  <a:gd name="connsiteX82" fmla="*/ 2305050 w 8601075"/>
                  <a:gd name="connsiteY82" fmla="*/ 809625 h 4333875"/>
                  <a:gd name="connsiteX83" fmla="*/ 2200275 w 8601075"/>
                  <a:gd name="connsiteY83" fmla="*/ 752475 h 4333875"/>
                  <a:gd name="connsiteX84" fmla="*/ 2105025 w 8601075"/>
                  <a:gd name="connsiteY84" fmla="*/ 762000 h 4333875"/>
                  <a:gd name="connsiteX85" fmla="*/ 1990725 w 8601075"/>
                  <a:gd name="connsiteY85" fmla="*/ 762000 h 4333875"/>
                  <a:gd name="connsiteX86" fmla="*/ 1885950 w 8601075"/>
                  <a:gd name="connsiteY86" fmla="*/ 742950 h 4333875"/>
                  <a:gd name="connsiteX87" fmla="*/ 1800225 w 8601075"/>
                  <a:gd name="connsiteY87" fmla="*/ 638175 h 4333875"/>
                  <a:gd name="connsiteX88" fmla="*/ 1809750 w 8601075"/>
                  <a:gd name="connsiteY88" fmla="*/ 495300 h 4333875"/>
                  <a:gd name="connsiteX89" fmla="*/ 1733550 w 8601075"/>
                  <a:gd name="connsiteY89" fmla="*/ 466725 h 4333875"/>
                  <a:gd name="connsiteX90" fmla="*/ 1485900 w 8601075"/>
                  <a:gd name="connsiteY90" fmla="*/ 419100 h 4333875"/>
                  <a:gd name="connsiteX91" fmla="*/ 1457325 w 8601075"/>
                  <a:gd name="connsiteY91" fmla="*/ 323850 h 4333875"/>
                  <a:gd name="connsiteX92" fmla="*/ 1457325 w 8601075"/>
                  <a:gd name="connsiteY92" fmla="*/ 323850 h 4333875"/>
                  <a:gd name="connsiteX93" fmla="*/ 1323975 w 8601075"/>
                  <a:gd name="connsiteY93" fmla="*/ 285750 h 4333875"/>
                  <a:gd name="connsiteX94" fmla="*/ 1266825 w 8601075"/>
                  <a:gd name="connsiteY94" fmla="*/ 352425 h 4333875"/>
                  <a:gd name="connsiteX95" fmla="*/ 1009650 w 8601075"/>
                  <a:gd name="connsiteY95" fmla="*/ 390525 h 4333875"/>
                  <a:gd name="connsiteX96" fmla="*/ 828675 w 8601075"/>
                  <a:gd name="connsiteY96" fmla="*/ 447675 h 4333875"/>
                  <a:gd name="connsiteX97" fmla="*/ 619125 w 8601075"/>
                  <a:gd name="connsiteY97" fmla="*/ 533400 h 4333875"/>
                  <a:gd name="connsiteX98" fmla="*/ 619125 w 8601075"/>
                  <a:gd name="connsiteY98" fmla="*/ 533400 h 4333875"/>
                  <a:gd name="connsiteX99" fmla="*/ 561975 w 8601075"/>
                  <a:gd name="connsiteY99" fmla="*/ 619125 h 4333875"/>
                  <a:gd name="connsiteX100" fmla="*/ 447675 w 8601075"/>
                  <a:gd name="connsiteY100" fmla="*/ 63817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295275 w 8601075"/>
                  <a:gd name="connsiteY103" fmla="*/ 657225 h 4333875"/>
                  <a:gd name="connsiteX104" fmla="*/ 180975 w 8601075"/>
                  <a:gd name="connsiteY104" fmla="*/ 638175 h 4333875"/>
                  <a:gd name="connsiteX105" fmla="*/ 180975 w 8601075"/>
                  <a:gd name="connsiteY105" fmla="*/ 638175 h 4333875"/>
                  <a:gd name="connsiteX106" fmla="*/ 57150 w 8601075"/>
                  <a:gd name="connsiteY106" fmla="*/ 733425 h 4333875"/>
                  <a:gd name="connsiteX107" fmla="*/ 19050 w 8601075"/>
                  <a:gd name="connsiteY107" fmla="*/ 790575 h 4333875"/>
                  <a:gd name="connsiteX108" fmla="*/ 0 w 8601075"/>
                  <a:gd name="connsiteY108" fmla="*/ 876300 h 4333875"/>
                  <a:gd name="connsiteX109" fmla="*/ 57150 w 8601075"/>
                  <a:gd name="connsiteY109" fmla="*/ 923925 h 4333875"/>
                  <a:gd name="connsiteX110" fmla="*/ 57150 w 8601075"/>
                  <a:gd name="connsiteY110" fmla="*/ 923925 h 4333875"/>
                  <a:gd name="connsiteX111" fmla="*/ 209550 w 8601075"/>
                  <a:gd name="connsiteY111" fmla="*/ 1114425 h 4333875"/>
                  <a:gd name="connsiteX112" fmla="*/ 209550 w 8601075"/>
                  <a:gd name="connsiteY112" fmla="*/ 1114425 h 4333875"/>
                  <a:gd name="connsiteX113" fmla="*/ 266700 w 8601075"/>
                  <a:gd name="connsiteY113" fmla="*/ 1295400 h 4333875"/>
                  <a:gd name="connsiteX114" fmla="*/ 409575 w 8601075"/>
                  <a:gd name="connsiteY114" fmla="*/ 1276350 h 4333875"/>
                  <a:gd name="connsiteX115" fmla="*/ 466725 w 8601075"/>
                  <a:gd name="connsiteY115" fmla="*/ 1362075 h 4333875"/>
                  <a:gd name="connsiteX116" fmla="*/ 542925 w 8601075"/>
                  <a:gd name="connsiteY116" fmla="*/ 1428750 h 4333875"/>
                  <a:gd name="connsiteX117" fmla="*/ 628650 w 8601075"/>
                  <a:gd name="connsiteY117" fmla="*/ 1571625 h 4333875"/>
                  <a:gd name="connsiteX118" fmla="*/ 628650 w 8601075"/>
                  <a:gd name="connsiteY118" fmla="*/ 1704975 h 4333875"/>
                  <a:gd name="connsiteX119" fmla="*/ 676275 w 8601075"/>
                  <a:gd name="connsiteY119" fmla="*/ 1771650 h 4333875"/>
                  <a:gd name="connsiteX120" fmla="*/ 657225 w 8601075"/>
                  <a:gd name="connsiteY120" fmla="*/ 2000250 h 4333875"/>
                  <a:gd name="connsiteX121" fmla="*/ 619125 w 8601075"/>
                  <a:gd name="connsiteY121" fmla="*/ 2095500 h 4333875"/>
                  <a:gd name="connsiteX122" fmla="*/ 542925 w 8601075"/>
                  <a:gd name="connsiteY122" fmla="*/ 2228850 h 4333875"/>
                  <a:gd name="connsiteX123" fmla="*/ 485775 w 8601075"/>
                  <a:gd name="connsiteY123" fmla="*/ 2362200 h 4333875"/>
                  <a:gd name="connsiteX124" fmla="*/ 552450 w 8601075"/>
                  <a:gd name="connsiteY124" fmla="*/ 2486025 h 4333875"/>
                  <a:gd name="connsiteX125" fmla="*/ 771525 w 8601075"/>
                  <a:gd name="connsiteY125" fmla="*/ 2571750 h 4333875"/>
                  <a:gd name="connsiteX126" fmla="*/ 866775 w 8601075"/>
                  <a:gd name="connsiteY126" fmla="*/ 2571750 h 4333875"/>
                  <a:gd name="connsiteX127" fmla="*/ 914400 w 8601075"/>
                  <a:gd name="connsiteY127" fmla="*/ 2638425 h 4333875"/>
                  <a:gd name="connsiteX128" fmla="*/ 1066800 w 8601075"/>
                  <a:gd name="connsiteY128" fmla="*/ 2638425 h 4333875"/>
                  <a:gd name="connsiteX129" fmla="*/ 1285875 w 8601075"/>
                  <a:gd name="connsiteY129" fmla="*/ 2705100 h 4333875"/>
                  <a:gd name="connsiteX130" fmla="*/ 1438275 w 8601075"/>
                  <a:gd name="connsiteY130" fmla="*/ 2838450 h 4333875"/>
                  <a:gd name="connsiteX131" fmla="*/ 1485900 w 8601075"/>
                  <a:gd name="connsiteY131" fmla="*/ 2914650 h 4333875"/>
                  <a:gd name="connsiteX132" fmla="*/ 1657350 w 8601075"/>
                  <a:gd name="connsiteY132" fmla="*/ 3038475 h 4333875"/>
                  <a:gd name="connsiteX133" fmla="*/ 1752600 w 8601075"/>
                  <a:gd name="connsiteY133" fmla="*/ 3057525 h 4333875"/>
                  <a:gd name="connsiteX134" fmla="*/ 1724025 w 8601075"/>
                  <a:gd name="connsiteY134" fmla="*/ 3143250 h 4333875"/>
                  <a:gd name="connsiteX135" fmla="*/ 1724025 w 8601075"/>
                  <a:gd name="connsiteY135" fmla="*/ 3143250 h 4333875"/>
                  <a:gd name="connsiteX136" fmla="*/ 1781175 w 8601075"/>
                  <a:gd name="connsiteY136" fmla="*/ 3181350 h 4333875"/>
                  <a:gd name="connsiteX137" fmla="*/ 1819275 w 8601075"/>
                  <a:gd name="connsiteY137" fmla="*/ 3362325 h 4333875"/>
                  <a:gd name="connsiteX138" fmla="*/ 1828800 w 8601075"/>
                  <a:gd name="connsiteY138" fmla="*/ 3457575 h 4333875"/>
                  <a:gd name="connsiteX139" fmla="*/ 1971675 w 8601075"/>
                  <a:gd name="connsiteY139" fmla="*/ 3590925 h 4333875"/>
                  <a:gd name="connsiteX140" fmla="*/ 1990725 w 8601075"/>
                  <a:gd name="connsiteY140" fmla="*/ 3714750 h 4333875"/>
                  <a:gd name="connsiteX141" fmla="*/ 2200275 w 8601075"/>
                  <a:gd name="connsiteY141" fmla="*/ 3695700 h 4333875"/>
                  <a:gd name="connsiteX142" fmla="*/ 2886075 w 8601075"/>
                  <a:gd name="connsiteY142" fmla="*/ 3886200 h 4333875"/>
                  <a:gd name="connsiteX143" fmla="*/ 3038475 w 8601075"/>
                  <a:gd name="connsiteY143" fmla="*/ 3819525 h 4333875"/>
                  <a:gd name="connsiteX144" fmla="*/ 3105150 w 8601075"/>
                  <a:gd name="connsiteY144" fmla="*/ 3867150 h 4333875"/>
                  <a:gd name="connsiteX145" fmla="*/ 3181350 w 8601075"/>
                  <a:gd name="connsiteY145" fmla="*/ 3800475 h 4333875"/>
                  <a:gd name="connsiteX146" fmla="*/ 3590925 w 8601075"/>
                  <a:gd name="connsiteY146" fmla="*/ 3943350 h 4333875"/>
                  <a:gd name="connsiteX147" fmla="*/ 3686175 w 8601075"/>
                  <a:gd name="connsiteY147" fmla="*/ 4057650 h 4333875"/>
                  <a:gd name="connsiteX148" fmla="*/ 3838575 w 8601075"/>
                  <a:gd name="connsiteY148" fmla="*/ 4057650 h 4333875"/>
                  <a:gd name="connsiteX149" fmla="*/ 4162425 w 8601075"/>
                  <a:gd name="connsiteY149" fmla="*/ 4248150 h 4333875"/>
                  <a:gd name="connsiteX150" fmla="*/ 4391025 w 8601075"/>
                  <a:gd name="connsiteY150" fmla="*/ 4200525 h 4333875"/>
                  <a:gd name="connsiteX151" fmla="*/ 4410075 w 8601075"/>
                  <a:gd name="connsiteY151" fmla="*/ 4305300 h 4333875"/>
                  <a:gd name="connsiteX152" fmla="*/ 4505325 w 8601075"/>
                  <a:gd name="connsiteY152" fmla="*/ 4276725 h 4333875"/>
                  <a:gd name="connsiteX153" fmla="*/ 4572000 w 8601075"/>
                  <a:gd name="connsiteY153" fmla="*/ 4333875 h 4333875"/>
                  <a:gd name="connsiteX154" fmla="*/ 4591050 w 8601075"/>
                  <a:gd name="connsiteY154" fmla="*/ 4248150 h 4333875"/>
                  <a:gd name="connsiteX155" fmla="*/ 5295900 w 8601075"/>
                  <a:gd name="connsiteY155" fmla="*/ 3924300 h 4333875"/>
                  <a:gd name="connsiteX156" fmla="*/ 5353050 w 8601075"/>
                  <a:gd name="connsiteY156" fmla="*/ 3990975 h 4333875"/>
                  <a:gd name="connsiteX157" fmla="*/ 5524500 w 8601075"/>
                  <a:gd name="connsiteY157" fmla="*/ 3914775 h 4333875"/>
                  <a:gd name="connsiteX158" fmla="*/ 5667375 w 8601075"/>
                  <a:gd name="connsiteY158" fmla="*/ 3962400 h 4333875"/>
                  <a:gd name="connsiteX159" fmla="*/ 5753100 w 8601075"/>
                  <a:gd name="connsiteY159" fmla="*/ 3924300 h 4333875"/>
                  <a:gd name="connsiteX160" fmla="*/ 5905500 w 8601075"/>
                  <a:gd name="connsiteY160" fmla="*/ 3943350 h 4333875"/>
                  <a:gd name="connsiteX161" fmla="*/ 6000750 w 8601075"/>
                  <a:gd name="connsiteY161" fmla="*/ 3800475 h 4333875"/>
                  <a:gd name="connsiteX162" fmla="*/ 6153150 w 8601075"/>
                  <a:gd name="connsiteY162" fmla="*/ 3781425 h 4333875"/>
                  <a:gd name="connsiteX163" fmla="*/ 6257925 w 8601075"/>
                  <a:gd name="connsiteY163" fmla="*/ 3581400 h 4333875"/>
                  <a:gd name="connsiteX164" fmla="*/ 6448425 w 8601075"/>
                  <a:gd name="connsiteY164" fmla="*/ 3448050 h 4333875"/>
                  <a:gd name="connsiteX165" fmla="*/ 6581775 w 8601075"/>
                  <a:gd name="connsiteY165" fmla="*/ 3276600 h 4333875"/>
                  <a:gd name="connsiteX166" fmla="*/ 6496050 w 8601075"/>
                  <a:gd name="connsiteY166" fmla="*/ 3228975 h 4333875"/>
                  <a:gd name="connsiteX167" fmla="*/ 6438900 w 8601075"/>
                  <a:gd name="connsiteY167" fmla="*/ 3162300 h 4333875"/>
                  <a:gd name="connsiteX168" fmla="*/ 6419850 w 8601075"/>
                  <a:gd name="connsiteY168" fmla="*/ 3105150 h 4333875"/>
                  <a:gd name="connsiteX169" fmla="*/ 6362700 w 8601075"/>
                  <a:gd name="connsiteY169" fmla="*/ 3076575 h 4333875"/>
                  <a:gd name="connsiteX170" fmla="*/ 6410325 w 8601075"/>
                  <a:gd name="connsiteY170" fmla="*/ 3019425 h 4333875"/>
                  <a:gd name="connsiteX171" fmla="*/ 6438900 w 8601075"/>
                  <a:gd name="connsiteY171" fmla="*/ 2819400 h 4333875"/>
                  <a:gd name="connsiteX172" fmla="*/ 6496050 w 8601075"/>
                  <a:gd name="connsiteY172" fmla="*/ 2762250 h 4333875"/>
                  <a:gd name="connsiteX173" fmla="*/ 6657975 w 8601075"/>
                  <a:gd name="connsiteY173" fmla="*/ 2752725 h 4333875"/>
                  <a:gd name="connsiteX174" fmla="*/ 6781800 w 8601075"/>
                  <a:gd name="connsiteY174" fmla="*/ 2838450 h 4333875"/>
                  <a:gd name="connsiteX175" fmla="*/ 7010400 w 8601075"/>
                  <a:gd name="connsiteY175" fmla="*/ 2838450 h 4333875"/>
                  <a:gd name="connsiteX176" fmla="*/ 7162800 w 8601075"/>
                  <a:gd name="connsiteY176" fmla="*/ 2705100 h 4333875"/>
                  <a:gd name="connsiteX177" fmla="*/ 7229475 w 8601075"/>
                  <a:gd name="connsiteY177" fmla="*/ 2590800 h 4333875"/>
                  <a:gd name="connsiteX178" fmla="*/ 7248525 w 8601075"/>
                  <a:gd name="connsiteY178" fmla="*/ 2524125 h 4333875"/>
                  <a:gd name="connsiteX179" fmla="*/ 7372350 w 8601075"/>
                  <a:gd name="connsiteY179" fmla="*/ 2543175 h 4333875"/>
                  <a:gd name="connsiteX180" fmla="*/ 7553325 w 8601075"/>
                  <a:gd name="connsiteY180" fmla="*/ 2447925 h 4333875"/>
                  <a:gd name="connsiteX181" fmla="*/ 7620000 w 8601075"/>
                  <a:gd name="connsiteY181" fmla="*/ 2324100 h 4333875"/>
                  <a:gd name="connsiteX182" fmla="*/ 7696200 w 8601075"/>
                  <a:gd name="connsiteY182" fmla="*/ 2314575 h 4333875"/>
                  <a:gd name="connsiteX183" fmla="*/ 7658100 w 8601075"/>
                  <a:gd name="connsiteY183" fmla="*/ 2257425 h 4333875"/>
                  <a:gd name="connsiteX184" fmla="*/ 7753350 w 8601075"/>
                  <a:gd name="connsiteY184" fmla="*/ 2057400 h 4333875"/>
                  <a:gd name="connsiteX185" fmla="*/ 7934325 w 8601075"/>
                  <a:gd name="connsiteY185" fmla="*/ 2028825 h 4333875"/>
                  <a:gd name="connsiteX186" fmla="*/ 7953375 w 8601075"/>
                  <a:gd name="connsiteY186" fmla="*/ 1952625 h 4333875"/>
                  <a:gd name="connsiteX187" fmla="*/ 7953375 w 8601075"/>
                  <a:gd name="connsiteY187" fmla="*/ 1952625 h 4333875"/>
                  <a:gd name="connsiteX188" fmla="*/ 8010525 w 8601075"/>
                  <a:gd name="connsiteY188" fmla="*/ 1895475 h 4333875"/>
                  <a:gd name="connsiteX189" fmla="*/ 8048625 w 8601075"/>
                  <a:gd name="connsiteY189" fmla="*/ 1971675 h 4333875"/>
                  <a:gd name="connsiteX190" fmla="*/ 8077200 w 8601075"/>
                  <a:gd name="connsiteY190" fmla="*/ 1885950 h 4333875"/>
                  <a:gd name="connsiteX191" fmla="*/ 8220075 w 8601075"/>
                  <a:gd name="connsiteY191" fmla="*/ 1847850 h 4333875"/>
                  <a:gd name="connsiteX192" fmla="*/ 8296275 w 8601075"/>
                  <a:gd name="connsiteY192" fmla="*/ 1809750 h 4333875"/>
                  <a:gd name="connsiteX193" fmla="*/ 8324850 w 8601075"/>
                  <a:gd name="connsiteY193" fmla="*/ 1790700 h 4333875"/>
                  <a:gd name="connsiteX194" fmla="*/ 8410575 w 8601075"/>
                  <a:gd name="connsiteY194" fmla="*/ 1847850 h 4333875"/>
                  <a:gd name="connsiteX195" fmla="*/ 8505825 w 8601075"/>
                  <a:gd name="connsiteY195" fmla="*/ 1781175 h 4333875"/>
                  <a:gd name="connsiteX196" fmla="*/ 8572500 w 8601075"/>
                  <a:gd name="connsiteY196" fmla="*/ 1809750 h 4333875"/>
                  <a:gd name="connsiteX197" fmla="*/ 8601075 w 8601075"/>
                  <a:gd name="connsiteY197" fmla="*/ 1704975 h 4333875"/>
                  <a:gd name="connsiteX198" fmla="*/ 8553450 w 8601075"/>
                  <a:gd name="connsiteY198" fmla="*/ 1676400 h 4333875"/>
                  <a:gd name="connsiteX199" fmla="*/ 8534400 w 8601075"/>
                  <a:gd name="connsiteY199" fmla="*/ 1609725 h 4333875"/>
                  <a:gd name="connsiteX200" fmla="*/ 8277225 w 8601075"/>
                  <a:gd name="connsiteY200" fmla="*/ 1409700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124825 w 8601075"/>
                  <a:gd name="connsiteY203" fmla="*/ 1352550 h 4333875"/>
                  <a:gd name="connsiteX204" fmla="*/ 7924800 w 8601075"/>
                  <a:gd name="connsiteY204" fmla="*/ 1362075 h 4333875"/>
                  <a:gd name="connsiteX205" fmla="*/ 7867650 w 8601075"/>
                  <a:gd name="connsiteY205" fmla="*/ 1457325 h 4333875"/>
                  <a:gd name="connsiteX206" fmla="*/ 7896225 w 8601075"/>
                  <a:gd name="connsiteY206" fmla="*/ 1476375 h 4333875"/>
                  <a:gd name="connsiteX207" fmla="*/ 7858125 w 8601075"/>
                  <a:gd name="connsiteY207" fmla="*/ 1533525 h 4333875"/>
                  <a:gd name="connsiteX208" fmla="*/ 7658100 w 8601075"/>
                  <a:gd name="connsiteY208" fmla="*/ 1447800 h 4333875"/>
                  <a:gd name="connsiteX209" fmla="*/ 7515225 w 8601075"/>
                  <a:gd name="connsiteY209" fmla="*/ 1495425 h 4333875"/>
                  <a:gd name="connsiteX210" fmla="*/ 7467600 w 8601075"/>
                  <a:gd name="connsiteY210" fmla="*/ 1581150 h 4333875"/>
                  <a:gd name="connsiteX211" fmla="*/ 7296150 w 8601075"/>
                  <a:gd name="connsiteY21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400300 w 8601075"/>
                  <a:gd name="connsiteY82" fmla="*/ 866775 h 4333875"/>
                  <a:gd name="connsiteX83" fmla="*/ 2305050 w 8601075"/>
                  <a:gd name="connsiteY83" fmla="*/ 809625 h 4333875"/>
                  <a:gd name="connsiteX84" fmla="*/ 2200275 w 8601075"/>
                  <a:gd name="connsiteY84" fmla="*/ 752475 h 4333875"/>
                  <a:gd name="connsiteX85" fmla="*/ 2105025 w 8601075"/>
                  <a:gd name="connsiteY85" fmla="*/ 762000 h 4333875"/>
                  <a:gd name="connsiteX86" fmla="*/ 1990725 w 8601075"/>
                  <a:gd name="connsiteY86" fmla="*/ 762000 h 4333875"/>
                  <a:gd name="connsiteX87" fmla="*/ 1885950 w 8601075"/>
                  <a:gd name="connsiteY87" fmla="*/ 742950 h 4333875"/>
                  <a:gd name="connsiteX88" fmla="*/ 1800225 w 8601075"/>
                  <a:gd name="connsiteY88" fmla="*/ 638175 h 4333875"/>
                  <a:gd name="connsiteX89" fmla="*/ 1809750 w 8601075"/>
                  <a:gd name="connsiteY89" fmla="*/ 495300 h 4333875"/>
                  <a:gd name="connsiteX90" fmla="*/ 1733550 w 8601075"/>
                  <a:gd name="connsiteY90" fmla="*/ 466725 h 4333875"/>
                  <a:gd name="connsiteX91" fmla="*/ 1485900 w 8601075"/>
                  <a:gd name="connsiteY91" fmla="*/ 419100 h 4333875"/>
                  <a:gd name="connsiteX92" fmla="*/ 1457325 w 8601075"/>
                  <a:gd name="connsiteY92" fmla="*/ 323850 h 4333875"/>
                  <a:gd name="connsiteX93" fmla="*/ 1457325 w 8601075"/>
                  <a:gd name="connsiteY93" fmla="*/ 323850 h 4333875"/>
                  <a:gd name="connsiteX94" fmla="*/ 1323975 w 8601075"/>
                  <a:gd name="connsiteY94" fmla="*/ 285750 h 4333875"/>
                  <a:gd name="connsiteX95" fmla="*/ 1266825 w 8601075"/>
                  <a:gd name="connsiteY95" fmla="*/ 352425 h 4333875"/>
                  <a:gd name="connsiteX96" fmla="*/ 1009650 w 8601075"/>
                  <a:gd name="connsiteY96" fmla="*/ 390525 h 4333875"/>
                  <a:gd name="connsiteX97" fmla="*/ 828675 w 8601075"/>
                  <a:gd name="connsiteY97" fmla="*/ 447675 h 4333875"/>
                  <a:gd name="connsiteX98" fmla="*/ 619125 w 8601075"/>
                  <a:gd name="connsiteY98" fmla="*/ 533400 h 4333875"/>
                  <a:gd name="connsiteX99" fmla="*/ 619125 w 8601075"/>
                  <a:gd name="connsiteY99" fmla="*/ 533400 h 4333875"/>
                  <a:gd name="connsiteX100" fmla="*/ 561975 w 8601075"/>
                  <a:gd name="connsiteY100" fmla="*/ 61912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295275 w 8601075"/>
                  <a:gd name="connsiteY104" fmla="*/ 657225 h 4333875"/>
                  <a:gd name="connsiteX105" fmla="*/ 180975 w 8601075"/>
                  <a:gd name="connsiteY105" fmla="*/ 638175 h 4333875"/>
                  <a:gd name="connsiteX106" fmla="*/ 180975 w 8601075"/>
                  <a:gd name="connsiteY106" fmla="*/ 638175 h 4333875"/>
                  <a:gd name="connsiteX107" fmla="*/ 57150 w 8601075"/>
                  <a:gd name="connsiteY107" fmla="*/ 733425 h 4333875"/>
                  <a:gd name="connsiteX108" fmla="*/ 19050 w 8601075"/>
                  <a:gd name="connsiteY108" fmla="*/ 790575 h 4333875"/>
                  <a:gd name="connsiteX109" fmla="*/ 0 w 8601075"/>
                  <a:gd name="connsiteY109" fmla="*/ 876300 h 4333875"/>
                  <a:gd name="connsiteX110" fmla="*/ 57150 w 8601075"/>
                  <a:gd name="connsiteY110" fmla="*/ 923925 h 4333875"/>
                  <a:gd name="connsiteX111" fmla="*/ 57150 w 8601075"/>
                  <a:gd name="connsiteY111" fmla="*/ 923925 h 4333875"/>
                  <a:gd name="connsiteX112" fmla="*/ 209550 w 8601075"/>
                  <a:gd name="connsiteY112" fmla="*/ 1114425 h 4333875"/>
                  <a:gd name="connsiteX113" fmla="*/ 209550 w 8601075"/>
                  <a:gd name="connsiteY113" fmla="*/ 1114425 h 4333875"/>
                  <a:gd name="connsiteX114" fmla="*/ 266700 w 8601075"/>
                  <a:gd name="connsiteY114" fmla="*/ 1295400 h 4333875"/>
                  <a:gd name="connsiteX115" fmla="*/ 409575 w 8601075"/>
                  <a:gd name="connsiteY115" fmla="*/ 1276350 h 4333875"/>
                  <a:gd name="connsiteX116" fmla="*/ 466725 w 8601075"/>
                  <a:gd name="connsiteY116" fmla="*/ 1362075 h 4333875"/>
                  <a:gd name="connsiteX117" fmla="*/ 542925 w 8601075"/>
                  <a:gd name="connsiteY117" fmla="*/ 1428750 h 4333875"/>
                  <a:gd name="connsiteX118" fmla="*/ 628650 w 8601075"/>
                  <a:gd name="connsiteY118" fmla="*/ 1571625 h 4333875"/>
                  <a:gd name="connsiteX119" fmla="*/ 628650 w 8601075"/>
                  <a:gd name="connsiteY119" fmla="*/ 1704975 h 4333875"/>
                  <a:gd name="connsiteX120" fmla="*/ 676275 w 8601075"/>
                  <a:gd name="connsiteY120" fmla="*/ 1771650 h 4333875"/>
                  <a:gd name="connsiteX121" fmla="*/ 657225 w 8601075"/>
                  <a:gd name="connsiteY121" fmla="*/ 2000250 h 4333875"/>
                  <a:gd name="connsiteX122" fmla="*/ 619125 w 8601075"/>
                  <a:gd name="connsiteY122" fmla="*/ 2095500 h 4333875"/>
                  <a:gd name="connsiteX123" fmla="*/ 542925 w 8601075"/>
                  <a:gd name="connsiteY123" fmla="*/ 2228850 h 4333875"/>
                  <a:gd name="connsiteX124" fmla="*/ 485775 w 8601075"/>
                  <a:gd name="connsiteY124" fmla="*/ 2362200 h 4333875"/>
                  <a:gd name="connsiteX125" fmla="*/ 552450 w 8601075"/>
                  <a:gd name="connsiteY125" fmla="*/ 2486025 h 4333875"/>
                  <a:gd name="connsiteX126" fmla="*/ 771525 w 8601075"/>
                  <a:gd name="connsiteY126" fmla="*/ 2571750 h 4333875"/>
                  <a:gd name="connsiteX127" fmla="*/ 866775 w 8601075"/>
                  <a:gd name="connsiteY127" fmla="*/ 2571750 h 4333875"/>
                  <a:gd name="connsiteX128" fmla="*/ 914400 w 8601075"/>
                  <a:gd name="connsiteY128" fmla="*/ 2638425 h 4333875"/>
                  <a:gd name="connsiteX129" fmla="*/ 1066800 w 8601075"/>
                  <a:gd name="connsiteY129" fmla="*/ 2638425 h 4333875"/>
                  <a:gd name="connsiteX130" fmla="*/ 1285875 w 8601075"/>
                  <a:gd name="connsiteY130" fmla="*/ 2705100 h 4333875"/>
                  <a:gd name="connsiteX131" fmla="*/ 1438275 w 8601075"/>
                  <a:gd name="connsiteY131" fmla="*/ 2838450 h 4333875"/>
                  <a:gd name="connsiteX132" fmla="*/ 1485900 w 8601075"/>
                  <a:gd name="connsiteY132" fmla="*/ 2914650 h 4333875"/>
                  <a:gd name="connsiteX133" fmla="*/ 1657350 w 8601075"/>
                  <a:gd name="connsiteY133" fmla="*/ 3038475 h 4333875"/>
                  <a:gd name="connsiteX134" fmla="*/ 1752600 w 8601075"/>
                  <a:gd name="connsiteY134" fmla="*/ 3057525 h 4333875"/>
                  <a:gd name="connsiteX135" fmla="*/ 1724025 w 8601075"/>
                  <a:gd name="connsiteY135" fmla="*/ 3143250 h 4333875"/>
                  <a:gd name="connsiteX136" fmla="*/ 1724025 w 8601075"/>
                  <a:gd name="connsiteY136" fmla="*/ 3143250 h 4333875"/>
                  <a:gd name="connsiteX137" fmla="*/ 1781175 w 8601075"/>
                  <a:gd name="connsiteY137" fmla="*/ 3181350 h 4333875"/>
                  <a:gd name="connsiteX138" fmla="*/ 1819275 w 8601075"/>
                  <a:gd name="connsiteY138" fmla="*/ 3362325 h 4333875"/>
                  <a:gd name="connsiteX139" fmla="*/ 1828800 w 8601075"/>
                  <a:gd name="connsiteY139" fmla="*/ 3457575 h 4333875"/>
                  <a:gd name="connsiteX140" fmla="*/ 1971675 w 8601075"/>
                  <a:gd name="connsiteY140" fmla="*/ 3590925 h 4333875"/>
                  <a:gd name="connsiteX141" fmla="*/ 1990725 w 8601075"/>
                  <a:gd name="connsiteY141" fmla="*/ 3714750 h 4333875"/>
                  <a:gd name="connsiteX142" fmla="*/ 2200275 w 8601075"/>
                  <a:gd name="connsiteY142" fmla="*/ 3695700 h 4333875"/>
                  <a:gd name="connsiteX143" fmla="*/ 2886075 w 8601075"/>
                  <a:gd name="connsiteY143" fmla="*/ 3886200 h 4333875"/>
                  <a:gd name="connsiteX144" fmla="*/ 3038475 w 8601075"/>
                  <a:gd name="connsiteY144" fmla="*/ 3819525 h 4333875"/>
                  <a:gd name="connsiteX145" fmla="*/ 3105150 w 8601075"/>
                  <a:gd name="connsiteY145" fmla="*/ 3867150 h 4333875"/>
                  <a:gd name="connsiteX146" fmla="*/ 3181350 w 8601075"/>
                  <a:gd name="connsiteY146" fmla="*/ 3800475 h 4333875"/>
                  <a:gd name="connsiteX147" fmla="*/ 3590925 w 8601075"/>
                  <a:gd name="connsiteY147" fmla="*/ 3943350 h 4333875"/>
                  <a:gd name="connsiteX148" fmla="*/ 3686175 w 8601075"/>
                  <a:gd name="connsiteY148" fmla="*/ 4057650 h 4333875"/>
                  <a:gd name="connsiteX149" fmla="*/ 3838575 w 8601075"/>
                  <a:gd name="connsiteY149" fmla="*/ 4057650 h 4333875"/>
                  <a:gd name="connsiteX150" fmla="*/ 4162425 w 8601075"/>
                  <a:gd name="connsiteY150" fmla="*/ 4248150 h 4333875"/>
                  <a:gd name="connsiteX151" fmla="*/ 4391025 w 8601075"/>
                  <a:gd name="connsiteY151" fmla="*/ 4200525 h 4333875"/>
                  <a:gd name="connsiteX152" fmla="*/ 4410075 w 8601075"/>
                  <a:gd name="connsiteY152" fmla="*/ 4305300 h 4333875"/>
                  <a:gd name="connsiteX153" fmla="*/ 4505325 w 8601075"/>
                  <a:gd name="connsiteY153" fmla="*/ 4276725 h 4333875"/>
                  <a:gd name="connsiteX154" fmla="*/ 4572000 w 8601075"/>
                  <a:gd name="connsiteY154" fmla="*/ 4333875 h 4333875"/>
                  <a:gd name="connsiteX155" fmla="*/ 4591050 w 8601075"/>
                  <a:gd name="connsiteY155" fmla="*/ 4248150 h 4333875"/>
                  <a:gd name="connsiteX156" fmla="*/ 5295900 w 8601075"/>
                  <a:gd name="connsiteY156" fmla="*/ 3924300 h 4333875"/>
                  <a:gd name="connsiteX157" fmla="*/ 5353050 w 8601075"/>
                  <a:gd name="connsiteY157" fmla="*/ 3990975 h 4333875"/>
                  <a:gd name="connsiteX158" fmla="*/ 5524500 w 8601075"/>
                  <a:gd name="connsiteY158" fmla="*/ 3914775 h 4333875"/>
                  <a:gd name="connsiteX159" fmla="*/ 5667375 w 8601075"/>
                  <a:gd name="connsiteY159" fmla="*/ 3962400 h 4333875"/>
                  <a:gd name="connsiteX160" fmla="*/ 5753100 w 8601075"/>
                  <a:gd name="connsiteY160" fmla="*/ 3924300 h 4333875"/>
                  <a:gd name="connsiteX161" fmla="*/ 5905500 w 8601075"/>
                  <a:gd name="connsiteY161" fmla="*/ 3943350 h 4333875"/>
                  <a:gd name="connsiteX162" fmla="*/ 6000750 w 8601075"/>
                  <a:gd name="connsiteY162" fmla="*/ 3800475 h 4333875"/>
                  <a:gd name="connsiteX163" fmla="*/ 6153150 w 8601075"/>
                  <a:gd name="connsiteY163" fmla="*/ 3781425 h 4333875"/>
                  <a:gd name="connsiteX164" fmla="*/ 6257925 w 8601075"/>
                  <a:gd name="connsiteY164" fmla="*/ 3581400 h 4333875"/>
                  <a:gd name="connsiteX165" fmla="*/ 6448425 w 8601075"/>
                  <a:gd name="connsiteY165" fmla="*/ 3448050 h 4333875"/>
                  <a:gd name="connsiteX166" fmla="*/ 6581775 w 8601075"/>
                  <a:gd name="connsiteY166" fmla="*/ 3276600 h 4333875"/>
                  <a:gd name="connsiteX167" fmla="*/ 6496050 w 8601075"/>
                  <a:gd name="connsiteY167" fmla="*/ 3228975 h 4333875"/>
                  <a:gd name="connsiteX168" fmla="*/ 6438900 w 8601075"/>
                  <a:gd name="connsiteY168" fmla="*/ 3162300 h 4333875"/>
                  <a:gd name="connsiteX169" fmla="*/ 6419850 w 8601075"/>
                  <a:gd name="connsiteY169" fmla="*/ 3105150 h 4333875"/>
                  <a:gd name="connsiteX170" fmla="*/ 6362700 w 8601075"/>
                  <a:gd name="connsiteY170" fmla="*/ 3076575 h 4333875"/>
                  <a:gd name="connsiteX171" fmla="*/ 6410325 w 8601075"/>
                  <a:gd name="connsiteY171" fmla="*/ 3019425 h 4333875"/>
                  <a:gd name="connsiteX172" fmla="*/ 6438900 w 8601075"/>
                  <a:gd name="connsiteY172" fmla="*/ 2819400 h 4333875"/>
                  <a:gd name="connsiteX173" fmla="*/ 6496050 w 8601075"/>
                  <a:gd name="connsiteY173" fmla="*/ 2762250 h 4333875"/>
                  <a:gd name="connsiteX174" fmla="*/ 6657975 w 8601075"/>
                  <a:gd name="connsiteY174" fmla="*/ 2752725 h 4333875"/>
                  <a:gd name="connsiteX175" fmla="*/ 6781800 w 8601075"/>
                  <a:gd name="connsiteY175" fmla="*/ 2838450 h 4333875"/>
                  <a:gd name="connsiteX176" fmla="*/ 7010400 w 8601075"/>
                  <a:gd name="connsiteY176" fmla="*/ 2838450 h 4333875"/>
                  <a:gd name="connsiteX177" fmla="*/ 7162800 w 8601075"/>
                  <a:gd name="connsiteY177" fmla="*/ 2705100 h 4333875"/>
                  <a:gd name="connsiteX178" fmla="*/ 7229475 w 8601075"/>
                  <a:gd name="connsiteY178" fmla="*/ 2590800 h 4333875"/>
                  <a:gd name="connsiteX179" fmla="*/ 7248525 w 8601075"/>
                  <a:gd name="connsiteY179" fmla="*/ 2524125 h 4333875"/>
                  <a:gd name="connsiteX180" fmla="*/ 7372350 w 8601075"/>
                  <a:gd name="connsiteY180" fmla="*/ 2543175 h 4333875"/>
                  <a:gd name="connsiteX181" fmla="*/ 7553325 w 8601075"/>
                  <a:gd name="connsiteY181" fmla="*/ 2447925 h 4333875"/>
                  <a:gd name="connsiteX182" fmla="*/ 7620000 w 8601075"/>
                  <a:gd name="connsiteY182" fmla="*/ 2324100 h 4333875"/>
                  <a:gd name="connsiteX183" fmla="*/ 7696200 w 8601075"/>
                  <a:gd name="connsiteY183" fmla="*/ 2314575 h 4333875"/>
                  <a:gd name="connsiteX184" fmla="*/ 7658100 w 8601075"/>
                  <a:gd name="connsiteY184" fmla="*/ 2257425 h 4333875"/>
                  <a:gd name="connsiteX185" fmla="*/ 7753350 w 8601075"/>
                  <a:gd name="connsiteY185" fmla="*/ 2057400 h 4333875"/>
                  <a:gd name="connsiteX186" fmla="*/ 7934325 w 8601075"/>
                  <a:gd name="connsiteY186" fmla="*/ 2028825 h 4333875"/>
                  <a:gd name="connsiteX187" fmla="*/ 7953375 w 8601075"/>
                  <a:gd name="connsiteY187" fmla="*/ 1952625 h 4333875"/>
                  <a:gd name="connsiteX188" fmla="*/ 7953375 w 8601075"/>
                  <a:gd name="connsiteY188" fmla="*/ 1952625 h 4333875"/>
                  <a:gd name="connsiteX189" fmla="*/ 8010525 w 8601075"/>
                  <a:gd name="connsiteY189" fmla="*/ 1895475 h 4333875"/>
                  <a:gd name="connsiteX190" fmla="*/ 8048625 w 8601075"/>
                  <a:gd name="connsiteY190" fmla="*/ 1971675 h 4333875"/>
                  <a:gd name="connsiteX191" fmla="*/ 8077200 w 8601075"/>
                  <a:gd name="connsiteY191" fmla="*/ 1885950 h 4333875"/>
                  <a:gd name="connsiteX192" fmla="*/ 8220075 w 8601075"/>
                  <a:gd name="connsiteY192" fmla="*/ 1847850 h 4333875"/>
                  <a:gd name="connsiteX193" fmla="*/ 8296275 w 8601075"/>
                  <a:gd name="connsiteY193" fmla="*/ 1809750 h 4333875"/>
                  <a:gd name="connsiteX194" fmla="*/ 8324850 w 8601075"/>
                  <a:gd name="connsiteY194" fmla="*/ 1790700 h 4333875"/>
                  <a:gd name="connsiteX195" fmla="*/ 8410575 w 8601075"/>
                  <a:gd name="connsiteY195" fmla="*/ 1847850 h 4333875"/>
                  <a:gd name="connsiteX196" fmla="*/ 8505825 w 8601075"/>
                  <a:gd name="connsiteY196" fmla="*/ 1781175 h 4333875"/>
                  <a:gd name="connsiteX197" fmla="*/ 8572500 w 8601075"/>
                  <a:gd name="connsiteY197" fmla="*/ 1809750 h 4333875"/>
                  <a:gd name="connsiteX198" fmla="*/ 8601075 w 8601075"/>
                  <a:gd name="connsiteY198" fmla="*/ 1704975 h 4333875"/>
                  <a:gd name="connsiteX199" fmla="*/ 8553450 w 8601075"/>
                  <a:gd name="connsiteY199" fmla="*/ 1676400 h 4333875"/>
                  <a:gd name="connsiteX200" fmla="*/ 8534400 w 8601075"/>
                  <a:gd name="connsiteY200" fmla="*/ 1609725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124825 w 8601075"/>
                  <a:gd name="connsiteY204" fmla="*/ 1352550 h 4333875"/>
                  <a:gd name="connsiteX205" fmla="*/ 7924800 w 8601075"/>
                  <a:gd name="connsiteY205" fmla="*/ 1362075 h 4333875"/>
                  <a:gd name="connsiteX206" fmla="*/ 7867650 w 8601075"/>
                  <a:gd name="connsiteY206" fmla="*/ 1457325 h 4333875"/>
                  <a:gd name="connsiteX207" fmla="*/ 7896225 w 8601075"/>
                  <a:gd name="connsiteY207" fmla="*/ 1476375 h 4333875"/>
                  <a:gd name="connsiteX208" fmla="*/ 7858125 w 8601075"/>
                  <a:gd name="connsiteY208" fmla="*/ 1533525 h 4333875"/>
                  <a:gd name="connsiteX209" fmla="*/ 7658100 w 8601075"/>
                  <a:gd name="connsiteY209" fmla="*/ 1447800 h 4333875"/>
                  <a:gd name="connsiteX210" fmla="*/ 7515225 w 8601075"/>
                  <a:gd name="connsiteY210" fmla="*/ 1495425 h 4333875"/>
                  <a:gd name="connsiteX211" fmla="*/ 7467600 w 8601075"/>
                  <a:gd name="connsiteY211" fmla="*/ 1581150 h 4333875"/>
                  <a:gd name="connsiteX212" fmla="*/ 7296150 w 8601075"/>
                  <a:gd name="connsiteY21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05050 w 8601075"/>
                  <a:gd name="connsiteY83" fmla="*/ 809625 h 4333875"/>
                  <a:gd name="connsiteX84" fmla="*/ 2200275 w 8601075"/>
                  <a:gd name="connsiteY84" fmla="*/ 752475 h 4333875"/>
                  <a:gd name="connsiteX85" fmla="*/ 2105025 w 8601075"/>
                  <a:gd name="connsiteY85" fmla="*/ 762000 h 4333875"/>
                  <a:gd name="connsiteX86" fmla="*/ 1990725 w 8601075"/>
                  <a:gd name="connsiteY86" fmla="*/ 762000 h 4333875"/>
                  <a:gd name="connsiteX87" fmla="*/ 1885950 w 8601075"/>
                  <a:gd name="connsiteY87" fmla="*/ 742950 h 4333875"/>
                  <a:gd name="connsiteX88" fmla="*/ 1800225 w 8601075"/>
                  <a:gd name="connsiteY88" fmla="*/ 638175 h 4333875"/>
                  <a:gd name="connsiteX89" fmla="*/ 1809750 w 8601075"/>
                  <a:gd name="connsiteY89" fmla="*/ 495300 h 4333875"/>
                  <a:gd name="connsiteX90" fmla="*/ 1733550 w 8601075"/>
                  <a:gd name="connsiteY90" fmla="*/ 466725 h 4333875"/>
                  <a:gd name="connsiteX91" fmla="*/ 1485900 w 8601075"/>
                  <a:gd name="connsiteY91" fmla="*/ 419100 h 4333875"/>
                  <a:gd name="connsiteX92" fmla="*/ 1457325 w 8601075"/>
                  <a:gd name="connsiteY92" fmla="*/ 323850 h 4333875"/>
                  <a:gd name="connsiteX93" fmla="*/ 1457325 w 8601075"/>
                  <a:gd name="connsiteY93" fmla="*/ 323850 h 4333875"/>
                  <a:gd name="connsiteX94" fmla="*/ 1323975 w 8601075"/>
                  <a:gd name="connsiteY94" fmla="*/ 285750 h 4333875"/>
                  <a:gd name="connsiteX95" fmla="*/ 1266825 w 8601075"/>
                  <a:gd name="connsiteY95" fmla="*/ 352425 h 4333875"/>
                  <a:gd name="connsiteX96" fmla="*/ 1009650 w 8601075"/>
                  <a:gd name="connsiteY96" fmla="*/ 390525 h 4333875"/>
                  <a:gd name="connsiteX97" fmla="*/ 828675 w 8601075"/>
                  <a:gd name="connsiteY97" fmla="*/ 447675 h 4333875"/>
                  <a:gd name="connsiteX98" fmla="*/ 619125 w 8601075"/>
                  <a:gd name="connsiteY98" fmla="*/ 533400 h 4333875"/>
                  <a:gd name="connsiteX99" fmla="*/ 619125 w 8601075"/>
                  <a:gd name="connsiteY99" fmla="*/ 533400 h 4333875"/>
                  <a:gd name="connsiteX100" fmla="*/ 561975 w 8601075"/>
                  <a:gd name="connsiteY100" fmla="*/ 619125 h 4333875"/>
                  <a:gd name="connsiteX101" fmla="*/ 447675 w 8601075"/>
                  <a:gd name="connsiteY101" fmla="*/ 63817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295275 w 8601075"/>
                  <a:gd name="connsiteY104" fmla="*/ 657225 h 4333875"/>
                  <a:gd name="connsiteX105" fmla="*/ 180975 w 8601075"/>
                  <a:gd name="connsiteY105" fmla="*/ 638175 h 4333875"/>
                  <a:gd name="connsiteX106" fmla="*/ 180975 w 8601075"/>
                  <a:gd name="connsiteY106" fmla="*/ 638175 h 4333875"/>
                  <a:gd name="connsiteX107" fmla="*/ 57150 w 8601075"/>
                  <a:gd name="connsiteY107" fmla="*/ 733425 h 4333875"/>
                  <a:gd name="connsiteX108" fmla="*/ 19050 w 8601075"/>
                  <a:gd name="connsiteY108" fmla="*/ 790575 h 4333875"/>
                  <a:gd name="connsiteX109" fmla="*/ 0 w 8601075"/>
                  <a:gd name="connsiteY109" fmla="*/ 876300 h 4333875"/>
                  <a:gd name="connsiteX110" fmla="*/ 57150 w 8601075"/>
                  <a:gd name="connsiteY110" fmla="*/ 923925 h 4333875"/>
                  <a:gd name="connsiteX111" fmla="*/ 57150 w 8601075"/>
                  <a:gd name="connsiteY111" fmla="*/ 923925 h 4333875"/>
                  <a:gd name="connsiteX112" fmla="*/ 209550 w 8601075"/>
                  <a:gd name="connsiteY112" fmla="*/ 1114425 h 4333875"/>
                  <a:gd name="connsiteX113" fmla="*/ 209550 w 8601075"/>
                  <a:gd name="connsiteY113" fmla="*/ 1114425 h 4333875"/>
                  <a:gd name="connsiteX114" fmla="*/ 266700 w 8601075"/>
                  <a:gd name="connsiteY114" fmla="*/ 1295400 h 4333875"/>
                  <a:gd name="connsiteX115" fmla="*/ 409575 w 8601075"/>
                  <a:gd name="connsiteY115" fmla="*/ 1276350 h 4333875"/>
                  <a:gd name="connsiteX116" fmla="*/ 466725 w 8601075"/>
                  <a:gd name="connsiteY116" fmla="*/ 1362075 h 4333875"/>
                  <a:gd name="connsiteX117" fmla="*/ 542925 w 8601075"/>
                  <a:gd name="connsiteY117" fmla="*/ 1428750 h 4333875"/>
                  <a:gd name="connsiteX118" fmla="*/ 628650 w 8601075"/>
                  <a:gd name="connsiteY118" fmla="*/ 1571625 h 4333875"/>
                  <a:gd name="connsiteX119" fmla="*/ 628650 w 8601075"/>
                  <a:gd name="connsiteY119" fmla="*/ 1704975 h 4333875"/>
                  <a:gd name="connsiteX120" fmla="*/ 676275 w 8601075"/>
                  <a:gd name="connsiteY120" fmla="*/ 1771650 h 4333875"/>
                  <a:gd name="connsiteX121" fmla="*/ 657225 w 8601075"/>
                  <a:gd name="connsiteY121" fmla="*/ 2000250 h 4333875"/>
                  <a:gd name="connsiteX122" fmla="*/ 619125 w 8601075"/>
                  <a:gd name="connsiteY122" fmla="*/ 2095500 h 4333875"/>
                  <a:gd name="connsiteX123" fmla="*/ 542925 w 8601075"/>
                  <a:gd name="connsiteY123" fmla="*/ 2228850 h 4333875"/>
                  <a:gd name="connsiteX124" fmla="*/ 485775 w 8601075"/>
                  <a:gd name="connsiteY124" fmla="*/ 2362200 h 4333875"/>
                  <a:gd name="connsiteX125" fmla="*/ 552450 w 8601075"/>
                  <a:gd name="connsiteY125" fmla="*/ 2486025 h 4333875"/>
                  <a:gd name="connsiteX126" fmla="*/ 771525 w 8601075"/>
                  <a:gd name="connsiteY126" fmla="*/ 2571750 h 4333875"/>
                  <a:gd name="connsiteX127" fmla="*/ 866775 w 8601075"/>
                  <a:gd name="connsiteY127" fmla="*/ 2571750 h 4333875"/>
                  <a:gd name="connsiteX128" fmla="*/ 914400 w 8601075"/>
                  <a:gd name="connsiteY128" fmla="*/ 2638425 h 4333875"/>
                  <a:gd name="connsiteX129" fmla="*/ 1066800 w 8601075"/>
                  <a:gd name="connsiteY129" fmla="*/ 2638425 h 4333875"/>
                  <a:gd name="connsiteX130" fmla="*/ 1285875 w 8601075"/>
                  <a:gd name="connsiteY130" fmla="*/ 2705100 h 4333875"/>
                  <a:gd name="connsiteX131" fmla="*/ 1438275 w 8601075"/>
                  <a:gd name="connsiteY131" fmla="*/ 2838450 h 4333875"/>
                  <a:gd name="connsiteX132" fmla="*/ 1485900 w 8601075"/>
                  <a:gd name="connsiteY132" fmla="*/ 2914650 h 4333875"/>
                  <a:gd name="connsiteX133" fmla="*/ 1657350 w 8601075"/>
                  <a:gd name="connsiteY133" fmla="*/ 3038475 h 4333875"/>
                  <a:gd name="connsiteX134" fmla="*/ 1752600 w 8601075"/>
                  <a:gd name="connsiteY134" fmla="*/ 3057525 h 4333875"/>
                  <a:gd name="connsiteX135" fmla="*/ 1724025 w 8601075"/>
                  <a:gd name="connsiteY135" fmla="*/ 3143250 h 4333875"/>
                  <a:gd name="connsiteX136" fmla="*/ 1724025 w 8601075"/>
                  <a:gd name="connsiteY136" fmla="*/ 3143250 h 4333875"/>
                  <a:gd name="connsiteX137" fmla="*/ 1781175 w 8601075"/>
                  <a:gd name="connsiteY137" fmla="*/ 3181350 h 4333875"/>
                  <a:gd name="connsiteX138" fmla="*/ 1819275 w 8601075"/>
                  <a:gd name="connsiteY138" fmla="*/ 3362325 h 4333875"/>
                  <a:gd name="connsiteX139" fmla="*/ 1828800 w 8601075"/>
                  <a:gd name="connsiteY139" fmla="*/ 3457575 h 4333875"/>
                  <a:gd name="connsiteX140" fmla="*/ 1971675 w 8601075"/>
                  <a:gd name="connsiteY140" fmla="*/ 3590925 h 4333875"/>
                  <a:gd name="connsiteX141" fmla="*/ 1990725 w 8601075"/>
                  <a:gd name="connsiteY141" fmla="*/ 3714750 h 4333875"/>
                  <a:gd name="connsiteX142" fmla="*/ 2200275 w 8601075"/>
                  <a:gd name="connsiteY142" fmla="*/ 3695700 h 4333875"/>
                  <a:gd name="connsiteX143" fmla="*/ 2886075 w 8601075"/>
                  <a:gd name="connsiteY143" fmla="*/ 3886200 h 4333875"/>
                  <a:gd name="connsiteX144" fmla="*/ 3038475 w 8601075"/>
                  <a:gd name="connsiteY144" fmla="*/ 3819525 h 4333875"/>
                  <a:gd name="connsiteX145" fmla="*/ 3105150 w 8601075"/>
                  <a:gd name="connsiteY145" fmla="*/ 3867150 h 4333875"/>
                  <a:gd name="connsiteX146" fmla="*/ 3181350 w 8601075"/>
                  <a:gd name="connsiteY146" fmla="*/ 3800475 h 4333875"/>
                  <a:gd name="connsiteX147" fmla="*/ 3590925 w 8601075"/>
                  <a:gd name="connsiteY147" fmla="*/ 3943350 h 4333875"/>
                  <a:gd name="connsiteX148" fmla="*/ 3686175 w 8601075"/>
                  <a:gd name="connsiteY148" fmla="*/ 4057650 h 4333875"/>
                  <a:gd name="connsiteX149" fmla="*/ 3838575 w 8601075"/>
                  <a:gd name="connsiteY149" fmla="*/ 4057650 h 4333875"/>
                  <a:gd name="connsiteX150" fmla="*/ 4162425 w 8601075"/>
                  <a:gd name="connsiteY150" fmla="*/ 4248150 h 4333875"/>
                  <a:gd name="connsiteX151" fmla="*/ 4391025 w 8601075"/>
                  <a:gd name="connsiteY151" fmla="*/ 4200525 h 4333875"/>
                  <a:gd name="connsiteX152" fmla="*/ 4410075 w 8601075"/>
                  <a:gd name="connsiteY152" fmla="*/ 4305300 h 4333875"/>
                  <a:gd name="connsiteX153" fmla="*/ 4505325 w 8601075"/>
                  <a:gd name="connsiteY153" fmla="*/ 4276725 h 4333875"/>
                  <a:gd name="connsiteX154" fmla="*/ 4572000 w 8601075"/>
                  <a:gd name="connsiteY154" fmla="*/ 4333875 h 4333875"/>
                  <a:gd name="connsiteX155" fmla="*/ 4591050 w 8601075"/>
                  <a:gd name="connsiteY155" fmla="*/ 4248150 h 4333875"/>
                  <a:gd name="connsiteX156" fmla="*/ 5295900 w 8601075"/>
                  <a:gd name="connsiteY156" fmla="*/ 3924300 h 4333875"/>
                  <a:gd name="connsiteX157" fmla="*/ 5353050 w 8601075"/>
                  <a:gd name="connsiteY157" fmla="*/ 3990975 h 4333875"/>
                  <a:gd name="connsiteX158" fmla="*/ 5524500 w 8601075"/>
                  <a:gd name="connsiteY158" fmla="*/ 3914775 h 4333875"/>
                  <a:gd name="connsiteX159" fmla="*/ 5667375 w 8601075"/>
                  <a:gd name="connsiteY159" fmla="*/ 3962400 h 4333875"/>
                  <a:gd name="connsiteX160" fmla="*/ 5753100 w 8601075"/>
                  <a:gd name="connsiteY160" fmla="*/ 3924300 h 4333875"/>
                  <a:gd name="connsiteX161" fmla="*/ 5905500 w 8601075"/>
                  <a:gd name="connsiteY161" fmla="*/ 3943350 h 4333875"/>
                  <a:gd name="connsiteX162" fmla="*/ 6000750 w 8601075"/>
                  <a:gd name="connsiteY162" fmla="*/ 3800475 h 4333875"/>
                  <a:gd name="connsiteX163" fmla="*/ 6153150 w 8601075"/>
                  <a:gd name="connsiteY163" fmla="*/ 3781425 h 4333875"/>
                  <a:gd name="connsiteX164" fmla="*/ 6257925 w 8601075"/>
                  <a:gd name="connsiteY164" fmla="*/ 3581400 h 4333875"/>
                  <a:gd name="connsiteX165" fmla="*/ 6448425 w 8601075"/>
                  <a:gd name="connsiteY165" fmla="*/ 3448050 h 4333875"/>
                  <a:gd name="connsiteX166" fmla="*/ 6581775 w 8601075"/>
                  <a:gd name="connsiteY166" fmla="*/ 3276600 h 4333875"/>
                  <a:gd name="connsiteX167" fmla="*/ 6496050 w 8601075"/>
                  <a:gd name="connsiteY167" fmla="*/ 3228975 h 4333875"/>
                  <a:gd name="connsiteX168" fmla="*/ 6438900 w 8601075"/>
                  <a:gd name="connsiteY168" fmla="*/ 3162300 h 4333875"/>
                  <a:gd name="connsiteX169" fmla="*/ 6419850 w 8601075"/>
                  <a:gd name="connsiteY169" fmla="*/ 3105150 h 4333875"/>
                  <a:gd name="connsiteX170" fmla="*/ 6362700 w 8601075"/>
                  <a:gd name="connsiteY170" fmla="*/ 3076575 h 4333875"/>
                  <a:gd name="connsiteX171" fmla="*/ 6410325 w 8601075"/>
                  <a:gd name="connsiteY171" fmla="*/ 3019425 h 4333875"/>
                  <a:gd name="connsiteX172" fmla="*/ 6438900 w 8601075"/>
                  <a:gd name="connsiteY172" fmla="*/ 2819400 h 4333875"/>
                  <a:gd name="connsiteX173" fmla="*/ 6496050 w 8601075"/>
                  <a:gd name="connsiteY173" fmla="*/ 2762250 h 4333875"/>
                  <a:gd name="connsiteX174" fmla="*/ 6657975 w 8601075"/>
                  <a:gd name="connsiteY174" fmla="*/ 2752725 h 4333875"/>
                  <a:gd name="connsiteX175" fmla="*/ 6781800 w 8601075"/>
                  <a:gd name="connsiteY175" fmla="*/ 2838450 h 4333875"/>
                  <a:gd name="connsiteX176" fmla="*/ 7010400 w 8601075"/>
                  <a:gd name="connsiteY176" fmla="*/ 2838450 h 4333875"/>
                  <a:gd name="connsiteX177" fmla="*/ 7162800 w 8601075"/>
                  <a:gd name="connsiteY177" fmla="*/ 2705100 h 4333875"/>
                  <a:gd name="connsiteX178" fmla="*/ 7229475 w 8601075"/>
                  <a:gd name="connsiteY178" fmla="*/ 2590800 h 4333875"/>
                  <a:gd name="connsiteX179" fmla="*/ 7248525 w 8601075"/>
                  <a:gd name="connsiteY179" fmla="*/ 2524125 h 4333875"/>
                  <a:gd name="connsiteX180" fmla="*/ 7372350 w 8601075"/>
                  <a:gd name="connsiteY180" fmla="*/ 2543175 h 4333875"/>
                  <a:gd name="connsiteX181" fmla="*/ 7553325 w 8601075"/>
                  <a:gd name="connsiteY181" fmla="*/ 2447925 h 4333875"/>
                  <a:gd name="connsiteX182" fmla="*/ 7620000 w 8601075"/>
                  <a:gd name="connsiteY182" fmla="*/ 2324100 h 4333875"/>
                  <a:gd name="connsiteX183" fmla="*/ 7696200 w 8601075"/>
                  <a:gd name="connsiteY183" fmla="*/ 2314575 h 4333875"/>
                  <a:gd name="connsiteX184" fmla="*/ 7658100 w 8601075"/>
                  <a:gd name="connsiteY184" fmla="*/ 2257425 h 4333875"/>
                  <a:gd name="connsiteX185" fmla="*/ 7753350 w 8601075"/>
                  <a:gd name="connsiteY185" fmla="*/ 2057400 h 4333875"/>
                  <a:gd name="connsiteX186" fmla="*/ 7934325 w 8601075"/>
                  <a:gd name="connsiteY186" fmla="*/ 2028825 h 4333875"/>
                  <a:gd name="connsiteX187" fmla="*/ 7953375 w 8601075"/>
                  <a:gd name="connsiteY187" fmla="*/ 1952625 h 4333875"/>
                  <a:gd name="connsiteX188" fmla="*/ 7953375 w 8601075"/>
                  <a:gd name="connsiteY188" fmla="*/ 1952625 h 4333875"/>
                  <a:gd name="connsiteX189" fmla="*/ 8010525 w 8601075"/>
                  <a:gd name="connsiteY189" fmla="*/ 1895475 h 4333875"/>
                  <a:gd name="connsiteX190" fmla="*/ 8048625 w 8601075"/>
                  <a:gd name="connsiteY190" fmla="*/ 1971675 h 4333875"/>
                  <a:gd name="connsiteX191" fmla="*/ 8077200 w 8601075"/>
                  <a:gd name="connsiteY191" fmla="*/ 1885950 h 4333875"/>
                  <a:gd name="connsiteX192" fmla="*/ 8220075 w 8601075"/>
                  <a:gd name="connsiteY192" fmla="*/ 1847850 h 4333875"/>
                  <a:gd name="connsiteX193" fmla="*/ 8296275 w 8601075"/>
                  <a:gd name="connsiteY193" fmla="*/ 1809750 h 4333875"/>
                  <a:gd name="connsiteX194" fmla="*/ 8324850 w 8601075"/>
                  <a:gd name="connsiteY194" fmla="*/ 1790700 h 4333875"/>
                  <a:gd name="connsiteX195" fmla="*/ 8410575 w 8601075"/>
                  <a:gd name="connsiteY195" fmla="*/ 1847850 h 4333875"/>
                  <a:gd name="connsiteX196" fmla="*/ 8505825 w 8601075"/>
                  <a:gd name="connsiteY196" fmla="*/ 1781175 h 4333875"/>
                  <a:gd name="connsiteX197" fmla="*/ 8572500 w 8601075"/>
                  <a:gd name="connsiteY197" fmla="*/ 1809750 h 4333875"/>
                  <a:gd name="connsiteX198" fmla="*/ 8601075 w 8601075"/>
                  <a:gd name="connsiteY198" fmla="*/ 1704975 h 4333875"/>
                  <a:gd name="connsiteX199" fmla="*/ 8553450 w 8601075"/>
                  <a:gd name="connsiteY199" fmla="*/ 1676400 h 4333875"/>
                  <a:gd name="connsiteX200" fmla="*/ 8534400 w 8601075"/>
                  <a:gd name="connsiteY200" fmla="*/ 1609725 h 4333875"/>
                  <a:gd name="connsiteX201" fmla="*/ 8277225 w 8601075"/>
                  <a:gd name="connsiteY201" fmla="*/ 1409700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124825 w 8601075"/>
                  <a:gd name="connsiteY204" fmla="*/ 1352550 h 4333875"/>
                  <a:gd name="connsiteX205" fmla="*/ 7924800 w 8601075"/>
                  <a:gd name="connsiteY205" fmla="*/ 1362075 h 4333875"/>
                  <a:gd name="connsiteX206" fmla="*/ 7867650 w 8601075"/>
                  <a:gd name="connsiteY206" fmla="*/ 1457325 h 4333875"/>
                  <a:gd name="connsiteX207" fmla="*/ 7896225 w 8601075"/>
                  <a:gd name="connsiteY207" fmla="*/ 1476375 h 4333875"/>
                  <a:gd name="connsiteX208" fmla="*/ 7858125 w 8601075"/>
                  <a:gd name="connsiteY208" fmla="*/ 1533525 h 4333875"/>
                  <a:gd name="connsiteX209" fmla="*/ 7658100 w 8601075"/>
                  <a:gd name="connsiteY209" fmla="*/ 1447800 h 4333875"/>
                  <a:gd name="connsiteX210" fmla="*/ 7515225 w 8601075"/>
                  <a:gd name="connsiteY210" fmla="*/ 1495425 h 4333875"/>
                  <a:gd name="connsiteX211" fmla="*/ 7467600 w 8601075"/>
                  <a:gd name="connsiteY211" fmla="*/ 1581150 h 4333875"/>
                  <a:gd name="connsiteX212" fmla="*/ 7296150 w 8601075"/>
                  <a:gd name="connsiteY21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305050 w 8601075"/>
                  <a:gd name="connsiteY84" fmla="*/ 809625 h 4333875"/>
                  <a:gd name="connsiteX85" fmla="*/ 2200275 w 8601075"/>
                  <a:gd name="connsiteY85" fmla="*/ 752475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00275 w 8601075"/>
                  <a:gd name="connsiteY85" fmla="*/ 752475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05025 w 8601075"/>
                  <a:gd name="connsiteY86" fmla="*/ 762000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62175 w 8601075"/>
                  <a:gd name="connsiteY86" fmla="*/ 750094 h 4333875"/>
                  <a:gd name="connsiteX87" fmla="*/ 1990725 w 8601075"/>
                  <a:gd name="connsiteY87" fmla="*/ 762000 h 4333875"/>
                  <a:gd name="connsiteX88" fmla="*/ 1885950 w 8601075"/>
                  <a:gd name="connsiteY88" fmla="*/ 742950 h 4333875"/>
                  <a:gd name="connsiteX89" fmla="*/ 1800225 w 8601075"/>
                  <a:gd name="connsiteY89" fmla="*/ 638175 h 4333875"/>
                  <a:gd name="connsiteX90" fmla="*/ 1809750 w 8601075"/>
                  <a:gd name="connsiteY90" fmla="*/ 495300 h 4333875"/>
                  <a:gd name="connsiteX91" fmla="*/ 1733550 w 8601075"/>
                  <a:gd name="connsiteY91" fmla="*/ 466725 h 4333875"/>
                  <a:gd name="connsiteX92" fmla="*/ 1485900 w 8601075"/>
                  <a:gd name="connsiteY92" fmla="*/ 419100 h 4333875"/>
                  <a:gd name="connsiteX93" fmla="*/ 1457325 w 8601075"/>
                  <a:gd name="connsiteY93" fmla="*/ 323850 h 4333875"/>
                  <a:gd name="connsiteX94" fmla="*/ 1457325 w 8601075"/>
                  <a:gd name="connsiteY94" fmla="*/ 323850 h 4333875"/>
                  <a:gd name="connsiteX95" fmla="*/ 1323975 w 8601075"/>
                  <a:gd name="connsiteY95" fmla="*/ 285750 h 4333875"/>
                  <a:gd name="connsiteX96" fmla="*/ 1266825 w 8601075"/>
                  <a:gd name="connsiteY96" fmla="*/ 352425 h 4333875"/>
                  <a:gd name="connsiteX97" fmla="*/ 1009650 w 8601075"/>
                  <a:gd name="connsiteY97" fmla="*/ 390525 h 4333875"/>
                  <a:gd name="connsiteX98" fmla="*/ 828675 w 8601075"/>
                  <a:gd name="connsiteY98" fmla="*/ 447675 h 4333875"/>
                  <a:gd name="connsiteX99" fmla="*/ 619125 w 8601075"/>
                  <a:gd name="connsiteY99" fmla="*/ 533400 h 4333875"/>
                  <a:gd name="connsiteX100" fmla="*/ 619125 w 8601075"/>
                  <a:gd name="connsiteY100" fmla="*/ 533400 h 4333875"/>
                  <a:gd name="connsiteX101" fmla="*/ 561975 w 8601075"/>
                  <a:gd name="connsiteY101" fmla="*/ 619125 h 4333875"/>
                  <a:gd name="connsiteX102" fmla="*/ 447675 w 8601075"/>
                  <a:gd name="connsiteY102" fmla="*/ 63817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295275 w 8601075"/>
                  <a:gd name="connsiteY105" fmla="*/ 657225 h 4333875"/>
                  <a:gd name="connsiteX106" fmla="*/ 180975 w 8601075"/>
                  <a:gd name="connsiteY106" fmla="*/ 638175 h 4333875"/>
                  <a:gd name="connsiteX107" fmla="*/ 180975 w 8601075"/>
                  <a:gd name="connsiteY107" fmla="*/ 638175 h 4333875"/>
                  <a:gd name="connsiteX108" fmla="*/ 57150 w 8601075"/>
                  <a:gd name="connsiteY108" fmla="*/ 733425 h 4333875"/>
                  <a:gd name="connsiteX109" fmla="*/ 19050 w 8601075"/>
                  <a:gd name="connsiteY109" fmla="*/ 790575 h 4333875"/>
                  <a:gd name="connsiteX110" fmla="*/ 0 w 8601075"/>
                  <a:gd name="connsiteY110" fmla="*/ 876300 h 4333875"/>
                  <a:gd name="connsiteX111" fmla="*/ 57150 w 8601075"/>
                  <a:gd name="connsiteY111" fmla="*/ 923925 h 4333875"/>
                  <a:gd name="connsiteX112" fmla="*/ 57150 w 8601075"/>
                  <a:gd name="connsiteY112" fmla="*/ 923925 h 4333875"/>
                  <a:gd name="connsiteX113" fmla="*/ 209550 w 8601075"/>
                  <a:gd name="connsiteY113" fmla="*/ 1114425 h 4333875"/>
                  <a:gd name="connsiteX114" fmla="*/ 209550 w 8601075"/>
                  <a:gd name="connsiteY114" fmla="*/ 1114425 h 4333875"/>
                  <a:gd name="connsiteX115" fmla="*/ 266700 w 8601075"/>
                  <a:gd name="connsiteY115" fmla="*/ 1295400 h 4333875"/>
                  <a:gd name="connsiteX116" fmla="*/ 409575 w 8601075"/>
                  <a:gd name="connsiteY116" fmla="*/ 1276350 h 4333875"/>
                  <a:gd name="connsiteX117" fmla="*/ 466725 w 8601075"/>
                  <a:gd name="connsiteY117" fmla="*/ 1362075 h 4333875"/>
                  <a:gd name="connsiteX118" fmla="*/ 542925 w 8601075"/>
                  <a:gd name="connsiteY118" fmla="*/ 1428750 h 4333875"/>
                  <a:gd name="connsiteX119" fmla="*/ 628650 w 8601075"/>
                  <a:gd name="connsiteY119" fmla="*/ 1571625 h 4333875"/>
                  <a:gd name="connsiteX120" fmla="*/ 628650 w 8601075"/>
                  <a:gd name="connsiteY120" fmla="*/ 1704975 h 4333875"/>
                  <a:gd name="connsiteX121" fmla="*/ 676275 w 8601075"/>
                  <a:gd name="connsiteY121" fmla="*/ 1771650 h 4333875"/>
                  <a:gd name="connsiteX122" fmla="*/ 657225 w 8601075"/>
                  <a:gd name="connsiteY122" fmla="*/ 2000250 h 4333875"/>
                  <a:gd name="connsiteX123" fmla="*/ 619125 w 8601075"/>
                  <a:gd name="connsiteY123" fmla="*/ 2095500 h 4333875"/>
                  <a:gd name="connsiteX124" fmla="*/ 542925 w 8601075"/>
                  <a:gd name="connsiteY124" fmla="*/ 2228850 h 4333875"/>
                  <a:gd name="connsiteX125" fmla="*/ 485775 w 8601075"/>
                  <a:gd name="connsiteY125" fmla="*/ 2362200 h 4333875"/>
                  <a:gd name="connsiteX126" fmla="*/ 552450 w 8601075"/>
                  <a:gd name="connsiteY126" fmla="*/ 2486025 h 4333875"/>
                  <a:gd name="connsiteX127" fmla="*/ 771525 w 8601075"/>
                  <a:gd name="connsiteY127" fmla="*/ 2571750 h 4333875"/>
                  <a:gd name="connsiteX128" fmla="*/ 866775 w 8601075"/>
                  <a:gd name="connsiteY128" fmla="*/ 2571750 h 4333875"/>
                  <a:gd name="connsiteX129" fmla="*/ 914400 w 8601075"/>
                  <a:gd name="connsiteY129" fmla="*/ 2638425 h 4333875"/>
                  <a:gd name="connsiteX130" fmla="*/ 1066800 w 8601075"/>
                  <a:gd name="connsiteY130" fmla="*/ 2638425 h 4333875"/>
                  <a:gd name="connsiteX131" fmla="*/ 1285875 w 8601075"/>
                  <a:gd name="connsiteY131" fmla="*/ 2705100 h 4333875"/>
                  <a:gd name="connsiteX132" fmla="*/ 1438275 w 8601075"/>
                  <a:gd name="connsiteY132" fmla="*/ 2838450 h 4333875"/>
                  <a:gd name="connsiteX133" fmla="*/ 1485900 w 8601075"/>
                  <a:gd name="connsiteY133" fmla="*/ 2914650 h 4333875"/>
                  <a:gd name="connsiteX134" fmla="*/ 1657350 w 8601075"/>
                  <a:gd name="connsiteY134" fmla="*/ 3038475 h 4333875"/>
                  <a:gd name="connsiteX135" fmla="*/ 1752600 w 8601075"/>
                  <a:gd name="connsiteY135" fmla="*/ 3057525 h 4333875"/>
                  <a:gd name="connsiteX136" fmla="*/ 1724025 w 8601075"/>
                  <a:gd name="connsiteY136" fmla="*/ 3143250 h 4333875"/>
                  <a:gd name="connsiteX137" fmla="*/ 1724025 w 8601075"/>
                  <a:gd name="connsiteY137" fmla="*/ 3143250 h 4333875"/>
                  <a:gd name="connsiteX138" fmla="*/ 1781175 w 8601075"/>
                  <a:gd name="connsiteY138" fmla="*/ 3181350 h 4333875"/>
                  <a:gd name="connsiteX139" fmla="*/ 1819275 w 8601075"/>
                  <a:gd name="connsiteY139" fmla="*/ 3362325 h 4333875"/>
                  <a:gd name="connsiteX140" fmla="*/ 1828800 w 8601075"/>
                  <a:gd name="connsiteY140" fmla="*/ 3457575 h 4333875"/>
                  <a:gd name="connsiteX141" fmla="*/ 1971675 w 8601075"/>
                  <a:gd name="connsiteY141" fmla="*/ 3590925 h 4333875"/>
                  <a:gd name="connsiteX142" fmla="*/ 1990725 w 8601075"/>
                  <a:gd name="connsiteY142" fmla="*/ 3714750 h 4333875"/>
                  <a:gd name="connsiteX143" fmla="*/ 2200275 w 8601075"/>
                  <a:gd name="connsiteY143" fmla="*/ 3695700 h 4333875"/>
                  <a:gd name="connsiteX144" fmla="*/ 2886075 w 8601075"/>
                  <a:gd name="connsiteY144" fmla="*/ 3886200 h 4333875"/>
                  <a:gd name="connsiteX145" fmla="*/ 3038475 w 8601075"/>
                  <a:gd name="connsiteY145" fmla="*/ 3819525 h 4333875"/>
                  <a:gd name="connsiteX146" fmla="*/ 3105150 w 8601075"/>
                  <a:gd name="connsiteY146" fmla="*/ 3867150 h 4333875"/>
                  <a:gd name="connsiteX147" fmla="*/ 3181350 w 8601075"/>
                  <a:gd name="connsiteY147" fmla="*/ 3800475 h 4333875"/>
                  <a:gd name="connsiteX148" fmla="*/ 3590925 w 8601075"/>
                  <a:gd name="connsiteY148" fmla="*/ 3943350 h 4333875"/>
                  <a:gd name="connsiteX149" fmla="*/ 3686175 w 8601075"/>
                  <a:gd name="connsiteY149" fmla="*/ 4057650 h 4333875"/>
                  <a:gd name="connsiteX150" fmla="*/ 3838575 w 8601075"/>
                  <a:gd name="connsiteY150" fmla="*/ 4057650 h 4333875"/>
                  <a:gd name="connsiteX151" fmla="*/ 4162425 w 8601075"/>
                  <a:gd name="connsiteY151" fmla="*/ 4248150 h 4333875"/>
                  <a:gd name="connsiteX152" fmla="*/ 4391025 w 8601075"/>
                  <a:gd name="connsiteY152" fmla="*/ 4200525 h 4333875"/>
                  <a:gd name="connsiteX153" fmla="*/ 4410075 w 8601075"/>
                  <a:gd name="connsiteY153" fmla="*/ 4305300 h 4333875"/>
                  <a:gd name="connsiteX154" fmla="*/ 4505325 w 8601075"/>
                  <a:gd name="connsiteY154" fmla="*/ 4276725 h 4333875"/>
                  <a:gd name="connsiteX155" fmla="*/ 4572000 w 8601075"/>
                  <a:gd name="connsiteY155" fmla="*/ 4333875 h 4333875"/>
                  <a:gd name="connsiteX156" fmla="*/ 4591050 w 8601075"/>
                  <a:gd name="connsiteY156" fmla="*/ 4248150 h 4333875"/>
                  <a:gd name="connsiteX157" fmla="*/ 5295900 w 8601075"/>
                  <a:gd name="connsiteY157" fmla="*/ 3924300 h 4333875"/>
                  <a:gd name="connsiteX158" fmla="*/ 5353050 w 8601075"/>
                  <a:gd name="connsiteY158" fmla="*/ 3990975 h 4333875"/>
                  <a:gd name="connsiteX159" fmla="*/ 5524500 w 8601075"/>
                  <a:gd name="connsiteY159" fmla="*/ 3914775 h 4333875"/>
                  <a:gd name="connsiteX160" fmla="*/ 5667375 w 8601075"/>
                  <a:gd name="connsiteY160" fmla="*/ 3962400 h 4333875"/>
                  <a:gd name="connsiteX161" fmla="*/ 5753100 w 8601075"/>
                  <a:gd name="connsiteY161" fmla="*/ 3924300 h 4333875"/>
                  <a:gd name="connsiteX162" fmla="*/ 5905500 w 8601075"/>
                  <a:gd name="connsiteY162" fmla="*/ 3943350 h 4333875"/>
                  <a:gd name="connsiteX163" fmla="*/ 6000750 w 8601075"/>
                  <a:gd name="connsiteY163" fmla="*/ 3800475 h 4333875"/>
                  <a:gd name="connsiteX164" fmla="*/ 6153150 w 8601075"/>
                  <a:gd name="connsiteY164" fmla="*/ 3781425 h 4333875"/>
                  <a:gd name="connsiteX165" fmla="*/ 6257925 w 8601075"/>
                  <a:gd name="connsiteY165" fmla="*/ 3581400 h 4333875"/>
                  <a:gd name="connsiteX166" fmla="*/ 6448425 w 8601075"/>
                  <a:gd name="connsiteY166" fmla="*/ 3448050 h 4333875"/>
                  <a:gd name="connsiteX167" fmla="*/ 6581775 w 8601075"/>
                  <a:gd name="connsiteY167" fmla="*/ 3276600 h 4333875"/>
                  <a:gd name="connsiteX168" fmla="*/ 6496050 w 8601075"/>
                  <a:gd name="connsiteY168" fmla="*/ 3228975 h 4333875"/>
                  <a:gd name="connsiteX169" fmla="*/ 6438900 w 8601075"/>
                  <a:gd name="connsiteY169" fmla="*/ 3162300 h 4333875"/>
                  <a:gd name="connsiteX170" fmla="*/ 6419850 w 8601075"/>
                  <a:gd name="connsiteY170" fmla="*/ 3105150 h 4333875"/>
                  <a:gd name="connsiteX171" fmla="*/ 6362700 w 8601075"/>
                  <a:gd name="connsiteY171" fmla="*/ 3076575 h 4333875"/>
                  <a:gd name="connsiteX172" fmla="*/ 6410325 w 8601075"/>
                  <a:gd name="connsiteY172" fmla="*/ 3019425 h 4333875"/>
                  <a:gd name="connsiteX173" fmla="*/ 6438900 w 8601075"/>
                  <a:gd name="connsiteY173" fmla="*/ 2819400 h 4333875"/>
                  <a:gd name="connsiteX174" fmla="*/ 6496050 w 8601075"/>
                  <a:gd name="connsiteY174" fmla="*/ 2762250 h 4333875"/>
                  <a:gd name="connsiteX175" fmla="*/ 6657975 w 8601075"/>
                  <a:gd name="connsiteY175" fmla="*/ 2752725 h 4333875"/>
                  <a:gd name="connsiteX176" fmla="*/ 6781800 w 8601075"/>
                  <a:gd name="connsiteY176" fmla="*/ 2838450 h 4333875"/>
                  <a:gd name="connsiteX177" fmla="*/ 7010400 w 8601075"/>
                  <a:gd name="connsiteY177" fmla="*/ 2838450 h 4333875"/>
                  <a:gd name="connsiteX178" fmla="*/ 7162800 w 8601075"/>
                  <a:gd name="connsiteY178" fmla="*/ 2705100 h 4333875"/>
                  <a:gd name="connsiteX179" fmla="*/ 7229475 w 8601075"/>
                  <a:gd name="connsiteY179" fmla="*/ 2590800 h 4333875"/>
                  <a:gd name="connsiteX180" fmla="*/ 7248525 w 8601075"/>
                  <a:gd name="connsiteY180" fmla="*/ 2524125 h 4333875"/>
                  <a:gd name="connsiteX181" fmla="*/ 7372350 w 8601075"/>
                  <a:gd name="connsiteY181" fmla="*/ 2543175 h 4333875"/>
                  <a:gd name="connsiteX182" fmla="*/ 7553325 w 8601075"/>
                  <a:gd name="connsiteY182" fmla="*/ 2447925 h 4333875"/>
                  <a:gd name="connsiteX183" fmla="*/ 7620000 w 8601075"/>
                  <a:gd name="connsiteY183" fmla="*/ 2324100 h 4333875"/>
                  <a:gd name="connsiteX184" fmla="*/ 7696200 w 8601075"/>
                  <a:gd name="connsiteY184" fmla="*/ 2314575 h 4333875"/>
                  <a:gd name="connsiteX185" fmla="*/ 7658100 w 8601075"/>
                  <a:gd name="connsiteY185" fmla="*/ 2257425 h 4333875"/>
                  <a:gd name="connsiteX186" fmla="*/ 7753350 w 8601075"/>
                  <a:gd name="connsiteY186" fmla="*/ 2057400 h 4333875"/>
                  <a:gd name="connsiteX187" fmla="*/ 7934325 w 8601075"/>
                  <a:gd name="connsiteY187" fmla="*/ 2028825 h 4333875"/>
                  <a:gd name="connsiteX188" fmla="*/ 7953375 w 8601075"/>
                  <a:gd name="connsiteY188" fmla="*/ 1952625 h 4333875"/>
                  <a:gd name="connsiteX189" fmla="*/ 7953375 w 8601075"/>
                  <a:gd name="connsiteY189" fmla="*/ 1952625 h 4333875"/>
                  <a:gd name="connsiteX190" fmla="*/ 8010525 w 8601075"/>
                  <a:gd name="connsiteY190" fmla="*/ 1895475 h 4333875"/>
                  <a:gd name="connsiteX191" fmla="*/ 8048625 w 8601075"/>
                  <a:gd name="connsiteY191" fmla="*/ 1971675 h 4333875"/>
                  <a:gd name="connsiteX192" fmla="*/ 8077200 w 8601075"/>
                  <a:gd name="connsiteY192" fmla="*/ 1885950 h 4333875"/>
                  <a:gd name="connsiteX193" fmla="*/ 8220075 w 8601075"/>
                  <a:gd name="connsiteY193" fmla="*/ 1847850 h 4333875"/>
                  <a:gd name="connsiteX194" fmla="*/ 8296275 w 8601075"/>
                  <a:gd name="connsiteY194" fmla="*/ 1809750 h 4333875"/>
                  <a:gd name="connsiteX195" fmla="*/ 8324850 w 8601075"/>
                  <a:gd name="connsiteY195" fmla="*/ 1790700 h 4333875"/>
                  <a:gd name="connsiteX196" fmla="*/ 8410575 w 8601075"/>
                  <a:gd name="connsiteY196" fmla="*/ 1847850 h 4333875"/>
                  <a:gd name="connsiteX197" fmla="*/ 8505825 w 8601075"/>
                  <a:gd name="connsiteY197" fmla="*/ 1781175 h 4333875"/>
                  <a:gd name="connsiteX198" fmla="*/ 8572500 w 8601075"/>
                  <a:gd name="connsiteY198" fmla="*/ 1809750 h 4333875"/>
                  <a:gd name="connsiteX199" fmla="*/ 8601075 w 8601075"/>
                  <a:gd name="connsiteY199" fmla="*/ 1704975 h 4333875"/>
                  <a:gd name="connsiteX200" fmla="*/ 8553450 w 8601075"/>
                  <a:gd name="connsiteY200" fmla="*/ 1676400 h 4333875"/>
                  <a:gd name="connsiteX201" fmla="*/ 8534400 w 8601075"/>
                  <a:gd name="connsiteY201" fmla="*/ 1609725 h 4333875"/>
                  <a:gd name="connsiteX202" fmla="*/ 8277225 w 8601075"/>
                  <a:gd name="connsiteY202" fmla="*/ 1409700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124825 w 8601075"/>
                  <a:gd name="connsiteY205" fmla="*/ 1352550 h 4333875"/>
                  <a:gd name="connsiteX206" fmla="*/ 7924800 w 8601075"/>
                  <a:gd name="connsiteY206" fmla="*/ 1362075 h 4333875"/>
                  <a:gd name="connsiteX207" fmla="*/ 7867650 w 8601075"/>
                  <a:gd name="connsiteY207" fmla="*/ 1457325 h 4333875"/>
                  <a:gd name="connsiteX208" fmla="*/ 7896225 w 8601075"/>
                  <a:gd name="connsiteY208" fmla="*/ 1476375 h 4333875"/>
                  <a:gd name="connsiteX209" fmla="*/ 7858125 w 8601075"/>
                  <a:gd name="connsiteY209" fmla="*/ 1533525 h 4333875"/>
                  <a:gd name="connsiteX210" fmla="*/ 7658100 w 8601075"/>
                  <a:gd name="connsiteY210" fmla="*/ 1447800 h 4333875"/>
                  <a:gd name="connsiteX211" fmla="*/ 7515225 w 8601075"/>
                  <a:gd name="connsiteY211" fmla="*/ 1495425 h 4333875"/>
                  <a:gd name="connsiteX212" fmla="*/ 7467600 w 8601075"/>
                  <a:gd name="connsiteY212" fmla="*/ 1581150 h 4333875"/>
                  <a:gd name="connsiteX213" fmla="*/ 7296150 w 8601075"/>
                  <a:gd name="connsiteY21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1990725 w 8601075"/>
                  <a:gd name="connsiteY88" fmla="*/ 762000 h 4333875"/>
                  <a:gd name="connsiteX89" fmla="*/ 1885950 w 8601075"/>
                  <a:gd name="connsiteY89" fmla="*/ 742950 h 4333875"/>
                  <a:gd name="connsiteX90" fmla="*/ 1800225 w 8601075"/>
                  <a:gd name="connsiteY90" fmla="*/ 638175 h 4333875"/>
                  <a:gd name="connsiteX91" fmla="*/ 1809750 w 8601075"/>
                  <a:gd name="connsiteY91" fmla="*/ 495300 h 4333875"/>
                  <a:gd name="connsiteX92" fmla="*/ 1733550 w 8601075"/>
                  <a:gd name="connsiteY92" fmla="*/ 466725 h 4333875"/>
                  <a:gd name="connsiteX93" fmla="*/ 1485900 w 8601075"/>
                  <a:gd name="connsiteY93" fmla="*/ 419100 h 4333875"/>
                  <a:gd name="connsiteX94" fmla="*/ 1457325 w 8601075"/>
                  <a:gd name="connsiteY94" fmla="*/ 323850 h 4333875"/>
                  <a:gd name="connsiteX95" fmla="*/ 1457325 w 8601075"/>
                  <a:gd name="connsiteY95" fmla="*/ 323850 h 4333875"/>
                  <a:gd name="connsiteX96" fmla="*/ 1323975 w 8601075"/>
                  <a:gd name="connsiteY96" fmla="*/ 285750 h 4333875"/>
                  <a:gd name="connsiteX97" fmla="*/ 1266825 w 8601075"/>
                  <a:gd name="connsiteY97" fmla="*/ 352425 h 4333875"/>
                  <a:gd name="connsiteX98" fmla="*/ 1009650 w 8601075"/>
                  <a:gd name="connsiteY98" fmla="*/ 390525 h 4333875"/>
                  <a:gd name="connsiteX99" fmla="*/ 828675 w 8601075"/>
                  <a:gd name="connsiteY99" fmla="*/ 447675 h 4333875"/>
                  <a:gd name="connsiteX100" fmla="*/ 619125 w 8601075"/>
                  <a:gd name="connsiteY100" fmla="*/ 533400 h 4333875"/>
                  <a:gd name="connsiteX101" fmla="*/ 619125 w 8601075"/>
                  <a:gd name="connsiteY101" fmla="*/ 533400 h 4333875"/>
                  <a:gd name="connsiteX102" fmla="*/ 561975 w 8601075"/>
                  <a:gd name="connsiteY102" fmla="*/ 619125 h 4333875"/>
                  <a:gd name="connsiteX103" fmla="*/ 447675 w 8601075"/>
                  <a:gd name="connsiteY103" fmla="*/ 63817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295275 w 8601075"/>
                  <a:gd name="connsiteY106" fmla="*/ 657225 h 4333875"/>
                  <a:gd name="connsiteX107" fmla="*/ 180975 w 8601075"/>
                  <a:gd name="connsiteY107" fmla="*/ 638175 h 4333875"/>
                  <a:gd name="connsiteX108" fmla="*/ 180975 w 8601075"/>
                  <a:gd name="connsiteY108" fmla="*/ 638175 h 4333875"/>
                  <a:gd name="connsiteX109" fmla="*/ 57150 w 8601075"/>
                  <a:gd name="connsiteY109" fmla="*/ 733425 h 4333875"/>
                  <a:gd name="connsiteX110" fmla="*/ 19050 w 8601075"/>
                  <a:gd name="connsiteY110" fmla="*/ 790575 h 4333875"/>
                  <a:gd name="connsiteX111" fmla="*/ 0 w 8601075"/>
                  <a:gd name="connsiteY111" fmla="*/ 876300 h 4333875"/>
                  <a:gd name="connsiteX112" fmla="*/ 57150 w 8601075"/>
                  <a:gd name="connsiteY112" fmla="*/ 923925 h 4333875"/>
                  <a:gd name="connsiteX113" fmla="*/ 57150 w 8601075"/>
                  <a:gd name="connsiteY113" fmla="*/ 923925 h 4333875"/>
                  <a:gd name="connsiteX114" fmla="*/ 209550 w 8601075"/>
                  <a:gd name="connsiteY114" fmla="*/ 1114425 h 4333875"/>
                  <a:gd name="connsiteX115" fmla="*/ 209550 w 8601075"/>
                  <a:gd name="connsiteY115" fmla="*/ 1114425 h 4333875"/>
                  <a:gd name="connsiteX116" fmla="*/ 266700 w 8601075"/>
                  <a:gd name="connsiteY116" fmla="*/ 1295400 h 4333875"/>
                  <a:gd name="connsiteX117" fmla="*/ 409575 w 8601075"/>
                  <a:gd name="connsiteY117" fmla="*/ 1276350 h 4333875"/>
                  <a:gd name="connsiteX118" fmla="*/ 466725 w 8601075"/>
                  <a:gd name="connsiteY118" fmla="*/ 1362075 h 4333875"/>
                  <a:gd name="connsiteX119" fmla="*/ 542925 w 8601075"/>
                  <a:gd name="connsiteY119" fmla="*/ 1428750 h 4333875"/>
                  <a:gd name="connsiteX120" fmla="*/ 628650 w 8601075"/>
                  <a:gd name="connsiteY120" fmla="*/ 1571625 h 4333875"/>
                  <a:gd name="connsiteX121" fmla="*/ 628650 w 8601075"/>
                  <a:gd name="connsiteY121" fmla="*/ 1704975 h 4333875"/>
                  <a:gd name="connsiteX122" fmla="*/ 676275 w 8601075"/>
                  <a:gd name="connsiteY122" fmla="*/ 1771650 h 4333875"/>
                  <a:gd name="connsiteX123" fmla="*/ 657225 w 8601075"/>
                  <a:gd name="connsiteY123" fmla="*/ 2000250 h 4333875"/>
                  <a:gd name="connsiteX124" fmla="*/ 619125 w 8601075"/>
                  <a:gd name="connsiteY124" fmla="*/ 2095500 h 4333875"/>
                  <a:gd name="connsiteX125" fmla="*/ 542925 w 8601075"/>
                  <a:gd name="connsiteY125" fmla="*/ 2228850 h 4333875"/>
                  <a:gd name="connsiteX126" fmla="*/ 485775 w 8601075"/>
                  <a:gd name="connsiteY126" fmla="*/ 2362200 h 4333875"/>
                  <a:gd name="connsiteX127" fmla="*/ 552450 w 8601075"/>
                  <a:gd name="connsiteY127" fmla="*/ 2486025 h 4333875"/>
                  <a:gd name="connsiteX128" fmla="*/ 771525 w 8601075"/>
                  <a:gd name="connsiteY128" fmla="*/ 2571750 h 4333875"/>
                  <a:gd name="connsiteX129" fmla="*/ 866775 w 8601075"/>
                  <a:gd name="connsiteY129" fmla="*/ 2571750 h 4333875"/>
                  <a:gd name="connsiteX130" fmla="*/ 914400 w 8601075"/>
                  <a:gd name="connsiteY130" fmla="*/ 2638425 h 4333875"/>
                  <a:gd name="connsiteX131" fmla="*/ 1066800 w 8601075"/>
                  <a:gd name="connsiteY131" fmla="*/ 2638425 h 4333875"/>
                  <a:gd name="connsiteX132" fmla="*/ 1285875 w 8601075"/>
                  <a:gd name="connsiteY132" fmla="*/ 2705100 h 4333875"/>
                  <a:gd name="connsiteX133" fmla="*/ 1438275 w 8601075"/>
                  <a:gd name="connsiteY133" fmla="*/ 2838450 h 4333875"/>
                  <a:gd name="connsiteX134" fmla="*/ 1485900 w 8601075"/>
                  <a:gd name="connsiteY134" fmla="*/ 2914650 h 4333875"/>
                  <a:gd name="connsiteX135" fmla="*/ 1657350 w 8601075"/>
                  <a:gd name="connsiteY135" fmla="*/ 3038475 h 4333875"/>
                  <a:gd name="connsiteX136" fmla="*/ 1752600 w 8601075"/>
                  <a:gd name="connsiteY136" fmla="*/ 3057525 h 4333875"/>
                  <a:gd name="connsiteX137" fmla="*/ 1724025 w 8601075"/>
                  <a:gd name="connsiteY137" fmla="*/ 3143250 h 4333875"/>
                  <a:gd name="connsiteX138" fmla="*/ 1724025 w 8601075"/>
                  <a:gd name="connsiteY138" fmla="*/ 3143250 h 4333875"/>
                  <a:gd name="connsiteX139" fmla="*/ 1781175 w 8601075"/>
                  <a:gd name="connsiteY139" fmla="*/ 3181350 h 4333875"/>
                  <a:gd name="connsiteX140" fmla="*/ 1819275 w 8601075"/>
                  <a:gd name="connsiteY140" fmla="*/ 3362325 h 4333875"/>
                  <a:gd name="connsiteX141" fmla="*/ 1828800 w 8601075"/>
                  <a:gd name="connsiteY141" fmla="*/ 3457575 h 4333875"/>
                  <a:gd name="connsiteX142" fmla="*/ 1971675 w 8601075"/>
                  <a:gd name="connsiteY142" fmla="*/ 3590925 h 4333875"/>
                  <a:gd name="connsiteX143" fmla="*/ 1990725 w 8601075"/>
                  <a:gd name="connsiteY143" fmla="*/ 3714750 h 4333875"/>
                  <a:gd name="connsiteX144" fmla="*/ 2200275 w 8601075"/>
                  <a:gd name="connsiteY144" fmla="*/ 3695700 h 4333875"/>
                  <a:gd name="connsiteX145" fmla="*/ 2886075 w 8601075"/>
                  <a:gd name="connsiteY145" fmla="*/ 3886200 h 4333875"/>
                  <a:gd name="connsiteX146" fmla="*/ 3038475 w 8601075"/>
                  <a:gd name="connsiteY146" fmla="*/ 3819525 h 4333875"/>
                  <a:gd name="connsiteX147" fmla="*/ 3105150 w 8601075"/>
                  <a:gd name="connsiteY147" fmla="*/ 3867150 h 4333875"/>
                  <a:gd name="connsiteX148" fmla="*/ 3181350 w 8601075"/>
                  <a:gd name="connsiteY148" fmla="*/ 3800475 h 4333875"/>
                  <a:gd name="connsiteX149" fmla="*/ 3590925 w 8601075"/>
                  <a:gd name="connsiteY149" fmla="*/ 3943350 h 4333875"/>
                  <a:gd name="connsiteX150" fmla="*/ 3686175 w 8601075"/>
                  <a:gd name="connsiteY150" fmla="*/ 4057650 h 4333875"/>
                  <a:gd name="connsiteX151" fmla="*/ 3838575 w 8601075"/>
                  <a:gd name="connsiteY151" fmla="*/ 4057650 h 4333875"/>
                  <a:gd name="connsiteX152" fmla="*/ 4162425 w 8601075"/>
                  <a:gd name="connsiteY152" fmla="*/ 4248150 h 4333875"/>
                  <a:gd name="connsiteX153" fmla="*/ 4391025 w 8601075"/>
                  <a:gd name="connsiteY153" fmla="*/ 4200525 h 4333875"/>
                  <a:gd name="connsiteX154" fmla="*/ 4410075 w 8601075"/>
                  <a:gd name="connsiteY154" fmla="*/ 4305300 h 4333875"/>
                  <a:gd name="connsiteX155" fmla="*/ 4505325 w 8601075"/>
                  <a:gd name="connsiteY155" fmla="*/ 4276725 h 4333875"/>
                  <a:gd name="connsiteX156" fmla="*/ 4572000 w 8601075"/>
                  <a:gd name="connsiteY156" fmla="*/ 4333875 h 4333875"/>
                  <a:gd name="connsiteX157" fmla="*/ 4591050 w 8601075"/>
                  <a:gd name="connsiteY157" fmla="*/ 4248150 h 4333875"/>
                  <a:gd name="connsiteX158" fmla="*/ 5295900 w 8601075"/>
                  <a:gd name="connsiteY158" fmla="*/ 3924300 h 4333875"/>
                  <a:gd name="connsiteX159" fmla="*/ 5353050 w 8601075"/>
                  <a:gd name="connsiteY159" fmla="*/ 3990975 h 4333875"/>
                  <a:gd name="connsiteX160" fmla="*/ 5524500 w 8601075"/>
                  <a:gd name="connsiteY160" fmla="*/ 3914775 h 4333875"/>
                  <a:gd name="connsiteX161" fmla="*/ 5667375 w 8601075"/>
                  <a:gd name="connsiteY161" fmla="*/ 3962400 h 4333875"/>
                  <a:gd name="connsiteX162" fmla="*/ 5753100 w 8601075"/>
                  <a:gd name="connsiteY162" fmla="*/ 3924300 h 4333875"/>
                  <a:gd name="connsiteX163" fmla="*/ 5905500 w 8601075"/>
                  <a:gd name="connsiteY163" fmla="*/ 3943350 h 4333875"/>
                  <a:gd name="connsiteX164" fmla="*/ 6000750 w 8601075"/>
                  <a:gd name="connsiteY164" fmla="*/ 3800475 h 4333875"/>
                  <a:gd name="connsiteX165" fmla="*/ 6153150 w 8601075"/>
                  <a:gd name="connsiteY165" fmla="*/ 3781425 h 4333875"/>
                  <a:gd name="connsiteX166" fmla="*/ 6257925 w 8601075"/>
                  <a:gd name="connsiteY166" fmla="*/ 3581400 h 4333875"/>
                  <a:gd name="connsiteX167" fmla="*/ 6448425 w 8601075"/>
                  <a:gd name="connsiteY167" fmla="*/ 3448050 h 4333875"/>
                  <a:gd name="connsiteX168" fmla="*/ 6581775 w 8601075"/>
                  <a:gd name="connsiteY168" fmla="*/ 3276600 h 4333875"/>
                  <a:gd name="connsiteX169" fmla="*/ 6496050 w 8601075"/>
                  <a:gd name="connsiteY169" fmla="*/ 3228975 h 4333875"/>
                  <a:gd name="connsiteX170" fmla="*/ 6438900 w 8601075"/>
                  <a:gd name="connsiteY170" fmla="*/ 3162300 h 4333875"/>
                  <a:gd name="connsiteX171" fmla="*/ 6419850 w 8601075"/>
                  <a:gd name="connsiteY171" fmla="*/ 3105150 h 4333875"/>
                  <a:gd name="connsiteX172" fmla="*/ 6362700 w 8601075"/>
                  <a:gd name="connsiteY172" fmla="*/ 3076575 h 4333875"/>
                  <a:gd name="connsiteX173" fmla="*/ 6410325 w 8601075"/>
                  <a:gd name="connsiteY173" fmla="*/ 3019425 h 4333875"/>
                  <a:gd name="connsiteX174" fmla="*/ 6438900 w 8601075"/>
                  <a:gd name="connsiteY174" fmla="*/ 2819400 h 4333875"/>
                  <a:gd name="connsiteX175" fmla="*/ 6496050 w 8601075"/>
                  <a:gd name="connsiteY175" fmla="*/ 2762250 h 4333875"/>
                  <a:gd name="connsiteX176" fmla="*/ 6657975 w 8601075"/>
                  <a:gd name="connsiteY176" fmla="*/ 2752725 h 4333875"/>
                  <a:gd name="connsiteX177" fmla="*/ 6781800 w 8601075"/>
                  <a:gd name="connsiteY177" fmla="*/ 2838450 h 4333875"/>
                  <a:gd name="connsiteX178" fmla="*/ 7010400 w 8601075"/>
                  <a:gd name="connsiteY178" fmla="*/ 2838450 h 4333875"/>
                  <a:gd name="connsiteX179" fmla="*/ 7162800 w 8601075"/>
                  <a:gd name="connsiteY179" fmla="*/ 2705100 h 4333875"/>
                  <a:gd name="connsiteX180" fmla="*/ 7229475 w 8601075"/>
                  <a:gd name="connsiteY180" fmla="*/ 2590800 h 4333875"/>
                  <a:gd name="connsiteX181" fmla="*/ 7248525 w 8601075"/>
                  <a:gd name="connsiteY181" fmla="*/ 2524125 h 4333875"/>
                  <a:gd name="connsiteX182" fmla="*/ 7372350 w 8601075"/>
                  <a:gd name="connsiteY182" fmla="*/ 2543175 h 4333875"/>
                  <a:gd name="connsiteX183" fmla="*/ 7553325 w 8601075"/>
                  <a:gd name="connsiteY183" fmla="*/ 2447925 h 4333875"/>
                  <a:gd name="connsiteX184" fmla="*/ 7620000 w 8601075"/>
                  <a:gd name="connsiteY184" fmla="*/ 2324100 h 4333875"/>
                  <a:gd name="connsiteX185" fmla="*/ 7696200 w 8601075"/>
                  <a:gd name="connsiteY185" fmla="*/ 2314575 h 4333875"/>
                  <a:gd name="connsiteX186" fmla="*/ 7658100 w 8601075"/>
                  <a:gd name="connsiteY186" fmla="*/ 2257425 h 4333875"/>
                  <a:gd name="connsiteX187" fmla="*/ 7753350 w 8601075"/>
                  <a:gd name="connsiteY187" fmla="*/ 2057400 h 4333875"/>
                  <a:gd name="connsiteX188" fmla="*/ 7934325 w 8601075"/>
                  <a:gd name="connsiteY188" fmla="*/ 2028825 h 4333875"/>
                  <a:gd name="connsiteX189" fmla="*/ 7953375 w 8601075"/>
                  <a:gd name="connsiteY189" fmla="*/ 1952625 h 4333875"/>
                  <a:gd name="connsiteX190" fmla="*/ 7953375 w 8601075"/>
                  <a:gd name="connsiteY190" fmla="*/ 1952625 h 4333875"/>
                  <a:gd name="connsiteX191" fmla="*/ 8010525 w 8601075"/>
                  <a:gd name="connsiteY191" fmla="*/ 1895475 h 4333875"/>
                  <a:gd name="connsiteX192" fmla="*/ 8048625 w 8601075"/>
                  <a:gd name="connsiteY192" fmla="*/ 1971675 h 4333875"/>
                  <a:gd name="connsiteX193" fmla="*/ 8077200 w 8601075"/>
                  <a:gd name="connsiteY193" fmla="*/ 1885950 h 4333875"/>
                  <a:gd name="connsiteX194" fmla="*/ 8220075 w 8601075"/>
                  <a:gd name="connsiteY194" fmla="*/ 1847850 h 4333875"/>
                  <a:gd name="connsiteX195" fmla="*/ 8296275 w 8601075"/>
                  <a:gd name="connsiteY195" fmla="*/ 1809750 h 4333875"/>
                  <a:gd name="connsiteX196" fmla="*/ 8324850 w 8601075"/>
                  <a:gd name="connsiteY196" fmla="*/ 1790700 h 4333875"/>
                  <a:gd name="connsiteX197" fmla="*/ 8410575 w 8601075"/>
                  <a:gd name="connsiteY197" fmla="*/ 1847850 h 4333875"/>
                  <a:gd name="connsiteX198" fmla="*/ 8505825 w 8601075"/>
                  <a:gd name="connsiteY198" fmla="*/ 1781175 h 4333875"/>
                  <a:gd name="connsiteX199" fmla="*/ 8572500 w 8601075"/>
                  <a:gd name="connsiteY199" fmla="*/ 1809750 h 4333875"/>
                  <a:gd name="connsiteX200" fmla="*/ 8601075 w 8601075"/>
                  <a:gd name="connsiteY200" fmla="*/ 1704975 h 4333875"/>
                  <a:gd name="connsiteX201" fmla="*/ 8553450 w 8601075"/>
                  <a:gd name="connsiteY201" fmla="*/ 1676400 h 4333875"/>
                  <a:gd name="connsiteX202" fmla="*/ 8534400 w 8601075"/>
                  <a:gd name="connsiteY202" fmla="*/ 1609725 h 4333875"/>
                  <a:gd name="connsiteX203" fmla="*/ 8277225 w 8601075"/>
                  <a:gd name="connsiteY203" fmla="*/ 1409700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124825 w 8601075"/>
                  <a:gd name="connsiteY206" fmla="*/ 1352550 h 4333875"/>
                  <a:gd name="connsiteX207" fmla="*/ 7924800 w 8601075"/>
                  <a:gd name="connsiteY207" fmla="*/ 1362075 h 4333875"/>
                  <a:gd name="connsiteX208" fmla="*/ 7867650 w 8601075"/>
                  <a:gd name="connsiteY208" fmla="*/ 1457325 h 4333875"/>
                  <a:gd name="connsiteX209" fmla="*/ 7896225 w 8601075"/>
                  <a:gd name="connsiteY209" fmla="*/ 1476375 h 4333875"/>
                  <a:gd name="connsiteX210" fmla="*/ 7858125 w 8601075"/>
                  <a:gd name="connsiteY210" fmla="*/ 1533525 h 4333875"/>
                  <a:gd name="connsiteX211" fmla="*/ 7658100 w 8601075"/>
                  <a:gd name="connsiteY211" fmla="*/ 1447800 h 4333875"/>
                  <a:gd name="connsiteX212" fmla="*/ 7515225 w 8601075"/>
                  <a:gd name="connsiteY212" fmla="*/ 1495425 h 4333875"/>
                  <a:gd name="connsiteX213" fmla="*/ 7467600 w 8601075"/>
                  <a:gd name="connsiteY213" fmla="*/ 1581150 h 4333875"/>
                  <a:gd name="connsiteX214" fmla="*/ 7296150 w 8601075"/>
                  <a:gd name="connsiteY21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90725 w 8601075"/>
                  <a:gd name="connsiteY89" fmla="*/ 762000 h 4333875"/>
                  <a:gd name="connsiteX90" fmla="*/ 1885950 w 8601075"/>
                  <a:gd name="connsiteY90" fmla="*/ 742950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885950 w 8601075"/>
                  <a:gd name="connsiteY90" fmla="*/ 742950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852613 w 8601075"/>
                  <a:gd name="connsiteY90" fmla="*/ 728663 h 4333875"/>
                  <a:gd name="connsiteX91" fmla="*/ 1800225 w 8601075"/>
                  <a:gd name="connsiteY91" fmla="*/ 638175 h 4333875"/>
                  <a:gd name="connsiteX92" fmla="*/ 1809750 w 8601075"/>
                  <a:gd name="connsiteY92" fmla="*/ 495300 h 4333875"/>
                  <a:gd name="connsiteX93" fmla="*/ 1733550 w 8601075"/>
                  <a:gd name="connsiteY93" fmla="*/ 466725 h 4333875"/>
                  <a:gd name="connsiteX94" fmla="*/ 1485900 w 8601075"/>
                  <a:gd name="connsiteY94" fmla="*/ 419100 h 4333875"/>
                  <a:gd name="connsiteX95" fmla="*/ 1457325 w 8601075"/>
                  <a:gd name="connsiteY95" fmla="*/ 323850 h 4333875"/>
                  <a:gd name="connsiteX96" fmla="*/ 1457325 w 8601075"/>
                  <a:gd name="connsiteY96" fmla="*/ 323850 h 4333875"/>
                  <a:gd name="connsiteX97" fmla="*/ 1323975 w 8601075"/>
                  <a:gd name="connsiteY97" fmla="*/ 285750 h 4333875"/>
                  <a:gd name="connsiteX98" fmla="*/ 1266825 w 8601075"/>
                  <a:gd name="connsiteY98" fmla="*/ 352425 h 4333875"/>
                  <a:gd name="connsiteX99" fmla="*/ 1009650 w 8601075"/>
                  <a:gd name="connsiteY99" fmla="*/ 390525 h 4333875"/>
                  <a:gd name="connsiteX100" fmla="*/ 828675 w 8601075"/>
                  <a:gd name="connsiteY100" fmla="*/ 447675 h 4333875"/>
                  <a:gd name="connsiteX101" fmla="*/ 619125 w 8601075"/>
                  <a:gd name="connsiteY101" fmla="*/ 533400 h 4333875"/>
                  <a:gd name="connsiteX102" fmla="*/ 619125 w 8601075"/>
                  <a:gd name="connsiteY102" fmla="*/ 533400 h 4333875"/>
                  <a:gd name="connsiteX103" fmla="*/ 561975 w 8601075"/>
                  <a:gd name="connsiteY103" fmla="*/ 619125 h 4333875"/>
                  <a:gd name="connsiteX104" fmla="*/ 447675 w 8601075"/>
                  <a:gd name="connsiteY104" fmla="*/ 63817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295275 w 8601075"/>
                  <a:gd name="connsiteY107" fmla="*/ 657225 h 4333875"/>
                  <a:gd name="connsiteX108" fmla="*/ 180975 w 8601075"/>
                  <a:gd name="connsiteY108" fmla="*/ 638175 h 4333875"/>
                  <a:gd name="connsiteX109" fmla="*/ 180975 w 8601075"/>
                  <a:gd name="connsiteY109" fmla="*/ 638175 h 4333875"/>
                  <a:gd name="connsiteX110" fmla="*/ 57150 w 8601075"/>
                  <a:gd name="connsiteY110" fmla="*/ 733425 h 4333875"/>
                  <a:gd name="connsiteX111" fmla="*/ 19050 w 8601075"/>
                  <a:gd name="connsiteY111" fmla="*/ 790575 h 4333875"/>
                  <a:gd name="connsiteX112" fmla="*/ 0 w 8601075"/>
                  <a:gd name="connsiteY112" fmla="*/ 876300 h 4333875"/>
                  <a:gd name="connsiteX113" fmla="*/ 57150 w 8601075"/>
                  <a:gd name="connsiteY113" fmla="*/ 923925 h 4333875"/>
                  <a:gd name="connsiteX114" fmla="*/ 57150 w 8601075"/>
                  <a:gd name="connsiteY114" fmla="*/ 923925 h 4333875"/>
                  <a:gd name="connsiteX115" fmla="*/ 209550 w 8601075"/>
                  <a:gd name="connsiteY115" fmla="*/ 1114425 h 4333875"/>
                  <a:gd name="connsiteX116" fmla="*/ 209550 w 8601075"/>
                  <a:gd name="connsiteY116" fmla="*/ 1114425 h 4333875"/>
                  <a:gd name="connsiteX117" fmla="*/ 266700 w 8601075"/>
                  <a:gd name="connsiteY117" fmla="*/ 1295400 h 4333875"/>
                  <a:gd name="connsiteX118" fmla="*/ 409575 w 8601075"/>
                  <a:gd name="connsiteY118" fmla="*/ 1276350 h 4333875"/>
                  <a:gd name="connsiteX119" fmla="*/ 466725 w 8601075"/>
                  <a:gd name="connsiteY119" fmla="*/ 1362075 h 4333875"/>
                  <a:gd name="connsiteX120" fmla="*/ 542925 w 8601075"/>
                  <a:gd name="connsiteY120" fmla="*/ 1428750 h 4333875"/>
                  <a:gd name="connsiteX121" fmla="*/ 628650 w 8601075"/>
                  <a:gd name="connsiteY121" fmla="*/ 1571625 h 4333875"/>
                  <a:gd name="connsiteX122" fmla="*/ 628650 w 8601075"/>
                  <a:gd name="connsiteY122" fmla="*/ 1704975 h 4333875"/>
                  <a:gd name="connsiteX123" fmla="*/ 676275 w 8601075"/>
                  <a:gd name="connsiteY123" fmla="*/ 1771650 h 4333875"/>
                  <a:gd name="connsiteX124" fmla="*/ 657225 w 8601075"/>
                  <a:gd name="connsiteY124" fmla="*/ 2000250 h 4333875"/>
                  <a:gd name="connsiteX125" fmla="*/ 619125 w 8601075"/>
                  <a:gd name="connsiteY125" fmla="*/ 2095500 h 4333875"/>
                  <a:gd name="connsiteX126" fmla="*/ 542925 w 8601075"/>
                  <a:gd name="connsiteY126" fmla="*/ 2228850 h 4333875"/>
                  <a:gd name="connsiteX127" fmla="*/ 485775 w 8601075"/>
                  <a:gd name="connsiteY127" fmla="*/ 2362200 h 4333875"/>
                  <a:gd name="connsiteX128" fmla="*/ 552450 w 8601075"/>
                  <a:gd name="connsiteY128" fmla="*/ 2486025 h 4333875"/>
                  <a:gd name="connsiteX129" fmla="*/ 771525 w 8601075"/>
                  <a:gd name="connsiteY129" fmla="*/ 2571750 h 4333875"/>
                  <a:gd name="connsiteX130" fmla="*/ 866775 w 8601075"/>
                  <a:gd name="connsiteY130" fmla="*/ 2571750 h 4333875"/>
                  <a:gd name="connsiteX131" fmla="*/ 914400 w 8601075"/>
                  <a:gd name="connsiteY131" fmla="*/ 2638425 h 4333875"/>
                  <a:gd name="connsiteX132" fmla="*/ 1066800 w 8601075"/>
                  <a:gd name="connsiteY132" fmla="*/ 2638425 h 4333875"/>
                  <a:gd name="connsiteX133" fmla="*/ 1285875 w 8601075"/>
                  <a:gd name="connsiteY133" fmla="*/ 2705100 h 4333875"/>
                  <a:gd name="connsiteX134" fmla="*/ 1438275 w 8601075"/>
                  <a:gd name="connsiteY134" fmla="*/ 2838450 h 4333875"/>
                  <a:gd name="connsiteX135" fmla="*/ 1485900 w 8601075"/>
                  <a:gd name="connsiteY135" fmla="*/ 2914650 h 4333875"/>
                  <a:gd name="connsiteX136" fmla="*/ 1657350 w 8601075"/>
                  <a:gd name="connsiteY136" fmla="*/ 3038475 h 4333875"/>
                  <a:gd name="connsiteX137" fmla="*/ 1752600 w 8601075"/>
                  <a:gd name="connsiteY137" fmla="*/ 3057525 h 4333875"/>
                  <a:gd name="connsiteX138" fmla="*/ 1724025 w 8601075"/>
                  <a:gd name="connsiteY138" fmla="*/ 3143250 h 4333875"/>
                  <a:gd name="connsiteX139" fmla="*/ 1724025 w 8601075"/>
                  <a:gd name="connsiteY139" fmla="*/ 3143250 h 4333875"/>
                  <a:gd name="connsiteX140" fmla="*/ 1781175 w 8601075"/>
                  <a:gd name="connsiteY140" fmla="*/ 3181350 h 4333875"/>
                  <a:gd name="connsiteX141" fmla="*/ 1819275 w 8601075"/>
                  <a:gd name="connsiteY141" fmla="*/ 3362325 h 4333875"/>
                  <a:gd name="connsiteX142" fmla="*/ 1828800 w 8601075"/>
                  <a:gd name="connsiteY142" fmla="*/ 3457575 h 4333875"/>
                  <a:gd name="connsiteX143" fmla="*/ 1971675 w 8601075"/>
                  <a:gd name="connsiteY143" fmla="*/ 3590925 h 4333875"/>
                  <a:gd name="connsiteX144" fmla="*/ 1990725 w 8601075"/>
                  <a:gd name="connsiteY144" fmla="*/ 3714750 h 4333875"/>
                  <a:gd name="connsiteX145" fmla="*/ 2200275 w 8601075"/>
                  <a:gd name="connsiteY145" fmla="*/ 3695700 h 4333875"/>
                  <a:gd name="connsiteX146" fmla="*/ 2886075 w 8601075"/>
                  <a:gd name="connsiteY146" fmla="*/ 3886200 h 4333875"/>
                  <a:gd name="connsiteX147" fmla="*/ 3038475 w 8601075"/>
                  <a:gd name="connsiteY147" fmla="*/ 3819525 h 4333875"/>
                  <a:gd name="connsiteX148" fmla="*/ 3105150 w 8601075"/>
                  <a:gd name="connsiteY148" fmla="*/ 3867150 h 4333875"/>
                  <a:gd name="connsiteX149" fmla="*/ 3181350 w 8601075"/>
                  <a:gd name="connsiteY149" fmla="*/ 3800475 h 4333875"/>
                  <a:gd name="connsiteX150" fmla="*/ 3590925 w 8601075"/>
                  <a:gd name="connsiteY150" fmla="*/ 3943350 h 4333875"/>
                  <a:gd name="connsiteX151" fmla="*/ 3686175 w 8601075"/>
                  <a:gd name="connsiteY151" fmla="*/ 4057650 h 4333875"/>
                  <a:gd name="connsiteX152" fmla="*/ 3838575 w 8601075"/>
                  <a:gd name="connsiteY152" fmla="*/ 4057650 h 4333875"/>
                  <a:gd name="connsiteX153" fmla="*/ 4162425 w 8601075"/>
                  <a:gd name="connsiteY153" fmla="*/ 4248150 h 4333875"/>
                  <a:gd name="connsiteX154" fmla="*/ 4391025 w 8601075"/>
                  <a:gd name="connsiteY154" fmla="*/ 4200525 h 4333875"/>
                  <a:gd name="connsiteX155" fmla="*/ 4410075 w 8601075"/>
                  <a:gd name="connsiteY155" fmla="*/ 4305300 h 4333875"/>
                  <a:gd name="connsiteX156" fmla="*/ 4505325 w 8601075"/>
                  <a:gd name="connsiteY156" fmla="*/ 4276725 h 4333875"/>
                  <a:gd name="connsiteX157" fmla="*/ 4572000 w 8601075"/>
                  <a:gd name="connsiteY157" fmla="*/ 4333875 h 4333875"/>
                  <a:gd name="connsiteX158" fmla="*/ 4591050 w 8601075"/>
                  <a:gd name="connsiteY158" fmla="*/ 4248150 h 4333875"/>
                  <a:gd name="connsiteX159" fmla="*/ 5295900 w 8601075"/>
                  <a:gd name="connsiteY159" fmla="*/ 3924300 h 4333875"/>
                  <a:gd name="connsiteX160" fmla="*/ 5353050 w 8601075"/>
                  <a:gd name="connsiteY160" fmla="*/ 3990975 h 4333875"/>
                  <a:gd name="connsiteX161" fmla="*/ 5524500 w 8601075"/>
                  <a:gd name="connsiteY161" fmla="*/ 3914775 h 4333875"/>
                  <a:gd name="connsiteX162" fmla="*/ 5667375 w 8601075"/>
                  <a:gd name="connsiteY162" fmla="*/ 3962400 h 4333875"/>
                  <a:gd name="connsiteX163" fmla="*/ 5753100 w 8601075"/>
                  <a:gd name="connsiteY163" fmla="*/ 3924300 h 4333875"/>
                  <a:gd name="connsiteX164" fmla="*/ 5905500 w 8601075"/>
                  <a:gd name="connsiteY164" fmla="*/ 3943350 h 4333875"/>
                  <a:gd name="connsiteX165" fmla="*/ 6000750 w 8601075"/>
                  <a:gd name="connsiteY165" fmla="*/ 3800475 h 4333875"/>
                  <a:gd name="connsiteX166" fmla="*/ 6153150 w 8601075"/>
                  <a:gd name="connsiteY166" fmla="*/ 3781425 h 4333875"/>
                  <a:gd name="connsiteX167" fmla="*/ 6257925 w 8601075"/>
                  <a:gd name="connsiteY167" fmla="*/ 3581400 h 4333875"/>
                  <a:gd name="connsiteX168" fmla="*/ 6448425 w 8601075"/>
                  <a:gd name="connsiteY168" fmla="*/ 3448050 h 4333875"/>
                  <a:gd name="connsiteX169" fmla="*/ 6581775 w 8601075"/>
                  <a:gd name="connsiteY169" fmla="*/ 3276600 h 4333875"/>
                  <a:gd name="connsiteX170" fmla="*/ 6496050 w 8601075"/>
                  <a:gd name="connsiteY170" fmla="*/ 3228975 h 4333875"/>
                  <a:gd name="connsiteX171" fmla="*/ 6438900 w 8601075"/>
                  <a:gd name="connsiteY171" fmla="*/ 3162300 h 4333875"/>
                  <a:gd name="connsiteX172" fmla="*/ 6419850 w 8601075"/>
                  <a:gd name="connsiteY172" fmla="*/ 3105150 h 4333875"/>
                  <a:gd name="connsiteX173" fmla="*/ 6362700 w 8601075"/>
                  <a:gd name="connsiteY173" fmla="*/ 3076575 h 4333875"/>
                  <a:gd name="connsiteX174" fmla="*/ 6410325 w 8601075"/>
                  <a:gd name="connsiteY174" fmla="*/ 3019425 h 4333875"/>
                  <a:gd name="connsiteX175" fmla="*/ 6438900 w 8601075"/>
                  <a:gd name="connsiteY175" fmla="*/ 2819400 h 4333875"/>
                  <a:gd name="connsiteX176" fmla="*/ 6496050 w 8601075"/>
                  <a:gd name="connsiteY176" fmla="*/ 2762250 h 4333875"/>
                  <a:gd name="connsiteX177" fmla="*/ 6657975 w 8601075"/>
                  <a:gd name="connsiteY177" fmla="*/ 2752725 h 4333875"/>
                  <a:gd name="connsiteX178" fmla="*/ 6781800 w 8601075"/>
                  <a:gd name="connsiteY178" fmla="*/ 2838450 h 4333875"/>
                  <a:gd name="connsiteX179" fmla="*/ 7010400 w 8601075"/>
                  <a:gd name="connsiteY179" fmla="*/ 2838450 h 4333875"/>
                  <a:gd name="connsiteX180" fmla="*/ 7162800 w 8601075"/>
                  <a:gd name="connsiteY180" fmla="*/ 2705100 h 4333875"/>
                  <a:gd name="connsiteX181" fmla="*/ 7229475 w 8601075"/>
                  <a:gd name="connsiteY181" fmla="*/ 2590800 h 4333875"/>
                  <a:gd name="connsiteX182" fmla="*/ 7248525 w 8601075"/>
                  <a:gd name="connsiteY182" fmla="*/ 2524125 h 4333875"/>
                  <a:gd name="connsiteX183" fmla="*/ 7372350 w 8601075"/>
                  <a:gd name="connsiteY183" fmla="*/ 2543175 h 4333875"/>
                  <a:gd name="connsiteX184" fmla="*/ 7553325 w 8601075"/>
                  <a:gd name="connsiteY184" fmla="*/ 2447925 h 4333875"/>
                  <a:gd name="connsiteX185" fmla="*/ 7620000 w 8601075"/>
                  <a:gd name="connsiteY185" fmla="*/ 2324100 h 4333875"/>
                  <a:gd name="connsiteX186" fmla="*/ 7696200 w 8601075"/>
                  <a:gd name="connsiteY186" fmla="*/ 2314575 h 4333875"/>
                  <a:gd name="connsiteX187" fmla="*/ 7658100 w 8601075"/>
                  <a:gd name="connsiteY187" fmla="*/ 2257425 h 4333875"/>
                  <a:gd name="connsiteX188" fmla="*/ 7753350 w 8601075"/>
                  <a:gd name="connsiteY188" fmla="*/ 2057400 h 4333875"/>
                  <a:gd name="connsiteX189" fmla="*/ 7934325 w 8601075"/>
                  <a:gd name="connsiteY189" fmla="*/ 2028825 h 4333875"/>
                  <a:gd name="connsiteX190" fmla="*/ 7953375 w 8601075"/>
                  <a:gd name="connsiteY190" fmla="*/ 1952625 h 4333875"/>
                  <a:gd name="connsiteX191" fmla="*/ 7953375 w 8601075"/>
                  <a:gd name="connsiteY191" fmla="*/ 1952625 h 4333875"/>
                  <a:gd name="connsiteX192" fmla="*/ 8010525 w 8601075"/>
                  <a:gd name="connsiteY192" fmla="*/ 1895475 h 4333875"/>
                  <a:gd name="connsiteX193" fmla="*/ 8048625 w 8601075"/>
                  <a:gd name="connsiteY193" fmla="*/ 1971675 h 4333875"/>
                  <a:gd name="connsiteX194" fmla="*/ 8077200 w 8601075"/>
                  <a:gd name="connsiteY194" fmla="*/ 1885950 h 4333875"/>
                  <a:gd name="connsiteX195" fmla="*/ 8220075 w 8601075"/>
                  <a:gd name="connsiteY195" fmla="*/ 1847850 h 4333875"/>
                  <a:gd name="connsiteX196" fmla="*/ 8296275 w 8601075"/>
                  <a:gd name="connsiteY196" fmla="*/ 1809750 h 4333875"/>
                  <a:gd name="connsiteX197" fmla="*/ 8324850 w 8601075"/>
                  <a:gd name="connsiteY197" fmla="*/ 1790700 h 4333875"/>
                  <a:gd name="connsiteX198" fmla="*/ 8410575 w 8601075"/>
                  <a:gd name="connsiteY198" fmla="*/ 1847850 h 4333875"/>
                  <a:gd name="connsiteX199" fmla="*/ 8505825 w 8601075"/>
                  <a:gd name="connsiteY199" fmla="*/ 1781175 h 4333875"/>
                  <a:gd name="connsiteX200" fmla="*/ 8572500 w 8601075"/>
                  <a:gd name="connsiteY200" fmla="*/ 1809750 h 4333875"/>
                  <a:gd name="connsiteX201" fmla="*/ 8601075 w 8601075"/>
                  <a:gd name="connsiteY201" fmla="*/ 1704975 h 4333875"/>
                  <a:gd name="connsiteX202" fmla="*/ 8553450 w 8601075"/>
                  <a:gd name="connsiteY202" fmla="*/ 1676400 h 4333875"/>
                  <a:gd name="connsiteX203" fmla="*/ 8534400 w 8601075"/>
                  <a:gd name="connsiteY203" fmla="*/ 1609725 h 4333875"/>
                  <a:gd name="connsiteX204" fmla="*/ 8277225 w 8601075"/>
                  <a:gd name="connsiteY204" fmla="*/ 1409700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124825 w 8601075"/>
                  <a:gd name="connsiteY207" fmla="*/ 1352550 h 4333875"/>
                  <a:gd name="connsiteX208" fmla="*/ 7924800 w 8601075"/>
                  <a:gd name="connsiteY208" fmla="*/ 1362075 h 4333875"/>
                  <a:gd name="connsiteX209" fmla="*/ 7867650 w 8601075"/>
                  <a:gd name="connsiteY209" fmla="*/ 1457325 h 4333875"/>
                  <a:gd name="connsiteX210" fmla="*/ 7896225 w 8601075"/>
                  <a:gd name="connsiteY210" fmla="*/ 1476375 h 4333875"/>
                  <a:gd name="connsiteX211" fmla="*/ 7858125 w 8601075"/>
                  <a:gd name="connsiteY211" fmla="*/ 1533525 h 4333875"/>
                  <a:gd name="connsiteX212" fmla="*/ 7658100 w 8601075"/>
                  <a:gd name="connsiteY212" fmla="*/ 1447800 h 4333875"/>
                  <a:gd name="connsiteX213" fmla="*/ 7515225 w 8601075"/>
                  <a:gd name="connsiteY213" fmla="*/ 1495425 h 4333875"/>
                  <a:gd name="connsiteX214" fmla="*/ 7467600 w 8601075"/>
                  <a:gd name="connsiteY214" fmla="*/ 1581150 h 4333875"/>
                  <a:gd name="connsiteX215" fmla="*/ 7296150 w 8601075"/>
                  <a:gd name="connsiteY21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52613 w 8601075"/>
                  <a:gd name="connsiteY91" fmla="*/ 728663 h 4333875"/>
                  <a:gd name="connsiteX92" fmla="*/ 1800225 w 8601075"/>
                  <a:gd name="connsiteY92" fmla="*/ 638175 h 4333875"/>
                  <a:gd name="connsiteX93" fmla="*/ 1809750 w 8601075"/>
                  <a:gd name="connsiteY93" fmla="*/ 495300 h 4333875"/>
                  <a:gd name="connsiteX94" fmla="*/ 1733550 w 8601075"/>
                  <a:gd name="connsiteY94" fmla="*/ 466725 h 4333875"/>
                  <a:gd name="connsiteX95" fmla="*/ 1485900 w 8601075"/>
                  <a:gd name="connsiteY95" fmla="*/ 419100 h 4333875"/>
                  <a:gd name="connsiteX96" fmla="*/ 1457325 w 8601075"/>
                  <a:gd name="connsiteY96" fmla="*/ 323850 h 4333875"/>
                  <a:gd name="connsiteX97" fmla="*/ 1457325 w 8601075"/>
                  <a:gd name="connsiteY97" fmla="*/ 323850 h 4333875"/>
                  <a:gd name="connsiteX98" fmla="*/ 1323975 w 8601075"/>
                  <a:gd name="connsiteY98" fmla="*/ 285750 h 4333875"/>
                  <a:gd name="connsiteX99" fmla="*/ 1266825 w 8601075"/>
                  <a:gd name="connsiteY99" fmla="*/ 352425 h 4333875"/>
                  <a:gd name="connsiteX100" fmla="*/ 1009650 w 8601075"/>
                  <a:gd name="connsiteY100" fmla="*/ 390525 h 4333875"/>
                  <a:gd name="connsiteX101" fmla="*/ 828675 w 8601075"/>
                  <a:gd name="connsiteY101" fmla="*/ 447675 h 4333875"/>
                  <a:gd name="connsiteX102" fmla="*/ 619125 w 8601075"/>
                  <a:gd name="connsiteY102" fmla="*/ 533400 h 4333875"/>
                  <a:gd name="connsiteX103" fmla="*/ 619125 w 8601075"/>
                  <a:gd name="connsiteY103" fmla="*/ 533400 h 4333875"/>
                  <a:gd name="connsiteX104" fmla="*/ 561975 w 8601075"/>
                  <a:gd name="connsiteY104" fmla="*/ 619125 h 4333875"/>
                  <a:gd name="connsiteX105" fmla="*/ 447675 w 8601075"/>
                  <a:gd name="connsiteY105" fmla="*/ 63817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295275 w 8601075"/>
                  <a:gd name="connsiteY108" fmla="*/ 657225 h 4333875"/>
                  <a:gd name="connsiteX109" fmla="*/ 180975 w 8601075"/>
                  <a:gd name="connsiteY109" fmla="*/ 638175 h 4333875"/>
                  <a:gd name="connsiteX110" fmla="*/ 180975 w 8601075"/>
                  <a:gd name="connsiteY110" fmla="*/ 638175 h 4333875"/>
                  <a:gd name="connsiteX111" fmla="*/ 57150 w 8601075"/>
                  <a:gd name="connsiteY111" fmla="*/ 733425 h 4333875"/>
                  <a:gd name="connsiteX112" fmla="*/ 19050 w 8601075"/>
                  <a:gd name="connsiteY112" fmla="*/ 790575 h 4333875"/>
                  <a:gd name="connsiteX113" fmla="*/ 0 w 8601075"/>
                  <a:gd name="connsiteY113" fmla="*/ 876300 h 4333875"/>
                  <a:gd name="connsiteX114" fmla="*/ 57150 w 8601075"/>
                  <a:gd name="connsiteY114" fmla="*/ 923925 h 4333875"/>
                  <a:gd name="connsiteX115" fmla="*/ 57150 w 8601075"/>
                  <a:gd name="connsiteY115" fmla="*/ 923925 h 4333875"/>
                  <a:gd name="connsiteX116" fmla="*/ 209550 w 8601075"/>
                  <a:gd name="connsiteY116" fmla="*/ 1114425 h 4333875"/>
                  <a:gd name="connsiteX117" fmla="*/ 209550 w 8601075"/>
                  <a:gd name="connsiteY117" fmla="*/ 1114425 h 4333875"/>
                  <a:gd name="connsiteX118" fmla="*/ 266700 w 8601075"/>
                  <a:gd name="connsiteY118" fmla="*/ 1295400 h 4333875"/>
                  <a:gd name="connsiteX119" fmla="*/ 409575 w 8601075"/>
                  <a:gd name="connsiteY119" fmla="*/ 1276350 h 4333875"/>
                  <a:gd name="connsiteX120" fmla="*/ 466725 w 8601075"/>
                  <a:gd name="connsiteY120" fmla="*/ 1362075 h 4333875"/>
                  <a:gd name="connsiteX121" fmla="*/ 542925 w 8601075"/>
                  <a:gd name="connsiteY121" fmla="*/ 1428750 h 4333875"/>
                  <a:gd name="connsiteX122" fmla="*/ 628650 w 8601075"/>
                  <a:gd name="connsiteY122" fmla="*/ 1571625 h 4333875"/>
                  <a:gd name="connsiteX123" fmla="*/ 628650 w 8601075"/>
                  <a:gd name="connsiteY123" fmla="*/ 1704975 h 4333875"/>
                  <a:gd name="connsiteX124" fmla="*/ 676275 w 8601075"/>
                  <a:gd name="connsiteY124" fmla="*/ 1771650 h 4333875"/>
                  <a:gd name="connsiteX125" fmla="*/ 657225 w 8601075"/>
                  <a:gd name="connsiteY125" fmla="*/ 2000250 h 4333875"/>
                  <a:gd name="connsiteX126" fmla="*/ 619125 w 8601075"/>
                  <a:gd name="connsiteY126" fmla="*/ 2095500 h 4333875"/>
                  <a:gd name="connsiteX127" fmla="*/ 542925 w 8601075"/>
                  <a:gd name="connsiteY127" fmla="*/ 2228850 h 4333875"/>
                  <a:gd name="connsiteX128" fmla="*/ 485775 w 8601075"/>
                  <a:gd name="connsiteY128" fmla="*/ 2362200 h 4333875"/>
                  <a:gd name="connsiteX129" fmla="*/ 552450 w 8601075"/>
                  <a:gd name="connsiteY129" fmla="*/ 2486025 h 4333875"/>
                  <a:gd name="connsiteX130" fmla="*/ 771525 w 8601075"/>
                  <a:gd name="connsiteY130" fmla="*/ 2571750 h 4333875"/>
                  <a:gd name="connsiteX131" fmla="*/ 866775 w 8601075"/>
                  <a:gd name="connsiteY131" fmla="*/ 2571750 h 4333875"/>
                  <a:gd name="connsiteX132" fmla="*/ 914400 w 8601075"/>
                  <a:gd name="connsiteY132" fmla="*/ 2638425 h 4333875"/>
                  <a:gd name="connsiteX133" fmla="*/ 1066800 w 8601075"/>
                  <a:gd name="connsiteY133" fmla="*/ 2638425 h 4333875"/>
                  <a:gd name="connsiteX134" fmla="*/ 1285875 w 8601075"/>
                  <a:gd name="connsiteY134" fmla="*/ 2705100 h 4333875"/>
                  <a:gd name="connsiteX135" fmla="*/ 1438275 w 8601075"/>
                  <a:gd name="connsiteY135" fmla="*/ 2838450 h 4333875"/>
                  <a:gd name="connsiteX136" fmla="*/ 1485900 w 8601075"/>
                  <a:gd name="connsiteY136" fmla="*/ 2914650 h 4333875"/>
                  <a:gd name="connsiteX137" fmla="*/ 1657350 w 8601075"/>
                  <a:gd name="connsiteY137" fmla="*/ 3038475 h 4333875"/>
                  <a:gd name="connsiteX138" fmla="*/ 1752600 w 8601075"/>
                  <a:gd name="connsiteY138" fmla="*/ 3057525 h 4333875"/>
                  <a:gd name="connsiteX139" fmla="*/ 1724025 w 8601075"/>
                  <a:gd name="connsiteY139" fmla="*/ 3143250 h 4333875"/>
                  <a:gd name="connsiteX140" fmla="*/ 1724025 w 8601075"/>
                  <a:gd name="connsiteY140" fmla="*/ 3143250 h 4333875"/>
                  <a:gd name="connsiteX141" fmla="*/ 1781175 w 8601075"/>
                  <a:gd name="connsiteY141" fmla="*/ 3181350 h 4333875"/>
                  <a:gd name="connsiteX142" fmla="*/ 1819275 w 8601075"/>
                  <a:gd name="connsiteY142" fmla="*/ 3362325 h 4333875"/>
                  <a:gd name="connsiteX143" fmla="*/ 1828800 w 8601075"/>
                  <a:gd name="connsiteY143" fmla="*/ 3457575 h 4333875"/>
                  <a:gd name="connsiteX144" fmla="*/ 1971675 w 8601075"/>
                  <a:gd name="connsiteY144" fmla="*/ 3590925 h 4333875"/>
                  <a:gd name="connsiteX145" fmla="*/ 1990725 w 8601075"/>
                  <a:gd name="connsiteY145" fmla="*/ 3714750 h 4333875"/>
                  <a:gd name="connsiteX146" fmla="*/ 2200275 w 8601075"/>
                  <a:gd name="connsiteY146" fmla="*/ 3695700 h 4333875"/>
                  <a:gd name="connsiteX147" fmla="*/ 2886075 w 8601075"/>
                  <a:gd name="connsiteY147" fmla="*/ 3886200 h 4333875"/>
                  <a:gd name="connsiteX148" fmla="*/ 3038475 w 8601075"/>
                  <a:gd name="connsiteY148" fmla="*/ 3819525 h 4333875"/>
                  <a:gd name="connsiteX149" fmla="*/ 3105150 w 8601075"/>
                  <a:gd name="connsiteY149" fmla="*/ 3867150 h 4333875"/>
                  <a:gd name="connsiteX150" fmla="*/ 3181350 w 8601075"/>
                  <a:gd name="connsiteY150" fmla="*/ 3800475 h 4333875"/>
                  <a:gd name="connsiteX151" fmla="*/ 3590925 w 8601075"/>
                  <a:gd name="connsiteY151" fmla="*/ 3943350 h 4333875"/>
                  <a:gd name="connsiteX152" fmla="*/ 3686175 w 8601075"/>
                  <a:gd name="connsiteY152" fmla="*/ 4057650 h 4333875"/>
                  <a:gd name="connsiteX153" fmla="*/ 3838575 w 8601075"/>
                  <a:gd name="connsiteY153" fmla="*/ 4057650 h 4333875"/>
                  <a:gd name="connsiteX154" fmla="*/ 4162425 w 8601075"/>
                  <a:gd name="connsiteY154" fmla="*/ 4248150 h 4333875"/>
                  <a:gd name="connsiteX155" fmla="*/ 4391025 w 8601075"/>
                  <a:gd name="connsiteY155" fmla="*/ 4200525 h 4333875"/>
                  <a:gd name="connsiteX156" fmla="*/ 4410075 w 8601075"/>
                  <a:gd name="connsiteY156" fmla="*/ 4305300 h 4333875"/>
                  <a:gd name="connsiteX157" fmla="*/ 4505325 w 8601075"/>
                  <a:gd name="connsiteY157" fmla="*/ 4276725 h 4333875"/>
                  <a:gd name="connsiteX158" fmla="*/ 4572000 w 8601075"/>
                  <a:gd name="connsiteY158" fmla="*/ 4333875 h 4333875"/>
                  <a:gd name="connsiteX159" fmla="*/ 4591050 w 8601075"/>
                  <a:gd name="connsiteY159" fmla="*/ 4248150 h 4333875"/>
                  <a:gd name="connsiteX160" fmla="*/ 5295900 w 8601075"/>
                  <a:gd name="connsiteY160" fmla="*/ 3924300 h 4333875"/>
                  <a:gd name="connsiteX161" fmla="*/ 5353050 w 8601075"/>
                  <a:gd name="connsiteY161" fmla="*/ 3990975 h 4333875"/>
                  <a:gd name="connsiteX162" fmla="*/ 5524500 w 8601075"/>
                  <a:gd name="connsiteY162" fmla="*/ 3914775 h 4333875"/>
                  <a:gd name="connsiteX163" fmla="*/ 5667375 w 8601075"/>
                  <a:gd name="connsiteY163" fmla="*/ 3962400 h 4333875"/>
                  <a:gd name="connsiteX164" fmla="*/ 5753100 w 8601075"/>
                  <a:gd name="connsiteY164" fmla="*/ 3924300 h 4333875"/>
                  <a:gd name="connsiteX165" fmla="*/ 5905500 w 8601075"/>
                  <a:gd name="connsiteY165" fmla="*/ 3943350 h 4333875"/>
                  <a:gd name="connsiteX166" fmla="*/ 6000750 w 8601075"/>
                  <a:gd name="connsiteY166" fmla="*/ 3800475 h 4333875"/>
                  <a:gd name="connsiteX167" fmla="*/ 6153150 w 8601075"/>
                  <a:gd name="connsiteY167" fmla="*/ 3781425 h 4333875"/>
                  <a:gd name="connsiteX168" fmla="*/ 6257925 w 8601075"/>
                  <a:gd name="connsiteY168" fmla="*/ 3581400 h 4333875"/>
                  <a:gd name="connsiteX169" fmla="*/ 6448425 w 8601075"/>
                  <a:gd name="connsiteY169" fmla="*/ 3448050 h 4333875"/>
                  <a:gd name="connsiteX170" fmla="*/ 6581775 w 8601075"/>
                  <a:gd name="connsiteY170" fmla="*/ 3276600 h 4333875"/>
                  <a:gd name="connsiteX171" fmla="*/ 6496050 w 8601075"/>
                  <a:gd name="connsiteY171" fmla="*/ 3228975 h 4333875"/>
                  <a:gd name="connsiteX172" fmla="*/ 6438900 w 8601075"/>
                  <a:gd name="connsiteY172" fmla="*/ 3162300 h 4333875"/>
                  <a:gd name="connsiteX173" fmla="*/ 6419850 w 8601075"/>
                  <a:gd name="connsiteY173" fmla="*/ 3105150 h 4333875"/>
                  <a:gd name="connsiteX174" fmla="*/ 6362700 w 8601075"/>
                  <a:gd name="connsiteY174" fmla="*/ 3076575 h 4333875"/>
                  <a:gd name="connsiteX175" fmla="*/ 6410325 w 8601075"/>
                  <a:gd name="connsiteY175" fmla="*/ 3019425 h 4333875"/>
                  <a:gd name="connsiteX176" fmla="*/ 6438900 w 8601075"/>
                  <a:gd name="connsiteY176" fmla="*/ 2819400 h 4333875"/>
                  <a:gd name="connsiteX177" fmla="*/ 6496050 w 8601075"/>
                  <a:gd name="connsiteY177" fmla="*/ 2762250 h 4333875"/>
                  <a:gd name="connsiteX178" fmla="*/ 6657975 w 8601075"/>
                  <a:gd name="connsiteY178" fmla="*/ 2752725 h 4333875"/>
                  <a:gd name="connsiteX179" fmla="*/ 6781800 w 8601075"/>
                  <a:gd name="connsiteY179" fmla="*/ 2838450 h 4333875"/>
                  <a:gd name="connsiteX180" fmla="*/ 7010400 w 8601075"/>
                  <a:gd name="connsiteY180" fmla="*/ 2838450 h 4333875"/>
                  <a:gd name="connsiteX181" fmla="*/ 7162800 w 8601075"/>
                  <a:gd name="connsiteY181" fmla="*/ 2705100 h 4333875"/>
                  <a:gd name="connsiteX182" fmla="*/ 7229475 w 8601075"/>
                  <a:gd name="connsiteY182" fmla="*/ 2590800 h 4333875"/>
                  <a:gd name="connsiteX183" fmla="*/ 7248525 w 8601075"/>
                  <a:gd name="connsiteY183" fmla="*/ 2524125 h 4333875"/>
                  <a:gd name="connsiteX184" fmla="*/ 7372350 w 8601075"/>
                  <a:gd name="connsiteY184" fmla="*/ 2543175 h 4333875"/>
                  <a:gd name="connsiteX185" fmla="*/ 7553325 w 8601075"/>
                  <a:gd name="connsiteY185" fmla="*/ 2447925 h 4333875"/>
                  <a:gd name="connsiteX186" fmla="*/ 7620000 w 8601075"/>
                  <a:gd name="connsiteY186" fmla="*/ 2324100 h 4333875"/>
                  <a:gd name="connsiteX187" fmla="*/ 7696200 w 8601075"/>
                  <a:gd name="connsiteY187" fmla="*/ 2314575 h 4333875"/>
                  <a:gd name="connsiteX188" fmla="*/ 7658100 w 8601075"/>
                  <a:gd name="connsiteY188" fmla="*/ 2257425 h 4333875"/>
                  <a:gd name="connsiteX189" fmla="*/ 7753350 w 8601075"/>
                  <a:gd name="connsiteY189" fmla="*/ 2057400 h 4333875"/>
                  <a:gd name="connsiteX190" fmla="*/ 7934325 w 8601075"/>
                  <a:gd name="connsiteY190" fmla="*/ 2028825 h 4333875"/>
                  <a:gd name="connsiteX191" fmla="*/ 7953375 w 8601075"/>
                  <a:gd name="connsiteY191" fmla="*/ 1952625 h 4333875"/>
                  <a:gd name="connsiteX192" fmla="*/ 7953375 w 8601075"/>
                  <a:gd name="connsiteY192" fmla="*/ 1952625 h 4333875"/>
                  <a:gd name="connsiteX193" fmla="*/ 8010525 w 8601075"/>
                  <a:gd name="connsiteY193" fmla="*/ 1895475 h 4333875"/>
                  <a:gd name="connsiteX194" fmla="*/ 8048625 w 8601075"/>
                  <a:gd name="connsiteY194" fmla="*/ 1971675 h 4333875"/>
                  <a:gd name="connsiteX195" fmla="*/ 8077200 w 8601075"/>
                  <a:gd name="connsiteY195" fmla="*/ 1885950 h 4333875"/>
                  <a:gd name="connsiteX196" fmla="*/ 8220075 w 8601075"/>
                  <a:gd name="connsiteY196" fmla="*/ 1847850 h 4333875"/>
                  <a:gd name="connsiteX197" fmla="*/ 8296275 w 8601075"/>
                  <a:gd name="connsiteY197" fmla="*/ 1809750 h 4333875"/>
                  <a:gd name="connsiteX198" fmla="*/ 8324850 w 8601075"/>
                  <a:gd name="connsiteY198" fmla="*/ 1790700 h 4333875"/>
                  <a:gd name="connsiteX199" fmla="*/ 8410575 w 8601075"/>
                  <a:gd name="connsiteY199" fmla="*/ 1847850 h 4333875"/>
                  <a:gd name="connsiteX200" fmla="*/ 8505825 w 8601075"/>
                  <a:gd name="connsiteY200" fmla="*/ 1781175 h 4333875"/>
                  <a:gd name="connsiteX201" fmla="*/ 8572500 w 8601075"/>
                  <a:gd name="connsiteY201" fmla="*/ 1809750 h 4333875"/>
                  <a:gd name="connsiteX202" fmla="*/ 8601075 w 8601075"/>
                  <a:gd name="connsiteY202" fmla="*/ 1704975 h 4333875"/>
                  <a:gd name="connsiteX203" fmla="*/ 8553450 w 8601075"/>
                  <a:gd name="connsiteY203" fmla="*/ 1676400 h 4333875"/>
                  <a:gd name="connsiteX204" fmla="*/ 8534400 w 8601075"/>
                  <a:gd name="connsiteY204" fmla="*/ 1609725 h 4333875"/>
                  <a:gd name="connsiteX205" fmla="*/ 8277225 w 8601075"/>
                  <a:gd name="connsiteY205" fmla="*/ 1409700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124825 w 8601075"/>
                  <a:gd name="connsiteY208" fmla="*/ 1352550 h 4333875"/>
                  <a:gd name="connsiteX209" fmla="*/ 7924800 w 8601075"/>
                  <a:gd name="connsiteY209" fmla="*/ 1362075 h 4333875"/>
                  <a:gd name="connsiteX210" fmla="*/ 7867650 w 8601075"/>
                  <a:gd name="connsiteY210" fmla="*/ 1457325 h 4333875"/>
                  <a:gd name="connsiteX211" fmla="*/ 7896225 w 8601075"/>
                  <a:gd name="connsiteY211" fmla="*/ 1476375 h 4333875"/>
                  <a:gd name="connsiteX212" fmla="*/ 7858125 w 8601075"/>
                  <a:gd name="connsiteY212" fmla="*/ 1533525 h 4333875"/>
                  <a:gd name="connsiteX213" fmla="*/ 7658100 w 8601075"/>
                  <a:gd name="connsiteY213" fmla="*/ 1447800 h 4333875"/>
                  <a:gd name="connsiteX214" fmla="*/ 7515225 w 8601075"/>
                  <a:gd name="connsiteY214" fmla="*/ 1495425 h 4333875"/>
                  <a:gd name="connsiteX215" fmla="*/ 7467600 w 8601075"/>
                  <a:gd name="connsiteY215" fmla="*/ 1581150 h 4333875"/>
                  <a:gd name="connsiteX216" fmla="*/ 7296150 w 8601075"/>
                  <a:gd name="connsiteY21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809750 w 8601075"/>
                  <a:gd name="connsiteY94" fmla="*/ 495300 h 4333875"/>
                  <a:gd name="connsiteX95" fmla="*/ 1733550 w 8601075"/>
                  <a:gd name="connsiteY95" fmla="*/ 466725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3550 w 8601075"/>
                  <a:gd name="connsiteY95" fmla="*/ 466725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485900 w 8601075"/>
                  <a:gd name="connsiteY96" fmla="*/ 419100 h 4333875"/>
                  <a:gd name="connsiteX97" fmla="*/ 1457325 w 8601075"/>
                  <a:gd name="connsiteY97" fmla="*/ 323850 h 4333875"/>
                  <a:gd name="connsiteX98" fmla="*/ 1457325 w 8601075"/>
                  <a:gd name="connsiteY98" fmla="*/ 323850 h 4333875"/>
                  <a:gd name="connsiteX99" fmla="*/ 1323975 w 8601075"/>
                  <a:gd name="connsiteY99" fmla="*/ 285750 h 4333875"/>
                  <a:gd name="connsiteX100" fmla="*/ 1266825 w 8601075"/>
                  <a:gd name="connsiteY100" fmla="*/ 352425 h 4333875"/>
                  <a:gd name="connsiteX101" fmla="*/ 1009650 w 8601075"/>
                  <a:gd name="connsiteY101" fmla="*/ 390525 h 4333875"/>
                  <a:gd name="connsiteX102" fmla="*/ 828675 w 8601075"/>
                  <a:gd name="connsiteY102" fmla="*/ 447675 h 4333875"/>
                  <a:gd name="connsiteX103" fmla="*/ 619125 w 8601075"/>
                  <a:gd name="connsiteY103" fmla="*/ 533400 h 4333875"/>
                  <a:gd name="connsiteX104" fmla="*/ 619125 w 8601075"/>
                  <a:gd name="connsiteY104" fmla="*/ 533400 h 4333875"/>
                  <a:gd name="connsiteX105" fmla="*/ 561975 w 8601075"/>
                  <a:gd name="connsiteY105" fmla="*/ 619125 h 4333875"/>
                  <a:gd name="connsiteX106" fmla="*/ 447675 w 8601075"/>
                  <a:gd name="connsiteY106" fmla="*/ 63817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295275 w 8601075"/>
                  <a:gd name="connsiteY109" fmla="*/ 657225 h 4333875"/>
                  <a:gd name="connsiteX110" fmla="*/ 180975 w 8601075"/>
                  <a:gd name="connsiteY110" fmla="*/ 638175 h 4333875"/>
                  <a:gd name="connsiteX111" fmla="*/ 180975 w 8601075"/>
                  <a:gd name="connsiteY111" fmla="*/ 638175 h 4333875"/>
                  <a:gd name="connsiteX112" fmla="*/ 57150 w 8601075"/>
                  <a:gd name="connsiteY112" fmla="*/ 733425 h 4333875"/>
                  <a:gd name="connsiteX113" fmla="*/ 19050 w 8601075"/>
                  <a:gd name="connsiteY113" fmla="*/ 790575 h 4333875"/>
                  <a:gd name="connsiteX114" fmla="*/ 0 w 8601075"/>
                  <a:gd name="connsiteY114" fmla="*/ 876300 h 4333875"/>
                  <a:gd name="connsiteX115" fmla="*/ 57150 w 8601075"/>
                  <a:gd name="connsiteY115" fmla="*/ 923925 h 4333875"/>
                  <a:gd name="connsiteX116" fmla="*/ 57150 w 8601075"/>
                  <a:gd name="connsiteY116" fmla="*/ 923925 h 4333875"/>
                  <a:gd name="connsiteX117" fmla="*/ 209550 w 8601075"/>
                  <a:gd name="connsiteY117" fmla="*/ 1114425 h 4333875"/>
                  <a:gd name="connsiteX118" fmla="*/ 209550 w 8601075"/>
                  <a:gd name="connsiteY118" fmla="*/ 1114425 h 4333875"/>
                  <a:gd name="connsiteX119" fmla="*/ 266700 w 8601075"/>
                  <a:gd name="connsiteY119" fmla="*/ 1295400 h 4333875"/>
                  <a:gd name="connsiteX120" fmla="*/ 409575 w 8601075"/>
                  <a:gd name="connsiteY120" fmla="*/ 1276350 h 4333875"/>
                  <a:gd name="connsiteX121" fmla="*/ 466725 w 8601075"/>
                  <a:gd name="connsiteY121" fmla="*/ 1362075 h 4333875"/>
                  <a:gd name="connsiteX122" fmla="*/ 542925 w 8601075"/>
                  <a:gd name="connsiteY122" fmla="*/ 1428750 h 4333875"/>
                  <a:gd name="connsiteX123" fmla="*/ 628650 w 8601075"/>
                  <a:gd name="connsiteY123" fmla="*/ 1571625 h 4333875"/>
                  <a:gd name="connsiteX124" fmla="*/ 628650 w 8601075"/>
                  <a:gd name="connsiteY124" fmla="*/ 1704975 h 4333875"/>
                  <a:gd name="connsiteX125" fmla="*/ 676275 w 8601075"/>
                  <a:gd name="connsiteY125" fmla="*/ 1771650 h 4333875"/>
                  <a:gd name="connsiteX126" fmla="*/ 657225 w 8601075"/>
                  <a:gd name="connsiteY126" fmla="*/ 2000250 h 4333875"/>
                  <a:gd name="connsiteX127" fmla="*/ 619125 w 8601075"/>
                  <a:gd name="connsiteY127" fmla="*/ 2095500 h 4333875"/>
                  <a:gd name="connsiteX128" fmla="*/ 542925 w 8601075"/>
                  <a:gd name="connsiteY128" fmla="*/ 2228850 h 4333875"/>
                  <a:gd name="connsiteX129" fmla="*/ 485775 w 8601075"/>
                  <a:gd name="connsiteY129" fmla="*/ 2362200 h 4333875"/>
                  <a:gd name="connsiteX130" fmla="*/ 552450 w 8601075"/>
                  <a:gd name="connsiteY130" fmla="*/ 2486025 h 4333875"/>
                  <a:gd name="connsiteX131" fmla="*/ 771525 w 8601075"/>
                  <a:gd name="connsiteY131" fmla="*/ 2571750 h 4333875"/>
                  <a:gd name="connsiteX132" fmla="*/ 866775 w 8601075"/>
                  <a:gd name="connsiteY132" fmla="*/ 2571750 h 4333875"/>
                  <a:gd name="connsiteX133" fmla="*/ 914400 w 8601075"/>
                  <a:gd name="connsiteY133" fmla="*/ 2638425 h 4333875"/>
                  <a:gd name="connsiteX134" fmla="*/ 1066800 w 8601075"/>
                  <a:gd name="connsiteY134" fmla="*/ 2638425 h 4333875"/>
                  <a:gd name="connsiteX135" fmla="*/ 1285875 w 8601075"/>
                  <a:gd name="connsiteY135" fmla="*/ 2705100 h 4333875"/>
                  <a:gd name="connsiteX136" fmla="*/ 1438275 w 8601075"/>
                  <a:gd name="connsiteY136" fmla="*/ 2838450 h 4333875"/>
                  <a:gd name="connsiteX137" fmla="*/ 1485900 w 8601075"/>
                  <a:gd name="connsiteY137" fmla="*/ 2914650 h 4333875"/>
                  <a:gd name="connsiteX138" fmla="*/ 1657350 w 8601075"/>
                  <a:gd name="connsiteY138" fmla="*/ 3038475 h 4333875"/>
                  <a:gd name="connsiteX139" fmla="*/ 1752600 w 8601075"/>
                  <a:gd name="connsiteY139" fmla="*/ 3057525 h 4333875"/>
                  <a:gd name="connsiteX140" fmla="*/ 1724025 w 8601075"/>
                  <a:gd name="connsiteY140" fmla="*/ 3143250 h 4333875"/>
                  <a:gd name="connsiteX141" fmla="*/ 1724025 w 8601075"/>
                  <a:gd name="connsiteY141" fmla="*/ 3143250 h 4333875"/>
                  <a:gd name="connsiteX142" fmla="*/ 1781175 w 8601075"/>
                  <a:gd name="connsiteY142" fmla="*/ 3181350 h 4333875"/>
                  <a:gd name="connsiteX143" fmla="*/ 1819275 w 8601075"/>
                  <a:gd name="connsiteY143" fmla="*/ 3362325 h 4333875"/>
                  <a:gd name="connsiteX144" fmla="*/ 1828800 w 8601075"/>
                  <a:gd name="connsiteY144" fmla="*/ 3457575 h 4333875"/>
                  <a:gd name="connsiteX145" fmla="*/ 1971675 w 8601075"/>
                  <a:gd name="connsiteY145" fmla="*/ 3590925 h 4333875"/>
                  <a:gd name="connsiteX146" fmla="*/ 1990725 w 8601075"/>
                  <a:gd name="connsiteY146" fmla="*/ 3714750 h 4333875"/>
                  <a:gd name="connsiteX147" fmla="*/ 2200275 w 8601075"/>
                  <a:gd name="connsiteY147" fmla="*/ 3695700 h 4333875"/>
                  <a:gd name="connsiteX148" fmla="*/ 2886075 w 8601075"/>
                  <a:gd name="connsiteY148" fmla="*/ 3886200 h 4333875"/>
                  <a:gd name="connsiteX149" fmla="*/ 3038475 w 8601075"/>
                  <a:gd name="connsiteY149" fmla="*/ 3819525 h 4333875"/>
                  <a:gd name="connsiteX150" fmla="*/ 3105150 w 8601075"/>
                  <a:gd name="connsiteY150" fmla="*/ 3867150 h 4333875"/>
                  <a:gd name="connsiteX151" fmla="*/ 3181350 w 8601075"/>
                  <a:gd name="connsiteY151" fmla="*/ 3800475 h 4333875"/>
                  <a:gd name="connsiteX152" fmla="*/ 3590925 w 8601075"/>
                  <a:gd name="connsiteY152" fmla="*/ 3943350 h 4333875"/>
                  <a:gd name="connsiteX153" fmla="*/ 3686175 w 8601075"/>
                  <a:gd name="connsiteY153" fmla="*/ 4057650 h 4333875"/>
                  <a:gd name="connsiteX154" fmla="*/ 3838575 w 8601075"/>
                  <a:gd name="connsiteY154" fmla="*/ 4057650 h 4333875"/>
                  <a:gd name="connsiteX155" fmla="*/ 4162425 w 8601075"/>
                  <a:gd name="connsiteY155" fmla="*/ 4248150 h 4333875"/>
                  <a:gd name="connsiteX156" fmla="*/ 4391025 w 8601075"/>
                  <a:gd name="connsiteY156" fmla="*/ 4200525 h 4333875"/>
                  <a:gd name="connsiteX157" fmla="*/ 4410075 w 8601075"/>
                  <a:gd name="connsiteY157" fmla="*/ 4305300 h 4333875"/>
                  <a:gd name="connsiteX158" fmla="*/ 4505325 w 8601075"/>
                  <a:gd name="connsiteY158" fmla="*/ 4276725 h 4333875"/>
                  <a:gd name="connsiteX159" fmla="*/ 4572000 w 8601075"/>
                  <a:gd name="connsiteY159" fmla="*/ 4333875 h 4333875"/>
                  <a:gd name="connsiteX160" fmla="*/ 4591050 w 8601075"/>
                  <a:gd name="connsiteY160" fmla="*/ 4248150 h 4333875"/>
                  <a:gd name="connsiteX161" fmla="*/ 5295900 w 8601075"/>
                  <a:gd name="connsiteY161" fmla="*/ 3924300 h 4333875"/>
                  <a:gd name="connsiteX162" fmla="*/ 5353050 w 8601075"/>
                  <a:gd name="connsiteY162" fmla="*/ 3990975 h 4333875"/>
                  <a:gd name="connsiteX163" fmla="*/ 5524500 w 8601075"/>
                  <a:gd name="connsiteY163" fmla="*/ 3914775 h 4333875"/>
                  <a:gd name="connsiteX164" fmla="*/ 5667375 w 8601075"/>
                  <a:gd name="connsiteY164" fmla="*/ 3962400 h 4333875"/>
                  <a:gd name="connsiteX165" fmla="*/ 5753100 w 8601075"/>
                  <a:gd name="connsiteY165" fmla="*/ 3924300 h 4333875"/>
                  <a:gd name="connsiteX166" fmla="*/ 5905500 w 8601075"/>
                  <a:gd name="connsiteY166" fmla="*/ 3943350 h 4333875"/>
                  <a:gd name="connsiteX167" fmla="*/ 6000750 w 8601075"/>
                  <a:gd name="connsiteY167" fmla="*/ 3800475 h 4333875"/>
                  <a:gd name="connsiteX168" fmla="*/ 6153150 w 8601075"/>
                  <a:gd name="connsiteY168" fmla="*/ 3781425 h 4333875"/>
                  <a:gd name="connsiteX169" fmla="*/ 6257925 w 8601075"/>
                  <a:gd name="connsiteY169" fmla="*/ 3581400 h 4333875"/>
                  <a:gd name="connsiteX170" fmla="*/ 6448425 w 8601075"/>
                  <a:gd name="connsiteY170" fmla="*/ 3448050 h 4333875"/>
                  <a:gd name="connsiteX171" fmla="*/ 6581775 w 8601075"/>
                  <a:gd name="connsiteY171" fmla="*/ 3276600 h 4333875"/>
                  <a:gd name="connsiteX172" fmla="*/ 6496050 w 8601075"/>
                  <a:gd name="connsiteY172" fmla="*/ 3228975 h 4333875"/>
                  <a:gd name="connsiteX173" fmla="*/ 6438900 w 8601075"/>
                  <a:gd name="connsiteY173" fmla="*/ 3162300 h 4333875"/>
                  <a:gd name="connsiteX174" fmla="*/ 6419850 w 8601075"/>
                  <a:gd name="connsiteY174" fmla="*/ 3105150 h 4333875"/>
                  <a:gd name="connsiteX175" fmla="*/ 6362700 w 8601075"/>
                  <a:gd name="connsiteY175" fmla="*/ 3076575 h 4333875"/>
                  <a:gd name="connsiteX176" fmla="*/ 6410325 w 8601075"/>
                  <a:gd name="connsiteY176" fmla="*/ 3019425 h 4333875"/>
                  <a:gd name="connsiteX177" fmla="*/ 6438900 w 8601075"/>
                  <a:gd name="connsiteY177" fmla="*/ 2819400 h 4333875"/>
                  <a:gd name="connsiteX178" fmla="*/ 6496050 w 8601075"/>
                  <a:gd name="connsiteY178" fmla="*/ 2762250 h 4333875"/>
                  <a:gd name="connsiteX179" fmla="*/ 6657975 w 8601075"/>
                  <a:gd name="connsiteY179" fmla="*/ 2752725 h 4333875"/>
                  <a:gd name="connsiteX180" fmla="*/ 6781800 w 8601075"/>
                  <a:gd name="connsiteY180" fmla="*/ 2838450 h 4333875"/>
                  <a:gd name="connsiteX181" fmla="*/ 7010400 w 8601075"/>
                  <a:gd name="connsiteY181" fmla="*/ 2838450 h 4333875"/>
                  <a:gd name="connsiteX182" fmla="*/ 7162800 w 8601075"/>
                  <a:gd name="connsiteY182" fmla="*/ 2705100 h 4333875"/>
                  <a:gd name="connsiteX183" fmla="*/ 7229475 w 8601075"/>
                  <a:gd name="connsiteY183" fmla="*/ 2590800 h 4333875"/>
                  <a:gd name="connsiteX184" fmla="*/ 7248525 w 8601075"/>
                  <a:gd name="connsiteY184" fmla="*/ 2524125 h 4333875"/>
                  <a:gd name="connsiteX185" fmla="*/ 7372350 w 8601075"/>
                  <a:gd name="connsiteY185" fmla="*/ 2543175 h 4333875"/>
                  <a:gd name="connsiteX186" fmla="*/ 7553325 w 8601075"/>
                  <a:gd name="connsiteY186" fmla="*/ 2447925 h 4333875"/>
                  <a:gd name="connsiteX187" fmla="*/ 7620000 w 8601075"/>
                  <a:gd name="connsiteY187" fmla="*/ 2324100 h 4333875"/>
                  <a:gd name="connsiteX188" fmla="*/ 7696200 w 8601075"/>
                  <a:gd name="connsiteY188" fmla="*/ 2314575 h 4333875"/>
                  <a:gd name="connsiteX189" fmla="*/ 7658100 w 8601075"/>
                  <a:gd name="connsiteY189" fmla="*/ 2257425 h 4333875"/>
                  <a:gd name="connsiteX190" fmla="*/ 7753350 w 8601075"/>
                  <a:gd name="connsiteY190" fmla="*/ 2057400 h 4333875"/>
                  <a:gd name="connsiteX191" fmla="*/ 7934325 w 8601075"/>
                  <a:gd name="connsiteY191" fmla="*/ 2028825 h 4333875"/>
                  <a:gd name="connsiteX192" fmla="*/ 7953375 w 8601075"/>
                  <a:gd name="connsiteY192" fmla="*/ 1952625 h 4333875"/>
                  <a:gd name="connsiteX193" fmla="*/ 7953375 w 8601075"/>
                  <a:gd name="connsiteY193" fmla="*/ 1952625 h 4333875"/>
                  <a:gd name="connsiteX194" fmla="*/ 8010525 w 8601075"/>
                  <a:gd name="connsiteY194" fmla="*/ 1895475 h 4333875"/>
                  <a:gd name="connsiteX195" fmla="*/ 8048625 w 8601075"/>
                  <a:gd name="connsiteY195" fmla="*/ 1971675 h 4333875"/>
                  <a:gd name="connsiteX196" fmla="*/ 8077200 w 8601075"/>
                  <a:gd name="connsiteY196" fmla="*/ 1885950 h 4333875"/>
                  <a:gd name="connsiteX197" fmla="*/ 8220075 w 8601075"/>
                  <a:gd name="connsiteY197" fmla="*/ 1847850 h 4333875"/>
                  <a:gd name="connsiteX198" fmla="*/ 8296275 w 8601075"/>
                  <a:gd name="connsiteY198" fmla="*/ 1809750 h 4333875"/>
                  <a:gd name="connsiteX199" fmla="*/ 8324850 w 8601075"/>
                  <a:gd name="connsiteY199" fmla="*/ 1790700 h 4333875"/>
                  <a:gd name="connsiteX200" fmla="*/ 8410575 w 8601075"/>
                  <a:gd name="connsiteY200" fmla="*/ 1847850 h 4333875"/>
                  <a:gd name="connsiteX201" fmla="*/ 8505825 w 8601075"/>
                  <a:gd name="connsiteY201" fmla="*/ 1781175 h 4333875"/>
                  <a:gd name="connsiteX202" fmla="*/ 8572500 w 8601075"/>
                  <a:gd name="connsiteY202" fmla="*/ 1809750 h 4333875"/>
                  <a:gd name="connsiteX203" fmla="*/ 8601075 w 8601075"/>
                  <a:gd name="connsiteY203" fmla="*/ 1704975 h 4333875"/>
                  <a:gd name="connsiteX204" fmla="*/ 8553450 w 8601075"/>
                  <a:gd name="connsiteY204" fmla="*/ 1676400 h 4333875"/>
                  <a:gd name="connsiteX205" fmla="*/ 8534400 w 8601075"/>
                  <a:gd name="connsiteY205" fmla="*/ 1609725 h 4333875"/>
                  <a:gd name="connsiteX206" fmla="*/ 8277225 w 8601075"/>
                  <a:gd name="connsiteY206" fmla="*/ 1409700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124825 w 8601075"/>
                  <a:gd name="connsiteY209" fmla="*/ 1352550 h 4333875"/>
                  <a:gd name="connsiteX210" fmla="*/ 7924800 w 8601075"/>
                  <a:gd name="connsiteY210" fmla="*/ 1362075 h 4333875"/>
                  <a:gd name="connsiteX211" fmla="*/ 7867650 w 8601075"/>
                  <a:gd name="connsiteY211" fmla="*/ 1457325 h 4333875"/>
                  <a:gd name="connsiteX212" fmla="*/ 7896225 w 8601075"/>
                  <a:gd name="connsiteY212" fmla="*/ 1476375 h 4333875"/>
                  <a:gd name="connsiteX213" fmla="*/ 7858125 w 8601075"/>
                  <a:gd name="connsiteY213" fmla="*/ 1533525 h 4333875"/>
                  <a:gd name="connsiteX214" fmla="*/ 7658100 w 8601075"/>
                  <a:gd name="connsiteY214" fmla="*/ 1447800 h 4333875"/>
                  <a:gd name="connsiteX215" fmla="*/ 7515225 w 8601075"/>
                  <a:gd name="connsiteY215" fmla="*/ 1495425 h 4333875"/>
                  <a:gd name="connsiteX216" fmla="*/ 7467600 w 8601075"/>
                  <a:gd name="connsiteY216" fmla="*/ 1581150 h 4333875"/>
                  <a:gd name="connsiteX217" fmla="*/ 7296150 w 8601075"/>
                  <a:gd name="connsiteY21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593056 w 8601075"/>
                  <a:gd name="connsiteY96" fmla="*/ 435769 h 4333875"/>
                  <a:gd name="connsiteX97" fmla="*/ 1485900 w 8601075"/>
                  <a:gd name="connsiteY97" fmla="*/ 419100 h 4333875"/>
                  <a:gd name="connsiteX98" fmla="*/ 1457325 w 8601075"/>
                  <a:gd name="connsiteY98" fmla="*/ 323850 h 4333875"/>
                  <a:gd name="connsiteX99" fmla="*/ 1457325 w 8601075"/>
                  <a:gd name="connsiteY99" fmla="*/ 323850 h 4333875"/>
                  <a:gd name="connsiteX100" fmla="*/ 1323975 w 8601075"/>
                  <a:gd name="connsiteY100" fmla="*/ 285750 h 4333875"/>
                  <a:gd name="connsiteX101" fmla="*/ 1266825 w 8601075"/>
                  <a:gd name="connsiteY101" fmla="*/ 352425 h 4333875"/>
                  <a:gd name="connsiteX102" fmla="*/ 1009650 w 8601075"/>
                  <a:gd name="connsiteY102" fmla="*/ 390525 h 4333875"/>
                  <a:gd name="connsiteX103" fmla="*/ 828675 w 8601075"/>
                  <a:gd name="connsiteY103" fmla="*/ 447675 h 4333875"/>
                  <a:gd name="connsiteX104" fmla="*/ 619125 w 8601075"/>
                  <a:gd name="connsiteY104" fmla="*/ 533400 h 4333875"/>
                  <a:gd name="connsiteX105" fmla="*/ 619125 w 8601075"/>
                  <a:gd name="connsiteY105" fmla="*/ 533400 h 4333875"/>
                  <a:gd name="connsiteX106" fmla="*/ 561975 w 8601075"/>
                  <a:gd name="connsiteY106" fmla="*/ 619125 h 4333875"/>
                  <a:gd name="connsiteX107" fmla="*/ 447675 w 8601075"/>
                  <a:gd name="connsiteY107" fmla="*/ 63817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295275 w 8601075"/>
                  <a:gd name="connsiteY110" fmla="*/ 657225 h 4333875"/>
                  <a:gd name="connsiteX111" fmla="*/ 180975 w 8601075"/>
                  <a:gd name="connsiteY111" fmla="*/ 638175 h 4333875"/>
                  <a:gd name="connsiteX112" fmla="*/ 180975 w 8601075"/>
                  <a:gd name="connsiteY112" fmla="*/ 638175 h 4333875"/>
                  <a:gd name="connsiteX113" fmla="*/ 57150 w 8601075"/>
                  <a:gd name="connsiteY113" fmla="*/ 733425 h 4333875"/>
                  <a:gd name="connsiteX114" fmla="*/ 19050 w 8601075"/>
                  <a:gd name="connsiteY114" fmla="*/ 790575 h 4333875"/>
                  <a:gd name="connsiteX115" fmla="*/ 0 w 8601075"/>
                  <a:gd name="connsiteY115" fmla="*/ 876300 h 4333875"/>
                  <a:gd name="connsiteX116" fmla="*/ 57150 w 8601075"/>
                  <a:gd name="connsiteY116" fmla="*/ 923925 h 4333875"/>
                  <a:gd name="connsiteX117" fmla="*/ 57150 w 8601075"/>
                  <a:gd name="connsiteY117" fmla="*/ 923925 h 4333875"/>
                  <a:gd name="connsiteX118" fmla="*/ 209550 w 8601075"/>
                  <a:gd name="connsiteY118" fmla="*/ 1114425 h 4333875"/>
                  <a:gd name="connsiteX119" fmla="*/ 209550 w 8601075"/>
                  <a:gd name="connsiteY119" fmla="*/ 1114425 h 4333875"/>
                  <a:gd name="connsiteX120" fmla="*/ 266700 w 8601075"/>
                  <a:gd name="connsiteY120" fmla="*/ 1295400 h 4333875"/>
                  <a:gd name="connsiteX121" fmla="*/ 409575 w 8601075"/>
                  <a:gd name="connsiteY121" fmla="*/ 1276350 h 4333875"/>
                  <a:gd name="connsiteX122" fmla="*/ 466725 w 8601075"/>
                  <a:gd name="connsiteY122" fmla="*/ 1362075 h 4333875"/>
                  <a:gd name="connsiteX123" fmla="*/ 542925 w 8601075"/>
                  <a:gd name="connsiteY123" fmla="*/ 1428750 h 4333875"/>
                  <a:gd name="connsiteX124" fmla="*/ 628650 w 8601075"/>
                  <a:gd name="connsiteY124" fmla="*/ 1571625 h 4333875"/>
                  <a:gd name="connsiteX125" fmla="*/ 628650 w 8601075"/>
                  <a:gd name="connsiteY125" fmla="*/ 1704975 h 4333875"/>
                  <a:gd name="connsiteX126" fmla="*/ 676275 w 8601075"/>
                  <a:gd name="connsiteY126" fmla="*/ 1771650 h 4333875"/>
                  <a:gd name="connsiteX127" fmla="*/ 657225 w 8601075"/>
                  <a:gd name="connsiteY127" fmla="*/ 2000250 h 4333875"/>
                  <a:gd name="connsiteX128" fmla="*/ 619125 w 8601075"/>
                  <a:gd name="connsiteY128" fmla="*/ 2095500 h 4333875"/>
                  <a:gd name="connsiteX129" fmla="*/ 542925 w 8601075"/>
                  <a:gd name="connsiteY129" fmla="*/ 2228850 h 4333875"/>
                  <a:gd name="connsiteX130" fmla="*/ 485775 w 8601075"/>
                  <a:gd name="connsiteY130" fmla="*/ 2362200 h 4333875"/>
                  <a:gd name="connsiteX131" fmla="*/ 552450 w 8601075"/>
                  <a:gd name="connsiteY131" fmla="*/ 2486025 h 4333875"/>
                  <a:gd name="connsiteX132" fmla="*/ 771525 w 8601075"/>
                  <a:gd name="connsiteY132" fmla="*/ 2571750 h 4333875"/>
                  <a:gd name="connsiteX133" fmla="*/ 866775 w 8601075"/>
                  <a:gd name="connsiteY133" fmla="*/ 2571750 h 4333875"/>
                  <a:gd name="connsiteX134" fmla="*/ 914400 w 8601075"/>
                  <a:gd name="connsiteY134" fmla="*/ 2638425 h 4333875"/>
                  <a:gd name="connsiteX135" fmla="*/ 1066800 w 8601075"/>
                  <a:gd name="connsiteY135" fmla="*/ 2638425 h 4333875"/>
                  <a:gd name="connsiteX136" fmla="*/ 1285875 w 8601075"/>
                  <a:gd name="connsiteY136" fmla="*/ 2705100 h 4333875"/>
                  <a:gd name="connsiteX137" fmla="*/ 1438275 w 8601075"/>
                  <a:gd name="connsiteY137" fmla="*/ 2838450 h 4333875"/>
                  <a:gd name="connsiteX138" fmla="*/ 1485900 w 8601075"/>
                  <a:gd name="connsiteY138" fmla="*/ 2914650 h 4333875"/>
                  <a:gd name="connsiteX139" fmla="*/ 1657350 w 8601075"/>
                  <a:gd name="connsiteY139" fmla="*/ 3038475 h 4333875"/>
                  <a:gd name="connsiteX140" fmla="*/ 1752600 w 8601075"/>
                  <a:gd name="connsiteY140" fmla="*/ 3057525 h 4333875"/>
                  <a:gd name="connsiteX141" fmla="*/ 1724025 w 8601075"/>
                  <a:gd name="connsiteY141" fmla="*/ 3143250 h 4333875"/>
                  <a:gd name="connsiteX142" fmla="*/ 1724025 w 8601075"/>
                  <a:gd name="connsiteY142" fmla="*/ 3143250 h 4333875"/>
                  <a:gd name="connsiteX143" fmla="*/ 1781175 w 8601075"/>
                  <a:gd name="connsiteY143" fmla="*/ 3181350 h 4333875"/>
                  <a:gd name="connsiteX144" fmla="*/ 1819275 w 8601075"/>
                  <a:gd name="connsiteY144" fmla="*/ 3362325 h 4333875"/>
                  <a:gd name="connsiteX145" fmla="*/ 1828800 w 8601075"/>
                  <a:gd name="connsiteY145" fmla="*/ 3457575 h 4333875"/>
                  <a:gd name="connsiteX146" fmla="*/ 1971675 w 8601075"/>
                  <a:gd name="connsiteY146" fmla="*/ 3590925 h 4333875"/>
                  <a:gd name="connsiteX147" fmla="*/ 1990725 w 8601075"/>
                  <a:gd name="connsiteY147" fmla="*/ 3714750 h 4333875"/>
                  <a:gd name="connsiteX148" fmla="*/ 2200275 w 8601075"/>
                  <a:gd name="connsiteY148" fmla="*/ 3695700 h 4333875"/>
                  <a:gd name="connsiteX149" fmla="*/ 2886075 w 8601075"/>
                  <a:gd name="connsiteY149" fmla="*/ 3886200 h 4333875"/>
                  <a:gd name="connsiteX150" fmla="*/ 3038475 w 8601075"/>
                  <a:gd name="connsiteY150" fmla="*/ 3819525 h 4333875"/>
                  <a:gd name="connsiteX151" fmla="*/ 3105150 w 8601075"/>
                  <a:gd name="connsiteY151" fmla="*/ 3867150 h 4333875"/>
                  <a:gd name="connsiteX152" fmla="*/ 3181350 w 8601075"/>
                  <a:gd name="connsiteY152" fmla="*/ 3800475 h 4333875"/>
                  <a:gd name="connsiteX153" fmla="*/ 3590925 w 8601075"/>
                  <a:gd name="connsiteY153" fmla="*/ 3943350 h 4333875"/>
                  <a:gd name="connsiteX154" fmla="*/ 3686175 w 8601075"/>
                  <a:gd name="connsiteY154" fmla="*/ 4057650 h 4333875"/>
                  <a:gd name="connsiteX155" fmla="*/ 3838575 w 8601075"/>
                  <a:gd name="connsiteY155" fmla="*/ 4057650 h 4333875"/>
                  <a:gd name="connsiteX156" fmla="*/ 4162425 w 8601075"/>
                  <a:gd name="connsiteY156" fmla="*/ 4248150 h 4333875"/>
                  <a:gd name="connsiteX157" fmla="*/ 4391025 w 8601075"/>
                  <a:gd name="connsiteY157" fmla="*/ 4200525 h 4333875"/>
                  <a:gd name="connsiteX158" fmla="*/ 4410075 w 8601075"/>
                  <a:gd name="connsiteY158" fmla="*/ 4305300 h 4333875"/>
                  <a:gd name="connsiteX159" fmla="*/ 4505325 w 8601075"/>
                  <a:gd name="connsiteY159" fmla="*/ 4276725 h 4333875"/>
                  <a:gd name="connsiteX160" fmla="*/ 4572000 w 8601075"/>
                  <a:gd name="connsiteY160" fmla="*/ 4333875 h 4333875"/>
                  <a:gd name="connsiteX161" fmla="*/ 4591050 w 8601075"/>
                  <a:gd name="connsiteY161" fmla="*/ 4248150 h 4333875"/>
                  <a:gd name="connsiteX162" fmla="*/ 5295900 w 8601075"/>
                  <a:gd name="connsiteY162" fmla="*/ 3924300 h 4333875"/>
                  <a:gd name="connsiteX163" fmla="*/ 5353050 w 8601075"/>
                  <a:gd name="connsiteY163" fmla="*/ 3990975 h 4333875"/>
                  <a:gd name="connsiteX164" fmla="*/ 5524500 w 8601075"/>
                  <a:gd name="connsiteY164" fmla="*/ 3914775 h 4333875"/>
                  <a:gd name="connsiteX165" fmla="*/ 5667375 w 8601075"/>
                  <a:gd name="connsiteY165" fmla="*/ 3962400 h 4333875"/>
                  <a:gd name="connsiteX166" fmla="*/ 5753100 w 8601075"/>
                  <a:gd name="connsiteY166" fmla="*/ 3924300 h 4333875"/>
                  <a:gd name="connsiteX167" fmla="*/ 5905500 w 8601075"/>
                  <a:gd name="connsiteY167" fmla="*/ 3943350 h 4333875"/>
                  <a:gd name="connsiteX168" fmla="*/ 6000750 w 8601075"/>
                  <a:gd name="connsiteY168" fmla="*/ 3800475 h 4333875"/>
                  <a:gd name="connsiteX169" fmla="*/ 6153150 w 8601075"/>
                  <a:gd name="connsiteY169" fmla="*/ 3781425 h 4333875"/>
                  <a:gd name="connsiteX170" fmla="*/ 6257925 w 8601075"/>
                  <a:gd name="connsiteY170" fmla="*/ 3581400 h 4333875"/>
                  <a:gd name="connsiteX171" fmla="*/ 6448425 w 8601075"/>
                  <a:gd name="connsiteY171" fmla="*/ 3448050 h 4333875"/>
                  <a:gd name="connsiteX172" fmla="*/ 6581775 w 8601075"/>
                  <a:gd name="connsiteY172" fmla="*/ 3276600 h 4333875"/>
                  <a:gd name="connsiteX173" fmla="*/ 6496050 w 8601075"/>
                  <a:gd name="connsiteY173" fmla="*/ 3228975 h 4333875"/>
                  <a:gd name="connsiteX174" fmla="*/ 6438900 w 8601075"/>
                  <a:gd name="connsiteY174" fmla="*/ 3162300 h 4333875"/>
                  <a:gd name="connsiteX175" fmla="*/ 6419850 w 8601075"/>
                  <a:gd name="connsiteY175" fmla="*/ 3105150 h 4333875"/>
                  <a:gd name="connsiteX176" fmla="*/ 6362700 w 8601075"/>
                  <a:gd name="connsiteY176" fmla="*/ 3076575 h 4333875"/>
                  <a:gd name="connsiteX177" fmla="*/ 6410325 w 8601075"/>
                  <a:gd name="connsiteY177" fmla="*/ 3019425 h 4333875"/>
                  <a:gd name="connsiteX178" fmla="*/ 6438900 w 8601075"/>
                  <a:gd name="connsiteY178" fmla="*/ 2819400 h 4333875"/>
                  <a:gd name="connsiteX179" fmla="*/ 6496050 w 8601075"/>
                  <a:gd name="connsiteY179" fmla="*/ 2762250 h 4333875"/>
                  <a:gd name="connsiteX180" fmla="*/ 6657975 w 8601075"/>
                  <a:gd name="connsiteY180" fmla="*/ 2752725 h 4333875"/>
                  <a:gd name="connsiteX181" fmla="*/ 6781800 w 8601075"/>
                  <a:gd name="connsiteY181" fmla="*/ 2838450 h 4333875"/>
                  <a:gd name="connsiteX182" fmla="*/ 7010400 w 8601075"/>
                  <a:gd name="connsiteY182" fmla="*/ 2838450 h 4333875"/>
                  <a:gd name="connsiteX183" fmla="*/ 7162800 w 8601075"/>
                  <a:gd name="connsiteY183" fmla="*/ 2705100 h 4333875"/>
                  <a:gd name="connsiteX184" fmla="*/ 7229475 w 8601075"/>
                  <a:gd name="connsiteY184" fmla="*/ 2590800 h 4333875"/>
                  <a:gd name="connsiteX185" fmla="*/ 7248525 w 8601075"/>
                  <a:gd name="connsiteY185" fmla="*/ 2524125 h 4333875"/>
                  <a:gd name="connsiteX186" fmla="*/ 7372350 w 8601075"/>
                  <a:gd name="connsiteY186" fmla="*/ 2543175 h 4333875"/>
                  <a:gd name="connsiteX187" fmla="*/ 7553325 w 8601075"/>
                  <a:gd name="connsiteY187" fmla="*/ 2447925 h 4333875"/>
                  <a:gd name="connsiteX188" fmla="*/ 7620000 w 8601075"/>
                  <a:gd name="connsiteY188" fmla="*/ 2324100 h 4333875"/>
                  <a:gd name="connsiteX189" fmla="*/ 7696200 w 8601075"/>
                  <a:gd name="connsiteY189" fmla="*/ 2314575 h 4333875"/>
                  <a:gd name="connsiteX190" fmla="*/ 7658100 w 8601075"/>
                  <a:gd name="connsiteY190" fmla="*/ 2257425 h 4333875"/>
                  <a:gd name="connsiteX191" fmla="*/ 7753350 w 8601075"/>
                  <a:gd name="connsiteY191" fmla="*/ 2057400 h 4333875"/>
                  <a:gd name="connsiteX192" fmla="*/ 7934325 w 8601075"/>
                  <a:gd name="connsiteY192" fmla="*/ 2028825 h 4333875"/>
                  <a:gd name="connsiteX193" fmla="*/ 7953375 w 8601075"/>
                  <a:gd name="connsiteY193" fmla="*/ 1952625 h 4333875"/>
                  <a:gd name="connsiteX194" fmla="*/ 7953375 w 8601075"/>
                  <a:gd name="connsiteY194" fmla="*/ 1952625 h 4333875"/>
                  <a:gd name="connsiteX195" fmla="*/ 8010525 w 8601075"/>
                  <a:gd name="connsiteY195" fmla="*/ 1895475 h 4333875"/>
                  <a:gd name="connsiteX196" fmla="*/ 8048625 w 8601075"/>
                  <a:gd name="connsiteY196" fmla="*/ 1971675 h 4333875"/>
                  <a:gd name="connsiteX197" fmla="*/ 8077200 w 8601075"/>
                  <a:gd name="connsiteY197" fmla="*/ 1885950 h 4333875"/>
                  <a:gd name="connsiteX198" fmla="*/ 8220075 w 8601075"/>
                  <a:gd name="connsiteY198" fmla="*/ 1847850 h 4333875"/>
                  <a:gd name="connsiteX199" fmla="*/ 8296275 w 8601075"/>
                  <a:gd name="connsiteY199" fmla="*/ 1809750 h 4333875"/>
                  <a:gd name="connsiteX200" fmla="*/ 8324850 w 8601075"/>
                  <a:gd name="connsiteY200" fmla="*/ 1790700 h 4333875"/>
                  <a:gd name="connsiteX201" fmla="*/ 8410575 w 8601075"/>
                  <a:gd name="connsiteY201" fmla="*/ 1847850 h 4333875"/>
                  <a:gd name="connsiteX202" fmla="*/ 8505825 w 8601075"/>
                  <a:gd name="connsiteY202" fmla="*/ 1781175 h 4333875"/>
                  <a:gd name="connsiteX203" fmla="*/ 8572500 w 8601075"/>
                  <a:gd name="connsiteY203" fmla="*/ 1809750 h 4333875"/>
                  <a:gd name="connsiteX204" fmla="*/ 8601075 w 8601075"/>
                  <a:gd name="connsiteY204" fmla="*/ 1704975 h 4333875"/>
                  <a:gd name="connsiteX205" fmla="*/ 8553450 w 8601075"/>
                  <a:gd name="connsiteY205" fmla="*/ 1676400 h 4333875"/>
                  <a:gd name="connsiteX206" fmla="*/ 8534400 w 8601075"/>
                  <a:gd name="connsiteY206" fmla="*/ 1609725 h 4333875"/>
                  <a:gd name="connsiteX207" fmla="*/ 8277225 w 8601075"/>
                  <a:gd name="connsiteY207" fmla="*/ 1409700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124825 w 8601075"/>
                  <a:gd name="connsiteY210" fmla="*/ 1352550 h 4333875"/>
                  <a:gd name="connsiteX211" fmla="*/ 7924800 w 8601075"/>
                  <a:gd name="connsiteY211" fmla="*/ 1362075 h 4333875"/>
                  <a:gd name="connsiteX212" fmla="*/ 7867650 w 8601075"/>
                  <a:gd name="connsiteY212" fmla="*/ 1457325 h 4333875"/>
                  <a:gd name="connsiteX213" fmla="*/ 7896225 w 8601075"/>
                  <a:gd name="connsiteY213" fmla="*/ 1476375 h 4333875"/>
                  <a:gd name="connsiteX214" fmla="*/ 7858125 w 8601075"/>
                  <a:gd name="connsiteY214" fmla="*/ 1533525 h 4333875"/>
                  <a:gd name="connsiteX215" fmla="*/ 7658100 w 8601075"/>
                  <a:gd name="connsiteY215" fmla="*/ 1447800 h 4333875"/>
                  <a:gd name="connsiteX216" fmla="*/ 7515225 w 8601075"/>
                  <a:gd name="connsiteY216" fmla="*/ 1495425 h 4333875"/>
                  <a:gd name="connsiteX217" fmla="*/ 7467600 w 8601075"/>
                  <a:gd name="connsiteY217" fmla="*/ 1581150 h 4333875"/>
                  <a:gd name="connsiteX218" fmla="*/ 7296150 w 8601075"/>
                  <a:gd name="connsiteY21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485900 w 8601075"/>
                  <a:gd name="connsiteY98" fmla="*/ 419100 h 4333875"/>
                  <a:gd name="connsiteX99" fmla="*/ 1457325 w 8601075"/>
                  <a:gd name="connsiteY99" fmla="*/ 323850 h 4333875"/>
                  <a:gd name="connsiteX100" fmla="*/ 1457325 w 8601075"/>
                  <a:gd name="connsiteY100" fmla="*/ 323850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85900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57325 w 8601075"/>
                  <a:gd name="connsiteY101" fmla="*/ 32385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57325 w 8601075"/>
                  <a:gd name="connsiteY101" fmla="*/ 32385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466850 w 8601075"/>
                  <a:gd name="connsiteY101" fmla="*/ 342900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57325 w 8601075"/>
                  <a:gd name="connsiteY100" fmla="*/ 323850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323975 w 8601075"/>
                  <a:gd name="connsiteY101" fmla="*/ 285750 h 4333875"/>
                  <a:gd name="connsiteX102" fmla="*/ 1266825 w 8601075"/>
                  <a:gd name="connsiteY102" fmla="*/ 352425 h 4333875"/>
                  <a:gd name="connsiteX103" fmla="*/ 1009650 w 8601075"/>
                  <a:gd name="connsiteY103" fmla="*/ 390525 h 4333875"/>
                  <a:gd name="connsiteX104" fmla="*/ 828675 w 8601075"/>
                  <a:gd name="connsiteY104" fmla="*/ 447675 h 4333875"/>
                  <a:gd name="connsiteX105" fmla="*/ 619125 w 8601075"/>
                  <a:gd name="connsiteY105" fmla="*/ 533400 h 4333875"/>
                  <a:gd name="connsiteX106" fmla="*/ 619125 w 8601075"/>
                  <a:gd name="connsiteY106" fmla="*/ 533400 h 4333875"/>
                  <a:gd name="connsiteX107" fmla="*/ 561975 w 8601075"/>
                  <a:gd name="connsiteY107" fmla="*/ 619125 h 4333875"/>
                  <a:gd name="connsiteX108" fmla="*/ 447675 w 8601075"/>
                  <a:gd name="connsiteY108" fmla="*/ 63817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295275 w 8601075"/>
                  <a:gd name="connsiteY111" fmla="*/ 657225 h 4333875"/>
                  <a:gd name="connsiteX112" fmla="*/ 180975 w 8601075"/>
                  <a:gd name="connsiteY112" fmla="*/ 638175 h 4333875"/>
                  <a:gd name="connsiteX113" fmla="*/ 180975 w 8601075"/>
                  <a:gd name="connsiteY113" fmla="*/ 638175 h 4333875"/>
                  <a:gd name="connsiteX114" fmla="*/ 57150 w 8601075"/>
                  <a:gd name="connsiteY114" fmla="*/ 733425 h 4333875"/>
                  <a:gd name="connsiteX115" fmla="*/ 19050 w 8601075"/>
                  <a:gd name="connsiteY115" fmla="*/ 790575 h 4333875"/>
                  <a:gd name="connsiteX116" fmla="*/ 0 w 8601075"/>
                  <a:gd name="connsiteY116" fmla="*/ 876300 h 4333875"/>
                  <a:gd name="connsiteX117" fmla="*/ 57150 w 8601075"/>
                  <a:gd name="connsiteY117" fmla="*/ 923925 h 4333875"/>
                  <a:gd name="connsiteX118" fmla="*/ 57150 w 8601075"/>
                  <a:gd name="connsiteY118" fmla="*/ 923925 h 4333875"/>
                  <a:gd name="connsiteX119" fmla="*/ 209550 w 8601075"/>
                  <a:gd name="connsiteY119" fmla="*/ 1114425 h 4333875"/>
                  <a:gd name="connsiteX120" fmla="*/ 209550 w 8601075"/>
                  <a:gd name="connsiteY120" fmla="*/ 1114425 h 4333875"/>
                  <a:gd name="connsiteX121" fmla="*/ 266700 w 8601075"/>
                  <a:gd name="connsiteY121" fmla="*/ 1295400 h 4333875"/>
                  <a:gd name="connsiteX122" fmla="*/ 409575 w 8601075"/>
                  <a:gd name="connsiteY122" fmla="*/ 1276350 h 4333875"/>
                  <a:gd name="connsiteX123" fmla="*/ 466725 w 8601075"/>
                  <a:gd name="connsiteY123" fmla="*/ 1362075 h 4333875"/>
                  <a:gd name="connsiteX124" fmla="*/ 542925 w 8601075"/>
                  <a:gd name="connsiteY124" fmla="*/ 1428750 h 4333875"/>
                  <a:gd name="connsiteX125" fmla="*/ 628650 w 8601075"/>
                  <a:gd name="connsiteY125" fmla="*/ 1571625 h 4333875"/>
                  <a:gd name="connsiteX126" fmla="*/ 628650 w 8601075"/>
                  <a:gd name="connsiteY126" fmla="*/ 1704975 h 4333875"/>
                  <a:gd name="connsiteX127" fmla="*/ 676275 w 8601075"/>
                  <a:gd name="connsiteY127" fmla="*/ 1771650 h 4333875"/>
                  <a:gd name="connsiteX128" fmla="*/ 657225 w 8601075"/>
                  <a:gd name="connsiteY128" fmla="*/ 2000250 h 4333875"/>
                  <a:gd name="connsiteX129" fmla="*/ 619125 w 8601075"/>
                  <a:gd name="connsiteY129" fmla="*/ 2095500 h 4333875"/>
                  <a:gd name="connsiteX130" fmla="*/ 542925 w 8601075"/>
                  <a:gd name="connsiteY130" fmla="*/ 2228850 h 4333875"/>
                  <a:gd name="connsiteX131" fmla="*/ 485775 w 8601075"/>
                  <a:gd name="connsiteY131" fmla="*/ 2362200 h 4333875"/>
                  <a:gd name="connsiteX132" fmla="*/ 552450 w 8601075"/>
                  <a:gd name="connsiteY132" fmla="*/ 2486025 h 4333875"/>
                  <a:gd name="connsiteX133" fmla="*/ 771525 w 8601075"/>
                  <a:gd name="connsiteY133" fmla="*/ 2571750 h 4333875"/>
                  <a:gd name="connsiteX134" fmla="*/ 866775 w 8601075"/>
                  <a:gd name="connsiteY134" fmla="*/ 2571750 h 4333875"/>
                  <a:gd name="connsiteX135" fmla="*/ 914400 w 8601075"/>
                  <a:gd name="connsiteY135" fmla="*/ 2638425 h 4333875"/>
                  <a:gd name="connsiteX136" fmla="*/ 1066800 w 8601075"/>
                  <a:gd name="connsiteY136" fmla="*/ 2638425 h 4333875"/>
                  <a:gd name="connsiteX137" fmla="*/ 1285875 w 8601075"/>
                  <a:gd name="connsiteY137" fmla="*/ 2705100 h 4333875"/>
                  <a:gd name="connsiteX138" fmla="*/ 1438275 w 8601075"/>
                  <a:gd name="connsiteY138" fmla="*/ 2838450 h 4333875"/>
                  <a:gd name="connsiteX139" fmla="*/ 1485900 w 8601075"/>
                  <a:gd name="connsiteY139" fmla="*/ 2914650 h 4333875"/>
                  <a:gd name="connsiteX140" fmla="*/ 1657350 w 8601075"/>
                  <a:gd name="connsiteY140" fmla="*/ 3038475 h 4333875"/>
                  <a:gd name="connsiteX141" fmla="*/ 1752600 w 8601075"/>
                  <a:gd name="connsiteY141" fmla="*/ 3057525 h 4333875"/>
                  <a:gd name="connsiteX142" fmla="*/ 1724025 w 8601075"/>
                  <a:gd name="connsiteY142" fmla="*/ 3143250 h 4333875"/>
                  <a:gd name="connsiteX143" fmla="*/ 1724025 w 8601075"/>
                  <a:gd name="connsiteY143" fmla="*/ 3143250 h 4333875"/>
                  <a:gd name="connsiteX144" fmla="*/ 1781175 w 8601075"/>
                  <a:gd name="connsiteY144" fmla="*/ 3181350 h 4333875"/>
                  <a:gd name="connsiteX145" fmla="*/ 1819275 w 8601075"/>
                  <a:gd name="connsiteY145" fmla="*/ 3362325 h 4333875"/>
                  <a:gd name="connsiteX146" fmla="*/ 1828800 w 8601075"/>
                  <a:gd name="connsiteY146" fmla="*/ 3457575 h 4333875"/>
                  <a:gd name="connsiteX147" fmla="*/ 1971675 w 8601075"/>
                  <a:gd name="connsiteY147" fmla="*/ 3590925 h 4333875"/>
                  <a:gd name="connsiteX148" fmla="*/ 1990725 w 8601075"/>
                  <a:gd name="connsiteY148" fmla="*/ 3714750 h 4333875"/>
                  <a:gd name="connsiteX149" fmla="*/ 2200275 w 8601075"/>
                  <a:gd name="connsiteY149" fmla="*/ 3695700 h 4333875"/>
                  <a:gd name="connsiteX150" fmla="*/ 2886075 w 8601075"/>
                  <a:gd name="connsiteY150" fmla="*/ 3886200 h 4333875"/>
                  <a:gd name="connsiteX151" fmla="*/ 3038475 w 8601075"/>
                  <a:gd name="connsiteY151" fmla="*/ 3819525 h 4333875"/>
                  <a:gd name="connsiteX152" fmla="*/ 3105150 w 8601075"/>
                  <a:gd name="connsiteY152" fmla="*/ 3867150 h 4333875"/>
                  <a:gd name="connsiteX153" fmla="*/ 3181350 w 8601075"/>
                  <a:gd name="connsiteY153" fmla="*/ 3800475 h 4333875"/>
                  <a:gd name="connsiteX154" fmla="*/ 3590925 w 8601075"/>
                  <a:gd name="connsiteY154" fmla="*/ 3943350 h 4333875"/>
                  <a:gd name="connsiteX155" fmla="*/ 3686175 w 8601075"/>
                  <a:gd name="connsiteY155" fmla="*/ 4057650 h 4333875"/>
                  <a:gd name="connsiteX156" fmla="*/ 3838575 w 8601075"/>
                  <a:gd name="connsiteY156" fmla="*/ 4057650 h 4333875"/>
                  <a:gd name="connsiteX157" fmla="*/ 4162425 w 8601075"/>
                  <a:gd name="connsiteY157" fmla="*/ 4248150 h 4333875"/>
                  <a:gd name="connsiteX158" fmla="*/ 4391025 w 8601075"/>
                  <a:gd name="connsiteY158" fmla="*/ 4200525 h 4333875"/>
                  <a:gd name="connsiteX159" fmla="*/ 4410075 w 8601075"/>
                  <a:gd name="connsiteY159" fmla="*/ 4305300 h 4333875"/>
                  <a:gd name="connsiteX160" fmla="*/ 4505325 w 8601075"/>
                  <a:gd name="connsiteY160" fmla="*/ 4276725 h 4333875"/>
                  <a:gd name="connsiteX161" fmla="*/ 4572000 w 8601075"/>
                  <a:gd name="connsiteY161" fmla="*/ 4333875 h 4333875"/>
                  <a:gd name="connsiteX162" fmla="*/ 4591050 w 8601075"/>
                  <a:gd name="connsiteY162" fmla="*/ 4248150 h 4333875"/>
                  <a:gd name="connsiteX163" fmla="*/ 5295900 w 8601075"/>
                  <a:gd name="connsiteY163" fmla="*/ 3924300 h 4333875"/>
                  <a:gd name="connsiteX164" fmla="*/ 5353050 w 8601075"/>
                  <a:gd name="connsiteY164" fmla="*/ 3990975 h 4333875"/>
                  <a:gd name="connsiteX165" fmla="*/ 5524500 w 8601075"/>
                  <a:gd name="connsiteY165" fmla="*/ 3914775 h 4333875"/>
                  <a:gd name="connsiteX166" fmla="*/ 5667375 w 8601075"/>
                  <a:gd name="connsiteY166" fmla="*/ 3962400 h 4333875"/>
                  <a:gd name="connsiteX167" fmla="*/ 5753100 w 8601075"/>
                  <a:gd name="connsiteY167" fmla="*/ 3924300 h 4333875"/>
                  <a:gd name="connsiteX168" fmla="*/ 5905500 w 8601075"/>
                  <a:gd name="connsiteY168" fmla="*/ 3943350 h 4333875"/>
                  <a:gd name="connsiteX169" fmla="*/ 6000750 w 8601075"/>
                  <a:gd name="connsiteY169" fmla="*/ 3800475 h 4333875"/>
                  <a:gd name="connsiteX170" fmla="*/ 6153150 w 8601075"/>
                  <a:gd name="connsiteY170" fmla="*/ 3781425 h 4333875"/>
                  <a:gd name="connsiteX171" fmla="*/ 6257925 w 8601075"/>
                  <a:gd name="connsiteY171" fmla="*/ 3581400 h 4333875"/>
                  <a:gd name="connsiteX172" fmla="*/ 6448425 w 8601075"/>
                  <a:gd name="connsiteY172" fmla="*/ 3448050 h 4333875"/>
                  <a:gd name="connsiteX173" fmla="*/ 6581775 w 8601075"/>
                  <a:gd name="connsiteY173" fmla="*/ 3276600 h 4333875"/>
                  <a:gd name="connsiteX174" fmla="*/ 6496050 w 8601075"/>
                  <a:gd name="connsiteY174" fmla="*/ 3228975 h 4333875"/>
                  <a:gd name="connsiteX175" fmla="*/ 6438900 w 8601075"/>
                  <a:gd name="connsiteY175" fmla="*/ 3162300 h 4333875"/>
                  <a:gd name="connsiteX176" fmla="*/ 6419850 w 8601075"/>
                  <a:gd name="connsiteY176" fmla="*/ 3105150 h 4333875"/>
                  <a:gd name="connsiteX177" fmla="*/ 6362700 w 8601075"/>
                  <a:gd name="connsiteY177" fmla="*/ 3076575 h 4333875"/>
                  <a:gd name="connsiteX178" fmla="*/ 6410325 w 8601075"/>
                  <a:gd name="connsiteY178" fmla="*/ 3019425 h 4333875"/>
                  <a:gd name="connsiteX179" fmla="*/ 6438900 w 8601075"/>
                  <a:gd name="connsiteY179" fmla="*/ 2819400 h 4333875"/>
                  <a:gd name="connsiteX180" fmla="*/ 6496050 w 8601075"/>
                  <a:gd name="connsiteY180" fmla="*/ 2762250 h 4333875"/>
                  <a:gd name="connsiteX181" fmla="*/ 6657975 w 8601075"/>
                  <a:gd name="connsiteY181" fmla="*/ 2752725 h 4333875"/>
                  <a:gd name="connsiteX182" fmla="*/ 6781800 w 8601075"/>
                  <a:gd name="connsiteY182" fmla="*/ 2838450 h 4333875"/>
                  <a:gd name="connsiteX183" fmla="*/ 7010400 w 8601075"/>
                  <a:gd name="connsiteY183" fmla="*/ 2838450 h 4333875"/>
                  <a:gd name="connsiteX184" fmla="*/ 7162800 w 8601075"/>
                  <a:gd name="connsiteY184" fmla="*/ 2705100 h 4333875"/>
                  <a:gd name="connsiteX185" fmla="*/ 7229475 w 8601075"/>
                  <a:gd name="connsiteY185" fmla="*/ 2590800 h 4333875"/>
                  <a:gd name="connsiteX186" fmla="*/ 7248525 w 8601075"/>
                  <a:gd name="connsiteY186" fmla="*/ 2524125 h 4333875"/>
                  <a:gd name="connsiteX187" fmla="*/ 7372350 w 8601075"/>
                  <a:gd name="connsiteY187" fmla="*/ 2543175 h 4333875"/>
                  <a:gd name="connsiteX188" fmla="*/ 7553325 w 8601075"/>
                  <a:gd name="connsiteY188" fmla="*/ 2447925 h 4333875"/>
                  <a:gd name="connsiteX189" fmla="*/ 7620000 w 8601075"/>
                  <a:gd name="connsiteY189" fmla="*/ 2324100 h 4333875"/>
                  <a:gd name="connsiteX190" fmla="*/ 7696200 w 8601075"/>
                  <a:gd name="connsiteY190" fmla="*/ 2314575 h 4333875"/>
                  <a:gd name="connsiteX191" fmla="*/ 7658100 w 8601075"/>
                  <a:gd name="connsiteY191" fmla="*/ 2257425 h 4333875"/>
                  <a:gd name="connsiteX192" fmla="*/ 7753350 w 8601075"/>
                  <a:gd name="connsiteY192" fmla="*/ 2057400 h 4333875"/>
                  <a:gd name="connsiteX193" fmla="*/ 7934325 w 8601075"/>
                  <a:gd name="connsiteY193" fmla="*/ 2028825 h 4333875"/>
                  <a:gd name="connsiteX194" fmla="*/ 7953375 w 8601075"/>
                  <a:gd name="connsiteY194" fmla="*/ 1952625 h 4333875"/>
                  <a:gd name="connsiteX195" fmla="*/ 7953375 w 8601075"/>
                  <a:gd name="connsiteY195" fmla="*/ 1952625 h 4333875"/>
                  <a:gd name="connsiteX196" fmla="*/ 8010525 w 8601075"/>
                  <a:gd name="connsiteY196" fmla="*/ 1895475 h 4333875"/>
                  <a:gd name="connsiteX197" fmla="*/ 8048625 w 8601075"/>
                  <a:gd name="connsiteY197" fmla="*/ 1971675 h 4333875"/>
                  <a:gd name="connsiteX198" fmla="*/ 8077200 w 8601075"/>
                  <a:gd name="connsiteY198" fmla="*/ 1885950 h 4333875"/>
                  <a:gd name="connsiteX199" fmla="*/ 8220075 w 8601075"/>
                  <a:gd name="connsiteY199" fmla="*/ 1847850 h 4333875"/>
                  <a:gd name="connsiteX200" fmla="*/ 8296275 w 8601075"/>
                  <a:gd name="connsiteY200" fmla="*/ 1809750 h 4333875"/>
                  <a:gd name="connsiteX201" fmla="*/ 8324850 w 8601075"/>
                  <a:gd name="connsiteY201" fmla="*/ 1790700 h 4333875"/>
                  <a:gd name="connsiteX202" fmla="*/ 8410575 w 8601075"/>
                  <a:gd name="connsiteY202" fmla="*/ 1847850 h 4333875"/>
                  <a:gd name="connsiteX203" fmla="*/ 8505825 w 8601075"/>
                  <a:gd name="connsiteY203" fmla="*/ 1781175 h 4333875"/>
                  <a:gd name="connsiteX204" fmla="*/ 8572500 w 8601075"/>
                  <a:gd name="connsiteY204" fmla="*/ 1809750 h 4333875"/>
                  <a:gd name="connsiteX205" fmla="*/ 8601075 w 8601075"/>
                  <a:gd name="connsiteY205" fmla="*/ 1704975 h 4333875"/>
                  <a:gd name="connsiteX206" fmla="*/ 8553450 w 8601075"/>
                  <a:gd name="connsiteY206" fmla="*/ 1676400 h 4333875"/>
                  <a:gd name="connsiteX207" fmla="*/ 8534400 w 8601075"/>
                  <a:gd name="connsiteY207" fmla="*/ 1609725 h 4333875"/>
                  <a:gd name="connsiteX208" fmla="*/ 8277225 w 8601075"/>
                  <a:gd name="connsiteY208" fmla="*/ 1409700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124825 w 8601075"/>
                  <a:gd name="connsiteY211" fmla="*/ 1352550 h 4333875"/>
                  <a:gd name="connsiteX212" fmla="*/ 7924800 w 8601075"/>
                  <a:gd name="connsiteY212" fmla="*/ 1362075 h 4333875"/>
                  <a:gd name="connsiteX213" fmla="*/ 7867650 w 8601075"/>
                  <a:gd name="connsiteY213" fmla="*/ 1457325 h 4333875"/>
                  <a:gd name="connsiteX214" fmla="*/ 7896225 w 8601075"/>
                  <a:gd name="connsiteY214" fmla="*/ 1476375 h 4333875"/>
                  <a:gd name="connsiteX215" fmla="*/ 7858125 w 8601075"/>
                  <a:gd name="connsiteY215" fmla="*/ 1533525 h 4333875"/>
                  <a:gd name="connsiteX216" fmla="*/ 7658100 w 8601075"/>
                  <a:gd name="connsiteY216" fmla="*/ 1447800 h 4333875"/>
                  <a:gd name="connsiteX217" fmla="*/ 7515225 w 8601075"/>
                  <a:gd name="connsiteY217" fmla="*/ 1495425 h 4333875"/>
                  <a:gd name="connsiteX218" fmla="*/ 7467600 w 8601075"/>
                  <a:gd name="connsiteY218" fmla="*/ 1581150 h 4333875"/>
                  <a:gd name="connsiteX219" fmla="*/ 7296150 w 8601075"/>
                  <a:gd name="connsiteY21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02556 w 8601075"/>
                  <a:gd name="connsiteY101" fmla="*/ 373856 h 4333875"/>
                  <a:gd name="connsiteX102" fmla="*/ 1323975 w 8601075"/>
                  <a:gd name="connsiteY102" fmla="*/ 285750 h 4333875"/>
                  <a:gd name="connsiteX103" fmla="*/ 1266825 w 8601075"/>
                  <a:gd name="connsiteY103" fmla="*/ 352425 h 4333875"/>
                  <a:gd name="connsiteX104" fmla="*/ 1009650 w 8601075"/>
                  <a:gd name="connsiteY104" fmla="*/ 390525 h 4333875"/>
                  <a:gd name="connsiteX105" fmla="*/ 828675 w 8601075"/>
                  <a:gd name="connsiteY105" fmla="*/ 447675 h 4333875"/>
                  <a:gd name="connsiteX106" fmla="*/ 619125 w 8601075"/>
                  <a:gd name="connsiteY106" fmla="*/ 533400 h 4333875"/>
                  <a:gd name="connsiteX107" fmla="*/ 619125 w 8601075"/>
                  <a:gd name="connsiteY107" fmla="*/ 533400 h 4333875"/>
                  <a:gd name="connsiteX108" fmla="*/ 561975 w 8601075"/>
                  <a:gd name="connsiteY108" fmla="*/ 619125 h 4333875"/>
                  <a:gd name="connsiteX109" fmla="*/ 447675 w 8601075"/>
                  <a:gd name="connsiteY109" fmla="*/ 63817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295275 w 8601075"/>
                  <a:gd name="connsiteY112" fmla="*/ 657225 h 4333875"/>
                  <a:gd name="connsiteX113" fmla="*/ 180975 w 8601075"/>
                  <a:gd name="connsiteY113" fmla="*/ 638175 h 4333875"/>
                  <a:gd name="connsiteX114" fmla="*/ 180975 w 8601075"/>
                  <a:gd name="connsiteY114" fmla="*/ 638175 h 4333875"/>
                  <a:gd name="connsiteX115" fmla="*/ 57150 w 8601075"/>
                  <a:gd name="connsiteY115" fmla="*/ 733425 h 4333875"/>
                  <a:gd name="connsiteX116" fmla="*/ 19050 w 8601075"/>
                  <a:gd name="connsiteY116" fmla="*/ 790575 h 4333875"/>
                  <a:gd name="connsiteX117" fmla="*/ 0 w 8601075"/>
                  <a:gd name="connsiteY117" fmla="*/ 876300 h 4333875"/>
                  <a:gd name="connsiteX118" fmla="*/ 57150 w 8601075"/>
                  <a:gd name="connsiteY118" fmla="*/ 923925 h 4333875"/>
                  <a:gd name="connsiteX119" fmla="*/ 57150 w 8601075"/>
                  <a:gd name="connsiteY119" fmla="*/ 923925 h 4333875"/>
                  <a:gd name="connsiteX120" fmla="*/ 209550 w 8601075"/>
                  <a:gd name="connsiteY120" fmla="*/ 1114425 h 4333875"/>
                  <a:gd name="connsiteX121" fmla="*/ 209550 w 8601075"/>
                  <a:gd name="connsiteY121" fmla="*/ 1114425 h 4333875"/>
                  <a:gd name="connsiteX122" fmla="*/ 266700 w 8601075"/>
                  <a:gd name="connsiteY122" fmla="*/ 1295400 h 4333875"/>
                  <a:gd name="connsiteX123" fmla="*/ 409575 w 8601075"/>
                  <a:gd name="connsiteY123" fmla="*/ 1276350 h 4333875"/>
                  <a:gd name="connsiteX124" fmla="*/ 466725 w 8601075"/>
                  <a:gd name="connsiteY124" fmla="*/ 1362075 h 4333875"/>
                  <a:gd name="connsiteX125" fmla="*/ 542925 w 8601075"/>
                  <a:gd name="connsiteY125" fmla="*/ 1428750 h 4333875"/>
                  <a:gd name="connsiteX126" fmla="*/ 628650 w 8601075"/>
                  <a:gd name="connsiteY126" fmla="*/ 1571625 h 4333875"/>
                  <a:gd name="connsiteX127" fmla="*/ 628650 w 8601075"/>
                  <a:gd name="connsiteY127" fmla="*/ 1704975 h 4333875"/>
                  <a:gd name="connsiteX128" fmla="*/ 676275 w 8601075"/>
                  <a:gd name="connsiteY128" fmla="*/ 1771650 h 4333875"/>
                  <a:gd name="connsiteX129" fmla="*/ 657225 w 8601075"/>
                  <a:gd name="connsiteY129" fmla="*/ 2000250 h 4333875"/>
                  <a:gd name="connsiteX130" fmla="*/ 619125 w 8601075"/>
                  <a:gd name="connsiteY130" fmla="*/ 2095500 h 4333875"/>
                  <a:gd name="connsiteX131" fmla="*/ 542925 w 8601075"/>
                  <a:gd name="connsiteY131" fmla="*/ 2228850 h 4333875"/>
                  <a:gd name="connsiteX132" fmla="*/ 485775 w 8601075"/>
                  <a:gd name="connsiteY132" fmla="*/ 2362200 h 4333875"/>
                  <a:gd name="connsiteX133" fmla="*/ 552450 w 8601075"/>
                  <a:gd name="connsiteY133" fmla="*/ 2486025 h 4333875"/>
                  <a:gd name="connsiteX134" fmla="*/ 771525 w 8601075"/>
                  <a:gd name="connsiteY134" fmla="*/ 2571750 h 4333875"/>
                  <a:gd name="connsiteX135" fmla="*/ 866775 w 8601075"/>
                  <a:gd name="connsiteY135" fmla="*/ 2571750 h 4333875"/>
                  <a:gd name="connsiteX136" fmla="*/ 914400 w 8601075"/>
                  <a:gd name="connsiteY136" fmla="*/ 2638425 h 4333875"/>
                  <a:gd name="connsiteX137" fmla="*/ 1066800 w 8601075"/>
                  <a:gd name="connsiteY137" fmla="*/ 2638425 h 4333875"/>
                  <a:gd name="connsiteX138" fmla="*/ 1285875 w 8601075"/>
                  <a:gd name="connsiteY138" fmla="*/ 2705100 h 4333875"/>
                  <a:gd name="connsiteX139" fmla="*/ 1438275 w 8601075"/>
                  <a:gd name="connsiteY139" fmla="*/ 2838450 h 4333875"/>
                  <a:gd name="connsiteX140" fmla="*/ 1485900 w 8601075"/>
                  <a:gd name="connsiteY140" fmla="*/ 2914650 h 4333875"/>
                  <a:gd name="connsiteX141" fmla="*/ 1657350 w 8601075"/>
                  <a:gd name="connsiteY141" fmla="*/ 3038475 h 4333875"/>
                  <a:gd name="connsiteX142" fmla="*/ 1752600 w 8601075"/>
                  <a:gd name="connsiteY142" fmla="*/ 3057525 h 4333875"/>
                  <a:gd name="connsiteX143" fmla="*/ 1724025 w 8601075"/>
                  <a:gd name="connsiteY143" fmla="*/ 3143250 h 4333875"/>
                  <a:gd name="connsiteX144" fmla="*/ 1724025 w 8601075"/>
                  <a:gd name="connsiteY144" fmla="*/ 3143250 h 4333875"/>
                  <a:gd name="connsiteX145" fmla="*/ 1781175 w 8601075"/>
                  <a:gd name="connsiteY145" fmla="*/ 3181350 h 4333875"/>
                  <a:gd name="connsiteX146" fmla="*/ 1819275 w 8601075"/>
                  <a:gd name="connsiteY146" fmla="*/ 3362325 h 4333875"/>
                  <a:gd name="connsiteX147" fmla="*/ 1828800 w 8601075"/>
                  <a:gd name="connsiteY147" fmla="*/ 3457575 h 4333875"/>
                  <a:gd name="connsiteX148" fmla="*/ 1971675 w 8601075"/>
                  <a:gd name="connsiteY148" fmla="*/ 3590925 h 4333875"/>
                  <a:gd name="connsiteX149" fmla="*/ 1990725 w 8601075"/>
                  <a:gd name="connsiteY149" fmla="*/ 3714750 h 4333875"/>
                  <a:gd name="connsiteX150" fmla="*/ 2200275 w 8601075"/>
                  <a:gd name="connsiteY150" fmla="*/ 3695700 h 4333875"/>
                  <a:gd name="connsiteX151" fmla="*/ 2886075 w 8601075"/>
                  <a:gd name="connsiteY151" fmla="*/ 3886200 h 4333875"/>
                  <a:gd name="connsiteX152" fmla="*/ 3038475 w 8601075"/>
                  <a:gd name="connsiteY152" fmla="*/ 3819525 h 4333875"/>
                  <a:gd name="connsiteX153" fmla="*/ 3105150 w 8601075"/>
                  <a:gd name="connsiteY153" fmla="*/ 3867150 h 4333875"/>
                  <a:gd name="connsiteX154" fmla="*/ 3181350 w 8601075"/>
                  <a:gd name="connsiteY154" fmla="*/ 3800475 h 4333875"/>
                  <a:gd name="connsiteX155" fmla="*/ 3590925 w 8601075"/>
                  <a:gd name="connsiteY155" fmla="*/ 3943350 h 4333875"/>
                  <a:gd name="connsiteX156" fmla="*/ 3686175 w 8601075"/>
                  <a:gd name="connsiteY156" fmla="*/ 4057650 h 4333875"/>
                  <a:gd name="connsiteX157" fmla="*/ 3838575 w 8601075"/>
                  <a:gd name="connsiteY157" fmla="*/ 4057650 h 4333875"/>
                  <a:gd name="connsiteX158" fmla="*/ 4162425 w 8601075"/>
                  <a:gd name="connsiteY158" fmla="*/ 4248150 h 4333875"/>
                  <a:gd name="connsiteX159" fmla="*/ 4391025 w 8601075"/>
                  <a:gd name="connsiteY159" fmla="*/ 4200525 h 4333875"/>
                  <a:gd name="connsiteX160" fmla="*/ 4410075 w 8601075"/>
                  <a:gd name="connsiteY160" fmla="*/ 4305300 h 4333875"/>
                  <a:gd name="connsiteX161" fmla="*/ 4505325 w 8601075"/>
                  <a:gd name="connsiteY161" fmla="*/ 4276725 h 4333875"/>
                  <a:gd name="connsiteX162" fmla="*/ 4572000 w 8601075"/>
                  <a:gd name="connsiteY162" fmla="*/ 4333875 h 4333875"/>
                  <a:gd name="connsiteX163" fmla="*/ 4591050 w 8601075"/>
                  <a:gd name="connsiteY163" fmla="*/ 4248150 h 4333875"/>
                  <a:gd name="connsiteX164" fmla="*/ 5295900 w 8601075"/>
                  <a:gd name="connsiteY164" fmla="*/ 3924300 h 4333875"/>
                  <a:gd name="connsiteX165" fmla="*/ 5353050 w 8601075"/>
                  <a:gd name="connsiteY165" fmla="*/ 3990975 h 4333875"/>
                  <a:gd name="connsiteX166" fmla="*/ 5524500 w 8601075"/>
                  <a:gd name="connsiteY166" fmla="*/ 3914775 h 4333875"/>
                  <a:gd name="connsiteX167" fmla="*/ 5667375 w 8601075"/>
                  <a:gd name="connsiteY167" fmla="*/ 3962400 h 4333875"/>
                  <a:gd name="connsiteX168" fmla="*/ 5753100 w 8601075"/>
                  <a:gd name="connsiteY168" fmla="*/ 3924300 h 4333875"/>
                  <a:gd name="connsiteX169" fmla="*/ 5905500 w 8601075"/>
                  <a:gd name="connsiteY169" fmla="*/ 3943350 h 4333875"/>
                  <a:gd name="connsiteX170" fmla="*/ 6000750 w 8601075"/>
                  <a:gd name="connsiteY170" fmla="*/ 3800475 h 4333875"/>
                  <a:gd name="connsiteX171" fmla="*/ 6153150 w 8601075"/>
                  <a:gd name="connsiteY171" fmla="*/ 3781425 h 4333875"/>
                  <a:gd name="connsiteX172" fmla="*/ 6257925 w 8601075"/>
                  <a:gd name="connsiteY172" fmla="*/ 3581400 h 4333875"/>
                  <a:gd name="connsiteX173" fmla="*/ 6448425 w 8601075"/>
                  <a:gd name="connsiteY173" fmla="*/ 3448050 h 4333875"/>
                  <a:gd name="connsiteX174" fmla="*/ 6581775 w 8601075"/>
                  <a:gd name="connsiteY174" fmla="*/ 3276600 h 4333875"/>
                  <a:gd name="connsiteX175" fmla="*/ 6496050 w 8601075"/>
                  <a:gd name="connsiteY175" fmla="*/ 3228975 h 4333875"/>
                  <a:gd name="connsiteX176" fmla="*/ 6438900 w 8601075"/>
                  <a:gd name="connsiteY176" fmla="*/ 3162300 h 4333875"/>
                  <a:gd name="connsiteX177" fmla="*/ 6419850 w 8601075"/>
                  <a:gd name="connsiteY177" fmla="*/ 3105150 h 4333875"/>
                  <a:gd name="connsiteX178" fmla="*/ 6362700 w 8601075"/>
                  <a:gd name="connsiteY178" fmla="*/ 3076575 h 4333875"/>
                  <a:gd name="connsiteX179" fmla="*/ 6410325 w 8601075"/>
                  <a:gd name="connsiteY179" fmla="*/ 3019425 h 4333875"/>
                  <a:gd name="connsiteX180" fmla="*/ 6438900 w 8601075"/>
                  <a:gd name="connsiteY180" fmla="*/ 2819400 h 4333875"/>
                  <a:gd name="connsiteX181" fmla="*/ 6496050 w 8601075"/>
                  <a:gd name="connsiteY181" fmla="*/ 2762250 h 4333875"/>
                  <a:gd name="connsiteX182" fmla="*/ 6657975 w 8601075"/>
                  <a:gd name="connsiteY182" fmla="*/ 2752725 h 4333875"/>
                  <a:gd name="connsiteX183" fmla="*/ 6781800 w 8601075"/>
                  <a:gd name="connsiteY183" fmla="*/ 2838450 h 4333875"/>
                  <a:gd name="connsiteX184" fmla="*/ 7010400 w 8601075"/>
                  <a:gd name="connsiteY184" fmla="*/ 2838450 h 4333875"/>
                  <a:gd name="connsiteX185" fmla="*/ 7162800 w 8601075"/>
                  <a:gd name="connsiteY185" fmla="*/ 2705100 h 4333875"/>
                  <a:gd name="connsiteX186" fmla="*/ 7229475 w 8601075"/>
                  <a:gd name="connsiteY186" fmla="*/ 2590800 h 4333875"/>
                  <a:gd name="connsiteX187" fmla="*/ 7248525 w 8601075"/>
                  <a:gd name="connsiteY187" fmla="*/ 2524125 h 4333875"/>
                  <a:gd name="connsiteX188" fmla="*/ 7372350 w 8601075"/>
                  <a:gd name="connsiteY188" fmla="*/ 2543175 h 4333875"/>
                  <a:gd name="connsiteX189" fmla="*/ 7553325 w 8601075"/>
                  <a:gd name="connsiteY189" fmla="*/ 2447925 h 4333875"/>
                  <a:gd name="connsiteX190" fmla="*/ 7620000 w 8601075"/>
                  <a:gd name="connsiteY190" fmla="*/ 2324100 h 4333875"/>
                  <a:gd name="connsiteX191" fmla="*/ 7696200 w 8601075"/>
                  <a:gd name="connsiteY191" fmla="*/ 2314575 h 4333875"/>
                  <a:gd name="connsiteX192" fmla="*/ 7658100 w 8601075"/>
                  <a:gd name="connsiteY192" fmla="*/ 2257425 h 4333875"/>
                  <a:gd name="connsiteX193" fmla="*/ 7753350 w 8601075"/>
                  <a:gd name="connsiteY193" fmla="*/ 2057400 h 4333875"/>
                  <a:gd name="connsiteX194" fmla="*/ 7934325 w 8601075"/>
                  <a:gd name="connsiteY194" fmla="*/ 2028825 h 4333875"/>
                  <a:gd name="connsiteX195" fmla="*/ 7953375 w 8601075"/>
                  <a:gd name="connsiteY195" fmla="*/ 1952625 h 4333875"/>
                  <a:gd name="connsiteX196" fmla="*/ 7953375 w 8601075"/>
                  <a:gd name="connsiteY196" fmla="*/ 1952625 h 4333875"/>
                  <a:gd name="connsiteX197" fmla="*/ 8010525 w 8601075"/>
                  <a:gd name="connsiteY197" fmla="*/ 1895475 h 4333875"/>
                  <a:gd name="connsiteX198" fmla="*/ 8048625 w 8601075"/>
                  <a:gd name="connsiteY198" fmla="*/ 1971675 h 4333875"/>
                  <a:gd name="connsiteX199" fmla="*/ 8077200 w 8601075"/>
                  <a:gd name="connsiteY199" fmla="*/ 1885950 h 4333875"/>
                  <a:gd name="connsiteX200" fmla="*/ 8220075 w 8601075"/>
                  <a:gd name="connsiteY200" fmla="*/ 1847850 h 4333875"/>
                  <a:gd name="connsiteX201" fmla="*/ 8296275 w 8601075"/>
                  <a:gd name="connsiteY201" fmla="*/ 1809750 h 4333875"/>
                  <a:gd name="connsiteX202" fmla="*/ 8324850 w 8601075"/>
                  <a:gd name="connsiteY202" fmla="*/ 1790700 h 4333875"/>
                  <a:gd name="connsiteX203" fmla="*/ 8410575 w 8601075"/>
                  <a:gd name="connsiteY203" fmla="*/ 1847850 h 4333875"/>
                  <a:gd name="connsiteX204" fmla="*/ 8505825 w 8601075"/>
                  <a:gd name="connsiteY204" fmla="*/ 1781175 h 4333875"/>
                  <a:gd name="connsiteX205" fmla="*/ 8572500 w 8601075"/>
                  <a:gd name="connsiteY205" fmla="*/ 1809750 h 4333875"/>
                  <a:gd name="connsiteX206" fmla="*/ 8601075 w 8601075"/>
                  <a:gd name="connsiteY206" fmla="*/ 1704975 h 4333875"/>
                  <a:gd name="connsiteX207" fmla="*/ 8553450 w 8601075"/>
                  <a:gd name="connsiteY207" fmla="*/ 1676400 h 4333875"/>
                  <a:gd name="connsiteX208" fmla="*/ 8534400 w 8601075"/>
                  <a:gd name="connsiteY208" fmla="*/ 1609725 h 4333875"/>
                  <a:gd name="connsiteX209" fmla="*/ 8277225 w 8601075"/>
                  <a:gd name="connsiteY209" fmla="*/ 1409700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124825 w 8601075"/>
                  <a:gd name="connsiteY212" fmla="*/ 1352550 h 4333875"/>
                  <a:gd name="connsiteX213" fmla="*/ 7924800 w 8601075"/>
                  <a:gd name="connsiteY213" fmla="*/ 1362075 h 4333875"/>
                  <a:gd name="connsiteX214" fmla="*/ 7867650 w 8601075"/>
                  <a:gd name="connsiteY214" fmla="*/ 1457325 h 4333875"/>
                  <a:gd name="connsiteX215" fmla="*/ 7896225 w 8601075"/>
                  <a:gd name="connsiteY215" fmla="*/ 1476375 h 4333875"/>
                  <a:gd name="connsiteX216" fmla="*/ 7858125 w 8601075"/>
                  <a:gd name="connsiteY216" fmla="*/ 1533525 h 4333875"/>
                  <a:gd name="connsiteX217" fmla="*/ 7658100 w 8601075"/>
                  <a:gd name="connsiteY217" fmla="*/ 1447800 h 4333875"/>
                  <a:gd name="connsiteX218" fmla="*/ 7515225 w 8601075"/>
                  <a:gd name="connsiteY218" fmla="*/ 1495425 h 4333875"/>
                  <a:gd name="connsiteX219" fmla="*/ 7467600 w 8601075"/>
                  <a:gd name="connsiteY219" fmla="*/ 1581150 h 4333875"/>
                  <a:gd name="connsiteX220" fmla="*/ 7296150 w 8601075"/>
                  <a:gd name="connsiteY22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2556 w 8601075"/>
                  <a:gd name="connsiteY102" fmla="*/ 373856 h 4333875"/>
                  <a:gd name="connsiteX103" fmla="*/ 1323975 w 8601075"/>
                  <a:gd name="connsiteY103" fmla="*/ 285750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3975 w 8601075"/>
                  <a:gd name="connsiteY103" fmla="*/ 285750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66825 w 8601075"/>
                  <a:gd name="connsiteY104" fmla="*/ 352425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009650 w 8601075"/>
                  <a:gd name="connsiteY105" fmla="*/ 390525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073944 w 8601075"/>
                  <a:gd name="connsiteY105" fmla="*/ 407193 h 4333875"/>
                  <a:gd name="connsiteX106" fmla="*/ 828675 w 8601075"/>
                  <a:gd name="connsiteY106" fmla="*/ 447675 h 4333875"/>
                  <a:gd name="connsiteX107" fmla="*/ 619125 w 8601075"/>
                  <a:gd name="connsiteY107" fmla="*/ 533400 h 4333875"/>
                  <a:gd name="connsiteX108" fmla="*/ 619125 w 8601075"/>
                  <a:gd name="connsiteY108" fmla="*/ 533400 h 4333875"/>
                  <a:gd name="connsiteX109" fmla="*/ 561975 w 8601075"/>
                  <a:gd name="connsiteY109" fmla="*/ 619125 h 4333875"/>
                  <a:gd name="connsiteX110" fmla="*/ 447675 w 8601075"/>
                  <a:gd name="connsiteY110" fmla="*/ 63817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295275 w 8601075"/>
                  <a:gd name="connsiteY113" fmla="*/ 657225 h 4333875"/>
                  <a:gd name="connsiteX114" fmla="*/ 180975 w 8601075"/>
                  <a:gd name="connsiteY114" fmla="*/ 638175 h 4333875"/>
                  <a:gd name="connsiteX115" fmla="*/ 180975 w 8601075"/>
                  <a:gd name="connsiteY115" fmla="*/ 638175 h 4333875"/>
                  <a:gd name="connsiteX116" fmla="*/ 57150 w 8601075"/>
                  <a:gd name="connsiteY116" fmla="*/ 733425 h 4333875"/>
                  <a:gd name="connsiteX117" fmla="*/ 19050 w 8601075"/>
                  <a:gd name="connsiteY117" fmla="*/ 790575 h 4333875"/>
                  <a:gd name="connsiteX118" fmla="*/ 0 w 8601075"/>
                  <a:gd name="connsiteY118" fmla="*/ 876300 h 4333875"/>
                  <a:gd name="connsiteX119" fmla="*/ 57150 w 8601075"/>
                  <a:gd name="connsiteY119" fmla="*/ 923925 h 4333875"/>
                  <a:gd name="connsiteX120" fmla="*/ 57150 w 8601075"/>
                  <a:gd name="connsiteY120" fmla="*/ 923925 h 4333875"/>
                  <a:gd name="connsiteX121" fmla="*/ 209550 w 8601075"/>
                  <a:gd name="connsiteY121" fmla="*/ 1114425 h 4333875"/>
                  <a:gd name="connsiteX122" fmla="*/ 209550 w 8601075"/>
                  <a:gd name="connsiteY122" fmla="*/ 1114425 h 4333875"/>
                  <a:gd name="connsiteX123" fmla="*/ 266700 w 8601075"/>
                  <a:gd name="connsiteY123" fmla="*/ 1295400 h 4333875"/>
                  <a:gd name="connsiteX124" fmla="*/ 409575 w 8601075"/>
                  <a:gd name="connsiteY124" fmla="*/ 1276350 h 4333875"/>
                  <a:gd name="connsiteX125" fmla="*/ 466725 w 8601075"/>
                  <a:gd name="connsiteY125" fmla="*/ 1362075 h 4333875"/>
                  <a:gd name="connsiteX126" fmla="*/ 542925 w 8601075"/>
                  <a:gd name="connsiteY126" fmla="*/ 1428750 h 4333875"/>
                  <a:gd name="connsiteX127" fmla="*/ 628650 w 8601075"/>
                  <a:gd name="connsiteY127" fmla="*/ 1571625 h 4333875"/>
                  <a:gd name="connsiteX128" fmla="*/ 628650 w 8601075"/>
                  <a:gd name="connsiteY128" fmla="*/ 1704975 h 4333875"/>
                  <a:gd name="connsiteX129" fmla="*/ 676275 w 8601075"/>
                  <a:gd name="connsiteY129" fmla="*/ 1771650 h 4333875"/>
                  <a:gd name="connsiteX130" fmla="*/ 657225 w 8601075"/>
                  <a:gd name="connsiteY130" fmla="*/ 2000250 h 4333875"/>
                  <a:gd name="connsiteX131" fmla="*/ 619125 w 8601075"/>
                  <a:gd name="connsiteY131" fmla="*/ 2095500 h 4333875"/>
                  <a:gd name="connsiteX132" fmla="*/ 542925 w 8601075"/>
                  <a:gd name="connsiteY132" fmla="*/ 2228850 h 4333875"/>
                  <a:gd name="connsiteX133" fmla="*/ 485775 w 8601075"/>
                  <a:gd name="connsiteY133" fmla="*/ 2362200 h 4333875"/>
                  <a:gd name="connsiteX134" fmla="*/ 552450 w 8601075"/>
                  <a:gd name="connsiteY134" fmla="*/ 2486025 h 4333875"/>
                  <a:gd name="connsiteX135" fmla="*/ 771525 w 8601075"/>
                  <a:gd name="connsiteY135" fmla="*/ 2571750 h 4333875"/>
                  <a:gd name="connsiteX136" fmla="*/ 866775 w 8601075"/>
                  <a:gd name="connsiteY136" fmla="*/ 2571750 h 4333875"/>
                  <a:gd name="connsiteX137" fmla="*/ 914400 w 8601075"/>
                  <a:gd name="connsiteY137" fmla="*/ 2638425 h 4333875"/>
                  <a:gd name="connsiteX138" fmla="*/ 1066800 w 8601075"/>
                  <a:gd name="connsiteY138" fmla="*/ 2638425 h 4333875"/>
                  <a:gd name="connsiteX139" fmla="*/ 1285875 w 8601075"/>
                  <a:gd name="connsiteY139" fmla="*/ 2705100 h 4333875"/>
                  <a:gd name="connsiteX140" fmla="*/ 1438275 w 8601075"/>
                  <a:gd name="connsiteY140" fmla="*/ 2838450 h 4333875"/>
                  <a:gd name="connsiteX141" fmla="*/ 1485900 w 8601075"/>
                  <a:gd name="connsiteY141" fmla="*/ 2914650 h 4333875"/>
                  <a:gd name="connsiteX142" fmla="*/ 1657350 w 8601075"/>
                  <a:gd name="connsiteY142" fmla="*/ 3038475 h 4333875"/>
                  <a:gd name="connsiteX143" fmla="*/ 1752600 w 8601075"/>
                  <a:gd name="connsiteY143" fmla="*/ 3057525 h 4333875"/>
                  <a:gd name="connsiteX144" fmla="*/ 1724025 w 8601075"/>
                  <a:gd name="connsiteY144" fmla="*/ 3143250 h 4333875"/>
                  <a:gd name="connsiteX145" fmla="*/ 1724025 w 8601075"/>
                  <a:gd name="connsiteY145" fmla="*/ 3143250 h 4333875"/>
                  <a:gd name="connsiteX146" fmla="*/ 1781175 w 8601075"/>
                  <a:gd name="connsiteY146" fmla="*/ 3181350 h 4333875"/>
                  <a:gd name="connsiteX147" fmla="*/ 1819275 w 8601075"/>
                  <a:gd name="connsiteY147" fmla="*/ 3362325 h 4333875"/>
                  <a:gd name="connsiteX148" fmla="*/ 1828800 w 8601075"/>
                  <a:gd name="connsiteY148" fmla="*/ 3457575 h 4333875"/>
                  <a:gd name="connsiteX149" fmla="*/ 1971675 w 8601075"/>
                  <a:gd name="connsiteY149" fmla="*/ 3590925 h 4333875"/>
                  <a:gd name="connsiteX150" fmla="*/ 1990725 w 8601075"/>
                  <a:gd name="connsiteY150" fmla="*/ 3714750 h 4333875"/>
                  <a:gd name="connsiteX151" fmla="*/ 2200275 w 8601075"/>
                  <a:gd name="connsiteY151" fmla="*/ 3695700 h 4333875"/>
                  <a:gd name="connsiteX152" fmla="*/ 2886075 w 8601075"/>
                  <a:gd name="connsiteY152" fmla="*/ 3886200 h 4333875"/>
                  <a:gd name="connsiteX153" fmla="*/ 3038475 w 8601075"/>
                  <a:gd name="connsiteY153" fmla="*/ 3819525 h 4333875"/>
                  <a:gd name="connsiteX154" fmla="*/ 3105150 w 8601075"/>
                  <a:gd name="connsiteY154" fmla="*/ 3867150 h 4333875"/>
                  <a:gd name="connsiteX155" fmla="*/ 3181350 w 8601075"/>
                  <a:gd name="connsiteY155" fmla="*/ 3800475 h 4333875"/>
                  <a:gd name="connsiteX156" fmla="*/ 3590925 w 8601075"/>
                  <a:gd name="connsiteY156" fmla="*/ 3943350 h 4333875"/>
                  <a:gd name="connsiteX157" fmla="*/ 3686175 w 8601075"/>
                  <a:gd name="connsiteY157" fmla="*/ 4057650 h 4333875"/>
                  <a:gd name="connsiteX158" fmla="*/ 3838575 w 8601075"/>
                  <a:gd name="connsiteY158" fmla="*/ 4057650 h 4333875"/>
                  <a:gd name="connsiteX159" fmla="*/ 4162425 w 8601075"/>
                  <a:gd name="connsiteY159" fmla="*/ 4248150 h 4333875"/>
                  <a:gd name="connsiteX160" fmla="*/ 4391025 w 8601075"/>
                  <a:gd name="connsiteY160" fmla="*/ 4200525 h 4333875"/>
                  <a:gd name="connsiteX161" fmla="*/ 4410075 w 8601075"/>
                  <a:gd name="connsiteY161" fmla="*/ 4305300 h 4333875"/>
                  <a:gd name="connsiteX162" fmla="*/ 4505325 w 8601075"/>
                  <a:gd name="connsiteY162" fmla="*/ 4276725 h 4333875"/>
                  <a:gd name="connsiteX163" fmla="*/ 4572000 w 8601075"/>
                  <a:gd name="connsiteY163" fmla="*/ 4333875 h 4333875"/>
                  <a:gd name="connsiteX164" fmla="*/ 4591050 w 8601075"/>
                  <a:gd name="connsiteY164" fmla="*/ 4248150 h 4333875"/>
                  <a:gd name="connsiteX165" fmla="*/ 5295900 w 8601075"/>
                  <a:gd name="connsiteY165" fmla="*/ 3924300 h 4333875"/>
                  <a:gd name="connsiteX166" fmla="*/ 5353050 w 8601075"/>
                  <a:gd name="connsiteY166" fmla="*/ 3990975 h 4333875"/>
                  <a:gd name="connsiteX167" fmla="*/ 5524500 w 8601075"/>
                  <a:gd name="connsiteY167" fmla="*/ 3914775 h 4333875"/>
                  <a:gd name="connsiteX168" fmla="*/ 5667375 w 8601075"/>
                  <a:gd name="connsiteY168" fmla="*/ 3962400 h 4333875"/>
                  <a:gd name="connsiteX169" fmla="*/ 5753100 w 8601075"/>
                  <a:gd name="connsiteY169" fmla="*/ 3924300 h 4333875"/>
                  <a:gd name="connsiteX170" fmla="*/ 5905500 w 8601075"/>
                  <a:gd name="connsiteY170" fmla="*/ 3943350 h 4333875"/>
                  <a:gd name="connsiteX171" fmla="*/ 6000750 w 8601075"/>
                  <a:gd name="connsiteY171" fmla="*/ 3800475 h 4333875"/>
                  <a:gd name="connsiteX172" fmla="*/ 6153150 w 8601075"/>
                  <a:gd name="connsiteY172" fmla="*/ 3781425 h 4333875"/>
                  <a:gd name="connsiteX173" fmla="*/ 6257925 w 8601075"/>
                  <a:gd name="connsiteY173" fmla="*/ 3581400 h 4333875"/>
                  <a:gd name="connsiteX174" fmla="*/ 6448425 w 8601075"/>
                  <a:gd name="connsiteY174" fmla="*/ 3448050 h 4333875"/>
                  <a:gd name="connsiteX175" fmla="*/ 6581775 w 8601075"/>
                  <a:gd name="connsiteY175" fmla="*/ 3276600 h 4333875"/>
                  <a:gd name="connsiteX176" fmla="*/ 6496050 w 8601075"/>
                  <a:gd name="connsiteY176" fmla="*/ 3228975 h 4333875"/>
                  <a:gd name="connsiteX177" fmla="*/ 6438900 w 8601075"/>
                  <a:gd name="connsiteY177" fmla="*/ 3162300 h 4333875"/>
                  <a:gd name="connsiteX178" fmla="*/ 6419850 w 8601075"/>
                  <a:gd name="connsiteY178" fmla="*/ 3105150 h 4333875"/>
                  <a:gd name="connsiteX179" fmla="*/ 6362700 w 8601075"/>
                  <a:gd name="connsiteY179" fmla="*/ 3076575 h 4333875"/>
                  <a:gd name="connsiteX180" fmla="*/ 6410325 w 8601075"/>
                  <a:gd name="connsiteY180" fmla="*/ 3019425 h 4333875"/>
                  <a:gd name="connsiteX181" fmla="*/ 6438900 w 8601075"/>
                  <a:gd name="connsiteY181" fmla="*/ 2819400 h 4333875"/>
                  <a:gd name="connsiteX182" fmla="*/ 6496050 w 8601075"/>
                  <a:gd name="connsiteY182" fmla="*/ 2762250 h 4333875"/>
                  <a:gd name="connsiteX183" fmla="*/ 6657975 w 8601075"/>
                  <a:gd name="connsiteY183" fmla="*/ 2752725 h 4333875"/>
                  <a:gd name="connsiteX184" fmla="*/ 6781800 w 8601075"/>
                  <a:gd name="connsiteY184" fmla="*/ 2838450 h 4333875"/>
                  <a:gd name="connsiteX185" fmla="*/ 7010400 w 8601075"/>
                  <a:gd name="connsiteY185" fmla="*/ 2838450 h 4333875"/>
                  <a:gd name="connsiteX186" fmla="*/ 7162800 w 8601075"/>
                  <a:gd name="connsiteY186" fmla="*/ 2705100 h 4333875"/>
                  <a:gd name="connsiteX187" fmla="*/ 7229475 w 8601075"/>
                  <a:gd name="connsiteY187" fmla="*/ 2590800 h 4333875"/>
                  <a:gd name="connsiteX188" fmla="*/ 7248525 w 8601075"/>
                  <a:gd name="connsiteY188" fmla="*/ 2524125 h 4333875"/>
                  <a:gd name="connsiteX189" fmla="*/ 7372350 w 8601075"/>
                  <a:gd name="connsiteY189" fmla="*/ 2543175 h 4333875"/>
                  <a:gd name="connsiteX190" fmla="*/ 7553325 w 8601075"/>
                  <a:gd name="connsiteY190" fmla="*/ 2447925 h 4333875"/>
                  <a:gd name="connsiteX191" fmla="*/ 7620000 w 8601075"/>
                  <a:gd name="connsiteY191" fmla="*/ 2324100 h 4333875"/>
                  <a:gd name="connsiteX192" fmla="*/ 7696200 w 8601075"/>
                  <a:gd name="connsiteY192" fmla="*/ 2314575 h 4333875"/>
                  <a:gd name="connsiteX193" fmla="*/ 7658100 w 8601075"/>
                  <a:gd name="connsiteY193" fmla="*/ 2257425 h 4333875"/>
                  <a:gd name="connsiteX194" fmla="*/ 7753350 w 8601075"/>
                  <a:gd name="connsiteY194" fmla="*/ 2057400 h 4333875"/>
                  <a:gd name="connsiteX195" fmla="*/ 7934325 w 8601075"/>
                  <a:gd name="connsiteY195" fmla="*/ 2028825 h 4333875"/>
                  <a:gd name="connsiteX196" fmla="*/ 7953375 w 8601075"/>
                  <a:gd name="connsiteY196" fmla="*/ 1952625 h 4333875"/>
                  <a:gd name="connsiteX197" fmla="*/ 7953375 w 8601075"/>
                  <a:gd name="connsiteY197" fmla="*/ 1952625 h 4333875"/>
                  <a:gd name="connsiteX198" fmla="*/ 8010525 w 8601075"/>
                  <a:gd name="connsiteY198" fmla="*/ 1895475 h 4333875"/>
                  <a:gd name="connsiteX199" fmla="*/ 8048625 w 8601075"/>
                  <a:gd name="connsiteY199" fmla="*/ 1971675 h 4333875"/>
                  <a:gd name="connsiteX200" fmla="*/ 8077200 w 8601075"/>
                  <a:gd name="connsiteY200" fmla="*/ 1885950 h 4333875"/>
                  <a:gd name="connsiteX201" fmla="*/ 8220075 w 8601075"/>
                  <a:gd name="connsiteY201" fmla="*/ 1847850 h 4333875"/>
                  <a:gd name="connsiteX202" fmla="*/ 8296275 w 8601075"/>
                  <a:gd name="connsiteY202" fmla="*/ 1809750 h 4333875"/>
                  <a:gd name="connsiteX203" fmla="*/ 8324850 w 8601075"/>
                  <a:gd name="connsiteY203" fmla="*/ 1790700 h 4333875"/>
                  <a:gd name="connsiteX204" fmla="*/ 8410575 w 8601075"/>
                  <a:gd name="connsiteY204" fmla="*/ 1847850 h 4333875"/>
                  <a:gd name="connsiteX205" fmla="*/ 8505825 w 8601075"/>
                  <a:gd name="connsiteY205" fmla="*/ 1781175 h 4333875"/>
                  <a:gd name="connsiteX206" fmla="*/ 8572500 w 8601075"/>
                  <a:gd name="connsiteY206" fmla="*/ 1809750 h 4333875"/>
                  <a:gd name="connsiteX207" fmla="*/ 8601075 w 8601075"/>
                  <a:gd name="connsiteY207" fmla="*/ 1704975 h 4333875"/>
                  <a:gd name="connsiteX208" fmla="*/ 8553450 w 8601075"/>
                  <a:gd name="connsiteY208" fmla="*/ 1676400 h 4333875"/>
                  <a:gd name="connsiteX209" fmla="*/ 8534400 w 8601075"/>
                  <a:gd name="connsiteY209" fmla="*/ 1609725 h 4333875"/>
                  <a:gd name="connsiteX210" fmla="*/ 8277225 w 8601075"/>
                  <a:gd name="connsiteY210" fmla="*/ 1409700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124825 w 8601075"/>
                  <a:gd name="connsiteY213" fmla="*/ 1352550 h 4333875"/>
                  <a:gd name="connsiteX214" fmla="*/ 7924800 w 8601075"/>
                  <a:gd name="connsiteY214" fmla="*/ 1362075 h 4333875"/>
                  <a:gd name="connsiteX215" fmla="*/ 7867650 w 8601075"/>
                  <a:gd name="connsiteY215" fmla="*/ 1457325 h 4333875"/>
                  <a:gd name="connsiteX216" fmla="*/ 7896225 w 8601075"/>
                  <a:gd name="connsiteY216" fmla="*/ 1476375 h 4333875"/>
                  <a:gd name="connsiteX217" fmla="*/ 7858125 w 8601075"/>
                  <a:gd name="connsiteY217" fmla="*/ 1533525 h 4333875"/>
                  <a:gd name="connsiteX218" fmla="*/ 7658100 w 8601075"/>
                  <a:gd name="connsiteY218" fmla="*/ 1447800 h 4333875"/>
                  <a:gd name="connsiteX219" fmla="*/ 7515225 w 8601075"/>
                  <a:gd name="connsiteY219" fmla="*/ 1495425 h 4333875"/>
                  <a:gd name="connsiteX220" fmla="*/ 7467600 w 8601075"/>
                  <a:gd name="connsiteY220" fmla="*/ 1581150 h 4333875"/>
                  <a:gd name="connsiteX221" fmla="*/ 7296150 w 8601075"/>
                  <a:gd name="connsiteY22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073944 w 8601075"/>
                  <a:gd name="connsiteY106" fmla="*/ 407193 h 4333875"/>
                  <a:gd name="connsiteX107" fmla="*/ 828675 w 8601075"/>
                  <a:gd name="connsiteY107" fmla="*/ 447675 h 4333875"/>
                  <a:gd name="connsiteX108" fmla="*/ 619125 w 8601075"/>
                  <a:gd name="connsiteY108" fmla="*/ 533400 h 4333875"/>
                  <a:gd name="connsiteX109" fmla="*/ 619125 w 8601075"/>
                  <a:gd name="connsiteY109" fmla="*/ 533400 h 4333875"/>
                  <a:gd name="connsiteX110" fmla="*/ 561975 w 8601075"/>
                  <a:gd name="connsiteY110" fmla="*/ 619125 h 4333875"/>
                  <a:gd name="connsiteX111" fmla="*/ 447675 w 8601075"/>
                  <a:gd name="connsiteY111" fmla="*/ 638175 h 4333875"/>
                  <a:gd name="connsiteX112" fmla="*/ 447675 w 8601075"/>
                  <a:gd name="connsiteY112" fmla="*/ 638175 h 4333875"/>
                  <a:gd name="connsiteX113" fmla="*/ 447675 w 8601075"/>
                  <a:gd name="connsiteY113" fmla="*/ 638175 h 4333875"/>
                  <a:gd name="connsiteX114" fmla="*/ 295275 w 8601075"/>
                  <a:gd name="connsiteY114" fmla="*/ 657225 h 4333875"/>
                  <a:gd name="connsiteX115" fmla="*/ 180975 w 8601075"/>
                  <a:gd name="connsiteY115" fmla="*/ 638175 h 4333875"/>
                  <a:gd name="connsiteX116" fmla="*/ 180975 w 8601075"/>
                  <a:gd name="connsiteY116" fmla="*/ 638175 h 4333875"/>
                  <a:gd name="connsiteX117" fmla="*/ 57150 w 8601075"/>
                  <a:gd name="connsiteY117" fmla="*/ 733425 h 4333875"/>
                  <a:gd name="connsiteX118" fmla="*/ 19050 w 8601075"/>
                  <a:gd name="connsiteY118" fmla="*/ 790575 h 4333875"/>
                  <a:gd name="connsiteX119" fmla="*/ 0 w 8601075"/>
                  <a:gd name="connsiteY119" fmla="*/ 876300 h 4333875"/>
                  <a:gd name="connsiteX120" fmla="*/ 57150 w 8601075"/>
                  <a:gd name="connsiteY120" fmla="*/ 923925 h 4333875"/>
                  <a:gd name="connsiteX121" fmla="*/ 57150 w 8601075"/>
                  <a:gd name="connsiteY121" fmla="*/ 923925 h 4333875"/>
                  <a:gd name="connsiteX122" fmla="*/ 209550 w 8601075"/>
                  <a:gd name="connsiteY122" fmla="*/ 1114425 h 4333875"/>
                  <a:gd name="connsiteX123" fmla="*/ 209550 w 8601075"/>
                  <a:gd name="connsiteY123" fmla="*/ 1114425 h 4333875"/>
                  <a:gd name="connsiteX124" fmla="*/ 266700 w 8601075"/>
                  <a:gd name="connsiteY124" fmla="*/ 1295400 h 4333875"/>
                  <a:gd name="connsiteX125" fmla="*/ 409575 w 8601075"/>
                  <a:gd name="connsiteY125" fmla="*/ 1276350 h 4333875"/>
                  <a:gd name="connsiteX126" fmla="*/ 466725 w 8601075"/>
                  <a:gd name="connsiteY126" fmla="*/ 1362075 h 4333875"/>
                  <a:gd name="connsiteX127" fmla="*/ 542925 w 8601075"/>
                  <a:gd name="connsiteY127" fmla="*/ 1428750 h 4333875"/>
                  <a:gd name="connsiteX128" fmla="*/ 628650 w 8601075"/>
                  <a:gd name="connsiteY128" fmla="*/ 1571625 h 4333875"/>
                  <a:gd name="connsiteX129" fmla="*/ 628650 w 8601075"/>
                  <a:gd name="connsiteY129" fmla="*/ 1704975 h 4333875"/>
                  <a:gd name="connsiteX130" fmla="*/ 676275 w 8601075"/>
                  <a:gd name="connsiteY130" fmla="*/ 1771650 h 4333875"/>
                  <a:gd name="connsiteX131" fmla="*/ 657225 w 8601075"/>
                  <a:gd name="connsiteY131" fmla="*/ 2000250 h 4333875"/>
                  <a:gd name="connsiteX132" fmla="*/ 619125 w 8601075"/>
                  <a:gd name="connsiteY132" fmla="*/ 2095500 h 4333875"/>
                  <a:gd name="connsiteX133" fmla="*/ 542925 w 8601075"/>
                  <a:gd name="connsiteY133" fmla="*/ 2228850 h 4333875"/>
                  <a:gd name="connsiteX134" fmla="*/ 485775 w 8601075"/>
                  <a:gd name="connsiteY134" fmla="*/ 2362200 h 4333875"/>
                  <a:gd name="connsiteX135" fmla="*/ 552450 w 8601075"/>
                  <a:gd name="connsiteY135" fmla="*/ 2486025 h 4333875"/>
                  <a:gd name="connsiteX136" fmla="*/ 771525 w 8601075"/>
                  <a:gd name="connsiteY136" fmla="*/ 2571750 h 4333875"/>
                  <a:gd name="connsiteX137" fmla="*/ 866775 w 8601075"/>
                  <a:gd name="connsiteY137" fmla="*/ 2571750 h 4333875"/>
                  <a:gd name="connsiteX138" fmla="*/ 914400 w 8601075"/>
                  <a:gd name="connsiteY138" fmla="*/ 2638425 h 4333875"/>
                  <a:gd name="connsiteX139" fmla="*/ 1066800 w 8601075"/>
                  <a:gd name="connsiteY139" fmla="*/ 2638425 h 4333875"/>
                  <a:gd name="connsiteX140" fmla="*/ 1285875 w 8601075"/>
                  <a:gd name="connsiteY140" fmla="*/ 2705100 h 4333875"/>
                  <a:gd name="connsiteX141" fmla="*/ 1438275 w 8601075"/>
                  <a:gd name="connsiteY141" fmla="*/ 2838450 h 4333875"/>
                  <a:gd name="connsiteX142" fmla="*/ 1485900 w 8601075"/>
                  <a:gd name="connsiteY142" fmla="*/ 2914650 h 4333875"/>
                  <a:gd name="connsiteX143" fmla="*/ 1657350 w 8601075"/>
                  <a:gd name="connsiteY143" fmla="*/ 3038475 h 4333875"/>
                  <a:gd name="connsiteX144" fmla="*/ 1752600 w 8601075"/>
                  <a:gd name="connsiteY144" fmla="*/ 3057525 h 4333875"/>
                  <a:gd name="connsiteX145" fmla="*/ 1724025 w 8601075"/>
                  <a:gd name="connsiteY145" fmla="*/ 3143250 h 4333875"/>
                  <a:gd name="connsiteX146" fmla="*/ 1724025 w 8601075"/>
                  <a:gd name="connsiteY146" fmla="*/ 3143250 h 4333875"/>
                  <a:gd name="connsiteX147" fmla="*/ 1781175 w 8601075"/>
                  <a:gd name="connsiteY147" fmla="*/ 3181350 h 4333875"/>
                  <a:gd name="connsiteX148" fmla="*/ 1819275 w 8601075"/>
                  <a:gd name="connsiteY148" fmla="*/ 3362325 h 4333875"/>
                  <a:gd name="connsiteX149" fmla="*/ 1828800 w 8601075"/>
                  <a:gd name="connsiteY149" fmla="*/ 3457575 h 4333875"/>
                  <a:gd name="connsiteX150" fmla="*/ 1971675 w 8601075"/>
                  <a:gd name="connsiteY150" fmla="*/ 3590925 h 4333875"/>
                  <a:gd name="connsiteX151" fmla="*/ 1990725 w 8601075"/>
                  <a:gd name="connsiteY151" fmla="*/ 3714750 h 4333875"/>
                  <a:gd name="connsiteX152" fmla="*/ 2200275 w 8601075"/>
                  <a:gd name="connsiteY152" fmla="*/ 3695700 h 4333875"/>
                  <a:gd name="connsiteX153" fmla="*/ 2886075 w 8601075"/>
                  <a:gd name="connsiteY153" fmla="*/ 3886200 h 4333875"/>
                  <a:gd name="connsiteX154" fmla="*/ 3038475 w 8601075"/>
                  <a:gd name="connsiteY154" fmla="*/ 3819525 h 4333875"/>
                  <a:gd name="connsiteX155" fmla="*/ 3105150 w 8601075"/>
                  <a:gd name="connsiteY155" fmla="*/ 3867150 h 4333875"/>
                  <a:gd name="connsiteX156" fmla="*/ 3181350 w 8601075"/>
                  <a:gd name="connsiteY156" fmla="*/ 3800475 h 4333875"/>
                  <a:gd name="connsiteX157" fmla="*/ 3590925 w 8601075"/>
                  <a:gd name="connsiteY157" fmla="*/ 3943350 h 4333875"/>
                  <a:gd name="connsiteX158" fmla="*/ 3686175 w 8601075"/>
                  <a:gd name="connsiteY158" fmla="*/ 4057650 h 4333875"/>
                  <a:gd name="connsiteX159" fmla="*/ 3838575 w 8601075"/>
                  <a:gd name="connsiteY159" fmla="*/ 4057650 h 4333875"/>
                  <a:gd name="connsiteX160" fmla="*/ 4162425 w 8601075"/>
                  <a:gd name="connsiteY160" fmla="*/ 4248150 h 4333875"/>
                  <a:gd name="connsiteX161" fmla="*/ 4391025 w 8601075"/>
                  <a:gd name="connsiteY161" fmla="*/ 4200525 h 4333875"/>
                  <a:gd name="connsiteX162" fmla="*/ 4410075 w 8601075"/>
                  <a:gd name="connsiteY162" fmla="*/ 4305300 h 4333875"/>
                  <a:gd name="connsiteX163" fmla="*/ 4505325 w 8601075"/>
                  <a:gd name="connsiteY163" fmla="*/ 4276725 h 4333875"/>
                  <a:gd name="connsiteX164" fmla="*/ 4572000 w 8601075"/>
                  <a:gd name="connsiteY164" fmla="*/ 4333875 h 4333875"/>
                  <a:gd name="connsiteX165" fmla="*/ 4591050 w 8601075"/>
                  <a:gd name="connsiteY165" fmla="*/ 4248150 h 4333875"/>
                  <a:gd name="connsiteX166" fmla="*/ 5295900 w 8601075"/>
                  <a:gd name="connsiteY166" fmla="*/ 3924300 h 4333875"/>
                  <a:gd name="connsiteX167" fmla="*/ 5353050 w 8601075"/>
                  <a:gd name="connsiteY167" fmla="*/ 3990975 h 4333875"/>
                  <a:gd name="connsiteX168" fmla="*/ 5524500 w 8601075"/>
                  <a:gd name="connsiteY168" fmla="*/ 3914775 h 4333875"/>
                  <a:gd name="connsiteX169" fmla="*/ 5667375 w 8601075"/>
                  <a:gd name="connsiteY169" fmla="*/ 3962400 h 4333875"/>
                  <a:gd name="connsiteX170" fmla="*/ 5753100 w 8601075"/>
                  <a:gd name="connsiteY170" fmla="*/ 3924300 h 4333875"/>
                  <a:gd name="connsiteX171" fmla="*/ 5905500 w 8601075"/>
                  <a:gd name="connsiteY171" fmla="*/ 3943350 h 4333875"/>
                  <a:gd name="connsiteX172" fmla="*/ 6000750 w 8601075"/>
                  <a:gd name="connsiteY172" fmla="*/ 3800475 h 4333875"/>
                  <a:gd name="connsiteX173" fmla="*/ 6153150 w 8601075"/>
                  <a:gd name="connsiteY173" fmla="*/ 3781425 h 4333875"/>
                  <a:gd name="connsiteX174" fmla="*/ 6257925 w 8601075"/>
                  <a:gd name="connsiteY174" fmla="*/ 3581400 h 4333875"/>
                  <a:gd name="connsiteX175" fmla="*/ 6448425 w 8601075"/>
                  <a:gd name="connsiteY175" fmla="*/ 3448050 h 4333875"/>
                  <a:gd name="connsiteX176" fmla="*/ 6581775 w 8601075"/>
                  <a:gd name="connsiteY176" fmla="*/ 3276600 h 4333875"/>
                  <a:gd name="connsiteX177" fmla="*/ 6496050 w 8601075"/>
                  <a:gd name="connsiteY177" fmla="*/ 3228975 h 4333875"/>
                  <a:gd name="connsiteX178" fmla="*/ 6438900 w 8601075"/>
                  <a:gd name="connsiteY178" fmla="*/ 3162300 h 4333875"/>
                  <a:gd name="connsiteX179" fmla="*/ 6419850 w 8601075"/>
                  <a:gd name="connsiteY179" fmla="*/ 3105150 h 4333875"/>
                  <a:gd name="connsiteX180" fmla="*/ 6362700 w 8601075"/>
                  <a:gd name="connsiteY180" fmla="*/ 3076575 h 4333875"/>
                  <a:gd name="connsiteX181" fmla="*/ 6410325 w 8601075"/>
                  <a:gd name="connsiteY181" fmla="*/ 3019425 h 4333875"/>
                  <a:gd name="connsiteX182" fmla="*/ 6438900 w 8601075"/>
                  <a:gd name="connsiteY182" fmla="*/ 2819400 h 4333875"/>
                  <a:gd name="connsiteX183" fmla="*/ 6496050 w 8601075"/>
                  <a:gd name="connsiteY183" fmla="*/ 2762250 h 4333875"/>
                  <a:gd name="connsiteX184" fmla="*/ 6657975 w 8601075"/>
                  <a:gd name="connsiteY184" fmla="*/ 2752725 h 4333875"/>
                  <a:gd name="connsiteX185" fmla="*/ 6781800 w 8601075"/>
                  <a:gd name="connsiteY185" fmla="*/ 2838450 h 4333875"/>
                  <a:gd name="connsiteX186" fmla="*/ 7010400 w 8601075"/>
                  <a:gd name="connsiteY186" fmla="*/ 2838450 h 4333875"/>
                  <a:gd name="connsiteX187" fmla="*/ 7162800 w 8601075"/>
                  <a:gd name="connsiteY187" fmla="*/ 2705100 h 4333875"/>
                  <a:gd name="connsiteX188" fmla="*/ 7229475 w 8601075"/>
                  <a:gd name="connsiteY188" fmla="*/ 2590800 h 4333875"/>
                  <a:gd name="connsiteX189" fmla="*/ 7248525 w 8601075"/>
                  <a:gd name="connsiteY189" fmla="*/ 2524125 h 4333875"/>
                  <a:gd name="connsiteX190" fmla="*/ 7372350 w 8601075"/>
                  <a:gd name="connsiteY190" fmla="*/ 2543175 h 4333875"/>
                  <a:gd name="connsiteX191" fmla="*/ 7553325 w 8601075"/>
                  <a:gd name="connsiteY191" fmla="*/ 2447925 h 4333875"/>
                  <a:gd name="connsiteX192" fmla="*/ 7620000 w 8601075"/>
                  <a:gd name="connsiteY192" fmla="*/ 2324100 h 4333875"/>
                  <a:gd name="connsiteX193" fmla="*/ 7696200 w 8601075"/>
                  <a:gd name="connsiteY193" fmla="*/ 2314575 h 4333875"/>
                  <a:gd name="connsiteX194" fmla="*/ 7658100 w 8601075"/>
                  <a:gd name="connsiteY194" fmla="*/ 2257425 h 4333875"/>
                  <a:gd name="connsiteX195" fmla="*/ 7753350 w 8601075"/>
                  <a:gd name="connsiteY195" fmla="*/ 2057400 h 4333875"/>
                  <a:gd name="connsiteX196" fmla="*/ 7934325 w 8601075"/>
                  <a:gd name="connsiteY196" fmla="*/ 2028825 h 4333875"/>
                  <a:gd name="connsiteX197" fmla="*/ 7953375 w 8601075"/>
                  <a:gd name="connsiteY197" fmla="*/ 1952625 h 4333875"/>
                  <a:gd name="connsiteX198" fmla="*/ 7953375 w 8601075"/>
                  <a:gd name="connsiteY198" fmla="*/ 1952625 h 4333875"/>
                  <a:gd name="connsiteX199" fmla="*/ 8010525 w 8601075"/>
                  <a:gd name="connsiteY199" fmla="*/ 1895475 h 4333875"/>
                  <a:gd name="connsiteX200" fmla="*/ 8048625 w 8601075"/>
                  <a:gd name="connsiteY200" fmla="*/ 1971675 h 4333875"/>
                  <a:gd name="connsiteX201" fmla="*/ 8077200 w 8601075"/>
                  <a:gd name="connsiteY201" fmla="*/ 1885950 h 4333875"/>
                  <a:gd name="connsiteX202" fmla="*/ 8220075 w 8601075"/>
                  <a:gd name="connsiteY202" fmla="*/ 1847850 h 4333875"/>
                  <a:gd name="connsiteX203" fmla="*/ 8296275 w 8601075"/>
                  <a:gd name="connsiteY203" fmla="*/ 1809750 h 4333875"/>
                  <a:gd name="connsiteX204" fmla="*/ 8324850 w 8601075"/>
                  <a:gd name="connsiteY204" fmla="*/ 1790700 h 4333875"/>
                  <a:gd name="connsiteX205" fmla="*/ 8410575 w 8601075"/>
                  <a:gd name="connsiteY205" fmla="*/ 1847850 h 4333875"/>
                  <a:gd name="connsiteX206" fmla="*/ 8505825 w 8601075"/>
                  <a:gd name="connsiteY206" fmla="*/ 1781175 h 4333875"/>
                  <a:gd name="connsiteX207" fmla="*/ 8572500 w 8601075"/>
                  <a:gd name="connsiteY207" fmla="*/ 1809750 h 4333875"/>
                  <a:gd name="connsiteX208" fmla="*/ 8601075 w 8601075"/>
                  <a:gd name="connsiteY208" fmla="*/ 1704975 h 4333875"/>
                  <a:gd name="connsiteX209" fmla="*/ 8553450 w 8601075"/>
                  <a:gd name="connsiteY209" fmla="*/ 1676400 h 4333875"/>
                  <a:gd name="connsiteX210" fmla="*/ 8534400 w 8601075"/>
                  <a:gd name="connsiteY210" fmla="*/ 1609725 h 4333875"/>
                  <a:gd name="connsiteX211" fmla="*/ 8277225 w 8601075"/>
                  <a:gd name="connsiteY211" fmla="*/ 1409700 h 4333875"/>
                  <a:gd name="connsiteX212" fmla="*/ 8277225 w 8601075"/>
                  <a:gd name="connsiteY212" fmla="*/ 1409700 h 4333875"/>
                  <a:gd name="connsiteX213" fmla="*/ 8277225 w 8601075"/>
                  <a:gd name="connsiteY213" fmla="*/ 1409700 h 4333875"/>
                  <a:gd name="connsiteX214" fmla="*/ 8124825 w 8601075"/>
                  <a:gd name="connsiteY214" fmla="*/ 1352550 h 4333875"/>
                  <a:gd name="connsiteX215" fmla="*/ 7924800 w 8601075"/>
                  <a:gd name="connsiteY215" fmla="*/ 1362075 h 4333875"/>
                  <a:gd name="connsiteX216" fmla="*/ 7867650 w 8601075"/>
                  <a:gd name="connsiteY216" fmla="*/ 1457325 h 4333875"/>
                  <a:gd name="connsiteX217" fmla="*/ 7896225 w 8601075"/>
                  <a:gd name="connsiteY217" fmla="*/ 1476375 h 4333875"/>
                  <a:gd name="connsiteX218" fmla="*/ 7858125 w 8601075"/>
                  <a:gd name="connsiteY218" fmla="*/ 1533525 h 4333875"/>
                  <a:gd name="connsiteX219" fmla="*/ 7658100 w 8601075"/>
                  <a:gd name="connsiteY219" fmla="*/ 1447800 h 4333875"/>
                  <a:gd name="connsiteX220" fmla="*/ 7515225 w 8601075"/>
                  <a:gd name="connsiteY220" fmla="*/ 1495425 h 4333875"/>
                  <a:gd name="connsiteX221" fmla="*/ 7467600 w 8601075"/>
                  <a:gd name="connsiteY221" fmla="*/ 1581150 h 4333875"/>
                  <a:gd name="connsiteX222" fmla="*/ 7296150 w 8601075"/>
                  <a:gd name="connsiteY22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828675 w 8601075"/>
                  <a:gd name="connsiteY108" fmla="*/ 447675 h 4333875"/>
                  <a:gd name="connsiteX109" fmla="*/ 619125 w 8601075"/>
                  <a:gd name="connsiteY109" fmla="*/ 533400 h 4333875"/>
                  <a:gd name="connsiteX110" fmla="*/ 619125 w 8601075"/>
                  <a:gd name="connsiteY110" fmla="*/ 533400 h 4333875"/>
                  <a:gd name="connsiteX111" fmla="*/ 561975 w 8601075"/>
                  <a:gd name="connsiteY111" fmla="*/ 619125 h 4333875"/>
                  <a:gd name="connsiteX112" fmla="*/ 447675 w 8601075"/>
                  <a:gd name="connsiteY112" fmla="*/ 638175 h 4333875"/>
                  <a:gd name="connsiteX113" fmla="*/ 447675 w 8601075"/>
                  <a:gd name="connsiteY113" fmla="*/ 638175 h 4333875"/>
                  <a:gd name="connsiteX114" fmla="*/ 447675 w 8601075"/>
                  <a:gd name="connsiteY114" fmla="*/ 638175 h 4333875"/>
                  <a:gd name="connsiteX115" fmla="*/ 295275 w 8601075"/>
                  <a:gd name="connsiteY115" fmla="*/ 657225 h 4333875"/>
                  <a:gd name="connsiteX116" fmla="*/ 180975 w 8601075"/>
                  <a:gd name="connsiteY116" fmla="*/ 638175 h 4333875"/>
                  <a:gd name="connsiteX117" fmla="*/ 180975 w 8601075"/>
                  <a:gd name="connsiteY117" fmla="*/ 638175 h 4333875"/>
                  <a:gd name="connsiteX118" fmla="*/ 57150 w 8601075"/>
                  <a:gd name="connsiteY118" fmla="*/ 733425 h 4333875"/>
                  <a:gd name="connsiteX119" fmla="*/ 19050 w 8601075"/>
                  <a:gd name="connsiteY119" fmla="*/ 790575 h 4333875"/>
                  <a:gd name="connsiteX120" fmla="*/ 0 w 8601075"/>
                  <a:gd name="connsiteY120" fmla="*/ 876300 h 4333875"/>
                  <a:gd name="connsiteX121" fmla="*/ 57150 w 8601075"/>
                  <a:gd name="connsiteY121" fmla="*/ 923925 h 4333875"/>
                  <a:gd name="connsiteX122" fmla="*/ 57150 w 8601075"/>
                  <a:gd name="connsiteY122" fmla="*/ 923925 h 4333875"/>
                  <a:gd name="connsiteX123" fmla="*/ 209550 w 8601075"/>
                  <a:gd name="connsiteY123" fmla="*/ 1114425 h 4333875"/>
                  <a:gd name="connsiteX124" fmla="*/ 209550 w 8601075"/>
                  <a:gd name="connsiteY124" fmla="*/ 1114425 h 4333875"/>
                  <a:gd name="connsiteX125" fmla="*/ 266700 w 8601075"/>
                  <a:gd name="connsiteY125" fmla="*/ 1295400 h 4333875"/>
                  <a:gd name="connsiteX126" fmla="*/ 409575 w 8601075"/>
                  <a:gd name="connsiteY126" fmla="*/ 1276350 h 4333875"/>
                  <a:gd name="connsiteX127" fmla="*/ 466725 w 8601075"/>
                  <a:gd name="connsiteY127" fmla="*/ 1362075 h 4333875"/>
                  <a:gd name="connsiteX128" fmla="*/ 542925 w 8601075"/>
                  <a:gd name="connsiteY128" fmla="*/ 1428750 h 4333875"/>
                  <a:gd name="connsiteX129" fmla="*/ 628650 w 8601075"/>
                  <a:gd name="connsiteY129" fmla="*/ 1571625 h 4333875"/>
                  <a:gd name="connsiteX130" fmla="*/ 628650 w 8601075"/>
                  <a:gd name="connsiteY130" fmla="*/ 1704975 h 4333875"/>
                  <a:gd name="connsiteX131" fmla="*/ 676275 w 8601075"/>
                  <a:gd name="connsiteY131" fmla="*/ 1771650 h 4333875"/>
                  <a:gd name="connsiteX132" fmla="*/ 657225 w 8601075"/>
                  <a:gd name="connsiteY132" fmla="*/ 2000250 h 4333875"/>
                  <a:gd name="connsiteX133" fmla="*/ 619125 w 8601075"/>
                  <a:gd name="connsiteY133" fmla="*/ 2095500 h 4333875"/>
                  <a:gd name="connsiteX134" fmla="*/ 542925 w 8601075"/>
                  <a:gd name="connsiteY134" fmla="*/ 2228850 h 4333875"/>
                  <a:gd name="connsiteX135" fmla="*/ 485775 w 8601075"/>
                  <a:gd name="connsiteY135" fmla="*/ 2362200 h 4333875"/>
                  <a:gd name="connsiteX136" fmla="*/ 552450 w 8601075"/>
                  <a:gd name="connsiteY136" fmla="*/ 2486025 h 4333875"/>
                  <a:gd name="connsiteX137" fmla="*/ 771525 w 8601075"/>
                  <a:gd name="connsiteY137" fmla="*/ 2571750 h 4333875"/>
                  <a:gd name="connsiteX138" fmla="*/ 866775 w 8601075"/>
                  <a:gd name="connsiteY138" fmla="*/ 2571750 h 4333875"/>
                  <a:gd name="connsiteX139" fmla="*/ 914400 w 8601075"/>
                  <a:gd name="connsiteY139" fmla="*/ 2638425 h 4333875"/>
                  <a:gd name="connsiteX140" fmla="*/ 1066800 w 8601075"/>
                  <a:gd name="connsiteY140" fmla="*/ 2638425 h 4333875"/>
                  <a:gd name="connsiteX141" fmla="*/ 1285875 w 8601075"/>
                  <a:gd name="connsiteY141" fmla="*/ 2705100 h 4333875"/>
                  <a:gd name="connsiteX142" fmla="*/ 1438275 w 8601075"/>
                  <a:gd name="connsiteY142" fmla="*/ 2838450 h 4333875"/>
                  <a:gd name="connsiteX143" fmla="*/ 1485900 w 8601075"/>
                  <a:gd name="connsiteY143" fmla="*/ 2914650 h 4333875"/>
                  <a:gd name="connsiteX144" fmla="*/ 1657350 w 8601075"/>
                  <a:gd name="connsiteY144" fmla="*/ 3038475 h 4333875"/>
                  <a:gd name="connsiteX145" fmla="*/ 1752600 w 8601075"/>
                  <a:gd name="connsiteY145" fmla="*/ 3057525 h 4333875"/>
                  <a:gd name="connsiteX146" fmla="*/ 1724025 w 8601075"/>
                  <a:gd name="connsiteY146" fmla="*/ 3143250 h 4333875"/>
                  <a:gd name="connsiteX147" fmla="*/ 1724025 w 8601075"/>
                  <a:gd name="connsiteY147" fmla="*/ 3143250 h 4333875"/>
                  <a:gd name="connsiteX148" fmla="*/ 1781175 w 8601075"/>
                  <a:gd name="connsiteY148" fmla="*/ 3181350 h 4333875"/>
                  <a:gd name="connsiteX149" fmla="*/ 1819275 w 8601075"/>
                  <a:gd name="connsiteY149" fmla="*/ 3362325 h 4333875"/>
                  <a:gd name="connsiteX150" fmla="*/ 1828800 w 8601075"/>
                  <a:gd name="connsiteY150" fmla="*/ 3457575 h 4333875"/>
                  <a:gd name="connsiteX151" fmla="*/ 1971675 w 8601075"/>
                  <a:gd name="connsiteY151" fmla="*/ 3590925 h 4333875"/>
                  <a:gd name="connsiteX152" fmla="*/ 1990725 w 8601075"/>
                  <a:gd name="connsiteY152" fmla="*/ 3714750 h 4333875"/>
                  <a:gd name="connsiteX153" fmla="*/ 2200275 w 8601075"/>
                  <a:gd name="connsiteY153" fmla="*/ 3695700 h 4333875"/>
                  <a:gd name="connsiteX154" fmla="*/ 2886075 w 8601075"/>
                  <a:gd name="connsiteY154" fmla="*/ 3886200 h 4333875"/>
                  <a:gd name="connsiteX155" fmla="*/ 3038475 w 8601075"/>
                  <a:gd name="connsiteY155" fmla="*/ 3819525 h 4333875"/>
                  <a:gd name="connsiteX156" fmla="*/ 3105150 w 8601075"/>
                  <a:gd name="connsiteY156" fmla="*/ 3867150 h 4333875"/>
                  <a:gd name="connsiteX157" fmla="*/ 3181350 w 8601075"/>
                  <a:gd name="connsiteY157" fmla="*/ 3800475 h 4333875"/>
                  <a:gd name="connsiteX158" fmla="*/ 3590925 w 8601075"/>
                  <a:gd name="connsiteY158" fmla="*/ 3943350 h 4333875"/>
                  <a:gd name="connsiteX159" fmla="*/ 3686175 w 8601075"/>
                  <a:gd name="connsiteY159" fmla="*/ 4057650 h 4333875"/>
                  <a:gd name="connsiteX160" fmla="*/ 3838575 w 8601075"/>
                  <a:gd name="connsiteY160" fmla="*/ 4057650 h 4333875"/>
                  <a:gd name="connsiteX161" fmla="*/ 4162425 w 8601075"/>
                  <a:gd name="connsiteY161" fmla="*/ 4248150 h 4333875"/>
                  <a:gd name="connsiteX162" fmla="*/ 4391025 w 8601075"/>
                  <a:gd name="connsiteY162" fmla="*/ 4200525 h 4333875"/>
                  <a:gd name="connsiteX163" fmla="*/ 4410075 w 8601075"/>
                  <a:gd name="connsiteY163" fmla="*/ 4305300 h 4333875"/>
                  <a:gd name="connsiteX164" fmla="*/ 4505325 w 8601075"/>
                  <a:gd name="connsiteY164" fmla="*/ 4276725 h 4333875"/>
                  <a:gd name="connsiteX165" fmla="*/ 4572000 w 8601075"/>
                  <a:gd name="connsiteY165" fmla="*/ 4333875 h 4333875"/>
                  <a:gd name="connsiteX166" fmla="*/ 4591050 w 8601075"/>
                  <a:gd name="connsiteY166" fmla="*/ 4248150 h 4333875"/>
                  <a:gd name="connsiteX167" fmla="*/ 5295900 w 8601075"/>
                  <a:gd name="connsiteY167" fmla="*/ 3924300 h 4333875"/>
                  <a:gd name="connsiteX168" fmla="*/ 5353050 w 8601075"/>
                  <a:gd name="connsiteY168" fmla="*/ 3990975 h 4333875"/>
                  <a:gd name="connsiteX169" fmla="*/ 5524500 w 8601075"/>
                  <a:gd name="connsiteY169" fmla="*/ 3914775 h 4333875"/>
                  <a:gd name="connsiteX170" fmla="*/ 5667375 w 8601075"/>
                  <a:gd name="connsiteY170" fmla="*/ 3962400 h 4333875"/>
                  <a:gd name="connsiteX171" fmla="*/ 5753100 w 8601075"/>
                  <a:gd name="connsiteY171" fmla="*/ 3924300 h 4333875"/>
                  <a:gd name="connsiteX172" fmla="*/ 5905500 w 8601075"/>
                  <a:gd name="connsiteY172" fmla="*/ 3943350 h 4333875"/>
                  <a:gd name="connsiteX173" fmla="*/ 6000750 w 8601075"/>
                  <a:gd name="connsiteY173" fmla="*/ 3800475 h 4333875"/>
                  <a:gd name="connsiteX174" fmla="*/ 6153150 w 8601075"/>
                  <a:gd name="connsiteY174" fmla="*/ 3781425 h 4333875"/>
                  <a:gd name="connsiteX175" fmla="*/ 6257925 w 8601075"/>
                  <a:gd name="connsiteY175" fmla="*/ 3581400 h 4333875"/>
                  <a:gd name="connsiteX176" fmla="*/ 6448425 w 8601075"/>
                  <a:gd name="connsiteY176" fmla="*/ 3448050 h 4333875"/>
                  <a:gd name="connsiteX177" fmla="*/ 6581775 w 8601075"/>
                  <a:gd name="connsiteY177" fmla="*/ 3276600 h 4333875"/>
                  <a:gd name="connsiteX178" fmla="*/ 6496050 w 8601075"/>
                  <a:gd name="connsiteY178" fmla="*/ 3228975 h 4333875"/>
                  <a:gd name="connsiteX179" fmla="*/ 6438900 w 8601075"/>
                  <a:gd name="connsiteY179" fmla="*/ 3162300 h 4333875"/>
                  <a:gd name="connsiteX180" fmla="*/ 6419850 w 8601075"/>
                  <a:gd name="connsiteY180" fmla="*/ 3105150 h 4333875"/>
                  <a:gd name="connsiteX181" fmla="*/ 6362700 w 8601075"/>
                  <a:gd name="connsiteY181" fmla="*/ 3076575 h 4333875"/>
                  <a:gd name="connsiteX182" fmla="*/ 6410325 w 8601075"/>
                  <a:gd name="connsiteY182" fmla="*/ 3019425 h 4333875"/>
                  <a:gd name="connsiteX183" fmla="*/ 6438900 w 8601075"/>
                  <a:gd name="connsiteY183" fmla="*/ 2819400 h 4333875"/>
                  <a:gd name="connsiteX184" fmla="*/ 6496050 w 8601075"/>
                  <a:gd name="connsiteY184" fmla="*/ 2762250 h 4333875"/>
                  <a:gd name="connsiteX185" fmla="*/ 6657975 w 8601075"/>
                  <a:gd name="connsiteY185" fmla="*/ 2752725 h 4333875"/>
                  <a:gd name="connsiteX186" fmla="*/ 6781800 w 8601075"/>
                  <a:gd name="connsiteY186" fmla="*/ 2838450 h 4333875"/>
                  <a:gd name="connsiteX187" fmla="*/ 7010400 w 8601075"/>
                  <a:gd name="connsiteY187" fmla="*/ 2838450 h 4333875"/>
                  <a:gd name="connsiteX188" fmla="*/ 7162800 w 8601075"/>
                  <a:gd name="connsiteY188" fmla="*/ 2705100 h 4333875"/>
                  <a:gd name="connsiteX189" fmla="*/ 7229475 w 8601075"/>
                  <a:gd name="connsiteY189" fmla="*/ 2590800 h 4333875"/>
                  <a:gd name="connsiteX190" fmla="*/ 7248525 w 8601075"/>
                  <a:gd name="connsiteY190" fmla="*/ 2524125 h 4333875"/>
                  <a:gd name="connsiteX191" fmla="*/ 7372350 w 8601075"/>
                  <a:gd name="connsiteY191" fmla="*/ 2543175 h 4333875"/>
                  <a:gd name="connsiteX192" fmla="*/ 7553325 w 8601075"/>
                  <a:gd name="connsiteY192" fmla="*/ 2447925 h 4333875"/>
                  <a:gd name="connsiteX193" fmla="*/ 7620000 w 8601075"/>
                  <a:gd name="connsiteY193" fmla="*/ 2324100 h 4333875"/>
                  <a:gd name="connsiteX194" fmla="*/ 7696200 w 8601075"/>
                  <a:gd name="connsiteY194" fmla="*/ 2314575 h 4333875"/>
                  <a:gd name="connsiteX195" fmla="*/ 7658100 w 8601075"/>
                  <a:gd name="connsiteY195" fmla="*/ 2257425 h 4333875"/>
                  <a:gd name="connsiteX196" fmla="*/ 7753350 w 8601075"/>
                  <a:gd name="connsiteY196" fmla="*/ 2057400 h 4333875"/>
                  <a:gd name="connsiteX197" fmla="*/ 7934325 w 8601075"/>
                  <a:gd name="connsiteY197" fmla="*/ 2028825 h 4333875"/>
                  <a:gd name="connsiteX198" fmla="*/ 7953375 w 8601075"/>
                  <a:gd name="connsiteY198" fmla="*/ 1952625 h 4333875"/>
                  <a:gd name="connsiteX199" fmla="*/ 7953375 w 8601075"/>
                  <a:gd name="connsiteY199" fmla="*/ 1952625 h 4333875"/>
                  <a:gd name="connsiteX200" fmla="*/ 8010525 w 8601075"/>
                  <a:gd name="connsiteY200" fmla="*/ 1895475 h 4333875"/>
                  <a:gd name="connsiteX201" fmla="*/ 8048625 w 8601075"/>
                  <a:gd name="connsiteY201" fmla="*/ 1971675 h 4333875"/>
                  <a:gd name="connsiteX202" fmla="*/ 8077200 w 8601075"/>
                  <a:gd name="connsiteY202" fmla="*/ 1885950 h 4333875"/>
                  <a:gd name="connsiteX203" fmla="*/ 8220075 w 8601075"/>
                  <a:gd name="connsiteY203" fmla="*/ 1847850 h 4333875"/>
                  <a:gd name="connsiteX204" fmla="*/ 8296275 w 8601075"/>
                  <a:gd name="connsiteY204" fmla="*/ 1809750 h 4333875"/>
                  <a:gd name="connsiteX205" fmla="*/ 8324850 w 8601075"/>
                  <a:gd name="connsiteY205" fmla="*/ 1790700 h 4333875"/>
                  <a:gd name="connsiteX206" fmla="*/ 8410575 w 8601075"/>
                  <a:gd name="connsiteY206" fmla="*/ 1847850 h 4333875"/>
                  <a:gd name="connsiteX207" fmla="*/ 8505825 w 8601075"/>
                  <a:gd name="connsiteY207" fmla="*/ 1781175 h 4333875"/>
                  <a:gd name="connsiteX208" fmla="*/ 8572500 w 8601075"/>
                  <a:gd name="connsiteY208" fmla="*/ 1809750 h 4333875"/>
                  <a:gd name="connsiteX209" fmla="*/ 8601075 w 8601075"/>
                  <a:gd name="connsiteY209" fmla="*/ 1704975 h 4333875"/>
                  <a:gd name="connsiteX210" fmla="*/ 8553450 w 8601075"/>
                  <a:gd name="connsiteY210" fmla="*/ 1676400 h 4333875"/>
                  <a:gd name="connsiteX211" fmla="*/ 8534400 w 8601075"/>
                  <a:gd name="connsiteY211" fmla="*/ 1609725 h 4333875"/>
                  <a:gd name="connsiteX212" fmla="*/ 8277225 w 8601075"/>
                  <a:gd name="connsiteY212" fmla="*/ 1409700 h 4333875"/>
                  <a:gd name="connsiteX213" fmla="*/ 8277225 w 8601075"/>
                  <a:gd name="connsiteY213" fmla="*/ 1409700 h 4333875"/>
                  <a:gd name="connsiteX214" fmla="*/ 8277225 w 8601075"/>
                  <a:gd name="connsiteY214" fmla="*/ 1409700 h 4333875"/>
                  <a:gd name="connsiteX215" fmla="*/ 8124825 w 8601075"/>
                  <a:gd name="connsiteY215" fmla="*/ 1352550 h 4333875"/>
                  <a:gd name="connsiteX216" fmla="*/ 7924800 w 8601075"/>
                  <a:gd name="connsiteY216" fmla="*/ 1362075 h 4333875"/>
                  <a:gd name="connsiteX217" fmla="*/ 7867650 w 8601075"/>
                  <a:gd name="connsiteY217" fmla="*/ 1457325 h 4333875"/>
                  <a:gd name="connsiteX218" fmla="*/ 7896225 w 8601075"/>
                  <a:gd name="connsiteY218" fmla="*/ 1476375 h 4333875"/>
                  <a:gd name="connsiteX219" fmla="*/ 7858125 w 8601075"/>
                  <a:gd name="connsiteY219" fmla="*/ 1533525 h 4333875"/>
                  <a:gd name="connsiteX220" fmla="*/ 7658100 w 8601075"/>
                  <a:gd name="connsiteY220" fmla="*/ 1447800 h 4333875"/>
                  <a:gd name="connsiteX221" fmla="*/ 7515225 w 8601075"/>
                  <a:gd name="connsiteY221" fmla="*/ 1495425 h 4333875"/>
                  <a:gd name="connsiteX222" fmla="*/ 7467600 w 8601075"/>
                  <a:gd name="connsiteY222" fmla="*/ 1581150 h 4333875"/>
                  <a:gd name="connsiteX223" fmla="*/ 7296150 w 8601075"/>
                  <a:gd name="connsiteY22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828675 w 8601075"/>
                  <a:gd name="connsiteY109" fmla="*/ 447675 h 4333875"/>
                  <a:gd name="connsiteX110" fmla="*/ 619125 w 8601075"/>
                  <a:gd name="connsiteY110" fmla="*/ 533400 h 4333875"/>
                  <a:gd name="connsiteX111" fmla="*/ 619125 w 8601075"/>
                  <a:gd name="connsiteY111" fmla="*/ 533400 h 4333875"/>
                  <a:gd name="connsiteX112" fmla="*/ 561975 w 8601075"/>
                  <a:gd name="connsiteY112" fmla="*/ 619125 h 4333875"/>
                  <a:gd name="connsiteX113" fmla="*/ 447675 w 8601075"/>
                  <a:gd name="connsiteY113" fmla="*/ 638175 h 4333875"/>
                  <a:gd name="connsiteX114" fmla="*/ 447675 w 8601075"/>
                  <a:gd name="connsiteY114" fmla="*/ 638175 h 4333875"/>
                  <a:gd name="connsiteX115" fmla="*/ 447675 w 8601075"/>
                  <a:gd name="connsiteY115" fmla="*/ 638175 h 4333875"/>
                  <a:gd name="connsiteX116" fmla="*/ 295275 w 8601075"/>
                  <a:gd name="connsiteY116" fmla="*/ 657225 h 4333875"/>
                  <a:gd name="connsiteX117" fmla="*/ 180975 w 8601075"/>
                  <a:gd name="connsiteY117" fmla="*/ 638175 h 4333875"/>
                  <a:gd name="connsiteX118" fmla="*/ 180975 w 8601075"/>
                  <a:gd name="connsiteY118" fmla="*/ 638175 h 4333875"/>
                  <a:gd name="connsiteX119" fmla="*/ 57150 w 8601075"/>
                  <a:gd name="connsiteY119" fmla="*/ 733425 h 4333875"/>
                  <a:gd name="connsiteX120" fmla="*/ 19050 w 8601075"/>
                  <a:gd name="connsiteY120" fmla="*/ 790575 h 4333875"/>
                  <a:gd name="connsiteX121" fmla="*/ 0 w 8601075"/>
                  <a:gd name="connsiteY121" fmla="*/ 876300 h 4333875"/>
                  <a:gd name="connsiteX122" fmla="*/ 57150 w 8601075"/>
                  <a:gd name="connsiteY122" fmla="*/ 923925 h 4333875"/>
                  <a:gd name="connsiteX123" fmla="*/ 57150 w 8601075"/>
                  <a:gd name="connsiteY123" fmla="*/ 923925 h 4333875"/>
                  <a:gd name="connsiteX124" fmla="*/ 209550 w 8601075"/>
                  <a:gd name="connsiteY124" fmla="*/ 1114425 h 4333875"/>
                  <a:gd name="connsiteX125" fmla="*/ 209550 w 8601075"/>
                  <a:gd name="connsiteY125" fmla="*/ 1114425 h 4333875"/>
                  <a:gd name="connsiteX126" fmla="*/ 266700 w 8601075"/>
                  <a:gd name="connsiteY126" fmla="*/ 1295400 h 4333875"/>
                  <a:gd name="connsiteX127" fmla="*/ 409575 w 8601075"/>
                  <a:gd name="connsiteY127" fmla="*/ 1276350 h 4333875"/>
                  <a:gd name="connsiteX128" fmla="*/ 466725 w 8601075"/>
                  <a:gd name="connsiteY128" fmla="*/ 1362075 h 4333875"/>
                  <a:gd name="connsiteX129" fmla="*/ 542925 w 8601075"/>
                  <a:gd name="connsiteY129" fmla="*/ 1428750 h 4333875"/>
                  <a:gd name="connsiteX130" fmla="*/ 628650 w 8601075"/>
                  <a:gd name="connsiteY130" fmla="*/ 1571625 h 4333875"/>
                  <a:gd name="connsiteX131" fmla="*/ 628650 w 8601075"/>
                  <a:gd name="connsiteY131" fmla="*/ 1704975 h 4333875"/>
                  <a:gd name="connsiteX132" fmla="*/ 676275 w 8601075"/>
                  <a:gd name="connsiteY132" fmla="*/ 1771650 h 4333875"/>
                  <a:gd name="connsiteX133" fmla="*/ 657225 w 8601075"/>
                  <a:gd name="connsiteY133" fmla="*/ 2000250 h 4333875"/>
                  <a:gd name="connsiteX134" fmla="*/ 619125 w 8601075"/>
                  <a:gd name="connsiteY134" fmla="*/ 2095500 h 4333875"/>
                  <a:gd name="connsiteX135" fmla="*/ 542925 w 8601075"/>
                  <a:gd name="connsiteY135" fmla="*/ 2228850 h 4333875"/>
                  <a:gd name="connsiteX136" fmla="*/ 485775 w 8601075"/>
                  <a:gd name="connsiteY136" fmla="*/ 2362200 h 4333875"/>
                  <a:gd name="connsiteX137" fmla="*/ 552450 w 8601075"/>
                  <a:gd name="connsiteY137" fmla="*/ 2486025 h 4333875"/>
                  <a:gd name="connsiteX138" fmla="*/ 771525 w 8601075"/>
                  <a:gd name="connsiteY138" fmla="*/ 2571750 h 4333875"/>
                  <a:gd name="connsiteX139" fmla="*/ 866775 w 8601075"/>
                  <a:gd name="connsiteY139" fmla="*/ 2571750 h 4333875"/>
                  <a:gd name="connsiteX140" fmla="*/ 914400 w 8601075"/>
                  <a:gd name="connsiteY140" fmla="*/ 2638425 h 4333875"/>
                  <a:gd name="connsiteX141" fmla="*/ 1066800 w 8601075"/>
                  <a:gd name="connsiteY141" fmla="*/ 2638425 h 4333875"/>
                  <a:gd name="connsiteX142" fmla="*/ 1285875 w 8601075"/>
                  <a:gd name="connsiteY142" fmla="*/ 2705100 h 4333875"/>
                  <a:gd name="connsiteX143" fmla="*/ 1438275 w 8601075"/>
                  <a:gd name="connsiteY143" fmla="*/ 2838450 h 4333875"/>
                  <a:gd name="connsiteX144" fmla="*/ 1485900 w 8601075"/>
                  <a:gd name="connsiteY144" fmla="*/ 2914650 h 4333875"/>
                  <a:gd name="connsiteX145" fmla="*/ 1657350 w 8601075"/>
                  <a:gd name="connsiteY145" fmla="*/ 3038475 h 4333875"/>
                  <a:gd name="connsiteX146" fmla="*/ 1752600 w 8601075"/>
                  <a:gd name="connsiteY146" fmla="*/ 3057525 h 4333875"/>
                  <a:gd name="connsiteX147" fmla="*/ 1724025 w 8601075"/>
                  <a:gd name="connsiteY147" fmla="*/ 3143250 h 4333875"/>
                  <a:gd name="connsiteX148" fmla="*/ 1724025 w 8601075"/>
                  <a:gd name="connsiteY148" fmla="*/ 3143250 h 4333875"/>
                  <a:gd name="connsiteX149" fmla="*/ 1781175 w 8601075"/>
                  <a:gd name="connsiteY149" fmla="*/ 3181350 h 4333875"/>
                  <a:gd name="connsiteX150" fmla="*/ 1819275 w 8601075"/>
                  <a:gd name="connsiteY150" fmla="*/ 3362325 h 4333875"/>
                  <a:gd name="connsiteX151" fmla="*/ 1828800 w 8601075"/>
                  <a:gd name="connsiteY151" fmla="*/ 3457575 h 4333875"/>
                  <a:gd name="connsiteX152" fmla="*/ 1971675 w 8601075"/>
                  <a:gd name="connsiteY152" fmla="*/ 3590925 h 4333875"/>
                  <a:gd name="connsiteX153" fmla="*/ 1990725 w 8601075"/>
                  <a:gd name="connsiteY153" fmla="*/ 3714750 h 4333875"/>
                  <a:gd name="connsiteX154" fmla="*/ 2200275 w 8601075"/>
                  <a:gd name="connsiteY154" fmla="*/ 3695700 h 4333875"/>
                  <a:gd name="connsiteX155" fmla="*/ 2886075 w 8601075"/>
                  <a:gd name="connsiteY155" fmla="*/ 3886200 h 4333875"/>
                  <a:gd name="connsiteX156" fmla="*/ 3038475 w 8601075"/>
                  <a:gd name="connsiteY156" fmla="*/ 3819525 h 4333875"/>
                  <a:gd name="connsiteX157" fmla="*/ 3105150 w 8601075"/>
                  <a:gd name="connsiteY157" fmla="*/ 3867150 h 4333875"/>
                  <a:gd name="connsiteX158" fmla="*/ 3181350 w 8601075"/>
                  <a:gd name="connsiteY158" fmla="*/ 3800475 h 4333875"/>
                  <a:gd name="connsiteX159" fmla="*/ 3590925 w 8601075"/>
                  <a:gd name="connsiteY159" fmla="*/ 3943350 h 4333875"/>
                  <a:gd name="connsiteX160" fmla="*/ 3686175 w 8601075"/>
                  <a:gd name="connsiteY160" fmla="*/ 4057650 h 4333875"/>
                  <a:gd name="connsiteX161" fmla="*/ 3838575 w 8601075"/>
                  <a:gd name="connsiteY161" fmla="*/ 4057650 h 4333875"/>
                  <a:gd name="connsiteX162" fmla="*/ 4162425 w 8601075"/>
                  <a:gd name="connsiteY162" fmla="*/ 4248150 h 4333875"/>
                  <a:gd name="connsiteX163" fmla="*/ 4391025 w 8601075"/>
                  <a:gd name="connsiteY163" fmla="*/ 4200525 h 4333875"/>
                  <a:gd name="connsiteX164" fmla="*/ 4410075 w 8601075"/>
                  <a:gd name="connsiteY164" fmla="*/ 4305300 h 4333875"/>
                  <a:gd name="connsiteX165" fmla="*/ 4505325 w 8601075"/>
                  <a:gd name="connsiteY165" fmla="*/ 4276725 h 4333875"/>
                  <a:gd name="connsiteX166" fmla="*/ 4572000 w 8601075"/>
                  <a:gd name="connsiteY166" fmla="*/ 4333875 h 4333875"/>
                  <a:gd name="connsiteX167" fmla="*/ 4591050 w 8601075"/>
                  <a:gd name="connsiteY167" fmla="*/ 4248150 h 4333875"/>
                  <a:gd name="connsiteX168" fmla="*/ 5295900 w 8601075"/>
                  <a:gd name="connsiteY168" fmla="*/ 3924300 h 4333875"/>
                  <a:gd name="connsiteX169" fmla="*/ 5353050 w 8601075"/>
                  <a:gd name="connsiteY169" fmla="*/ 3990975 h 4333875"/>
                  <a:gd name="connsiteX170" fmla="*/ 5524500 w 8601075"/>
                  <a:gd name="connsiteY170" fmla="*/ 3914775 h 4333875"/>
                  <a:gd name="connsiteX171" fmla="*/ 5667375 w 8601075"/>
                  <a:gd name="connsiteY171" fmla="*/ 3962400 h 4333875"/>
                  <a:gd name="connsiteX172" fmla="*/ 5753100 w 8601075"/>
                  <a:gd name="connsiteY172" fmla="*/ 3924300 h 4333875"/>
                  <a:gd name="connsiteX173" fmla="*/ 5905500 w 8601075"/>
                  <a:gd name="connsiteY173" fmla="*/ 3943350 h 4333875"/>
                  <a:gd name="connsiteX174" fmla="*/ 6000750 w 8601075"/>
                  <a:gd name="connsiteY174" fmla="*/ 3800475 h 4333875"/>
                  <a:gd name="connsiteX175" fmla="*/ 6153150 w 8601075"/>
                  <a:gd name="connsiteY175" fmla="*/ 3781425 h 4333875"/>
                  <a:gd name="connsiteX176" fmla="*/ 6257925 w 8601075"/>
                  <a:gd name="connsiteY176" fmla="*/ 3581400 h 4333875"/>
                  <a:gd name="connsiteX177" fmla="*/ 6448425 w 8601075"/>
                  <a:gd name="connsiteY177" fmla="*/ 3448050 h 4333875"/>
                  <a:gd name="connsiteX178" fmla="*/ 6581775 w 8601075"/>
                  <a:gd name="connsiteY178" fmla="*/ 3276600 h 4333875"/>
                  <a:gd name="connsiteX179" fmla="*/ 6496050 w 8601075"/>
                  <a:gd name="connsiteY179" fmla="*/ 3228975 h 4333875"/>
                  <a:gd name="connsiteX180" fmla="*/ 6438900 w 8601075"/>
                  <a:gd name="connsiteY180" fmla="*/ 3162300 h 4333875"/>
                  <a:gd name="connsiteX181" fmla="*/ 6419850 w 8601075"/>
                  <a:gd name="connsiteY181" fmla="*/ 3105150 h 4333875"/>
                  <a:gd name="connsiteX182" fmla="*/ 6362700 w 8601075"/>
                  <a:gd name="connsiteY182" fmla="*/ 3076575 h 4333875"/>
                  <a:gd name="connsiteX183" fmla="*/ 6410325 w 8601075"/>
                  <a:gd name="connsiteY183" fmla="*/ 3019425 h 4333875"/>
                  <a:gd name="connsiteX184" fmla="*/ 6438900 w 8601075"/>
                  <a:gd name="connsiteY184" fmla="*/ 2819400 h 4333875"/>
                  <a:gd name="connsiteX185" fmla="*/ 6496050 w 8601075"/>
                  <a:gd name="connsiteY185" fmla="*/ 2762250 h 4333875"/>
                  <a:gd name="connsiteX186" fmla="*/ 6657975 w 8601075"/>
                  <a:gd name="connsiteY186" fmla="*/ 2752725 h 4333875"/>
                  <a:gd name="connsiteX187" fmla="*/ 6781800 w 8601075"/>
                  <a:gd name="connsiteY187" fmla="*/ 2838450 h 4333875"/>
                  <a:gd name="connsiteX188" fmla="*/ 7010400 w 8601075"/>
                  <a:gd name="connsiteY188" fmla="*/ 2838450 h 4333875"/>
                  <a:gd name="connsiteX189" fmla="*/ 7162800 w 8601075"/>
                  <a:gd name="connsiteY189" fmla="*/ 2705100 h 4333875"/>
                  <a:gd name="connsiteX190" fmla="*/ 7229475 w 8601075"/>
                  <a:gd name="connsiteY190" fmla="*/ 2590800 h 4333875"/>
                  <a:gd name="connsiteX191" fmla="*/ 7248525 w 8601075"/>
                  <a:gd name="connsiteY191" fmla="*/ 2524125 h 4333875"/>
                  <a:gd name="connsiteX192" fmla="*/ 7372350 w 8601075"/>
                  <a:gd name="connsiteY192" fmla="*/ 2543175 h 4333875"/>
                  <a:gd name="connsiteX193" fmla="*/ 7553325 w 8601075"/>
                  <a:gd name="connsiteY193" fmla="*/ 2447925 h 4333875"/>
                  <a:gd name="connsiteX194" fmla="*/ 7620000 w 8601075"/>
                  <a:gd name="connsiteY194" fmla="*/ 2324100 h 4333875"/>
                  <a:gd name="connsiteX195" fmla="*/ 7696200 w 8601075"/>
                  <a:gd name="connsiteY195" fmla="*/ 2314575 h 4333875"/>
                  <a:gd name="connsiteX196" fmla="*/ 7658100 w 8601075"/>
                  <a:gd name="connsiteY196" fmla="*/ 2257425 h 4333875"/>
                  <a:gd name="connsiteX197" fmla="*/ 7753350 w 8601075"/>
                  <a:gd name="connsiteY197" fmla="*/ 2057400 h 4333875"/>
                  <a:gd name="connsiteX198" fmla="*/ 7934325 w 8601075"/>
                  <a:gd name="connsiteY198" fmla="*/ 2028825 h 4333875"/>
                  <a:gd name="connsiteX199" fmla="*/ 7953375 w 8601075"/>
                  <a:gd name="connsiteY199" fmla="*/ 1952625 h 4333875"/>
                  <a:gd name="connsiteX200" fmla="*/ 7953375 w 8601075"/>
                  <a:gd name="connsiteY200" fmla="*/ 1952625 h 4333875"/>
                  <a:gd name="connsiteX201" fmla="*/ 8010525 w 8601075"/>
                  <a:gd name="connsiteY201" fmla="*/ 1895475 h 4333875"/>
                  <a:gd name="connsiteX202" fmla="*/ 8048625 w 8601075"/>
                  <a:gd name="connsiteY202" fmla="*/ 1971675 h 4333875"/>
                  <a:gd name="connsiteX203" fmla="*/ 8077200 w 8601075"/>
                  <a:gd name="connsiteY203" fmla="*/ 1885950 h 4333875"/>
                  <a:gd name="connsiteX204" fmla="*/ 8220075 w 8601075"/>
                  <a:gd name="connsiteY204" fmla="*/ 1847850 h 4333875"/>
                  <a:gd name="connsiteX205" fmla="*/ 8296275 w 8601075"/>
                  <a:gd name="connsiteY205" fmla="*/ 1809750 h 4333875"/>
                  <a:gd name="connsiteX206" fmla="*/ 8324850 w 8601075"/>
                  <a:gd name="connsiteY206" fmla="*/ 1790700 h 4333875"/>
                  <a:gd name="connsiteX207" fmla="*/ 8410575 w 8601075"/>
                  <a:gd name="connsiteY207" fmla="*/ 1847850 h 4333875"/>
                  <a:gd name="connsiteX208" fmla="*/ 8505825 w 8601075"/>
                  <a:gd name="connsiteY208" fmla="*/ 1781175 h 4333875"/>
                  <a:gd name="connsiteX209" fmla="*/ 8572500 w 8601075"/>
                  <a:gd name="connsiteY209" fmla="*/ 1809750 h 4333875"/>
                  <a:gd name="connsiteX210" fmla="*/ 8601075 w 8601075"/>
                  <a:gd name="connsiteY210" fmla="*/ 1704975 h 4333875"/>
                  <a:gd name="connsiteX211" fmla="*/ 8553450 w 8601075"/>
                  <a:gd name="connsiteY211" fmla="*/ 1676400 h 4333875"/>
                  <a:gd name="connsiteX212" fmla="*/ 8534400 w 8601075"/>
                  <a:gd name="connsiteY212" fmla="*/ 1609725 h 4333875"/>
                  <a:gd name="connsiteX213" fmla="*/ 8277225 w 8601075"/>
                  <a:gd name="connsiteY213" fmla="*/ 1409700 h 4333875"/>
                  <a:gd name="connsiteX214" fmla="*/ 8277225 w 8601075"/>
                  <a:gd name="connsiteY214" fmla="*/ 1409700 h 4333875"/>
                  <a:gd name="connsiteX215" fmla="*/ 8277225 w 8601075"/>
                  <a:gd name="connsiteY215" fmla="*/ 1409700 h 4333875"/>
                  <a:gd name="connsiteX216" fmla="*/ 8124825 w 8601075"/>
                  <a:gd name="connsiteY216" fmla="*/ 1352550 h 4333875"/>
                  <a:gd name="connsiteX217" fmla="*/ 7924800 w 8601075"/>
                  <a:gd name="connsiteY217" fmla="*/ 1362075 h 4333875"/>
                  <a:gd name="connsiteX218" fmla="*/ 7867650 w 8601075"/>
                  <a:gd name="connsiteY218" fmla="*/ 1457325 h 4333875"/>
                  <a:gd name="connsiteX219" fmla="*/ 7896225 w 8601075"/>
                  <a:gd name="connsiteY219" fmla="*/ 1476375 h 4333875"/>
                  <a:gd name="connsiteX220" fmla="*/ 7858125 w 8601075"/>
                  <a:gd name="connsiteY220" fmla="*/ 1533525 h 4333875"/>
                  <a:gd name="connsiteX221" fmla="*/ 7658100 w 8601075"/>
                  <a:gd name="connsiteY221" fmla="*/ 1447800 h 4333875"/>
                  <a:gd name="connsiteX222" fmla="*/ 7515225 w 8601075"/>
                  <a:gd name="connsiteY222" fmla="*/ 1495425 h 4333875"/>
                  <a:gd name="connsiteX223" fmla="*/ 7467600 w 8601075"/>
                  <a:gd name="connsiteY223" fmla="*/ 1581150 h 4333875"/>
                  <a:gd name="connsiteX224" fmla="*/ 7296150 w 8601075"/>
                  <a:gd name="connsiteY22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28675 w 8601075"/>
                  <a:gd name="connsiteY110" fmla="*/ 447675 h 4333875"/>
                  <a:gd name="connsiteX111" fmla="*/ 619125 w 8601075"/>
                  <a:gd name="connsiteY111" fmla="*/ 533400 h 4333875"/>
                  <a:gd name="connsiteX112" fmla="*/ 619125 w 8601075"/>
                  <a:gd name="connsiteY112" fmla="*/ 533400 h 4333875"/>
                  <a:gd name="connsiteX113" fmla="*/ 561975 w 8601075"/>
                  <a:gd name="connsiteY113" fmla="*/ 619125 h 4333875"/>
                  <a:gd name="connsiteX114" fmla="*/ 447675 w 8601075"/>
                  <a:gd name="connsiteY114" fmla="*/ 63817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295275 w 8601075"/>
                  <a:gd name="connsiteY117" fmla="*/ 657225 h 4333875"/>
                  <a:gd name="connsiteX118" fmla="*/ 180975 w 8601075"/>
                  <a:gd name="connsiteY118" fmla="*/ 638175 h 4333875"/>
                  <a:gd name="connsiteX119" fmla="*/ 180975 w 8601075"/>
                  <a:gd name="connsiteY119" fmla="*/ 638175 h 4333875"/>
                  <a:gd name="connsiteX120" fmla="*/ 57150 w 8601075"/>
                  <a:gd name="connsiteY120" fmla="*/ 733425 h 4333875"/>
                  <a:gd name="connsiteX121" fmla="*/ 19050 w 8601075"/>
                  <a:gd name="connsiteY121" fmla="*/ 790575 h 4333875"/>
                  <a:gd name="connsiteX122" fmla="*/ 0 w 8601075"/>
                  <a:gd name="connsiteY122" fmla="*/ 876300 h 4333875"/>
                  <a:gd name="connsiteX123" fmla="*/ 57150 w 8601075"/>
                  <a:gd name="connsiteY123" fmla="*/ 923925 h 4333875"/>
                  <a:gd name="connsiteX124" fmla="*/ 57150 w 8601075"/>
                  <a:gd name="connsiteY124" fmla="*/ 923925 h 4333875"/>
                  <a:gd name="connsiteX125" fmla="*/ 209550 w 8601075"/>
                  <a:gd name="connsiteY125" fmla="*/ 1114425 h 4333875"/>
                  <a:gd name="connsiteX126" fmla="*/ 209550 w 8601075"/>
                  <a:gd name="connsiteY126" fmla="*/ 1114425 h 4333875"/>
                  <a:gd name="connsiteX127" fmla="*/ 266700 w 8601075"/>
                  <a:gd name="connsiteY127" fmla="*/ 1295400 h 4333875"/>
                  <a:gd name="connsiteX128" fmla="*/ 409575 w 8601075"/>
                  <a:gd name="connsiteY128" fmla="*/ 1276350 h 4333875"/>
                  <a:gd name="connsiteX129" fmla="*/ 466725 w 8601075"/>
                  <a:gd name="connsiteY129" fmla="*/ 1362075 h 4333875"/>
                  <a:gd name="connsiteX130" fmla="*/ 542925 w 8601075"/>
                  <a:gd name="connsiteY130" fmla="*/ 1428750 h 4333875"/>
                  <a:gd name="connsiteX131" fmla="*/ 628650 w 8601075"/>
                  <a:gd name="connsiteY131" fmla="*/ 1571625 h 4333875"/>
                  <a:gd name="connsiteX132" fmla="*/ 628650 w 8601075"/>
                  <a:gd name="connsiteY132" fmla="*/ 1704975 h 4333875"/>
                  <a:gd name="connsiteX133" fmla="*/ 676275 w 8601075"/>
                  <a:gd name="connsiteY133" fmla="*/ 1771650 h 4333875"/>
                  <a:gd name="connsiteX134" fmla="*/ 657225 w 8601075"/>
                  <a:gd name="connsiteY134" fmla="*/ 2000250 h 4333875"/>
                  <a:gd name="connsiteX135" fmla="*/ 619125 w 8601075"/>
                  <a:gd name="connsiteY135" fmla="*/ 2095500 h 4333875"/>
                  <a:gd name="connsiteX136" fmla="*/ 542925 w 8601075"/>
                  <a:gd name="connsiteY136" fmla="*/ 2228850 h 4333875"/>
                  <a:gd name="connsiteX137" fmla="*/ 485775 w 8601075"/>
                  <a:gd name="connsiteY137" fmla="*/ 2362200 h 4333875"/>
                  <a:gd name="connsiteX138" fmla="*/ 552450 w 8601075"/>
                  <a:gd name="connsiteY138" fmla="*/ 2486025 h 4333875"/>
                  <a:gd name="connsiteX139" fmla="*/ 771525 w 8601075"/>
                  <a:gd name="connsiteY139" fmla="*/ 2571750 h 4333875"/>
                  <a:gd name="connsiteX140" fmla="*/ 866775 w 8601075"/>
                  <a:gd name="connsiteY140" fmla="*/ 2571750 h 4333875"/>
                  <a:gd name="connsiteX141" fmla="*/ 914400 w 8601075"/>
                  <a:gd name="connsiteY141" fmla="*/ 2638425 h 4333875"/>
                  <a:gd name="connsiteX142" fmla="*/ 1066800 w 8601075"/>
                  <a:gd name="connsiteY142" fmla="*/ 2638425 h 4333875"/>
                  <a:gd name="connsiteX143" fmla="*/ 1285875 w 8601075"/>
                  <a:gd name="connsiteY143" fmla="*/ 2705100 h 4333875"/>
                  <a:gd name="connsiteX144" fmla="*/ 1438275 w 8601075"/>
                  <a:gd name="connsiteY144" fmla="*/ 2838450 h 4333875"/>
                  <a:gd name="connsiteX145" fmla="*/ 1485900 w 8601075"/>
                  <a:gd name="connsiteY145" fmla="*/ 2914650 h 4333875"/>
                  <a:gd name="connsiteX146" fmla="*/ 1657350 w 8601075"/>
                  <a:gd name="connsiteY146" fmla="*/ 3038475 h 4333875"/>
                  <a:gd name="connsiteX147" fmla="*/ 1752600 w 8601075"/>
                  <a:gd name="connsiteY147" fmla="*/ 3057525 h 4333875"/>
                  <a:gd name="connsiteX148" fmla="*/ 1724025 w 8601075"/>
                  <a:gd name="connsiteY148" fmla="*/ 3143250 h 4333875"/>
                  <a:gd name="connsiteX149" fmla="*/ 1724025 w 8601075"/>
                  <a:gd name="connsiteY149" fmla="*/ 3143250 h 4333875"/>
                  <a:gd name="connsiteX150" fmla="*/ 1781175 w 8601075"/>
                  <a:gd name="connsiteY150" fmla="*/ 3181350 h 4333875"/>
                  <a:gd name="connsiteX151" fmla="*/ 1819275 w 8601075"/>
                  <a:gd name="connsiteY151" fmla="*/ 3362325 h 4333875"/>
                  <a:gd name="connsiteX152" fmla="*/ 1828800 w 8601075"/>
                  <a:gd name="connsiteY152" fmla="*/ 3457575 h 4333875"/>
                  <a:gd name="connsiteX153" fmla="*/ 1971675 w 8601075"/>
                  <a:gd name="connsiteY153" fmla="*/ 3590925 h 4333875"/>
                  <a:gd name="connsiteX154" fmla="*/ 1990725 w 8601075"/>
                  <a:gd name="connsiteY154" fmla="*/ 3714750 h 4333875"/>
                  <a:gd name="connsiteX155" fmla="*/ 2200275 w 8601075"/>
                  <a:gd name="connsiteY155" fmla="*/ 3695700 h 4333875"/>
                  <a:gd name="connsiteX156" fmla="*/ 2886075 w 8601075"/>
                  <a:gd name="connsiteY156" fmla="*/ 3886200 h 4333875"/>
                  <a:gd name="connsiteX157" fmla="*/ 3038475 w 8601075"/>
                  <a:gd name="connsiteY157" fmla="*/ 3819525 h 4333875"/>
                  <a:gd name="connsiteX158" fmla="*/ 3105150 w 8601075"/>
                  <a:gd name="connsiteY158" fmla="*/ 3867150 h 4333875"/>
                  <a:gd name="connsiteX159" fmla="*/ 3181350 w 8601075"/>
                  <a:gd name="connsiteY159" fmla="*/ 3800475 h 4333875"/>
                  <a:gd name="connsiteX160" fmla="*/ 3590925 w 8601075"/>
                  <a:gd name="connsiteY160" fmla="*/ 3943350 h 4333875"/>
                  <a:gd name="connsiteX161" fmla="*/ 3686175 w 8601075"/>
                  <a:gd name="connsiteY161" fmla="*/ 4057650 h 4333875"/>
                  <a:gd name="connsiteX162" fmla="*/ 3838575 w 8601075"/>
                  <a:gd name="connsiteY162" fmla="*/ 4057650 h 4333875"/>
                  <a:gd name="connsiteX163" fmla="*/ 4162425 w 8601075"/>
                  <a:gd name="connsiteY163" fmla="*/ 4248150 h 4333875"/>
                  <a:gd name="connsiteX164" fmla="*/ 4391025 w 8601075"/>
                  <a:gd name="connsiteY164" fmla="*/ 4200525 h 4333875"/>
                  <a:gd name="connsiteX165" fmla="*/ 4410075 w 8601075"/>
                  <a:gd name="connsiteY165" fmla="*/ 4305300 h 4333875"/>
                  <a:gd name="connsiteX166" fmla="*/ 4505325 w 8601075"/>
                  <a:gd name="connsiteY166" fmla="*/ 4276725 h 4333875"/>
                  <a:gd name="connsiteX167" fmla="*/ 4572000 w 8601075"/>
                  <a:gd name="connsiteY167" fmla="*/ 4333875 h 4333875"/>
                  <a:gd name="connsiteX168" fmla="*/ 4591050 w 8601075"/>
                  <a:gd name="connsiteY168" fmla="*/ 4248150 h 4333875"/>
                  <a:gd name="connsiteX169" fmla="*/ 5295900 w 8601075"/>
                  <a:gd name="connsiteY169" fmla="*/ 3924300 h 4333875"/>
                  <a:gd name="connsiteX170" fmla="*/ 5353050 w 8601075"/>
                  <a:gd name="connsiteY170" fmla="*/ 3990975 h 4333875"/>
                  <a:gd name="connsiteX171" fmla="*/ 5524500 w 8601075"/>
                  <a:gd name="connsiteY171" fmla="*/ 3914775 h 4333875"/>
                  <a:gd name="connsiteX172" fmla="*/ 5667375 w 8601075"/>
                  <a:gd name="connsiteY172" fmla="*/ 3962400 h 4333875"/>
                  <a:gd name="connsiteX173" fmla="*/ 5753100 w 8601075"/>
                  <a:gd name="connsiteY173" fmla="*/ 3924300 h 4333875"/>
                  <a:gd name="connsiteX174" fmla="*/ 5905500 w 8601075"/>
                  <a:gd name="connsiteY174" fmla="*/ 3943350 h 4333875"/>
                  <a:gd name="connsiteX175" fmla="*/ 6000750 w 8601075"/>
                  <a:gd name="connsiteY175" fmla="*/ 3800475 h 4333875"/>
                  <a:gd name="connsiteX176" fmla="*/ 6153150 w 8601075"/>
                  <a:gd name="connsiteY176" fmla="*/ 3781425 h 4333875"/>
                  <a:gd name="connsiteX177" fmla="*/ 6257925 w 8601075"/>
                  <a:gd name="connsiteY177" fmla="*/ 3581400 h 4333875"/>
                  <a:gd name="connsiteX178" fmla="*/ 6448425 w 8601075"/>
                  <a:gd name="connsiteY178" fmla="*/ 3448050 h 4333875"/>
                  <a:gd name="connsiteX179" fmla="*/ 6581775 w 8601075"/>
                  <a:gd name="connsiteY179" fmla="*/ 3276600 h 4333875"/>
                  <a:gd name="connsiteX180" fmla="*/ 6496050 w 8601075"/>
                  <a:gd name="connsiteY180" fmla="*/ 3228975 h 4333875"/>
                  <a:gd name="connsiteX181" fmla="*/ 6438900 w 8601075"/>
                  <a:gd name="connsiteY181" fmla="*/ 3162300 h 4333875"/>
                  <a:gd name="connsiteX182" fmla="*/ 6419850 w 8601075"/>
                  <a:gd name="connsiteY182" fmla="*/ 3105150 h 4333875"/>
                  <a:gd name="connsiteX183" fmla="*/ 6362700 w 8601075"/>
                  <a:gd name="connsiteY183" fmla="*/ 3076575 h 4333875"/>
                  <a:gd name="connsiteX184" fmla="*/ 6410325 w 8601075"/>
                  <a:gd name="connsiteY184" fmla="*/ 3019425 h 4333875"/>
                  <a:gd name="connsiteX185" fmla="*/ 6438900 w 8601075"/>
                  <a:gd name="connsiteY185" fmla="*/ 2819400 h 4333875"/>
                  <a:gd name="connsiteX186" fmla="*/ 6496050 w 8601075"/>
                  <a:gd name="connsiteY186" fmla="*/ 2762250 h 4333875"/>
                  <a:gd name="connsiteX187" fmla="*/ 6657975 w 8601075"/>
                  <a:gd name="connsiteY187" fmla="*/ 2752725 h 4333875"/>
                  <a:gd name="connsiteX188" fmla="*/ 6781800 w 8601075"/>
                  <a:gd name="connsiteY188" fmla="*/ 2838450 h 4333875"/>
                  <a:gd name="connsiteX189" fmla="*/ 7010400 w 8601075"/>
                  <a:gd name="connsiteY189" fmla="*/ 2838450 h 4333875"/>
                  <a:gd name="connsiteX190" fmla="*/ 7162800 w 8601075"/>
                  <a:gd name="connsiteY190" fmla="*/ 2705100 h 4333875"/>
                  <a:gd name="connsiteX191" fmla="*/ 7229475 w 8601075"/>
                  <a:gd name="connsiteY191" fmla="*/ 2590800 h 4333875"/>
                  <a:gd name="connsiteX192" fmla="*/ 7248525 w 8601075"/>
                  <a:gd name="connsiteY192" fmla="*/ 2524125 h 4333875"/>
                  <a:gd name="connsiteX193" fmla="*/ 7372350 w 8601075"/>
                  <a:gd name="connsiteY193" fmla="*/ 2543175 h 4333875"/>
                  <a:gd name="connsiteX194" fmla="*/ 7553325 w 8601075"/>
                  <a:gd name="connsiteY194" fmla="*/ 2447925 h 4333875"/>
                  <a:gd name="connsiteX195" fmla="*/ 7620000 w 8601075"/>
                  <a:gd name="connsiteY195" fmla="*/ 2324100 h 4333875"/>
                  <a:gd name="connsiteX196" fmla="*/ 7696200 w 8601075"/>
                  <a:gd name="connsiteY196" fmla="*/ 2314575 h 4333875"/>
                  <a:gd name="connsiteX197" fmla="*/ 7658100 w 8601075"/>
                  <a:gd name="connsiteY197" fmla="*/ 2257425 h 4333875"/>
                  <a:gd name="connsiteX198" fmla="*/ 7753350 w 8601075"/>
                  <a:gd name="connsiteY198" fmla="*/ 2057400 h 4333875"/>
                  <a:gd name="connsiteX199" fmla="*/ 7934325 w 8601075"/>
                  <a:gd name="connsiteY199" fmla="*/ 2028825 h 4333875"/>
                  <a:gd name="connsiteX200" fmla="*/ 7953375 w 8601075"/>
                  <a:gd name="connsiteY200" fmla="*/ 1952625 h 4333875"/>
                  <a:gd name="connsiteX201" fmla="*/ 7953375 w 8601075"/>
                  <a:gd name="connsiteY201" fmla="*/ 1952625 h 4333875"/>
                  <a:gd name="connsiteX202" fmla="*/ 8010525 w 8601075"/>
                  <a:gd name="connsiteY202" fmla="*/ 1895475 h 4333875"/>
                  <a:gd name="connsiteX203" fmla="*/ 8048625 w 8601075"/>
                  <a:gd name="connsiteY203" fmla="*/ 1971675 h 4333875"/>
                  <a:gd name="connsiteX204" fmla="*/ 8077200 w 8601075"/>
                  <a:gd name="connsiteY204" fmla="*/ 1885950 h 4333875"/>
                  <a:gd name="connsiteX205" fmla="*/ 8220075 w 8601075"/>
                  <a:gd name="connsiteY205" fmla="*/ 1847850 h 4333875"/>
                  <a:gd name="connsiteX206" fmla="*/ 8296275 w 8601075"/>
                  <a:gd name="connsiteY206" fmla="*/ 1809750 h 4333875"/>
                  <a:gd name="connsiteX207" fmla="*/ 8324850 w 8601075"/>
                  <a:gd name="connsiteY207" fmla="*/ 1790700 h 4333875"/>
                  <a:gd name="connsiteX208" fmla="*/ 8410575 w 8601075"/>
                  <a:gd name="connsiteY208" fmla="*/ 1847850 h 4333875"/>
                  <a:gd name="connsiteX209" fmla="*/ 8505825 w 8601075"/>
                  <a:gd name="connsiteY209" fmla="*/ 1781175 h 4333875"/>
                  <a:gd name="connsiteX210" fmla="*/ 8572500 w 8601075"/>
                  <a:gd name="connsiteY210" fmla="*/ 1809750 h 4333875"/>
                  <a:gd name="connsiteX211" fmla="*/ 8601075 w 8601075"/>
                  <a:gd name="connsiteY211" fmla="*/ 1704975 h 4333875"/>
                  <a:gd name="connsiteX212" fmla="*/ 8553450 w 8601075"/>
                  <a:gd name="connsiteY212" fmla="*/ 1676400 h 4333875"/>
                  <a:gd name="connsiteX213" fmla="*/ 8534400 w 8601075"/>
                  <a:gd name="connsiteY213" fmla="*/ 1609725 h 4333875"/>
                  <a:gd name="connsiteX214" fmla="*/ 8277225 w 8601075"/>
                  <a:gd name="connsiteY214" fmla="*/ 1409700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124825 w 8601075"/>
                  <a:gd name="connsiteY217" fmla="*/ 1352550 h 4333875"/>
                  <a:gd name="connsiteX218" fmla="*/ 7924800 w 8601075"/>
                  <a:gd name="connsiteY218" fmla="*/ 1362075 h 4333875"/>
                  <a:gd name="connsiteX219" fmla="*/ 7867650 w 8601075"/>
                  <a:gd name="connsiteY219" fmla="*/ 1457325 h 4333875"/>
                  <a:gd name="connsiteX220" fmla="*/ 7896225 w 8601075"/>
                  <a:gd name="connsiteY220" fmla="*/ 1476375 h 4333875"/>
                  <a:gd name="connsiteX221" fmla="*/ 7858125 w 8601075"/>
                  <a:gd name="connsiteY221" fmla="*/ 1533525 h 4333875"/>
                  <a:gd name="connsiteX222" fmla="*/ 7658100 w 8601075"/>
                  <a:gd name="connsiteY222" fmla="*/ 1447800 h 4333875"/>
                  <a:gd name="connsiteX223" fmla="*/ 7515225 w 8601075"/>
                  <a:gd name="connsiteY223" fmla="*/ 1495425 h 4333875"/>
                  <a:gd name="connsiteX224" fmla="*/ 7467600 w 8601075"/>
                  <a:gd name="connsiteY224" fmla="*/ 1581150 h 4333875"/>
                  <a:gd name="connsiteX225" fmla="*/ 7296150 w 8601075"/>
                  <a:gd name="connsiteY22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1063 w 8601075"/>
                  <a:gd name="connsiteY110" fmla="*/ 457200 h 4333875"/>
                  <a:gd name="connsiteX111" fmla="*/ 828675 w 8601075"/>
                  <a:gd name="connsiteY111" fmla="*/ 447675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1063 w 8601075"/>
                  <a:gd name="connsiteY110" fmla="*/ 457200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19125 w 8601075"/>
                  <a:gd name="connsiteY113" fmla="*/ 53340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676275 w 8601075"/>
                  <a:gd name="connsiteY113" fmla="*/ 514350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19125 w 8601075"/>
                  <a:gd name="connsiteY112" fmla="*/ 533400 h 4333875"/>
                  <a:gd name="connsiteX113" fmla="*/ 571500 w 8601075"/>
                  <a:gd name="connsiteY113" fmla="*/ 545306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673894 w 8601075"/>
                  <a:gd name="connsiteY112" fmla="*/ 523875 h 4333875"/>
                  <a:gd name="connsiteX113" fmla="*/ 571500 w 8601075"/>
                  <a:gd name="connsiteY113" fmla="*/ 545306 h 4333875"/>
                  <a:gd name="connsiteX114" fmla="*/ 561975 w 8601075"/>
                  <a:gd name="connsiteY114" fmla="*/ 619125 h 4333875"/>
                  <a:gd name="connsiteX115" fmla="*/ 447675 w 8601075"/>
                  <a:gd name="connsiteY115" fmla="*/ 63817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295275 w 8601075"/>
                  <a:gd name="connsiteY118" fmla="*/ 657225 h 4333875"/>
                  <a:gd name="connsiteX119" fmla="*/ 180975 w 8601075"/>
                  <a:gd name="connsiteY119" fmla="*/ 638175 h 4333875"/>
                  <a:gd name="connsiteX120" fmla="*/ 180975 w 8601075"/>
                  <a:gd name="connsiteY120" fmla="*/ 638175 h 4333875"/>
                  <a:gd name="connsiteX121" fmla="*/ 57150 w 8601075"/>
                  <a:gd name="connsiteY121" fmla="*/ 733425 h 4333875"/>
                  <a:gd name="connsiteX122" fmla="*/ 19050 w 8601075"/>
                  <a:gd name="connsiteY122" fmla="*/ 790575 h 4333875"/>
                  <a:gd name="connsiteX123" fmla="*/ 0 w 8601075"/>
                  <a:gd name="connsiteY123" fmla="*/ 876300 h 4333875"/>
                  <a:gd name="connsiteX124" fmla="*/ 57150 w 8601075"/>
                  <a:gd name="connsiteY124" fmla="*/ 923925 h 4333875"/>
                  <a:gd name="connsiteX125" fmla="*/ 57150 w 8601075"/>
                  <a:gd name="connsiteY125" fmla="*/ 923925 h 4333875"/>
                  <a:gd name="connsiteX126" fmla="*/ 209550 w 8601075"/>
                  <a:gd name="connsiteY126" fmla="*/ 1114425 h 4333875"/>
                  <a:gd name="connsiteX127" fmla="*/ 209550 w 8601075"/>
                  <a:gd name="connsiteY127" fmla="*/ 1114425 h 4333875"/>
                  <a:gd name="connsiteX128" fmla="*/ 266700 w 8601075"/>
                  <a:gd name="connsiteY128" fmla="*/ 1295400 h 4333875"/>
                  <a:gd name="connsiteX129" fmla="*/ 409575 w 8601075"/>
                  <a:gd name="connsiteY129" fmla="*/ 1276350 h 4333875"/>
                  <a:gd name="connsiteX130" fmla="*/ 466725 w 8601075"/>
                  <a:gd name="connsiteY130" fmla="*/ 1362075 h 4333875"/>
                  <a:gd name="connsiteX131" fmla="*/ 542925 w 8601075"/>
                  <a:gd name="connsiteY131" fmla="*/ 1428750 h 4333875"/>
                  <a:gd name="connsiteX132" fmla="*/ 628650 w 8601075"/>
                  <a:gd name="connsiteY132" fmla="*/ 1571625 h 4333875"/>
                  <a:gd name="connsiteX133" fmla="*/ 628650 w 8601075"/>
                  <a:gd name="connsiteY133" fmla="*/ 1704975 h 4333875"/>
                  <a:gd name="connsiteX134" fmla="*/ 676275 w 8601075"/>
                  <a:gd name="connsiteY134" fmla="*/ 1771650 h 4333875"/>
                  <a:gd name="connsiteX135" fmla="*/ 657225 w 8601075"/>
                  <a:gd name="connsiteY135" fmla="*/ 2000250 h 4333875"/>
                  <a:gd name="connsiteX136" fmla="*/ 619125 w 8601075"/>
                  <a:gd name="connsiteY136" fmla="*/ 2095500 h 4333875"/>
                  <a:gd name="connsiteX137" fmla="*/ 542925 w 8601075"/>
                  <a:gd name="connsiteY137" fmla="*/ 2228850 h 4333875"/>
                  <a:gd name="connsiteX138" fmla="*/ 485775 w 8601075"/>
                  <a:gd name="connsiteY138" fmla="*/ 2362200 h 4333875"/>
                  <a:gd name="connsiteX139" fmla="*/ 552450 w 8601075"/>
                  <a:gd name="connsiteY139" fmla="*/ 2486025 h 4333875"/>
                  <a:gd name="connsiteX140" fmla="*/ 771525 w 8601075"/>
                  <a:gd name="connsiteY140" fmla="*/ 2571750 h 4333875"/>
                  <a:gd name="connsiteX141" fmla="*/ 866775 w 8601075"/>
                  <a:gd name="connsiteY141" fmla="*/ 2571750 h 4333875"/>
                  <a:gd name="connsiteX142" fmla="*/ 914400 w 8601075"/>
                  <a:gd name="connsiteY142" fmla="*/ 2638425 h 4333875"/>
                  <a:gd name="connsiteX143" fmla="*/ 1066800 w 8601075"/>
                  <a:gd name="connsiteY143" fmla="*/ 2638425 h 4333875"/>
                  <a:gd name="connsiteX144" fmla="*/ 1285875 w 8601075"/>
                  <a:gd name="connsiteY144" fmla="*/ 2705100 h 4333875"/>
                  <a:gd name="connsiteX145" fmla="*/ 1438275 w 8601075"/>
                  <a:gd name="connsiteY145" fmla="*/ 2838450 h 4333875"/>
                  <a:gd name="connsiteX146" fmla="*/ 1485900 w 8601075"/>
                  <a:gd name="connsiteY146" fmla="*/ 2914650 h 4333875"/>
                  <a:gd name="connsiteX147" fmla="*/ 1657350 w 8601075"/>
                  <a:gd name="connsiteY147" fmla="*/ 3038475 h 4333875"/>
                  <a:gd name="connsiteX148" fmla="*/ 1752600 w 8601075"/>
                  <a:gd name="connsiteY148" fmla="*/ 3057525 h 4333875"/>
                  <a:gd name="connsiteX149" fmla="*/ 1724025 w 8601075"/>
                  <a:gd name="connsiteY149" fmla="*/ 3143250 h 4333875"/>
                  <a:gd name="connsiteX150" fmla="*/ 1724025 w 8601075"/>
                  <a:gd name="connsiteY150" fmla="*/ 3143250 h 4333875"/>
                  <a:gd name="connsiteX151" fmla="*/ 1781175 w 8601075"/>
                  <a:gd name="connsiteY151" fmla="*/ 3181350 h 4333875"/>
                  <a:gd name="connsiteX152" fmla="*/ 1819275 w 8601075"/>
                  <a:gd name="connsiteY152" fmla="*/ 3362325 h 4333875"/>
                  <a:gd name="connsiteX153" fmla="*/ 1828800 w 8601075"/>
                  <a:gd name="connsiteY153" fmla="*/ 3457575 h 4333875"/>
                  <a:gd name="connsiteX154" fmla="*/ 1971675 w 8601075"/>
                  <a:gd name="connsiteY154" fmla="*/ 3590925 h 4333875"/>
                  <a:gd name="connsiteX155" fmla="*/ 1990725 w 8601075"/>
                  <a:gd name="connsiteY155" fmla="*/ 3714750 h 4333875"/>
                  <a:gd name="connsiteX156" fmla="*/ 2200275 w 8601075"/>
                  <a:gd name="connsiteY156" fmla="*/ 3695700 h 4333875"/>
                  <a:gd name="connsiteX157" fmla="*/ 2886075 w 8601075"/>
                  <a:gd name="connsiteY157" fmla="*/ 3886200 h 4333875"/>
                  <a:gd name="connsiteX158" fmla="*/ 3038475 w 8601075"/>
                  <a:gd name="connsiteY158" fmla="*/ 3819525 h 4333875"/>
                  <a:gd name="connsiteX159" fmla="*/ 3105150 w 8601075"/>
                  <a:gd name="connsiteY159" fmla="*/ 3867150 h 4333875"/>
                  <a:gd name="connsiteX160" fmla="*/ 3181350 w 8601075"/>
                  <a:gd name="connsiteY160" fmla="*/ 3800475 h 4333875"/>
                  <a:gd name="connsiteX161" fmla="*/ 3590925 w 8601075"/>
                  <a:gd name="connsiteY161" fmla="*/ 3943350 h 4333875"/>
                  <a:gd name="connsiteX162" fmla="*/ 3686175 w 8601075"/>
                  <a:gd name="connsiteY162" fmla="*/ 4057650 h 4333875"/>
                  <a:gd name="connsiteX163" fmla="*/ 3838575 w 8601075"/>
                  <a:gd name="connsiteY163" fmla="*/ 4057650 h 4333875"/>
                  <a:gd name="connsiteX164" fmla="*/ 4162425 w 8601075"/>
                  <a:gd name="connsiteY164" fmla="*/ 4248150 h 4333875"/>
                  <a:gd name="connsiteX165" fmla="*/ 4391025 w 8601075"/>
                  <a:gd name="connsiteY165" fmla="*/ 4200525 h 4333875"/>
                  <a:gd name="connsiteX166" fmla="*/ 4410075 w 8601075"/>
                  <a:gd name="connsiteY166" fmla="*/ 4305300 h 4333875"/>
                  <a:gd name="connsiteX167" fmla="*/ 4505325 w 8601075"/>
                  <a:gd name="connsiteY167" fmla="*/ 4276725 h 4333875"/>
                  <a:gd name="connsiteX168" fmla="*/ 4572000 w 8601075"/>
                  <a:gd name="connsiteY168" fmla="*/ 4333875 h 4333875"/>
                  <a:gd name="connsiteX169" fmla="*/ 4591050 w 8601075"/>
                  <a:gd name="connsiteY169" fmla="*/ 4248150 h 4333875"/>
                  <a:gd name="connsiteX170" fmla="*/ 5295900 w 8601075"/>
                  <a:gd name="connsiteY170" fmla="*/ 3924300 h 4333875"/>
                  <a:gd name="connsiteX171" fmla="*/ 5353050 w 8601075"/>
                  <a:gd name="connsiteY171" fmla="*/ 3990975 h 4333875"/>
                  <a:gd name="connsiteX172" fmla="*/ 5524500 w 8601075"/>
                  <a:gd name="connsiteY172" fmla="*/ 3914775 h 4333875"/>
                  <a:gd name="connsiteX173" fmla="*/ 5667375 w 8601075"/>
                  <a:gd name="connsiteY173" fmla="*/ 3962400 h 4333875"/>
                  <a:gd name="connsiteX174" fmla="*/ 5753100 w 8601075"/>
                  <a:gd name="connsiteY174" fmla="*/ 3924300 h 4333875"/>
                  <a:gd name="connsiteX175" fmla="*/ 5905500 w 8601075"/>
                  <a:gd name="connsiteY175" fmla="*/ 3943350 h 4333875"/>
                  <a:gd name="connsiteX176" fmla="*/ 6000750 w 8601075"/>
                  <a:gd name="connsiteY176" fmla="*/ 3800475 h 4333875"/>
                  <a:gd name="connsiteX177" fmla="*/ 6153150 w 8601075"/>
                  <a:gd name="connsiteY177" fmla="*/ 3781425 h 4333875"/>
                  <a:gd name="connsiteX178" fmla="*/ 6257925 w 8601075"/>
                  <a:gd name="connsiteY178" fmla="*/ 3581400 h 4333875"/>
                  <a:gd name="connsiteX179" fmla="*/ 6448425 w 8601075"/>
                  <a:gd name="connsiteY179" fmla="*/ 3448050 h 4333875"/>
                  <a:gd name="connsiteX180" fmla="*/ 6581775 w 8601075"/>
                  <a:gd name="connsiteY180" fmla="*/ 3276600 h 4333875"/>
                  <a:gd name="connsiteX181" fmla="*/ 6496050 w 8601075"/>
                  <a:gd name="connsiteY181" fmla="*/ 3228975 h 4333875"/>
                  <a:gd name="connsiteX182" fmla="*/ 6438900 w 8601075"/>
                  <a:gd name="connsiteY182" fmla="*/ 3162300 h 4333875"/>
                  <a:gd name="connsiteX183" fmla="*/ 6419850 w 8601075"/>
                  <a:gd name="connsiteY183" fmla="*/ 3105150 h 4333875"/>
                  <a:gd name="connsiteX184" fmla="*/ 6362700 w 8601075"/>
                  <a:gd name="connsiteY184" fmla="*/ 3076575 h 4333875"/>
                  <a:gd name="connsiteX185" fmla="*/ 6410325 w 8601075"/>
                  <a:gd name="connsiteY185" fmla="*/ 3019425 h 4333875"/>
                  <a:gd name="connsiteX186" fmla="*/ 6438900 w 8601075"/>
                  <a:gd name="connsiteY186" fmla="*/ 2819400 h 4333875"/>
                  <a:gd name="connsiteX187" fmla="*/ 6496050 w 8601075"/>
                  <a:gd name="connsiteY187" fmla="*/ 2762250 h 4333875"/>
                  <a:gd name="connsiteX188" fmla="*/ 6657975 w 8601075"/>
                  <a:gd name="connsiteY188" fmla="*/ 2752725 h 4333875"/>
                  <a:gd name="connsiteX189" fmla="*/ 6781800 w 8601075"/>
                  <a:gd name="connsiteY189" fmla="*/ 2838450 h 4333875"/>
                  <a:gd name="connsiteX190" fmla="*/ 7010400 w 8601075"/>
                  <a:gd name="connsiteY190" fmla="*/ 2838450 h 4333875"/>
                  <a:gd name="connsiteX191" fmla="*/ 7162800 w 8601075"/>
                  <a:gd name="connsiteY191" fmla="*/ 2705100 h 4333875"/>
                  <a:gd name="connsiteX192" fmla="*/ 7229475 w 8601075"/>
                  <a:gd name="connsiteY192" fmla="*/ 2590800 h 4333875"/>
                  <a:gd name="connsiteX193" fmla="*/ 7248525 w 8601075"/>
                  <a:gd name="connsiteY193" fmla="*/ 2524125 h 4333875"/>
                  <a:gd name="connsiteX194" fmla="*/ 7372350 w 8601075"/>
                  <a:gd name="connsiteY194" fmla="*/ 2543175 h 4333875"/>
                  <a:gd name="connsiteX195" fmla="*/ 7553325 w 8601075"/>
                  <a:gd name="connsiteY195" fmla="*/ 2447925 h 4333875"/>
                  <a:gd name="connsiteX196" fmla="*/ 7620000 w 8601075"/>
                  <a:gd name="connsiteY196" fmla="*/ 2324100 h 4333875"/>
                  <a:gd name="connsiteX197" fmla="*/ 7696200 w 8601075"/>
                  <a:gd name="connsiteY197" fmla="*/ 2314575 h 4333875"/>
                  <a:gd name="connsiteX198" fmla="*/ 7658100 w 8601075"/>
                  <a:gd name="connsiteY198" fmla="*/ 2257425 h 4333875"/>
                  <a:gd name="connsiteX199" fmla="*/ 7753350 w 8601075"/>
                  <a:gd name="connsiteY199" fmla="*/ 2057400 h 4333875"/>
                  <a:gd name="connsiteX200" fmla="*/ 7934325 w 8601075"/>
                  <a:gd name="connsiteY200" fmla="*/ 2028825 h 4333875"/>
                  <a:gd name="connsiteX201" fmla="*/ 7953375 w 8601075"/>
                  <a:gd name="connsiteY201" fmla="*/ 1952625 h 4333875"/>
                  <a:gd name="connsiteX202" fmla="*/ 7953375 w 8601075"/>
                  <a:gd name="connsiteY202" fmla="*/ 1952625 h 4333875"/>
                  <a:gd name="connsiteX203" fmla="*/ 8010525 w 8601075"/>
                  <a:gd name="connsiteY203" fmla="*/ 1895475 h 4333875"/>
                  <a:gd name="connsiteX204" fmla="*/ 8048625 w 8601075"/>
                  <a:gd name="connsiteY204" fmla="*/ 1971675 h 4333875"/>
                  <a:gd name="connsiteX205" fmla="*/ 8077200 w 8601075"/>
                  <a:gd name="connsiteY205" fmla="*/ 1885950 h 4333875"/>
                  <a:gd name="connsiteX206" fmla="*/ 8220075 w 8601075"/>
                  <a:gd name="connsiteY206" fmla="*/ 1847850 h 4333875"/>
                  <a:gd name="connsiteX207" fmla="*/ 8296275 w 8601075"/>
                  <a:gd name="connsiteY207" fmla="*/ 1809750 h 4333875"/>
                  <a:gd name="connsiteX208" fmla="*/ 8324850 w 8601075"/>
                  <a:gd name="connsiteY208" fmla="*/ 1790700 h 4333875"/>
                  <a:gd name="connsiteX209" fmla="*/ 8410575 w 8601075"/>
                  <a:gd name="connsiteY209" fmla="*/ 1847850 h 4333875"/>
                  <a:gd name="connsiteX210" fmla="*/ 8505825 w 8601075"/>
                  <a:gd name="connsiteY210" fmla="*/ 1781175 h 4333875"/>
                  <a:gd name="connsiteX211" fmla="*/ 8572500 w 8601075"/>
                  <a:gd name="connsiteY211" fmla="*/ 1809750 h 4333875"/>
                  <a:gd name="connsiteX212" fmla="*/ 8601075 w 8601075"/>
                  <a:gd name="connsiteY212" fmla="*/ 1704975 h 4333875"/>
                  <a:gd name="connsiteX213" fmla="*/ 8553450 w 8601075"/>
                  <a:gd name="connsiteY213" fmla="*/ 1676400 h 4333875"/>
                  <a:gd name="connsiteX214" fmla="*/ 8534400 w 8601075"/>
                  <a:gd name="connsiteY214" fmla="*/ 1609725 h 4333875"/>
                  <a:gd name="connsiteX215" fmla="*/ 8277225 w 8601075"/>
                  <a:gd name="connsiteY215" fmla="*/ 1409700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124825 w 8601075"/>
                  <a:gd name="connsiteY218" fmla="*/ 1352550 h 4333875"/>
                  <a:gd name="connsiteX219" fmla="*/ 7924800 w 8601075"/>
                  <a:gd name="connsiteY219" fmla="*/ 1362075 h 4333875"/>
                  <a:gd name="connsiteX220" fmla="*/ 7867650 w 8601075"/>
                  <a:gd name="connsiteY220" fmla="*/ 1457325 h 4333875"/>
                  <a:gd name="connsiteX221" fmla="*/ 7896225 w 8601075"/>
                  <a:gd name="connsiteY221" fmla="*/ 1476375 h 4333875"/>
                  <a:gd name="connsiteX222" fmla="*/ 7858125 w 8601075"/>
                  <a:gd name="connsiteY222" fmla="*/ 1533525 h 4333875"/>
                  <a:gd name="connsiteX223" fmla="*/ 7658100 w 8601075"/>
                  <a:gd name="connsiteY223" fmla="*/ 1447800 h 4333875"/>
                  <a:gd name="connsiteX224" fmla="*/ 7515225 w 8601075"/>
                  <a:gd name="connsiteY224" fmla="*/ 1495425 h 4333875"/>
                  <a:gd name="connsiteX225" fmla="*/ 7467600 w 8601075"/>
                  <a:gd name="connsiteY225" fmla="*/ 1581150 h 4333875"/>
                  <a:gd name="connsiteX226" fmla="*/ 7296150 w 8601075"/>
                  <a:gd name="connsiteY22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673894 w 8601075"/>
                  <a:gd name="connsiteY113" fmla="*/ 523875 h 4333875"/>
                  <a:gd name="connsiteX114" fmla="*/ 571500 w 8601075"/>
                  <a:gd name="connsiteY114" fmla="*/ 545306 h 4333875"/>
                  <a:gd name="connsiteX115" fmla="*/ 561975 w 8601075"/>
                  <a:gd name="connsiteY115" fmla="*/ 619125 h 4333875"/>
                  <a:gd name="connsiteX116" fmla="*/ 447675 w 8601075"/>
                  <a:gd name="connsiteY116" fmla="*/ 63817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295275 w 8601075"/>
                  <a:gd name="connsiteY119" fmla="*/ 657225 h 4333875"/>
                  <a:gd name="connsiteX120" fmla="*/ 180975 w 8601075"/>
                  <a:gd name="connsiteY120" fmla="*/ 638175 h 4333875"/>
                  <a:gd name="connsiteX121" fmla="*/ 180975 w 8601075"/>
                  <a:gd name="connsiteY121" fmla="*/ 638175 h 4333875"/>
                  <a:gd name="connsiteX122" fmla="*/ 57150 w 8601075"/>
                  <a:gd name="connsiteY122" fmla="*/ 733425 h 4333875"/>
                  <a:gd name="connsiteX123" fmla="*/ 19050 w 8601075"/>
                  <a:gd name="connsiteY123" fmla="*/ 790575 h 4333875"/>
                  <a:gd name="connsiteX124" fmla="*/ 0 w 8601075"/>
                  <a:gd name="connsiteY124" fmla="*/ 876300 h 4333875"/>
                  <a:gd name="connsiteX125" fmla="*/ 57150 w 8601075"/>
                  <a:gd name="connsiteY125" fmla="*/ 923925 h 4333875"/>
                  <a:gd name="connsiteX126" fmla="*/ 57150 w 8601075"/>
                  <a:gd name="connsiteY126" fmla="*/ 923925 h 4333875"/>
                  <a:gd name="connsiteX127" fmla="*/ 209550 w 8601075"/>
                  <a:gd name="connsiteY127" fmla="*/ 1114425 h 4333875"/>
                  <a:gd name="connsiteX128" fmla="*/ 209550 w 8601075"/>
                  <a:gd name="connsiteY128" fmla="*/ 1114425 h 4333875"/>
                  <a:gd name="connsiteX129" fmla="*/ 266700 w 8601075"/>
                  <a:gd name="connsiteY129" fmla="*/ 1295400 h 4333875"/>
                  <a:gd name="connsiteX130" fmla="*/ 409575 w 8601075"/>
                  <a:gd name="connsiteY130" fmla="*/ 1276350 h 4333875"/>
                  <a:gd name="connsiteX131" fmla="*/ 466725 w 8601075"/>
                  <a:gd name="connsiteY131" fmla="*/ 1362075 h 4333875"/>
                  <a:gd name="connsiteX132" fmla="*/ 542925 w 8601075"/>
                  <a:gd name="connsiteY132" fmla="*/ 1428750 h 4333875"/>
                  <a:gd name="connsiteX133" fmla="*/ 628650 w 8601075"/>
                  <a:gd name="connsiteY133" fmla="*/ 1571625 h 4333875"/>
                  <a:gd name="connsiteX134" fmla="*/ 628650 w 8601075"/>
                  <a:gd name="connsiteY134" fmla="*/ 1704975 h 4333875"/>
                  <a:gd name="connsiteX135" fmla="*/ 676275 w 8601075"/>
                  <a:gd name="connsiteY135" fmla="*/ 1771650 h 4333875"/>
                  <a:gd name="connsiteX136" fmla="*/ 657225 w 8601075"/>
                  <a:gd name="connsiteY136" fmla="*/ 2000250 h 4333875"/>
                  <a:gd name="connsiteX137" fmla="*/ 619125 w 8601075"/>
                  <a:gd name="connsiteY137" fmla="*/ 2095500 h 4333875"/>
                  <a:gd name="connsiteX138" fmla="*/ 542925 w 8601075"/>
                  <a:gd name="connsiteY138" fmla="*/ 2228850 h 4333875"/>
                  <a:gd name="connsiteX139" fmla="*/ 485775 w 8601075"/>
                  <a:gd name="connsiteY139" fmla="*/ 2362200 h 4333875"/>
                  <a:gd name="connsiteX140" fmla="*/ 552450 w 8601075"/>
                  <a:gd name="connsiteY140" fmla="*/ 2486025 h 4333875"/>
                  <a:gd name="connsiteX141" fmla="*/ 771525 w 8601075"/>
                  <a:gd name="connsiteY141" fmla="*/ 2571750 h 4333875"/>
                  <a:gd name="connsiteX142" fmla="*/ 866775 w 8601075"/>
                  <a:gd name="connsiteY142" fmla="*/ 2571750 h 4333875"/>
                  <a:gd name="connsiteX143" fmla="*/ 914400 w 8601075"/>
                  <a:gd name="connsiteY143" fmla="*/ 2638425 h 4333875"/>
                  <a:gd name="connsiteX144" fmla="*/ 1066800 w 8601075"/>
                  <a:gd name="connsiteY144" fmla="*/ 2638425 h 4333875"/>
                  <a:gd name="connsiteX145" fmla="*/ 1285875 w 8601075"/>
                  <a:gd name="connsiteY145" fmla="*/ 2705100 h 4333875"/>
                  <a:gd name="connsiteX146" fmla="*/ 1438275 w 8601075"/>
                  <a:gd name="connsiteY146" fmla="*/ 2838450 h 4333875"/>
                  <a:gd name="connsiteX147" fmla="*/ 1485900 w 8601075"/>
                  <a:gd name="connsiteY147" fmla="*/ 2914650 h 4333875"/>
                  <a:gd name="connsiteX148" fmla="*/ 1657350 w 8601075"/>
                  <a:gd name="connsiteY148" fmla="*/ 3038475 h 4333875"/>
                  <a:gd name="connsiteX149" fmla="*/ 1752600 w 8601075"/>
                  <a:gd name="connsiteY149" fmla="*/ 3057525 h 4333875"/>
                  <a:gd name="connsiteX150" fmla="*/ 1724025 w 8601075"/>
                  <a:gd name="connsiteY150" fmla="*/ 3143250 h 4333875"/>
                  <a:gd name="connsiteX151" fmla="*/ 1724025 w 8601075"/>
                  <a:gd name="connsiteY151" fmla="*/ 3143250 h 4333875"/>
                  <a:gd name="connsiteX152" fmla="*/ 1781175 w 8601075"/>
                  <a:gd name="connsiteY152" fmla="*/ 3181350 h 4333875"/>
                  <a:gd name="connsiteX153" fmla="*/ 1819275 w 8601075"/>
                  <a:gd name="connsiteY153" fmla="*/ 3362325 h 4333875"/>
                  <a:gd name="connsiteX154" fmla="*/ 1828800 w 8601075"/>
                  <a:gd name="connsiteY154" fmla="*/ 3457575 h 4333875"/>
                  <a:gd name="connsiteX155" fmla="*/ 1971675 w 8601075"/>
                  <a:gd name="connsiteY155" fmla="*/ 3590925 h 4333875"/>
                  <a:gd name="connsiteX156" fmla="*/ 1990725 w 8601075"/>
                  <a:gd name="connsiteY156" fmla="*/ 3714750 h 4333875"/>
                  <a:gd name="connsiteX157" fmla="*/ 2200275 w 8601075"/>
                  <a:gd name="connsiteY157" fmla="*/ 3695700 h 4333875"/>
                  <a:gd name="connsiteX158" fmla="*/ 2886075 w 8601075"/>
                  <a:gd name="connsiteY158" fmla="*/ 3886200 h 4333875"/>
                  <a:gd name="connsiteX159" fmla="*/ 3038475 w 8601075"/>
                  <a:gd name="connsiteY159" fmla="*/ 3819525 h 4333875"/>
                  <a:gd name="connsiteX160" fmla="*/ 3105150 w 8601075"/>
                  <a:gd name="connsiteY160" fmla="*/ 3867150 h 4333875"/>
                  <a:gd name="connsiteX161" fmla="*/ 3181350 w 8601075"/>
                  <a:gd name="connsiteY161" fmla="*/ 3800475 h 4333875"/>
                  <a:gd name="connsiteX162" fmla="*/ 3590925 w 8601075"/>
                  <a:gd name="connsiteY162" fmla="*/ 3943350 h 4333875"/>
                  <a:gd name="connsiteX163" fmla="*/ 3686175 w 8601075"/>
                  <a:gd name="connsiteY163" fmla="*/ 4057650 h 4333875"/>
                  <a:gd name="connsiteX164" fmla="*/ 3838575 w 8601075"/>
                  <a:gd name="connsiteY164" fmla="*/ 4057650 h 4333875"/>
                  <a:gd name="connsiteX165" fmla="*/ 4162425 w 8601075"/>
                  <a:gd name="connsiteY165" fmla="*/ 4248150 h 4333875"/>
                  <a:gd name="connsiteX166" fmla="*/ 4391025 w 8601075"/>
                  <a:gd name="connsiteY166" fmla="*/ 4200525 h 4333875"/>
                  <a:gd name="connsiteX167" fmla="*/ 4410075 w 8601075"/>
                  <a:gd name="connsiteY167" fmla="*/ 4305300 h 4333875"/>
                  <a:gd name="connsiteX168" fmla="*/ 4505325 w 8601075"/>
                  <a:gd name="connsiteY168" fmla="*/ 4276725 h 4333875"/>
                  <a:gd name="connsiteX169" fmla="*/ 4572000 w 8601075"/>
                  <a:gd name="connsiteY169" fmla="*/ 4333875 h 4333875"/>
                  <a:gd name="connsiteX170" fmla="*/ 4591050 w 8601075"/>
                  <a:gd name="connsiteY170" fmla="*/ 4248150 h 4333875"/>
                  <a:gd name="connsiteX171" fmla="*/ 5295900 w 8601075"/>
                  <a:gd name="connsiteY171" fmla="*/ 3924300 h 4333875"/>
                  <a:gd name="connsiteX172" fmla="*/ 5353050 w 8601075"/>
                  <a:gd name="connsiteY172" fmla="*/ 3990975 h 4333875"/>
                  <a:gd name="connsiteX173" fmla="*/ 5524500 w 8601075"/>
                  <a:gd name="connsiteY173" fmla="*/ 3914775 h 4333875"/>
                  <a:gd name="connsiteX174" fmla="*/ 5667375 w 8601075"/>
                  <a:gd name="connsiteY174" fmla="*/ 3962400 h 4333875"/>
                  <a:gd name="connsiteX175" fmla="*/ 5753100 w 8601075"/>
                  <a:gd name="connsiteY175" fmla="*/ 3924300 h 4333875"/>
                  <a:gd name="connsiteX176" fmla="*/ 5905500 w 8601075"/>
                  <a:gd name="connsiteY176" fmla="*/ 3943350 h 4333875"/>
                  <a:gd name="connsiteX177" fmla="*/ 6000750 w 8601075"/>
                  <a:gd name="connsiteY177" fmla="*/ 3800475 h 4333875"/>
                  <a:gd name="connsiteX178" fmla="*/ 6153150 w 8601075"/>
                  <a:gd name="connsiteY178" fmla="*/ 3781425 h 4333875"/>
                  <a:gd name="connsiteX179" fmla="*/ 6257925 w 8601075"/>
                  <a:gd name="connsiteY179" fmla="*/ 3581400 h 4333875"/>
                  <a:gd name="connsiteX180" fmla="*/ 6448425 w 8601075"/>
                  <a:gd name="connsiteY180" fmla="*/ 3448050 h 4333875"/>
                  <a:gd name="connsiteX181" fmla="*/ 6581775 w 8601075"/>
                  <a:gd name="connsiteY181" fmla="*/ 3276600 h 4333875"/>
                  <a:gd name="connsiteX182" fmla="*/ 6496050 w 8601075"/>
                  <a:gd name="connsiteY182" fmla="*/ 3228975 h 4333875"/>
                  <a:gd name="connsiteX183" fmla="*/ 6438900 w 8601075"/>
                  <a:gd name="connsiteY183" fmla="*/ 3162300 h 4333875"/>
                  <a:gd name="connsiteX184" fmla="*/ 6419850 w 8601075"/>
                  <a:gd name="connsiteY184" fmla="*/ 3105150 h 4333875"/>
                  <a:gd name="connsiteX185" fmla="*/ 6362700 w 8601075"/>
                  <a:gd name="connsiteY185" fmla="*/ 3076575 h 4333875"/>
                  <a:gd name="connsiteX186" fmla="*/ 6410325 w 8601075"/>
                  <a:gd name="connsiteY186" fmla="*/ 3019425 h 4333875"/>
                  <a:gd name="connsiteX187" fmla="*/ 6438900 w 8601075"/>
                  <a:gd name="connsiteY187" fmla="*/ 2819400 h 4333875"/>
                  <a:gd name="connsiteX188" fmla="*/ 6496050 w 8601075"/>
                  <a:gd name="connsiteY188" fmla="*/ 2762250 h 4333875"/>
                  <a:gd name="connsiteX189" fmla="*/ 6657975 w 8601075"/>
                  <a:gd name="connsiteY189" fmla="*/ 2752725 h 4333875"/>
                  <a:gd name="connsiteX190" fmla="*/ 6781800 w 8601075"/>
                  <a:gd name="connsiteY190" fmla="*/ 2838450 h 4333875"/>
                  <a:gd name="connsiteX191" fmla="*/ 7010400 w 8601075"/>
                  <a:gd name="connsiteY191" fmla="*/ 2838450 h 4333875"/>
                  <a:gd name="connsiteX192" fmla="*/ 7162800 w 8601075"/>
                  <a:gd name="connsiteY192" fmla="*/ 2705100 h 4333875"/>
                  <a:gd name="connsiteX193" fmla="*/ 7229475 w 8601075"/>
                  <a:gd name="connsiteY193" fmla="*/ 2590800 h 4333875"/>
                  <a:gd name="connsiteX194" fmla="*/ 7248525 w 8601075"/>
                  <a:gd name="connsiteY194" fmla="*/ 2524125 h 4333875"/>
                  <a:gd name="connsiteX195" fmla="*/ 7372350 w 8601075"/>
                  <a:gd name="connsiteY195" fmla="*/ 2543175 h 4333875"/>
                  <a:gd name="connsiteX196" fmla="*/ 7553325 w 8601075"/>
                  <a:gd name="connsiteY196" fmla="*/ 2447925 h 4333875"/>
                  <a:gd name="connsiteX197" fmla="*/ 7620000 w 8601075"/>
                  <a:gd name="connsiteY197" fmla="*/ 2324100 h 4333875"/>
                  <a:gd name="connsiteX198" fmla="*/ 7696200 w 8601075"/>
                  <a:gd name="connsiteY198" fmla="*/ 2314575 h 4333875"/>
                  <a:gd name="connsiteX199" fmla="*/ 7658100 w 8601075"/>
                  <a:gd name="connsiteY199" fmla="*/ 2257425 h 4333875"/>
                  <a:gd name="connsiteX200" fmla="*/ 7753350 w 8601075"/>
                  <a:gd name="connsiteY200" fmla="*/ 2057400 h 4333875"/>
                  <a:gd name="connsiteX201" fmla="*/ 7934325 w 8601075"/>
                  <a:gd name="connsiteY201" fmla="*/ 2028825 h 4333875"/>
                  <a:gd name="connsiteX202" fmla="*/ 7953375 w 8601075"/>
                  <a:gd name="connsiteY202" fmla="*/ 1952625 h 4333875"/>
                  <a:gd name="connsiteX203" fmla="*/ 7953375 w 8601075"/>
                  <a:gd name="connsiteY203" fmla="*/ 1952625 h 4333875"/>
                  <a:gd name="connsiteX204" fmla="*/ 8010525 w 8601075"/>
                  <a:gd name="connsiteY204" fmla="*/ 1895475 h 4333875"/>
                  <a:gd name="connsiteX205" fmla="*/ 8048625 w 8601075"/>
                  <a:gd name="connsiteY205" fmla="*/ 1971675 h 4333875"/>
                  <a:gd name="connsiteX206" fmla="*/ 8077200 w 8601075"/>
                  <a:gd name="connsiteY206" fmla="*/ 1885950 h 4333875"/>
                  <a:gd name="connsiteX207" fmla="*/ 8220075 w 8601075"/>
                  <a:gd name="connsiteY207" fmla="*/ 1847850 h 4333875"/>
                  <a:gd name="connsiteX208" fmla="*/ 8296275 w 8601075"/>
                  <a:gd name="connsiteY208" fmla="*/ 1809750 h 4333875"/>
                  <a:gd name="connsiteX209" fmla="*/ 8324850 w 8601075"/>
                  <a:gd name="connsiteY209" fmla="*/ 1790700 h 4333875"/>
                  <a:gd name="connsiteX210" fmla="*/ 8410575 w 8601075"/>
                  <a:gd name="connsiteY210" fmla="*/ 1847850 h 4333875"/>
                  <a:gd name="connsiteX211" fmla="*/ 8505825 w 8601075"/>
                  <a:gd name="connsiteY211" fmla="*/ 1781175 h 4333875"/>
                  <a:gd name="connsiteX212" fmla="*/ 8572500 w 8601075"/>
                  <a:gd name="connsiteY212" fmla="*/ 1809750 h 4333875"/>
                  <a:gd name="connsiteX213" fmla="*/ 8601075 w 8601075"/>
                  <a:gd name="connsiteY213" fmla="*/ 1704975 h 4333875"/>
                  <a:gd name="connsiteX214" fmla="*/ 8553450 w 8601075"/>
                  <a:gd name="connsiteY214" fmla="*/ 1676400 h 4333875"/>
                  <a:gd name="connsiteX215" fmla="*/ 8534400 w 8601075"/>
                  <a:gd name="connsiteY215" fmla="*/ 1609725 h 4333875"/>
                  <a:gd name="connsiteX216" fmla="*/ 8277225 w 8601075"/>
                  <a:gd name="connsiteY216" fmla="*/ 1409700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124825 w 8601075"/>
                  <a:gd name="connsiteY219" fmla="*/ 1352550 h 4333875"/>
                  <a:gd name="connsiteX220" fmla="*/ 7924800 w 8601075"/>
                  <a:gd name="connsiteY220" fmla="*/ 1362075 h 4333875"/>
                  <a:gd name="connsiteX221" fmla="*/ 7867650 w 8601075"/>
                  <a:gd name="connsiteY221" fmla="*/ 1457325 h 4333875"/>
                  <a:gd name="connsiteX222" fmla="*/ 7896225 w 8601075"/>
                  <a:gd name="connsiteY222" fmla="*/ 1476375 h 4333875"/>
                  <a:gd name="connsiteX223" fmla="*/ 7858125 w 8601075"/>
                  <a:gd name="connsiteY223" fmla="*/ 1533525 h 4333875"/>
                  <a:gd name="connsiteX224" fmla="*/ 7658100 w 8601075"/>
                  <a:gd name="connsiteY224" fmla="*/ 1447800 h 4333875"/>
                  <a:gd name="connsiteX225" fmla="*/ 7515225 w 8601075"/>
                  <a:gd name="connsiteY225" fmla="*/ 1495425 h 4333875"/>
                  <a:gd name="connsiteX226" fmla="*/ 7467600 w 8601075"/>
                  <a:gd name="connsiteY226" fmla="*/ 1581150 h 4333875"/>
                  <a:gd name="connsiteX227" fmla="*/ 7296150 w 8601075"/>
                  <a:gd name="connsiteY22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1500 w 8601075"/>
                  <a:gd name="connsiteY115" fmla="*/ 545306 h 4333875"/>
                  <a:gd name="connsiteX116" fmla="*/ 561975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1975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83406 w 8601075"/>
                  <a:gd name="connsiteY116" fmla="*/ 619125 h 4333875"/>
                  <a:gd name="connsiteX117" fmla="*/ 447675 w 8601075"/>
                  <a:gd name="connsiteY117" fmla="*/ 63817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295275 w 8601075"/>
                  <a:gd name="connsiteY120" fmla="*/ 657225 h 4333875"/>
                  <a:gd name="connsiteX121" fmla="*/ 180975 w 8601075"/>
                  <a:gd name="connsiteY121" fmla="*/ 638175 h 4333875"/>
                  <a:gd name="connsiteX122" fmla="*/ 180975 w 8601075"/>
                  <a:gd name="connsiteY122" fmla="*/ 638175 h 4333875"/>
                  <a:gd name="connsiteX123" fmla="*/ 57150 w 8601075"/>
                  <a:gd name="connsiteY123" fmla="*/ 733425 h 4333875"/>
                  <a:gd name="connsiteX124" fmla="*/ 19050 w 8601075"/>
                  <a:gd name="connsiteY124" fmla="*/ 790575 h 4333875"/>
                  <a:gd name="connsiteX125" fmla="*/ 0 w 8601075"/>
                  <a:gd name="connsiteY125" fmla="*/ 876300 h 4333875"/>
                  <a:gd name="connsiteX126" fmla="*/ 57150 w 8601075"/>
                  <a:gd name="connsiteY126" fmla="*/ 923925 h 4333875"/>
                  <a:gd name="connsiteX127" fmla="*/ 57150 w 8601075"/>
                  <a:gd name="connsiteY127" fmla="*/ 923925 h 4333875"/>
                  <a:gd name="connsiteX128" fmla="*/ 209550 w 8601075"/>
                  <a:gd name="connsiteY128" fmla="*/ 1114425 h 4333875"/>
                  <a:gd name="connsiteX129" fmla="*/ 209550 w 8601075"/>
                  <a:gd name="connsiteY129" fmla="*/ 1114425 h 4333875"/>
                  <a:gd name="connsiteX130" fmla="*/ 266700 w 8601075"/>
                  <a:gd name="connsiteY130" fmla="*/ 1295400 h 4333875"/>
                  <a:gd name="connsiteX131" fmla="*/ 409575 w 8601075"/>
                  <a:gd name="connsiteY131" fmla="*/ 1276350 h 4333875"/>
                  <a:gd name="connsiteX132" fmla="*/ 466725 w 8601075"/>
                  <a:gd name="connsiteY132" fmla="*/ 1362075 h 4333875"/>
                  <a:gd name="connsiteX133" fmla="*/ 542925 w 8601075"/>
                  <a:gd name="connsiteY133" fmla="*/ 1428750 h 4333875"/>
                  <a:gd name="connsiteX134" fmla="*/ 628650 w 8601075"/>
                  <a:gd name="connsiteY134" fmla="*/ 1571625 h 4333875"/>
                  <a:gd name="connsiteX135" fmla="*/ 628650 w 8601075"/>
                  <a:gd name="connsiteY135" fmla="*/ 1704975 h 4333875"/>
                  <a:gd name="connsiteX136" fmla="*/ 676275 w 8601075"/>
                  <a:gd name="connsiteY136" fmla="*/ 1771650 h 4333875"/>
                  <a:gd name="connsiteX137" fmla="*/ 657225 w 8601075"/>
                  <a:gd name="connsiteY137" fmla="*/ 2000250 h 4333875"/>
                  <a:gd name="connsiteX138" fmla="*/ 619125 w 8601075"/>
                  <a:gd name="connsiteY138" fmla="*/ 2095500 h 4333875"/>
                  <a:gd name="connsiteX139" fmla="*/ 542925 w 8601075"/>
                  <a:gd name="connsiteY139" fmla="*/ 2228850 h 4333875"/>
                  <a:gd name="connsiteX140" fmla="*/ 485775 w 8601075"/>
                  <a:gd name="connsiteY140" fmla="*/ 2362200 h 4333875"/>
                  <a:gd name="connsiteX141" fmla="*/ 552450 w 8601075"/>
                  <a:gd name="connsiteY141" fmla="*/ 2486025 h 4333875"/>
                  <a:gd name="connsiteX142" fmla="*/ 771525 w 8601075"/>
                  <a:gd name="connsiteY142" fmla="*/ 2571750 h 4333875"/>
                  <a:gd name="connsiteX143" fmla="*/ 866775 w 8601075"/>
                  <a:gd name="connsiteY143" fmla="*/ 2571750 h 4333875"/>
                  <a:gd name="connsiteX144" fmla="*/ 914400 w 8601075"/>
                  <a:gd name="connsiteY144" fmla="*/ 2638425 h 4333875"/>
                  <a:gd name="connsiteX145" fmla="*/ 1066800 w 8601075"/>
                  <a:gd name="connsiteY145" fmla="*/ 2638425 h 4333875"/>
                  <a:gd name="connsiteX146" fmla="*/ 1285875 w 8601075"/>
                  <a:gd name="connsiteY146" fmla="*/ 2705100 h 4333875"/>
                  <a:gd name="connsiteX147" fmla="*/ 1438275 w 8601075"/>
                  <a:gd name="connsiteY147" fmla="*/ 2838450 h 4333875"/>
                  <a:gd name="connsiteX148" fmla="*/ 1485900 w 8601075"/>
                  <a:gd name="connsiteY148" fmla="*/ 2914650 h 4333875"/>
                  <a:gd name="connsiteX149" fmla="*/ 1657350 w 8601075"/>
                  <a:gd name="connsiteY149" fmla="*/ 3038475 h 4333875"/>
                  <a:gd name="connsiteX150" fmla="*/ 1752600 w 8601075"/>
                  <a:gd name="connsiteY150" fmla="*/ 3057525 h 4333875"/>
                  <a:gd name="connsiteX151" fmla="*/ 1724025 w 8601075"/>
                  <a:gd name="connsiteY151" fmla="*/ 3143250 h 4333875"/>
                  <a:gd name="connsiteX152" fmla="*/ 1724025 w 8601075"/>
                  <a:gd name="connsiteY152" fmla="*/ 3143250 h 4333875"/>
                  <a:gd name="connsiteX153" fmla="*/ 1781175 w 8601075"/>
                  <a:gd name="connsiteY153" fmla="*/ 3181350 h 4333875"/>
                  <a:gd name="connsiteX154" fmla="*/ 1819275 w 8601075"/>
                  <a:gd name="connsiteY154" fmla="*/ 3362325 h 4333875"/>
                  <a:gd name="connsiteX155" fmla="*/ 1828800 w 8601075"/>
                  <a:gd name="connsiteY155" fmla="*/ 3457575 h 4333875"/>
                  <a:gd name="connsiteX156" fmla="*/ 1971675 w 8601075"/>
                  <a:gd name="connsiteY156" fmla="*/ 3590925 h 4333875"/>
                  <a:gd name="connsiteX157" fmla="*/ 1990725 w 8601075"/>
                  <a:gd name="connsiteY157" fmla="*/ 3714750 h 4333875"/>
                  <a:gd name="connsiteX158" fmla="*/ 2200275 w 8601075"/>
                  <a:gd name="connsiteY158" fmla="*/ 3695700 h 4333875"/>
                  <a:gd name="connsiteX159" fmla="*/ 2886075 w 8601075"/>
                  <a:gd name="connsiteY159" fmla="*/ 3886200 h 4333875"/>
                  <a:gd name="connsiteX160" fmla="*/ 3038475 w 8601075"/>
                  <a:gd name="connsiteY160" fmla="*/ 3819525 h 4333875"/>
                  <a:gd name="connsiteX161" fmla="*/ 3105150 w 8601075"/>
                  <a:gd name="connsiteY161" fmla="*/ 3867150 h 4333875"/>
                  <a:gd name="connsiteX162" fmla="*/ 3181350 w 8601075"/>
                  <a:gd name="connsiteY162" fmla="*/ 3800475 h 4333875"/>
                  <a:gd name="connsiteX163" fmla="*/ 3590925 w 8601075"/>
                  <a:gd name="connsiteY163" fmla="*/ 3943350 h 4333875"/>
                  <a:gd name="connsiteX164" fmla="*/ 3686175 w 8601075"/>
                  <a:gd name="connsiteY164" fmla="*/ 4057650 h 4333875"/>
                  <a:gd name="connsiteX165" fmla="*/ 3838575 w 8601075"/>
                  <a:gd name="connsiteY165" fmla="*/ 4057650 h 4333875"/>
                  <a:gd name="connsiteX166" fmla="*/ 4162425 w 8601075"/>
                  <a:gd name="connsiteY166" fmla="*/ 4248150 h 4333875"/>
                  <a:gd name="connsiteX167" fmla="*/ 4391025 w 8601075"/>
                  <a:gd name="connsiteY167" fmla="*/ 4200525 h 4333875"/>
                  <a:gd name="connsiteX168" fmla="*/ 4410075 w 8601075"/>
                  <a:gd name="connsiteY168" fmla="*/ 4305300 h 4333875"/>
                  <a:gd name="connsiteX169" fmla="*/ 4505325 w 8601075"/>
                  <a:gd name="connsiteY169" fmla="*/ 4276725 h 4333875"/>
                  <a:gd name="connsiteX170" fmla="*/ 4572000 w 8601075"/>
                  <a:gd name="connsiteY170" fmla="*/ 4333875 h 4333875"/>
                  <a:gd name="connsiteX171" fmla="*/ 4591050 w 8601075"/>
                  <a:gd name="connsiteY171" fmla="*/ 4248150 h 4333875"/>
                  <a:gd name="connsiteX172" fmla="*/ 5295900 w 8601075"/>
                  <a:gd name="connsiteY172" fmla="*/ 3924300 h 4333875"/>
                  <a:gd name="connsiteX173" fmla="*/ 5353050 w 8601075"/>
                  <a:gd name="connsiteY173" fmla="*/ 3990975 h 4333875"/>
                  <a:gd name="connsiteX174" fmla="*/ 5524500 w 8601075"/>
                  <a:gd name="connsiteY174" fmla="*/ 3914775 h 4333875"/>
                  <a:gd name="connsiteX175" fmla="*/ 5667375 w 8601075"/>
                  <a:gd name="connsiteY175" fmla="*/ 3962400 h 4333875"/>
                  <a:gd name="connsiteX176" fmla="*/ 5753100 w 8601075"/>
                  <a:gd name="connsiteY176" fmla="*/ 3924300 h 4333875"/>
                  <a:gd name="connsiteX177" fmla="*/ 5905500 w 8601075"/>
                  <a:gd name="connsiteY177" fmla="*/ 3943350 h 4333875"/>
                  <a:gd name="connsiteX178" fmla="*/ 6000750 w 8601075"/>
                  <a:gd name="connsiteY178" fmla="*/ 3800475 h 4333875"/>
                  <a:gd name="connsiteX179" fmla="*/ 6153150 w 8601075"/>
                  <a:gd name="connsiteY179" fmla="*/ 3781425 h 4333875"/>
                  <a:gd name="connsiteX180" fmla="*/ 6257925 w 8601075"/>
                  <a:gd name="connsiteY180" fmla="*/ 3581400 h 4333875"/>
                  <a:gd name="connsiteX181" fmla="*/ 6448425 w 8601075"/>
                  <a:gd name="connsiteY181" fmla="*/ 3448050 h 4333875"/>
                  <a:gd name="connsiteX182" fmla="*/ 6581775 w 8601075"/>
                  <a:gd name="connsiteY182" fmla="*/ 3276600 h 4333875"/>
                  <a:gd name="connsiteX183" fmla="*/ 6496050 w 8601075"/>
                  <a:gd name="connsiteY183" fmla="*/ 3228975 h 4333875"/>
                  <a:gd name="connsiteX184" fmla="*/ 6438900 w 8601075"/>
                  <a:gd name="connsiteY184" fmla="*/ 3162300 h 4333875"/>
                  <a:gd name="connsiteX185" fmla="*/ 6419850 w 8601075"/>
                  <a:gd name="connsiteY185" fmla="*/ 3105150 h 4333875"/>
                  <a:gd name="connsiteX186" fmla="*/ 6362700 w 8601075"/>
                  <a:gd name="connsiteY186" fmla="*/ 3076575 h 4333875"/>
                  <a:gd name="connsiteX187" fmla="*/ 6410325 w 8601075"/>
                  <a:gd name="connsiteY187" fmla="*/ 3019425 h 4333875"/>
                  <a:gd name="connsiteX188" fmla="*/ 6438900 w 8601075"/>
                  <a:gd name="connsiteY188" fmla="*/ 2819400 h 4333875"/>
                  <a:gd name="connsiteX189" fmla="*/ 6496050 w 8601075"/>
                  <a:gd name="connsiteY189" fmla="*/ 2762250 h 4333875"/>
                  <a:gd name="connsiteX190" fmla="*/ 6657975 w 8601075"/>
                  <a:gd name="connsiteY190" fmla="*/ 2752725 h 4333875"/>
                  <a:gd name="connsiteX191" fmla="*/ 6781800 w 8601075"/>
                  <a:gd name="connsiteY191" fmla="*/ 2838450 h 4333875"/>
                  <a:gd name="connsiteX192" fmla="*/ 7010400 w 8601075"/>
                  <a:gd name="connsiteY192" fmla="*/ 2838450 h 4333875"/>
                  <a:gd name="connsiteX193" fmla="*/ 7162800 w 8601075"/>
                  <a:gd name="connsiteY193" fmla="*/ 2705100 h 4333875"/>
                  <a:gd name="connsiteX194" fmla="*/ 7229475 w 8601075"/>
                  <a:gd name="connsiteY194" fmla="*/ 2590800 h 4333875"/>
                  <a:gd name="connsiteX195" fmla="*/ 7248525 w 8601075"/>
                  <a:gd name="connsiteY195" fmla="*/ 2524125 h 4333875"/>
                  <a:gd name="connsiteX196" fmla="*/ 7372350 w 8601075"/>
                  <a:gd name="connsiteY196" fmla="*/ 2543175 h 4333875"/>
                  <a:gd name="connsiteX197" fmla="*/ 7553325 w 8601075"/>
                  <a:gd name="connsiteY197" fmla="*/ 2447925 h 4333875"/>
                  <a:gd name="connsiteX198" fmla="*/ 7620000 w 8601075"/>
                  <a:gd name="connsiteY198" fmla="*/ 2324100 h 4333875"/>
                  <a:gd name="connsiteX199" fmla="*/ 7696200 w 8601075"/>
                  <a:gd name="connsiteY199" fmla="*/ 2314575 h 4333875"/>
                  <a:gd name="connsiteX200" fmla="*/ 7658100 w 8601075"/>
                  <a:gd name="connsiteY200" fmla="*/ 2257425 h 4333875"/>
                  <a:gd name="connsiteX201" fmla="*/ 7753350 w 8601075"/>
                  <a:gd name="connsiteY201" fmla="*/ 2057400 h 4333875"/>
                  <a:gd name="connsiteX202" fmla="*/ 7934325 w 8601075"/>
                  <a:gd name="connsiteY202" fmla="*/ 2028825 h 4333875"/>
                  <a:gd name="connsiteX203" fmla="*/ 7953375 w 8601075"/>
                  <a:gd name="connsiteY203" fmla="*/ 1952625 h 4333875"/>
                  <a:gd name="connsiteX204" fmla="*/ 7953375 w 8601075"/>
                  <a:gd name="connsiteY204" fmla="*/ 1952625 h 4333875"/>
                  <a:gd name="connsiteX205" fmla="*/ 8010525 w 8601075"/>
                  <a:gd name="connsiteY205" fmla="*/ 1895475 h 4333875"/>
                  <a:gd name="connsiteX206" fmla="*/ 8048625 w 8601075"/>
                  <a:gd name="connsiteY206" fmla="*/ 1971675 h 4333875"/>
                  <a:gd name="connsiteX207" fmla="*/ 8077200 w 8601075"/>
                  <a:gd name="connsiteY207" fmla="*/ 1885950 h 4333875"/>
                  <a:gd name="connsiteX208" fmla="*/ 8220075 w 8601075"/>
                  <a:gd name="connsiteY208" fmla="*/ 1847850 h 4333875"/>
                  <a:gd name="connsiteX209" fmla="*/ 8296275 w 8601075"/>
                  <a:gd name="connsiteY209" fmla="*/ 1809750 h 4333875"/>
                  <a:gd name="connsiteX210" fmla="*/ 8324850 w 8601075"/>
                  <a:gd name="connsiteY210" fmla="*/ 1790700 h 4333875"/>
                  <a:gd name="connsiteX211" fmla="*/ 8410575 w 8601075"/>
                  <a:gd name="connsiteY211" fmla="*/ 1847850 h 4333875"/>
                  <a:gd name="connsiteX212" fmla="*/ 8505825 w 8601075"/>
                  <a:gd name="connsiteY212" fmla="*/ 1781175 h 4333875"/>
                  <a:gd name="connsiteX213" fmla="*/ 8572500 w 8601075"/>
                  <a:gd name="connsiteY213" fmla="*/ 1809750 h 4333875"/>
                  <a:gd name="connsiteX214" fmla="*/ 8601075 w 8601075"/>
                  <a:gd name="connsiteY214" fmla="*/ 1704975 h 4333875"/>
                  <a:gd name="connsiteX215" fmla="*/ 8553450 w 8601075"/>
                  <a:gd name="connsiteY215" fmla="*/ 1676400 h 4333875"/>
                  <a:gd name="connsiteX216" fmla="*/ 8534400 w 8601075"/>
                  <a:gd name="connsiteY216" fmla="*/ 1609725 h 4333875"/>
                  <a:gd name="connsiteX217" fmla="*/ 8277225 w 8601075"/>
                  <a:gd name="connsiteY217" fmla="*/ 1409700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124825 w 8601075"/>
                  <a:gd name="connsiteY220" fmla="*/ 1352550 h 4333875"/>
                  <a:gd name="connsiteX221" fmla="*/ 7924800 w 8601075"/>
                  <a:gd name="connsiteY221" fmla="*/ 1362075 h 4333875"/>
                  <a:gd name="connsiteX222" fmla="*/ 7867650 w 8601075"/>
                  <a:gd name="connsiteY222" fmla="*/ 1457325 h 4333875"/>
                  <a:gd name="connsiteX223" fmla="*/ 7896225 w 8601075"/>
                  <a:gd name="connsiteY223" fmla="*/ 1476375 h 4333875"/>
                  <a:gd name="connsiteX224" fmla="*/ 7858125 w 8601075"/>
                  <a:gd name="connsiteY224" fmla="*/ 1533525 h 4333875"/>
                  <a:gd name="connsiteX225" fmla="*/ 7658100 w 8601075"/>
                  <a:gd name="connsiteY225" fmla="*/ 1447800 h 4333875"/>
                  <a:gd name="connsiteX226" fmla="*/ 7515225 w 8601075"/>
                  <a:gd name="connsiteY226" fmla="*/ 1495425 h 4333875"/>
                  <a:gd name="connsiteX227" fmla="*/ 7467600 w 8601075"/>
                  <a:gd name="connsiteY227" fmla="*/ 1581150 h 4333875"/>
                  <a:gd name="connsiteX228" fmla="*/ 7296150 w 8601075"/>
                  <a:gd name="connsiteY22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83406 w 8601075"/>
                  <a:gd name="connsiteY117" fmla="*/ 619125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7675 w 8601075"/>
                  <a:gd name="connsiteY120" fmla="*/ 638175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7675 w 8601075"/>
                  <a:gd name="connsiteY120" fmla="*/ 638175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47675 w 8601075"/>
                  <a:gd name="connsiteY119" fmla="*/ 638175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47675 w 8601075"/>
                  <a:gd name="connsiteY118" fmla="*/ 638175 h 4333875"/>
                  <a:gd name="connsiteX119" fmla="*/ 476250 w 8601075"/>
                  <a:gd name="connsiteY119" fmla="*/ 664368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76250 w 8601075"/>
                  <a:gd name="connsiteY119" fmla="*/ 664368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42913 w 8601075"/>
                  <a:gd name="connsiteY120" fmla="*/ 66675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500063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295275 w 8601075"/>
                  <a:gd name="connsiteY121" fmla="*/ 657225 h 4333875"/>
                  <a:gd name="connsiteX122" fmla="*/ 180975 w 8601075"/>
                  <a:gd name="connsiteY122" fmla="*/ 638175 h 4333875"/>
                  <a:gd name="connsiteX123" fmla="*/ 180975 w 8601075"/>
                  <a:gd name="connsiteY123" fmla="*/ 638175 h 4333875"/>
                  <a:gd name="connsiteX124" fmla="*/ 57150 w 8601075"/>
                  <a:gd name="connsiteY124" fmla="*/ 733425 h 4333875"/>
                  <a:gd name="connsiteX125" fmla="*/ 19050 w 8601075"/>
                  <a:gd name="connsiteY125" fmla="*/ 790575 h 4333875"/>
                  <a:gd name="connsiteX126" fmla="*/ 0 w 8601075"/>
                  <a:gd name="connsiteY126" fmla="*/ 876300 h 4333875"/>
                  <a:gd name="connsiteX127" fmla="*/ 57150 w 8601075"/>
                  <a:gd name="connsiteY127" fmla="*/ 923925 h 4333875"/>
                  <a:gd name="connsiteX128" fmla="*/ 57150 w 8601075"/>
                  <a:gd name="connsiteY128" fmla="*/ 923925 h 4333875"/>
                  <a:gd name="connsiteX129" fmla="*/ 209550 w 8601075"/>
                  <a:gd name="connsiteY129" fmla="*/ 1114425 h 4333875"/>
                  <a:gd name="connsiteX130" fmla="*/ 209550 w 8601075"/>
                  <a:gd name="connsiteY130" fmla="*/ 1114425 h 4333875"/>
                  <a:gd name="connsiteX131" fmla="*/ 266700 w 8601075"/>
                  <a:gd name="connsiteY131" fmla="*/ 1295400 h 4333875"/>
                  <a:gd name="connsiteX132" fmla="*/ 409575 w 8601075"/>
                  <a:gd name="connsiteY132" fmla="*/ 1276350 h 4333875"/>
                  <a:gd name="connsiteX133" fmla="*/ 466725 w 8601075"/>
                  <a:gd name="connsiteY133" fmla="*/ 1362075 h 4333875"/>
                  <a:gd name="connsiteX134" fmla="*/ 542925 w 8601075"/>
                  <a:gd name="connsiteY134" fmla="*/ 1428750 h 4333875"/>
                  <a:gd name="connsiteX135" fmla="*/ 628650 w 8601075"/>
                  <a:gd name="connsiteY135" fmla="*/ 1571625 h 4333875"/>
                  <a:gd name="connsiteX136" fmla="*/ 628650 w 8601075"/>
                  <a:gd name="connsiteY136" fmla="*/ 1704975 h 4333875"/>
                  <a:gd name="connsiteX137" fmla="*/ 676275 w 8601075"/>
                  <a:gd name="connsiteY137" fmla="*/ 1771650 h 4333875"/>
                  <a:gd name="connsiteX138" fmla="*/ 657225 w 8601075"/>
                  <a:gd name="connsiteY138" fmla="*/ 2000250 h 4333875"/>
                  <a:gd name="connsiteX139" fmla="*/ 619125 w 8601075"/>
                  <a:gd name="connsiteY139" fmla="*/ 2095500 h 4333875"/>
                  <a:gd name="connsiteX140" fmla="*/ 542925 w 8601075"/>
                  <a:gd name="connsiteY140" fmla="*/ 2228850 h 4333875"/>
                  <a:gd name="connsiteX141" fmla="*/ 485775 w 8601075"/>
                  <a:gd name="connsiteY141" fmla="*/ 2362200 h 4333875"/>
                  <a:gd name="connsiteX142" fmla="*/ 552450 w 8601075"/>
                  <a:gd name="connsiteY142" fmla="*/ 2486025 h 4333875"/>
                  <a:gd name="connsiteX143" fmla="*/ 771525 w 8601075"/>
                  <a:gd name="connsiteY143" fmla="*/ 2571750 h 4333875"/>
                  <a:gd name="connsiteX144" fmla="*/ 866775 w 8601075"/>
                  <a:gd name="connsiteY144" fmla="*/ 2571750 h 4333875"/>
                  <a:gd name="connsiteX145" fmla="*/ 914400 w 8601075"/>
                  <a:gd name="connsiteY145" fmla="*/ 2638425 h 4333875"/>
                  <a:gd name="connsiteX146" fmla="*/ 1066800 w 8601075"/>
                  <a:gd name="connsiteY146" fmla="*/ 2638425 h 4333875"/>
                  <a:gd name="connsiteX147" fmla="*/ 1285875 w 8601075"/>
                  <a:gd name="connsiteY147" fmla="*/ 2705100 h 4333875"/>
                  <a:gd name="connsiteX148" fmla="*/ 1438275 w 8601075"/>
                  <a:gd name="connsiteY148" fmla="*/ 2838450 h 4333875"/>
                  <a:gd name="connsiteX149" fmla="*/ 1485900 w 8601075"/>
                  <a:gd name="connsiteY149" fmla="*/ 2914650 h 4333875"/>
                  <a:gd name="connsiteX150" fmla="*/ 1657350 w 8601075"/>
                  <a:gd name="connsiteY150" fmla="*/ 3038475 h 4333875"/>
                  <a:gd name="connsiteX151" fmla="*/ 1752600 w 8601075"/>
                  <a:gd name="connsiteY151" fmla="*/ 3057525 h 4333875"/>
                  <a:gd name="connsiteX152" fmla="*/ 1724025 w 8601075"/>
                  <a:gd name="connsiteY152" fmla="*/ 3143250 h 4333875"/>
                  <a:gd name="connsiteX153" fmla="*/ 1724025 w 8601075"/>
                  <a:gd name="connsiteY153" fmla="*/ 3143250 h 4333875"/>
                  <a:gd name="connsiteX154" fmla="*/ 1781175 w 8601075"/>
                  <a:gd name="connsiteY154" fmla="*/ 3181350 h 4333875"/>
                  <a:gd name="connsiteX155" fmla="*/ 1819275 w 8601075"/>
                  <a:gd name="connsiteY155" fmla="*/ 3362325 h 4333875"/>
                  <a:gd name="connsiteX156" fmla="*/ 1828800 w 8601075"/>
                  <a:gd name="connsiteY156" fmla="*/ 3457575 h 4333875"/>
                  <a:gd name="connsiteX157" fmla="*/ 1971675 w 8601075"/>
                  <a:gd name="connsiteY157" fmla="*/ 3590925 h 4333875"/>
                  <a:gd name="connsiteX158" fmla="*/ 1990725 w 8601075"/>
                  <a:gd name="connsiteY158" fmla="*/ 3714750 h 4333875"/>
                  <a:gd name="connsiteX159" fmla="*/ 2200275 w 8601075"/>
                  <a:gd name="connsiteY159" fmla="*/ 3695700 h 4333875"/>
                  <a:gd name="connsiteX160" fmla="*/ 2886075 w 8601075"/>
                  <a:gd name="connsiteY160" fmla="*/ 3886200 h 4333875"/>
                  <a:gd name="connsiteX161" fmla="*/ 3038475 w 8601075"/>
                  <a:gd name="connsiteY161" fmla="*/ 3819525 h 4333875"/>
                  <a:gd name="connsiteX162" fmla="*/ 3105150 w 8601075"/>
                  <a:gd name="connsiteY162" fmla="*/ 3867150 h 4333875"/>
                  <a:gd name="connsiteX163" fmla="*/ 3181350 w 8601075"/>
                  <a:gd name="connsiteY163" fmla="*/ 3800475 h 4333875"/>
                  <a:gd name="connsiteX164" fmla="*/ 3590925 w 8601075"/>
                  <a:gd name="connsiteY164" fmla="*/ 3943350 h 4333875"/>
                  <a:gd name="connsiteX165" fmla="*/ 3686175 w 8601075"/>
                  <a:gd name="connsiteY165" fmla="*/ 4057650 h 4333875"/>
                  <a:gd name="connsiteX166" fmla="*/ 3838575 w 8601075"/>
                  <a:gd name="connsiteY166" fmla="*/ 4057650 h 4333875"/>
                  <a:gd name="connsiteX167" fmla="*/ 4162425 w 8601075"/>
                  <a:gd name="connsiteY167" fmla="*/ 4248150 h 4333875"/>
                  <a:gd name="connsiteX168" fmla="*/ 4391025 w 8601075"/>
                  <a:gd name="connsiteY168" fmla="*/ 4200525 h 4333875"/>
                  <a:gd name="connsiteX169" fmla="*/ 4410075 w 8601075"/>
                  <a:gd name="connsiteY169" fmla="*/ 4305300 h 4333875"/>
                  <a:gd name="connsiteX170" fmla="*/ 4505325 w 8601075"/>
                  <a:gd name="connsiteY170" fmla="*/ 4276725 h 4333875"/>
                  <a:gd name="connsiteX171" fmla="*/ 4572000 w 8601075"/>
                  <a:gd name="connsiteY171" fmla="*/ 4333875 h 4333875"/>
                  <a:gd name="connsiteX172" fmla="*/ 4591050 w 8601075"/>
                  <a:gd name="connsiteY172" fmla="*/ 4248150 h 4333875"/>
                  <a:gd name="connsiteX173" fmla="*/ 5295900 w 8601075"/>
                  <a:gd name="connsiteY173" fmla="*/ 3924300 h 4333875"/>
                  <a:gd name="connsiteX174" fmla="*/ 5353050 w 8601075"/>
                  <a:gd name="connsiteY174" fmla="*/ 3990975 h 4333875"/>
                  <a:gd name="connsiteX175" fmla="*/ 5524500 w 8601075"/>
                  <a:gd name="connsiteY175" fmla="*/ 3914775 h 4333875"/>
                  <a:gd name="connsiteX176" fmla="*/ 5667375 w 8601075"/>
                  <a:gd name="connsiteY176" fmla="*/ 3962400 h 4333875"/>
                  <a:gd name="connsiteX177" fmla="*/ 5753100 w 8601075"/>
                  <a:gd name="connsiteY177" fmla="*/ 3924300 h 4333875"/>
                  <a:gd name="connsiteX178" fmla="*/ 5905500 w 8601075"/>
                  <a:gd name="connsiteY178" fmla="*/ 3943350 h 4333875"/>
                  <a:gd name="connsiteX179" fmla="*/ 6000750 w 8601075"/>
                  <a:gd name="connsiteY179" fmla="*/ 3800475 h 4333875"/>
                  <a:gd name="connsiteX180" fmla="*/ 6153150 w 8601075"/>
                  <a:gd name="connsiteY180" fmla="*/ 3781425 h 4333875"/>
                  <a:gd name="connsiteX181" fmla="*/ 6257925 w 8601075"/>
                  <a:gd name="connsiteY181" fmla="*/ 3581400 h 4333875"/>
                  <a:gd name="connsiteX182" fmla="*/ 6448425 w 8601075"/>
                  <a:gd name="connsiteY182" fmla="*/ 3448050 h 4333875"/>
                  <a:gd name="connsiteX183" fmla="*/ 6581775 w 8601075"/>
                  <a:gd name="connsiteY183" fmla="*/ 3276600 h 4333875"/>
                  <a:gd name="connsiteX184" fmla="*/ 6496050 w 8601075"/>
                  <a:gd name="connsiteY184" fmla="*/ 3228975 h 4333875"/>
                  <a:gd name="connsiteX185" fmla="*/ 6438900 w 8601075"/>
                  <a:gd name="connsiteY185" fmla="*/ 3162300 h 4333875"/>
                  <a:gd name="connsiteX186" fmla="*/ 6419850 w 8601075"/>
                  <a:gd name="connsiteY186" fmla="*/ 3105150 h 4333875"/>
                  <a:gd name="connsiteX187" fmla="*/ 6362700 w 8601075"/>
                  <a:gd name="connsiteY187" fmla="*/ 3076575 h 4333875"/>
                  <a:gd name="connsiteX188" fmla="*/ 6410325 w 8601075"/>
                  <a:gd name="connsiteY188" fmla="*/ 3019425 h 4333875"/>
                  <a:gd name="connsiteX189" fmla="*/ 6438900 w 8601075"/>
                  <a:gd name="connsiteY189" fmla="*/ 2819400 h 4333875"/>
                  <a:gd name="connsiteX190" fmla="*/ 6496050 w 8601075"/>
                  <a:gd name="connsiteY190" fmla="*/ 2762250 h 4333875"/>
                  <a:gd name="connsiteX191" fmla="*/ 6657975 w 8601075"/>
                  <a:gd name="connsiteY191" fmla="*/ 2752725 h 4333875"/>
                  <a:gd name="connsiteX192" fmla="*/ 6781800 w 8601075"/>
                  <a:gd name="connsiteY192" fmla="*/ 2838450 h 4333875"/>
                  <a:gd name="connsiteX193" fmla="*/ 7010400 w 8601075"/>
                  <a:gd name="connsiteY193" fmla="*/ 2838450 h 4333875"/>
                  <a:gd name="connsiteX194" fmla="*/ 7162800 w 8601075"/>
                  <a:gd name="connsiteY194" fmla="*/ 2705100 h 4333875"/>
                  <a:gd name="connsiteX195" fmla="*/ 7229475 w 8601075"/>
                  <a:gd name="connsiteY195" fmla="*/ 2590800 h 4333875"/>
                  <a:gd name="connsiteX196" fmla="*/ 7248525 w 8601075"/>
                  <a:gd name="connsiteY196" fmla="*/ 2524125 h 4333875"/>
                  <a:gd name="connsiteX197" fmla="*/ 7372350 w 8601075"/>
                  <a:gd name="connsiteY197" fmla="*/ 2543175 h 4333875"/>
                  <a:gd name="connsiteX198" fmla="*/ 7553325 w 8601075"/>
                  <a:gd name="connsiteY198" fmla="*/ 2447925 h 4333875"/>
                  <a:gd name="connsiteX199" fmla="*/ 7620000 w 8601075"/>
                  <a:gd name="connsiteY199" fmla="*/ 2324100 h 4333875"/>
                  <a:gd name="connsiteX200" fmla="*/ 7696200 w 8601075"/>
                  <a:gd name="connsiteY200" fmla="*/ 2314575 h 4333875"/>
                  <a:gd name="connsiteX201" fmla="*/ 7658100 w 8601075"/>
                  <a:gd name="connsiteY201" fmla="*/ 2257425 h 4333875"/>
                  <a:gd name="connsiteX202" fmla="*/ 7753350 w 8601075"/>
                  <a:gd name="connsiteY202" fmla="*/ 2057400 h 4333875"/>
                  <a:gd name="connsiteX203" fmla="*/ 7934325 w 8601075"/>
                  <a:gd name="connsiteY203" fmla="*/ 2028825 h 4333875"/>
                  <a:gd name="connsiteX204" fmla="*/ 7953375 w 8601075"/>
                  <a:gd name="connsiteY204" fmla="*/ 1952625 h 4333875"/>
                  <a:gd name="connsiteX205" fmla="*/ 7953375 w 8601075"/>
                  <a:gd name="connsiteY205" fmla="*/ 1952625 h 4333875"/>
                  <a:gd name="connsiteX206" fmla="*/ 8010525 w 8601075"/>
                  <a:gd name="connsiteY206" fmla="*/ 1895475 h 4333875"/>
                  <a:gd name="connsiteX207" fmla="*/ 8048625 w 8601075"/>
                  <a:gd name="connsiteY207" fmla="*/ 1971675 h 4333875"/>
                  <a:gd name="connsiteX208" fmla="*/ 8077200 w 8601075"/>
                  <a:gd name="connsiteY208" fmla="*/ 1885950 h 4333875"/>
                  <a:gd name="connsiteX209" fmla="*/ 8220075 w 8601075"/>
                  <a:gd name="connsiteY209" fmla="*/ 1847850 h 4333875"/>
                  <a:gd name="connsiteX210" fmla="*/ 8296275 w 8601075"/>
                  <a:gd name="connsiteY210" fmla="*/ 1809750 h 4333875"/>
                  <a:gd name="connsiteX211" fmla="*/ 8324850 w 8601075"/>
                  <a:gd name="connsiteY211" fmla="*/ 1790700 h 4333875"/>
                  <a:gd name="connsiteX212" fmla="*/ 8410575 w 8601075"/>
                  <a:gd name="connsiteY212" fmla="*/ 1847850 h 4333875"/>
                  <a:gd name="connsiteX213" fmla="*/ 8505825 w 8601075"/>
                  <a:gd name="connsiteY213" fmla="*/ 1781175 h 4333875"/>
                  <a:gd name="connsiteX214" fmla="*/ 8572500 w 8601075"/>
                  <a:gd name="connsiteY214" fmla="*/ 1809750 h 4333875"/>
                  <a:gd name="connsiteX215" fmla="*/ 8601075 w 8601075"/>
                  <a:gd name="connsiteY215" fmla="*/ 1704975 h 4333875"/>
                  <a:gd name="connsiteX216" fmla="*/ 8553450 w 8601075"/>
                  <a:gd name="connsiteY216" fmla="*/ 1676400 h 4333875"/>
                  <a:gd name="connsiteX217" fmla="*/ 8534400 w 8601075"/>
                  <a:gd name="connsiteY217" fmla="*/ 1609725 h 4333875"/>
                  <a:gd name="connsiteX218" fmla="*/ 8277225 w 8601075"/>
                  <a:gd name="connsiteY218" fmla="*/ 1409700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124825 w 8601075"/>
                  <a:gd name="connsiteY221" fmla="*/ 1352550 h 4333875"/>
                  <a:gd name="connsiteX222" fmla="*/ 7924800 w 8601075"/>
                  <a:gd name="connsiteY222" fmla="*/ 1362075 h 4333875"/>
                  <a:gd name="connsiteX223" fmla="*/ 7867650 w 8601075"/>
                  <a:gd name="connsiteY223" fmla="*/ 1457325 h 4333875"/>
                  <a:gd name="connsiteX224" fmla="*/ 7896225 w 8601075"/>
                  <a:gd name="connsiteY224" fmla="*/ 1476375 h 4333875"/>
                  <a:gd name="connsiteX225" fmla="*/ 7858125 w 8601075"/>
                  <a:gd name="connsiteY225" fmla="*/ 1533525 h 4333875"/>
                  <a:gd name="connsiteX226" fmla="*/ 7658100 w 8601075"/>
                  <a:gd name="connsiteY226" fmla="*/ 1447800 h 4333875"/>
                  <a:gd name="connsiteX227" fmla="*/ 7515225 w 8601075"/>
                  <a:gd name="connsiteY227" fmla="*/ 1495425 h 4333875"/>
                  <a:gd name="connsiteX228" fmla="*/ 7467600 w 8601075"/>
                  <a:gd name="connsiteY228" fmla="*/ 1581150 h 4333875"/>
                  <a:gd name="connsiteX229" fmla="*/ 7296150 w 8601075"/>
                  <a:gd name="connsiteY22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295275 w 8601075"/>
                  <a:gd name="connsiteY122" fmla="*/ 657225 h 4333875"/>
                  <a:gd name="connsiteX123" fmla="*/ 180975 w 8601075"/>
                  <a:gd name="connsiteY123" fmla="*/ 638175 h 4333875"/>
                  <a:gd name="connsiteX124" fmla="*/ 180975 w 8601075"/>
                  <a:gd name="connsiteY124" fmla="*/ 638175 h 4333875"/>
                  <a:gd name="connsiteX125" fmla="*/ 57150 w 8601075"/>
                  <a:gd name="connsiteY125" fmla="*/ 733425 h 4333875"/>
                  <a:gd name="connsiteX126" fmla="*/ 19050 w 8601075"/>
                  <a:gd name="connsiteY126" fmla="*/ 790575 h 4333875"/>
                  <a:gd name="connsiteX127" fmla="*/ 0 w 8601075"/>
                  <a:gd name="connsiteY127" fmla="*/ 876300 h 4333875"/>
                  <a:gd name="connsiteX128" fmla="*/ 57150 w 8601075"/>
                  <a:gd name="connsiteY128" fmla="*/ 923925 h 4333875"/>
                  <a:gd name="connsiteX129" fmla="*/ 57150 w 8601075"/>
                  <a:gd name="connsiteY129" fmla="*/ 923925 h 4333875"/>
                  <a:gd name="connsiteX130" fmla="*/ 209550 w 8601075"/>
                  <a:gd name="connsiteY130" fmla="*/ 1114425 h 4333875"/>
                  <a:gd name="connsiteX131" fmla="*/ 209550 w 8601075"/>
                  <a:gd name="connsiteY131" fmla="*/ 1114425 h 4333875"/>
                  <a:gd name="connsiteX132" fmla="*/ 266700 w 8601075"/>
                  <a:gd name="connsiteY132" fmla="*/ 1295400 h 4333875"/>
                  <a:gd name="connsiteX133" fmla="*/ 409575 w 8601075"/>
                  <a:gd name="connsiteY133" fmla="*/ 1276350 h 4333875"/>
                  <a:gd name="connsiteX134" fmla="*/ 466725 w 8601075"/>
                  <a:gd name="connsiteY134" fmla="*/ 1362075 h 4333875"/>
                  <a:gd name="connsiteX135" fmla="*/ 542925 w 8601075"/>
                  <a:gd name="connsiteY135" fmla="*/ 1428750 h 4333875"/>
                  <a:gd name="connsiteX136" fmla="*/ 628650 w 8601075"/>
                  <a:gd name="connsiteY136" fmla="*/ 1571625 h 4333875"/>
                  <a:gd name="connsiteX137" fmla="*/ 628650 w 8601075"/>
                  <a:gd name="connsiteY137" fmla="*/ 1704975 h 4333875"/>
                  <a:gd name="connsiteX138" fmla="*/ 676275 w 8601075"/>
                  <a:gd name="connsiteY138" fmla="*/ 1771650 h 4333875"/>
                  <a:gd name="connsiteX139" fmla="*/ 657225 w 8601075"/>
                  <a:gd name="connsiteY139" fmla="*/ 2000250 h 4333875"/>
                  <a:gd name="connsiteX140" fmla="*/ 619125 w 8601075"/>
                  <a:gd name="connsiteY140" fmla="*/ 2095500 h 4333875"/>
                  <a:gd name="connsiteX141" fmla="*/ 542925 w 8601075"/>
                  <a:gd name="connsiteY141" fmla="*/ 2228850 h 4333875"/>
                  <a:gd name="connsiteX142" fmla="*/ 485775 w 8601075"/>
                  <a:gd name="connsiteY142" fmla="*/ 2362200 h 4333875"/>
                  <a:gd name="connsiteX143" fmla="*/ 552450 w 8601075"/>
                  <a:gd name="connsiteY143" fmla="*/ 2486025 h 4333875"/>
                  <a:gd name="connsiteX144" fmla="*/ 771525 w 8601075"/>
                  <a:gd name="connsiteY144" fmla="*/ 2571750 h 4333875"/>
                  <a:gd name="connsiteX145" fmla="*/ 866775 w 8601075"/>
                  <a:gd name="connsiteY145" fmla="*/ 2571750 h 4333875"/>
                  <a:gd name="connsiteX146" fmla="*/ 914400 w 8601075"/>
                  <a:gd name="connsiteY146" fmla="*/ 2638425 h 4333875"/>
                  <a:gd name="connsiteX147" fmla="*/ 1066800 w 8601075"/>
                  <a:gd name="connsiteY147" fmla="*/ 2638425 h 4333875"/>
                  <a:gd name="connsiteX148" fmla="*/ 1285875 w 8601075"/>
                  <a:gd name="connsiteY148" fmla="*/ 2705100 h 4333875"/>
                  <a:gd name="connsiteX149" fmla="*/ 1438275 w 8601075"/>
                  <a:gd name="connsiteY149" fmla="*/ 2838450 h 4333875"/>
                  <a:gd name="connsiteX150" fmla="*/ 1485900 w 8601075"/>
                  <a:gd name="connsiteY150" fmla="*/ 2914650 h 4333875"/>
                  <a:gd name="connsiteX151" fmla="*/ 1657350 w 8601075"/>
                  <a:gd name="connsiteY151" fmla="*/ 3038475 h 4333875"/>
                  <a:gd name="connsiteX152" fmla="*/ 1752600 w 8601075"/>
                  <a:gd name="connsiteY152" fmla="*/ 3057525 h 4333875"/>
                  <a:gd name="connsiteX153" fmla="*/ 1724025 w 8601075"/>
                  <a:gd name="connsiteY153" fmla="*/ 3143250 h 4333875"/>
                  <a:gd name="connsiteX154" fmla="*/ 1724025 w 8601075"/>
                  <a:gd name="connsiteY154" fmla="*/ 3143250 h 4333875"/>
                  <a:gd name="connsiteX155" fmla="*/ 1781175 w 8601075"/>
                  <a:gd name="connsiteY155" fmla="*/ 3181350 h 4333875"/>
                  <a:gd name="connsiteX156" fmla="*/ 1819275 w 8601075"/>
                  <a:gd name="connsiteY156" fmla="*/ 3362325 h 4333875"/>
                  <a:gd name="connsiteX157" fmla="*/ 1828800 w 8601075"/>
                  <a:gd name="connsiteY157" fmla="*/ 3457575 h 4333875"/>
                  <a:gd name="connsiteX158" fmla="*/ 1971675 w 8601075"/>
                  <a:gd name="connsiteY158" fmla="*/ 3590925 h 4333875"/>
                  <a:gd name="connsiteX159" fmla="*/ 1990725 w 8601075"/>
                  <a:gd name="connsiteY159" fmla="*/ 3714750 h 4333875"/>
                  <a:gd name="connsiteX160" fmla="*/ 2200275 w 8601075"/>
                  <a:gd name="connsiteY160" fmla="*/ 3695700 h 4333875"/>
                  <a:gd name="connsiteX161" fmla="*/ 2886075 w 8601075"/>
                  <a:gd name="connsiteY161" fmla="*/ 3886200 h 4333875"/>
                  <a:gd name="connsiteX162" fmla="*/ 3038475 w 8601075"/>
                  <a:gd name="connsiteY162" fmla="*/ 3819525 h 4333875"/>
                  <a:gd name="connsiteX163" fmla="*/ 3105150 w 8601075"/>
                  <a:gd name="connsiteY163" fmla="*/ 3867150 h 4333875"/>
                  <a:gd name="connsiteX164" fmla="*/ 3181350 w 8601075"/>
                  <a:gd name="connsiteY164" fmla="*/ 3800475 h 4333875"/>
                  <a:gd name="connsiteX165" fmla="*/ 3590925 w 8601075"/>
                  <a:gd name="connsiteY165" fmla="*/ 3943350 h 4333875"/>
                  <a:gd name="connsiteX166" fmla="*/ 3686175 w 8601075"/>
                  <a:gd name="connsiteY166" fmla="*/ 4057650 h 4333875"/>
                  <a:gd name="connsiteX167" fmla="*/ 3838575 w 8601075"/>
                  <a:gd name="connsiteY167" fmla="*/ 4057650 h 4333875"/>
                  <a:gd name="connsiteX168" fmla="*/ 4162425 w 8601075"/>
                  <a:gd name="connsiteY168" fmla="*/ 4248150 h 4333875"/>
                  <a:gd name="connsiteX169" fmla="*/ 4391025 w 8601075"/>
                  <a:gd name="connsiteY169" fmla="*/ 4200525 h 4333875"/>
                  <a:gd name="connsiteX170" fmla="*/ 4410075 w 8601075"/>
                  <a:gd name="connsiteY170" fmla="*/ 4305300 h 4333875"/>
                  <a:gd name="connsiteX171" fmla="*/ 4505325 w 8601075"/>
                  <a:gd name="connsiteY171" fmla="*/ 4276725 h 4333875"/>
                  <a:gd name="connsiteX172" fmla="*/ 4572000 w 8601075"/>
                  <a:gd name="connsiteY172" fmla="*/ 4333875 h 4333875"/>
                  <a:gd name="connsiteX173" fmla="*/ 4591050 w 8601075"/>
                  <a:gd name="connsiteY173" fmla="*/ 4248150 h 4333875"/>
                  <a:gd name="connsiteX174" fmla="*/ 5295900 w 8601075"/>
                  <a:gd name="connsiteY174" fmla="*/ 3924300 h 4333875"/>
                  <a:gd name="connsiteX175" fmla="*/ 5353050 w 8601075"/>
                  <a:gd name="connsiteY175" fmla="*/ 3990975 h 4333875"/>
                  <a:gd name="connsiteX176" fmla="*/ 5524500 w 8601075"/>
                  <a:gd name="connsiteY176" fmla="*/ 3914775 h 4333875"/>
                  <a:gd name="connsiteX177" fmla="*/ 5667375 w 8601075"/>
                  <a:gd name="connsiteY177" fmla="*/ 3962400 h 4333875"/>
                  <a:gd name="connsiteX178" fmla="*/ 5753100 w 8601075"/>
                  <a:gd name="connsiteY178" fmla="*/ 3924300 h 4333875"/>
                  <a:gd name="connsiteX179" fmla="*/ 5905500 w 8601075"/>
                  <a:gd name="connsiteY179" fmla="*/ 3943350 h 4333875"/>
                  <a:gd name="connsiteX180" fmla="*/ 6000750 w 8601075"/>
                  <a:gd name="connsiteY180" fmla="*/ 3800475 h 4333875"/>
                  <a:gd name="connsiteX181" fmla="*/ 6153150 w 8601075"/>
                  <a:gd name="connsiteY181" fmla="*/ 3781425 h 4333875"/>
                  <a:gd name="connsiteX182" fmla="*/ 6257925 w 8601075"/>
                  <a:gd name="connsiteY182" fmla="*/ 3581400 h 4333875"/>
                  <a:gd name="connsiteX183" fmla="*/ 6448425 w 8601075"/>
                  <a:gd name="connsiteY183" fmla="*/ 3448050 h 4333875"/>
                  <a:gd name="connsiteX184" fmla="*/ 6581775 w 8601075"/>
                  <a:gd name="connsiteY184" fmla="*/ 3276600 h 4333875"/>
                  <a:gd name="connsiteX185" fmla="*/ 6496050 w 8601075"/>
                  <a:gd name="connsiteY185" fmla="*/ 3228975 h 4333875"/>
                  <a:gd name="connsiteX186" fmla="*/ 6438900 w 8601075"/>
                  <a:gd name="connsiteY186" fmla="*/ 3162300 h 4333875"/>
                  <a:gd name="connsiteX187" fmla="*/ 6419850 w 8601075"/>
                  <a:gd name="connsiteY187" fmla="*/ 3105150 h 4333875"/>
                  <a:gd name="connsiteX188" fmla="*/ 6362700 w 8601075"/>
                  <a:gd name="connsiteY188" fmla="*/ 3076575 h 4333875"/>
                  <a:gd name="connsiteX189" fmla="*/ 6410325 w 8601075"/>
                  <a:gd name="connsiteY189" fmla="*/ 3019425 h 4333875"/>
                  <a:gd name="connsiteX190" fmla="*/ 6438900 w 8601075"/>
                  <a:gd name="connsiteY190" fmla="*/ 2819400 h 4333875"/>
                  <a:gd name="connsiteX191" fmla="*/ 6496050 w 8601075"/>
                  <a:gd name="connsiteY191" fmla="*/ 2762250 h 4333875"/>
                  <a:gd name="connsiteX192" fmla="*/ 6657975 w 8601075"/>
                  <a:gd name="connsiteY192" fmla="*/ 2752725 h 4333875"/>
                  <a:gd name="connsiteX193" fmla="*/ 6781800 w 8601075"/>
                  <a:gd name="connsiteY193" fmla="*/ 2838450 h 4333875"/>
                  <a:gd name="connsiteX194" fmla="*/ 7010400 w 8601075"/>
                  <a:gd name="connsiteY194" fmla="*/ 2838450 h 4333875"/>
                  <a:gd name="connsiteX195" fmla="*/ 7162800 w 8601075"/>
                  <a:gd name="connsiteY195" fmla="*/ 2705100 h 4333875"/>
                  <a:gd name="connsiteX196" fmla="*/ 7229475 w 8601075"/>
                  <a:gd name="connsiteY196" fmla="*/ 2590800 h 4333875"/>
                  <a:gd name="connsiteX197" fmla="*/ 7248525 w 8601075"/>
                  <a:gd name="connsiteY197" fmla="*/ 2524125 h 4333875"/>
                  <a:gd name="connsiteX198" fmla="*/ 7372350 w 8601075"/>
                  <a:gd name="connsiteY198" fmla="*/ 2543175 h 4333875"/>
                  <a:gd name="connsiteX199" fmla="*/ 7553325 w 8601075"/>
                  <a:gd name="connsiteY199" fmla="*/ 2447925 h 4333875"/>
                  <a:gd name="connsiteX200" fmla="*/ 7620000 w 8601075"/>
                  <a:gd name="connsiteY200" fmla="*/ 2324100 h 4333875"/>
                  <a:gd name="connsiteX201" fmla="*/ 7696200 w 8601075"/>
                  <a:gd name="connsiteY201" fmla="*/ 2314575 h 4333875"/>
                  <a:gd name="connsiteX202" fmla="*/ 7658100 w 8601075"/>
                  <a:gd name="connsiteY202" fmla="*/ 2257425 h 4333875"/>
                  <a:gd name="connsiteX203" fmla="*/ 7753350 w 8601075"/>
                  <a:gd name="connsiteY203" fmla="*/ 2057400 h 4333875"/>
                  <a:gd name="connsiteX204" fmla="*/ 7934325 w 8601075"/>
                  <a:gd name="connsiteY204" fmla="*/ 2028825 h 4333875"/>
                  <a:gd name="connsiteX205" fmla="*/ 7953375 w 8601075"/>
                  <a:gd name="connsiteY205" fmla="*/ 1952625 h 4333875"/>
                  <a:gd name="connsiteX206" fmla="*/ 7953375 w 8601075"/>
                  <a:gd name="connsiteY206" fmla="*/ 1952625 h 4333875"/>
                  <a:gd name="connsiteX207" fmla="*/ 8010525 w 8601075"/>
                  <a:gd name="connsiteY207" fmla="*/ 1895475 h 4333875"/>
                  <a:gd name="connsiteX208" fmla="*/ 8048625 w 8601075"/>
                  <a:gd name="connsiteY208" fmla="*/ 1971675 h 4333875"/>
                  <a:gd name="connsiteX209" fmla="*/ 8077200 w 8601075"/>
                  <a:gd name="connsiteY209" fmla="*/ 1885950 h 4333875"/>
                  <a:gd name="connsiteX210" fmla="*/ 8220075 w 8601075"/>
                  <a:gd name="connsiteY210" fmla="*/ 1847850 h 4333875"/>
                  <a:gd name="connsiteX211" fmla="*/ 8296275 w 8601075"/>
                  <a:gd name="connsiteY211" fmla="*/ 1809750 h 4333875"/>
                  <a:gd name="connsiteX212" fmla="*/ 8324850 w 8601075"/>
                  <a:gd name="connsiteY212" fmla="*/ 1790700 h 4333875"/>
                  <a:gd name="connsiteX213" fmla="*/ 8410575 w 8601075"/>
                  <a:gd name="connsiteY213" fmla="*/ 1847850 h 4333875"/>
                  <a:gd name="connsiteX214" fmla="*/ 8505825 w 8601075"/>
                  <a:gd name="connsiteY214" fmla="*/ 1781175 h 4333875"/>
                  <a:gd name="connsiteX215" fmla="*/ 8572500 w 8601075"/>
                  <a:gd name="connsiteY215" fmla="*/ 1809750 h 4333875"/>
                  <a:gd name="connsiteX216" fmla="*/ 8601075 w 8601075"/>
                  <a:gd name="connsiteY216" fmla="*/ 1704975 h 4333875"/>
                  <a:gd name="connsiteX217" fmla="*/ 8553450 w 8601075"/>
                  <a:gd name="connsiteY217" fmla="*/ 1676400 h 4333875"/>
                  <a:gd name="connsiteX218" fmla="*/ 8534400 w 8601075"/>
                  <a:gd name="connsiteY218" fmla="*/ 1609725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124825 w 8601075"/>
                  <a:gd name="connsiteY222" fmla="*/ 1352550 h 4333875"/>
                  <a:gd name="connsiteX223" fmla="*/ 7924800 w 8601075"/>
                  <a:gd name="connsiteY223" fmla="*/ 1362075 h 4333875"/>
                  <a:gd name="connsiteX224" fmla="*/ 7867650 w 8601075"/>
                  <a:gd name="connsiteY224" fmla="*/ 1457325 h 4333875"/>
                  <a:gd name="connsiteX225" fmla="*/ 7896225 w 8601075"/>
                  <a:gd name="connsiteY225" fmla="*/ 1476375 h 4333875"/>
                  <a:gd name="connsiteX226" fmla="*/ 7858125 w 8601075"/>
                  <a:gd name="connsiteY226" fmla="*/ 1533525 h 4333875"/>
                  <a:gd name="connsiteX227" fmla="*/ 7658100 w 8601075"/>
                  <a:gd name="connsiteY227" fmla="*/ 1447800 h 4333875"/>
                  <a:gd name="connsiteX228" fmla="*/ 7515225 w 8601075"/>
                  <a:gd name="connsiteY228" fmla="*/ 1495425 h 4333875"/>
                  <a:gd name="connsiteX229" fmla="*/ 7467600 w 8601075"/>
                  <a:gd name="connsiteY229" fmla="*/ 1581150 h 4333875"/>
                  <a:gd name="connsiteX230" fmla="*/ 7296150 w 8601075"/>
                  <a:gd name="connsiteY23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180975 w 8601075"/>
                  <a:gd name="connsiteY123" fmla="*/ 638175 h 4333875"/>
                  <a:gd name="connsiteX124" fmla="*/ 180975 w 8601075"/>
                  <a:gd name="connsiteY124" fmla="*/ 638175 h 4333875"/>
                  <a:gd name="connsiteX125" fmla="*/ 57150 w 8601075"/>
                  <a:gd name="connsiteY125" fmla="*/ 733425 h 4333875"/>
                  <a:gd name="connsiteX126" fmla="*/ 19050 w 8601075"/>
                  <a:gd name="connsiteY126" fmla="*/ 790575 h 4333875"/>
                  <a:gd name="connsiteX127" fmla="*/ 0 w 8601075"/>
                  <a:gd name="connsiteY127" fmla="*/ 876300 h 4333875"/>
                  <a:gd name="connsiteX128" fmla="*/ 57150 w 8601075"/>
                  <a:gd name="connsiteY128" fmla="*/ 923925 h 4333875"/>
                  <a:gd name="connsiteX129" fmla="*/ 57150 w 8601075"/>
                  <a:gd name="connsiteY129" fmla="*/ 923925 h 4333875"/>
                  <a:gd name="connsiteX130" fmla="*/ 209550 w 8601075"/>
                  <a:gd name="connsiteY130" fmla="*/ 1114425 h 4333875"/>
                  <a:gd name="connsiteX131" fmla="*/ 209550 w 8601075"/>
                  <a:gd name="connsiteY131" fmla="*/ 1114425 h 4333875"/>
                  <a:gd name="connsiteX132" fmla="*/ 266700 w 8601075"/>
                  <a:gd name="connsiteY132" fmla="*/ 1295400 h 4333875"/>
                  <a:gd name="connsiteX133" fmla="*/ 409575 w 8601075"/>
                  <a:gd name="connsiteY133" fmla="*/ 1276350 h 4333875"/>
                  <a:gd name="connsiteX134" fmla="*/ 466725 w 8601075"/>
                  <a:gd name="connsiteY134" fmla="*/ 1362075 h 4333875"/>
                  <a:gd name="connsiteX135" fmla="*/ 542925 w 8601075"/>
                  <a:gd name="connsiteY135" fmla="*/ 1428750 h 4333875"/>
                  <a:gd name="connsiteX136" fmla="*/ 628650 w 8601075"/>
                  <a:gd name="connsiteY136" fmla="*/ 1571625 h 4333875"/>
                  <a:gd name="connsiteX137" fmla="*/ 628650 w 8601075"/>
                  <a:gd name="connsiteY137" fmla="*/ 1704975 h 4333875"/>
                  <a:gd name="connsiteX138" fmla="*/ 676275 w 8601075"/>
                  <a:gd name="connsiteY138" fmla="*/ 1771650 h 4333875"/>
                  <a:gd name="connsiteX139" fmla="*/ 657225 w 8601075"/>
                  <a:gd name="connsiteY139" fmla="*/ 2000250 h 4333875"/>
                  <a:gd name="connsiteX140" fmla="*/ 619125 w 8601075"/>
                  <a:gd name="connsiteY140" fmla="*/ 2095500 h 4333875"/>
                  <a:gd name="connsiteX141" fmla="*/ 542925 w 8601075"/>
                  <a:gd name="connsiteY141" fmla="*/ 2228850 h 4333875"/>
                  <a:gd name="connsiteX142" fmla="*/ 485775 w 8601075"/>
                  <a:gd name="connsiteY142" fmla="*/ 2362200 h 4333875"/>
                  <a:gd name="connsiteX143" fmla="*/ 552450 w 8601075"/>
                  <a:gd name="connsiteY143" fmla="*/ 2486025 h 4333875"/>
                  <a:gd name="connsiteX144" fmla="*/ 771525 w 8601075"/>
                  <a:gd name="connsiteY144" fmla="*/ 2571750 h 4333875"/>
                  <a:gd name="connsiteX145" fmla="*/ 866775 w 8601075"/>
                  <a:gd name="connsiteY145" fmla="*/ 2571750 h 4333875"/>
                  <a:gd name="connsiteX146" fmla="*/ 914400 w 8601075"/>
                  <a:gd name="connsiteY146" fmla="*/ 2638425 h 4333875"/>
                  <a:gd name="connsiteX147" fmla="*/ 1066800 w 8601075"/>
                  <a:gd name="connsiteY147" fmla="*/ 2638425 h 4333875"/>
                  <a:gd name="connsiteX148" fmla="*/ 1285875 w 8601075"/>
                  <a:gd name="connsiteY148" fmla="*/ 2705100 h 4333875"/>
                  <a:gd name="connsiteX149" fmla="*/ 1438275 w 8601075"/>
                  <a:gd name="connsiteY149" fmla="*/ 2838450 h 4333875"/>
                  <a:gd name="connsiteX150" fmla="*/ 1485900 w 8601075"/>
                  <a:gd name="connsiteY150" fmla="*/ 2914650 h 4333875"/>
                  <a:gd name="connsiteX151" fmla="*/ 1657350 w 8601075"/>
                  <a:gd name="connsiteY151" fmla="*/ 3038475 h 4333875"/>
                  <a:gd name="connsiteX152" fmla="*/ 1752600 w 8601075"/>
                  <a:gd name="connsiteY152" fmla="*/ 3057525 h 4333875"/>
                  <a:gd name="connsiteX153" fmla="*/ 1724025 w 8601075"/>
                  <a:gd name="connsiteY153" fmla="*/ 3143250 h 4333875"/>
                  <a:gd name="connsiteX154" fmla="*/ 1724025 w 8601075"/>
                  <a:gd name="connsiteY154" fmla="*/ 3143250 h 4333875"/>
                  <a:gd name="connsiteX155" fmla="*/ 1781175 w 8601075"/>
                  <a:gd name="connsiteY155" fmla="*/ 3181350 h 4333875"/>
                  <a:gd name="connsiteX156" fmla="*/ 1819275 w 8601075"/>
                  <a:gd name="connsiteY156" fmla="*/ 3362325 h 4333875"/>
                  <a:gd name="connsiteX157" fmla="*/ 1828800 w 8601075"/>
                  <a:gd name="connsiteY157" fmla="*/ 3457575 h 4333875"/>
                  <a:gd name="connsiteX158" fmla="*/ 1971675 w 8601075"/>
                  <a:gd name="connsiteY158" fmla="*/ 3590925 h 4333875"/>
                  <a:gd name="connsiteX159" fmla="*/ 1990725 w 8601075"/>
                  <a:gd name="connsiteY159" fmla="*/ 3714750 h 4333875"/>
                  <a:gd name="connsiteX160" fmla="*/ 2200275 w 8601075"/>
                  <a:gd name="connsiteY160" fmla="*/ 3695700 h 4333875"/>
                  <a:gd name="connsiteX161" fmla="*/ 2886075 w 8601075"/>
                  <a:gd name="connsiteY161" fmla="*/ 3886200 h 4333875"/>
                  <a:gd name="connsiteX162" fmla="*/ 3038475 w 8601075"/>
                  <a:gd name="connsiteY162" fmla="*/ 3819525 h 4333875"/>
                  <a:gd name="connsiteX163" fmla="*/ 3105150 w 8601075"/>
                  <a:gd name="connsiteY163" fmla="*/ 3867150 h 4333875"/>
                  <a:gd name="connsiteX164" fmla="*/ 3181350 w 8601075"/>
                  <a:gd name="connsiteY164" fmla="*/ 3800475 h 4333875"/>
                  <a:gd name="connsiteX165" fmla="*/ 3590925 w 8601075"/>
                  <a:gd name="connsiteY165" fmla="*/ 3943350 h 4333875"/>
                  <a:gd name="connsiteX166" fmla="*/ 3686175 w 8601075"/>
                  <a:gd name="connsiteY166" fmla="*/ 4057650 h 4333875"/>
                  <a:gd name="connsiteX167" fmla="*/ 3838575 w 8601075"/>
                  <a:gd name="connsiteY167" fmla="*/ 4057650 h 4333875"/>
                  <a:gd name="connsiteX168" fmla="*/ 4162425 w 8601075"/>
                  <a:gd name="connsiteY168" fmla="*/ 4248150 h 4333875"/>
                  <a:gd name="connsiteX169" fmla="*/ 4391025 w 8601075"/>
                  <a:gd name="connsiteY169" fmla="*/ 4200525 h 4333875"/>
                  <a:gd name="connsiteX170" fmla="*/ 4410075 w 8601075"/>
                  <a:gd name="connsiteY170" fmla="*/ 4305300 h 4333875"/>
                  <a:gd name="connsiteX171" fmla="*/ 4505325 w 8601075"/>
                  <a:gd name="connsiteY171" fmla="*/ 4276725 h 4333875"/>
                  <a:gd name="connsiteX172" fmla="*/ 4572000 w 8601075"/>
                  <a:gd name="connsiteY172" fmla="*/ 4333875 h 4333875"/>
                  <a:gd name="connsiteX173" fmla="*/ 4591050 w 8601075"/>
                  <a:gd name="connsiteY173" fmla="*/ 4248150 h 4333875"/>
                  <a:gd name="connsiteX174" fmla="*/ 5295900 w 8601075"/>
                  <a:gd name="connsiteY174" fmla="*/ 3924300 h 4333875"/>
                  <a:gd name="connsiteX175" fmla="*/ 5353050 w 8601075"/>
                  <a:gd name="connsiteY175" fmla="*/ 3990975 h 4333875"/>
                  <a:gd name="connsiteX176" fmla="*/ 5524500 w 8601075"/>
                  <a:gd name="connsiteY176" fmla="*/ 3914775 h 4333875"/>
                  <a:gd name="connsiteX177" fmla="*/ 5667375 w 8601075"/>
                  <a:gd name="connsiteY177" fmla="*/ 3962400 h 4333875"/>
                  <a:gd name="connsiteX178" fmla="*/ 5753100 w 8601075"/>
                  <a:gd name="connsiteY178" fmla="*/ 3924300 h 4333875"/>
                  <a:gd name="connsiteX179" fmla="*/ 5905500 w 8601075"/>
                  <a:gd name="connsiteY179" fmla="*/ 3943350 h 4333875"/>
                  <a:gd name="connsiteX180" fmla="*/ 6000750 w 8601075"/>
                  <a:gd name="connsiteY180" fmla="*/ 3800475 h 4333875"/>
                  <a:gd name="connsiteX181" fmla="*/ 6153150 w 8601075"/>
                  <a:gd name="connsiteY181" fmla="*/ 3781425 h 4333875"/>
                  <a:gd name="connsiteX182" fmla="*/ 6257925 w 8601075"/>
                  <a:gd name="connsiteY182" fmla="*/ 3581400 h 4333875"/>
                  <a:gd name="connsiteX183" fmla="*/ 6448425 w 8601075"/>
                  <a:gd name="connsiteY183" fmla="*/ 3448050 h 4333875"/>
                  <a:gd name="connsiteX184" fmla="*/ 6581775 w 8601075"/>
                  <a:gd name="connsiteY184" fmla="*/ 3276600 h 4333875"/>
                  <a:gd name="connsiteX185" fmla="*/ 6496050 w 8601075"/>
                  <a:gd name="connsiteY185" fmla="*/ 3228975 h 4333875"/>
                  <a:gd name="connsiteX186" fmla="*/ 6438900 w 8601075"/>
                  <a:gd name="connsiteY186" fmla="*/ 3162300 h 4333875"/>
                  <a:gd name="connsiteX187" fmla="*/ 6419850 w 8601075"/>
                  <a:gd name="connsiteY187" fmla="*/ 3105150 h 4333875"/>
                  <a:gd name="connsiteX188" fmla="*/ 6362700 w 8601075"/>
                  <a:gd name="connsiteY188" fmla="*/ 3076575 h 4333875"/>
                  <a:gd name="connsiteX189" fmla="*/ 6410325 w 8601075"/>
                  <a:gd name="connsiteY189" fmla="*/ 3019425 h 4333875"/>
                  <a:gd name="connsiteX190" fmla="*/ 6438900 w 8601075"/>
                  <a:gd name="connsiteY190" fmla="*/ 2819400 h 4333875"/>
                  <a:gd name="connsiteX191" fmla="*/ 6496050 w 8601075"/>
                  <a:gd name="connsiteY191" fmla="*/ 2762250 h 4333875"/>
                  <a:gd name="connsiteX192" fmla="*/ 6657975 w 8601075"/>
                  <a:gd name="connsiteY192" fmla="*/ 2752725 h 4333875"/>
                  <a:gd name="connsiteX193" fmla="*/ 6781800 w 8601075"/>
                  <a:gd name="connsiteY193" fmla="*/ 2838450 h 4333875"/>
                  <a:gd name="connsiteX194" fmla="*/ 7010400 w 8601075"/>
                  <a:gd name="connsiteY194" fmla="*/ 2838450 h 4333875"/>
                  <a:gd name="connsiteX195" fmla="*/ 7162800 w 8601075"/>
                  <a:gd name="connsiteY195" fmla="*/ 2705100 h 4333875"/>
                  <a:gd name="connsiteX196" fmla="*/ 7229475 w 8601075"/>
                  <a:gd name="connsiteY196" fmla="*/ 2590800 h 4333875"/>
                  <a:gd name="connsiteX197" fmla="*/ 7248525 w 8601075"/>
                  <a:gd name="connsiteY197" fmla="*/ 2524125 h 4333875"/>
                  <a:gd name="connsiteX198" fmla="*/ 7372350 w 8601075"/>
                  <a:gd name="connsiteY198" fmla="*/ 2543175 h 4333875"/>
                  <a:gd name="connsiteX199" fmla="*/ 7553325 w 8601075"/>
                  <a:gd name="connsiteY199" fmla="*/ 2447925 h 4333875"/>
                  <a:gd name="connsiteX200" fmla="*/ 7620000 w 8601075"/>
                  <a:gd name="connsiteY200" fmla="*/ 2324100 h 4333875"/>
                  <a:gd name="connsiteX201" fmla="*/ 7696200 w 8601075"/>
                  <a:gd name="connsiteY201" fmla="*/ 2314575 h 4333875"/>
                  <a:gd name="connsiteX202" fmla="*/ 7658100 w 8601075"/>
                  <a:gd name="connsiteY202" fmla="*/ 2257425 h 4333875"/>
                  <a:gd name="connsiteX203" fmla="*/ 7753350 w 8601075"/>
                  <a:gd name="connsiteY203" fmla="*/ 2057400 h 4333875"/>
                  <a:gd name="connsiteX204" fmla="*/ 7934325 w 8601075"/>
                  <a:gd name="connsiteY204" fmla="*/ 2028825 h 4333875"/>
                  <a:gd name="connsiteX205" fmla="*/ 7953375 w 8601075"/>
                  <a:gd name="connsiteY205" fmla="*/ 1952625 h 4333875"/>
                  <a:gd name="connsiteX206" fmla="*/ 7953375 w 8601075"/>
                  <a:gd name="connsiteY206" fmla="*/ 1952625 h 4333875"/>
                  <a:gd name="connsiteX207" fmla="*/ 8010525 w 8601075"/>
                  <a:gd name="connsiteY207" fmla="*/ 1895475 h 4333875"/>
                  <a:gd name="connsiteX208" fmla="*/ 8048625 w 8601075"/>
                  <a:gd name="connsiteY208" fmla="*/ 1971675 h 4333875"/>
                  <a:gd name="connsiteX209" fmla="*/ 8077200 w 8601075"/>
                  <a:gd name="connsiteY209" fmla="*/ 1885950 h 4333875"/>
                  <a:gd name="connsiteX210" fmla="*/ 8220075 w 8601075"/>
                  <a:gd name="connsiteY210" fmla="*/ 1847850 h 4333875"/>
                  <a:gd name="connsiteX211" fmla="*/ 8296275 w 8601075"/>
                  <a:gd name="connsiteY211" fmla="*/ 1809750 h 4333875"/>
                  <a:gd name="connsiteX212" fmla="*/ 8324850 w 8601075"/>
                  <a:gd name="connsiteY212" fmla="*/ 1790700 h 4333875"/>
                  <a:gd name="connsiteX213" fmla="*/ 8410575 w 8601075"/>
                  <a:gd name="connsiteY213" fmla="*/ 1847850 h 4333875"/>
                  <a:gd name="connsiteX214" fmla="*/ 8505825 w 8601075"/>
                  <a:gd name="connsiteY214" fmla="*/ 1781175 h 4333875"/>
                  <a:gd name="connsiteX215" fmla="*/ 8572500 w 8601075"/>
                  <a:gd name="connsiteY215" fmla="*/ 1809750 h 4333875"/>
                  <a:gd name="connsiteX216" fmla="*/ 8601075 w 8601075"/>
                  <a:gd name="connsiteY216" fmla="*/ 1704975 h 4333875"/>
                  <a:gd name="connsiteX217" fmla="*/ 8553450 w 8601075"/>
                  <a:gd name="connsiteY217" fmla="*/ 1676400 h 4333875"/>
                  <a:gd name="connsiteX218" fmla="*/ 8534400 w 8601075"/>
                  <a:gd name="connsiteY218" fmla="*/ 1609725 h 4333875"/>
                  <a:gd name="connsiteX219" fmla="*/ 8277225 w 8601075"/>
                  <a:gd name="connsiteY219" fmla="*/ 1409700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124825 w 8601075"/>
                  <a:gd name="connsiteY222" fmla="*/ 1352550 h 4333875"/>
                  <a:gd name="connsiteX223" fmla="*/ 7924800 w 8601075"/>
                  <a:gd name="connsiteY223" fmla="*/ 1362075 h 4333875"/>
                  <a:gd name="connsiteX224" fmla="*/ 7867650 w 8601075"/>
                  <a:gd name="connsiteY224" fmla="*/ 1457325 h 4333875"/>
                  <a:gd name="connsiteX225" fmla="*/ 7896225 w 8601075"/>
                  <a:gd name="connsiteY225" fmla="*/ 1476375 h 4333875"/>
                  <a:gd name="connsiteX226" fmla="*/ 7858125 w 8601075"/>
                  <a:gd name="connsiteY226" fmla="*/ 1533525 h 4333875"/>
                  <a:gd name="connsiteX227" fmla="*/ 7658100 w 8601075"/>
                  <a:gd name="connsiteY227" fmla="*/ 1447800 h 4333875"/>
                  <a:gd name="connsiteX228" fmla="*/ 7515225 w 8601075"/>
                  <a:gd name="connsiteY228" fmla="*/ 1495425 h 4333875"/>
                  <a:gd name="connsiteX229" fmla="*/ 7467600 w 8601075"/>
                  <a:gd name="connsiteY229" fmla="*/ 1581150 h 4333875"/>
                  <a:gd name="connsiteX230" fmla="*/ 7296150 w 8601075"/>
                  <a:gd name="connsiteY23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180975 w 8601075"/>
                  <a:gd name="connsiteY124" fmla="*/ 638175 h 4333875"/>
                  <a:gd name="connsiteX125" fmla="*/ 180975 w 8601075"/>
                  <a:gd name="connsiteY125" fmla="*/ 638175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180975 w 8601075"/>
                  <a:gd name="connsiteY124" fmla="*/ 638175 h 4333875"/>
                  <a:gd name="connsiteX125" fmla="*/ 180975 w 8601075"/>
                  <a:gd name="connsiteY125" fmla="*/ 623888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57150 w 8601075"/>
                  <a:gd name="connsiteY126" fmla="*/ 733425 h 4333875"/>
                  <a:gd name="connsiteX127" fmla="*/ 19050 w 8601075"/>
                  <a:gd name="connsiteY127" fmla="*/ 790575 h 4333875"/>
                  <a:gd name="connsiteX128" fmla="*/ 0 w 8601075"/>
                  <a:gd name="connsiteY128" fmla="*/ 876300 h 4333875"/>
                  <a:gd name="connsiteX129" fmla="*/ 57150 w 8601075"/>
                  <a:gd name="connsiteY129" fmla="*/ 923925 h 4333875"/>
                  <a:gd name="connsiteX130" fmla="*/ 57150 w 8601075"/>
                  <a:gd name="connsiteY130" fmla="*/ 923925 h 4333875"/>
                  <a:gd name="connsiteX131" fmla="*/ 209550 w 8601075"/>
                  <a:gd name="connsiteY131" fmla="*/ 1114425 h 4333875"/>
                  <a:gd name="connsiteX132" fmla="*/ 209550 w 8601075"/>
                  <a:gd name="connsiteY132" fmla="*/ 1114425 h 4333875"/>
                  <a:gd name="connsiteX133" fmla="*/ 266700 w 8601075"/>
                  <a:gd name="connsiteY133" fmla="*/ 1295400 h 4333875"/>
                  <a:gd name="connsiteX134" fmla="*/ 409575 w 8601075"/>
                  <a:gd name="connsiteY134" fmla="*/ 1276350 h 4333875"/>
                  <a:gd name="connsiteX135" fmla="*/ 466725 w 8601075"/>
                  <a:gd name="connsiteY135" fmla="*/ 1362075 h 4333875"/>
                  <a:gd name="connsiteX136" fmla="*/ 542925 w 8601075"/>
                  <a:gd name="connsiteY136" fmla="*/ 1428750 h 4333875"/>
                  <a:gd name="connsiteX137" fmla="*/ 628650 w 8601075"/>
                  <a:gd name="connsiteY137" fmla="*/ 1571625 h 4333875"/>
                  <a:gd name="connsiteX138" fmla="*/ 628650 w 8601075"/>
                  <a:gd name="connsiteY138" fmla="*/ 1704975 h 4333875"/>
                  <a:gd name="connsiteX139" fmla="*/ 676275 w 8601075"/>
                  <a:gd name="connsiteY139" fmla="*/ 1771650 h 4333875"/>
                  <a:gd name="connsiteX140" fmla="*/ 657225 w 8601075"/>
                  <a:gd name="connsiteY140" fmla="*/ 2000250 h 4333875"/>
                  <a:gd name="connsiteX141" fmla="*/ 619125 w 8601075"/>
                  <a:gd name="connsiteY141" fmla="*/ 2095500 h 4333875"/>
                  <a:gd name="connsiteX142" fmla="*/ 542925 w 8601075"/>
                  <a:gd name="connsiteY142" fmla="*/ 2228850 h 4333875"/>
                  <a:gd name="connsiteX143" fmla="*/ 485775 w 8601075"/>
                  <a:gd name="connsiteY143" fmla="*/ 2362200 h 4333875"/>
                  <a:gd name="connsiteX144" fmla="*/ 552450 w 8601075"/>
                  <a:gd name="connsiteY144" fmla="*/ 2486025 h 4333875"/>
                  <a:gd name="connsiteX145" fmla="*/ 771525 w 8601075"/>
                  <a:gd name="connsiteY145" fmla="*/ 2571750 h 4333875"/>
                  <a:gd name="connsiteX146" fmla="*/ 866775 w 8601075"/>
                  <a:gd name="connsiteY146" fmla="*/ 2571750 h 4333875"/>
                  <a:gd name="connsiteX147" fmla="*/ 914400 w 8601075"/>
                  <a:gd name="connsiteY147" fmla="*/ 2638425 h 4333875"/>
                  <a:gd name="connsiteX148" fmla="*/ 1066800 w 8601075"/>
                  <a:gd name="connsiteY148" fmla="*/ 2638425 h 4333875"/>
                  <a:gd name="connsiteX149" fmla="*/ 1285875 w 8601075"/>
                  <a:gd name="connsiteY149" fmla="*/ 2705100 h 4333875"/>
                  <a:gd name="connsiteX150" fmla="*/ 1438275 w 8601075"/>
                  <a:gd name="connsiteY150" fmla="*/ 2838450 h 4333875"/>
                  <a:gd name="connsiteX151" fmla="*/ 1485900 w 8601075"/>
                  <a:gd name="connsiteY151" fmla="*/ 2914650 h 4333875"/>
                  <a:gd name="connsiteX152" fmla="*/ 1657350 w 8601075"/>
                  <a:gd name="connsiteY152" fmla="*/ 3038475 h 4333875"/>
                  <a:gd name="connsiteX153" fmla="*/ 1752600 w 8601075"/>
                  <a:gd name="connsiteY153" fmla="*/ 3057525 h 4333875"/>
                  <a:gd name="connsiteX154" fmla="*/ 1724025 w 8601075"/>
                  <a:gd name="connsiteY154" fmla="*/ 3143250 h 4333875"/>
                  <a:gd name="connsiteX155" fmla="*/ 1724025 w 8601075"/>
                  <a:gd name="connsiteY155" fmla="*/ 3143250 h 4333875"/>
                  <a:gd name="connsiteX156" fmla="*/ 1781175 w 8601075"/>
                  <a:gd name="connsiteY156" fmla="*/ 3181350 h 4333875"/>
                  <a:gd name="connsiteX157" fmla="*/ 1819275 w 8601075"/>
                  <a:gd name="connsiteY157" fmla="*/ 3362325 h 4333875"/>
                  <a:gd name="connsiteX158" fmla="*/ 1828800 w 8601075"/>
                  <a:gd name="connsiteY158" fmla="*/ 3457575 h 4333875"/>
                  <a:gd name="connsiteX159" fmla="*/ 1971675 w 8601075"/>
                  <a:gd name="connsiteY159" fmla="*/ 3590925 h 4333875"/>
                  <a:gd name="connsiteX160" fmla="*/ 1990725 w 8601075"/>
                  <a:gd name="connsiteY160" fmla="*/ 3714750 h 4333875"/>
                  <a:gd name="connsiteX161" fmla="*/ 2200275 w 8601075"/>
                  <a:gd name="connsiteY161" fmla="*/ 3695700 h 4333875"/>
                  <a:gd name="connsiteX162" fmla="*/ 2886075 w 8601075"/>
                  <a:gd name="connsiteY162" fmla="*/ 3886200 h 4333875"/>
                  <a:gd name="connsiteX163" fmla="*/ 3038475 w 8601075"/>
                  <a:gd name="connsiteY163" fmla="*/ 3819525 h 4333875"/>
                  <a:gd name="connsiteX164" fmla="*/ 3105150 w 8601075"/>
                  <a:gd name="connsiteY164" fmla="*/ 3867150 h 4333875"/>
                  <a:gd name="connsiteX165" fmla="*/ 3181350 w 8601075"/>
                  <a:gd name="connsiteY165" fmla="*/ 3800475 h 4333875"/>
                  <a:gd name="connsiteX166" fmla="*/ 3590925 w 8601075"/>
                  <a:gd name="connsiteY166" fmla="*/ 3943350 h 4333875"/>
                  <a:gd name="connsiteX167" fmla="*/ 3686175 w 8601075"/>
                  <a:gd name="connsiteY167" fmla="*/ 4057650 h 4333875"/>
                  <a:gd name="connsiteX168" fmla="*/ 3838575 w 8601075"/>
                  <a:gd name="connsiteY168" fmla="*/ 4057650 h 4333875"/>
                  <a:gd name="connsiteX169" fmla="*/ 4162425 w 8601075"/>
                  <a:gd name="connsiteY169" fmla="*/ 4248150 h 4333875"/>
                  <a:gd name="connsiteX170" fmla="*/ 4391025 w 8601075"/>
                  <a:gd name="connsiteY170" fmla="*/ 4200525 h 4333875"/>
                  <a:gd name="connsiteX171" fmla="*/ 4410075 w 8601075"/>
                  <a:gd name="connsiteY171" fmla="*/ 4305300 h 4333875"/>
                  <a:gd name="connsiteX172" fmla="*/ 4505325 w 8601075"/>
                  <a:gd name="connsiteY172" fmla="*/ 4276725 h 4333875"/>
                  <a:gd name="connsiteX173" fmla="*/ 4572000 w 8601075"/>
                  <a:gd name="connsiteY173" fmla="*/ 4333875 h 4333875"/>
                  <a:gd name="connsiteX174" fmla="*/ 4591050 w 8601075"/>
                  <a:gd name="connsiteY174" fmla="*/ 4248150 h 4333875"/>
                  <a:gd name="connsiteX175" fmla="*/ 5295900 w 8601075"/>
                  <a:gd name="connsiteY175" fmla="*/ 3924300 h 4333875"/>
                  <a:gd name="connsiteX176" fmla="*/ 5353050 w 8601075"/>
                  <a:gd name="connsiteY176" fmla="*/ 3990975 h 4333875"/>
                  <a:gd name="connsiteX177" fmla="*/ 5524500 w 8601075"/>
                  <a:gd name="connsiteY177" fmla="*/ 3914775 h 4333875"/>
                  <a:gd name="connsiteX178" fmla="*/ 5667375 w 8601075"/>
                  <a:gd name="connsiteY178" fmla="*/ 3962400 h 4333875"/>
                  <a:gd name="connsiteX179" fmla="*/ 5753100 w 8601075"/>
                  <a:gd name="connsiteY179" fmla="*/ 3924300 h 4333875"/>
                  <a:gd name="connsiteX180" fmla="*/ 5905500 w 8601075"/>
                  <a:gd name="connsiteY180" fmla="*/ 3943350 h 4333875"/>
                  <a:gd name="connsiteX181" fmla="*/ 6000750 w 8601075"/>
                  <a:gd name="connsiteY181" fmla="*/ 3800475 h 4333875"/>
                  <a:gd name="connsiteX182" fmla="*/ 6153150 w 8601075"/>
                  <a:gd name="connsiteY182" fmla="*/ 3781425 h 4333875"/>
                  <a:gd name="connsiteX183" fmla="*/ 6257925 w 8601075"/>
                  <a:gd name="connsiteY183" fmla="*/ 3581400 h 4333875"/>
                  <a:gd name="connsiteX184" fmla="*/ 6448425 w 8601075"/>
                  <a:gd name="connsiteY184" fmla="*/ 3448050 h 4333875"/>
                  <a:gd name="connsiteX185" fmla="*/ 6581775 w 8601075"/>
                  <a:gd name="connsiteY185" fmla="*/ 3276600 h 4333875"/>
                  <a:gd name="connsiteX186" fmla="*/ 6496050 w 8601075"/>
                  <a:gd name="connsiteY186" fmla="*/ 3228975 h 4333875"/>
                  <a:gd name="connsiteX187" fmla="*/ 6438900 w 8601075"/>
                  <a:gd name="connsiteY187" fmla="*/ 3162300 h 4333875"/>
                  <a:gd name="connsiteX188" fmla="*/ 6419850 w 8601075"/>
                  <a:gd name="connsiteY188" fmla="*/ 3105150 h 4333875"/>
                  <a:gd name="connsiteX189" fmla="*/ 6362700 w 8601075"/>
                  <a:gd name="connsiteY189" fmla="*/ 3076575 h 4333875"/>
                  <a:gd name="connsiteX190" fmla="*/ 6410325 w 8601075"/>
                  <a:gd name="connsiteY190" fmla="*/ 3019425 h 4333875"/>
                  <a:gd name="connsiteX191" fmla="*/ 6438900 w 8601075"/>
                  <a:gd name="connsiteY191" fmla="*/ 2819400 h 4333875"/>
                  <a:gd name="connsiteX192" fmla="*/ 6496050 w 8601075"/>
                  <a:gd name="connsiteY192" fmla="*/ 2762250 h 4333875"/>
                  <a:gd name="connsiteX193" fmla="*/ 6657975 w 8601075"/>
                  <a:gd name="connsiteY193" fmla="*/ 2752725 h 4333875"/>
                  <a:gd name="connsiteX194" fmla="*/ 6781800 w 8601075"/>
                  <a:gd name="connsiteY194" fmla="*/ 2838450 h 4333875"/>
                  <a:gd name="connsiteX195" fmla="*/ 7010400 w 8601075"/>
                  <a:gd name="connsiteY195" fmla="*/ 2838450 h 4333875"/>
                  <a:gd name="connsiteX196" fmla="*/ 7162800 w 8601075"/>
                  <a:gd name="connsiteY196" fmla="*/ 2705100 h 4333875"/>
                  <a:gd name="connsiteX197" fmla="*/ 7229475 w 8601075"/>
                  <a:gd name="connsiteY197" fmla="*/ 2590800 h 4333875"/>
                  <a:gd name="connsiteX198" fmla="*/ 7248525 w 8601075"/>
                  <a:gd name="connsiteY198" fmla="*/ 2524125 h 4333875"/>
                  <a:gd name="connsiteX199" fmla="*/ 7372350 w 8601075"/>
                  <a:gd name="connsiteY199" fmla="*/ 2543175 h 4333875"/>
                  <a:gd name="connsiteX200" fmla="*/ 7553325 w 8601075"/>
                  <a:gd name="connsiteY200" fmla="*/ 2447925 h 4333875"/>
                  <a:gd name="connsiteX201" fmla="*/ 7620000 w 8601075"/>
                  <a:gd name="connsiteY201" fmla="*/ 2324100 h 4333875"/>
                  <a:gd name="connsiteX202" fmla="*/ 7696200 w 8601075"/>
                  <a:gd name="connsiteY202" fmla="*/ 2314575 h 4333875"/>
                  <a:gd name="connsiteX203" fmla="*/ 7658100 w 8601075"/>
                  <a:gd name="connsiteY203" fmla="*/ 2257425 h 4333875"/>
                  <a:gd name="connsiteX204" fmla="*/ 7753350 w 8601075"/>
                  <a:gd name="connsiteY204" fmla="*/ 2057400 h 4333875"/>
                  <a:gd name="connsiteX205" fmla="*/ 7934325 w 8601075"/>
                  <a:gd name="connsiteY205" fmla="*/ 2028825 h 4333875"/>
                  <a:gd name="connsiteX206" fmla="*/ 7953375 w 8601075"/>
                  <a:gd name="connsiteY206" fmla="*/ 1952625 h 4333875"/>
                  <a:gd name="connsiteX207" fmla="*/ 7953375 w 8601075"/>
                  <a:gd name="connsiteY207" fmla="*/ 1952625 h 4333875"/>
                  <a:gd name="connsiteX208" fmla="*/ 8010525 w 8601075"/>
                  <a:gd name="connsiteY208" fmla="*/ 1895475 h 4333875"/>
                  <a:gd name="connsiteX209" fmla="*/ 8048625 w 8601075"/>
                  <a:gd name="connsiteY209" fmla="*/ 1971675 h 4333875"/>
                  <a:gd name="connsiteX210" fmla="*/ 8077200 w 8601075"/>
                  <a:gd name="connsiteY210" fmla="*/ 1885950 h 4333875"/>
                  <a:gd name="connsiteX211" fmla="*/ 8220075 w 8601075"/>
                  <a:gd name="connsiteY211" fmla="*/ 1847850 h 4333875"/>
                  <a:gd name="connsiteX212" fmla="*/ 8296275 w 8601075"/>
                  <a:gd name="connsiteY212" fmla="*/ 1809750 h 4333875"/>
                  <a:gd name="connsiteX213" fmla="*/ 8324850 w 8601075"/>
                  <a:gd name="connsiteY213" fmla="*/ 1790700 h 4333875"/>
                  <a:gd name="connsiteX214" fmla="*/ 8410575 w 8601075"/>
                  <a:gd name="connsiteY214" fmla="*/ 1847850 h 4333875"/>
                  <a:gd name="connsiteX215" fmla="*/ 8505825 w 8601075"/>
                  <a:gd name="connsiteY215" fmla="*/ 1781175 h 4333875"/>
                  <a:gd name="connsiteX216" fmla="*/ 8572500 w 8601075"/>
                  <a:gd name="connsiteY216" fmla="*/ 1809750 h 4333875"/>
                  <a:gd name="connsiteX217" fmla="*/ 8601075 w 8601075"/>
                  <a:gd name="connsiteY217" fmla="*/ 1704975 h 4333875"/>
                  <a:gd name="connsiteX218" fmla="*/ 8553450 w 8601075"/>
                  <a:gd name="connsiteY218" fmla="*/ 1676400 h 4333875"/>
                  <a:gd name="connsiteX219" fmla="*/ 8534400 w 8601075"/>
                  <a:gd name="connsiteY219" fmla="*/ 1609725 h 4333875"/>
                  <a:gd name="connsiteX220" fmla="*/ 8277225 w 8601075"/>
                  <a:gd name="connsiteY220" fmla="*/ 1409700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124825 w 8601075"/>
                  <a:gd name="connsiteY223" fmla="*/ 1352550 h 4333875"/>
                  <a:gd name="connsiteX224" fmla="*/ 7924800 w 8601075"/>
                  <a:gd name="connsiteY224" fmla="*/ 1362075 h 4333875"/>
                  <a:gd name="connsiteX225" fmla="*/ 7867650 w 8601075"/>
                  <a:gd name="connsiteY225" fmla="*/ 1457325 h 4333875"/>
                  <a:gd name="connsiteX226" fmla="*/ 7896225 w 8601075"/>
                  <a:gd name="connsiteY226" fmla="*/ 1476375 h 4333875"/>
                  <a:gd name="connsiteX227" fmla="*/ 7858125 w 8601075"/>
                  <a:gd name="connsiteY227" fmla="*/ 1533525 h 4333875"/>
                  <a:gd name="connsiteX228" fmla="*/ 7658100 w 8601075"/>
                  <a:gd name="connsiteY228" fmla="*/ 1447800 h 4333875"/>
                  <a:gd name="connsiteX229" fmla="*/ 7515225 w 8601075"/>
                  <a:gd name="connsiteY229" fmla="*/ 1495425 h 4333875"/>
                  <a:gd name="connsiteX230" fmla="*/ 7467600 w 8601075"/>
                  <a:gd name="connsiteY230" fmla="*/ 1581150 h 4333875"/>
                  <a:gd name="connsiteX231" fmla="*/ 7296150 w 8601075"/>
                  <a:gd name="connsiteY23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57150 w 8601075"/>
                  <a:gd name="connsiteY127" fmla="*/ 733425 h 4333875"/>
                  <a:gd name="connsiteX128" fmla="*/ 19050 w 8601075"/>
                  <a:gd name="connsiteY128" fmla="*/ 790575 h 4333875"/>
                  <a:gd name="connsiteX129" fmla="*/ 0 w 8601075"/>
                  <a:gd name="connsiteY129" fmla="*/ 876300 h 4333875"/>
                  <a:gd name="connsiteX130" fmla="*/ 57150 w 8601075"/>
                  <a:gd name="connsiteY130" fmla="*/ 923925 h 4333875"/>
                  <a:gd name="connsiteX131" fmla="*/ 57150 w 8601075"/>
                  <a:gd name="connsiteY131" fmla="*/ 923925 h 4333875"/>
                  <a:gd name="connsiteX132" fmla="*/ 209550 w 8601075"/>
                  <a:gd name="connsiteY132" fmla="*/ 1114425 h 4333875"/>
                  <a:gd name="connsiteX133" fmla="*/ 209550 w 8601075"/>
                  <a:gd name="connsiteY133" fmla="*/ 1114425 h 4333875"/>
                  <a:gd name="connsiteX134" fmla="*/ 266700 w 8601075"/>
                  <a:gd name="connsiteY134" fmla="*/ 1295400 h 4333875"/>
                  <a:gd name="connsiteX135" fmla="*/ 409575 w 8601075"/>
                  <a:gd name="connsiteY135" fmla="*/ 1276350 h 4333875"/>
                  <a:gd name="connsiteX136" fmla="*/ 466725 w 8601075"/>
                  <a:gd name="connsiteY136" fmla="*/ 1362075 h 4333875"/>
                  <a:gd name="connsiteX137" fmla="*/ 542925 w 8601075"/>
                  <a:gd name="connsiteY137" fmla="*/ 1428750 h 4333875"/>
                  <a:gd name="connsiteX138" fmla="*/ 628650 w 8601075"/>
                  <a:gd name="connsiteY138" fmla="*/ 1571625 h 4333875"/>
                  <a:gd name="connsiteX139" fmla="*/ 628650 w 8601075"/>
                  <a:gd name="connsiteY139" fmla="*/ 1704975 h 4333875"/>
                  <a:gd name="connsiteX140" fmla="*/ 676275 w 8601075"/>
                  <a:gd name="connsiteY140" fmla="*/ 1771650 h 4333875"/>
                  <a:gd name="connsiteX141" fmla="*/ 657225 w 8601075"/>
                  <a:gd name="connsiteY141" fmla="*/ 2000250 h 4333875"/>
                  <a:gd name="connsiteX142" fmla="*/ 619125 w 8601075"/>
                  <a:gd name="connsiteY142" fmla="*/ 2095500 h 4333875"/>
                  <a:gd name="connsiteX143" fmla="*/ 542925 w 8601075"/>
                  <a:gd name="connsiteY143" fmla="*/ 2228850 h 4333875"/>
                  <a:gd name="connsiteX144" fmla="*/ 485775 w 8601075"/>
                  <a:gd name="connsiteY144" fmla="*/ 2362200 h 4333875"/>
                  <a:gd name="connsiteX145" fmla="*/ 552450 w 8601075"/>
                  <a:gd name="connsiteY145" fmla="*/ 2486025 h 4333875"/>
                  <a:gd name="connsiteX146" fmla="*/ 771525 w 8601075"/>
                  <a:gd name="connsiteY146" fmla="*/ 2571750 h 4333875"/>
                  <a:gd name="connsiteX147" fmla="*/ 866775 w 8601075"/>
                  <a:gd name="connsiteY147" fmla="*/ 2571750 h 4333875"/>
                  <a:gd name="connsiteX148" fmla="*/ 914400 w 8601075"/>
                  <a:gd name="connsiteY148" fmla="*/ 2638425 h 4333875"/>
                  <a:gd name="connsiteX149" fmla="*/ 1066800 w 8601075"/>
                  <a:gd name="connsiteY149" fmla="*/ 2638425 h 4333875"/>
                  <a:gd name="connsiteX150" fmla="*/ 1285875 w 8601075"/>
                  <a:gd name="connsiteY150" fmla="*/ 2705100 h 4333875"/>
                  <a:gd name="connsiteX151" fmla="*/ 1438275 w 8601075"/>
                  <a:gd name="connsiteY151" fmla="*/ 2838450 h 4333875"/>
                  <a:gd name="connsiteX152" fmla="*/ 1485900 w 8601075"/>
                  <a:gd name="connsiteY152" fmla="*/ 2914650 h 4333875"/>
                  <a:gd name="connsiteX153" fmla="*/ 1657350 w 8601075"/>
                  <a:gd name="connsiteY153" fmla="*/ 3038475 h 4333875"/>
                  <a:gd name="connsiteX154" fmla="*/ 1752600 w 8601075"/>
                  <a:gd name="connsiteY154" fmla="*/ 3057525 h 4333875"/>
                  <a:gd name="connsiteX155" fmla="*/ 1724025 w 8601075"/>
                  <a:gd name="connsiteY155" fmla="*/ 3143250 h 4333875"/>
                  <a:gd name="connsiteX156" fmla="*/ 1724025 w 8601075"/>
                  <a:gd name="connsiteY156" fmla="*/ 3143250 h 4333875"/>
                  <a:gd name="connsiteX157" fmla="*/ 1781175 w 8601075"/>
                  <a:gd name="connsiteY157" fmla="*/ 3181350 h 4333875"/>
                  <a:gd name="connsiteX158" fmla="*/ 1819275 w 8601075"/>
                  <a:gd name="connsiteY158" fmla="*/ 3362325 h 4333875"/>
                  <a:gd name="connsiteX159" fmla="*/ 1828800 w 8601075"/>
                  <a:gd name="connsiteY159" fmla="*/ 3457575 h 4333875"/>
                  <a:gd name="connsiteX160" fmla="*/ 1971675 w 8601075"/>
                  <a:gd name="connsiteY160" fmla="*/ 3590925 h 4333875"/>
                  <a:gd name="connsiteX161" fmla="*/ 1990725 w 8601075"/>
                  <a:gd name="connsiteY161" fmla="*/ 3714750 h 4333875"/>
                  <a:gd name="connsiteX162" fmla="*/ 2200275 w 8601075"/>
                  <a:gd name="connsiteY162" fmla="*/ 3695700 h 4333875"/>
                  <a:gd name="connsiteX163" fmla="*/ 2886075 w 8601075"/>
                  <a:gd name="connsiteY163" fmla="*/ 3886200 h 4333875"/>
                  <a:gd name="connsiteX164" fmla="*/ 3038475 w 8601075"/>
                  <a:gd name="connsiteY164" fmla="*/ 3819525 h 4333875"/>
                  <a:gd name="connsiteX165" fmla="*/ 3105150 w 8601075"/>
                  <a:gd name="connsiteY165" fmla="*/ 3867150 h 4333875"/>
                  <a:gd name="connsiteX166" fmla="*/ 3181350 w 8601075"/>
                  <a:gd name="connsiteY166" fmla="*/ 3800475 h 4333875"/>
                  <a:gd name="connsiteX167" fmla="*/ 3590925 w 8601075"/>
                  <a:gd name="connsiteY167" fmla="*/ 3943350 h 4333875"/>
                  <a:gd name="connsiteX168" fmla="*/ 3686175 w 8601075"/>
                  <a:gd name="connsiteY168" fmla="*/ 4057650 h 4333875"/>
                  <a:gd name="connsiteX169" fmla="*/ 3838575 w 8601075"/>
                  <a:gd name="connsiteY169" fmla="*/ 4057650 h 4333875"/>
                  <a:gd name="connsiteX170" fmla="*/ 4162425 w 8601075"/>
                  <a:gd name="connsiteY170" fmla="*/ 4248150 h 4333875"/>
                  <a:gd name="connsiteX171" fmla="*/ 4391025 w 8601075"/>
                  <a:gd name="connsiteY171" fmla="*/ 4200525 h 4333875"/>
                  <a:gd name="connsiteX172" fmla="*/ 4410075 w 8601075"/>
                  <a:gd name="connsiteY172" fmla="*/ 4305300 h 4333875"/>
                  <a:gd name="connsiteX173" fmla="*/ 4505325 w 8601075"/>
                  <a:gd name="connsiteY173" fmla="*/ 4276725 h 4333875"/>
                  <a:gd name="connsiteX174" fmla="*/ 4572000 w 8601075"/>
                  <a:gd name="connsiteY174" fmla="*/ 4333875 h 4333875"/>
                  <a:gd name="connsiteX175" fmla="*/ 4591050 w 8601075"/>
                  <a:gd name="connsiteY175" fmla="*/ 4248150 h 4333875"/>
                  <a:gd name="connsiteX176" fmla="*/ 5295900 w 8601075"/>
                  <a:gd name="connsiteY176" fmla="*/ 3924300 h 4333875"/>
                  <a:gd name="connsiteX177" fmla="*/ 5353050 w 8601075"/>
                  <a:gd name="connsiteY177" fmla="*/ 3990975 h 4333875"/>
                  <a:gd name="connsiteX178" fmla="*/ 5524500 w 8601075"/>
                  <a:gd name="connsiteY178" fmla="*/ 3914775 h 4333875"/>
                  <a:gd name="connsiteX179" fmla="*/ 5667375 w 8601075"/>
                  <a:gd name="connsiteY179" fmla="*/ 3962400 h 4333875"/>
                  <a:gd name="connsiteX180" fmla="*/ 5753100 w 8601075"/>
                  <a:gd name="connsiteY180" fmla="*/ 3924300 h 4333875"/>
                  <a:gd name="connsiteX181" fmla="*/ 5905500 w 8601075"/>
                  <a:gd name="connsiteY181" fmla="*/ 3943350 h 4333875"/>
                  <a:gd name="connsiteX182" fmla="*/ 6000750 w 8601075"/>
                  <a:gd name="connsiteY182" fmla="*/ 3800475 h 4333875"/>
                  <a:gd name="connsiteX183" fmla="*/ 6153150 w 8601075"/>
                  <a:gd name="connsiteY183" fmla="*/ 3781425 h 4333875"/>
                  <a:gd name="connsiteX184" fmla="*/ 6257925 w 8601075"/>
                  <a:gd name="connsiteY184" fmla="*/ 3581400 h 4333875"/>
                  <a:gd name="connsiteX185" fmla="*/ 6448425 w 8601075"/>
                  <a:gd name="connsiteY185" fmla="*/ 3448050 h 4333875"/>
                  <a:gd name="connsiteX186" fmla="*/ 6581775 w 8601075"/>
                  <a:gd name="connsiteY186" fmla="*/ 3276600 h 4333875"/>
                  <a:gd name="connsiteX187" fmla="*/ 6496050 w 8601075"/>
                  <a:gd name="connsiteY187" fmla="*/ 3228975 h 4333875"/>
                  <a:gd name="connsiteX188" fmla="*/ 6438900 w 8601075"/>
                  <a:gd name="connsiteY188" fmla="*/ 3162300 h 4333875"/>
                  <a:gd name="connsiteX189" fmla="*/ 6419850 w 8601075"/>
                  <a:gd name="connsiteY189" fmla="*/ 3105150 h 4333875"/>
                  <a:gd name="connsiteX190" fmla="*/ 6362700 w 8601075"/>
                  <a:gd name="connsiteY190" fmla="*/ 3076575 h 4333875"/>
                  <a:gd name="connsiteX191" fmla="*/ 6410325 w 8601075"/>
                  <a:gd name="connsiteY191" fmla="*/ 3019425 h 4333875"/>
                  <a:gd name="connsiteX192" fmla="*/ 6438900 w 8601075"/>
                  <a:gd name="connsiteY192" fmla="*/ 2819400 h 4333875"/>
                  <a:gd name="connsiteX193" fmla="*/ 6496050 w 8601075"/>
                  <a:gd name="connsiteY193" fmla="*/ 2762250 h 4333875"/>
                  <a:gd name="connsiteX194" fmla="*/ 6657975 w 8601075"/>
                  <a:gd name="connsiteY194" fmla="*/ 2752725 h 4333875"/>
                  <a:gd name="connsiteX195" fmla="*/ 6781800 w 8601075"/>
                  <a:gd name="connsiteY195" fmla="*/ 2838450 h 4333875"/>
                  <a:gd name="connsiteX196" fmla="*/ 7010400 w 8601075"/>
                  <a:gd name="connsiteY196" fmla="*/ 2838450 h 4333875"/>
                  <a:gd name="connsiteX197" fmla="*/ 7162800 w 8601075"/>
                  <a:gd name="connsiteY197" fmla="*/ 2705100 h 4333875"/>
                  <a:gd name="connsiteX198" fmla="*/ 7229475 w 8601075"/>
                  <a:gd name="connsiteY198" fmla="*/ 2590800 h 4333875"/>
                  <a:gd name="connsiteX199" fmla="*/ 7248525 w 8601075"/>
                  <a:gd name="connsiteY199" fmla="*/ 2524125 h 4333875"/>
                  <a:gd name="connsiteX200" fmla="*/ 7372350 w 8601075"/>
                  <a:gd name="connsiteY200" fmla="*/ 2543175 h 4333875"/>
                  <a:gd name="connsiteX201" fmla="*/ 7553325 w 8601075"/>
                  <a:gd name="connsiteY201" fmla="*/ 2447925 h 4333875"/>
                  <a:gd name="connsiteX202" fmla="*/ 7620000 w 8601075"/>
                  <a:gd name="connsiteY202" fmla="*/ 2324100 h 4333875"/>
                  <a:gd name="connsiteX203" fmla="*/ 7696200 w 8601075"/>
                  <a:gd name="connsiteY203" fmla="*/ 2314575 h 4333875"/>
                  <a:gd name="connsiteX204" fmla="*/ 7658100 w 8601075"/>
                  <a:gd name="connsiteY204" fmla="*/ 2257425 h 4333875"/>
                  <a:gd name="connsiteX205" fmla="*/ 7753350 w 8601075"/>
                  <a:gd name="connsiteY205" fmla="*/ 2057400 h 4333875"/>
                  <a:gd name="connsiteX206" fmla="*/ 7934325 w 8601075"/>
                  <a:gd name="connsiteY206" fmla="*/ 2028825 h 4333875"/>
                  <a:gd name="connsiteX207" fmla="*/ 7953375 w 8601075"/>
                  <a:gd name="connsiteY207" fmla="*/ 1952625 h 4333875"/>
                  <a:gd name="connsiteX208" fmla="*/ 7953375 w 8601075"/>
                  <a:gd name="connsiteY208" fmla="*/ 1952625 h 4333875"/>
                  <a:gd name="connsiteX209" fmla="*/ 8010525 w 8601075"/>
                  <a:gd name="connsiteY209" fmla="*/ 1895475 h 4333875"/>
                  <a:gd name="connsiteX210" fmla="*/ 8048625 w 8601075"/>
                  <a:gd name="connsiteY210" fmla="*/ 1971675 h 4333875"/>
                  <a:gd name="connsiteX211" fmla="*/ 8077200 w 8601075"/>
                  <a:gd name="connsiteY211" fmla="*/ 1885950 h 4333875"/>
                  <a:gd name="connsiteX212" fmla="*/ 8220075 w 8601075"/>
                  <a:gd name="connsiteY212" fmla="*/ 1847850 h 4333875"/>
                  <a:gd name="connsiteX213" fmla="*/ 8296275 w 8601075"/>
                  <a:gd name="connsiteY213" fmla="*/ 1809750 h 4333875"/>
                  <a:gd name="connsiteX214" fmla="*/ 8324850 w 8601075"/>
                  <a:gd name="connsiteY214" fmla="*/ 1790700 h 4333875"/>
                  <a:gd name="connsiteX215" fmla="*/ 8410575 w 8601075"/>
                  <a:gd name="connsiteY215" fmla="*/ 1847850 h 4333875"/>
                  <a:gd name="connsiteX216" fmla="*/ 8505825 w 8601075"/>
                  <a:gd name="connsiteY216" fmla="*/ 1781175 h 4333875"/>
                  <a:gd name="connsiteX217" fmla="*/ 8572500 w 8601075"/>
                  <a:gd name="connsiteY217" fmla="*/ 1809750 h 4333875"/>
                  <a:gd name="connsiteX218" fmla="*/ 8601075 w 8601075"/>
                  <a:gd name="connsiteY218" fmla="*/ 1704975 h 4333875"/>
                  <a:gd name="connsiteX219" fmla="*/ 8553450 w 8601075"/>
                  <a:gd name="connsiteY219" fmla="*/ 1676400 h 4333875"/>
                  <a:gd name="connsiteX220" fmla="*/ 8534400 w 8601075"/>
                  <a:gd name="connsiteY220" fmla="*/ 1609725 h 4333875"/>
                  <a:gd name="connsiteX221" fmla="*/ 8277225 w 8601075"/>
                  <a:gd name="connsiteY221" fmla="*/ 1409700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124825 w 8601075"/>
                  <a:gd name="connsiteY224" fmla="*/ 1352550 h 4333875"/>
                  <a:gd name="connsiteX225" fmla="*/ 7924800 w 8601075"/>
                  <a:gd name="connsiteY225" fmla="*/ 1362075 h 4333875"/>
                  <a:gd name="connsiteX226" fmla="*/ 7867650 w 8601075"/>
                  <a:gd name="connsiteY226" fmla="*/ 1457325 h 4333875"/>
                  <a:gd name="connsiteX227" fmla="*/ 7896225 w 8601075"/>
                  <a:gd name="connsiteY227" fmla="*/ 1476375 h 4333875"/>
                  <a:gd name="connsiteX228" fmla="*/ 7858125 w 8601075"/>
                  <a:gd name="connsiteY228" fmla="*/ 1533525 h 4333875"/>
                  <a:gd name="connsiteX229" fmla="*/ 7658100 w 8601075"/>
                  <a:gd name="connsiteY229" fmla="*/ 1447800 h 4333875"/>
                  <a:gd name="connsiteX230" fmla="*/ 7515225 w 8601075"/>
                  <a:gd name="connsiteY230" fmla="*/ 1495425 h 4333875"/>
                  <a:gd name="connsiteX231" fmla="*/ 7467600 w 8601075"/>
                  <a:gd name="connsiteY231" fmla="*/ 1581150 h 4333875"/>
                  <a:gd name="connsiteX232" fmla="*/ 7296150 w 8601075"/>
                  <a:gd name="connsiteY23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57150 w 8601075"/>
                  <a:gd name="connsiteY128" fmla="*/ 733425 h 4333875"/>
                  <a:gd name="connsiteX129" fmla="*/ 19050 w 8601075"/>
                  <a:gd name="connsiteY129" fmla="*/ 790575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19050 w 8601075"/>
                  <a:gd name="connsiteY129" fmla="*/ 790575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0 w 8601075"/>
                  <a:gd name="connsiteY129" fmla="*/ 816769 h 4333875"/>
                  <a:gd name="connsiteX130" fmla="*/ 0 w 8601075"/>
                  <a:gd name="connsiteY130" fmla="*/ 876300 h 4333875"/>
                  <a:gd name="connsiteX131" fmla="*/ 57150 w 8601075"/>
                  <a:gd name="connsiteY131" fmla="*/ 923925 h 4333875"/>
                  <a:gd name="connsiteX132" fmla="*/ 57150 w 8601075"/>
                  <a:gd name="connsiteY132" fmla="*/ 923925 h 4333875"/>
                  <a:gd name="connsiteX133" fmla="*/ 209550 w 8601075"/>
                  <a:gd name="connsiteY133" fmla="*/ 1114425 h 4333875"/>
                  <a:gd name="connsiteX134" fmla="*/ 209550 w 8601075"/>
                  <a:gd name="connsiteY134" fmla="*/ 1114425 h 4333875"/>
                  <a:gd name="connsiteX135" fmla="*/ 266700 w 8601075"/>
                  <a:gd name="connsiteY135" fmla="*/ 1295400 h 4333875"/>
                  <a:gd name="connsiteX136" fmla="*/ 409575 w 8601075"/>
                  <a:gd name="connsiteY136" fmla="*/ 1276350 h 4333875"/>
                  <a:gd name="connsiteX137" fmla="*/ 466725 w 8601075"/>
                  <a:gd name="connsiteY137" fmla="*/ 1362075 h 4333875"/>
                  <a:gd name="connsiteX138" fmla="*/ 542925 w 8601075"/>
                  <a:gd name="connsiteY138" fmla="*/ 1428750 h 4333875"/>
                  <a:gd name="connsiteX139" fmla="*/ 628650 w 8601075"/>
                  <a:gd name="connsiteY139" fmla="*/ 1571625 h 4333875"/>
                  <a:gd name="connsiteX140" fmla="*/ 628650 w 8601075"/>
                  <a:gd name="connsiteY140" fmla="*/ 1704975 h 4333875"/>
                  <a:gd name="connsiteX141" fmla="*/ 676275 w 8601075"/>
                  <a:gd name="connsiteY141" fmla="*/ 1771650 h 4333875"/>
                  <a:gd name="connsiteX142" fmla="*/ 657225 w 8601075"/>
                  <a:gd name="connsiteY142" fmla="*/ 2000250 h 4333875"/>
                  <a:gd name="connsiteX143" fmla="*/ 619125 w 8601075"/>
                  <a:gd name="connsiteY143" fmla="*/ 2095500 h 4333875"/>
                  <a:gd name="connsiteX144" fmla="*/ 542925 w 8601075"/>
                  <a:gd name="connsiteY144" fmla="*/ 2228850 h 4333875"/>
                  <a:gd name="connsiteX145" fmla="*/ 485775 w 8601075"/>
                  <a:gd name="connsiteY145" fmla="*/ 2362200 h 4333875"/>
                  <a:gd name="connsiteX146" fmla="*/ 552450 w 8601075"/>
                  <a:gd name="connsiteY146" fmla="*/ 2486025 h 4333875"/>
                  <a:gd name="connsiteX147" fmla="*/ 771525 w 8601075"/>
                  <a:gd name="connsiteY147" fmla="*/ 2571750 h 4333875"/>
                  <a:gd name="connsiteX148" fmla="*/ 866775 w 8601075"/>
                  <a:gd name="connsiteY148" fmla="*/ 2571750 h 4333875"/>
                  <a:gd name="connsiteX149" fmla="*/ 914400 w 8601075"/>
                  <a:gd name="connsiteY149" fmla="*/ 2638425 h 4333875"/>
                  <a:gd name="connsiteX150" fmla="*/ 1066800 w 8601075"/>
                  <a:gd name="connsiteY150" fmla="*/ 2638425 h 4333875"/>
                  <a:gd name="connsiteX151" fmla="*/ 1285875 w 8601075"/>
                  <a:gd name="connsiteY151" fmla="*/ 2705100 h 4333875"/>
                  <a:gd name="connsiteX152" fmla="*/ 1438275 w 8601075"/>
                  <a:gd name="connsiteY152" fmla="*/ 2838450 h 4333875"/>
                  <a:gd name="connsiteX153" fmla="*/ 1485900 w 8601075"/>
                  <a:gd name="connsiteY153" fmla="*/ 2914650 h 4333875"/>
                  <a:gd name="connsiteX154" fmla="*/ 1657350 w 8601075"/>
                  <a:gd name="connsiteY154" fmla="*/ 3038475 h 4333875"/>
                  <a:gd name="connsiteX155" fmla="*/ 1752600 w 8601075"/>
                  <a:gd name="connsiteY155" fmla="*/ 3057525 h 4333875"/>
                  <a:gd name="connsiteX156" fmla="*/ 1724025 w 8601075"/>
                  <a:gd name="connsiteY156" fmla="*/ 3143250 h 4333875"/>
                  <a:gd name="connsiteX157" fmla="*/ 1724025 w 8601075"/>
                  <a:gd name="connsiteY157" fmla="*/ 3143250 h 4333875"/>
                  <a:gd name="connsiteX158" fmla="*/ 1781175 w 8601075"/>
                  <a:gd name="connsiteY158" fmla="*/ 3181350 h 4333875"/>
                  <a:gd name="connsiteX159" fmla="*/ 1819275 w 8601075"/>
                  <a:gd name="connsiteY159" fmla="*/ 3362325 h 4333875"/>
                  <a:gd name="connsiteX160" fmla="*/ 1828800 w 8601075"/>
                  <a:gd name="connsiteY160" fmla="*/ 3457575 h 4333875"/>
                  <a:gd name="connsiteX161" fmla="*/ 1971675 w 8601075"/>
                  <a:gd name="connsiteY161" fmla="*/ 3590925 h 4333875"/>
                  <a:gd name="connsiteX162" fmla="*/ 1990725 w 8601075"/>
                  <a:gd name="connsiteY162" fmla="*/ 3714750 h 4333875"/>
                  <a:gd name="connsiteX163" fmla="*/ 2200275 w 8601075"/>
                  <a:gd name="connsiteY163" fmla="*/ 3695700 h 4333875"/>
                  <a:gd name="connsiteX164" fmla="*/ 2886075 w 8601075"/>
                  <a:gd name="connsiteY164" fmla="*/ 3886200 h 4333875"/>
                  <a:gd name="connsiteX165" fmla="*/ 3038475 w 8601075"/>
                  <a:gd name="connsiteY165" fmla="*/ 3819525 h 4333875"/>
                  <a:gd name="connsiteX166" fmla="*/ 3105150 w 8601075"/>
                  <a:gd name="connsiteY166" fmla="*/ 3867150 h 4333875"/>
                  <a:gd name="connsiteX167" fmla="*/ 3181350 w 8601075"/>
                  <a:gd name="connsiteY167" fmla="*/ 3800475 h 4333875"/>
                  <a:gd name="connsiteX168" fmla="*/ 3590925 w 8601075"/>
                  <a:gd name="connsiteY168" fmla="*/ 3943350 h 4333875"/>
                  <a:gd name="connsiteX169" fmla="*/ 3686175 w 8601075"/>
                  <a:gd name="connsiteY169" fmla="*/ 4057650 h 4333875"/>
                  <a:gd name="connsiteX170" fmla="*/ 3838575 w 8601075"/>
                  <a:gd name="connsiteY170" fmla="*/ 4057650 h 4333875"/>
                  <a:gd name="connsiteX171" fmla="*/ 4162425 w 8601075"/>
                  <a:gd name="connsiteY171" fmla="*/ 4248150 h 4333875"/>
                  <a:gd name="connsiteX172" fmla="*/ 4391025 w 8601075"/>
                  <a:gd name="connsiteY172" fmla="*/ 4200525 h 4333875"/>
                  <a:gd name="connsiteX173" fmla="*/ 4410075 w 8601075"/>
                  <a:gd name="connsiteY173" fmla="*/ 4305300 h 4333875"/>
                  <a:gd name="connsiteX174" fmla="*/ 4505325 w 8601075"/>
                  <a:gd name="connsiteY174" fmla="*/ 4276725 h 4333875"/>
                  <a:gd name="connsiteX175" fmla="*/ 4572000 w 8601075"/>
                  <a:gd name="connsiteY175" fmla="*/ 4333875 h 4333875"/>
                  <a:gd name="connsiteX176" fmla="*/ 4591050 w 8601075"/>
                  <a:gd name="connsiteY176" fmla="*/ 4248150 h 4333875"/>
                  <a:gd name="connsiteX177" fmla="*/ 5295900 w 8601075"/>
                  <a:gd name="connsiteY177" fmla="*/ 3924300 h 4333875"/>
                  <a:gd name="connsiteX178" fmla="*/ 5353050 w 8601075"/>
                  <a:gd name="connsiteY178" fmla="*/ 3990975 h 4333875"/>
                  <a:gd name="connsiteX179" fmla="*/ 5524500 w 8601075"/>
                  <a:gd name="connsiteY179" fmla="*/ 3914775 h 4333875"/>
                  <a:gd name="connsiteX180" fmla="*/ 5667375 w 8601075"/>
                  <a:gd name="connsiteY180" fmla="*/ 3962400 h 4333875"/>
                  <a:gd name="connsiteX181" fmla="*/ 5753100 w 8601075"/>
                  <a:gd name="connsiteY181" fmla="*/ 3924300 h 4333875"/>
                  <a:gd name="connsiteX182" fmla="*/ 5905500 w 8601075"/>
                  <a:gd name="connsiteY182" fmla="*/ 3943350 h 4333875"/>
                  <a:gd name="connsiteX183" fmla="*/ 6000750 w 8601075"/>
                  <a:gd name="connsiteY183" fmla="*/ 3800475 h 4333875"/>
                  <a:gd name="connsiteX184" fmla="*/ 6153150 w 8601075"/>
                  <a:gd name="connsiteY184" fmla="*/ 3781425 h 4333875"/>
                  <a:gd name="connsiteX185" fmla="*/ 6257925 w 8601075"/>
                  <a:gd name="connsiteY185" fmla="*/ 3581400 h 4333875"/>
                  <a:gd name="connsiteX186" fmla="*/ 6448425 w 8601075"/>
                  <a:gd name="connsiteY186" fmla="*/ 3448050 h 4333875"/>
                  <a:gd name="connsiteX187" fmla="*/ 6581775 w 8601075"/>
                  <a:gd name="connsiteY187" fmla="*/ 3276600 h 4333875"/>
                  <a:gd name="connsiteX188" fmla="*/ 6496050 w 8601075"/>
                  <a:gd name="connsiteY188" fmla="*/ 3228975 h 4333875"/>
                  <a:gd name="connsiteX189" fmla="*/ 6438900 w 8601075"/>
                  <a:gd name="connsiteY189" fmla="*/ 3162300 h 4333875"/>
                  <a:gd name="connsiteX190" fmla="*/ 6419850 w 8601075"/>
                  <a:gd name="connsiteY190" fmla="*/ 3105150 h 4333875"/>
                  <a:gd name="connsiteX191" fmla="*/ 6362700 w 8601075"/>
                  <a:gd name="connsiteY191" fmla="*/ 3076575 h 4333875"/>
                  <a:gd name="connsiteX192" fmla="*/ 6410325 w 8601075"/>
                  <a:gd name="connsiteY192" fmla="*/ 3019425 h 4333875"/>
                  <a:gd name="connsiteX193" fmla="*/ 6438900 w 8601075"/>
                  <a:gd name="connsiteY193" fmla="*/ 2819400 h 4333875"/>
                  <a:gd name="connsiteX194" fmla="*/ 6496050 w 8601075"/>
                  <a:gd name="connsiteY194" fmla="*/ 2762250 h 4333875"/>
                  <a:gd name="connsiteX195" fmla="*/ 6657975 w 8601075"/>
                  <a:gd name="connsiteY195" fmla="*/ 2752725 h 4333875"/>
                  <a:gd name="connsiteX196" fmla="*/ 6781800 w 8601075"/>
                  <a:gd name="connsiteY196" fmla="*/ 2838450 h 4333875"/>
                  <a:gd name="connsiteX197" fmla="*/ 7010400 w 8601075"/>
                  <a:gd name="connsiteY197" fmla="*/ 2838450 h 4333875"/>
                  <a:gd name="connsiteX198" fmla="*/ 7162800 w 8601075"/>
                  <a:gd name="connsiteY198" fmla="*/ 2705100 h 4333875"/>
                  <a:gd name="connsiteX199" fmla="*/ 7229475 w 8601075"/>
                  <a:gd name="connsiteY199" fmla="*/ 2590800 h 4333875"/>
                  <a:gd name="connsiteX200" fmla="*/ 7248525 w 8601075"/>
                  <a:gd name="connsiteY200" fmla="*/ 2524125 h 4333875"/>
                  <a:gd name="connsiteX201" fmla="*/ 7372350 w 8601075"/>
                  <a:gd name="connsiteY201" fmla="*/ 2543175 h 4333875"/>
                  <a:gd name="connsiteX202" fmla="*/ 7553325 w 8601075"/>
                  <a:gd name="connsiteY202" fmla="*/ 2447925 h 4333875"/>
                  <a:gd name="connsiteX203" fmla="*/ 7620000 w 8601075"/>
                  <a:gd name="connsiteY203" fmla="*/ 2324100 h 4333875"/>
                  <a:gd name="connsiteX204" fmla="*/ 7696200 w 8601075"/>
                  <a:gd name="connsiteY204" fmla="*/ 2314575 h 4333875"/>
                  <a:gd name="connsiteX205" fmla="*/ 7658100 w 8601075"/>
                  <a:gd name="connsiteY205" fmla="*/ 2257425 h 4333875"/>
                  <a:gd name="connsiteX206" fmla="*/ 7753350 w 8601075"/>
                  <a:gd name="connsiteY206" fmla="*/ 2057400 h 4333875"/>
                  <a:gd name="connsiteX207" fmla="*/ 7934325 w 8601075"/>
                  <a:gd name="connsiteY207" fmla="*/ 2028825 h 4333875"/>
                  <a:gd name="connsiteX208" fmla="*/ 7953375 w 8601075"/>
                  <a:gd name="connsiteY208" fmla="*/ 1952625 h 4333875"/>
                  <a:gd name="connsiteX209" fmla="*/ 7953375 w 8601075"/>
                  <a:gd name="connsiteY209" fmla="*/ 1952625 h 4333875"/>
                  <a:gd name="connsiteX210" fmla="*/ 8010525 w 8601075"/>
                  <a:gd name="connsiteY210" fmla="*/ 1895475 h 4333875"/>
                  <a:gd name="connsiteX211" fmla="*/ 8048625 w 8601075"/>
                  <a:gd name="connsiteY211" fmla="*/ 1971675 h 4333875"/>
                  <a:gd name="connsiteX212" fmla="*/ 8077200 w 8601075"/>
                  <a:gd name="connsiteY212" fmla="*/ 1885950 h 4333875"/>
                  <a:gd name="connsiteX213" fmla="*/ 8220075 w 8601075"/>
                  <a:gd name="connsiteY213" fmla="*/ 1847850 h 4333875"/>
                  <a:gd name="connsiteX214" fmla="*/ 8296275 w 8601075"/>
                  <a:gd name="connsiteY214" fmla="*/ 1809750 h 4333875"/>
                  <a:gd name="connsiteX215" fmla="*/ 8324850 w 8601075"/>
                  <a:gd name="connsiteY215" fmla="*/ 1790700 h 4333875"/>
                  <a:gd name="connsiteX216" fmla="*/ 8410575 w 8601075"/>
                  <a:gd name="connsiteY216" fmla="*/ 1847850 h 4333875"/>
                  <a:gd name="connsiteX217" fmla="*/ 8505825 w 8601075"/>
                  <a:gd name="connsiteY217" fmla="*/ 1781175 h 4333875"/>
                  <a:gd name="connsiteX218" fmla="*/ 8572500 w 8601075"/>
                  <a:gd name="connsiteY218" fmla="*/ 1809750 h 4333875"/>
                  <a:gd name="connsiteX219" fmla="*/ 8601075 w 8601075"/>
                  <a:gd name="connsiteY219" fmla="*/ 1704975 h 4333875"/>
                  <a:gd name="connsiteX220" fmla="*/ 8553450 w 8601075"/>
                  <a:gd name="connsiteY220" fmla="*/ 1676400 h 4333875"/>
                  <a:gd name="connsiteX221" fmla="*/ 8534400 w 8601075"/>
                  <a:gd name="connsiteY221" fmla="*/ 1609725 h 4333875"/>
                  <a:gd name="connsiteX222" fmla="*/ 8277225 w 8601075"/>
                  <a:gd name="connsiteY222" fmla="*/ 1409700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124825 w 8601075"/>
                  <a:gd name="connsiteY225" fmla="*/ 1352550 h 4333875"/>
                  <a:gd name="connsiteX226" fmla="*/ 7924800 w 8601075"/>
                  <a:gd name="connsiteY226" fmla="*/ 1362075 h 4333875"/>
                  <a:gd name="connsiteX227" fmla="*/ 7867650 w 8601075"/>
                  <a:gd name="connsiteY227" fmla="*/ 1457325 h 4333875"/>
                  <a:gd name="connsiteX228" fmla="*/ 7896225 w 8601075"/>
                  <a:gd name="connsiteY228" fmla="*/ 1476375 h 4333875"/>
                  <a:gd name="connsiteX229" fmla="*/ 7858125 w 8601075"/>
                  <a:gd name="connsiteY229" fmla="*/ 1533525 h 4333875"/>
                  <a:gd name="connsiteX230" fmla="*/ 7658100 w 8601075"/>
                  <a:gd name="connsiteY230" fmla="*/ 1447800 h 4333875"/>
                  <a:gd name="connsiteX231" fmla="*/ 7515225 w 8601075"/>
                  <a:gd name="connsiteY231" fmla="*/ 1495425 h 4333875"/>
                  <a:gd name="connsiteX232" fmla="*/ 7467600 w 8601075"/>
                  <a:gd name="connsiteY232" fmla="*/ 1581150 h 4333875"/>
                  <a:gd name="connsiteX233" fmla="*/ 7296150 w 8601075"/>
                  <a:gd name="connsiteY23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33338 w 8601075"/>
                  <a:gd name="connsiteY129" fmla="*/ 812006 h 4333875"/>
                  <a:gd name="connsiteX130" fmla="*/ 0 w 8601075"/>
                  <a:gd name="connsiteY130" fmla="*/ 816769 h 4333875"/>
                  <a:gd name="connsiteX131" fmla="*/ 0 w 8601075"/>
                  <a:gd name="connsiteY131" fmla="*/ 876300 h 4333875"/>
                  <a:gd name="connsiteX132" fmla="*/ 57150 w 8601075"/>
                  <a:gd name="connsiteY132" fmla="*/ 923925 h 4333875"/>
                  <a:gd name="connsiteX133" fmla="*/ 57150 w 8601075"/>
                  <a:gd name="connsiteY133" fmla="*/ 923925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0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239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26194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239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26194 w 8601075"/>
                  <a:gd name="connsiteY132" fmla="*/ 876300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16781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57150 w 8601075"/>
                  <a:gd name="connsiteY133" fmla="*/ 923925 h 4333875"/>
                  <a:gd name="connsiteX134" fmla="*/ 57150 w 8601075"/>
                  <a:gd name="connsiteY134" fmla="*/ 916781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57150 w 8601075"/>
                  <a:gd name="connsiteY133" fmla="*/ 923925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09550 w 8601075"/>
                  <a:gd name="connsiteY134" fmla="*/ 1114425 h 4333875"/>
                  <a:gd name="connsiteX135" fmla="*/ 209550 w 8601075"/>
                  <a:gd name="connsiteY135" fmla="*/ 1114425 h 4333875"/>
                  <a:gd name="connsiteX136" fmla="*/ 266700 w 8601075"/>
                  <a:gd name="connsiteY136" fmla="*/ 1295400 h 4333875"/>
                  <a:gd name="connsiteX137" fmla="*/ 409575 w 8601075"/>
                  <a:gd name="connsiteY137" fmla="*/ 1276350 h 4333875"/>
                  <a:gd name="connsiteX138" fmla="*/ 466725 w 8601075"/>
                  <a:gd name="connsiteY138" fmla="*/ 1362075 h 4333875"/>
                  <a:gd name="connsiteX139" fmla="*/ 542925 w 8601075"/>
                  <a:gd name="connsiteY139" fmla="*/ 1428750 h 4333875"/>
                  <a:gd name="connsiteX140" fmla="*/ 628650 w 8601075"/>
                  <a:gd name="connsiteY140" fmla="*/ 1571625 h 4333875"/>
                  <a:gd name="connsiteX141" fmla="*/ 628650 w 8601075"/>
                  <a:gd name="connsiteY141" fmla="*/ 1704975 h 4333875"/>
                  <a:gd name="connsiteX142" fmla="*/ 676275 w 8601075"/>
                  <a:gd name="connsiteY142" fmla="*/ 1771650 h 4333875"/>
                  <a:gd name="connsiteX143" fmla="*/ 657225 w 8601075"/>
                  <a:gd name="connsiteY143" fmla="*/ 2000250 h 4333875"/>
                  <a:gd name="connsiteX144" fmla="*/ 619125 w 8601075"/>
                  <a:gd name="connsiteY144" fmla="*/ 2095500 h 4333875"/>
                  <a:gd name="connsiteX145" fmla="*/ 542925 w 8601075"/>
                  <a:gd name="connsiteY145" fmla="*/ 2228850 h 4333875"/>
                  <a:gd name="connsiteX146" fmla="*/ 485775 w 8601075"/>
                  <a:gd name="connsiteY146" fmla="*/ 2362200 h 4333875"/>
                  <a:gd name="connsiteX147" fmla="*/ 552450 w 8601075"/>
                  <a:gd name="connsiteY147" fmla="*/ 2486025 h 4333875"/>
                  <a:gd name="connsiteX148" fmla="*/ 771525 w 8601075"/>
                  <a:gd name="connsiteY148" fmla="*/ 2571750 h 4333875"/>
                  <a:gd name="connsiteX149" fmla="*/ 866775 w 8601075"/>
                  <a:gd name="connsiteY149" fmla="*/ 2571750 h 4333875"/>
                  <a:gd name="connsiteX150" fmla="*/ 914400 w 8601075"/>
                  <a:gd name="connsiteY150" fmla="*/ 2638425 h 4333875"/>
                  <a:gd name="connsiteX151" fmla="*/ 1066800 w 8601075"/>
                  <a:gd name="connsiteY151" fmla="*/ 2638425 h 4333875"/>
                  <a:gd name="connsiteX152" fmla="*/ 1285875 w 8601075"/>
                  <a:gd name="connsiteY152" fmla="*/ 2705100 h 4333875"/>
                  <a:gd name="connsiteX153" fmla="*/ 1438275 w 8601075"/>
                  <a:gd name="connsiteY153" fmla="*/ 2838450 h 4333875"/>
                  <a:gd name="connsiteX154" fmla="*/ 1485900 w 8601075"/>
                  <a:gd name="connsiteY154" fmla="*/ 2914650 h 4333875"/>
                  <a:gd name="connsiteX155" fmla="*/ 1657350 w 8601075"/>
                  <a:gd name="connsiteY155" fmla="*/ 3038475 h 4333875"/>
                  <a:gd name="connsiteX156" fmla="*/ 1752600 w 8601075"/>
                  <a:gd name="connsiteY156" fmla="*/ 3057525 h 4333875"/>
                  <a:gd name="connsiteX157" fmla="*/ 1724025 w 8601075"/>
                  <a:gd name="connsiteY157" fmla="*/ 3143250 h 4333875"/>
                  <a:gd name="connsiteX158" fmla="*/ 1724025 w 8601075"/>
                  <a:gd name="connsiteY158" fmla="*/ 3143250 h 4333875"/>
                  <a:gd name="connsiteX159" fmla="*/ 1781175 w 8601075"/>
                  <a:gd name="connsiteY159" fmla="*/ 3181350 h 4333875"/>
                  <a:gd name="connsiteX160" fmla="*/ 1819275 w 8601075"/>
                  <a:gd name="connsiteY160" fmla="*/ 3362325 h 4333875"/>
                  <a:gd name="connsiteX161" fmla="*/ 1828800 w 8601075"/>
                  <a:gd name="connsiteY161" fmla="*/ 3457575 h 4333875"/>
                  <a:gd name="connsiteX162" fmla="*/ 1971675 w 8601075"/>
                  <a:gd name="connsiteY162" fmla="*/ 3590925 h 4333875"/>
                  <a:gd name="connsiteX163" fmla="*/ 1990725 w 8601075"/>
                  <a:gd name="connsiteY163" fmla="*/ 3714750 h 4333875"/>
                  <a:gd name="connsiteX164" fmla="*/ 2200275 w 8601075"/>
                  <a:gd name="connsiteY164" fmla="*/ 3695700 h 4333875"/>
                  <a:gd name="connsiteX165" fmla="*/ 2886075 w 8601075"/>
                  <a:gd name="connsiteY165" fmla="*/ 3886200 h 4333875"/>
                  <a:gd name="connsiteX166" fmla="*/ 3038475 w 8601075"/>
                  <a:gd name="connsiteY166" fmla="*/ 3819525 h 4333875"/>
                  <a:gd name="connsiteX167" fmla="*/ 3105150 w 8601075"/>
                  <a:gd name="connsiteY167" fmla="*/ 3867150 h 4333875"/>
                  <a:gd name="connsiteX168" fmla="*/ 3181350 w 8601075"/>
                  <a:gd name="connsiteY168" fmla="*/ 3800475 h 4333875"/>
                  <a:gd name="connsiteX169" fmla="*/ 3590925 w 8601075"/>
                  <a:gd name="connsiteY169" fmla="*/ 3943350 h 4333875"/>
                  <a:gd name="connsiteX170" fmla="*/ 3686175 w 8601075"/>
                  <a:gd name="connsiteY170" fmla="*/ 4057650 h 4333875"/>
                  <a:gd name="connsiteX171" fmla="*/ 3838575 w 8601075"/>
                  <a:gd name="connsiteY171" fmla="*/ 4057650 h 4333875"/>
                  <a:gd name="connsiteX172" fmla="*/ 4162425 w 8601075"/>
                  <a:gd name="connsiteY172" fmla="*/ 4248150 h 4333875"/>
                  <a:gd name="connsiteX173" fmla="*/ 4391025 w 8601075"/>
                  <a:gd name="connsiteY173" fmla="*/ 4200525 h 4333875"/>
                  <a:gd name="connsiteX174" fmla="*/ 4410075 w 8601075"/>
                  <a:gd name="connsiteY174" fmla="*/ 4305300 h 4333875"/>
                  <a:gd name="connsiteX175" fmla="*/ 4505325 w 8601075"/>
                  <a:gd name="connsiteY175" fmla="*/ 4276725 h 4333875"/>
                  <a:gd name="connsiteX176" fmla="*/ 4572000 w 8601075"/>
                  <a:gd name="connsiteY176" fmla="*/ 4333875 h 4333875"/>
                  <a:gd name="connsiteX177" fmla="*/ 4591050 w 8601075"/>
                  <a:gd name="connsiteY177" fmla="*/ 4248150 h 4333875"/>
                  <a:gd name="connsiteX178" fmla="*/ 5295900 w 8601075"/>
                  <a:gd name="connsiteY178" fmla="*/ 3924300 h 4333875"/>
                  <a:gd name="connsiteX179" fmla="*/ 5353050 w 8601075"/>
                  <a:gd name="connsiteY179" fmla="*/ 3990975 h 4333875"/>
                  <a:gd name="connsiteX180" fmla="*/ 5524500 w 8601075"/>
                  <a:gd name="connsiteY180" fmla="*/ 3914775 h 4333875"/>
                  <a:gd name="connsiteX181" fmla="*/ 5667375 w 8601075"/>
                  <a:gd name="connsiteY181" fmla="*/ 3962400 h 4333875"/>
                  <a:gd name="connsiteX182" fmla="*/ 5753100 w 8601075"/>
                  <a:gd name="connsiteY182" fmla="*/ 3924300 h 4333875"/>
                  <a:gd name="connsiteX183" fmla="*/ 5905500 w 8601075"/>
                  <a:gd name="connsiteY183" fmla="*/ 3943350 h 4333875"/>
                  <a:gd name="connsiteX184" fmla="*/ 6000750 w 8601075"/>
                  <a:gd name="connsiteY184" fmla="*/ 3800475 h 4333875"/>
                  <a:gd name="connsiteX185" fmla="*/ 6153150 w 8601075"/>
                  <a:gd name="connsiteY185" fmla="*/ 3781425 h 4333875"/>
                  <a:gd name="connsiteX186" fmla="*/ 6257925 w 8601075"/>
                  <a:gd name="connsiteY186" fmla="*/ 3581400 h 4333875"/>
                  <a:gd name="connsiteX187" fmla="*/ 6448425 w 8601075"/>
                  <a:gd name="connsiteY187" fmla="*/ 3448050 h 4333875"/>
                  <a:gd name="connsiteX188" fmla="*/ 6581775 w 8601075"/>
                  <a:gd name="connsiteY188" fmla="*/ 3276600 h 4333875"/>
                  <a:gd name="connsiteX189" fmla="*/ 6496050 w 8601075"/>
                  <a:gd name="connsiteY189" fmla="*/ 3228975 h 4333875"/>
                  <a:gd name="connsiteX190" fmla="*/ 6438900 w 8601075"/>
                  <a:gd name="connsiteY190" fmla="*/ 3162300 h 4333875"/>
                  <a:gd name="connsiteX191" fmla="*/ 6419850 w 8601075"/>
                  <a:gd name="connsiteY191" fmla="*/ 3105150 h 4333875"/>
                  <a:gd name="connsiteX192" fmla="*/ 6362700 w 8601075"/>
                  <a:gd name="connsiteY192" fmla="*/ 3076575 h 4333875"/>
                  <a:gd name="connsiteX193" fmla="*/ 6410325 w 8601075"/>
                  <a:gd name="connsiteY193" fmla="*/ 3019425 h 4333875"/>
                  <a:gd name="connsiteX194" fmla="*/ 6438900 w 8601075"/>
                  <a:gd name="connsiteY194" fmla="*/ 2819400 h 4333875"/>
                  <a:gd name="connsiteX195" fmla="*/ 6496050 w 8601075"/>
                  <a:gd name="connsiteY195" fmla="*/ 2762250 h 4333875"/>
                  <a:gd name="connsiteX196" fmla="*/ 6657975 w 8601075"/>
                  <a:gd name="connsiteY196" fmla="*/ 2752725 h 4333875"/>
                  <a:gd name="connsiteX197" fmla="*/ 6781800 w 8601075"/>
                  <a:gd name="connsiteY197" fmla="*/ 2838450 h 4333875"/>
                  <a:gd name="connsiteX198" fmla="*/ 7010400 w 8601075"/>
                  <a:gd name="connsiteY198" fmla="*/ 2838450 h 4333875"/>
                  <a:gd name="connsiteX199" fmla="*/ 7162800 w 8601075"/>
                  <a:gd name="connsiteY199" fmla="*/ 2705100 h 4333875"/>
                  <a:gd name="connsiteX200" fmla="*/ 7229475 w 8601075"/>
                  <a:gd name="connsiteY200" fmla="*/ 2590800 h 4333875"/>
                  <a:gd name="connsiteX201" fmla="*/ 7248525 w 8601075"/>
                  <a:gd name="connsiteY201" fmla="*/ 2524125 h 4333875"/>
                  <a:gd name="connsiteX202" fmla="*/ 7372350 w 8601075"/>
                  <a:gd name="connsiteY202" fmla="*/ 2543175 h 4333875"/>
                  <a:gd name="connsiteX203" fmla="*/ 7553325 w 8601075"/>
                  <a:gd name="connsiteY203" fmla="*/ 2447925 h 4333875"/>
                  <a:gd name="connsiteX204" fmla="*/ 7620000 w 8601075"/>
                  <a:gd name="connsiteY204" fmla="*/ 2324100 h 4333875"/>
                  <a:gd name="connsiteX205" fmla="*/ 7696200 w 8601075"/>
                  <a:gd name="connsiteY205" fmla="*/ 2314575 h 4333875"/>
                  <a:gd name="connsiteX206" fmla="*/ 7658100 w 8601075"/>
                  <a:gd name="connsiteY206" fmla="*/ 2257425 h 4333875"/>
                  <a:gd name="connsiteX207" fmla="*/ 7753350 w 8601075"/>
                  <a:gd name="connsiteY207" fmla="*/ 2057400 h 4333875"/>
                  <a:gd name="connsiteX208" fmla="*/ 7934325 w 8601075"/>
                  <a:gd name="connsiteY208" fmla="*/ 2028825 h 4333875"/>
                  <a:gd name="connsiteX209" fmla="*/ 7953375 w 8601075"/>
                  <a:gd name="connsiteY209" fmla="*/ 1952625 h 4333875"/>
                  <a:gd name="connsiteX210" fmla="*/ 7953375 w 8601075"/>
                  <a:gd name="connsiteY210" fmla="*/ 1952625 h 4333875"/>
                  <a:gd name="connsiteX211" fmla="*/ 8010525 w 8601075"/>
                  <a:gd name="connsiteY211" fmla="*/ 1895475 h 4333875"/>
                  <a:gd name="connsiteX212" fmla="*/ 8048625 w 8601075"/>
                  <a:gd name="connsiteY212" fmla="*/ 1971675 h 4333875"/>
                  <a:gd name="connsiteX213" fmla="*/ 8077200 w 8601075"/>
                  <a:gd name="connsiteY213" fmla="*/ 1885950 h 4333875"/>
                  <a:gd name="connsiteX214" fmla="*/ 8220075 w 8601075"/>
                  <a:gd name="connsiteY214" fmla="*/ 1847850 h 4333875"/>
                  <a:gd name="connsiteX215" fmla="*/ 8296275 w 8601075"/>
                  <a:gd name="connsiteY215" fmla="*/ 1809750 h 4333875"/>
                  <a:gd name="connsiteX216" fmla="*/ 8324850 w 8601075"/>
                  <a:gd name="connsiteY216" fmla="*/ 1790700 h 4333875"/>
                  <a:gd name="connsiteX217" fmla="*/ 8410575 w 8601075"/>
                  <a:gd name="connsiteY217" fmla="*/ 1847850 h 4333875"/>
                  <a:gd name="connsiteX218" fmla="*/ 8505825 w 8601075"/>
                  <a:gd name="connsiteY218" fmla="*/ 1781175 h 4333875"/>
                  <a:gd name="connsiteX219" fmla="*/ 8572500 w 8601075"/>
                  <a:gd name="connsiteY219" fmla="*/ 1809750 h 4333875"/>
                  <a:gd name="connsiteX220" fmla="*/ 8601075 w 8601075"/>
                  <a:gd name="connsiteY220" fmla="*/ 1704975 h 4333875"/>
                  <a:gd name="connsiteX221" fmla="*/ 8553450 w 8601075"/>
                  <a:gd name="connsiteY221" fmla="*/ 1676400 h 4333875"/>
                  <a:gd name="connsiteX222" fmla="*/ 8534400 w 8601075"/>
                  <a:gd name="connsiteY222" fmla="*/ 1609725 h 4333875"/>
                  <a:gd name="connsiteX223" fmla="*/ 8277225 w 8601075"/>
                  <a:gd name="connsiteY223" fmla="*/ 1409700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124825 w 8601075"/>
                  <a:gd name="connsiteY226" fmla="*/ 1352550 h 4333875"/>
                  <a:gd name="connsiteX227" fmla="*/ 7924800 w 8601075"/>
                  <a:gd name="connsiteY227" fmla="*/ 1362075 h 4333875"/>
                  <a:gd name="connsiteX228" fmla="*/ 7867650 w 8601075"/>
                  <a:gd name="connsiteY228" fmla="*/ 1457325 h 4333875"/>
                  <a:gd name="connsiteX229" fmla="*/ 7896225 w 8601075"/>
                  <a:gd name="connsiteY229" fmla="*/ 1476375 h 4333875"/>
                  <a:gd name="connsiteX230" fmla="*/ 7858125 w 8601075"/>
                  <a:gd name="connsiteY230" fmla="*/ 1533525 h 4333875"/>
                  <a:gd name="connsiteX231" fmla="*/ 7658100 w 8601075"/>
                  <a:gd name="connsiteY231" fmla="*/ 1447800 h 4333875"/>
                  <a:gd name="connsiteX232" fmla="*/ 7515225 w 8601075"/>
                  <a:gd name="connsiteY232" fmla="*/ 1495425 h 4333875"/>
                  <a:gd name="connsiteX233" fmla="*/ 7467600 w 8601075"/>
                  <a:gd name="connsiteY233" fmla="*/ 1581150 h 4333875"/>
                  <a:gd name="connsiteX234" fmla="*/ 7296150 w 8601075"/>
                  <a:gd name="connsiteY23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209550 w 8601075"/>
                  <a:gd name="connsiteY135" fmla="*/ 1114425 h 4333875"/>
                  <a:gd name="connsiteX136" fmla="*/ 209550 w 8601075"/>
                  <a:gd name="connsiteY136" fmla="*/ 1114425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209550 w 8601075"/>
                  <a:gd name="connsiteY136" fmla="*/ 1114425 h 4333875"/>
                  <a:gd name="connsiteX137" fmla="*/ 209550 w 8601075"/>
                  <a:gd name="connsiteY137" fmla="*/ 1114425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209550 w 8601075"/>
                  <a:gd name="connsiteY136" fmla="*/ 1114425 h 4333875"/>
                  <a:gd name="connsiteX137" fmla="*/ 169069 w 8601075"/>
                  <a:gd name="connsiteY137" fmla="*/ 1085850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266700 w 8601075"/>
                  <a:gd name="connsiteY137" fmla="*/ 1295400 h 4333875"/>
                  <a:gd name="connsiteX138" fmla="*/ 409575 w 8601075"/>
                  <a:gd name="connsiteY138" fmla="*/ 1276350 h 4333875"/>
                  <a:gd name="connsiteX139" fmla="*/ 466725 w 8601075"/>
                  <a:gd name="connsiteY139" fmla="*/ 1362075 h 4333875"/>
                  <a:gd name="connsiteX140" fmla="*/ 542925 w 8601075"/>
                  <a:gd name="connsiteY140" fmla="*/ 1428750 h 4333875"/>
                  <a:gd name="connsiteX141" fmla="*/ 628650 w 8601075"/>
                  <a:gd name="connsiteY141" fmla="*/ 1571625 h 4333875"/>
                  <a:gd name="connsiteX142" fmla="*/ 628650 w 8601075"/>
                  <a:gd name="connsiteY142" fmla="*/ 1704975 h 4333875"/>
                  <a:gd name="connsiteX143" fmla="*/ 676275 w 8601075"/>
                  <a:gd name="connsiteY143" fmla="*/ 1771650 h 4333875"/>
                  <a:gd name="connsiteX144" fmla="*/ 657225 w 8601075"/>
                  <a:gd name="connsiteY144" fmla="*/ 2000250 h 4333875"/>
                  <a:gd name="connsiteX145" fmla="*/ 619125 w 8601075"/>
                  <a:gd name="connsiteY145" fmla="*/ 2095500 h 4333875"/>
                  <a:gd name="connsiteX146" fmla="*/ 542925 w 8601075"/>
                  <a:gd name="connsiteY146" fmla="*/ 2228850 h 4333875"/>
                  <a:gd name="connsiteX147" fmla="*/ 485775 w 8601075"/>
                  <a:gd name="connsiteY147" fmla="*/ 2362200 h 4333875"/>
                  <a:gd name="connsiteX148" fmla="*/ 552450 w 8601075"/>
                  <a:gd name="connsiteY148" fmla="*/ 2486025 h 4333875"/>
                  <a:gd name="connsiteX149" fmla="*/ 771525 w 8601075"/>
                  <a:gd name="connsiteY149" fmla="*/ 2571750 h 4333875"/>
                  <a:gd name="connsiteX150" fmla="*/ 866775 w 8601075"/>
                  <a:gd name="connsiteY150" fmla="*/ 2571750 h 4333875"/>
                  <a:gd name="connsiteX151" fmla="*/ 914400 w 8601075"/>
                  <a:gd name="connsiteY151" fmla="*/ 2638425 h 4333875"/>
                  <a:gd name="connsiteX152" fmla="*/ 1066800 w 8601075"/>
                  <a:gd name="connsiteY152" fmla="*/ 2638425 h 4333875"/>
                  <a:gd name="connsiteX153" fmla="*/ 1285875 w 8601075"/>
                  <a:gd name="connsiteY153" fmla="*/ 2705100 h 4333875"/>
                  <a:gd name="connsiteX154" fmla="*/ 1438275 w 8601075"/>
                  <a:gd name="connsiteY154" fmla="*/ 2838450 h 4333875"/>
                  <a:gd name="connsiteX155" fmla="*/ 1485900 w 8601075"/>
                  <a:gd name="connsiteY155" fmla="*/ 2914650 h 4333875"/>
                  <a:gd name="connsiteX156" fmla="*/ 1657350 w 8601075"/>
                  <a:gd name="connsiteY156" fmla="*/ 3038475 h 4333875"/>
                  <a:gd name="connsiteX157" fmla="*/ 1752600 w 8601075"/>
                  <a:gd name="connsiteY157" fmla="*/ 3057525 h 4333875"/>
                  <a:gd name="connsiteX158" fmla="*/ 1724025 w 8601075"/>
                  <a:gd name="connsiteY158" fmla="*/ 3143250 h 4333875"/>
                  <a:gd name="connsiteX159" fmla="*/ 1724025 w 8601075"/>
                  <a:gd name="connsiteY159" fmla="*/ 3143250 h 4333875"/>
                  <a:gd name="connsiteX160" fmla="*/ 1781175 w 8601075"/>
                  <a:gd name="connsiteY160" fmla="*/ 3181350 h 4333875"/>
                  <a:gd name="connsiteX161" fmla="*/ 1819275 w 8601075"/>
                  <a:gd name="connsiteY161" fmla="*/ 3362325 h 4333875"/>
                  <a:gd name="connsiteX162" fmla="*/ 1828800 w 8601075"/>
                  <a:gd name="connsiteY162" fmla="*/ 3457575 h 4333875"/>
                  <a:gd name="connsiteX163" fmla="*/ 1971675 w 8601075"/>
                  <a:gd name="connsiteY163" fmla="*/ 3590925 h 4333875"/>
                  <a:gd name="connsiteX164" fmla="*/ 1990725 w 8601075"/>
                  <a:gd name="connsiteY164" fmla="*/ 3714750 h 4333875"/>
                  <a:gd name="connsiteX165" fmla="*/ 2200275 w 8601075"/>
                  <a:gd name="connsiteY165" fmla="*/ 3695700 h 4333875"/>
                  <a:gd name="connsiteX166" fmla="*/ 2886075 w 8601075"/>
                  <a:gd name="connsiteY166" fmla="*/ 3886200 h 4333875"/>
                  <a:gd name="connsiteX167" fmla="*/ 3038475 w 8601075"/>
                  <a:gd name="connsiteY167" fmla="*/ 3819525 h 4333875"/>
                  <a:gd name="connsiteX168" fmla="*/ 3105150 w 8601075"/>
                  <a:gd name="connsiteY168" fmla="*/ 3867150 h 4333875"/>
                  <a:gd name="connsiteX169" fmla="*/ 3181350 w 8601075"/>
                  <a:gd name="connsiteY169" fmla="*/ 3800475 h 4333875"/>
                  <a:gd name="connsiteX170" fmla="*/ 3590925 w 8601075"/>
                  <a:gd name="connsiteY170" fmla="*/ 3943350 h 4333875"/>
                  <a:gd name="connsiteX171" fmla="*/ 3686175 w 8601075"/>
                  <a:gd name="connsiteY171" fmla="*/ 4057650 h 4333875"/>
                  <a:gd name="connsiteX172" fmla="*/ 3838575 w 8601075"/>
                  <a:gd name="connsiteY172" fmla="*/ 4057650 h 4333875"/>
                  <a:gd name="connsiteX173" fmla="*/ 4162425 w 8601075"/>
                  <a:gd name="connsiteY173" fmla="*/ 4248150 h 4333875"/>
                  <a:gd name="connsiteX174" fmla="*/ 4391025 w 8601075"/>
                  <a:gd name="connsiteY174" fmla="*/ 4200525 h 4333875"/>
                  <a:gd name="connsiteX175" fmla="*/ 4410075 w 8601075"/>
                  <a:gd name="connsiteY175" fmla="*/ 4305300 h 4333875"/>
                  <a:gd name="connsiteX176" fmla="*/ 4505325 w 8601075"/>
                  <a:gd name="connsiteY176" fmla="*/ 4276725 h 4333875"/>
                  <a:gd name="connsiteX177" fmla="*/ 4572000 w 8601075"/>
                  <a:gd name="connsiteY177" fmla="*/ 4333875 h 4333875"/>
                  <a:gd name="connsiteX178" fmla="*/ 4591050 w 8601075"/>
                  <a:gd name="connsiteY178" fmla="*/ 4248150 h 4333875"/>
                  <a:gd name="connsiteX179" fmla="*/ 5295900 w 8601075"/>
                  <a:gd name="connsiteY179" fmla="*/ 3924300 h 4333875"/>
                  <a:gd name="connsiteX180" fmla="*/ 5353050 w 8601075"/>
                  <a:gd name="connsiteY180" fmla="*/ 3990975 h 4333875"/>
                  <a:gd name="connsiteX181" fmla="*/ 5524500 w 8601075"/>
                  <a:gd name="connsiteY181" fmla="*/ 3914775 h 4333875"/>
                  <a:gd name="connsiteX182" fmla="*/ 5667375 w 8601075"/>
                  <a:gd name="connsiteY182" fmla="*/ 3962400 h 4333875"/>
                  <a:gd name="connsiteX183" fmla="*/ 5753100 w 8601075"/>
                  <a:gd name="connsiteY183" fmla="*/ 3924300 h 4333875"/>
                  <a:gd name="connsiteX184" fmla="*/ 5905500 w 8601075"/>
                  <a:gd name="connsiteY184" fmla="*/ 3943350 h 4333875"/>
                  <a:gd name="connsiteX185" fmla="*/ 6000750 w 8601075"/>
                  <a:gd name="connsiteY185" fmla="*/ 3800475 h 4333875"/>
                  <a:gd name="connsiteX186" fmla="*/ 6153150 w 8601075"/>
                  <a:gd name="connsiteY186" fmla="*/ 3781425 h 4333875"/>
                  <a:gd name="connsiteX187" fmla="*/ 6257925 w 8601075"/>
                  <a:gd name="connsiteY187" fmla="*/ 3581400 h 4333875"/>
                  <a:gd name="connsiteX188" fmla="*/ 6448425 w 8601075"/>
                  <a:gd name="connsiteY188" fmla="*/ 3448050 h 4333875"/>
                  <a:gd name="connsiteX189" fmla="*/ 6581775 w 8601075"/>
                  <a:gd name="connsiteY189" fmla="*/ 3276600 h 4333875"/>
                  <a:gd name="connsiteX190" fmla="*/ 6496050 w 8601075"/>
                  <a:gd name="connsiteY190" fmla="*/ 3228975 h 4333875"/>
                  <a:gd name="connsiteX191" fmla="*/ 6438900 w 8601075"/>
                  <a:gd name="connsiteY191" fmla="*/ 3162300 h 4333875"/>
                  <a:gd name="connsiteX192" fmla="*/ 6419850 w 8601075"/>
                  <a:gd name="connsiteY192" fmla="*/ 3105150 h 4333875"/>
                  <a:gd name="connsiteX193" fmla="*/ 6362700 w 8601075"/>
                  <a:gd name="connsiteY193" fmla="*/ 3076575 h 4333875"/>
                  <a:gd name="connsiteX194" fmla="*/ 6410325 w 8601075"/>
                  <a:gd name="connsiteY194" fmla="*/ 3019425 h 4333875"/>
                  <a:gd name="connsiteX195" fmla="*/ 6438900 w 8601075"/>
                  <a:gd name="connsiteY195" fmla="*/ 2819400 h 4333875"/>
                  <a:gd name="connsiteX196" fmla="*/ 6496050 w 8601075"/>
                  <a:gd name="connsiteY196" fmla="*/ 2762250 h 4333875"/>
                  <a:gd name="connsiteX197" fmla="*/ 6657975 w 8601075"/>
                  <a:gd name="connsiteY197" fmla="*/ 2752725 h 4333875"/>
                  <a:gd name="connsiteX198" fmla="*/ 6781800 w 8601075"/>
                  <a:gd name="connsiteY198" fmla="*/ 2838450 h 4333875"/>
                  <a:gd name="connsiteX199" fmla="*/ 7010400 w 8601075"/>
                  <a:gd name="connsiteY199" fmla="*/ 2838450 h 4333875"/>
                  <a:gd name="connsiteX200" fmla="*/ 7162800 w 8601075"/>
                  <a:gd name="connsiteY200" fmla="*/ 2705100 h 4333875"/>
                  <a:gd name="connsiteX201" fmla="*/ 7229475 w 8601075"/>
                  <a:gd name="connsiteY201" fmla="*/ 2590800 h 4333875"/>
                  <a:gd name="connsiteX202" fmla="*/ 7248525 w 8601075"/>
                  <a:gd name="connsiteY202" fmla="*/ 2524125 h 4333875"/>
                  <a:gd name="connsiteX203" fmla="*/ 7372350 w 8601075"/>
                  <a:gd name="connsiteY203" fmla="*/ 2543175 h 4333875"/>
                  <a:gd name="connsiteX204" fmla="*/ 7553325 w 8601075"/>
                  <a:gd name="connsiteY204" fmla="*/ 2447925 h 4333875"/>
                  <a:gd name="connsiteX205" fmla="*/ 7620000 w 8601075"/>
                  <a:gd name="connsiteY205" fmla="*/ 2324100 h 4333875"/>
                  <a:gd name="connsiteX206" fmla="*/ 7696200 w 8601075"/>
                  <a:gd name="connsiteY206" fmla="*/ 2314575 h 4333875"/>
                  <a:gd name="connsiteX207" fmla="*/ 7658100 w 8601075"/>
                  <a:gd name="connsiteY207" fmla="*/ 2257425 h 4333875"/>
                  <a:gd name="connsiteX208" fmla="*/ 7753350 w 8601075"/>
                  <a:gd name="connsiteY208" fmla="*/ 2057400 h 4333875"/>
                  <a:gd name="connsiteX209" fmla="*/ 7934325 w 8601075"/>
                  <a:gd name="connsiteY209" fmla="*/ 2028825 h 4333875"/>
                  <a:gd name="connsiteX210" fmla="*/ 7953375 w 8601075"/>
                  <a:gd name="connsiteY210" fmla="*/ 1952625 h 4333875"/>
                  <a:gd name="connsiteX211" fmla="*/ 7953375 w 8601075"/>
                  <a:gd name="connsiteY211" fmla="*/ 1952625 h 4333875"/>
                  <a:gd name="connsiteX212" fmla="*/ 8010525 w 8601075"/>
                  <a:gd name="connsiteY212" fmla="*/ 1895475 h 4333875"/>
                  <a:gd name="connsiteX213" fmla="*/ 8048625 w 8601075"/>
                  <a:gd name="connsiteY213" fmla="*/ 1971675 h 4333875"/>
                  <a:gd name="connsiteX214" fmla="*/ 8077200 w 8601075"/>
                  <a:gd name="connsiteY214" fmla="*/ 1885950 h 4333875"/>
                  <a:gd name="connsiteX215" fmla="*/ 8220075 w 8601075"/>
                  <a:gd name="connsiteY215" fmla="*/ 1847850 h 4333875"/>
                  <a:gd name="connsiteX216" fmla="*/ 8296275 w 8601075"/>
                  <a:gd name="connsiteY216" fmla="*/ 1809750 h 4333875"/>
                  <a:gd name="connsiteX217" fmla="*/ 8324850 w 8601075"/>
                  <a:gd name="connsiteY217" fmla="*/ 1790700 h 4333875"/>
                  <a:gd name="connsiteX218" fmla="*/ 8410575 w 8601075"/>
                  <a:gd name="connsiteY218" fmla="*/ 1847850 h 4333875"/>
                  <a:gd name="connsiteX219" fmla="*/ 8505825 w 8601075"/>
                  <a:gd name="connsiteY219" fmla="*/ 1781175 h 4333875"/>
                  <a:gd name="connsiteX220" fmla="*/ 8572500 w 8601075"/>
                  <a:gd name="connsiteY220" fmla="*/ 1809750 h 4333875"/>
                  <a:gd name="connsiteX221" fmla="*/ 8601075 w 8601075"/>
                  <a:gd name="connsiteY221" fmla="*/ 1704975 h 4333875"/>
                  <a:gd name="connsiteX222" fmla="*/ 8553450 w 8601075"/>
                  <a:gd name="connsiteY222" fmla="*/ 1676400 h 4333875"/>
                  <a:gd name="connsiteX223" fmla="*/ 8534400 w 8601075"/>
                  <a:gd name="connsiteY223" fmla="*/ 1609725 h 4333875"/>
                  <a:gd name="connsiteX224" fmla="*/ 8277225 w 8601075"/>
                  <a:gd name="connsiteY224" fmla="*/ 1409700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124825 w 8601075"/>
                  <a:gd name="connsiteY227" fmla="*/ 1352550 h 4333875"/>
                  <a:gd name="connsiteX228" fmla="*/ 7924800 w 8601075"/>
                  <a:gd name="connsiteY228" fmla="*/ 1362075 h 4333875"/>
                  <a:gd name="connsiteX229" fmla="*/ 7867650 w 8601075"/>
                  <a:gd name="connsiteY229" fmla="*/ 1457325 h 4333875"/>
                  <a:gd name="connsiteX230" fmla="*/ 7896225 w 8601075"/>
                  <a:gd name="connsiteY230" fmla="*/ 1476375 h 4333875"/>
                  <a:gd name="connsiteX231" fmla="*/ 7858125 w 8601075"/>
                  <a:gd name="connsiteY231" fmla="*/ 1533525 h 4333875"/>
                  <a:gd name="connsiteX232" fmla="*/ 7658100 w 8601075"/>
                  <a:gd name="connsiteY232" fmla="*/ 1447800 h 4333875"/>
                  <a:gd name="connsiteX233" fmla="*/ 7515225 w 8601075"/>
                  <a:gd name="connsiteY233" fmla="*/ 1495425 h 4333875"/>
                  <a:gd name="connsiteX234" fmla="*/ 7467600 w 8601075"/>
                  <a:gd name="connsiteY234" fmla="*/ 1581150 h 4333875"/>
                  <a:gd name="connsiteX235" fmla="*/ 7296150 w 8601075"/>
                  <a:gd name="connsiteY23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66700 w 8601075"/>
                  <a:gd name="connsiteY138" fmla="*/ 129540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14325 w 8601075"/>
                  <a:gd name="connsiteY138" fmla="*/ 1276350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97656 w 8601075"/>
                  <a:gd name="connsiteY138" fmla="*/ 1273969 h 4333875"/>
                  <a:gd name="connsiteX139" fmla="*/ 409575 w 8601075"/>
                  <a:gd name="connsiteY139" fmla="*/ 1276350 h 4333875"/>
                  <a:gd name="connsiteX140" fmla="*/ 466725 w 8601075"/>
                  <a:gd name="connsiteY140" fmla="*/ 1362075 h 4333875"/>
                  <a:gd name="connsiteX141" fmla="*/ 542925 w 8601075"/>
                  <a:gd name="connsiteY141" fmla="*/ 1428750 h 4333875"/>
                  <a:gd name="connsiteX142" fmla="*/ 628650 w 8601075"/>
                  <a:gd name="connsiteY142" fmla="*/ 1571625 h 4333875"/>
                  <a:gd name="connsiteX143" fmla="*/ 628650 w 8601075"/>
                  <a:gd name="connsiteY143" fmla="*/ 1704975 h 4333875"/>
                  <a:gd name="connsiteX144" fmla="*/ 676275 w 8601075"/>
                  <a:gd name="connsiteY144" fmla="*/ 1771650 h 4333875"/>
                  <a:gd name="connsiteX145" fmla="*/ 657225 w 8601075"/>
                  <a:gd name="connsiteY145" fmla="*/ 2000250 h 4333875"/>
                  <a:gd name="connsiteX146" fmla="*/ 619125 w 8601075"/>
                  <a:gd name="connsiteY146" fmla="*/ 2095500 h 4333875"/>
                  <a:gd name="connsiteX147" fmla="*/ 542925 w 8601075"/>
                  <a:gd name="connsiteY147" fmla="*/ 2228850 h 4333875"/>
                  <a:gd name="connsiteX148" fmla="*/ 485775 w 8601075"/>
                  <a:gd name="connsiteY148" fmla="*/ 2362200 h 4333875"/>
                  <a:gd name="connsiteX149" fmla="*/ 552450 w 8601075"/>
                  <a:gd name="connsiteY149" fmla="*/ 2486025 h 4333875"/>
                  <a:gd name="connsiteX150" fmla="*/ 771525 w 8601075"/>
                  <a:gd name="connsiteY150" fmla="*/ 2571750 h 4333875"/>
                  <a:gd name="connsiteX151" fmla="*/ 866775 w 8601075"/>
                  <a:gd name="connsiteY151" fmla="*/ 2571750 h 4333875"/>
                  <a:gd name="connsiteX152" fmla="*/ 914400 w 8601075"/>
                  <a:gd name="connsiteY152" fmla="*/ 2638425 h 4333875"/>
                  <a:gd name="connsiteX153" fmla="*/ 1066800 w 8601075"/>
                  <a:gd name="connsiteY153" fmla="*/ 2638425 h 4333875"/>
                  <a:gd name="connsiteX154" fmla="*/ 1285875 w 8601075"/>
                  <a:gd name="connsiteY154" fmla="*/ 2705100 h 4333875"/>
                  <a:gd name="connsiteX155" fmla="*/ 1438275 w 8601075"/>
                  <a:gd name="connsiteY155" fmla="*/ 2838450 h 4333875"/>
                  <a:gd name="connsiteX156" fmla="*/ 1485900 w 8601075"/>
                  <a:gd name="connsiteY156" fmla="*/ 2914650 h 4333875"/>
                  <a:gd name="connsiteX157" fmla="*/ 1657350 w 8601075"/>
                  <a:gd name="connsiteY157" fmla="*/ 3038475 h 4333875"/>
                  <a:gd name="connsiteX158" fmla="*/ 1752600 w 8601075"/>
                  <a:gd name="connsiteY158" fmla="*/ 3057525 h 4333875"/>
                  <a:gd name="connsiteX159" fmla="*/ 1724025 w 8601075"/>
                  <a:gd name="connsiteY159" fmla="*/ 3143250 h 4333875"/>
                  <a:gd name="connsiteX160" fmla="*/ 1724025 w 8601075"/>
                  <a:gd name="connsiteY160" fmla="*/ 3143250 h 4333875"/>
                  <a:gd name="connsiteX161" fmla="*/ 1781175 w 8601075"/>
                  <a:gd name="connsiteY161" fmla="*/ 3181350 h 4333875"/>
                  <a:gd name="connsiteX162" fmla="*/ 1819275 w 8601075"/>
                  <a:gd name="connsiteY162" fmla="*/ 3362325 h 4333875"/>
                  <a:gd name="connsiteX163" fmla="*/ 1828800 w 8601075"/>
                  <a:gd name="connsiteY163" fmla="*/ 3457575 h 4333875"/>
                  <a:gd name="connsiteX164" fmla="*/ 1971675 w 8601075"/>
                  <a:gd name="connsiteY164" fmla="*/ 3590925 h 4333875"/>
                  <a:gd name="connsiteX165" fmla="*/ 1990725 w 8601075"/>
                  <a:gd name="connsiteY165" fmla="*/ 3714750 h 4333875"/>
                  <a:gd name="connsiteX166" fmla="*/ 2200275 w 8601075"/>
                  <a:gd name="connsiteY166" fmla="*/ 3695700 h 4333875"/>
                  <a:gd name="connsiteX167" fmla="*/ 2886075 w 8601075"/>
                  <a:gd name="connsiteY167" fmla="*/ 3886200 h 4333875"/>
                  <a:gd name="connsiteX168" fmla="*/ 3038475 w 8601075"/>
                  <a:gd name="connsiteY168" fmla="*/ 3819525 h 4333875"/>
                  <a:gd name="connsiteX169" fmla="*/ 3105150 w 8601075"/>
                  <a:gd name="connsiteY169" fmla="*/ 3867150 h 4333875"/>
                  <a:gd name="connsiteX170" fmla="*/ 3181350 w 8601075"/>
                  <a:gd name="connsiteY170" fmla="*/ 3800475 h 4333875"/>
                  <a:gd name="connsiteX171" fmla="*/ 3590925 w 8601075"/>
                  <a:gd name="connsiteY171" fmla="*/ 3943350 h 4333875"/>
                  <a:gd name="connsiteX172" fmla="*/ 3686175 w 8601075"/>
                  <a:gd name="connsiteY172" fmla="*/ 4057650 h 4333875"/>
                  <a:gd name="connsiteX173" fmla="*/ 3838575 w 8601075"/>
                  <a:gd name="connsiteY173" fmla="*/ 4057650 h 4333875"/>
                  <a:gd name="connsiteX174" fmla="*/ 4162425 w 8601075"/>
                  <a:gd name="connsiteY174" fmla="*/ 4248150 h 4333875"/>
                  <a:gd name="connsiteX175" fmla="*/ 4391025 w 8601075"/>
                  <a:gd name="connsiteY175" fmla="*/ 4200525 h 4333875"/>
                  <a:gd name="connsiteX176" fmla="*/ 4410075 w 8601075"/>
                  <a:gd name="connsiteY176" fmla="*/ 4305300 h 4333875"/>
                  <a:gd name="connsiteX177" fmla="*/ 4505325 w 8601075"/>
                  <a:gd name="connsiteY177" fmla="*/ 4276725 h 4333875"/>
                  <a:gd name="connsiteX178" fmla="*/ 4572000 w 8601075"/>
                  <a:gd name="connsiteY178" fmla="*/ 4333875 h 4333875"/>
                  <a:gd name="connsiteX179" fmla="*/ 4591050 w 8601075"/>
                  <a:gd name="connsiteY179" fmla="*/ 4248150 h 4333875"/>
                  <a:gd name="connsiteX180" fmla="*/ 5295900 w 8601075"/>
                  <a:gd name="connsiteY180" fmla="*/ 3924300 h 4333875"/>
                  <a:gd name="connsiteX181" fmla="*/ 5353050 w 8601075"/>
                  <a:gd name="connsiteY181" fmla="*/ 3990975 h 4333875"/>
                  <a:gd name="connsiteX182" fmla="*/ 5524500 w 8601075"/>
                  <a:gd name="connsiteY182" fmla="*/ 3914775 h 4333875"/>
                  <a:gd name="connsiteX183" fmla="*/ 5667375 w 8601075"/>
                  <a:gd name="connsiteY183" fmla="*/ 3962400 h 4333875"/>
                  <a:gd name="connsiteX184" fmla="*/ 5753100 w 8601075"/>
                  <a:gd name="connsiteY184" fmla="*/ 3924300 h 4333875"/>
                  <a:gd name="connsiteX185" fmla="*/ 5905500 w 8601075"/>
                  <a:gd name="connsiteY185" fmla="*/ 3943350 h 4333875"/>
                  <a:gd name="connsiteX186" fmla="*/ 6000750 w 8601075"/>
                  <a:gd name="connsiteY186" fmla="*/ 3800475 h 4333875"/>
                  <a:gd name="connsiteX187" fmla="*/ 6153150 w 8601075"/>
                  <a:gd name="connsiteY187" fmla="*/ 3781425 h 4333875"/>
                  <a:gd name="connsiteX188" fmla="*/ 6257925 w 8601075"/>
                  <a:gd name="connsiteY188" fmla="*/ 3581400 h 4333875"/>
                  <a:gd name="connsiteX189" fmla="*/ 6448425 w 8601075"/>
                  <a:gd name="connsiteY189" fmla="*/ 3448050 h 4333875"/>
                  <a:gd name="connsiteX190" fmla="*/ 6581775 w 8601075"/>
                  <a:gd name="connsiteY190" fmla="*/ 3276600 h 4333875"/>
                  <a:gd name="connsiteX191" fmla="*/ 6496050 w 8601075"/>
                  <a:gd name="connsiteY191" fmla="*/ 3228975 h 4333875"/>
                  <a:gd name="connsiteX192" fmla="*/ 6438900 w 8601075"/>
                  <a:gd name="connsiteY192" fmla="*/ 3162300 h 4333875"/>
                  <a:gd name="connsiteX193" fmla="*/ 6419850 w 8601075"/>
                  <a:gd name="connsiteY193" fmla="*/ 3105150 h 4333875"/>
                  <a:gd name="connsiteX194" fmla="*/ 6362700 w 8601075"/>
                  <a:gd name="connsiteY194" fmla="*/ 3076575 h 4333875"/>
                  <a:gd name="connsiteX195" fmla="*/ 6410325 w 8601075"/>
                  <a:gd name="connsiteY195" fmla="*/ 3019425 h 4333875"/>
                  <a:gd name="connsiteX196" fmla="*/ 6438900 w 8601075"/>
                  <a:gd name="connsiteY196" fmla="*/ 2819400 h 4333875"/>
                  <a:gd name="connsiteX197" fmla="*/ 6496050 w 8601075"/>
                  <a:gd name="connsiteY197" fmla="*/ 2762250 h 4333875"/>
                  <a:gd name="connsiteX198" fmla="*/ 6657975 w 8601075"/>
                  <a:gd name="connsiteY198" fmla="*/ 2752725 h 4333875"/>
                  <a:gd name="connsiteX199" fmla="*/ 6781800 w 8601075"/>
                  <a:gd name="connsiteY199" fmla="*/ 2838450 h 4333875"/>
                  <a:gd name="connsiteX200" fmla="*/ 7010400 w 8601075"/>
                  <a:gd name="connsiteY200" fmla="*/ 2838450 h 4333875"/>
                  <a:gd name="connsiteX201" fmla="*/ 7162800 w 8601075"/>
                  <a:gd name="connsiteY201" fmla="*/ 2705100 h 4333875"/>
                  <a:gd name="connsiteX202" fmla="*/ 7229475 w 8601075"/>
                  <a:gd name="connsiteY202" fmla="*/ 2590800 h 4333875"/>
                  <a:gd name="connsiteX203" fmla="*/ 7248525 w 8601075"/>
                  <a:gd name="connsiteY203" fmla="*/ 2524125 h 4333875"/>
                  <a:gd name="connsiteX204" fmla="*/ 7372350 w 8601075"/>
                  <a:gd name="connsiteY204" fmla="*/ 2543175 h 4333875"/>
                  <a:gd name="connsiteX205" fmla="*/ 7553325 w 8601075"/>
                  <a:gd name="connsiteY205" fmla="*/ 2447925 h 4333875"/>
                  <a:gd name="connsiteX206" fmla="*/ 7620000 w 8601075"/>
                  <a:gd name="connsiteY206" fmla="*/ 2324100 h 4333875"/>
                  <a:gd name="connsiteX207" fmla="*/ 7696200 w 8601075"/>
                  <a:gd name="connsiteY207" fmla="*/ 2314575 h 4333875"/>
                  <a:gd name="connsiteX208" fmla="*/ 7658100 w 8601075"/>
                  <a:gd name="connsiteY208" fmla="*/ 2257425 h 4333875"/>
                  <a:gd name="connsiteX209" fmla="*/ 7753350 w 8601075"/>
                  <a:gd name="connsiteY209" fmla="*/ 2057400 h 4333875"/>
                  <a:gd name="connsiteX210" fmla="*/ 7934325 w 8601075"/>
                  <a:gd name="connsiteY210" fmla="*/ 2028825 h 4333875"/>
                  <a:gd name="connsiteX211" fmla="*/ 7953375 w 8601075"/>
                  <a:gd name="connsiteY211" fmla="*/ 1952625 h 4333875"/>
                  <a:gd name="connsiteX212" fmla="*/ 7953375 w 8601075"/>
                  <a:gd name="connsiteY212" fmla="*/ 1952625 h 4333875"/>
                  <a:gd name="connsiteX213" fmla="*/ 8010525 w 8601075"/>
                  <a:gd name="connsiteY213" fmla="*/ 1895475 h 4333875"/>
                  <a:gd name="connsiteX214" fmla="*/ 8048625 w 8601075"/>
                  <a:gd name="connsiteY214" fmla="*/ 1971675 h 4333875"/>
                  <a:gd name="connsiteX215" fmla="*/ 8077200 w 8601075"/>
                  <a:gd name="connsiteY215" fmla="*/ 1885950 h 4333875"/>
                  <a:gd name="connsiteX216" fmla="*/ 8220075 w 8601075"/>
                  <a:gd name="connsiteY216" fmla="*/ 1847850 h 4333875"/>
                  <a:gd name="connsiteX217" fmla="*/ 8296275 w 8601075"/>
                  <a:gd name="connsiteY217" fmla="*/ 1809750 h 4333875"/>
                  <a:gd name="connsiteX218" fmla="*/ 8324850 w 8601075"/>
                  <a:gd name="connsiteY218" fmla="*/ 1790700 h 4333875"/>
                  <a:gd name="connsiteX219" fmla="*/ 8410575 w 8601075"/>
                  <a:gd name="connsiteY219" fmla="*/ 1847850 h 4333875"/>
                  <a:gd name="connsiteX220" fmla="*/ 8505825 w 8601075"/>
                  <a:gd name="connsiteY220" fmla="*/ 1781175 h 4333875"/>
                  <a:gd name="connsiteX221" fmla="*/ 8572500 w 8601075"/>
                  <a:gd name="connsiteY221" fmla="*/ 1809750 h 4333875"/>
                  <a:gd name="connsiteX222" fmla="*/ 8601075 w 8601075"/>
                  <a:gd name="connsiteY222" fmla="*/ 1704975 h 4333875"/>
                  <a:gd name="connsiteX223" fmla="*/ 8553450 w 8601075"/>
                  <a:gd name="connsiteY223" fmla="*/ 1676400 h 4333875"/>
                  <a:gd name="connsiteX224" fmla="*/ 8534400 w 8601075"/>
                  <a:gd name="connsiteY224" fmla="*/ 1609725 h 4333875"/>
                  <a:gd name="connsiteX225" fmla="*/ 8277225 w 8601075"/>
                  <a:gd name="connsiteY225" fmla="*/ 1409700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124825 w 8601075"/>
                  <a:gd name="connsiteY228" fmla="*/ 1352550 h 4333875"/>
                  <a:gd name="connsiteX229" fmla="*/ 7924800 w 8601075"/>
                  <a:gd name="connsiteY229" fmla="*/ 1362075 h 4333875"/>
                  <a:gd name="connsiteX230" fmla="*/ 7867650 w 8601075"/>
                  <a:gd name="connsiteY230" fmla="*/ 1457325 h 4333875"/>
                  <a:gd name="connsiteX231" fmla="*/ 7896225 w 8601075"/>
                  <a:gd name="connsiteY231" fmla="*/ 1476375 h 4333875"/>
                  <a:gd name="connsiteX232" fmla="*/ 7858125 w 8601075"/>
                  <a:gd name="connsiteY232" fmla="*/ 1533525 h 4333875"/>
                  <a:gd name="connsiteX233" fmla="*/ 7658100 w 8601075"/>
                  <a:gd name="connsiteY233" fmla="*/ 1447800 h 4333875"/>
                  <a:gd name="connsiteX234" fmla="*/ 7515225 w 8601075"/>
                  <a:gd name="connsiteY234" fmla="*/ 1495425 h 4333875"/>
                  <a:gd name="connsiteX235" fmla="*/ 7467600 w 8601075"/>
                  <a:gd name="connsiteY235" fmla="*/ 1581150 h 4333875"/>
                  <a:gd name="connsiteX236" fmla="*/ 7296150 w 8601075"/>
                  <a:gd name="connsiteY23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297656 w 8601075"/>
                  <a:gd name="connsiteY138" fmla="*/ 1273969 h 4333875"/>
                  <a:gd name="connsiteX139" fmla="*/ 361950 w 8601075"/>
                  <a:gd name="connsiteY139" fmla="*/ 1254919 h 4333875"/>
                  <a:gd name="connsiteX140" fmla="*/ 409575 w 8601075"/>
                  <a:gd name="connsiteY140" fmla="*/ 1276350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9575 w 8601075"/>
                  <a:gd name="connsiteY140" fmla="*/ 1276350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66725 w 8601075"/>
                  <a:gd name="connsiteY141" fmla="*/ 1362075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542925 w 8601075"/>
                  <a:gd name="connsiteY142" fmla="*/ 1428750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628650 w 8601075"/>
                  <a:gd name="connsiteY143" fmla="*/ 1571625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628650 w 8601075"/>
                  <a:gd name="connsiteY144" fmla="*/ 1704975 h 4333875"/>
                  <a:gd name="connsiteX145" fmla="*/ 676275 w 8601075"/>
                  <a:gd name="connsiteY145" fmla="*/ 1771650 h 4333875"/>
                  <a:gd name="connsiteX146" fmla="*/ 657225 w 8601075"/>
                  <a:gd name="connsiteY146" fmla="*/ 2000250 h 4333875"/>
                  <a:gd name="connsiteX147" fmla="*/ 619125 w 8601075"/>
                  <a:gd name="connsiteY147" fmla="*/ 2095500 h 4333875"/>
                  <a:gd name="connsiteX148" fmla="*/ 542925 w 8601075"/>
                  <a:gd name="connsiteY148" fmla="*/ 2228850 h 4333875"/>
                  <a:gd name="connsiteX149" fmla="*/ 485775 w 8601075"/>
                  <a:gd name="connsiteY149" fmla="*/ 2362200 h 4333875"/>
                  <a:gd name="connsiteX150" fmla="*/ 552450 w 8601075"/>
                  <a:gd name="connsiteY150" fmla="*/ 2486025 h 4333875"/>
                  <a:gd name="connsiteX151" fmla="*/ 771525 w 8601075"/>
                  <a:gd name="connsiteY151" fmla="*/ 2571750 h 4333875"/>
                  <a:gd name="connsiteX152" fmla="*/ 866775 w 8601075"/>
                  <a:gd name="connsiteY152" fmla="*/ 2571750 h 4333875"/>
                  <a:gd name="connsiteX153" fmla="*/ 914400 w 8601075"/>
                  <a:gd name="connsiteY153" fmla="*/ 2638425 h 4333875"/>
                  <a:gd name="connsiteX154" fmla="*/ 1066800 w 8601075"/>
                  <a:gd name="connsiteY154" fmla="*/ 2638425 h 4333875"/>
                  <a:gd name="connsiteX155" fmla="*/ 1285875 w 8601075"/>
                  <a:gd name="connsiteY155" fmla="*/ 2705100 h 4333875"/>
                  <a:gd name="connsiteX156" fmla="*/ 1438275 w 8601075"/>
                  <a:gd name="connsiteY156" fmla="*/ 2838450 h 4333875"/>
                  <a:gd name="connsiteX157" fmla="*/ 1485900 w 8601075"/>
                  <a:gd name="connsiteY157" fmla="*/ 2914650 h 4333875"/>
                  <a:gd name="connsiteX158" fmla="*/ 1657350 w 8601075"/>
                  <a:gd name="connsiteY158" fmla="*/ 3038475 h 4333875"/>
                  <a:gd name="connsiteX159" fmla="*/ 1752600 w 8601075"/>
                  <a:gd name="connsiteY159" fmla="*/ 3057525 h 4333875"/>
                  <a:gd name="connsiteX160" fmla="*/ 1724025 w 8601075"/>
                  <a:gd name="connsiteY160" fmla="*/ 3143250 h 4333875"/>
                  <a:gd name="connsiteX161" fmla="*/ 1724025 w 8601075"/>
                  <a:gd name="connsiteY161" fmla="*/ 3143250 h 4333875"/>
                  <a:gd name="connsiteX162" fmla="*/ 1781175 w 8601075"/>
                  <a:gd name="connsiteY162" fmla="*/ 3181350 h 4333875"/>
                  <a:gd name="connsiteX163" fmla="*/ 1819275 w 8601075"/>
                  <a:gd name="connsiteY163" fmla="*/ 3362325 h 4333875"/>
                  <a:gd name="connsiteX164" fmla="*/ 1828800 w 8601075"/>
                  <a:gd name="connsiteY164" fmla="*/ 3457575 h 4333875"/>
                  <a:gd name="connsiteX165" fmla="*/ 1971675 w 8601075"/>
                  <a:gd name="connsiteY165" fmla="*/ 3590925 h 4333875"/>
                  <a:gd name="connsiteX166" fmla="*/ 1990725 w 8601075"/>
                  <a:gd name="connsiteY166" fmla="*/ 3714750 h 4333875"/>
                  <a:gd name="connsiteX167" fmla="*/ 2200275 w 8601075"/>
                  <a:gd name="connsiteY167" fmla="*/ 3695700 h 4333875"/>
                  <a:gd name="connsiteX168" fmla="*/ 2886075 w 8601075"/>
                  <a:gd name="connsiteY168" fmla="*/ 3886200 h 4333875"/>
                  <a:gd name="connsiteX169" fmla="*/ 3038475 w 8601075"/>
                  <a:gd name="connsiteY169" fmla="*/ 3819525 h 4333875"/>
                  <a:gd name="connsiteX170" fmla="*/ 3105150 w 8601075"/>
                  <a:gd name="connsiteY170" fmla="*/ 3867150 h 4333875"/>
                  <a:gd name="connsiteX171" fmla="*/ 3181350 w 8601075"/>
                  <a:gd name="connsiteY171" fmla="*/ 3800475 h 4333875"/>
                  <a:gd name="connsiteX172" fmla="*/ 3590925 w 8601075"/>
                  <a:gd name="connsiteY172" fmla="*/ 3943350 h 4333875"/>
                  <a:gd name="connsiteX173" fmla="*/ 3686175 w 8601075"/>
                  <a:gd name="connsiteY173" fmla="*/ 4057650 h 4333875"/>
                  <a:gd name="connsiteX174" fmla="*/ 3838575 w 8601075"/>
                  <a:gd name="connsiteY174" fmla="*/ 4057650 h 4333875"/>
                  <a:gd name="connsiteX175" fmla="*/ 4162425 w 8601075"/>
                  <a:gd name="connsiteY175" fmla="*/ 4248150 h 4333875"/>
                  <a:gd name="connsiteX176" fmla="*/ 4391025 w 8601075"/>
                  <a:gd name="connsiteY176" fmla="*/ 4200525 h 4333875"/>
                  <a:gd name="connsiteX177" fmla="*/ 4410075 w 8601075"/>
                  <a:gd name="connsiteY177" fmla="*/ 4305300 h 4333875"/>
                  <a:gd name="connsiteX178" fmla="*/ 4505325 w 8601075"/>
                  <a:gd name="connsiteY178" fmla="*/ 4276725 h 4333875"/>
                  <a:gd name="connsiteX179" fmla="*/ 4572000 w 8601075"/>
                  <a:gd name="connsiteY179" fmla="*/ 4333875 h 4333875"/>
                  <a:gd name="connsiteX180" fmla="*/ 4591050 w 8601075"/>
                  <a:gd name="connsiteY180" fmla="*/ 4248150 h 4333875"/>
                  <a:gd name="connsiteX181" fmla="*/ 5295900 w 8601075"/>
                  <a:gd name="connsiteY181" fmla="*/ 3924300 h 4333875"/>
                  <a:gd name="connsiteX182" fmla="*/ 5353050 w 8601075"/>
                  <a:gd name="connsiteY182" fmla="*/ 3990975 h 4333875"/>
                  <a:gd name="connsiteX183" fmla="*/ 5524500 w 8601075"/>
                  <a:gd name="connsiteY183" fmla="*/ 3914775 h 4333875"/>
                  <a:gd name="connsiteX184" fmla="*/ 5667375 w 8601075"/>
                  <a:gd name="connsiteY184" fmla="*/ 3962400 h 4333875"/>
                  <a:gd name="connsiteX185" fmla="*/ 5753100 w 8601075"/>
                  <a:gd name="connsiteY185" fmla="*/ 3924300 h 4333875"/>
                  <a:gd name="connsiteX186" fmla="*/ 5905500 w 8601075"/>
                  <a:gd name="connsiteY186" fmla="*/ 3943350 h 4333875"/>
                  <a:gd name="connsiteX187" fmla="*/ 6000750 w 8601075"/>
                  <a:gd name="connsiteY187" fmla="*/ 3800475 h 4333875"/>
                  <a:gd name="connsiteX188" fmla="*/ 6153150 w 8601075"/>
                  <a:gd name="connsiteY188" fmla="*/ 3781425 h 4333875"/>
                  <a:gd name="connsiteX189" fmla="*/ 6257925 w 8601075"/>
                  <a:gd name="connsiteY189" fmla="*/ 3581400 h 4333875"/>
                  <a:gd name="connsiteX190" fmla="*/ 6448425 w 8601075"/>
                  <a:gd name="connsiteY190" fmla="*/ 3448050 h 4333875"/>
                  <a:gd name="connsiteX191" fmla="*/ 6581775 w 8601075"/>
                  <a:gd name="connsiteY191" fmla="*/ 3276600 h 4333875"/>
                  <a:gd name="connsiteX192" fmla="*/ 6496050 w 8601075"/>
                  <a:gd name="connsiteY192" fmla="*/ 3228975 h 4333875"/>
                  <a:gd name="connsiteX193" fmla="*/ 6438900 w 8601075"/>
                  <a:gd name="connsiteY193" fmla="*/ 3162300 h 4333875"/>
                  <a:gd name="connsiteX194" fmla="*/ 6419850 w 8601075"/>
                  <a:gd name="connsiteY194" fmla="*/ 3105150 h 4333875"/>
                  <a:gd name="connsiteX195" fmla="*/ 6362700 w 8601075"/>
                  <a:gd name="connsiteY195" fmla="*/ 3076575 h 4333875"/>
                  <a:gd name="connsiteX196" fmla="*/ 6410325 w 8601075"/>
                  <a:gd name="connsiteY196" fmla="*/ 3019425 h 4333875"/>
                  <a:gd name="connsiteX197" fmla="*/ 6438900 w 8601075"/>
                  <a:gd name="connsiteY197" fmla="*/ 2819400 h 4333875"/>
                  <a:gd name="connsiteX198" fmla="*/ 6496050 w 8601075"/>
                  <a:gd name="connsiteY198" fmla="*/ 2762250 h 4333875"/>
                  <a:gd name="connsiteX199" fmla="*/ 6657975 w 8601075"/>
                  <a:gd name="connsiteY199" fmla="*/ 2752725 h 4333875"/>
                  <a:gd name="connsiteX200" fmla="*/ 6781800 w 8601075"/>
                  <a:gd name="connsiteY200" fmla="*/ 2838450 h 4333875"/>
                  <a:gd name="connsiteX201" fmla="*/ 7010400 w 8601075"/>
                  <a:gd name="connsiteY201" fmla="*/ 2838450 h 4333875"/>
                  <a:gd name="connsiteX202" fmla="*/ 7162800 w 8601075"/>
                  <a:gd name="connsiteY202" fmla="*/ 2705100 h 4333875"/>
                  <a:gd name="connsiteX203" fmla="*/ 7229475 w 8601075"/>
                  <a:gd name="connsiteY203" fmla="*/ 2590800 h 4333875"/>
                  <a:gd name="connsiteX204" fmla="*/ 7248525 w 8601075"/>
                  <a:gd name="connsiteY204" fmla="*/ 2524125 h 4333875"/>
                  <a:gd name="connsiteX205" fmla="*/ 7372350 w 8601075"/>
                  <a:gd name="connsiteY205" fmla="*/ 2543175 h 4333875"/>
                  <a:gd name="connsiteX206" fmla="*/ 7553325 w 8601075"/>
                  <a:gd name="connsiteY206" fmla="*/ 2447925 h 4333875"/>
                  <a:gd name="connsiteX207" fmla="*/ 7620000 w 8601075"/>
                  <a:gd name="connsiteY207" fmla="*/ 2324100 h 4333875"/>
                  <a:gd name="connsiteX208" fmla="*/ 7696200 w 8601075"/>
                  <a:gd name="connsiteY208" fmla="*/ 2314575 h 4333875"/>
                  <a:gd name="connsiteX209" fmla="*/ 7658100 w 8601075"/>
                  <a:gd name="connsiteY209" fmla="*/ 2257425 h 4333875"/>
                  <a:gd name="connsiteX210" fmla="*/ 7753350 w 8601075"/>
                  <a:gd name="connsiteY210" fmla="*/ 2057400 h 4333875"/>
                  <a:gd name="connsiteX211" fmla="*/ 7934325 w 8601075"/>
                  <a:gd name="connsiteY211" fmla="*/ 2028825 h 4333875"/>
                  <a:gd name="connsiteX212" fmla="*/ 7953375 w 8601075"/>
                  <a:gd name="connsiteY212" fmla="*/ 1952625 h 4333875"/>
                  <a:gd name="connsiteX213" fmla="*/ 7953375 w 8601075"/>
                  <a:gd name="connsiteY213" fmla="*/ 1952625 h 4333875"/>
                  <a:gd name="connsiteX214" fmla="*/ 8010525 w 8601075"/>
                  <a:gd name="connsiteY214" fmla="*/ 1895475 h 4333875"/>
                  <a:gd name="connsiteX215" fmla="*/ 8048625 w 8601075"/>
                  <a:gd name="connsiteY215" fmla="*/ 1971675 h 4333875"/>
                  <a:gd name="connsiteX216" fmla="*/ 8077200 w 8601075"/>
                  <a:gd name="connsiteY216" fmla="*/ 1885950 h 4333875"/>
                  <a:gd name="connsiteX217" fmla="*/ 8220075 w 8601075"/>
                  <a:gd name="connsiteY217" fmla="*/ 1847850 h 4333875"/>
                  <a:gd name="connsiteX218" fmla="*/ 8296275 w 8601075"/>
                  <a:gd name="connsiteY218" fmla="*/ 1809750 h 4333875"/>
                  <a:gd name="connsiteX219" fmla="*/ 8324850 w 8601075"/>
                  <a:gd name="connsiteY219" fmla="*/ 1790700 h 4333875"/>
                  <a:gd name="connsiteX220" fmla="*/ 8410575 w 8601075"/>
                  <a:gd name="connsiteY220" fmla="*/ 1847850 h 4333875"/>
                  <a:gd name="connsiteX221" fmla="*/ 8505825 w 8601075"/>
                  <a:gd name="connsiteY221" fmla="*/ 1781175 h 4333875"/>
                  <a:gd name="connsiteX222" fmla="*/ 8572500 w 8601075"/>
                  <a:gd name="connsiteY222" fmla="*/ 1809750 h 4333875"/>
                  <a:gd name="connsiteX223" fmla="*/ 8601075 w 8601075"/>
                  <a:gd name="connsiteY223" fmla="*/ 1704975 h 4333875"/>
                  <a:gd name="connsiteX224" fmla="*/ 8553450 w 8601075"/>
                  <a:gd name="connsiteY224" fmla="*/ 1676400 h 4333875"/>
                  <a:gd name="connsiteX225" fmla="*/ 8534400 w 8601075"/>
                  <a:gd name="connsiteY225" fmla="*/ 1609725 h 4333875"/>
                  <a:gd name="connsiteX226" fmla="*/ 8277225 w 8601075"/>
                  <a:gd name="connsiteY226" fmla="*/ 1409700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124825 w 8601075"/>
                  <a:gd name="connsiteY229" fmla="*/ 1352550 h 4333875"/>
                  <a:gd name="connsiteX230" fmla="*/ 7924800 w 8601075"/>
                  <a:gd name="connsiteY230" fmla="*/ 1362075 h 4333875"/>
                  <a:gd name="connsiteX231" fmla="*/ 7867650 w 8601075"/>
                  <a:gd name="connsiteY231" fmla="*/ 1457325 h 4333875"/>
                  <a:gd name="connsiteX232" fmla="*/ 7896225 w 8601075"/>
                  <a:gd name="connsiteY232" fmla="*/ 1476375 h 4333875"/>
                  <a:gd name="connsiteX233" fmla="*/ 7858125 w 8601075"/>
                  <a:gd name="connsiteY233" fmla="*/ 1533525 h 4333875"/>
                  <a:gd name="connsiteX234" fmla="*/ 7658100 w 8601075"/>
                  <a:gd name="connsiteY234" fmla="*/ 1447800 h 4333875"/>
                  <a:gd name="connsiteX235" fmla="*/ 7515225 w 8601075"/>
                  <a:gd name="connsiteY235" fmla="*/ 1495425 h 4333875"/>
                  <a:gd name="connsiteX236" fmla="*/ 7467600 w 8601075"/>
                  <a:gd name="connsiteY236" fmla="*/ 1581150 h 4333875"/>
                  <a:gd name="connsiteX237" fmla="*/ 7296150 w 8601075"/>
                  <a:gd name="connsiteY23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628650 w 8601075"/>
                  <a:gd name="connsiteY145" fmla="*/ 1704975 h 4333875"/>
                  <a:gd name="connsiteX146" fmla="*/ 676275 w 8601075"/>
                  <a:gd name="connsiteY146" fmla="*/ 1771650 h 4333875"/>
                  <a:gd name="connsiteX147" fmla="*/ 657225 w 8601075"/>
                  <a:gd name="connsiteY147" fmla="*/ 2000250 h 4333875"/>
                  <a:gd name="connsiteX148" fmla="*/ 619125 w 8601075"/>
                  <a:gd name="connsiteY148" fmla="*/ 2095500 h 4333875"/>
                  <a:gd name="connsiteX149" fmla="*/ 542925 w 8601075"/>
                  <a:gd name="connsiteY149" fmla="*/ 2228850 h 4333875"/>
                  <a:gd name="connsiteX150" fmla="*/ 485775 w 8601075"/>
                  <a:gd name="connsiteY150" fmla="*/ 2362200 h 4333875"/>
                  <a:gd name="connsiteX151" fmla="*/ 552450 w 8601075"/>
                  <a:gd name="connsiteY151" fmla="*/ 2486025 h 4333875"/>
                  <a:gd name="connsiteX152" fmla="*/ 771525 w 8601075"/>
                  <a:gd name="connsiteY152" fmla="*/ 2571750 h 4333875"/>
                  <a:gd name="connsiteX153" fmla="*/ 866775 w 8601075"/>
                  <a:gd name="connsiteY153" fmla="*/ 2571750 h 4333875"/>
                  <a:gd name="connsiteX154" fmla="*/ 914400 w 8601075"/>
                  <a:gd name="connsiteY154" fmla="*/ 2638425 h 4333875"/>
                  <a:gd name="connsiteX155" fmla="*/ 1066800 w 8601075"/>
                  <a:gd name="connsiteY155" fmla="*/ 2638425 h 4333875"/>
                  <a:gd name="connsiteX156" fmla="*/ 1285875 w 8601075"/>
                  <a:gd name="connsiteY156" fmla="*/ 2705100 h 4333875"/>
                  <a:gd name="connsiteX157" fmla="*/ 1438275 w 8601075"/>
                  <a:gd name="connsiteY157" fmla="*/ 2838450 h 4333875"/>
                  <a:gd name="connsiteX158" fmla="*/ 1485900 w 8601075"/>
                  <a:gd name="connsiteY158" fmla="*/ 2914650 h 4333875"/>
                  <a:gd name="connsiteX159" fmla="*/ 1657350 w 8601075"/>
                  <a:gd name="connsiteY159" fmla="*/ 3038475 h 4333875"/>
                  <a:gd name="connsiteX160" fmla="*/ 1752600 w 8601075"/>
                  <a:gd name="connsiteY160" fmla="*/ 3057525 h 4333875"/>
                  <a:gd name="connsiteX161" fmla="*/ 1724025 w 8601075"/>
                  <a:gd name="connsiteY161" fmla="*/ 3143250 h 4333875"/>
                  <a:gd name="connsiteX162" fmla="*/ 1724025 w 8601075"/>
                  <a:gd name="connsiteY162" fmla="*/ 3143250 h 4333875"/>
                  <a:gd name="connsiteX163" fmla="*/ 1781175 w 8601075"/>
                  <a:gd name="connsiteY163" fmla="*/ 3181350 h 4333875"/>
                  <a:gd name="connsiteX164" fmla="*/ 1819275 w 8601075"/>
                  <a:gd name="connsiteY164" fmla="*/ 3362325 h 4333875"/>
                  <a:gd name="connsiteX165" fmla="*/ 1828800 w 8601075"/>
                  <a:gd name="connsiteY165" fmla="*/ 3457575 h 4333875"/>
                  <a:gd name="connsiteX166" fmla="*/ 1971675 w 8601075"/>
                  <a:gd name="connsiteY166" fmla="*/ 3590925 h 4333875"/>
                  <a:gd name="connsiteX167" fmla="*/ 1990725 w 8601075"/>
                  <a:gd name="connsiteY167" fmla="*/ 3714750 h 4333875"/>
                  <a:gd name="connsiteX168" fmla="*/ 2200275 w 8601075"/>
                  <a:gd name="connsiteY168" fmla="*/ 3695700 h 4333875"/>
                  <a:gd name="connsiteX169" fmla="*/ 2886075 w 8601075"/>
                  <a:gd name="connsiteY169" fmla="*/ 3886200 h 4333875"/>
                  <a:gd name="connsiteX170" fmla="*/ 3038475 w 8601075"/>
                  <a:gd name="connsiteY170" fmla="*/ 3819525 h 4333875"/>
                  <a:gd name="connsiteX171" fmla="*/ 3105150 w 8601075"/>
                  <a:gd name="connsiteY171" fmla="*/ 3867150 h 4333875"/>
                  <a:gd name="connsiteX172" fmla="*/ 3181350 w 8601075"/>
                  <a:gd name="connsiteY172" fmla="*/ 3800475 h 4333875"/>
                  <a:gd name="connsiteX173" fmla="*/ 3590925 w 8601075"/>
                  <a:gd name="connsiteY173" fmla="*/ 3943350 h 4333875"/>
                  <a:gd name="connsiteX174" fmla="*/ 3686175 w 8601075"/>
                  <a:gd name="connsiteY174" fmla="*/ 4057650 h 4333875"/>
                  <a:gd name="connsiteX175" fmla="*/ 3838575 w 8601075"/>
                  <a:gd name="connsiteY175" fmla="*/ 4057650 h 4333875"/>
                  <a:gd name="connsiteX176" fmla="*/ 4162425 w 8601075"/>
                  <a:gd name="connsiteY176" fmla="*/ 4248150 h 4333875"/>
                  <a:gd name="connsiteX177" fmla="*/ 4391025 w 8601075"/>
                  <a:gd name="connsiteY177" fmla="*/ 4200525 h 4333875"/>
                  <a:gd name="connsiteX178" fmla="*/ 4410075 w 8601075"/>
                  <a:gd name="connsiteY178" fmla="*/ 4305300 h 4333875"/>
                  <a:gd name="connsiteX179" fmla="*/ 4505325 w 8601075"/>
                  <a:gd name="connsiteY179" fmla="*/ 4276725 h 4333875"/>
                  <a:gd name="connsiteX180" fmla="*/ 4572000 w 8601075"/>
                  <a:gd name="connsiteY180" fmla="*/ 4333875 h 4333875"/>
                  <a:gd name="connsiteX181" fmla="*/ 4591050 w 8601075"/>
                  <a:gd name="connsiteY181" fmla="*/ 4248150 h 4333875"/>
                  <a:gd name="connsiteX182" fmla="*/ 5295900 w 8601075"/>
                  <a:gd name="connsiteY182" fmla="*/ 3924300 h 4333875"/>
                  <a:gd name="connsiteX183" fmla="*/ 5353050 w 8601075"/>
                  <a:gd name="connsiteY183" fmla="*/ 3990975 h 4333875"/>
                  <a:gd name="connsiteX184" fmla="*/ 5524500 w 8601075"/>
                  <a:gd name="connsiteY184" fmla="*/ 3914775 h 4333875"/>
                  <a:gd name="connsiteX185" fmla="*/ 5667375 w 8601075"/>
                  <a:gd name="connsiteY185" fmla="*/ 3962400 h 4333875"/>
                  <a:gd name="connsiteX186" fmla="*/ 5753100 w 8601075"/>
                  <a:gd name="connsiteY186" fmla="*/ 3924300 h 4333875"/>
                  <a:gd name="connsiteX187" fmla="*/ 5905500 w 8601075"/>
                  <a:gd name="connsiteY187" fmla="*/ 3943350 h 4333875"/>
                  <a:gd name="connsiteX188" fmla="*/ 6000750 w 8601075"/>
                  <a:gd name="connsiteY188" fmla="*/ 3800475 h 4333875"/>
                  <a:gd name="connsiteX189" fmla="*/ 6153150 w 8601075"/>
                  <a:gd name="connsiteY189" fmla="*/ 3781425 h 4333875"/>
                  <a:gd name="connsiteX190" fmla="*/ 6257925 w 8601075"/>
                  <a:gd name="connsiteY190" fmla="*/ 3581400 h 4333875"/>
                  <a:gd name="connsiteX191" fmla="*/ 6448425 w 8601075"/>
                  <a:gd name="connsiteY191" fmla="*/ 3448050 h 4333875"/>
                  <a:gd name="connsiteX192" fmla="*/ 6581775 w 8601075"/>
                  <a:gd name="connsiteY192" fmla="*/ 3276600 h 4333875"/>
                  <a:gd name="connsiteX193" fmla="*/ 6496050 w 8601075"/>
                  <a:gd name="connsiteY193" fmla="*/ 3228975 h 4333875"/>
                  <a:gd name="connsiteX194" fmla="*/ 6438900 w 8601075"/>
                  <a:gd name="connsiteY194" fmla="*/ 3162300 h 4333875"/>
                  <a:gd name="connsiteX195" fmla="*/ 6419850 w 8601075"/>
                  <a:gd name="connsiteY195" fmla="*/ 3105150 h 4333875"/>
                  <a:gd name="connsiteX196" fmla="*/ 6362700 w 8601075"/>
                  <a:gd name="connsiteY196" fmla="*/ 3076575 h 4333875"/>
                  <a:gd name="connsiteX197" fmla="*/ 6410325 w 8601075"/>
                  <a:gd name="connsiteY197" fmla="*/ 3019425 h 4333875"/>
                  <a:gd name="connsiteX198" fmla="*/ 6438900 w 8601075"/>
                  <a:gd name="connsiteY198" fmla="*/ 2819400 h 4333875"/>
                  <a:gd name="connsiteX199" fmla="*/ 6496050 w 8601075"/>
                  <a:gd name="connsiteY199" fmla="*/ 2762250 h 4333875"/>
                  <a:gd name="connsiteX200" fmla="*/ 6657975 w 8601075"/>
                  <a:gd name="connsiteY200" fmla="*/ 2752725 h 4333875"/>
                  <a:gd name="connsiteX201" fmla="*/ 6781800 w 8601075"/>
                  <a:gd name="connsiteY201" fmla="*/ 2838450 h 4333875"/>
                  <a:gd name="connsiteX202" fmla="*/ 7010400 w 8601075"/>
                  <a:gd name="connsiteY202" fmla="*/ 2838450 h 4333875"/>
                  <a:gd name="connsiteX203" fmla="*/ 7162800 w 8601075"/>
                  <a:gd name="connsiteY203" fmla="*/ 2705100 h 4333875"/>
                  <a:gd name="connsiteX204" fmla="*/ 7229475 w 8601075"/>
                  <a:gd name="connsiteY204" fmla="*/ 2590800 h 4333875"/>
                  <a:gd name="connsiteX205" fmla="*/ 7248525 w 8601075"/>
                  <a:gd name="connsiteY205" fmla="*/ 2524125 h 4333875"/>
                  <a:gd name="connsiteX206" fmla="*/ 7372350 w 8601075"/>
                  <a:gd name="connsiteY206" fmla="*/ 2543175 h 4333875"/>
                  <a:gd name="connsiteX207" fmla="*/ 7553325 w 8601075"/>
                  <a:gd name="connsiteY207" fmla="*/ 2447925 h 4333875"/>
                  <a:gd name="connsiteX208" fmla="*/ 7620000 w 8601075"/>
                  <a:gd name="connsiteY208" fmla="*/ 2324100 h 4333875"/>
                  <a:gd name="connsiteX209" fmla="*/ 7696200 w 8601075"/>
                  <a:gd name="connsiteY209" fmla="*/ 2314575 h 4333875"/>
                  <a:gd name="connsiteX210" fmla="*/ 7658100 w 8601075"/>
                  <a:gd name="connsiteY210" fmla="*/ 2257425 h 4333875"/>
                  <a:gd name="connsiteX211" fmla="*/ 7753350 w 8601075"/>
                  <a:gd name="connsiteY211" fmla="*/ 2057400 h 4333875"/>
                  <a:gd name="connsiteX212" fmla="*/ 7934325 w 8601075"/>
                  <a:gd name="connsiteY212" fmla="*/ 2028825 h 4333875"/>
                  <a:gd name="connsiteX213" fmla="*/ 7953375 w 8601075"/>
                  <a:gd name="connsiteY213" fmla="*/ 1952625 h 4333875"/>
                  <a:gd name="connsiteX214" fmla="*/ 7953375 w 8601075"/>
                  <a:gd name="connsiteY214" fmla="*/ 1952625 h 4333875"/>
                  <a:gd name="connsiteX215" fmla="*/ 8010525 w 8601075"/>
                  <a:gd name="connsiteY215" fmla="*/ 1895475 h 4333875"/>
                  <a:gd name="connsiteX216" fmla="*/ 8048625 w 8601075"/>
                  <a:gd name="connsiteY216" fmla="*/ 1971675 h 4333875"/>
                  <a:gd name="connsiteX217" fmla="*/ 8077200 w 8601075"/>
                  <a:gd name="connsiteY217" fmla="*/ 1885950 h 4333875"/>
                  <a:gd name="connsiteX218" fmla="*/ 8220075 w 8601075"/>
                  <a:gd name="connsiteY218" fmla="*/ 1847850 h 4333875"/>
                  <a:gd name="connsiteX219" fmla="*/ 8296275 w 8601075"/>
                  <a:gd name="connsiteY219" fmla="*/ 1809750 h 4333875"/>
                  <a:gd name="connsiteX220" fmla="*/ 8324850 w 8601075"/>
                  <a:gd name="connsiteY220" fmla="*/ 1790700 h 4333875"/>
                  <a:gd name="connsiteX221" fmla="*/ 8410575 w 8601075"/>
                  <a:gd name="connsiteY221" fmla="*/ 1847850 h 4333875"/>
                  <a:gd name="connsiteX222" fmla="*/ 8505825 w 8601075"/>
                  <a:gd name="connsiteY222" fmla="*/ 1781175 h 4333875"/>
                  <a:gd name="connsiteX223" fmla="*/ 8572500 w 8601075"/>
                  <a:gd name="connsiteY223" fmla="*/ 1809750 h 4333875"/>
                  <a:gd name="connsiteX224" fmla="*/ 8601075 w 8601075"/>
                  <a:gd name="connsiteY224" fmla="*/ 1704975 h 4333875"/>
                  <a:gd name="connsiteX225" fmla="*/ 8553450 w 8601075"/>
                  <a:gd name="connsiteY225" fmla="*/ 1676400 h 4333875"/>
                  <a:gd name="connsiteX226" fmla="*/ 8534400 w 8601075"/>
                  <a:gd name="connsiteY226" fmla="*/ 1609725 h 4333875"/>
                  <a:gd name="connsiteX227" fmla="*/ 8277225 w 8601075"/>
                  <a:gd name="connsiteY227" fmla="*/ 1409700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124825 w 8601075"/>
                  <a:gd name="connsiteY230" fmla="*/ 1352550 h 4333875"/>
                  <a:gd name="connsiteX231" fmla="*/ 7924800 w 8601075"/>
                  <a:gd name="connsiteY231" fmla="*/ 1362075 h 4333875"/>
                  <a:gd name="connsiteX232" fmla="*/ 7867650 w 8601075"/>
                  <a:gd name="connsiteY232" fmla="*/ 1457325 h 4333875"/>
                  <a:gd name="connsiteX233" fmla="*/ 7896225 w 8601075"/>
                  <a:gd name="connsiteY233" fmla="*/ 1476375 h 4333875"/>
                  <a:gd name="connsiteX234" fmla="*/ 7858125 w 8601075"/>
                  <a:gd name="connsiteY234" fmla="*/ 1533525 h 4333875"/>
                  <a:gd name="connsiteX235" fmla="*/ 7658100 w 8601075"/>
                  <a:gd name="connsiteY235" fmla="*/ 1447800 h 4333875"/>
                  <a:gd name="connsiteX236" fmla="*/ 7515225 w 8601075"/>
                  <a:gd name="connsiteY236" fmla="*/ 1495425 h 4333875"/>
                  <a:gd name="connsiteX237" fmla="*/ 7467600 w 8601075"/>
                  <a:gd name="connsiteY237" fmla="*/ 1581150 h 4333875"/>
                  <a:gd name="connsiteX238" fmla="*/ 7296150 w 8601075"/>
                  <a:gd name="connsiteY23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628650 w 8601075"/>
                  <a:gd name="connsiteY146" fmla="*/ 1704975 h 4333875"/>
                  <a:gd name="connsiteX147" fmla="*/ 676275 w 8601075"/>
                  <a:gd name="connsiteY147" fmla="*/ 1771650 h 4333875"/>
                  <a:gd name="connsiteX148" fmla="*/ 657225 w 8601075"/>
                  <a:gd name="connsiteY148" fmla="*/ 2000250 h 4333875"/>
                  <a:gd name="connsiteX149" fmla="*/ 619125 w 8601075"/>
                  <a:gd name="connsiteY149" fmla="*/ 2095500 h 4333875"/>
                  <a:gd name="connsiteX150" fmla="*/ 542925 w 8601075"/>
                  <a:gd name="connsiteY150" fmla="*/ 2228850 h 4333875"/>
                  <a:gd name="connsiteX151" fmla="*/ 485775 w 8601075"/>
                  <a:gd name="connsiteY151" fmla="*/ 2362200 h 4333875"/>
                  <a:gd name="connsiteX152" fmla="*/ 552450 w 8601075"/>
                  <a:gd name="connsiteY152" fmla="*/ 2486025 h 4333875"/>
                  <a:gd name="connsiteX153" fmla="*/ 771525 w 8601075"/>
                  <a:gd name="connsiteY153" fmla="*/ 2571750 h 4333875"/>
                  <a:gd name="connsiteX154" fmla="*/ 866775 w 8601075"/>
                  <a:gd name="connsiteY154" fmla="*/ 2571750 h 4333875"/>
                  <a:gd name="connsiteX155" fmla="*/ 914400 w 8601075"/>
                  <a:gd name="connsiteY155" fmla="*/ 2638425 h 4333875"/>
                  <a:gd name="connsiteX156" fmla="*/ 1066800 w 8601075"/>
                  <a:gd name="connsiteY156" fmla="*/ 2638425 h 4333875"/>
                  <a:gd name="connsiteX157" fmla="*/ 1285875 w 8601075"/>
                  <a:gd name="connsiteY157" fmla="*/ 2705100 h 4333875"/>
                  <a:gd name="connsiteX158" fmla="*/ 1438275 w 8601075"/>
                  <a:gd name="connsiteY158" fmla="*/ 2838450 h 4333875"/>
                  <a:gd name="connsiteX159" fmla="*/ 1485900 w 8601075"/>
                  <a:gd name="connsiteY159" fmla="*/ 2914650 h 4333875"/>
                  <a:gd name="connsiteX160" fmla="*/ 1657350 w 8601075"/>
                  <a:gd name="connsiteY160" fmla="*/ 3038475 h 4333875"/>
                  <a:gd name="connsiteX161" fmla="*/ 1752600 w 8601075"/>
                  <a:gd name="connsiteY161" fmla="*/ 3057525 h 4333875"/>
                  <a:gd name="connsiteX162" fmla="*/ 1724025 w 8601075"/>
                  <a:gd name="connsiteY162" fmla="*/ 3143250 h 4333875"/>
                  <a:gd name="connsiteX163" fmla="*/ 1724025 w 8601075"/>
                  <a:gd name="connsiteY163" fmla="*/ 3143250 h 4333875"/>
                  <a:gd name="connsiteX164" fmla="*/ 1781175 w 8601075"/>
                  <a:gd name="connsiteY164" fmla="*/ 3181350 h 4333875"/>
                  <a:gd name="connsiteX165" fmla="*/ 1819275 w 8601075"/>
                  <a:gd name="connsiteY165" fmla="*/ 3362325 h 4333875"/>
                  <a:gd name="connsiteX166" fmla="*/ 1828800 w 8601075"/>
                  <a:gd name="connsiteY166" fmla="*/ 3457575 h 4333875"/>
                  <a:gd name="connsiteX167" fmla="*/ 1971675 w 8601075"/>
                  <a:gd name="connsiteY167" fmla="*/ 3590925 h 4333875"/>
                  <a:gd name="connsiteX168" fmla="*/ 1990725 w 8601075"/>
                  <a:gd name="connsiteY168" fmla="*/ 3714750 h 4333875"/>
                  <a:gd name="connsiteX169" fmla="*/ 2200275 w 8601075"/>
                  <a:gd name="connsiteY169" fmla="*/ 3695700 h 4333875"/>
                  <a:gd name="connsiteX170" fmla="*/ 2886075 w 8601075"/>
                  <a:gd name="connsiteY170" fmla="*/ 3886200 h 4333875"/>
                  <a:gd name="connsiteX171" fmla="*/ 3038475 w 8601075"/>
                  <a:gd name="connsiteY171" fmla="*/ 3819525 h 4333875"/>
                  <a:gd name="connsiteX172" fmla="*/ 3105150 w 8601075"/>
                  <a:gd name="connsiteY172" fmla="*/ 3867150 h 4333875"/>
                  <a:gd name="connsiteX173" fmla="*/ 3181350 w 8601075"/>
                  <a:gd name="connsiteY173" fmla="*/ 3800475 h 4333875"/>
                  <a:gd name="connsiteX174" fmla="*/ 3590925 w 8601075"/>
                  <a:gd name="connsiteY174" fmla="*/ 3943350 h 4333875"/>
                  <a:gd name="connsiteX175" fmla="*/ 3686175 w 8601075"/>
                  <a:gd name="connsiteY175" fmla="*/ 4057650 h 4333875"/>
                  <a:gd name="connsiteX176" fmla="*/ 3838575 w 8601075"/>
                  <a:gd name="connsiteY176" fmla="*/ 4057650 h 4333875"/>
                  <a:gd name="connsiteX177" fmla="*/ 4162425 w 8601075"/>
                  <a:gd name="connsiteY177" fmla="*/ 4248150 h 4333875"/>
                  <a:gd name="connsiteX178" fmla="*/ 4391025 w 8601075"/>
                  <a:gd name="connsiteY178" fmla="*/ 4200525 h 4333875"/>
                  <a:gd name="connsiteX179" fmla="*/ 4410075 w 8601075"/>
                  <a:gd name="connsiteY179" fmla="*/ 4305300 h 4333875"/>
                  <a:gd name="connsiteX180" fmla="*/ 4505325 w 8601075"/>
                  <a:gd name="connsiteY180" fmla="*/ 4276725 h 4333875"/>
                  <a:gd name="connsiteX181" fmla="*/ 4572000 w 8601075"/>
                  <a:gd name="connsiteY181" fmla="*/ 4333875 h 4333875"/>
                  <a:gd name="connsiteX182" fmla="*/ 4591050 w 8601075"/>
                  <a:gd name="connsiteY182" fmla="*/ 4248150 h 4333875"/>
                  <a:gd name="connsiteX183" fmla="*/ 5295900 w 8601075"/>
                  <a:gd name="connsiteY183" fmla="*/ 3924300 h 4333875"/>
                  <a:gd name="connsiteX184" fmla="*/ 5353050 w 8601075"/>
                  <a:gd name="connsiteY184" fmla="*/ 3990975 h 4333875"/>
                  <a:gd name="connsiteX185" fmla="*/ 5524500 w 8601075"/>
                  <a:gd name="connsiteY185" fmla="*/ 3914775 h 4333875"/>
                  <a:gd name="connsiteX186" fmla="*/ 5667375 w 8601075"/>
                  <a:gd name="connsiteY186" fmla="*/ 3962400 h 4333875"/>
                  <a:gd name="connsiteX187" fmla="*/ 5753100 w 8601075"/>
                  <a:gd name="connsiteY187" fmla="*/ 3924300 h 4333875"/>
                  <a:gd name="connsiteX188" fmla="*/ 5905500 w 8601075"/>
                  <a:gd name="connsiteY188" fmla="*/ 3943350 h 4333875"/>
                  <a:gd name="connsiteX189" fmla="*/ 6000750 w 8601075"/>
                  <a:gd name="connsiteY189" fmla="*/ 3800475 h 4333875"/>
                  <a:gd name="connsiteX190" fmla="*/ 6153150 w 8601075"/>
                  <a:gd name="connsiteY190" fmla="*/ 3781425 h 4333875"/>
                  <a:gd name="connsiteX191" fmla="*/ 6257925 w 8601075"/>
                  <a:gd name="connsiteY191" fmla="*/ 3581400 h 4333875"/>
                  <a:gd name="connsiteX192" fmla="*/ 6448425 w 8601075"/>
                  <a:gd name="connsiteY192" fmla="*/ 3448050 h 4333875"/>
                  <a:gd name="connsiteX193" fmla="*/ 6581775 w 8601075"/>
                  <a:gd name="connsiteY193" fmla="*/ 3276600 h 4333875"/>
                  <a:gd name="connsiteX194" fmla="*/ 6496050 w 8601075"/>
                  <a:gd name="connsiteY194" fmla="*/ 3228975 h 4333875"/>
                  <a:gd name="connsiteX195" fmla="*/ 6438900 w 8601075"/>
                  <a:gd name="connsiteY195" fmla="*/ 3162300 h 4333875"/>
                  <a:gd name="connsiteX196" fmla="*/ 6419850 w 8601075"/>
                  <a:gd name="connsiteY196" fmla="*/ 3105150 h 4333875"/>
                  <a:gd name="connsiteX197" fmla="*/ 6362700 w 8601075"/>
                  <a:gd name="connsiteY197" fmla="*/ 3076575 h 4333875"/>
                  <a:gd name="connsiteX198" fmla="*/ 6410325 w 8601075"/>
                  <a:gd name="connsiteY198" fmla="*/ 3019425 h 4333875"/>
                  <a:gd name="connsiteX199" fmla="*/ 6438900 w 8601075"/>
                  <a:gd name="connsiteY199" fmla="*/ 2819400 h 4333875"/>
                  <a:gd name="connsiteX200" fmla="*/ 6496050 w 8601075"/>
                  <a:gd name="connsiteY200" fmla="*/ 2762250 h 4333875"/>
                  <a:gd name="connsiteX201" fmla="*/ 6657975 w 8601075"/>
                  <a:gd name="connsiteY201" fmla="*/ 2752725 h 4333875"/>
                  <a:gd name="connsiteX202" fmla="*/ 6781800 w 8601075"/>
                  <a:gd name="connsiteY202" fmla="*/ 2838450 h 4333875"/>
                  <a:gd name="connsiteX203" fmla="*/ 7010400 w 8601075"/>
                  <a:gd name="connsiteY203" fmla="*/ 2838450 h 4333875"/>
                  <a:gd name="connsiteX204" fmla="*/ 7162800 w 8601075"/>
                  <a:gd name="connsiteY204" fmla="*/ 2705100 h 4333875"/>
                  <a:gd name="connsiteX205" fmla="*/ 7229475 w 8601075"/>
                  <a:gd name="connsiteY205" fmla="*/ 2590800 h 4333875"/>
                  <a:gd name="connsiteX206" fmla="*/ 7248525 w 8601075"/>
                  <a:gd name="connsiteY206" fmla="*/ 2524125 h 4333875"/>
                  <a:gd name="connsiteX207" fmla="*/ 7372350 w 8601075"/>
                  <a:gd name="connsiteY207" fmla="*/ 2543175 h 4333875"/>
                  <a:gd name="connsiteX208" fmla="*/ 7553325 w 8601075"/>
                  <a:gd name="connsiteY208" fmla="*/ 2447925 h 4333875"/>
                  <a:gd name="connsiteX209" fmla="*/ 7620000 w 8601075"/>
                  <a:gd name="connsiteY209" fmla="*/ 2324100 h 4333875"/>
                  <a:gd name="connsiteX210" fmla="*/ 7696200 w 8601075"/>
                  <a:gd name="connsiteY210" fmla="*/ 2314575 h 4333875"/>
                  <a:gd name="connsiteX211" fmla="*/ 7658100 w 8601075"/>
                  <a:gd name="connsiteY211" fmla="*/ 2257425 h 4333875"/>
                  <a:gd name="connsiteX212" fmla="*/ 7753350 w 8601075"/>
                  <a:gd name="connsiteY212" fmla="*/ 2057400 h 4333875"/>
                  <a:gd name="connsiteX213" fmla="*/ 7934325 w 8601075"/>
                  <a:gd name="connsiteY213" fmla="*/ 2028825 h 4333875"/>
                  <a:gd name="connsiteX214" fmla="*/ 7953375 w 8601075"/>
                  <a:gd name="connsiteY214" fmla="*/ 1952625 h 4333875"/>
                  <a:gd name="connsiteX215" fmla="*/ 7953375 w 8601075"/>
                  <a:gd name="connsiteY215" fmla="*/ 1952625 h 4333875"/>
                  <a:gd name="connsiteX216" fmla="*/ 8010525 w 8601075"/>
                  <a:gd name="connsiteY216" fmla="*/ 1895475 h 4333875"/>
                  <a:gd name="connsiteX217" fmla="*/ 8048625 w 8601075"/>
                  <a:gd name="connsiteY217" fmla="*/ 1971675 h 4333875"/>
                  <a:gd name="connsiteX218" fmla="*/ 8077200 w 8601075"/>
                  <a:gd name="connsiteY218" fmla="*/ 1885950 h 4333875"/>
                  <a:gd name="connsiteX219" fmla="*/ 8220075 w 8601075"/>
                  <a:gd name="connsiteY219" fmla="*/ 1847850 h 4333875"/>
                  <a:gd name="connsiteX220" fmla="*/ 8296275 w 8601075"/>
                  <a:gd name="connsiteY220" fmla="*/ 1809750 h 4333875"/>
                  <a:gd name="connsiteX221" fmla="*/ 8324850 w 8601075"/>
                  <a:gd name="connsiteY221" fmla="*/ 1790700 h 4333875"/>
                  <a:gd name="connsiteX222" fmla="*/ 8410575 w 8601075"/>
                  <a:gd name="connsiteY222" fmla="*/ 1847850 h 4333875"/>
                  <a:gd name="connsiteX223" fmla="*/ 8505825 w 8601075"/>
                  <a:gd name="connsiteY223" fmla="*/ 1781175 h 4333875"/>
                  <a:gd name="connsiteX224" fmla="*/ 8572500 w 8601075"/>
                  <a:gd name="connsiteY224" fmla="*/ 1809750 h 4333875"/>
                  <a:gd name="connsiteX225" fmla="*/ 8601075 w 8601075"/>
                  <a:gd name="connsiteY225" fmla="*/ 1704975 h 4333875"/>
                  <a:gd name="connsiteX226" fmla="*/ 8553450 w 8601075"/>
                  <a:gd name="connsiteY226" fmla="*/ 1676400 h 4333875"/>
                  <a:gd name="connsiteX227" fmla="*/ 8534400 w 8601075"/>
                  <a:gd name="connsiteY227" fmla="*/ 1609725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124825 w 8601075"/>
                  <a:gd name="connsiteY231" fmla="*/ 1352550 h 4333875"/>
                  <a:gd name="connsiteX232" fmla="*/ 7924800 w 8601075"/>
                  <a:gd name="connsiteY232" fmla="*/ 1362075 h 4333875"/>
                  <a:gd name="connsiteX233" fmla="*/ 7867650 w 8601075"/>
                  <a:gd name="connsiteY233" fmla="*/ 1457325 h 4333875"/>
                  <a:gd name="connsiteX234" fmla="*/ 7896225 w 8601075"/>
                  <a:gd name="connsiteY234" fmla="*/ 1476375 h 4333875"/>
                  <a:gd name="connsiteX235" fmla="*/ 7858125 w 8601075"/>
                  <a:gd name="connsiteY235" fmla="*/ 1533525 h 4333875"/>
                  <a:gd name="connsiteX236" fmla="*/ 7658100 w 8601075"/>
                  <a:gd name="connsiteY236" fmla="*/ 1447800 h 4333875"/>
                  <a:gd name="connsiteX237" fmla="*/ 7515225 w 8601075"/>
                  <a:gd name="connsiteY237" fmla="*/ 1495425 h 4333875"/>
                  <a:gd name="connsiteX238" fmla="*/ 7467600 w 8601075"/>
                  <a:gd name="connsiteY238" fmla="*/ 1581150 h 4333875"/>
                  <a:gd name="connsiteX239" fmla="*/ 7296150 w 8601075"/>
                  <a:gd name="connsiteY23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676275 w 8601075"/>
                  <a:gd name="connsiteY147" fmla="*/ 1771650 h 4333875"/>
                  <a:gd name="connsiteX148" fmla="*/ 657225 w 8601075"/>
                  <a:gd name="connsiteY148" fmla="*/ 2000250 h 4333875"/>
                  <a:gd name="connsiteX149" fmla="*/ 619125 w 8601075"/>
                  <a:gd name="connsiteY149" fmla="*/ 2095500 h 4333875"/>
                  <a:gd name="connsiteX150" fmla="*/ 542925 w 8601075"/>
                  <a:gd name="connsiteY150" fmla="*/ 2228850 h 4333875"/>
                  <a:gd name="connsiteX151" fmla="*/ 485775 w 8601075"/>
                  <a:gd name="connsiteY151" fmla="*/ 2362200 h 4333875"/>
                  <a:gd name="connsiteX152" fmla="*/ 552450 w 8601075"/>
                  <a:gd name="connsiteY152" fmla="*/ 2486025 h 4333875"/>
                  <a:gd name="connsiteX153" fmla="*/ 771525 w 8601075"/>
                  <a:gd name="connsiteY153" fmla="*/ 2571750 h 4333875"/>
                  <a:gd name="connsiteX154" fmla="*/ 866775 w 8601075"/>
                  <a:gd name="connsiteY154" fmla="*/ 2571750 h 4333875"/>
                  <a:gd name="connsiteX155" fmla="*/ 914400 w 8601075"/>
                  <a:gd name="connsiteY155" fmla="*/ 2638425 h 4333875"/>
                  <a:gd name="connsiteX156" fmla="*/ 1066800 w 8601075"/>
                  <a:gd name="connsiteY156" fmla="*/ 2638425 h 4333875"/>
                  <a:gd name="connsiteX157" fmla="*/ 1285875 w 8601075"/>
                  <a:gd name="connsiteY157" fmla="*/ 2705100 h 4333875"/>
                  <a:gd name="connsiteX158" fmla="*/ 1438275 w 8601075"/>
                  <a:gd name="connsiteY158" fmla="*/ 2838450 h 4333875"/>
                  <a:gd name="connsiteX159" fmla="*/ 1485900 w 8601075"/>
                  <a:gd name="connsiteY159" fmla="*/ 2914650 h 4333875"/>
                  <a:gd name="connsiteX160" fmla="*/ 1657350 w 8601075"/>
                  <a:gd name="connsiteY160" fmla="*/ 3038475 h 4333875"/>
                  <a:gd name="connsiteX161" fmla="*/ 1752600 w 8601075"/>
                  <a:gd name="connsiteY161" fmla="*/ 3057525 h 4333875"/>
                  <a:gd name="connsiteX162" fmla="*/ 1724025 w 8601075"/>
                  <a:gd name="connsiteY162" fmla="*/ 3143250 h 4333875"/>
                  <a:gd name="connsiteX163" fmla="*/ 1724025 w 8601075"/>
                  <a:gd name="connsiteY163" fmla="*/ 3143250 h 4333875"/>
                  <a:gd name="connsiteX164" fmla="*/ 1781175 w 8601075"/>
                  <a:gd name="connsiteY164" fmla="*/ 3181350 h 4333875"/>
                  <a:gd name="connsiteX165" fmla="*/ 1819275 w 8601075"/>
                  <a:gd name="connsiteY165" fmla="*/ 3362325 h 4333875"/>
                  <a:gd name="connsiteX166" fmla="*/ 1828800 w 8601075"/>
                  <a:gd name="connsiteY166" fmla="*/ 3457575 h 4333875"/>
                  <a:gd name="connsiteX167" fmla="*/ 1971675 w 8601075"/>
                  <a:gd name="connsiteY167" fmla="*/ 3590925 h 4333875"/>
                  <a:gd name="connsiteX168" fmla="*/ 1990725 w 8601075"/>
                  <a:gd name="connsiteY168" fmla="*/ 3714750 h 4333875"/>
                  <a:gd name="connsiteX169" fmla="*/ 2200275 w 8601075"/>
                  <a:gd name="connsiteY169" fmla="*/ 3695700 h 4333875"/>
                  <a:gd name="connsiteX170" fmla="*/ 2886075 w 8601075"/>
                  <a:gd name="connsiteY170" fmla="*/ 3886200 h 4333875"/>
                  <a:gd name="connsiteX171" fmla="*/ 3038475 w 8601075"/>
                  <a:gd name="connsiteY171" fmla="*/ 3819525 h 4333875"/>
                  <a:gd name="connsiteX172" fmla="*/ 3105150 w 8601075"/>
                  <a:gd name="connsiteY172" fmla="*/ 3867150 h 4333875"/>
                  <a:gd name="connsiteX173" fmla="*/ 3181350 w 8601075"/>
                  <a:gd name="connsiteY173" fmla="*/ 3800475 h 4333875"/>
                  <a:gd name="connsiteX174" fmla="*/ 3590925 w 8601075"/>
                  <a:gd name="connsiteY174" fmla="*/ 3943350 h 4333875"/>
                  <a:gd name="connsiteX175" fmla="*/ 3686175 w 8601075"/>
                  <a:gd name="connsiteY175" fmla="*/ 4057650 h 4333875"/>
                  <a:gd name="connsiteX176" fmla="*/ 3838575 w 8601075"/>
                  <a:gd name="connsiteY176" fmla="*/ 4057650 h 4333875"/>
                  <a:gd name="connsiteX177" fmla="*/ 4162425 w 8601075"/>
                  <a:gd name="connsiteY177" fmla="*/ 4248150 h 4333875"/>
                  <a:gd name="connsiteX178" fmla="*/ 4391025 w 8601075"/>
                  <a:gd name="connsiteY178" fmla="*/ 4200525 h 4333875"/>
                  <a:gd name="connsiteX179" fmla="*/ 4410075 w 8601075"/>
                  <a:gd name="connsiteY179" fmla="*/ 4305300 h 4333875"/>
                  <a:gd name="connsiteX180" fmla="*/ 4505325 w 8601075"/>
                  <a:gd name="connsiteY180" fmla="*/ 4276725 h 4333875"/>
                  <a:gd name="connsiteX181" fmla="*/ 4572000 w 8601075"/>
                  <a:gd name="connsiteY181" fmla="*/ 4333875 h 4333875"/>
                  <a:gd name="connsiteX182" fmla="*/ 4591050 w 8601075"/>
                  <a:gd name="connsiteY182" fmla="*/ 4248150 h 4333875"/>
                  <a:gd name="connsiteX183" fmla="*/ 5295900 w 8601075"/>
                  <a:gd name="connsiteY183" fmla="*/ 3924300 h 4333875"/>
                  <a:gd name="connsiteX184" fmla="*/ 5353050 w 8601075"/>
                  <a:gd name="connsiteY184" fmla="*/ 3990975 h 4333875"/>
                  <a:gd name="connsiteX185" fmla="*/ 5524500 w 8601075"/>
                  <a:gd name="connsiteY185" fmla="*/ 3914775 h 4333875"/>
                  <a:gd name="connsiteX186" fmla="*/ 5667375 w 8601075"/>
                  <a:gd name="connsiteY186" fmla="*/ 3962400 h 4333875"/>
                  <a:gd name="connsiteX187" fmla="*/ 5753100 w 8601075"/>
                  <a:gd name="connsiteY187" fmla="*/ 3924300 h 4333875"/>
                  <a:gd name="connsiteX188" fmla="*/ 5905500 w 8601075"/>
                  <a:gd name="connsiteY188" fmla="*/ 3943350 h 4333875"/>
                  <a:gd name="connsiteX189" fmla="*/ 6000750 w 8601075"/>
                  <a:gd name="connsiteY189" fmla="*/ 3800475 h 4333875"/>
                  <a:gd name="connsiteX190" fmla="*/ 6153150 w 8601075"/>
                  <a:gd name="connsiteY190" fmla="*/ 3781425 h 4333875"/>
                  <a:gd name="connsiteX191" fmla="*/ 6257925 w 8601075"/>
                  <a:gd name="connsiteY191" fmla="*/ 3581400 h 4333875"/>
                  <a:gd name="connsiteX192" fmla="*/ 6448425 w 8601075"/>
                  <a:gd name="connsiteY192" fmla="*/ 3448050 h 4333875"/>
                  <a:gd name="connsiteX193" fmla="*/ 6581775 w 8601075"/>
                  <a:gd name="connsiteY193" fmla="*/ 3276600 h 4333875"/>
                  <a:gd name="connsiteX194" fmla="*/ 6496050 w 8601075"/>
                  <a:gd name="connsiteY194" fmla="*/ 3228975 h 4333875"/>
                  <a:gd name="connsiteX195" fmla="*/ 6438900 w 8601075"/>
                  <a:gd name="connsiteY195" fmla="*/ 3162300 h 4333875"/>
                  <a:gd name="connsiteX196" fmla="*/ 6419850 w 8601075"/>
                  <a:gd name="connsiteY196" fmla="*/ 3105150 h 4333875"/>
                  <a:gd name="connsiteX197" fmla="*/ 6362700 w 8601075"/>
                  <a:gd name="connsiteY197" fmla="*/ 3076575 h 4333875"/>
                  <a:gd name="connsiteX198" fmla="*/ 6410325 w 8601075"/>
                  <a:gd name="connsiteY198" fmla="*/ 3019425 h 4333875"/>
                  <a:gd name="connsiteX199" fmla="*/ 6438900 w 8601075"/>
                  <a:gd name="connsiteY199" fmla="*/ 2819400 h 4333875"/>
                  <a:gd name="connsiteX200" fmla="*/ 6496050 w 8601075"/>
                  <a:gd name="connsiteY200" fmla="*/ 2762250 h 4333875"/>
                  <a:gd name="connsiteX201" fmla="*/ 6657975 w 8601075"/>
                  <a:gd name="connsiteY201" fmla="*/ 2752725 h 4333875"/>
                  <a:gd name="connsiteX202" fmla="*/ 6781800 w 8601075"/>
                  <a:gd name="connsiteY202" fmla="*/ 2838450 h 4333875"/>
                  <a:gd name="connsiteX203" fmla="*/ 7010400 w 8601075"/>
                  <a:gd name="connsiteY203" fmla="*/ 2838450 h 4333875"/>
                  <a:gd name="connsiteX204" fmla="*/ 7162800 w 8601075"/>
                  <a:gd name="connsiteY204" fmla="*/ 2705100 h 4333875"/>
                  <a:gd name="connsiteX205" fmla="*/ 7229475 w 8601075"/>
                  <a:gd name="connsiteY205" fmla="*/ 2590800 h 4333875"/>
                  <a:gd name="connsiteX206" fmla="*/ 7248525 w 8601075"/>
                  <a:gd name="connsiteY206" fmla="*/ 2524125 h 4333875"/>
                  <a:gd name="connsiteX207" fmla="*/ 7372350 w 8601075"/>
                  <a:gd name="connsiteY207" fmla="*/ 2543175 h 4333875"/>
                  <a:gd name="connsiteX208" fmla="*/ 7553325 w 8601075"/>
                  <a:gd name="connsiteY208" fmla="*/ 2447925 h 4333875"/>
                  <a:gd name="connsiteX209" fmla="*/ 7620000 w 8601075"/>
                  <a:gd name="connsiteY209" fmla="*/ 2324100 h 4333875"/>
                  <a:gd name="connsiteX210" fmla="*/ 7696200 w 8601075"/>
                  <a:gd name="connsiteY210" fmla="*/ 2314575 h 4333875"/>
                  <a:gd name="connsiteX211" fmla="*/ 7658100 w 8601075"/>
                  <a:gd name="connsiteY211" fmla="*/ 2257425 h 4333875"/>
                  <a:gd name="connsiteX212" fmla="*/ 7753350 w 8601075"/>
                  <a:gd name="connsiteY212" fmla="*/ 2057400 h 4333875"/>
                  <a:gd name="connsiteX213" fmla="*/ 7934325 w 8601075"/>
                  <a:gd name="connsiteY213" fmla="*/ 2028825 h 4333875"/>
                  <a:gd name="connsiteX214" fmla="*/ 7953375 w 8601075"/>
                  <a:gd name="connsiteY214" fmla="*/ 1952625 h 4333875"/>
                  <a:gd name="connsiteX215" fmla="*/ 7953375 w 8601075"/>
                  <a:gd name="connsiteY215" fmla="*/ 1952625 h 4333875"/>
                  <a:gd name="connsiteX216" fmla="*/ 8010525 w 8601075"/>
                  <a:gd name="connsiteY216" fmla="*/ 1895475 h 4333875"/>
                  <a:gd name="connsiteX217" fmla="*/ 8048625 w 8601075"/>
                  <a:gd name="connsiteY217" fmla="*/ 1971675 h 4333875"/>
                  <a:gd name="connsiteX218" fmla="*/ 8077200 w 8601075"/>
                  <a:gd name="connsiteY218" fmla="*/ 1885950 h 4333875"/>
                  <a:gd name="connsiteX219" fmla="*/ 8220075 w 8601075"/>
                  <a:gd name="connsiteY219" fmla="*/ 1847850 h 4333875"/>
                  <a:gd name="connsiteX220" fmla="*/ 8296275 w 8601075"/>
                  <a:gd name="connsiteY220" fmla="*/ 1809750 h 4333875"/>
                  <a:gd name="connsiteX221" fmla="*/ 8324850 w 8601075"/>
                  <a:gd name="connsiteY221" fmla="*/ 1790700 h 4333875"/>
                  <a:gd name="connsiteX222" fmla="*/ 8410575 w 8601075"/>
                  <a:gd name="connsiteY222" fmla="*/ 1847850 h 4333875"/>
                  <a:gd name="connsiteX223" fmla="*/ 8505825 w 8601075"/>
                  <a:gd name="connsiteY223" fmla="*/ 1781175 h 4333875"/>
                  <a:gd name="connsiteX224" fmla="*/ 8572500 w 8601075"/>
                  <a:gd name="connsiteY224" fmla="*/ 1809750 h 4333875"/>
                  <a:gd name="connsiteX225" fmla="*/ 8601075 w 8601075"/>
                  <a:gd name="connsiteY225" fmla="*/ 1704975 h 4333875"/>
                  <a:gd name="connsiteX226" fmla="*/ 8553450 w 8601075"/>
                  <a:gd name="connsiteY226" fmla="*/ 1676400 h 4333875"/>
                  <a:gd name="connsiteX227" fmla="*/ 8534400 w 8601075"/>
                  <a:gd name="connsiteY227" fmla="*/ 1609725 h 4333875"/>
                  <a:gd name="connsiteX228" fmla="*/ 8277225 w 8601075"/>
                  <a:gd name="connsiteY228" fmla="*/ 1409700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124825 w 8601075"/>
                  <a:gd name="connsiteY231" fmla="*/ 1352550 h 4333875"/>
                  <a:gd name="connsiteX232" fmla="*/ 7924800 w 8601075"/>
                  <a:gd name="connsiteY232" fmla="*/ 1362075 h 4333875"/>
                  <a:gd name="connsiteX233" fmla="*/ 7867650 w 8601075"/>
                  <a:gd name="connsiteY233" fmla="*/ 1457325 h 4333875"/>
                  <a:gd name="connsiteX234" fmla="*/ 7896225 w 8601075"/>
                  <a:gd name="connsiteY234" fmla="*/ 1476375 h 4333875"/>
                  <a:gd name="connsiteX235" fmla="*/ 7858125 w 8601075"/>
                  <a:gd name="connsiteY235" fmla="*/ 1533525 h 4333875"/>
                  <a:gd name="connsiteX236" fmla="*/ 7658100 w 8601075"/>
                  <a:gd name="connsiteY236" fmla="*/ 1447800 h 4333875"/>
                  <a:gd name="connsiteX237" fmla="*/ 7515225 w 8601075"/>
                  <a:gd name="connsiteY237" fmla="*/ 1495425 h 4333875"/>
                  <a:gd name="connsiteX238" fmla="*/ 7467600 w 8601075"/>
                  <a:gd name="connsiteY238" fmla="*/ 1581150 h 4333875"/>
                  <a:gd name="connsiteX239" fmla="*/ 7296150 w 8601075"/>
                  <a:gd name="connsiteY23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76275 w 8601075"/>
                  <a:gd name="connsiteY148" fmla="*/ 1771650 h 4333875"/>
                  <a:gd name="connsiteX149" fmla="*/ 657225 w 8601075"/>
                  <a:gd name="connsiteY149" fmla="*/ 2000250 h 4333875"/>
                  <a:gd name="connsiteX150" fmla="*/ 619125 w 8601075"/>
                  <a:gd name="connsiteY150" fmla="*/ 2095500 h 4333875"/>
                  <a:gd name="connsiteX151" fmla="*/ 542925 w 8601075"/>
                  <a:gd name="connsiteY151" fmla="*/ 2228850 h 4333875"/>
                  <a:gd name="connsiteX152" fmla="*/ 485775 w 8601075"/>
                  <a:gd name="connsiteY152" fmla="*/ 2362200 h 4333875"/>
                  <a:gd name="connsiteX153" fmla="*/ 552450 w 8601075"/>
                  <a:gd name="connsiteY153" fmla="*/ 2486025 h 4333875"/>
                  <a:gd name="connsiteX154" fmla="*/ 771525 w 8601075"/>
                  <a:gd name="connsiteY154" fmla="*/ 2571750 h 4333875"/>
                  <a:gd name="connsiteX155" fmla="*/ 866775 w 8601075"/>
                  <a:gd name="connsiteY155" fmla="*/ 2571750 h 4333875"/>
                  <a:gd name="connsiteX156" fmla="*/ 914400 w 8601075"/>
                  <a:gd name="connsiteY156" fmla="*/ 2638425 h 4333875"/>
                  <a:gd name="connsiteX157" fmla="*/ 1066800 w 8601075"/>
                  <a:gd name="connsiteY157" fmla="*/ 2638425 h 4333875"/>
                  <a:gd name="connsiteX158" fmla="*/ 1285875 w 8601075"/>
                  <a:gd name="connsiteY158" fmla="*/ 2705100 h 4333875"/>
                  <a:gd name="connsiteX159" fmla="*/ 1438275 w 8601075"/>
                  <a:gd name="connsiteY159" fmla="*/ 2838450 h 4333875"/>
                  <a:gd name="connsiteX160" fmla="*/ 1485900 w 8601075"/>
                  <a:gd name="connsiteY160" fmla="*/ 2914650 h 4333875"/>
                  <a:gd name="connsiteX161" fmla="*/ 1657350 w 8601075"/>
                  <a:gd name="connsiteY161" fmla="*/ 3038475 h 4333875"/>
                  <a:gd name="connsiteX162" fmla="*/ 1752600 w 8601075"/>
                  <a:gd name="connsiteY162" fmla="*/ 3057525 h 4333875"/>
                  <a:gd name="connsiteX163" fmla="*/ 1724025 w 8601075"/>
                  <a:gd name="connsiteY163" fmla="*/ 3143250 h 4333875"/>
                  <a:gd name="connsiteX164" fmla="*/ 1724025 w 8601075"/>
                  <a:gd name="connsiteY164" fmla="*/ 3143250 h 4333875"/>
                  <a:gd name="connsiteX165" fmla="*/ 1781175 w 8601075"/>
                  <a:gd name="connsiteY165" fmla="*/ 3181350 h 4333875"/>
                  <a:gd name="connsiteX166" fmla="*/ 1819275 w 8601075"/>
                  <a:gd name="connsiteY166" fmla="*/ 3362325 h 4333875"/>
                  <a:gd name="connsiteX167" fmla="*/ 1828800 w 8601075"/>
                  <a:gd name="connsiteY167" fmla="*/ 3457575 h 4333875"/>
                  <a:gd name="connsiteX168" fmla="*/ 1971675 w 8601075"/>
                  <a:gd name="connsiteY168" fmla="*/ 3590925 h 4333875"/>
                  <a:gd name="connsiteX169" fmla="*/ 1990725 w 8601075"/>
                  <a:gd name="connsiteY169" fmla="*/ 3714750 h 4333875"/>
                  <a:gd name="connsiteX170" fmla="*/ 2200275 w 8601075"/>
                  <a:gd name="connsiteY170" fmla="*/ 3695700 h 4333875"/>
                  <a:gd name="connsiteX171" fmla="*/ 2886075 w 8601075"/>
                  <a:gd name="connsiteY171" fmla="*/ 3886200 h 4333875"/>
                  <a:gd name="connsiteX172" fmla="*/ 3038475 w 8601075"/>
                  <a:gd name="connsiteY172" fmla="*/ 3819525 h 4333875"/>
                  <a:gd name="connsiteX173" fmla="*/ 3105150 w 8601075"/>
                  <a:gd name="connsiteY173" fmla="*/ 3867150 h 4333875"/>
                  <a:gd name="connsiteX174" fmla="*/ 3181350 w 8601075"/>
                  <a:gd name="connsiteY174" fmla="*/ 3800475 h 4333875"/>
                  <a:gd name="connsiteX175" fmla="*/ 3590925 w 8601075"/>
                  <a:gd name="connsiteY175" fmla="*/ 3943350 h 4333875"/>
                  <a:gd name="connsiteX176" fmla="*/ 3686175 w 8601075"/>
                  <a:gd name="connsiteY176" fmla="*/ 4057650 h 4333875"/>
                  <a:gd name="connsiteX177" fmla="*/ 3838575 w 8601075"/>
                  <a:gd name="connsiteY177" fmla="*/ 4057650 h 4333875"/>
                  <a:gd name="connsiteX178" fmla="*/ 4162425 w 8601075"/>
                  <a:gd name="connsiteY178" fmla="*/ 4248150 h 4333875"/>
                  <a:gd name="connsiteX179" fmla="*/ 4391025 w 8601075"/>
                  <a:gd name="connsiteY179" fmla="*/ 4200525 h 4333875"/>
                  <a:gd name="connsiteX180" fmla="*/ 4410075 w 8601075"/>
                  <a:gd name="connsiteY180" fmla="*/ 4305300 h 4333875"/>
                  <a:gd name="connsiteX181" fmla="*/ 4505325 w 8601075"/>
                  <a:gd name="connsiteY181" fmla="*/ 4276725 h 4333875"/>
                  <a:gd name="connsiteX182" fmla="*/ 4572000 w 8601075"/>
                  <a:gd name="connsiteY182" fmla="*/ 4333875 h 4333875"/>
                  <a:gd name="connsiteX183" fmla="*/ 4591050 w 8601075"/>
                  <a:gd name="connsiteY183" fmla="*/ 4248150 h 4333875"/>
                  <a:gd name="connsiteX184" fmla="*/ 5295900 w 8601075"/>
                  <a:gd name="connsiteY184" fmla="*/ 3924300 h 4333875"/>
                  <a:gd name="connsiteX185" fmla="*/ 5353050 w 8601075"/>
                  <a:gd name="connsiteY185" fmla="*/ 3990975 h 4333875"/>
                  <a:gd name="connsiteX186" fmla="*/ 5524500 w 8601075"/>
                  <a:gd name="connsiteY186" fmla="*/ 3914775 h 4333875"/>
                  <a:gd name="connsiteX187" fmla="*/ 5667375 w 8601075"/>
                  <a:gd name="connsiteY187" fmla="*/ 3962400 h 4333875"/>
                  <a:gd name="connsiteX188" fmla="*/ 5753100 w 8601075"/>
                  <a:gd name="connsiteY188" fmla="*/ 3924300 h 4333875"/>
                  <a:gd name="connsiteX189" fmla="*/ 5905500 w 8601075"/>
                  <a:gd name="connsiteY189" fmla="*/ 3943350 h 4333875"/>
                  <a:gd name="connsiteX190" fmla="*/ 6000750 w 8601075"/>
                  <a:gd name="connsiteY190" fmla="*/ 3800475 h 4333875"/>
                  <a:gd name="connsiteX191" fmla="*/ 6153150 w 8601075"/>
                  <a:gd name="connsiteY191" fmla="*/ 3781425 h 4333875"/>
                  <a:gd name="connsiteX192" fmla="*/ 6257925 w 8601075"/>
                  <a:gd name="connsiteY192" fmla="*/ 3581400 h 4333875"/>
                  <a:gd name="connsiteX193" fmla="*/ 6448425 w 8601075"/>
                  <a:gd name="connsiteY193" fmla="*/ 3448050 h 4333875"/>
                  <a:gd name="connsiteX194" fmla="*/ 6581775 w 8601075"/>
                  <a:gd name="connsiteY194" fmla="*/ 3276600 h 4333875"/>
                  <a:gd name="connsiteX195" fmla="*/ 6496050 w 8601075"/>
                  <a:gd name="connsiteY195" fmla="*/ 3228975 h 4333875"/>
                  <a:gd name="connsiteX196" fmla="*/ 6438900 w 8601075"/>
                  <a:gd name="connsiteY196" fmla="*/ 3162300 h 4333875"/>
                  <a:gd name="connsiteX197" fmla="*/ 6419850 w 8601075"/>
                  <a:gd name="connsiteY197" fmla="*/ 3105150 h 4333875"/>
                  <a:gd name="connsiteX198" fmla="*/ 6362700 w 8601075"/>
                  <a:gd name="connsiteY198" fmla="*/ 3076575 h 4333875"/>
                  <a:gd name="connsiteX199" fmla="*/ 6410325 w 8601075"/>
                  <a:gd name="connsiteY199" fmla="*/ 3019425 h 4333875"/>
                  <a:gd name="connsiteX200" fmla="*/ 6438900 w 8601075"/>
                  <a:gd name="connsiteY200" fmla="*/ 2819400 h 4333875"/>
                  <a:gd name="connsiteX201" fmla="*/ 6496050 w 8601075"/>
                  <a:gd name="connsiteY201" fmla="*/ 2762250 h 4333875"/>
                  <a:gd name="connsiteX202" fmla="*/ 6657975 w 8601075"/>
                  <a:gd name="connsiteY202" fmla="*/ 2752725 h 4333875"/>
                  <a:gd name="connsiteX203" fmla="*/ 6781800 w 8601075"/>
                  <a:gd name="connsiteY203" fmla="*/ 2838450 h 4333875"/>
                  <a:gd name="connsiteX204" fmla="*/ 7010400 w 8601075"/>
                  <a:gd name="connsiteY204" fmla="*/ 2838450 h 4333875"/>
                  <a:gd name="connsiteX205" fmla="*/ 7162800 w 8601075"/>
                  <a:gd name="connsiteY205" fmla="*/ 2705100 h 4333875"/>
                  <a:gd name="connsiteX206" fmla="*/ 7229475 w 8601075"/>
                  <a:gd name="connsiteY206" fmla="*/ 2590800 h 4333875"/>
                  <a:gd name="connsiteX207" fmla="*/ 7248525 w 8601075"/>
                  <a:gd name="connsiteY207" fmla="*/ 2524125 h 4333875"/>
                  <a:gd name="connsiteX208" fmla="*/ 7372350 w 8601075"/>
                  <a:gd name="connsiteY208" fmla="*/ 2543175 h 4333875"/>
                  <a:gd name="connsiteX209" fmla="*/ 7553325 w 8601075"/>
                  <a:gd name="connsiteY209" fmla="*/ 2447925 h 4333875"/>
                  <a:gd name="connsiteX210" fmla="*/ 7620000 w 8601075"/>
                  <a:gd name="connsiteY210" fmla="*/ 2324100 h 4333875"/>
                  <a:gd name="connsiteX211" fmla="*/ 7696200 w 8601075"/>
                  <a:gd name="connsiteY211" fmla="*/ 2314575 h 4333875"/>
                  <a:gd name="connsiteX212" fmla="*/ 7658100 w 8601075"/>
                  <a:gd name="connsiteY212" fmla="*/ 2257425 h 4333875"/>
                  <a:gd name="connsiteX213" fmla="*/ 7753350 w 8601075"/>
                  <a:gd name="connsiteY213" fmla="*/ 2057400 h 4333875"/>
                  <a:gd name="connsiteX214" fmla="*/ 7934325 w 8601075"/>
                  <a:gd name="connsiteY214" fmla="*/ 2028825 h 4333875"/>
                  <a:gd name="connsiteX215" fmla="*/ 7953375 w 8601075"/>
                  <a:gd name="connsiteY215" fmla="*/ 1952625 h 4333875"/>
                  <a:gd name="connsiteX216" fmla="*/ 7953375 w 8601075"/>
                  <a:gd name="connsiteY216" fmla="*/ 1952625 h 4333875"/>
                  <a:gd name="connsiteX217" fmla="*/ 8010525 w 8601075"/>
                  <a:gd name="connsiteY217" fmla="*/ 1895475 h 4333875"/>
                  <a:gd name="connsiteX218" fmla="*/ 8048625 w 8601075"/>
                  <a:gd name="connsiteY218" fmla="*/ 1971675 h 4333875"/>
                  <a:gd name="connsiteX219" fmla="*/ 8077200 w 8601075"/>
                  <a:gd name="connsiteY219" fmla="*/ 1885950 h 4333875"/>
                  <a:gd name="connsiteX220" fmla="*/ 8220075 w 8601075"/>
                  <a:gd name="connsiteY220" fmla="*/ 1847850 h 4333875"/>
                  <a:gd name="connsiteX221" fmla="*/ 8296275 w 8601075"/>
                  <a:gd name="connsiteY221" fmla="*/ 1809750 h 4333875"/>
                  <a:gd name="connsiteX222" fmla="*/ 8324850 w 8601075"/>
                  <a:gd name="connsiteY222" fmla="*/ 1790700 h 4333875"/>
                  <a:gd name="connsiteX223" fmla="*/ 8410575 w 8601075"/>
                  <a:gd name="connsiteY223" fmla="*/ 1847850 h 4333875"/>
                  <a:gd name="connsiteX224" fmla="*/ 8505825 w 8601075"/>
                  <a:gd name="connsiteY224" fmla="*/ 1781175 h 4333875"/>
                  <a:gd name="connsiteX225" fmla="*/ 8572500 w 8601075"/>
                  <a:gd name="connsiteY225" fmla="*/ 1809750 h 4333875"/>
                  <a:gd name="connsiteX226" fmla="*/ 8601075 w 8601075"/>
                  <a:gd name="connsiteY226" fmla="*/ 1704975 h 4333875"/>
                  <a:gd name="connsiteX227" fmla="*/ 8553450 w 8601075"/>
                  <a:gd name="connsiteY227" fmla="*/ 1676400 h 4333875"/>
                  <a:gd name="connsiteX228" fmla="*/ 8534400 w 8601075"/>
                  <a:gd name="connsiteY228" fmla="*/ 1609725 h 4333875"/>
                  <a:gd name="connsiteX229" fmla="*/ 8277225 w 8601075"/>
                  <a:gd name="connsiteY229" fmla="*/ 1409700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124825 w 8601075"/>
                  <a:gd name="connsiteY232" fmla="*/ 1352550 h 4333875"/>
                  <a:gd name="connsiteX233" fmla="*/ 7924800 w 8601075"/>
                  <a:gd name="connsiteY233" fmla="*/ 1362075 h 4333875"/>
                  <a:gd name="connsiteX234" fmla="*/ 7867650 w 8601075"/>
                  <a:gd name="connsiteY234" fmla="*/ 1457325 h 4333875"/>
                  <a:gd name="connsiteX235" fmla="*/ 7896225 w 8601075"/>
                  <a:gd name="connsiteY235" fmla="*/ 1476375 h 4333875"/>
                  <a:gd name="connsiteX236" fmla="*/ 7858125 w 8601075"/>
                  <a:gd name="connsiteY236" fmla="*/ 1533525 h 4333875"/>
                  <a:gd name="connsiteX237" fmla="*/ 7658100 w 8601075"/>
                  <a:gd name="connsiteY237" fmla="*/ 1447800 h 4333875"/>
                  <a:gd name="connsiteX238" fmla="*/ 7515225 w 8601075"/>
                  <a:gd name="connsiteY238" fmla="*/ 1495425 h 4333875"/>
                  <a:gd name="connsiteX239" fmla="*/ 7467600 w 8601075"/>
                  <a:gd name="connsiteY239" fmla="*/ 1581150 h 4333875"/>
                  <a:gd name="connsiteX240" fmla="*/ 7296150 w 8601075"/>
                  <a:gd name="connsiteY24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76275 w 8601075"/>
                  <a:gd name="connsiteY149" fmla="*/ 1771650 h 4333875"/>
                  <a:gd name="connsiteX150" fmla="*/ 657225 w 8601075"/>
                  <a:gd name="connsiteY150" fmla="*/ 2000250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57225 w 8601075"/>
                  <a:gd name="connsiteY150" fmla="*/ 2000250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19125 w 8601075"/>
                  <a:gd name="connsiteY151" fmla="*/ 209550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33413 w 8601075"/>
                  <a:gd name="connsiteY151" fmla="*/ 2114550 h 4333875"/>
                  <a:gd name="connsiteX152" fmla="*/ 542925 w 8601075"/>
                  <a:gd name="connsiteY152" fmla="*/ 2228850 h 4333875"/>
                  <a:gd name="connsiteX153" fmla="*/ 485775 w 8601075"/>
                  <a:gd name="connsiteY153" fmla="*/ 2362200 h 4333875"/>
                  <a:gd name="connsiteX154" fmla="*/ 552450 w 8601075"/>
                  <a:gd name="connsiteY154" fmla="*/ 2486025 h 4333875"/>
                  <a:gd name="connsiteX155" fmla="*/ 771525 w 8601075"/>
                  <a:gd name="connsiteY155" fmla="*/ 2571750 h 4333875"/>
                  <a:gd name="connsiteX156" fmla="*/ 866775 w 8601075"/>
                  <a:gd name="connsiteY156" fmla="*/ 2571750 h 4333875"/>
                  <a:gd name="connsiteX157" fmla="*/ 914400 w 8601075"/>
                  <a:gd name="connsiteY157" fmla="*/ 2638425 h 4333875"/>
                  <a:gd name="connsiteX158" fmla="*/ 1066800 w 8601075"/>
                  <a:gd name="connsiteY158" fmla="*/ 2638425 h 4333875"/>
                  <a:gd name="connsiteX159" fmla="*/ 1285875 w 8601075"/>
                  <a:gd name="connsiteY159" fmla="*/ 2705100 h 4333875"/>
                  <a:gd name="connsiteX160" fmla="*/ 1438275 w 8601075"/>
                  <a:gd name="connsiteY160" fmla="*/ 2838450 h 4333875"/>
                  <a:gd name="connsiteX161" fmla="*/ 1485900 w 8601075"/>
                  <a:gd name="connsiteY161" fmla="*/ 2914650 h 4333875"/>
                  <a:gd name="connsiteX162" fmla="*/ 1657350 w 8601075"/>
                  <a:gd name="connsiteY162" fmla="*/ 3038475 h 4333875"/>
                  <a:gd name="connsiteX163" fmla="*/ 1752600 w 8601075"/>
                  <a:gd name="connsiteY163" fmla="*/ 3057525 h 4333875"/>
                  <a:gd name="connsiteX164" fmla="*/ 1724025 w 8601075"/>
                  <a:gd name="connsiteY164" fmla="*/ 3143250 h 4333875"/>
                  <a:gd name="connsiteX165" fmla="*/ 1724025 w 8601075"/>
                  <a:gd name="connsiteY165" fmla="*/ 3143250 h 4333875"/>
                  <a:gd name="connsiteX166" fmla="*/ 1781175 w 8601075"/>
                  <a:gd name="connsiteY166" fmla="*/ 3181350 h 4333875"/>
                  <a:gd name="connsiteX167" fmla="*/ 1819275 w 8601075"/>
                  <a:gd name="connsiteY167" fmla="*/ 3362325 h 4333875"/>
                  <a:gd name="connsiteX168" fmla="*/ 1828800 w 8601075"/>
                  <a:gd name="connsiteY168" fmla="*/ 3457575 h 4333875"/>
                  <a:gd name="connsiteX169" fmla="*/ 1971675 w 8601075"/>
                  <a:gd name="connsiteY169" fmla="*/ 3590925 h 4333875"/>
                  <a:gd name="connsiteX170" fmla="*/ 1990725 w 8601075"/>
                  <a:gd name="connsiteY170" fmla="*/ 3714750 h 4333875"/>
                  <a:gd name="connsiteX171" fmla="*/ 2200275 w 8601075"/>
                  <a:gd name="connsiteY171" fmla="*/ 3695700 h 4333875"/>
                  <a:gd name="connsiteX172" fmla="*/ 2886075 w 8601075"/>
                  <a:gd name="connsiteY172" fmla="*/ 3886200 h 4333875"/>
                  <a:gd name="connsiteX173" fmla="*/ 3038475 w 8601075"/>
                  <a:gd name="connsiteY173" fmla="*/ 3819525 h 4333875"/>
                  <a:gd name="connsiteX174" fmla="*/ 3105150 w 8601075"/>
                  <a:gd name="connsiteY174" fmla="*/ 3867150 h 4333875"/>
                  <a:gd name="connsiteX175" fmla="*/ 3181350 w 8601075"/>
                  <a:gd name="connsiteY175" fmla="*/ 3800475 h 4333875"/>
                  <a:gd name="connsiteX176" fmla="*/ 3590925 w 8601075"/>
                  <a:gd name="connsiteY176" fmla="*/ 3943350 h 4333875"/>
                  <a:gd name="connsiteX177" fmla="*/ 3686175 w 8601075"/>
                  <a:gd name="connsiteY177" fmla="*/ 4057650 h 4333875"/>
                  <a:gd name="connsiteX178" fmla="*/ 3838575 w 8601075"/>
                  <a:gd name="connsiteY178" fmla="*/ 4057650 h 4333875"/>
                  <a:gd name="connsiteX179" fmla="*/ 4162425 w 8601075"/>
                  <a:gd name="connsiteY179" fmla="*/ 4248150 h 4333875"/>
                  <a:gd name="connsiteX180" fmla="*/ 4391025 w 8601075"/>
                  <a:gd name="connsiteY180" fmla="*/ 4200525 h 4333875"/>
                  <a:gd name="connsiteX181" fmla="*/ 4410075 w 8601075"/>
                  <a:gd name="connsiteY181" fmla="*/ 4305300 h 4333875"/>
                  <a:gd name="connsiteX182" fmla="*/ 4505325 w 8601075"/>
                  <a:gd name="connsiteY182" fmla="*/ 4276725 h 4333875"/>
                  <a:gd name="connsiteX183" fmla="*/ 4572000 w 8601075"/>
                  <a:gd name="connsiteY183" fmla="*/ 4333875 h 4333875"/>
                  <a:gd name="connsiteX184" fmla="*/ 4591050 w 8601075"/>
                  <a:gd name="connsiteY184" fmla="*/ 4248150 h 4333875"/>
                  <a:gd name="connsiteX185" fmla="*/ 5295900 w 8601075"/>
                  <a:gd name="connsiteY185" fmla="*/ 3924300 h 4333875"/>
                  <a:gd name="connsiteX186" fmla="*/ 5353050 w 8601075"/>
                  <a:gd name="connsiteY186" fmla="*/ 3990975 h 4333875"/>
                  <a:gd name="connsiteX187" fmla="*/ 5524500 w 8601075"/>
                  <a:gd name="connsiteY187" fmla="*/ 3914775 h 4333875"/>
                  <a:gd name="connsiteX188" fmla="*/ 5667375 w 8601075"/>
                  <a:gd name="connsiteY188" fmla="*/ 3962400 h 4333875"/>
                  <a:gd name="connsiteX189" fmla="*/ 5753100 w 8601075"/>
                  <a:gd name="connsiteY189" fmla="*/ 3924300 h 4333875"/>
                  <a:gd name="connsiteX190" fmla="*/ 5905500 w 8601075"/>
                  <a:gd name="connsiteY190" fmla="*/ 3943350 h 4333875"/>
                  <a:gd name="connsiteX191" fmla="*/ 6000750 w 8601075"/>
                  <a:gd name="connsiteY191" fmla="*/ 3800475 h 4333875"/>
                  <a:gd name="connsiteX192" fmla="*/ 6153150 w 8601075"/>
                  <a:gd name="connsiteY192" fmla="*/ 3781425 h 4333875"/>
                  <a:gd name="connsiteX193" fmla="*/ 6257925 w 8601075"/>
                  <a:gd name="connsiteY193" fmla="*/ 3581400 h 4333875"/>
                  <a:gd name="connsiteX194" fmla="*/ 6448425 w 8601075"/>
                  <a:gd name="connsiteY194" fmla="*/ 3448050 h 4333875"/>
                  <a:gd name="connsiteX195" fmla="*/ 6581775 w 8601075"/>
                  <a:gd name="connsiteY195" fmla="*/ 3276600 h 4333875"/>
                  <a:gd name="connsiteX196" fmla="*/ 6496050 w 8601075"/>
                  <a:gd name="connsiteY196" fmla="*/ 3228975 h 4333875"/>
                  <a:gd name="connsiteX197" fmla="*/ 6438900 w 8601075"/>
                  <a:gd name="connsiteY197" fmla="*/ 3162300 h 4333875"/>
                  <a:gd name="connsiteX198" fmla="*/ 6419850 w 8601075"/>
                  <a:gd name="connsiteY198" fmla="*/ 3105150 h 4333875"/>
                  <a:gd name="connsiteX199" fmla="*/ 6362700 w 8601075"/>
                  <a:gd name="connsiteY199" fmla="*/ 3076575 h 4333875"/>
                  <a:gd name="connsiteX200" fmla="*/ 6410325 w 8601075"/>
                  <a:gd name="connsiteY200" fmla="*/ 3019425 h 4333875"/>
                  <a:gd name="connsiteX201" fmla="*/ 6438900 w 8601075"/>
                  <a:gd name="connsiteY201" fmla="*/ 2819400 h 4333875"/>
                  <a:gd name="connsiteX202" fmla="*/ 6496050 w 8601075"/>
                  <a:gd name="connsiteY202" fmla="*/ 2762250 h 4333875"/>
                  <a:gd name="connsiteX203" fmla="*/ 6657975 w 8601075"/>
                  <a:gd name="connsiteY203" fmla="*/ 2752725 h 4333875"/>
                  <a:gd name="connsiteX204" fmla="*/ 6781800 w 8601075"/>
                  <a:gd name="connsiteY204" fmla="*/ 2838450 h 4333875"/>
                  <a:gd name="connsiteX205" fmla="*/ 7010400 w 8601075"/>
                  <a:gd name="connsiteY205" fmla="*/ 2838450 h 4333875"/>
                  <a:gd name="connsiteX206" fmla="*/ 7162800 w 8601075"/>
                  <a:gd name="connsiteY206" fmla="*/ 2705100 h 4333875"/>
                  <a:gd name="connsiteX207" fmla="*/ 7229475 w 8601075"/>
                  <a:gd name="connsiteY207" fmla="*/ 2590800 h 4333875"/>
                  <a:gd name="connsiteX208" fmla="*/ 7248525 w 8601075"/>
                  <a:gd name="connsiteY208" fmla="*/ 2524125 h 4333875"/>
                  <a:gd name="connsiteX209" fmla="*/ 7372350 w 8601075"/>
                  <a:gd name="connsiteY209" fmla="*/ 2543175 h 4333875"/>
                  <a:gd name="connsiteX210" fmla="*/ 7553325 w 8601075"/>
                  <a:gd name="connsiteY210" fmla="*/ 2447925 h 4333875"/>
                  <a:gd name="connsiteX211" fmla="*/ 7620000 w 8601075"/>
                  <a:gd name="connsiteY211" fmla="*/ 2324100 h 4333875"/>
                  <a:gd name="connsiteX212" fmla="*/ 7696200 w 8601075"/>
                  <a:gd name="connsiteY212" fmla="*/ 2314575 h 4333875"/>
                  <a:gd name="connsiteX213" fmla="*/ 7658100 w 8601075"/>
                  <a:gd name="connsiteY213" fmla="*/ 2257425 h 4333875"/>
                  <a:gd name="connsiteX214" fmla="*/ 7753350 w 8601075"/>
                  <a:gd name="connsiteY214" fmla="*/ 2057400 h 4333875"/>
                  <a:gd name="connsiteX215" fmla="*/ 7934325 w 8601075"/>
                  <a:gd name="connsiteY215" fmla="*/ 2028825 h 4333875"/>
                  <a:gd name="connsiteX216" fmla="*/ 7953375 w 8601075"/>
                  <a:gd name="connsiteY216" fmla="*/ 1952625 h 4333875"/>
                  <a:gd name="connsiteX217" fmla="*/ 7953375 w 8601075"/>
                  <a:gd name="connsiteY217" fmla="*/ 1952625 h 4333875"/>
                  <a:gd name="connsiteX218" fmla="*/ 8010525 w 8601075"/>
                  <a:gd name="connsiteY218" fmla="*/ 1895475 h 4333875"/>
                  <a:gd name="connsiteX219" fmla="*/ 8048625 w 8601075"/>
                  <a:gd name="connsiteY219" fmla="*/ 1971675 h 4333875"/>
                  <a:gd name="connsiteX220" fmla="*/ 8077200 w 8601075"/>
                  <a:gd name="connsiteY220" fmla="*/ 1885950 h 4333875"/>
                  <a:gd name="connsiteX221" fmla="*/ 8220075 w 8601075"/>
                  <a:gd name="connsiteY221" fmla="*/ 1847850 h 4333875"/>
                  <a:gd name="connsiteX222" fmla="*/ 8296275 w 8601075"/>
                  <a:gd name="connsiteY222" fmla="*/ 1809750 h 4333875"/>
                  <a:gd name="connsiteX223" fmla="*/ 8324850 w 8601075"/>
                  <a:gd name="connsiteY223" fmla="*/ 1790700 h 4333875"/>
                  <a:gd name="connsiteX224" fmla="*/ 8410575 w 8601075"/>
                  <a:gd name="connsiteY224" fmla="*/ 1847850 h 4333875"/>
                  <a:gd name="connsiteX225" fmla="*/ 8505825 w 8601075"/>
                  <a:gd name="connsiteY225" fmla="*/ 1781175 h 4333875"/>
                  <a:gd name="connsiteX226" fmla="*/ 8572500 w 8601075"/>
                  <a:gd name="connsiteY226" fmla="*/ 1809750 h 4333875"/>
                  <a:gd name="connsiteX227" fmla="*/ 8601075 w 8601075"/>
                  <a:gd name="connsiteY227" fmla="*/ 1704975 h 4333875"/>
                  <a:gd name="connsiteX228" fmla="*/ 8553450 w 8601075"/>
                  <a:gd name="connsiteY228" fmla="*/ 1676400 h 4333875"/>
                  <a:gd name="connsiteX229" fmla="*/ 8534400 w 8601075"/>
                  <a:gd name="connsiteY229" fmla="*/ 1609725 h 4333875"/>
                  <a:gd name="connsiteX230" fmla="*/ 8277225 w 8601075"/>
                  <a:gd name="connsiteY230" fmla="*/ 1409700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124825 w 8601075"/>
                  <a:gd name="connsiteY233" fmla="*/ 1352550 h 4333875"/>
                  <a:gd name="connsiteX234" fmla="*/ 7924800 w 8601075"/>
                  <a:gd name="connsiteY234" fmla="*/ 1362075 h 4333875"/>
                  <a:gd name="connsiteX235" fmla="*/ 7867650 w 8601075"/>
                  <a:gd name="connsiteY235" fmla="*/ 1457325 h 4333875"/>
                  <a:gd name="connsiteX236" fmla="*/ 7896225 w 8601075"/>
                  <a:gd name="connsiteY236" fmla="*/ 1476375 h 4333875"/>
                  <a:gd name="connsiteX237" fmla="*/ 7858125 w 8601075"/>
                  <a:gd name="connsiteY237" fmla="*/ 1533525 h 4333875"/>
                  <a:gd name="connsiteX238" fmla="*/ 7658100 w 8601075"/>
                  <a:gd name="connsiteY238" fmla="*/ 1447800 h 4333875"/>
                  <a:gd name="connsiteX239" fmla="*/ 7515225 w 8601075"/>
                  <a:gd name="connsiteY239" fmla="*/ 1495425 h 4333875"/>
                  <a:gd name="connsiteX240" fmla="*/ 7467600 w 8601075"/>
                  <a:gd name="connsiteY240" fmla="*/ 1581150 h 4333875"/>
                  <a:gd name="connsiteX241" fmla="*/ 7296150 w 8601075"/>
                  <a:gd name="connsiteY24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33413 w 8601075"/>
                  <a:gd name="connsiteY152" fmla="*/ 2114550 h 4333875"/>
                  <a:gd name="connsiteX153" fmla="*/ 542925 w 8601075"/>
                  <a:gd name="connsiteY153" fmla="*/ 2228850 h 4333875"/>
                  <a:gd name="connsiteX154" fmla="*/ 485775 w 8601075"/>
                  <a:gd name="connsiteY154" fmla="*/ 2362200 h 4333875"/>
                  <a:gd name="connsiteX155" fmla="*/ 552450 w 8601075"/>
                  <a:gd name="connsiteY155" fmla="*/ 2486025 h 4333875"/>
                  <a:gd name="connsiteX156" fmla="*/ 771525 w 8601075"/>
                  <a:gd name="connsiteY156" fmla="*/ 2571750 h 4333875"/>
                  <a:gd name="connsiteX157" fmla="*/ 866775 w 8601075"/>
                  <a:gd name="connsiteY157" fmla="*/ 2571750 h 4333875"/>
                  <a:gd name="connsiteX158" fmla="*/ 914400 w 8601075"/>
                  <a:gd name="connsiteY158" fmla="*/ 2638425 h 4333875"/>
                  <a:gd name="connsiteX159" fmla="*/ 1066800 w 8601075"/>
                  <a:gd name="connsiteY159" fmla="*/ 2638425 h 4333875"/>
                  <a:gd name="connsiteX160" fmla="*/ 1285875 w 8601075"/>
                  <a:gd name="connsiteY160" fmla="*/ 2705100 h 4333875"/>
                  <a:gd name="connsiteX161" fmla="*/ 1438275 w 8601075"/>
                  <a:gd name="connsiteY161" fmla="*/ 2838450 h 4333875"/>
                  <a:gd name="connsiteX162" fmla="*/ 1485900 w 8601075"/>
                  <a:gd name="connsiteY162" fmla="*/ 2914650 h 4333875"/>
                  <a:gd name="connsiteX163" fmla="*/ 1657350 w 8601075"/>
                  <a:gd name="connsiteY163" fmla="*/ 3038475 h 4333875"/>
                  <a:gd name="connsiteX164" fmla="*/ 1752600 w 8601075"/>
                  <a:gd name="connsiteY164" fmla="*/ 3057525 h 4333875"/>
                  <a:gd name="connsiteX165" fmla="*/ 1724025 w 8601075"/>
                  <a:gd name="connsiteY165" fmla="*/ 3143250 h 4333875"/>
                  <a:gd name="connsiteX166" fmla="*/ 1724025 w 8601075"/>
                  <a:gd name="connsiteY166" fmla="*/ 3143250 h 4333875"/>
                  <a:gd name="connsiteX167" fmla="*/ 1781175 w 8601075"/>
                  <a:gd name="connsiteY167" fmla="*/ 3181350 h 4333875"/>
                  <a:gd name="connsiteX168" fmla="*/ 1819275 w 8601075"/>
                  <a:gd name="connsiteY168" fmla="*/ 3362325 h 4333875"/>
                  <a:gd name="connsiteX169" fmla="*/ 1828800 w 8601075"/>
                  <a:gd name="connsiteY169" fmla="*/ 3457575 h 4333875"/>
                  <a:gd name="connsiteX170" fmla="*/ 1971675 w 8601075"/>
                  <a:gd name="connsiteY170" fmla="*/ 3590925 h 4333875"/>
                  <a:gd name="connsiteX171" fmla="*/ 1990725 w 8601075"/>
                  <a:gd name="connsiteY171" fmla="*/ 3714750 h 4333875"/>
                  <a:gd name="connsiteX172" fmla="*/ 2200275 w 8601075"/>
                  <a:gd name="connsiteY172" fmla="*/ 3695700 h 4333875"/>
                  <a:gd name="connsiteX173" fmla="*/ 2886075 w 8601075"/>
                  <a:gd name="connsiteY173" fmla="*/ 3886200 h 4333875"/>
                  <a:gd name="connsiteX174" fmla="*/ 3038475 w 8601075"/>
                  <a:gd name="connsiteY174" fmla="*/ 3819525 h 4333875"/>
                  <a:gd name="connsiteX175" fmla="*/ 3105150 w 8601075"/>
                  <a:gd name="connsiteY175" fmla="*/ 3867150 h 4333875"/>
                  <a:gd name="connsiteX176" fmla="*/ 3181350 w 8601075"/>
                  <a:gd name="connsiteY176" fmla="*/ 3800475 h 4333875"/>
                  <a:gd name="connsiteX177" fmla="*/ 3590925 w 8601075"/>
                  <a:gd name="connsiteY177" fmla="*/ 3943350 h 4333875"/>
                  <a:gd name="connsiteX178" fmla="*/ 3686175 w 8601075"/>
                  <a:gd name="connsiteY178" fmla="*/ 4057650 h 4333875"/>
                  <a:gd name="connsiteX179" fmla="*/ 3838575 w 8601075"/>
                  <a:gd name="connsiteY179" fmla="*/ 4057650 h 4333875"/>
                  <a:gd name="connsiteX180" fmla="*/ 4162425 w 8601075"/>
                  <a:gd name="connsiteY180" fmla="*/ 4248150 h 4333875"/>
                  <a:gd name="connsiteX181" fmla="*/ 4391025 w 8601075"/>
                  <a:gd name="connsiteY181" fmla="*/ 4200525 h 4333875"/>
                  <a:gd name="connsiteX182" fmla="*/ 4410075 w 8601075"/>
                  <a:gd name="connsiteY182" fmla="*/ 4305300 h 4333875"/>
                  <a:gd name="connsiteX183" fmla="*/ 4505325 w 8601075"/>
                  <a:gd name="connsiteY183" fmla="*/ 4276725 h 4333875"/>
                  <a:gd name="connsiteX184" fmla="*/ 4572000 w 8601075"/>
                  <a:gd name="connsiteY184" fmla="*/ 4333875 h 4333875"/>
                  <a:gd name="connsiteX185" fmla="*/ 4591050 w 8601075"/>
                  <a:gd name="connsiteY185" fmla="*/ 4248150 h 4333875"/>
                  <a:gd name="connsiteX186" fmla="*/ 5295900 w 8601075"/>
                  <a:gd name="connsiteY186" fmla="*/ 3924300 h 4333875"/>
                  <a:gd name="connsiteX187" fmla="*/ 5353050 w 8601075"/>
                  <a:gd name="connsiteY187" fmla="*/ 3990975 h 4333875"/>
                  <a:gd name="connsiteX188" fmla="*/ 5524500 w 8601075"/>
                  <a:gd name="connsiteY188" fmla="*/ 3914775 h 4333875"/>
                  <a:gd name="connsiteX189" fmla="*/ 5667375 w 8601075"/>
                  <a:gd name="connsiteY189" fmla="*/ 3962400 h 4333875"/>
                  <a:gd name="connsiteX190" fmla="*/ 5753100 w 8601075"/>
                  <a:gd name="connsiteY190" fmla="*/ 3924300 h 4333875"/>
                  <a:gd name="connsiteX191" fmla="*/ 5905500 w 8601075"/>
                  <a:gd name="connsiteY191" fmla="*/ 3943350 h 4333875"/>
                  <a:gd name="connsiteX192" fmla="*/ 6000750 w 8601075"/>
                  <a:gd name="connsiteY192" fmla="*/ 3800475 h 4333875"/>
                  <a:gd name="connsiteX193" fmla="*/ 6153150 w 8601075"/>
                  <a:gd name="connsiteY193" fmla="*/ 3781425 h 4333875"/>
                  <a:gd name="connsiteX194" fmla="*/ 6257925 w 8601075"/>
                  <a:gd name="connsiteY194" fmla="*/ 3581400 h 4333875"/>
                  <a:gd name="connsiteX195" fmla="*/ 6448425 w 8601075"/>
                  <a:gd name="connsiteY195" fmla="*/ 3448050 h 4333875"/>
                  <a:gd name="connsiteX196" fmla="*/ 6581775 w 8601075"/>
                  <a:gd name="connsiteY196" fmla="*/ 3276600 h 4333875"/>
                  <a:gd name="connsiteX197" fmla="*/ 6496050 w 8601075"/>
                  <a:gd name="connsiteY197" fmla="*/ 3228975 h 4333875"/>
                  <a:gd name="connsiteX198" fmla="*/ 6438900 w 8601075"/>
                  <a:gd name="connsiteY198" fmla="*/ 3162300 h 4333875"/>
                  <a:gd name="connsiteX199" fmla="*/ 6419850 w 8601075"/>
                  <a:gd name="connsiteY199" fmla="*/ 3105150 h 4333875"/>
                  <a:gd name="connsiteX200" fmla="*/ 6362700 w 8601075"/>
                  <a:gd name="connsiteY200" fmla="*/ 3076575 h 4333875"/>
                  <a:gd name="connsiteX201" fmla="*/ 6410325 w 8601075"/>
                  <a:gd name="connsiteY201" fmla="*/ 3019425 h 4333875"/>
                  <a:gd name="connsiteX202" fmla="*/ 6438900 w 8601075"/>
                  <a:gd name="connsiteY202" fmla="*/ 2819400 h 4333875"/>
                  <a:gd name="connsiteX203" fmla="*/ 6496050 w 8601075"/>
                  <a:gd name="connsiteY203" fmla="*/ 2762250 h 4333875"/>
                  <a:gd name="connsiteX204" fmla="*/ 6657975 w 8601075"/>
                  <a:gd name="connsiteY204" fmla="*/ 2752725 h 4333875"/>
                  <a:gd name="connsiteX205" fmla="*/ 6781800 w 8601075"/>
                  <a:gd name="connsiteY205" fmla="*/ 2838450 h 4333875"/>
                  <a:gd name="connsiteX206" fmla="*/ 7010400 w 8601075"/>
                  <a:gd name="connsiteY206" fmla="*/ 2838450 h 4333875"/>
                  <a:gd name="connsiteX207" fmla="*/ 7162800 w 8601075"/>
                  <a:gd name="connsiteY207" fmla="*/ 2705100 h 4333875"/>
                  <a:gd name="connsiteX208" fmla="*/ 7229475 w 8601075"/>
                  <a:gd name="connsiteY208" fmla="*/ 2590800 h 4333875"/>
                  <a:gd name="connsiteX209" fmla="*/ 7248525 w 8601075"/>
                  <a:gd name="connsiteY209" fmla="*/ 2524125 h 4333875"/>
                  <a:gd name="connsiteX210" fmla="*/ 7372350 w 8601075"/>
                  <a:gd name="connsiteY210" fmla="*/ 2543175 h 4333875"/>
                  <a:gd name="connsiteX211" fmla="*/ 7553325 w 8601075"/>
                  <a:gd name="connsiteY211" fmla="*/ 2447925 h 4333875"/>
                  <a:gd name="connsiteX212" fmla="*/ 7620000 w 8601075"/>
                  <a:gd name="connsiteY212" fmla="*/ 2324100 h 4333875"/>
                  <a:gd name="connsiteX213" fmla="*/ 7696200 w 8601075"/>
                  <a:gd name="connsiteY213" fmla="*/ 2314575 h 4333875"/>
                  <a:gd name="connsiteX214" fmla="*/ 7658100 w 8601075"/>
                  <a:gd name="connsiteY214" fmla="*/ 2257425 h 4333875"/>
                  <a:gd name="connsiteX215" fmla="*/ 7753350 w 8601075"/>
                  <a:gd name="connsiteY215" fmla="*/ 2057400 h 4333875"/>
                  <a:gd name="connsiteX216" fmla="*/ 7934325 w 8601075"/>
                  <a:gd name="connsiteY216" fmla="*/ 2028825 h 4333875"/>
                  <a:gd name="connsiteX217" fmla="*/ 7953375 w 8601075"/>
                  <a:gd name="connsiteY217" fmla="*/ 1952625 h 4333875"/>
                  <a:gd name="connsiteX218" fmla="*/ 7953375 w 8601075"/>
                  <a:gd name="connsiteY218" fmla="*/ 1952625 h 4333875"/>
                  <a:gd name="connsiteX219" fmla="*/ 8010525 w 8601075"/>
                  <a:gd name="connsiteY219" fmla="*/ 1895475 h 4333875"/>
                  <a:gd name="connsiteX220" fmla="*/ 8048625 w 8601075"/>
                  <a:gd name="connsiteY220" fmla="*/ 1971675 h 4333875"/>
                  <a:gd name="connsiteX221" fmla="*/ 8077200 w 8601075"/>
                  <a:gd name="connsiteY221" fmla="*/ 1885950 h 4333875"/>
                  <a:gd name="connsiteX222" fmla="*/ 8220075 w 8601075"/>
                  <a:gd name="connsiteY222" fmla="*/ 1847850 h 4333875"/>
                  <a:gd name="connsiteX223" fmla="*/ 8296275 w 8601075"/>
                  <a:gd name="connsiteY223" fmla="*/ 1809750 h 4333875"/>
                  <a:gd name="connsiteX224" fmla="*/ 8324850 w 8601075"/>
                  <a:gd name="connsiteY224" fmla="*/ 1790700 h 4333875"/>
                  <a:gd name="connsiteX225" fmla="*/ 8410575 w 8601075"/>
                  <a:gd name="connsiteY225" fmla="*/ 1847850 h 4333875"/>
                  <a:gd name="connsiteX226" fmla="*/ 8505825 w 8601075"/>
                  <a:gd name="connsiteY226" fmla="*/ 1781175 h 4333875"/>
                  <a:gd name="connsiteX227" fmla="*/ 8572500 w 8601075"/>
                  <a:gd name="connsiteY227" fmla="*/ 1809750 h 4333875"/>
                  <a:gd name="connsiteX228" fmla="*/ 8601075 w 8601075"/>
                  <a:gd name="connsiteY228" fmla="*/ 1704975 h 4333875"/>
                  <a:gd name="connsiteX229" fmla="*/ 8553450 w 8601075"/>
                  <a:gd name="connsiteY229" fmla="*/ 1676400 h 4333875"/>
                  <a:gd name="connsiteX230" fmla="*/ 8534400 w 8601075"/>
                  <a:gd name="connsiteY230" fmla="*/ 1609725 h 4333875"/>
                  <a:gd name="connsiteX231" fmla="*/ 8277225 w 8601075"/>
                  <a:gd name="connsiteY231" fmla="*/ 1409700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124825 w 8601075"/>
                  <a:gd name="connsiteY234" fmla="*/ 1352550 h 4333875"/>
                  <a:gd name="connsiteX235" fmla="*/ 7924800 w 8601075"/>
                  <a:gd name="connsiteY235" fmla="*/ 1362075 h 4333875"/>
                  <a:gd name="connsiteX236" fmla="*/ 7867650 w 8601075"/>
                  <a:gd name="connsiteY236" fmla="*/ 1457325 h 4333875"/>
                  <a:gd name="connsiteX237" fmla="*/ 7896225 w 8601075"/>
                  <a:gd name="connsiteY237" fmla="*/ 1476375 h 4333875"/>
                  <a:gd name="connsiteX238" fmla="*/ 7858125 w 8601075"/>
                  <a:gd name="connsiteY238" fmla="*/ 1533525 h 4333875"/>
                  <a:gd name="connsiteX239" fmla="*/ 7658100 w 8601075"/>
                  <a:gd name="connsiteY239" fmla="*/ 1447800 h 4333875"/>
                  <a:gd name="connsiteX240" fmla="*/ 7515225 w 8601075"/>
                  <a:gd name="connsiteY240" fmla="*/ 1495425 h 4333875"/>
                  <a:gd name="connsiteX241" fmla="*/ 7467600 w 8601075"/>
                  <a:gd name="connsiteY241" fmla="*/ 1581150 h 4333875"/>
                  <a:gd name="connsiteX242" fmla="*/ 7296150 w 8601075"/>
                  <a:gd name="connsiteY242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42925 w 8601075"/>
                  <a:gd name="connsiteY154" fmla="*/ 2228850 h 4333875"/>
                  <a:gd name="connsiteX155" fmla="*/ 485775 w 8601075"/>
                  <a:gd name="connsiteY155" fmla="*/ 2362200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85775 w 8601075"/>
                  <a:gd name="connsiteY155" fmla="*/ 2362200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52450 w 8601075"/>
                  <a:gd name="connsiteY156" fmla="*/ 2486025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40544 w 8601075"/>
                  <a:gd name="connsiteY156" fmla="*/ 2462213 h 4333875"/>
                  <a:gd name="connsiteX157" fmla="*/ 771525 w 8601075"/>
                  <a:gd name="connsiteY157" fmla="*/ 2571750 h 4333875"/>
                  <a:gd name="connsiteX158" fmla="*/ 866775 w 8601075"/>
                  <a:gd name="connsiteY158" fmla="*/ 2571750 h 4333875"/>
                  <a:gd name="connsiteX159" fmla="*/ 914400 w 8601075"/>
                  <a:gd name="connsiteY159" fmla="*/ 2638425 h 4333875"/>
                  <a:gd name="connsiteX160" fmla="*/ 1066800 w 8601075"/>
                  <a:gd name="connsiteY160" fmla="*/ 2638425 h 4333875"/>
                  <a:gd name="connsiteX161" fmla="*/ 1285875 w 8601075"/>
                  <a:gd name="connsiteY161" fmla="*/ 2705100 h 4333875"/>
                  <a:gd name="connsiteX162" fmla="*/ 1438275 w 8601075"/>
                  <a:gd name="connsiteY162" fmla="*/ 2838450 h 4333875"/>
                  <a:gd name="connsiteX163" fmla="*/ 1485900 w 8601075"/>
                  <a:gd name="connsiteY163" fmla="*/ 2914650 h 4333875"/>
                  <a:gd name="connsiteX164" fmla="*/ 1657350 w 8601075"/>
                  <a:gd name="connsiteY164" fmla="*/ 3038475 h 4333875"/>
                  <a:gd name="connsiteX165" fmla="*/ 1752600 w 8601075"/>
                  <a:gd name="connsiteY165" fmla="*/ 3057525 h 4333875"/>
                  <a:gd name="connsiteX166" fmla="*/ 1724025 w 8601075"/>
                  <a:gd name="connsiteY166" fmla="*/ 3143250 h 4333875"/>
                  <a:gd name="connsiteX167" fmla="*/ 1724025 w 8601075"/>
                  <a:gd name="connsiteY167" fmla="*/ 3143250 h 4333875"/>
                  <a:gd name="connsiteX168" fmla="*/ 1781175 w 8601075"/>
                  <a:gd name="connsiteY168" fmla="*/ 3181350 h 4333875"/>
                  <a:gd name="connsiteX169" fmla="*/ 1819275 w 8601075"/>
                  <a:gd name="connsiteY169" fmla="*/ 3362325 h 4333875"/>
                  <a:gd name="connsiteX170" fmla="*/ 1828800 w 8601075"/>
                  <a:gd name="connsiteY170" fmla="*/ 3457575 h 4333875"/>
                  <a:gd name="connsiteX171" fmla="*/ 1971675 w 8601075"/>
                  <a:gd name="connsiteY171" fmla="*/ 3590925 h 4333875"/>
                  <a:gd name="connsiteX172" fmla="*/ 1990725 w 8601075"/>
                  <a:gd name="connsiteY172" fmla="*/ 3714750 h 4333875"/>
                  <a:gd name="connsiteX173" fmla="*/ 2200275 w 8601075"/>
                  <a:gd name="connsiteY173" fmla="*/ 3695700 h 4333875"/>
                  <a:gd name="connsiteX174" fmla="*/ 2886075 w 8601075"/>
                  <a:gd name="connsiteY174" fmla="*/ 3886200 h 4333875"/>
                  <a:gd name="connsiteX175" fmla="*/ 3038475 w 8601075"/>
                  <a:gd name="connsiteY175" fmla="*/ 3819525 h 4333875"/>
                  <a:gd name="connsiteX176" fmla="*/ 3105150 w 8601075"/>
                  <a:gd name="connsiteY176" fmla="*/ 3867150 h 4333875"/>
                  <a:gd name="connsiteX177" fmla="*/ 3181350 w 8601075"/>
                  <a:gd name="connsiteY177" fmla="*/ 3800475 h 4333875"/>
                  <a:gd name="connsiteX178" fmla="*/ 3590925 w 8601075"/>
                  <a:gd name="connsiteY178" fmla="*/ 3943350 h 4333875"/>
                  <a:gd name="connsiteX179" fmla="*/ 3686175 w 8601075"/>
                  <a:gd name="connsiteY179" fmla="*/ 4057650 h 4333875"/>
                  <a:gd name="connsiteX180" fmla="*/ 3838575 w 8601075"/>
                  <a:gd name="connsiteY180" fmla="*/ 4057650 h 4333875"/>
                  <a:gd name="connsiteX181" fmla="*/ 4162425 w 8601075"/>
                  <a:gd name="connsiteY181" fmla="*/ 4248150 h 4333875"/>
                  <a:gd name="connsiteX182" fmla="*/ 4391025 w 8601075"/>
                  <a:gd name="connsiteY182" fmla="*/ 4200525 h 4333875"/>
                  <a:gd name="connsiteX183" fmla="*/ 4410075 w 8601075"/>
                  <a:gd name="connsiteY183" fmla="*/ 4305300 h 4333875"/>
                  <a:gd name="connsiteX184" fmla="*/ 4505325 w 8601075"/>
                  <a:gd name="connsiteY184" fmla="*/ 4276725 h 4333875"/>
                  <a:gd name="connsiteX185" fmla="*/ 4572000 w 8601075"/>
                  <a:gd name="connsiteY185" fmla="*/ 4333875 h 4333875"/>
                  <a:gd name="connsiteX186" fmla="*/ 4591050 w 8601075"/>
                  <a:gd name="connsiteY186" fmla="*/ 4248150 h 4333875"/>
                  <a:gd name="connsiteX187" fmla="*/ 5295900 w 8601075"/>
                  <a:gd name="connsiteY187" fmla="*/ 3924300 h 4333875"/>
                  <a:gd name="connsiteX188" fmla="*/ 5353050 w 8601075"/>
                  <a:gd name="connsiteY188" fmla="*/ 3990975 h 4333875"/>
                  <a:gd name="connsiteX189" fmla="*/ 5524500 w 8601075"/>
                  <a:gd name="connsiteY189" fmla="*/ 3914775 h 4333875"/>
                  <a:gd name="connsiteX190" fmla="*/ 5667375 w 8601075"/>
                  <a:gd name="connsiteY190" fmla="*/ 3962400 h 4333875"/>
                  <a:gd name="connsiteX191" fmla="*/ 5753100 w 8601075"/>
                  <a:gd name="connsiteY191" fmla="*/ 3924300 h 4333875"/>
                  <a:gd name="connsiteX192" fmla="*/ 5905500 w 8601075"/>
                  <a:gd name="connsiteY192" fmla="*/ 3943350 h 4333875"/>
                  <a:gd name="connsiteX193" fmla="*/ 6000750 w 8601075"/>
                  <a:gd name="connsiteY193" fmla="*/ 3800475 h 4333875"/>
                  <a:gd name="connsiteX194" fmla="*/ 6153150 w 8601075"/>
                  <a:gd name="connsiteY194" fmla="*/ 3781425 h 4333875"/>
                  <a:gd name="connsiteX195" fmla="*/ 6257925 w 8601075"/>
                  <a:gd name="connsiteY195" fmla="*/ 3581400 h 4333875"/>
                  <a:gd name="connsiteX196" fmla="*/ 6448425 w 8601075"/>
                  <a:gd name="connsiteY196" fmla="*/ 3448050 h 4333875"/>
                  <a:gd name="connsiteX197" fmla="*/ 6581775 w 8601075"/>
                  <a:gd name="connsiteY197" fmla="*/ 3276600 h 4333875"/>
                  <a:gd name="connsiteX198" fmla="*/ 6496050 w 8601075"/>
                  <a:gd name="connsiteY198" fmla="*/ 3228975 h 4333875"/>
                  <a:gd name="connsiteX199" fmla="*/ 6438900 w 8601075"/>
                  <a:gd name="connsiteY199" fmla="*/ 3162300 h 4333875"/>
                  <a:gd name="connsiteX200" fmla="*/ 6419850 w 8601075"/>
                  <a:gd name="connsiteY200" fmla="*/ 3105150 h 4333875"/>
                  <a:gd name="connsiteX201" fmla="*/ 6362700 w 8601075"/>
                  <a:gd name="connsiteY201" fmla="*/ 3076575 h 4333875"/>
                  <a:gd name="connsiteX202" fmla="*/ 6410325 w 8601075"/>
                  <a:gd name="connsiteY202" fmla="*/ 3019425 h 4333875"/>
                  <a:gd name="connsiteX203" fmla="*/ 6438900 w 8601075"/>
                  <a:gd name="connsiteY203" fmla="*/ 2819400 h 4333875"/>
                  <a:gd name="connsiteX204" fmla="*/ 6496050 w 8601075"/>
                  <a:gd name="connsiteY204" fmla="*/ 2762250 h 4333875"/>
                  <a:gd name="connsiteX205" fmla="*/ 6657975 w 8601075"/>
                  <a:gd name="connsiteY205" fmla="*/ 2752725 h 4333875"/>
                  <a:gd name="connsiteX206" fmla="*/ 6781800 w 8601075"/>
                  <a:gd name="connsiteY206" fmla="*/ 2838450 h 4333875"/>
                  <a:gd name="connsiteX207" fmla="*/ 7010400 w 8601075"/>
                  <a:gd name="connsiteY207" fmla="*/ 2838450 h 4333875"/>
                  <a:gd name="connsiteX208" fmla="*/ 7162800 w 8601075"/>
                  <a:gd name="connsiteY208" fmla="*/ 2705100 h 4333875"/>
                  <a:gd name="connsiteX209" fmla="*/ 7229475 w 8601075"/>
                  <a:gd name="connsiteY209" fmla="*/ 2590800 h 4333875"/>
                  <a:gd name="connsiteX210" fmla="*/ 7248525 w 8601075"/>
                  <a:gd name="connsiteY210" fmla="*/ 2524125 h 4333875"/>
                  <a:gd name="connsiteX211" fmla="*/ 7372350 w 8601075"/>
                  <a:gd name="connsiteY211" fmla="*/ 2543175 h 4333875"/>
                  <a:gd name="connsiteX212" fmla="*/ 7553325 w 8601075"/>
                  <a:gd name="connsiteY212" fmla="*/ 2447925 h 4333875"/>
                  <a:gd name="connsiteX213" fmla="*/ 7620000 w 8601075"/>
                  <a:gd name="connsiteY213" fmla="*/ 2324100 h 4333875"/>
                  <a:gd name="connsiteX214" fmla="*/ 7696200 w 8601075"/>
                  <a:gd name="connsiteY214" fmla="*/ 2314575 h 4333875"/>
                  <a:gd name="connsiteX215" fmla="*/ 7658100 w 8601075"/>
                  <a:gd name="connsiteY215" fmla="*/ 2257425 h 4333875"/>
                  <a:gd name="connsiteX216" fmla="*/ 7753350 w 8601075"/>
                  <a:gd name="connsiteY216" fmla="*/ 2057400 h 4333875"/>
                  <a:gd name="connsiteX217" fmla="*/ 7934325 w 8601075"/>
                  <a:gd name="connsiteY217" fmla="*/ 2028825 h 4333875"/>
                  <a:gd name="connsiteX218" fmla="*/ 7953375 w 8601075"/>
                  <a:gd name="connsiteY218" fmla="*/ 1952625 h 4333875"/>
                  <a:gd name="connsiteX219" fmla="*/ 7953375 w 8601075"/>
                  <a:gd name="connsiteY219" fmla="*/ 1952625 h 4333875"/>
                  <a:gd name="connsiteX220" fmla="*/ 8010525 w 8601075"/>
                  <a:gd name="connsiteY220" fmla="*/ 1895475 h 4333875"/>
                  <a:gd name="connsiteX221" fmla="*/ 8048625 w 8601075"/>
                  <a:gd name="connsiteY221" fmla="*/ 1971675 h 4333875"/>
                  <a:gd name="connsiteX222" fmla="*/ 8077200 w 8601075"/>
                  <a:gd name="connsiteY222" fmla="*/ 1885950 h 4333875"/>
                  <a:gd name="connsiteX223" fmla="*/ 8220075 w 8601075"/>
                  <a:gd name="connsiteY223" fmla="*/ 1847850 h 4333875"/>
                  <a:gd name="connsiteX224" fmla="*/ 8296275 w 8601075"/>
                  <a:gd name="connsiteY224" fmla="*/ 1809750 h 4333875"/>
                  <a:gd name="connsiteX225" fmla="*/ 8324850 w 8601075"/>
                  <a:gd name="connsiteY225" fmla="*/ 1790700 h 4333875"/>
                  <a:gd name="connsiteX226" fmla="*/ 8410575 w 8601075"/>
                  <a:gd name="connsiteY226" fmla="*/ 1847850 h 4333875"/>
                  <a:gd name="connsiteX227" fmla="*/ 8505825 w 8601075"/>
                  <a:gd name="connsiteY227" fmla="*/ 1781175 h 4333875"/>
                  <a:gd name="connsiteX228" fmla="*/ 8572500 w 8601075"/>
                  <a:gd name="connsiteY228" fmla="*/ 1809750 h 4333875"/>
                  <a:gd name="connsiteX229" fmla="*/ 8601075 w 8601075"/>
                  <a:gd name="connsiteY229" fmla="*/ 1704975 h 4333875"/>
                  <a:gd name="connsiteX230" fmla="*/ 8553450 w 8601075"/>
                  <a:gd name="connsiteY230" fmla="*/ 1676400 h 4333875"/>
                  <a:gd name="connsiteX231" fmla="*/ 8534400 w 8601075"/>
                  <a:gd name="connsiteY231" fmla="*/ 1609725 h 4333875"/>
                  <a:gd name="connsiteX232" fmla="*/ 8277225 w 8601075"/>
                  <a:gd name="connsiteY232" fmla="*/ 1409700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124825 w 8601075"/>
                  <a:gd name="connsiteY235" fmla="*/ 1352550 h 4333875"/>
                  <a:gd name="connsiteX236" fmla="*/ 7924800 w 8601075"/>
                  <a:gd name="connsiteY236" fmla="*/ 1362075 h 4333875"/>
                  <a:gd name="connsiteX237" fmla="*/ 7867650 w 8601075"/>
                  <a:gd name="connsiteY237" fmla="*/ 1457325 h 4333875"/>
                  <a:gd name="connsiteX238" fmla="*/ 7896225 w 8601075"/>
                  <a:gd name="connsiteY238" fmla="*/ 1476375 h 4333875"/>
                  <a:gd name="connsiteX239" fmla="*/ 7858125 w 8601075"/>
                  <a:gd name="connsiteY239" fmla="*/ 1533525 h 4333875"/>
                  <a:gd name="connsiteX240" fmla="*/ 7658100 w 8601075"/>
                  <a:gd name="connsiteY240" fmla="*/ 1447800 h 4333875"/>
                  <a:gd name="connsiteX241" fmla="*/ 7515225 w 8601075"/>
                  <a:gd name="connsiteY241" fmla="*/ 1495425 h 4333875"/>
                  <a:gd name="connsiteX242" fmla="*/ 7467600 w 8601075"/>
                  <a:gd name="connsiteY242" fmla="*/ 1581150 h 4333875"/>
                  <a:gd name="connsiteX243" fmla="*/ 7296150 w 8601075"/>
                  <a:gd name="connsiteY243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40544 w 8601075"/>
                  <a:gd name="connsiteY157" fmla="*/ 2462213 h 4333875"/>
                  <a:gd name="connsiteX158" fmla="*/ 771525 w 8601075"/>
                  <a:gd name="connsiteY158" fmla="*/ 2571750 h 4333875"/>
                  <a:gd name="connsiteX159" fmla="*/ 866775 w 8601075"/>
                  <a:gd name="connsiteY159" fmla="*/ 2571750 h 4333875"/>
                  <a:gd name="connsiteX160" fmla="*/ 914400 w 8601075"/>
                  <a:gd name="connsiteY160" fmla="*/ 2638425 h 4333875"/>
                  <a:gd name="connsiteX161" fmla="*/ 1066800 w 8601075"/>
                  <a:gd name="connsiteY161" fmla="*/ 2638425 h 4333875"/>
                  <a:gd name="connsiteX162" fmla="*/ 1285875 w 8601075"/>
                  <a:gd name="connsiteY162" fmla="*/ 2705100 h 4333875"/>
                  <a:gd name="connsiteX163" fmla="*/ 1438275 w 8601075"/>
                  <a:gd name="connsiteY163" fmla="*/ 2838450 h 4333875"/>
                  <a:gd name="connsiteX164" fmla="*/ 1485900 w 8601075"/>
                  <a:gd name="connsiteY164" fmla="*/ 2914650 h 4333875"/>
                  <a:gd name="connsiteX165" fmla="*/ 1657350 w 8601075"/>
                  <a:gd name="connsiteY165" fmla="*/ 3038475 h 4333875"/>
                  <a:gd name="connsiteX166" fmla="*/ 1752600 w 8601075"/>
                  <a:gd name="connsiteY166" fmla="*/ 3057525 h 4333875"/>
                  <a:gd name="connsiteX167" fmla="*/ 1724025 w 8601075"/>
                  <a:gd name="connsiteY167" fmla="*/ 3143250 h 4333875"/>
                  <a:gd name="connsiteX168" fmla="*/ 1724025 w 8601075"/>
                  <a:gd name="connsiteY168" fmla="*/ 3143250 h 4333875"/>
                  <a:gd name="connsiteX169" fmla="*/ 1781175 w 8601075"/>
                  <a:gd name="connsiteY169" fmla="*/ 3181350 h 4333875"/>
                  <a:gd name="connsiteX170" fmla="*/ 1819275 w 8601075"/>
                  <a:gd name="connsiteY170" fmla="*/ 3362325 h 4333875"/>
                  <a:gd name="connsiteX171" fmla="*/ 1828800 w 8601075"/>
                  <a:gd name="connsiteY171" fmla="*/ 3457575 h 4333875"/>
                  <a:gd name="connsiteX172" fmla="*/ 1971675 w 8601075"/>
                  <a:gd name="connsiteY172" fmla="*/ 3590925 h 4333875"/>
                  <a:gd name="connsiteX173" fmla="*/ 1990725 w 8601075"/>
                  <a:gd name="connsiteY173" fmla="*/ 3714750 h 4333875"/>
                  <a:gd name="connsiteX174" fmla="*/ 2200275 w 8601075"/>
                  <a:gd name="connsiteY174" fmla="*/ 3695700 h 4333875"/>
                  <a:gd name="connsiteX175" fmla="*/ 2886075 w 8601075"/>
                  <a:gd name="connsiteY175" fmla="*/ 3886200 h 4333875"/>
                  <a:gd name="connsiteX176" fmla="*/ 3038475 w 8601075"/>
                  <a:gd name="connsiteY176" fmla="*/ 3819525 h 4333875"/>
                  <a:gd name="connsiteX177" fmla="*/ 3105150 w 8601075"/>
                  <a:gd name="connsiteY177" fmla="*/ 3867150 h 4333875"/>
                  <a:gd name="connsiteX178" fmla="*/ 3181350 w 8601075"/>
                  <a:gd name="connsiteY178" fmla="*/ 3800475 h 4333875"/>
                  <a:gd name="connsiteX179" fmla="*/ 3590925 w 8601075"/>
                  <a:gd name="connsiteY179" fmla="*/ 3943350 h 4333875"/>
                  <a:gd name="connsiteX180" fmla="*/ 3686175 w 8601075"/>
                  <a:gd name="connsiteY180" fmla="*/ 4057650 h 4333875"/>
                  <a:gd name="connsiteX181" fmla="*/ 3838575 w 8601075"/>
                  <a:gd name="connsiteY181" fmla="*/ 4057650 h 4333875"/>
                  <a:gd name="connsiteX182" fmla="*/ 4162425 w 8601075"/>
                  <a:gd name="connsiteY182" fmla="*/ 4248150 h 4333875"/>
                  <a:gd name="connsiteX183" fmla="*/ 4391025 w 8601075"/>
                  <a:gd name="connsiteY183" fmla="*/ 4200525 h 4333875"/>
                  <a:gd name="connsiteX184" fmla="*/ 4410075 w 8601075"/>
                  <a:gd name="connsiteY184" fmla="*/ 4305300 h 4333875"/>
                  <a:gd name="connsiteX185" fmla="*/ 4505325 w 8601075"/>
                  <a:gd name="connsiteY185" fmla="*/ 4276725 h 4333875"/>
                  <a:gd name="connsiteX186" fmla="*/ 4572000 w 8601075"/>
                  <a:gd name="connsiteY186" fmla="*/ 4333875 h 4333875"/>
                  <a:gd name="connsiteX187" fmla="*/ 4591050 w 8601075"/>
                  <a:gd name="connsiteY187" fmla="*/ 4248150 h 4333875"/>
                  <a:gd name="connsiteX188" fmla="*/ 5295900 w 8601075"/>
                  <a:gd name="connsiteY188" fmla="*/ 3924300 h 4333875"/>
                  <a:gd name="connsiteX189" fmla="*/ 5353050 w 8601075"/>
                  <a:gd name="connsiteY189" fmla="*/ 3990975 h 4333875"/>
                  <a:gd name="connsiteX190" fmla="*/ 5524500 w 8601075"/>
                  <a:gd name="connsiteY190" fmla="*/ 3914775 h 4333875"/>
                  <a:gd name="connsiteX191" fmla="*/ 5667375 w 8601075"/>
                  <a:gd name="connsiteY191" fmla="*/ 3962400 h 4333875"/>
                  <a:gd name="connsiteX192" fmla="*/ 5753100 w 8601075"/>
                  <a:gd name="connsiteY192" fmla="*/ 3924300 h 4333875"/>
                  <a:gd name="connsiteX193" fmla="*/ 5905500 w 8601075"/>
                  <a:gd name="connsiteY193" fmla="*/ 3943350 h 4333875"/>
                  <a:gd name="connsiteX194" fmla="*/ 6000750 w 8601075"/>
                  <a:gd name="connsiteY194" fmla="*/ 3800475 h 4333875"/>
                  <a:gd name="connsiteX195" fmla="*/ 6153150 w 8601075"/>
                  <a:gd name="connsiteY195" fmla="*/ 3781425 h 4333875"/>
                  <a:gd name="connsiteX196" fmla="*/ 6257925 w 8601075"/>
                  <a:gd name="connsiteY196" fmla="*/ 3581400 h 4333875"/>
                  <a:gd name="connsiteX197" fmla="*/ 6448425 w 8601075"/>
                  <a:gd name="connsiteY197" fmla="*/ 3448050 h 4333875"/>
                  <a:gd name="connsiteX198" fmla="*/ 6581775 w 8601075"/>
                  <a:gd name="connsiteY198" fmla="*/ 3276600 h 4333875"/>
                  <a:gd name="connsiteX199" fmla="*/ 6496050 w 8601075"/>
                  <a:gd name="connsiteY199" fmla="*/ 3228975 h 4333875"/>
                  <a:gd name="connsiteX200" fmla="*/ 6438900 w 8601075"/>
                  <a:gd name="connsiteY200" fmla="*/ 3162300 h 4333875"/>
                  <a:gd name="connsiteX201" fmla="*/ 6419850 w 8601075"/>
                  <a:gd name="connsiteY201" fmla="*/ 3105150 h 4333875"/>
                  <a:gd name="connsiteX202" fmla="*/ 6362700 w 8601075"/>
                  <a:gd name="connsiteY202" fmla="*/ 3076575 h 4333875"/>
                  <a:gd name="connsiteX203" fmla="*/ 6410325 w 8601075"/>
                  <a:gd name="connsiteY203" fmla="*/ 3019425 h 4333875"/>
                  <a:gd name="connsiteX204" fmla="*/ 6438900 w 8601075"/>
                  <a:gd name="connsiteY204" fmla="*/ 2819400 h 4333875"/>
                  <a:gd name="connsiteX205" fmla="*/ 6496050 w 8601075"/>
                  <a:gd name="connsiteY205" fmla="*/ 2762250 h 4333875"/>
                  <a:gd name="connsiteX206" fmla="*/ 6657975 w 8601075"/>
                  <a:gd name="connsiteY206" fmla="*/ 2752725 h 4333875"/>
                  <a:gd name="connsiteX207" fmla="*/ 6781800 w 8601075"/>
                  <a:gd name="connsiteY207" fmla="*/ 2838450 h 4333875"/>
                  <a:gd name="connsiteX208" fmla="*/ 7010400 w 8601075"/>
                  <a:gd name="connsiteY208" fmla="*/ 2838450 h 4333875"/>
                  <a:gd name="connsiteX209" fmla="*/ 7162800 w 8601075"/>
                  <a:gd name="connsiteY209" fmla="*/ 2705100 h 4333875"/>
                  <a:gd name="connsiteX210" fmla="*/ 7229475 w 8601075"/>
                  <a:gd name="connsiteY210" fmla="*/ 2590800 h 4333875"/>
                  <a:gd name="connsiteX211" fmla="*/ 7248525 w 8601075"/>
                  <a:gd name="connsiteY211" fmla="*/ 2524125 h 4333875"/>
                  <a:gd name="connsiteX212" fmla="*/ 7372350 w 8601075"/>
                  <a:gd name="connsiteY212" fmla="*/ 2543175 h 4333875"/>
                  <a:gd name="connsiteX213" fmla="*/ 7553325 w 8601075"/>
                  <a:gd name="connsiteY213" fmla="*/ 2447925 h 4333875"/>
                  <a:gd name="connsiteX214" fmla="*/ 7620000 w 8601075"/>
                  <a:gd name="connsiteY214" fmla="*/ 2324100 h 4333875"/>
                  <a:gd name="connsiteX215" fmla="*/ 7696200 w 8601075"/>
                  <a:gd name="connsiteY215" fmla="*/ 2314575 h 4333875"/>
                  <a:gd name="connsiteX216" fmla="*/ 7658100 w 8601075"/>
                  <a:gd name="connsiteY216" fmla="*/ 2257425 h 4333875"/>
                  <a:gd name="connsiteX217" fmla="*/ 7753350 w 8601075"/>
                  <a:gd name="connsiteY217" fmla="*/ 2057400 h 4333875"/>
                  <a:gd name="connsiteX218" fmla="*/ 7934325 w 8601075"/>
                  <a:gd name="connsiteY218" fmla="*/ 2028825 h 4333875"/>
                  <a:gd name="connsiteX219" fmla="*/ 7953375 w 8601075"/>
                  <a:gd name="connsiteY219" fmla="*/ 1952625 h 4333875"/>
                  <a:gd name="connsiteX220" fmla="*/ 7953375 w 8601075"/>
                  <a:gd name="connsiteY220" fmla="*/ 1952625 h 4333875"/>
                  <a:gd name="connsiteX221" fmla="*/ 8010525 w 8601075"/>
                  <a:gd name="connsiteY221" fmla="*/ 1895475 h 4333875"/>
                  <a:gd name="connsiteX222" fmla="*/ 8048625 w 8601075"/>
                  <a:gd name="connsiteY222" fmla="*/ 1971675 h 4333875"/>
                  <a:gd name="connsiteX223" fmla="*/ 8077200 w 8601075"/>
                  <a:gd name="connsiteY223" fmla="*/ 1885950 h 4333875"/>
                  <a:gd name="connsiteX224" fmla="*/ 8220075 w 8601075"/>
                  <a:gd name="connsiteY224" fmla="*/ 1847850 h 4333875"/>
                  <a:gd name="connsiteX225" fmla="*/ 8296275 w 8601075"/>
                  <a:gd name="connsiteY225" fmla="*/ 1809750 h 4333875"/>
                  <a:gd name="connsiteX226" fmla="*/ 8324850 w 8601075"/>
                  <a:gd name="connsiteY226" fmla="*/ 1790700 h 4333875"/>
                  <a:gd name="connsiteX227" fmla="*/ 8410575 w 8601075"/>
                  <a:gd name="connsiteY227" fmla="*/ 1847850 h 4333875"/>
                  <a:gd name="connsiteX228" fmla="*/ 8505825 w 8601075"/>
                  <a:gd name="connsiteY228" fmla="*/ 1781175 h 4333875"/>
                  <a:gd name="connsiteX229" fmla="*/ 8572500 w 8601075"/>
                  <a:gd name="connsiteY229" fmla="*/ 1809750 h 4333875"/>
                  <a:gd name="connsiteX230" fmla="*/ 8601075 w 8601075"/>
                  <a:gd name="connsiteY230" fmla="*/ 1704975 h 4333875"/>
                  <a:gd name="connsiteX231" fmla="*/ 8553450 w 8601075"/>
                  <a:gd name="connsiteY231" fmla="*/ 1676400 h 4333875"/>
                  <a:gd name="connsiteX232" fmla="*/ 8534400 w 8601075"/>
                  <a:gd name="connsiteY232" fmla="*/ 1609725 h 4333875"/>
                  <a:gd name="connsiteX233" fmla="*/ 8277225 w 8601075"/>
                  <a:gd name="connsiteY233" fmla="*/ 1409700 h 4333875"/>
                  <a:gd name="connsiteX234" fmla="*/ 8277225 w 8601075"/>
                  <a:gd name="connsiteY234" fmla="*/ 1409700 h 4333875"/>
                  <a:gd name="connsiteX235" fmla="*/ 8277225 w 8601075"/>
                  <a:gd name="connsiteY235" fmla="*/ 1409700 h 4333875"/>
                  <a:gd name="connsiteX236" fmla="*/ 8124825 w 8601075"/>
                  <a:gd name="connsiteY236" fmla="*/ 1352550 h 4333875"/>
                  <a:gd name="connsiteX237" fmla="*/ 7924800 w 8601075"/>
                  <a:gd name="connsiteY237" fmla="*/ 1362075 h 4333875"/>
                  <a:gd name="connsiteX238" fmla="*/ 7867650 w 8601075"/>
                  <a:gd name="connsiteY238" fmla="*/ 1457325 h 4333875"/>
                  <a:gd name="connsiteX239" fmla="*/ 7896225 w 8601075"/>
                  <a:gd name="connsiteY239" fmla="*/ 1476375 h 4333875"/>
                  <a:gd name="connsiteX240" fmla="*/ 7858125 w 8601075"/>
                  <a:gd name="connsiteY240" fmla="*/ 1533525 h 4333875"/>
                  <a:gd name="connsiteX241" fmla="*/ 7658100 w 8601075"/>
                  <a:gd name="connsiteY241" fmla="*/ 1447800 h 4333875"/>
                  <a:gd name="connsiteX242" fmla="*/ 7515225 w 8601075"/>
                  <a:gd name="connsiteY242" fmla="*/ 1495425 h 4333875"/>
                  <a:gd name="connsiteX243" fmla="*/ 7467600 w 8601075"/>
                  <a:gd name="connsiteY243" fmla="*/ 1581150 h 4333875"/>
                  <a:gd name="connsiteX244" fmla="*/ 7296150 w 8601075"/>
                  <a:gd name="connsiteY244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771525 w 8601075"/>
                  <a:gd name="connsiteY159" fmla="*/ 2571750 h 4333875"/>
                  <a:gd name="connsiteX160" fmla="*/ 866775 w 8601075"/>
                  <a:gd name="connsiteY160" fmla="*/ 2571750 h 4333875"/>
                  <a:gd name="connsiteX161" fmla="*/ 914400 w 8601075"/>
                  <a:gd name="connsiteY161" fmla="*/ 2638425 h 4333875"/>
                  <a:gd name="connsiteX162" fmla="*/ 1066800 w 8601075"/>
                  <a:gd name="connsiteY162" fmla="*/ 2638425 h 4333875"/>
                  <a:gd name="connsiteX163" fmla="*/ 1285875 w 8601075"/>
                  <a:gd name="connsiteY163" fmla="*/ 2705100 h 4333875"/>
                  <a:gd name="connsiteX164" fmla="*/ 1438275 w 8601075"/>
                  <a:gd name="connsiteY164" fmla="*/ 2838450 h 4333875"/>
                  <a:gd name="connsiteX165" fmla="*/ 1485900 w 8601075"/>
                  <a:gd name="connsiteY165" fmla="*/ 2914650 h 4333875"/>
                  <a:gd name="connsiteX166" fmla="*/ 1657350 w 8601075"/>
                  <a:gd name="connsiteY166" fmla="*/ 3038475 h 4333875"/>
                  <a:gd name="connsiteX167" fmla="*/ 1752600 w 8601075"/>
                  <a:gd name="connsiteY167" fmla="*/ 3057525 h 4333875"/>
                  <a:gd name="connsiteX168" fmla="*/ 1724025 w 8601075"/>
                  <a:gd name="connsiteY168" fmla="*/ 3143250 h 4333875"/>
                  <a:gd name="connsiteX169" fmla="*/ 1724025 w 8601075"/>
                  <a:gd name="connsiteY169" fmla="*/ 3143250 h 4333875"/>
                  <a:gd name="connsiteX170" fmla="*/ 1781175 w 8601075"/>
                  <a:gd name="connsiteY170" fmla="*/ 3181350 h 4333875"/>
                  <a:gd name="connsiteX171" fmla="*/ 1819275 w 8601075"/>
                  <a:gd name="connsiteY171" fmla="*/ 3362325 h 4333875"/>
                  <a:gd name="connsiteX172" fmla="*/ 1828800 w 8601075"/>
                  <a:gd name="connsiteY172" fmla="*/ 3457575 h 4333875"/>
                  <a:gd name="connsiteX173" fmla="*/ 1971675 w 8601075"/>
                  <a:gd name="connsiteY173" fmla="*/ 3590925 h 4333875"/>
                  <a:gd name="connsiteX174" fmla="*/ 1990725 w 8601075"/>
                  <a:gd name="connsiteY174" fmla="*/ 3714750 h 4333875"/>
                  <a:gd name="connsiteX175" fmla="*/ 2200275 w 8601075"/>
                  <a:gd name="connsiteY175" fmla="*/ 3695700 h 4333875"/>
                  <a:gd name="connsiteX176" fmla="*/ 2886075 w 8601075"/>
                  <a:gd name="connsiteY176" fmla="*/ 3886200 h 4333875"/>
                  <a:gd name="connsiteX177" fmla="*/ 3038475 w 8601075"/>
                  <a:gd name="connsiteY177" fmla="*/ 3819525 h 4333875"/>
                  <a:gd name="connsiteX178" fmla="*/ 3105150 w 8601075"/>
                  <a:gd name="connsiteY178" fmla="*/ 3867150 h 4333875"/>
                  <a:gd name="connsiteX179" fmla="*/ 3181350 w 8601075"/>
                  <a:gd name="connsiteY179" fmla="*/ 3800475 h 4333875"/>
                  <a:gd name="connsiteX180" fmla="*/ 3590925 w 8601075"/>
                  <a:gd name="connsiteY180" fmla="*/ 3943350 h 4333875"/>
                  <a:gd name="connsiteX181" fmla="*/ 3686175 w 8601075"/>
                  <a:gd name="connsiteY181" fmla="*/ 4057650 h 4333875"/>
                  <a:gd name="connsiteX182" fmla="*/ 3838575 w 8601075"/>
                  <a:gd name="connsiteY182" fmla="*/ 4057650 h 4333875"/>
                  <a:gd name="connsiteX183" fmla="*/ 4162425 w 8601075"/>
                  <a:gd name="connsiteY183" fmla="*/ 4248150 h 4333875"/>
                  <a:gd name="connsiteX184" fmla="*/ 4391025 w 8601075"/>
                  <a:gd name="connsiteY184" fmla="*/ 4200525 h 4333875"/>
                  <a:gd name="connsiteX185" fmla="*/ 4410075 w 8601075"/>
                  <a:gd name="connsiteY185" fmla="*/ 4305300 h 4333875"/>
                  <a:gd name="connsiteX186" fmla="*/ 4505325 w 8601075"/>
                  <a:gd name="connsiteY186" fmla="*/ 4276725 h 4333875"/>
                  <a:gd name="connsiteX187" fmla="*/ 4572000 w 8601075"/>
                  <a:gd name="connsiteY187" fmla="*/ 4333875 h 4333875"/>
                  <a:gd name="connsiteX188" fmla="*/ 4591050 w 8601075"/>
                  <a:gd name="connsiteY188" fmla="*/ 4248150 h 4333875"/>
                  <a:gd name="connsiteX189" fmla="*/ 5295900 w 8601075"/>
                  <a:gd name="connsiteY189" fmla="*/ 3924300 h 4333875"/>
                  <a:gd name="connsiteX190" fmla="*/ 5353050 w 8601075"/>
                  <a:gd name="connsiteY190" fmla="*/ 3990975 h 4333875"/>
                  <a:gd name="connsiteX191" fmla="*/ 5524500 w 8601075"/>
                  <a:gd name="connsiteY191" fmla="*/ 3914775 h 4333875"/>
                  <a:gd name="connsiteX192" fmla="*/ 5667375 w 8601075"/>
                  <a:gd name="connsiteY192" fmla="*/ 3962400 h 4333875"/>
                  <a:gd name="connsiteX193" fmla="*/ 5753100 w 8601075"/>
                  <a:gd name="connsiteY193" fmla="*/ 3924300 h 4333875"/>
                  <a:gd name="connsiteX194" fmla="*/ 5905500 w 8601075"/>
                  <a:gd name="connsiteY194" fmla="*/ 3943350 h 4333875"/>
                  <a:gd name="connsiteX195" fmla="*/ 6000750 w 8601075"/>
                  <a:gd name="connsiteY195" fmla="*/ 3800475 h 4333875"/>
                  <a:gd name="connsiteX196" fmla="*/ 6153150 w 8601075"/>
                  <a:gd name="connsiteY196" fmla="*/ 3781425 h 4333875"/>
                  <a:gd name="connsiteX197" fmla="*/ 6257925 w 8601075"/>
                  <a:gd name="connsiteY197" fmla="*/ 3581400 h 4333875"/>
                  <a:gd name="connsiteX198" fmla="*/ 6448425 w 8601075"/>
                  <a:gd name="connsiteY198" fmla="*/ 3448050 h 4333875"/>
                  <a:gd name="connsiteX199" fmla="*/ 6581775 w 8601075"/>
                  <a:gd name="connsiteY199" fmla="*/ 3276600 h 4333875"/>
                  <a:gd name="connsiteX200" fmla="*/ 6496050 w 8601075"/>
                  <a:gd name="connsiteY200" fmla="*/ 3228975 h 4333875"/>
                  <a:gd name="connsiteX201" fmla="*/ 6438900 w 8601075"/>
                  <a:gd name="connsiteY201" fmla="*/ 3162300 h 4333875"/>
                  <a:gd name="connsiteX202" fmla="*/ 6419850 w 8601075"/>
                  <a:gd name="connsiteY202" fmla="*/ 3105150 h 4333875"/>
                  <a:gd name="connsiteX203" fmla="*/ 6362700 w 8601075"/>
                  <a:gd name="connsiteY203" fmla="*/ 3076575 h 4333875"/>
                  <a:gd name="connsiteX204" fmla="*/ 6410325 w 8601075"/>
                  <a:gd name="connsiteY204" fmla="*/ 3019425 h 4333875"/>
                  <a:gd name="connsiteX205" fmla="*/ 6438900 w 8601075"/>
                  <a:gd name="connsiteY205" fmla="*/ 2819400 h 4333875"/>
                  <a:gd name="connsiteX206" fmla="*/ 6496050 w 8601075"/>
                  <a:gd name="connsiteY206" fmla="*/ 2762250 h 4333875"/>
                  <a:gd name="connsiteX207" fmla="*/ 6657975 w 8601075"/>
                  <a:gd name="connsiteY207" fmla="*/ 2752725 h 4333875"/>
                  <a:gd name="connsiteX208" fmla="*/ 6781800 w 8601075"/>
                  <a:gd name="connsiteY208" fmla="*/ 2838450 h 4333875"/>
                  <a:gd name="connsiteX209" fmla="*/ 7010400 w 8601075"/>
                  <a:gd name="connsiteY209" fmla="*/ 2838450 h 4333875"/>
                  <a:gd name="connsiteX210" fmla="*/ 7162800 w 8601075"/>
                  <a:gd name="connsiteY210" fmla="*/ 2705100 h 4333875"/>
                  <a:gd name="connsiteX211" fmla="*/ 7229475 w 8601075"/>
                  <a:gd name="connsiteY211" fmla="*/ 2590800 h 4333875"/>
                  <a:gd name="connsiteX212" fmla="*/ 7248525 w 8601075"/>
                  <a:gd name="connsiteY212" fmla="*/ 2524125 h 4333875"/>
                  <a:gd name="connsiteX213" fmla="*/ 7372350 w 8601075"/>
                  <a:gd name="connsiteY213" fmla="*/ 2543175 h 4333875"/>
                  <a:gd name="connsiteX214" fmla="*/ 7553325 w 8601075"/>
                  <a:gd name="connsiteY214" fmla="*/ 2447925 h 4333875"/>
                  <a:gd name="connsiteX215" fmla="*/ 7620000 w 8601075"/>
                  <a:gd name="connsiteY215" fmla="*/ 2324100 h 4333875"/>
                  <a:gd name="connsiteX216" fmla="*/ 7696200 w 8601075"/>
                  <a:gd name="connsiteY216" fmla="*/ 2314575 h 4333875"/>
                  <a:gd name="connsiteX217" fmla="*/ 7658100 w 8601075"/>
                  <a:gd name="connsiteY217" fmla="*/ 2257425 h 4333875"/>
                  <a:gd name="connsiteX218" fmla="*/ 7753350 w 8601075"/>
                  <a:gd name="connsiteY218" fmla="*/ 2057400 h 4333875"/>
                  <a:gd name="connsiteX219" fmla="*/ 7934325 w 8601075"/>
                  <a:gd name="connsiteY219" fmla="*/ 2028825 h 4333875"/>
                  <a:gd name="connsiteX220" fmla="*/ 7953375 w 8601075"/>
                  <a:gd name="connsiteY220" fmla="*/ 1952625 h 4333875"/>
                  <a:gd name="connsiteX221" fmla="*/ 7953375 w 8601075"/>
                  <a:gd name="connsiteY221" fmla="*/ 1952625 h 4333875"/>
                  <a:gd name="connsiteX222" fmla="*/ 8010525 w 8601075"/>
                  <a:gd name="connsiteY222" fmla="*/ 1895475 h 4333875"/>
                  <a:gd name="connsiteX223" fmla="*/ 8048625 w 8601075"/>
                  <a:gd name="connsiteY223" fmla="*/ 1971675 h 4333875"/>
                  <a:gd name="connsiteX224" fmla="*/ 8077200 w 8601075"/>
                  <a:gd name="connsiteY224" fmla="*/ 1885950 h 4333875"/>
                  <a:gd name="connsiteX225" fmla="*/ 8220075 w 8601075"/>
                  <a:gd name="connsiteY225" fmla="*/ 1847850 h 4333875"/>
                  <a:gd name="connsiteX226" fmla="*/ 8296275 w 8601075"/>
                  <a:gd name="connsiteY226" fmla="*/ 1809750 h 4333875"/>
                  <a:gd name="connsiteX227" fmla="*/ 8324850 w 8601075"/>
                  <a:gd name="connsiteY227" fmla="*/ 1790700 h 4333875"/>
                  <a:gd name="connsiteX228" fmla="*/ 8410575 w 8601075"/>
                  <a:gd name="connsiteY228" fmla="*/ 1847850 h 4333875"/>
                  <a:gd name="connsiteX229" fmla="*/ 8505825 w 8601075"/>
                  <a:gd name="connsiteY229" fmla="*/ 1781175 h 4333875"/>
                  <a:gd name="connsiteX230" fmla="*/ 8572500 w 8601075"/>
                  <a:gd name="connsiteY230" fmla="*/ 1809750 h 4333875"/>
                  <a:gd name="connsiteX231" fmla="*/ 8601075 w 8601075"/>
                  <a:gd name="connsiteY231" fmla="*/ 1704975 h 4333875"/>
                  <a:gd name="connsiteX232" fmla="*/ 8553450 w 8601075"/>
                  <a:gd name="connsiteY232" fmla="*/ 1676400 h 4333875"/>
                  <a:gd name="connsiteX233" fmla="*/ 8534400 w 8601075"/>
                  <a:gd name="connsiteY233" fmla="*/ 1609725 h 4333875"/>
                  <a:gd name="connsiteX234" fmla="*/ 8277225 w 8601075"/>
                  <a:gd name="connsiteY234" fmla="*/ 1409700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124825 w 8601075"/>
                  <a:gd name="connsiteY237" fmla="*/ 1352550 h 4333875"/>
                  <a:gd name="connsiteX238" fmla="*/ 7924800 w 8601075"/>
                  <a:gd name="connsiteY238" fmla="*/ 1362075 h 4333875"/>
                  <a:gd name="connsiteX239" fmla="*/ 7867650 w 8601075"/>
                  <a:gd name="connsiteY239" fmla="*/ 1457325 h 4333875"/>
                  <a:gd name="connsiteX240" fmla="*/ 7896225 w 8601075"/>
                  <a:gd name="connsiteY240" fmla="*/ 1476375 h 4333875"/>
                  <a:gd name="connsiteX241" fmla="*/ 7858125 w 8601075"/>
                  <a:gd name="connsiteY241" fmla="*/ 1533525 h 4333875"/>
                  <a:gd name="connsiteX242" fmla="*/ 7658100 w 8601075"/>
                  <a:gd name="connsiteY242" fmla="*/ 1447800 h 4333875"/>
                  <a:gd name="connsiteX243" fmla="*/ 7515225 w 8601075"/>
                  <a:gd name="connsiteY243" fmla="*/ 1495425 h 4333875"/>
                  <a:gd name="connsiteX244" fmla="*/ 7467600 w 8601075"/>
                  <a:gd name="connsiteY244" fmla="*/ 1581150 h 4333875"/>
                  <a:gd name="connsiteX245" fmla="*/ 7296150 w 8601075"/>
                  <a:gd name="connsiteY245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71525 w 8601075"/>
                  <a:gd name="connsiteY160" fmla="*/ 2571750 h 4333875"/>
                  <a:gd name="connsiteX161" fmla="*/ 866775 w 8601075"/>
                  <a:gd name="connsiteY161" fmla="*/ 2571750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66775 w 8601075"/>
                  <a:gd name="connsiteY161" fmla="*/ 2571750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38425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66800 w 8601075"/>
                  <a:gd name="connsiteY163" fmla="*/ 263842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85875 w 8601075"/>
                  <a:gd name="connsiteY164" fmla="*/ 2705100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85900 w 8601075"/>
                  <a:gd name="connsiteY166" fmla="*/ 2914650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57350 w 8601075"/>
                  <a:gd name="connsiteY167" fmla="*/ 3038475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52600 w 8601075"/>
                  <a:gd name="connsiteY168" fmla="*/ 3057525 h 4333875"/>
                  <a:gd name="connsiteX169" fmla="*/ 1724025 w 8601075"/>
                  <a:gd name="connsiteY169" fmla="*/ 3143250 h 4333875"/>
                  <a:gd name="connsiteX170" fmla="*/ 1724025 w 8601075"/>
                  <a:gd name="connsiteY170" fmla="*/ 3143250 h 4333875"/>
                  <a:gd name="connsiteX171" fmla="*/ 1781175 w 8601075"/>
                  <a:gd name="connsiteY171" fmla="*/ 3181350 h 4333875"/>
                  <a:gd name="connsiteX172" fmla="*/ 1819275 w 8601075"/>
                  <a:gd name="connsiteY172" fmla="*/ 3362325 h 4333875"/>
                  <a:gd name="connsiteX173" fmla="*/ 1828800 w 8601075"/>
                  <a:gd name="connsiteY173" fmla="*/ 3457575 h 4333875"/>
                  <a:gd name="connsiteX174" fmla="*/ 1971675 w 8601075"/>
                  <a:gd name="connsiteY174" fmla="*/ 3590925 h 4333875"/>
                  <a:gd name="connsiteX175" fmla="*/ 1990725 w 8601075"/>
                  <a:gd name="connsiteY175" fmla="*/ 3714750 h 4333875"/>
                  <a:gd name="connsiteX176" fmla="*/ 2200275 w 8601075"/>
                  <a:gd name="connsiteY176" fmla="*/ 3695700 h 4333875"/>
                  <a:gd name="connsiteX177" fmla="*/ 2886075 w 8601075"/>
                  <a:gd name="connsiteY177" fmla="*/ 3886200 h 4333875"/>
                  <a:gd name="connsiteX178" fmla="*/ 3038475 w 8601075"/>
                  <a:gd name="connsiteY178" fmla="*/ 3819525 h 4333875"/>
                  <a:gd name="connsiteX179" fmla="*/ 3105150 w 8601075"/>
                  <a:gd name="connsiteY179" fmla="*/ 3867150 h 4333875"/>
                  <a:gd name="connsiteX180" fmla="*/ 3181350 w 8601075"/>
                  <a:gd name="connsiteY180" fmla="*/ 3800475 h 4333875"/>
                  <a:gd name="connsiteX181" fmla="*/ 3590925 w 8601075"/>
                  <a:gd name="connsiteY181" fmla="*/ 3943350 h 4333875"/>
                  <a:gd name="connsiteX182" fmla="*/ 3686175 w 8601075"/>
                  <a:gd name="connsiteY182" fmla="*/ 4057650 h 4333875"/>
                  <a:gd name="connsiteX183" fmla="*/ 3838575 w 8601075"/>
                  <a:gd name="connsiteY183" fmla="*/ 4057650 h 4333875"/>
                  <a:gd name="connsiteX184" fmla="*/ 4162425 w 8601075"/>
                  <a:gd name="connsiteY184" fmla="*/ 4248150 h 4333875"/>
                  <a:gd name="connsiteX185" fmla="*/ 4391025 w 8601075"/>
                  <a:gd name="connsiteY185" fmla="*/ 4200525 h 4333875"/>
                  <a:gd name="connsiteX186" fmla="*/ 4410075 w 8601075"/>
                  <a:gd name="connsiteY186" fmla="*/ 4305300 h 4333875"/>
                  <a:gd name="connsiteX187" fmla="*/ 4505325 w 8601075"/>
                  <a:gd name="connsiteY187" fmla="*/ 4276725 h 4333875"/>
                  <a:gd name="connsiteX188" fmla="*/ 4572000 w 8601075"/>
                  <a:gd name="connsiteY188" fmla="*/ 4333875 h 4333875"/>
                  <a:gd name="connsiteX189" fmla="*/ 4591050 w 8601075"/>
                  <a:gd name="connsiteY189" fmla="*/ 4248150 h 4333875"/>
                  <a:gd name="connsiteX190" fmla="*/ 5295900 w 8601075"/>
                  <a:gd name="connsiteY190" fmla="*/ 3924300 h 4333875"/>
                  <a:gd name="connsiteX191" fmla="*/ 5353050 w 8601075"/>
                  <a:gd name="connsiteY191" fmla="*/ 3990975 h 4333875"/>
                  <a:gd name="connsiteX192" fmla="*/ 5524500 w 8601075"/>
                  <a:gd name="connsiteY192" fmla="*/ 3914775 h 4333875"/>
                  <a:gd name="connsiteX193" fmla="*/ 5667375 w 8601075"/>
                  <a:gd name="connsiteY193" fmla="*/ 3962400 h 4333875"/>
                  <a:gd name="connsiteX194" fmla="*/ 5753100 w 8601075"/>
                  <a:gd name="connsiteY194" fmla="*/ 3924300 h 4333875"/>
                  <a:gd name="connsiteX195" fmla="*/ 5905500 w 8601075"/>
                  <a:gd name="connsiteY195" fmla="*/ 3943350 h 4333875"/>
                  <a:gd name="connsiteX196" fmla="*/ 6000750 w 8601075"/>
                  <a:gd name="connsiteY196" fmla="*/ 3800475 h 4333875"/>
                  <a:gd name="connsiteX197" fmla="*/ 6153150 w 8601075"/>
                  <a:gd name="connsiteY197" fmla="*/ 3781425 h 4333875"/>
                  <a:gd name="connsiteX198" fmla="*/ 6257925 w 8601075"/>
                  <a:gd name="connsiteY198" fmla="*/ 3581400 h 4333875"/>
                  <a:gd name="connsiteX199" fmla="*/ 6448425 w 8601075"/>
                  <a:gd name="connsiteY199" fmla="*/ 3448050 h 4333875"/>
                  <a:gd name="connsiteX200" fmla="*/ 6581775 w 8601075"/>
                  <a:gd name="connsiteY200" fmla="*/ 3276600 h 4333875"/>
                  <a:gd name="connsiteX201" fmla="*/ 6496050 w 8601075"/>
                  <a:gd name="connsiteY201" fmla="*/ 3228975 h 4333875"/>
                  <a:gd name="connsiteX202" fmla="*/ 6438900 w 8601075"/>
                  <a:gd name="connsiteY202" fmla="*/ 3162300 h 4333875"/>
                  <a:gd name="connsiteX203" fmla="*/ 6419850 w 8601075"/>
                  <a:gd name="connsiteY203" fmla="*/ 3105150 h 4333875"/>
                  <a:gd name="connsiteX204" fmla="*/ 6362700 w 8601075"/>
                  <a:gd name="connsiteY204" fmla="*/ 3076575 h 4333875"/>
                  <a:gd name="connsiteX205" fmla="*/ 6410325 w 8601075"/>
                  <a:gd name="connsiteY205" fmla="*/ 3019425 h 4333875"/>
                  <a:gd name="connsiteX206" fmla="*/ 6438900 w 8601075"/>
                  <a:gd name="connsiteY206" fmla="*/ 2819400 h 4333875"/>
                  <a:gd name="connsiteX207" fmla="*/ 6496050 w 8601075"/>
                  <a:gd name="connsiteY207" fmla="*/ 2762250 h 4333875"/>
                  <a:gd name="connsiteX208" fmla="*/ 6657975 w 8601075"/>
                  <a:gd name="connsiteY208" fmla="*/ 2752725 h 4333875"/>
                  <a:gd name="connsiteX209" fmla="*/ 6781800 w 8601075"/>
                  <a:gd name="connsiteY209" fmla="*/ 2838450 h 4333875"/>
                  <a:gd name="connsiteX210" fmla="*/ 7010400 w 8601075"/>
                  <a:gd name="connsiteY210" fmla="*/ 2838450 h 4333875"/>
                  <a:gd name="connsiteX211" fmla="*/ 7162800 w 8601075"/>
                  <a:gd name="connsiteY211" fmla="*/ 2705100 h 4333875"/>
                  <a:gd name="connsiteX212" fmla="*/ 7229475 w 8601075"/>
                  <a:gd name="connsiteY212" fmla="*/ 2590800 h 4333875"/>
                  <a:gd name="connsiteX213" fmla="*/ 7248525 w 8601075"/>
                  <a:gd name="connsiteY213" fmla="*/ 2524125 h 4333875"/>
                  <a:gd name="connsiteX214" fmla="*/ 7372350 w 8601075"/>
                  <a:gd name="connsiteY214" fmla="*/ 2543175 h 4333875"/>
                  <a:gd name="connsiteX215" fmla="*/ 7553325 w 8601075"/>
                  <a:gd name="connsiteY215" fmla="*/ 2447925 h 4333875"/>
                  <a:gd name="connsiteX216" fmla="*/ 7620000 w 8601075"/>
                  <a:gd name="connsiteY216" fmla="*/ 2324100 h 4333875"/>
                  <a:gd name="connsiteX217" fmla="*/ 7696200 w 8601075"/>
                  <a:gd name="connsiteY217" fmla="*/ 2314575 h 4333875"/>
                  <a:gd name="connsiteX218" fmla="*/ 7658100 w 8601075"/>
                  <a:gd name="connsiteY218" fmla="*/ 2257425 h 4333875"/>
                  <a:gd name="connsiteX219" fmla="*/ 7753350 w 8601075"/>
                  <a:gd name="connsiteY219" fmla="*/ 2057400 h 4333875"/>
                  <a:gd name="connsiteX220" fmla="*/ 7934325 w 8601075"/>
                  <a:gd name="connsiteY220" fmla="*/ 2028825 h 4333875"/>
                  <a:gd name="connsiteX221" fmla="*/ 7953375 w 8601075"/>
                  <a:gd name="connsiteY221" fmla="*/ 1952625 h 4333875"/>
                  <a:gd name="connsiteX222" fmla="*/ 7953375 w 8601075"/>
                  <a:gd name="connsiteY222" fmla="*/ 1952625 h 4333875"/>
                  <a:gd name="connsiteX223" fmla="*/ 8010525 w 8601075"/>
                  <a:gd name="connsiteY223" fmla="*/ 1895475 h 4333875"/>
                  <a:gd name="connsiteX224" fmla="*/ 8048625 w 8601075"/>
                  <a:gd name="connsiteY224" fmla="*/ 1971675 h 4333875"/>
                  <a:gd name="connsiteX225" fmla="*/ 8077200 w 8601075"/>
                  <a:gd name="connsiteY225" fmla="*/ 1885950 h 4333875"/>
                  <a:gd name="connsiteX226" fmla="*/ 8220075 w 8601075"/>
                  <a:gd name="connsiteY226" fmla="*/ 1847850 h 4333875"/>
                  <a:gd name="connsiteX227" fmla="*/ 8296275 w 8601075"/>
                  <a:gd name="connsiteY227" fmla="*/ 1809750 h 4333875"/>
                  <a:gd name="connsiteX228" fmla="*/ 8324850 w 8601075"/>
                  <a:gd name="connsiteY228" fmla="*/ 1790700 h 4333875"/>
                  <a:gd name="connsiteX229" fmla="*/ 8410575 w 8601075"/>
                  <a:gd name="connsiteY229" fmla="*/ 1847850 h 4333875"/>
                  <a:gd name="connsiteX230" fmla="*/ 8505825 w 8601075"/>
                  <a:gd name="connsiteY230" fmla="*/ 1781175 h 4333875"/>
                  <a:gd name="connsiteX231" fmla="*/ 8572500 w 8601075"/>
                  <a:gd name="connsiteY231" fmla="*/ 1809750 h 4333875"/>
                  <a:gd name="connsiteX232" fmla="*/ 8601075 w 8601075"/>
                  <a:gd name="connsiteY232" fmla="*/ 1704975 h 4333875"/>
                  <a:gd name="connsiteX233" fmla="*/ 8553450 w 8601075"/>
                  <a:gd name="connsiteY233" fmla="*/ 1676400 h 4333875"/>
                  <a:gd name="connsiteX234" fmla="*/ 8534400 w 8601075"/>
                  <a:gd name="connsiteY234" fmla="*/ 1609725 h 4333875"/>
                  <a:gd name="connsiteX235" fmla="*/ 8277225 w 8601075"/>
                  <a:gd name="connsiteY235" fmla="*/ 1409700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124825 w 8601075"/>
                  <a:gd name="connsiteY238" fmla="*/ 1352550 h 4333875"/>
                  <a:gd name="connsiteX239" fmla="*/ 7924800 w 8601075"/>
                  <a:gd name="connsiteY239" fmla="*/ 1362075 h 4333875"/>
                  <a:gd name="connsiteX240" fmla="*/ 7867650 w 8601075"/>
                  <a:gd name="connsiteY240" fmla="*/ 1457325 h 4333875"/>
                  <a:gd name="connsiteX241" fmla="*/ 7896225 w 8601075"/>
                  <a:gd name="connsiteY241" fmla="*/ 1476375 h 4333875"/>
                  <a:gd name="connsiteX242" fmla="*/ 7858125 w 8601075"/>
                  <a:gd name="connsiteY242" fmla="*/ 1533525 h 4333875"/>
                  <a:gd name="connsiteX243" fmla="*/ 7658100 w 8601075"/>
                  <a:gd name="connsiteY243" fmla="*/ 1447800 h 4333875"/>
                  <a:gd name="connsiteX244" fmla="*/ 7515225 w 8601075"/>
                  <a:gd name="connsiteY244" fmla="*/ 1495425 h 4333875"/>
                  <a:gd name="connsiteX245" fmla="*/ 7467600 w 8601075"/>
                  <a:gd name="connsiteY245" fmla="*/ 1581150 h 4333875"/>
                  <a:gd name="connsiteX246" fmla="*/ 7296150 w 8601075"/>
                  <a:gd name="connsiteY246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52600 w 8601075"/>
                  <a:gd name="connsiteY169" fmla="*/ 3057525 h 4333875"/>
                  <a:gd name="connsiteX170" fmla="*/ 1724025 w 8601075"/>
                  <a:gd name="connsiteY170" fmla="*/ 3143250 h 4333875"/>
                  <a:gd name="connsiteX171" fmla="*/ 1724025 w 8601075"/>
                  <a:gd name="connsiteY171" fmla="*/ 3143250 h 4333875"/>
                  <a:gd name="connsiteX172" fmla="*/ 1781175 w 8601075"/>
                  <a:gd name="connsiteY172" fmla="*/ 3181350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24025 w 8601075"/>
                  <a:gd name="connsiteY170" fmla="*/ 3143250 h 4333875"/>
                  <a:gd name="connsiteX171" fmla="*/ 1724025 w 8601075"/>
                  <a:gd name="connsiteY171" fmla="*/ 3143250 h 4333875"/>
                  <a:gd name="connsiteX172" fmla="*/ 1781175 w 8601075"/>
                  <a:gd name="connsiteY172" fmla="*/ 3181350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4025 w 8601075"/>
                  <a:gd name="connsiteY172" fmla="*/ 3143250 h 4333875"/>
                  <a:gd name="connsiteX173" fmla="*/ 1781175 w 8601075"/>
                  <a:gd name="connsiteY173" fmla="*/ 3181350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8787 w 8601075"/>
                  <a:gd name="connsiteY172" fmla="*/ 3136107 h 4333875"/>
                  <a:gd name="connsiteX173" fmla="*/ 1781175 w 8601075"/>
                  <a:gd name="connsiteY173" fmla="*/ 3181350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28787 w 8601075"/>
                  <a:gd name="connsiteY172" fmla="*/ 3136107 h 4333875"/>
                  <a:gd name="connsiteX173" fmla="*/ 1776413 w 8601075"/>
                  <a:gd name="connsiteY173" fmla="*/ 3169444 h 4333875"/>
                  <a:gd name="connsiteX174" fmla="*/ 1819275 w 8601075"/>
                  <a:gd name="connsiteY174" fmla="*/ 3362325 h 4333875"/>
                  <a:gd name="connsiteX175" fmla="*/ 1828800 w 8601075"/>
                  <a:gd name="connsiteY175" fmla="*/ 3457575 h 4333875"/>
                  <a:gd name="connsiteX176" fmla="*/ 1971675 w 8601075"/>
                  <a:gd name="connsiteY176" fmla="*/ 3590925 h 4333875"/>
                  <a:gd name="connsiteX177" fmla="*/ 1990725 w 8601075"/>
                  <a:gd name="connsiteY177" fmla="*/ 3714750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19275 w 8601075"/>
                  <a:gd name="connsiteY173" fmla="*/ 3362325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71675 w 8601075"/>
                  <a:gd name="connsiteY175" fmla="*/ 3590925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90725 w 8601075"/>
                  <a:gd name="connsiteY176" fmla="*/ 371475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59769 w 8601075"/>
                  <a:gd name="connsiteY176" fmla="*/ 3695700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66913 w 8601075"/>
                  <a:gd name="connsiteY176" fmla="*/ 3705225 h 4333875"/>
                  <a:gd name="connsiteX177" fmla="*/ 2200275 w 8601075"/>
                  <a:gd name="connsiteY177" fmla="*/ 3695700 h 4333875"/>
                  <a:gd name="connsiteX178" fmla="*/ 2886075 w 8601075"/>
                  <a:gd name="connsiteY178" fmla="*/ 3886200 h 4333875"/>
                  <a:gd name="connsiteX179" fmla="*/ 3038475 w 8601075"/>
                  <a:gd name="connsiteY179" fmla="*/ 3819525 h 4333875"/>
                  <a:gd name="connsiteX180" fmla="*/ 3105150 w 8601075"/>
                  <a:gd name="connsiteY180" fmla="*/ 3867150 h 4333875"/>
                  <a:gd name="connsiteX181" fmla="*/ 3181350 w 8601075"/>
                  <a:gd name="connsiteY181" fmla="*/ 3800475 h 4333875"/>
                  <a:gd name="connsiteX182" fmla="*/ 3590925 w 8601075"/>
                  <a:gd name="connsiteY182" fmla="*/ 3943350 h 4333875"/>
                  <a:gd name="connsiteX183" fmla="*/ 3686175 w 8601075"/>
                  <a:gd name="connsiteY183" fmla="*/ 4057650 h 4333875"/>
                  <a:gd name="connsiteX184" fmla="*/ 3838575 w 8601075"/>
                  <a:gd name="connsiteY184" fmla="*/ 4057650 h 4333875"/>
                  <a:gd name="connsiteX185" fmla="*/ 4162425 w 8601075"/>
                  <a:gd name="connsiteY185" fmla="*/ 4248150 h 4333875"/>
                  <a:gd name="connsiteX186" fmla="*/ 4391025 w 8601075"/>
                  <a:gd name="connsiteY186" fmla="*/ 4200525 h 4333875"/>
                  <a:gd name="connsiteX187" fmla="*/ 4410075 w 8601075"/>
                  <a:gd name="connsiteY187" fmla="*/ 4305300 h 4333875"/>
                  <a:gd name="connsiteX188" fmla="*/ 4505325 w 8601075"/>
                  <a:gd name="connsiteY188" fmla="*/ 4276725 h 4333875"/>
                  <a:gd name="connsiteX189" fmla="*/ 4572000 w 8601075"/>
                  <a:gd name="connsiteY189" fmla="*/ 4333875 h 4333875"/>
                  <a:gd name="connsiteX190" fmla="*/ 4591050 w 8601075"/>
                  <a:gd name="connsiteY190" fmla="*/ 4248150 h 4333875"/>
                  <a:gd name="connsiteX191" fmla="*/ 5295900 w 8601075"/>
                  <a:gd name="connsiteY191" fmla="*/ 3924300 h 4333875"/>
                  <a:gd name="connsiteX192" fmla="*/ 5353050 w 8601075"/>
                  <a:gd name="connsiteY192" fmla="*/ 3990975 h 4333875"/>
                  <a:gd name="connsiteX193" fmla="*/ 5524500 w 8601075"/>
                  <a:gd name="connsiteY193" fmla="*/ 3914775 h 4333875"/>
                  <a:gd name="connsiteX194" fmla="*/ 5667375 w 8601075"/>
                  <a:gd name="connsiteY194" fmla="*/ 3962400 h 4333875"/>
                  <a:gd name="connsiteX195" fmla="*/ 5753100 w 8601075"/>
                  <a:gd name="connsiteY195" fmla="*/ 3924300 h 4333875"/>
                  <a:gd name="connsiteX196" fmla="*/ 5905500 w 8601075"/>
                  <a:gd name="connsiteY196" fmla="*/ 3943350 h 4333875"/>
                  <a:gd name="connsiteX197" fmla="*/ 6000750 w 8601075"/>
                  <a:gd name="connsiteY197" fmla="*/ 3800475 h 4333875"/>
                  <a:gd name="connsiteX198" fmla="*/ 6153150 w 8601075"/>
                  <a:gd name="connsiteY198" fmla="*/ 3781425 h 4333875"/>
                  <a:gd name="connsiteX199" fmla="*/ 6257925 w 8601075"/>
                  <a:gd name="connsiteY199" fmla="*/ 3581400 h 4333875"/>
                  <a:gd name="connsiteX200" fmla="*/ 6448425 w 8601075"/>
                  <a:gd name="connsiteY200" fmla="*/ 3448050 h 4333875"/>
                  <a:gd name="connsiteX201" fmla="*/ 6581775 w 8601075"/>
                  <a:gd name="connsiteY201" fmla="*/ 3276600 h 4333875"/>
                  <a:gd name="connsiteX202" fmla="*/ 6496050 w 8601075"/>
                  <a:gd name="connsiteY202" fmla="*/ 3228975 h 4333875"/>
                  <a:gd name="connsiteX203" fmla="*/ 6438900 w 8601075"/>
                  <a:gd name="connsiteY203" fmla="*/ 3162300 h 4333875"/>
                  <a:gd name="connsiteX204" fmla="*/ 6419850 w 8601075"/>
                  <a:gd name="connsiteY204" fmla="*/ 3105150 h 4333875"/>
                  <a:gd name="connsiteX205" fmla="*/ 6362700 w 8601075"/>
                  <a:gd name="connsiteY205" fmla="*/ 3076575 h 4333875"/>
                  <a:gd name="connsiteX206" fmla="*/ 6410325 w 8601075"/>
                  <a:gd name="connsiteY206" fmla="*/ 3019425 h 4333875"/>
                  <a:gd name="connsiteX207" fmla="*/ 6438900 w 8601075"/>
                  <a:gd name="connsiteY207" fmla="*/ 2819400 h 4333875"/>
                  <a:gd name="connsiteX208" fmla="*/ 6496050 w 8601075"/>
                  <a:gd name="connsiteY208" fmla="*/ 2762250 h 4333875"/>
                  <a:gd name="connsiteX209" fmla="*/ 6657975 w 8601075"/>
                  <a:gd name="connsiteY209" fmla="*/ 2752725 h 4333875"/>
                  <a:gd name="connsiteX210" fmla="*/ 6781800 w 8601075"/>
                  <a:gd name="connsiteY210" fmla="*/ 2838450 h 4333875"/>
                  <a:gd name="connsiteX211" fmla="*/ 7010400 w 8601075"/>
                  <a:gd name="connsiteY211" fmla="*/ 2838450 h 4333875"/>
                  <a:gd name="connsiteX212" fmla="*/ 7162800 w 8601075"/>
                  <a:gd name="connsiteY212" fmla="*/ 2705100 h 4333875"/>
                  <a:gd name="connsiteX213" fmla="*/ 7229475 w 8601075"/>
                  <a:gd name="connsiteY213" fmla="*/ 2590800 h 4333875"/>
                  <a:gd name="connsiteX214" fmla="*/ 7248525 w 8601075"/>
                  <a:gd name="connsiteY214" fmla="*/ 2524125 h 4333875"/>
                  <a:gd name="connsiteX215" fmla="*/ 7372350 w 8601075"/>
                  <a:gd name="connsiteY215" fmla="*/ 2543175 h 4333875"/>
                  <a:gd name="connsiteX216" fmla="*/ 7553325 w 8601075"/>
                  <a:gd name="connsiteY216" fmla="*/ 2447925 h 4333875"/>
                  <a:gd name="connsiteX217" fmla="*/ 7620000 w 8601075"/>
                  <a:gd name="connsiteY217" fmla="*/ 2324100 h 4333875"/>
                  <a:gd name="connsiteX218" fmla="*/ 7696200 w 8601075"/>
                  <a:gd name="connsiteY218" fmla="*/ 2314575 h 4333875"/>
                  <a:gd name="connsiteX219" fmla="*/ 7658100 w 8601075"/>
                  <a:gd name="connsiteY219" fmla="*/ 2257425 h 4333875"/>
                  <a:gd name="connsiteX220" fmla="*/ 7753350 w 8601075"/>
                  <a:gd name="connsiteY220" fmla="*/ 2057400 h 4333875"/>
                  <a:gd name="connsiteX221" fmla="*/ 7934325 w 8601075"/>
                  <a:gd name="connsiteY221" fmla="*/ 2028825 h 4333875"/>
                  <a:gd name="connsiteX222" fmla="*/ 7953375 w 8601075"/>
                  <a:gd name="connsiteY222" fmla="*/ 1952625 h 4333875"/>
                  <a:gd name="connsiteX223" fmla="*/ 7953375 w 8601075"/>
                  <a:gd name="connsiteY223" fmla="*/ 1952625 h 4333875"/>
                  <a:gd name="connsiteX224" fmla="*/ 8010525 w 8601075"/>
                  <a:gd name="connsiteY224" fmla="*/ 1895475 h 4333875"/>
                  <a:gd name="connsiteX225" fmla="*/ 8048625 w 8601075"/>
                  <a:gd name="connsiteY225" fmla="*/ 1971675 h 4333875"/>
                  <a:gd name="connsiteX226" fmla="*/ 8077200 w 8601075"/>
                  <a:gd name="connsiteY226" fmla="*/ 1885950 h 4333875"/>
                  <a:gd name="connsiteX227" fmla="*/ 8220075 w 8601075"/>
                  <a:gd name="connsiteY227" fmla="*/ 1847850 h 4333875"/>
                  <a:gd name="connsiteX228" fmla="*/ 8296275 w 8601075"/>
                  <a:gd name="connsiteY228" fmla="*/ 1809750 h 4333875"/>
                  <a:gd name="connsiteX229" fmla="*/ 8324850 w 8601075"/>
                  <a:gd name="connsiteY229" fmla="*/ 1790700 h 4333875"/>
                  <a:gd name="connsiteX230" fmla="*/ 8410575 w 8601075"/>
                  <a:gd name="connsiteY230" fmla="*/ 1847850 h 4333875"/>
                  <a:gd name="connsiteX231" fmla="*/ 8505825 w 8601075"/>
                  <a:gd name="connsiteY231" fmla="*/ 1781175 h 4333875"/>
                  <a:gd name="connsiteX232" fmla="*/ 8572500 w 8601075"/>
                  <a:gd name="connsiteY232" fmla="*/ 1809750 h 4333875"/>
                  <a:gd name="connsiteX233" fmla="*/ 8601075 w 8601075"/>
                  <a:gd name="connsiteY233" fmla="*/ 1704975 h 4333875"/>
                  <a:gd name="connsiteX234" fmla="*/ 8553450 w 8601075"/>
                  <a:gd name="connsiteY234" fmla="*/ 1676400 h 4333875"/>
                  <a:gd name="connsiteX235" fmla="*/ 8534400 w 8601075"/>
                  <a:gd name="connsiteY235" fmla="*/ 1609725 h 4333875"/>
                  <a:gd name="connsiteX236" fmla="*/ 8277225 w 8601075"/>
                  <a:gd name="connsiteY236" fmla="*/ 1409700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124825 w 8601075"/>
                  <a:gd name="connsiteY239" fmla="*/ 1352550 h 4333875"/>
                  <a:gd name="connsiteX240" fmla="*/ 7924800 w 8601075"/>
                  <a:gd name="connsiteY240" fmla="*/ 1362075 h 4333875"/>
                  <a:gd name="connsiteX241" fmla="*/ 7867650 w 8601075"/>
                  <a:gd name="connsiteY241" fmla="*/ 1457325 h 4333875"/>
                  <a:gd name="connsiteX242" fmla="*/ 7896225 w 8601075"/>
                  <a:gd name="connsiteY242" fmla="*/ 1476375 h 4333875"/>
                  <a:gd name="connsiteX243" fmla="*/ 7858125 w 8601075"/>
                  <a:gd name="connsiteY243" fmla="*/ 1533525 h 4333875"/>
                  <a:gd name="connsiteX244" fmla="*/ 7658100 w 8601075"/>
                  <a:gd name="connsiteY244" fmla="*/ 1447800 h 4333875"/>
                  <a:gd name="connsiteX245" fmla="*/ 7515225 w 8601075"/>
                  <a:gd name="connsiteY245" fmla="*/ 1495425 h 4333875"/>
                  <a:gd name="connsiteX246" fmla="*/ 7467600 w 8601075"/>
                  <a:gd name="connsiteY246" fmla="*/ 1581150 h 4333875"/>
                  <a:gd name="connsiteX247" fmla="*/ 7296150 w 8601075"/>
                  <a:gd name="connsiteY247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66913 w 8601075"/>
                  <a:gd name="connsiteY177" fmla="*/ 3705225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200275 w 8601075"/>
                  <a:gd name="connsiteY178" fmla="*/ 3695700 h 4333875"/>
                  <a:gd name="connsiteX179" fmla="*/ 2886075 w 8601075"/>
                  <a:gd name="connsiteY179" fmla="*/ 3886200 h 4333875"/>
                  <a:gd name="connsiteX180" fmla="*/ 3038475 w 8601075"/>
                  <a:gd name="connsiteY180" fmla="*/ 3819525 h 4333875"/>
                  <a:gd name="connsiteX181" fmla="*/ 3105150 w 8601075"/>
                  <a:gd name="connsiteY181" fmla="*/ 3867150 h 4333875"/>
                  <a:gd name="connsiteX182" fmla="*/ 3181350 w 8601075"/>
                  <a:gd name="connsiteY182" fmla="*/ 3800475 h 4333875"/>
                  <a:gd name="connsiteX183" fmla="*/ 3590925 w 8601075"/>
                  <a:gd name="connsiteY183" fmla="*/ 3943350 h 4333875"/>
                  <a:gd name="connsiteX184" fmla="*/ 3686175 w 8601075"/>
                  <a:gd name="connsiteY184" fmla="*/ 4057650 h 4333875"/>
                  <a:gd name="connsiteX185" fmla="*/ 3838575 w 8601075"/>
                  <a:gd name="connsiteY185" fmla="*/ 4057650 h 4333875"/>
                  <a:gd name="connsiteX186" fmla="*/ 4162425 w 8601075"/>
                  <a:gd name="connsiteY186" fmla="*/ 4248150 h 4333875"/>
                  <a:gd name="connsiteX187" fmla="*/ 4391025 w 8601075"/>
                  <a:gd name="connsiteY187" fmla="*/ 4200525 h 4333875"/>
                  <a:gd name="connsiteX188" fmla="*/ 4410075 w 8601075"/>
                  <a:gd name="connsiteY188" fmla="*/ 4305300 h 4333875"/>
                  <a:gd name="connsiteX189" fmla="*/ 4505325 w 8601075"/>
                  <a:gd name="connsiteY189" fmla="*/ 4276725 h 4333875"/>
                  <a:gd name="connsiteX190" fmla="*/ 4572000 w 8601075"/>
                  <a:gd name="connsiteY190" fmla="*/ 4333875 h 4333875"/>
                  <a:gd name="connsiteX191" fmla="*/ 4591050 w 8601075"/>
                  <a:gd name="connsiteY191" fmla="*/ 4248150 h 4333875"/>
                  <a:gd name="connsiteX192" fmla="*/ 5295900 w 8601075"/>
                  <a:gd name="connsiteY192" fmla="*/ 3924300 h 4333875"/>
                  <a:gd name="connsiteX193" fmla="*/ 5353050 w 8601075"/>
                  <a:gd name="connsiteY193" fmla="*/ 3990975 h 4333875"/>
                  <a:gd name="connsiteX194" fmla="*/ 5524500 w 8601075"/>
                  <a:gd name="connsiteY194" fmla="*/ 3914775 h 4333875"/>
                  <a:gd name="connsiteX195" fmla="*/ 5667375 w 8601075"/>
                  <a:gd name="connsiteY195" fmla="*/ 3962400 h 4333875"/>
                  <a:gd name="connsiteX196" fmla="*/ 5753100 w 8601075"/>
                  <a:gd name="connsiteY196" fmla="*/ 3924300 h 4333875"/>
                  <a:gd name="connsiteX197" fmla="*/ 5905500 w 8601075"/>
                  <a:gd name="connsiteY197" fmla="*/ 3943350 h 4333875"/>
                  <a:gd name="connsiteX198" fmla="*/ 6000750 w 8601075"/>
                  <a:gd name="connsiteY198" fmla="*/ 3800475 h 4333875"/>
                  <a:gd name="connsiteX199" fmla="*/ 6153150 w 8601075"/>
                  <a:gd name="connsiteY199" fmla="*/ 3781425 h 4333875"/>
                  <a:gd name="connsiteX200" fmla="*/ 6257925 w 8601075"/>
                  <a:gd name="connsiteY200" fmla="*/ 3581400 h 4333875"/>
                  <a:gd name="connsiteX201" fmla="*/ 6448425 w 8601075"/>
                  <a:gd name="connsiteY201" fmla="*/ 3448050 h 4333875"/>
                  <a:gd name="connsiteX202" fmla="*/ 6581775 w 8601075"/>
                  <a:gd name="connsiteY202" fmla="*/ 3276600 h 4333875"/>
                  <a:gd name="connsiteX203" fmla="*/ 6496050 w 8601075"/>
                  <a:gd name="connsiteY203" fmla="*/ 3228975 h 4333875"/>
                  <a:gd name="connsiteX204" fmla="*/ 6438900 w 8601075"/>
                  <a:gd name="connsiteY204" fmla="*/ 3162300 h 4333875"/>
                  <a:gd name="connsiteX205" fmla="*/ 6419850 w 8601075"/>
                  <a:gd name="connsiteY205" fmla="*/ 3105150 h 4333875"/>
                  <a:gd name="connsiteX206" fmla="*/ 6362700 w 8601075"/>
                  <a:gd name="connsiteY206" fmla="*/ 3076575 h 4333875"/>
                  <a:gd name="connsiteX207" fmla="*/ 6410325 w 8601075"/>
                  <a:gd name="connsiteY207" fmla="*/ 3019425 h 4333875"/>
                  <a:gd name="connsiteX208" fmla="*/ 6438900 w 8601075"/>
                  <a:gd name="connsiteY208" fmla="*/ 2819400 h 4333875"/>
                  <a:gd name="connsiteX209" fmla="*/ 6496050 w 8601075"/>
                  <a:gd name="connsiteY209" fmla="*/ 2762250 h 4333875"/>
                  <a:gd name="connsiteX210" fmla="*/ 6657975 w 8601075"/>
                  <a:gd name="connsiteY210" fmla="*/ 2752725 h 4333875"/>
                  <a:gd name="connsiteX211" fmla="*/ 6781800 w 8601075"/>
                  <a:gd name="connsiteY211" fmla="*/ 2838450 h 4333875"/>
                  <a:gd name="connsiteX212" fmla="*/ 7010400 w 8601075"/>
                  <a:gd name="connsiteY212" fmla="*/ 2838450 h 4333875"/>
                  <a:gd name="connsiteX213" fmla="*/ 7162800 w 8601075"/>
                  <a:gd name="connsiteY213" fmla="*/ 2705100 h 4333875"/>
                  <a:gd name="connsiteX214" fmla="*/ 7229475 w 8601075"/>
                  <a:gd name="connsiteY214" fmla="*/ 2590800 h 4333875"/>
                  <a:gd name="connsiteX215" fmla="*/ 7248525 w 8601075"/>
                  <a:gd name="connsiteY215" fmla="*/ 2524125 h 4333875"/>
                  <a:gd name="connsiteX216" fmla="*/ 7372350 w 8601075"/>
                  <a:gd name="connsiteY216" fmla="*/ 2543175 h 4333875"/>
                  <a:gd name="connsiteX217" fmla="*/ 7553325 w 8601075"/>
                  <a:gd name="connsiteY217" fmla="*/ 2447925 h 4333875"/>
                  <a:gd name="connsiteX218" fmla="*/ 7620000 w 8601075"/>
                  <a:gd name="connsiteY218" fmla="*/ 2324100 h 4333875"/>
                  <a:gd name="connsiteX219" fmla="*/ 7696200 w 8601075"/>
                  <a:gd name="connsiteY219" fmla="*/ 2314575 h 4333875"/>
                  <a:gd name="connsiteX220" fmla="*/ 7658100 w 8601075"/>
                  <a:gd name="connsiteY220" fmla="*/ 2257425 h 4333875"/>
                  <a:gd name="connsiteX221" fmla="*/ 7753350 w 8601075"/>
                  <a:gd name="connsiteY221" fmla="*/ 2057400 h 4333875"/>
                  <a:gd name="connsiteX222" fmla="*/ 7934325 w 8601075"/>
                  <a:gd name="connsiteY222" fmla="*/ 2028825 h 4333875"/>
                  <a:gd name="connsiteX223" fmla="*/ 7953375 w 8601075"/>
                  <a:gd name="connsiteY223" fmla="*/ 1952625 h 4333875"/>
                  <a:gd name="connsiteX224" fmla="*/ 7953375 w 8601075"/>
                  <a:gd name="connsiteY224" fmla="*/ 1952625 h 4333875"/>
                  <a:gd name="connsiteX225" fmla="*/ 8010525 w 8601075"/>
                  <a:gd name="connsiteY225" fmla="*/ 1895475 h 4333875"/>
                  <a:gd name="connsiteX226" fmla="*/ 8048625 w 8601075"/>
                  <a:gd name="connsiteY226" fmla="*/ 1971675 h 4333875"/>
                  <a:gd name="connsiteX227" fmla="*/ 8077200 w 8601075"/>
                  <a:gd name="connsiteY227" fmla="*/ 1885950 h 4333875"/>
                  <a:gd name="connsiteX228" fmla="*/ 8220075 w 8601075"/>
                  <a:gd name="connsiteY228" fmla="*/ 1847850 h 4333875"/>
                  <a:gd name="connsiteX229" fmla="*/ 8296275 w 8601075"/>
                  <a:gd name="connsiteY229" fmla="*/ 1809750 h 4333875"/>
                  <a:gd name="connsiteX230" fmla="*/ 8324850 w 8601075"/>
                  <a:gd name="connsiteY230" fmla="*/ 1790700 h 4333875"/>
                  <a:gd name="connsiteX231" fmla="*/ 8410575 w 8601075"/>
                  <a:gd name="connsiteY231" fmla="*/ 1847850 h 4333875"/>
                  <a:gd name="connsiteX232" fmla="*/ 8505825 w 8601075"/>
                  <a:gd name="connsiteY232" fmla="*/ 1781175 h 4333875"/>
                  <a:gd name="connsiteX233" fmla="*/ 8572500 w 8601075"/>
                  <a:gd name="connsiteY233" fmla="*/ 1809750 h 4333875"/>
                  <a:gd name="connsiteX234" fmla="*/ 8601075 w 8601075"/>
                  <a:gd name="connsiteY234" fmla="*/ 1704975 h 4333875"/>
                  <a:gd name="connsiteX235" fmla="*/ 8553450 w 8601075"/>
                  <a:gd name="connsiteY235" fmla="*/ 1676400 h 4333875"/>
                  <a:gd name="connsiteX236" fmla="*/ 8534400 w 8601075"/>
                  <a:gd name="connsiteY236" fmla="*/ 1609725 h 4333875"/>
                  <a:gd name="connsiteX237" fmla="*/ 8277225 w 8601075"/>
                  <a:gd name="connsiteY237" fmla="*/ 1409700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124825 w 8601075"/>
                  <a:gd name="connsiteY240" fmla="*/ 1352550 h 4333875"/>
                  <a:gd name="connsiteX241" fmla="*/ 7924800 w 8601075"/>
                  <a:gd name="connsiteY241" fmla="*/ 1362075 h 4333875"/>
                  <a:gd name="connsiteX242" fmla="*/ 7867650 w 8601075"/>
                  <a:gd name="connsiteY242" fmla="*/ 1457325 h 4333875"/>
                  <a:gd name="connsiteX243" fmla="*/ 7896225 w 8601075"/>
                  <a:gd name="connsiteY243" fmla="*/ 1476375 h 4333875"/>
                  <a:gd name="connsiteX244" fmla="*/ 7858125 w 8601075"/>
                  <a:gd name="connsiteY244" fmla="*/ 1533525 h 4333875"/>
                  <a:gd name="connsiteX245" fmla="*/ 7658100 w 8601075"/>
                  <a:gd name="connsiteY245" fmla="*/ 1447800 h 4333875"/>
                  <a:gd name="connsiteX246" fmla="*/ 7515225 w 8601075"/>
                  <a:gd name="connsiteY246" fmla="*/ 1495425 h 4333875"/>
                  <a:gd name="connsiteX247" fmla="*/ 7467600 w 8601075"/>
                  <a:gd name="connsiteY247" fmla="*/ 1581150 h 4333875"/>
                  <a:gd name="connsiteX248" fmla="*/ 7296150 w 8601075"/>
                  <a:gd name="connsiteY248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200275 w 8601075"/>
                  <a:gd name="connsiteY179" fmla="*/ 3695700 h 4333875"/>
                  <a:gd name="connsiteX180" fmla="*/ 2886075 w 8601075"/>
                  <a:gd name="connsiteY180" fmla="*/ 3886200 h 4333875"/>
                  <a:gd name="connsiteX181" fmla="*/ 3038475 w 8601075"/>
                  <a:gd name="connsiteY181" fmla="*/ 3819525 h 4333875"/>
                  <a:gd name="connsiteX182" fmla="*/ 3105150 w 8601075"/>
                  <a:gd name="connsiteY182" fmla="*/ 3867150 h 4333875"/>
                  <a:gd name="connsiteX183" fmla="*/ 3181350 w 8601075"/>
                  <a:gd name="connsiteY183" fmla="*/ 3800475 h 4333875"/>
                  <a:gd name="connsiteX184" fmla="*/ 3590925 w 8601075"/>
                  <a:gd name="connsiteY184" fmla="*/ 3943350 h 4333875"/>
                  <a:gd name="connsiteX185" fmla="*/ 3686175 w 8601075"/>
                  <a:gd name="connsiteY185" fmla="*/ 4057650 h 4333875"/>
                  <a:gd name="connsiteX186" fmla="*/ 3838575 w 8601075"/>
                  <a:gd name="connsiteY186" fmla="*/ 4057650 h 4333875"/>
                  <a:gd name="connsiteX187" fmla="*/ 4162425 w 8601075"/>
                  <a:gd name="connsiteY187" fmla="*/ 4248150 h 4333875"/>
                  <a:gd name="connsiteX188" fmla="*/ 4391025 w 8601075"/>
                  <a:gd name="connsiteY188" fmla="*/ 4200525 h 4333875"/>
                  <a:gd name="connsiteX189" fmla="*/ 4410075 w 8601075"/>
                  <a:gd name="connsiteY189" fmla="*/ 4305300 h 4333875"/>
                  <a:gd name="connsiteX190" fmla="*/ 4505325 w 8601075"/>
                  <a:gd name="connsiteY190" fmla="*/ 4276725 h 4333875"/>
                  <a:gd name="connsiteX191" fmla="*/ 4572000 w 8601075"/>
                  <a:gd name="connsiteY191" fmla="*/ 4333875 h 4333875"/>
                  <a:gd name="connsiteX192" fmla="*/ 4591050 w 8601075"/>
                  <a:gd name="connsiteY192" fmla="*/ 4248150 h 4333875"/>
                  <a:gd name="connsiteX193" fmla="*/ 5295900 w 8601075"/>
                  <a:gd name="connsiteY193" fmla="*/ 3924300 h 4333875"/>
                  <a:gd name="connsiteX194" fmla="*/ 5353050 w 8601075"/>
                  <a:gd name="connsiteY194" fmla="*/ 3990975 h 4333875"/>
                  <a:gd name="connsiteX195" fmla="*/ 5524500 w 8601075"/>
                  <a:gd name="connsiteY195" fmla="*/ 3914775 h 4333875"/>
                  <a:gd name="connsiteX196" fmla="*/ 5667375 w 8601075"/>
                  <a:gd name="connsiteY196" fmla="*/ 3962400 h 4333875"/>
                  <a:gd name="connsiteX197" fmla="*/ 5753100 w 8601075"/>
                  <a:gd name="connsiteY197" fmla="*/ 3924300 h 4333875"/>
                  <a:gd name="connsiteX198" fmla="*/ 5905500 w 8601075"/>
                  <a:gd name="connsiteY198" fmla="*/ 3943350 h 4333875"/>
                  <a:gd name="connsiteX199" fmla="*/ 6000750 w 8601075"/>
                  <a:gd name="connsiteY199" fmla="*/ 3800475 h 4333875"/>
                  <a:gd name="connsiteX200" fmla="*/ 6153150 w 8601075"/>
                  <a:gd name="connsiteY200" fmla="*/ 3781425 h 4333875"/>
                  <a:gd name="connsiteX201" fmla="*/ 6257925 w 8601075"/>
                  <a:gd name="connsiteY201" fmla="*/ 3581400 h 4333875"/>
                  <a:gd name="connsiteX202" fmla="*/ 6448425 w 8601075"/>
                  <a:gd name="connsiteY202" fmla="*/ 3448050 h 4333875"/>
                  <a:gd name="connsiteX203" fmla="*/ 6581775 w 8601075"/>
                  <a:gd name="connsiteY203" fmla="*/ 3276600 h 4333875"/>
                  <a:gd name="connsiteX204" fmla="*/ 6496050 w 8601075"/>
                  <a:gd name="connsiteY204" fmla="*/ 3228975 h 4333875"/>
                  <a:gd name="connsiteX205" fmla="*/ 6438900 w 8601075"/>
                  <a:gd name="connsiteY205" fmla="*/ 3162300 h 4333875"/>
                  <a:gd name="connsiteX206" fmla="*/ 6419850 w 8601075"/>
                  <a:gd name="connsiteY206" fmla="*/ 3105150 h 4333875"/>
                  <a:gd name="connsiteX207" fmla="*/ 6362700 w 8601075"/>
                  <a:gd name="connsiteY207" fmla="*/ 3076575 h 4333875"/>
                  <a:gd name="connsiteX208" fmla="*/ 6410325 w 8601075"/>
                  <a:gd name="connsiteY208" fmla="*/ 3019425 h 4333875"/>
                  <a:gd name="connsiteX209" fmla="*/ 6438900 w 8601075"/>
                  <a:gd name="connsiteY209" fmla="*/ 2819400 h 4333875"/>
                  <a:gd name="connsiteX210" fmla="*/ 6496050 w 8601075"/>
                  <a:gd name="connsiteY210" fmla="*/ 2762250 h 4333875"/>
                  <a:gd name="connsiteX211" fmla="*/ 6657975 w 8601075"/>
                  <a:gd name="connsiteY211" fmla="*/ 2752725 h 4333875"/>
                  <a:gd name="connsiteX212" fmla="*/ 6781800 w 8601075"/>
                  <a:gd name="connsiteY212" fmla="*/ 2838450 h 4333875"/>
                  <a:gd name="connsiteX213" fmla="*/ 7010400 w 8601075"/>
                  <a:gd name="connsiteY213" fmla="*/ 2838450 h 4333875"/>
                  <a:gd name="connsiteX214" fmla="*/ 7162800 w 8601075"/>
                  <a:gd name="connsiteY214" fmla="*/ 2705100 h 4333875"/>
                  <a:gd name="connsiteX215" fmla="*/ 7229475 w 8601075"/>
                  <a:gd name="connsiteY215" fmla="*/ 2590800 h 4333875"/>
                  <a:gd name="connsiteX216" fmla="*/ 7248525 w 8601075"/>
                  <a:gd name="connsiteY216" fmla="*/ 2524125 h 4333875"/>
                  <a:gd name="connsiteX217" fmla="*/ 7372350 w 8601075"/>
                  <a:gd name="connsiteY217" fmla="*/ 2543175 h 4333875"/>
                  <a:gd name="connsiteX218" fmla="*/ 7553325 w 8601075"/>
                  <a:gd name="connsiteY218" fmla="*/ 2447925 h 4333875"/>
                  <a:gd name="connsiteX219" fmla="*/ 7620000 w 8601075"/>
                  <a:gd name="connsiteY219" fmla="*/ 2324100 h 4333875"/>
                  <a:gd name="connsiteX220" fmla="*/ 7696200 w 8601075"/>
                  <a:gd name="connsiteY220" fmla="*/ 2314575 h 4333875"/>
                  <a:gd name="connsiteX221" fmla="*/ 7658100 w 8601075"/>
                  <a:gd name="connsiteY221" fmla="*/ 2257425 h 4333875"/>
                  <a:gd name="connsiteX222" fmla="*/ 7753350 w 8601075"/>
                  <a:gd name="connsiteY222" fmla="*/ 2057400 h 4333875"/>
                  <a:gd name="connsiteX223" fmla="*/ 7934325 w 8601075"/>
                  <a:gd name="connsiteY223" fmla="*/ 2028825 h 4333875"/>
                  <a:gd name="connsiteX224" fmla="*/ 7953375 w 8601075"/>
                  <a:gd name="connsiteY224" fmla="*/ 1952625 h 4333875"/>
                  <a:gd name="connsiteX225" fmla="*/ 7953375 w 8601075"/>
                  <a:gd name="connsiteY225" fmla="*/ 1952625 h 4333875"/>
                  <a:gd name="connsiteX226" fmla="*/ 8010525 w 8601075"/>
                  <a:gd name="connsiteY226" fmla="*/ 1895475 h 4333875"/>
                  <a:gd name="connsiteX227" fmla="*/ 8048625 w 8601075"/>
                  <a:gd name="connsiteY227" fmla="*/ 1971675 h 4333875"/>
                  <a:gd name="connsiteX228" fmla="*/ 8077200 w 8601075"/>
                  <a:gd name="connsiteY228" fmla="*/ 1885950 h 4333875"/>
                  <a:gd name="connsiteX229" fmla="*/ 8220075 w 8601075"/>
                  <a:gd name="connsiteY229" fmla="*/ 1847850 h 4333875"/>
                  <a:gd name="connsiteX230" fmla="*/ 8296275 w 8601075"/>
                  <a:gd name="connsiteY230" fmla="*/ 1809750 h 4333875"/>
                  <a:gd name="connsiteX231" fmla="*/ 8324850 w 8601075"/>
                  <a:gd name="connsiteY231" fmla="*/ 1790700 h 4333875"/>
                  <a:gd name="connsiteX232" fmla="*/ 8410575 w 8601075"/>
                  <a:gd name="connsiteY232" fmla="*/ 1847850 h 4333875"/>
                  <a:gd name="connsiteX233" fmla="*/ 8505825 w 8601075"/>
                  <a:gd name="connsiteY233" fmla="*/ 1781175 h 4333875"/>
                  <a:gd name="connsiteX234" fmla="*/ 8572500 w 8601075"/>
                  <a:gd name="connsiteY234" fmla="*/ 1809750 h 4333875"/>
                  <a:gd name="connsiteX235" fmla="*/ 8601075 w 8601075"/>
                  <a:gd name="connsiteY235" fmla="*/ 1704975 h 4333875"/>
                  <a:gd name="connsiteX236" fmla="*/ 8553450 w 8601075"/>
                  <a:gd name="connsiteY236" fmla="*/ 1676400 h 4333875"/>
                  <a:gd name="connsiteX237" fmla="*/ 8534400 w 8601075"/>
                  <a:gd name="connsiteY237" fmla="*/ 1609725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124825 w 8601075"/>
                  <a:gd name="connsiteY241" fmla="*/ 1352550 h 4333875"/>
                  <a:gd name="connsiteX242" fmla="*/ 7924800 w 8601075"/>
                  <a:gd name="connsiteY242" fmla="*/ 1362075 h 4333875"/>
                  <a:gd name="connsiteX243" fmla="*/ 7867650 w 8601075"/>
                  <a:gd name="connsiteY243" fmla="*/ 1457325 h 4333875"/>
                  <a:gd name="connsiteX244" fmla="*/ 7896225 w 8601075"/>
                  <a:gd name="connsiteY244" fmla="*/ 1476375 h 4333875"/>
                  <a:gd name="connsiteX245" fmla="*/ 7858125 w 8601075"/>
                  <a:gd name="connsiteY245" fmla="*/ 1533525 h 4333875"/>
                  <a:gd name="connsiteX246" fmla="*/ 7658100 w 8601075"/>
                  <a:gd name="connsiteY246" fmla="*/ 1447800 h 4333875"/>
                  <a:gd name="connsiteX247" fmla="*/ 7515225 w 8601075"/>
                  <a:gd name="connsiteY247" fmla="*/ 1495425 h 4333875"/>
                  <a:gd name="connsiteX248" fmla="*/ 7467600 w 8601075"/>
                  <a:gd name="connsiteY248" fmla="*/ 1581150 h 4333875"/>
                  <a:gd name="connsiteX249" fmla="*/ 7296150 w 8601075"/>
                  <a:gd name="connsiteY24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886075 w 8601075"/>
                  <a:gd name="connsiteY180" fmla="*/ 3886200 h 4333875"/>
                  <a:gd name="connsiteX181" fmla="*/ 3038475 w 8601075"/>
                  <a:gd name="connsiteY181" fmla="*/ 3819525 h 4333875"/>
                  <a:gd name="connsiteX182" fmla="*/ 3105150 w 8601075"/>
                  <a:gd name="connsiteY182" fmla="*/ 3867150 h 4333875"/>
                  <a:gd name="connsiteX183" fmla="*/ 3181350 w 8601075"/>
                  <a:gd name="connsiteY183" fmla="*/ 3800475 h 4333875"/>
                  <a:gd name="connsiteX184" fmla="*/ 3590925 w 8601075"/>
                  <a:gd name="connsiteY184" fmla="*/ 3943350 h 4333875"/>
                  <a:gd name="connsiteX185" fmla="*/ 3686175 w 8601075"/>
                  <a:gd name="connsiteY185" fmla="*/ 4057650 h 4333875"/>
                  <a:gd name="connsiteX186" fmla="*/ 3838575 w 8601075"/>
                  <a:gd name="connsiteY186" fmla="*/ 4057650 h 4333875"/>
                  <a:gd name="connsiteX187" fmla="*/ 4162425 w 8601075"/>
                  <a:gd name="connsiteY187" fmla="*/ 4248150 h 4333875"/>
                  <a:gd name="connsiteX188" fmla="*/ 4391025 w 8601075"/>
                  <a:gd name="connsiteY188" fmla="*/ 4200525 h 4333875"/>
                  <a:gd name="connsiteX189" fmla="*/ 4410075 w 8601075"/>
                  <a:gd name="connsiteY189" fmla="*/ 4305300 h 4333875"/>
                  <a:gd name="connsiteX190" fmla="*/ 4505325 w 8601075"/>
                  <a:gd name="connsiteY190" fmla="*/ 4276725 h 4333875"/>
                  <a:gd name="connsiteX191" fmla="*/ 4572000 w 8601075"/>
                  <a:gd name="connsiteY191" fmla="*/ 4333875 h 4333875"/>
                  <a:gd name="connsiteX192" fmla="*/ 4591050 w 8601075"/>
                  <a:gd name="connsiteY192" fmla="*/ 4248150 h 4333875"/>
                  <a:gd name="connsiteX193" fmla="*/ 5295900 w 8601075"/>
                  <a:gd name="connsiteY193" fmla="*/ 3924300 h 4333875"/>
                  <a:gd name="connsiteX194" fmla="*/ 5353050 w 8601075"/>
                  <a:gd name="connsiteY194" fmla="*/ 3990975 h 4333875"/>
                  <a:gd name="connsiteX195" fmla="*/ 5524500 w 8601075"/>
                  <a:gd name="connsiteY195" fmla="*/ 3914775 h 4333875"/>
                  <a:gd name="connsiteX196" fmla="*/ 5667375 w 8601075"/>
                  <a:gd name="connsiteY196" fmla="*/ 3962400 h 4333875"/>
                  <a:gd name="connsiteX197" fmla="*/ 5753100 w 8601075"/>
                  <a:gd name="connsiteY197" fmla="*/ 3924300 h 4333875"/>
                  <a:gd name="connsiteX198" fmla="*/ 5905500 w 8601075"/>
                  <a:gd name="connsiteY198" fmla="*/ 3943350 h 4333875"/>
                  <a:gd name="connsiteX199" fmla="*/ 6000750 w 8601075"/>
                  <a:gd name="connsiteY199" fmla="*/ 3800475 h 4333875"/>
                  <a:gd name="connsiteX200" fmla="*/ 6153150 w 8601075"/>
                  <a:gd name="connsiteY200" fmla="*/ 3781425 h 4333875"/>
                  <a:gd name="connsiteX201" fmla="*/ 6257925 w 8601075"/>
                  <a:gd name="connsiteY201" fmla="*/ 3581400 h 4333875"/>
                  <a:gd name="connsiteX202" fmla="*/ 6448425 w 8601075"/>
                  <a:gd name="connsiteY202" fmla="*/ 3448050 h 4333875"/>
                  <a:gd name="connsiteX203" fmla="*/ 6581775 w 8601075"/>
                  <a:gd name="connsiteY203" fmla="*/ 3276600 h 4333875"/>
                  <a:gd name="connsiteX204" fmla="*/ 6496050 w 8601075"/>
                  <a:gd name="connsiteY204" fmla="*/ 3228975 h 4333875"/>
                  <a:gd name="connsiteX205" fmla="*/ 6438900 w 8601075"/>
                  <a:gd name="connsiteY205" fmla="*/ 3162300 h 4333875"/>
                  <a:gd name="connsiteX206" fmla="*/ 6419850 w 8601075"/>
                  <a:gd name="connsiteY206" fmla="*/ 3105150 h 4333875"/>
                  <a:gd name="connsiteX207" fmla="*/ 6362700 w 8601075"/>
                  <a:gd name="connsiteY207" fmla="*/ 3076575 h 4333875"/>
                  <a:gd name="connsiteX208" fmla="*/ 6410325 w 8601075"/>
                  <a:gd name="connsiteY208" fmla="*/ 3019425 h 4333875"/>
                  <a:gd name="connsiteX209" fmla="*/ 6438900 w 8601075"/>
                  <a:gd name="connsiteY209" fmla="*/ 2819400 h 4333875"/>
                  <a:gd name="connsiteX210" fmla="*/ 6496050 w 8601075"/>
                  <a:gd name="connsiteY210" fmla="*/ 2762250 h 4333875"/>
                  <a:gd name="connsiteX211" fmla="*/ 6657975 w 8601075"/>
                  <a:gd name="connsiteY211" fmla="*/ 2752725 h 4333875"/>
                  <a:gd name="connsiteX212" fmla="*/ 6781800 w 8601075"/>
                  <a:gd name="connsiteY212" fmla="*/ 2838450 h 4333875"/>
                  <a:gd name="connsiteX213" fmla="*/ 7010400 w 8601075"/>
                  <a:gd name="connsiteY213" fmla="*/ 2838450 h 4333875"/>
                  <a:gd name="connsiteX214" fmla="*/ 7162800 w 8601075"/>
                  <a:gd name="connsiteY214" fmla="*/ 2705100 h 4333875"/>
                  <a:gd name="connsiteX215" fmla="*/ 7229475 w 8601075"/>
                  <a:gd name="connsiteY215" fmla="*/ 2590800 h 4333875"/>
                  <a:gd name="connsiteX216" fmla="*/ 7248525 w 8601075"/>
                  <a:gd name="connsiteY216" fmla="*/ 2524125 h 4333875"/>
                  <a:gd name="connsiteX217" fmla="*/ 7372350 w 8601075"/>
                  <a:gd name="connsiteY217" fmla="*/ 2543175 h 4333875"/>
                  <a:gd name="connsiteX218" fmla="*/ 7553325 w 8601075"/>
                  <a:gd name="connsiteY218" fmla="*/ 2447925 h 4333875"/>
                  <a:gd name="connsiteX219" fmla="*/ 7620000 w 8601075"/>
                  <a:gd name="connsiteY219" fmla="*/ 2324100 h 4333875"/>
                  <a:gd name="connsiteX220" fmla="*/ 7696200 w 8601075"/>
                  <a:gd name="connsiteY220" fmla="*/ 2314575 h 4333875"/>
                  <a:gd name="connsiteX221" fmla="*/ 7658100 w 8601075"/>
                  <a:gd name="connsiteY221" fmla="*/ 2257425 h 4333875"/>
                  <a:gd name="connsiteX222" fmla="*/ 7753350 w 8601075"/>
                  <a:gd name="connsiteY222" fmla="*/ 2057400 h 4333875"/>
                  <a:gd name="connsiteX223" fmla="*/ 7934325 w 8601075"/>
                  <a:gd name="connsiteY223" fmla="*/ 2028825 h 4333875"/>
                  <a:gd name="connsiteX224" fmla="*/ 7953375 w 8601075"/>
                  <a:gd name="connsiteY224" fmla="*/ 1952625 h 4333875"/>
                  <a:gd name="connsiteX225" fmla="*/ 7953375 w 8601075"/>
                  <a:gd name="connsiteY225" fmla="*/ 1952625 h 4333875"/>
                  <a:gd name="connsiteX226" fmla="*/ 8010525 w 8601075"/>
                  <a:gd name="connsiteY226" fmla="*/ 1895475 h 4333875"/>
                  <a:gd name="connsiteX227" fmla="*/ 8048625 w 8601075"/>
                  <a:gd name="connsiteY227" fmla="*/ 1971675 h 4333875"/>
                  <a:gd name="connsiteX228" fmla="*/ 8077200 w 8601075"/>
                  <a:gd name="connsiteY228" fmla="*/ 1885950 h 4333875"/>
                  <a:gd name="connsiteX229" fmla="*/ 8220075 w 8601075"/>
                  <a:gd name="connsiteY229" fmla="*/ 1847850 h 4333875"/>
                  <a:gd name="connsiteX230" fmla="*/ 8296275 w 8601075"/>
                  <a:gd name="connsiteY230" fmla="*/ 1809750 h 4333875"/>
                  <a:gd name="connsiteX231" fmla="*/ 8324850 w 8601075"/>
                  <a:gd name="connsiteY231" fmla="*/ 1790700 h 4333875"/>
                  <a:gd name="connsiteX232" fmla="*/ 8410575 w 8601075"/>
                  <a:gd name="connsiteY232" fmla="*/ 1847850 h 4333875"/>
                  <a:gd name="connsiteX233" fmla="*/ 8505825 w 8601075"/>
                  <a:gd name="connsiteY233" fmla="*/ 1781175 h 4333875"/>
                  <a:gd name="connsiteX234" fmla="*/ 8572500 w 8601075"/>
                  <a:gd name="connsiteY234" fmla="*/ 1809750 h 4333875"/>
                  <a:gd name="connsiteX235" fmla="*/ 8601075 w 8601075"/>
                  <a:gd name="connsiteY235" fmla="*/ 1704975 h 4333875"/>
                  <a:gd name="connsiteX236" fmla="*/ 8553450 w 8601075"/>
                  <a:gd name="connsiteY236" fmla="*/ 1676400 h 4333875"/>
                  <a:gd name="connsiteX237" fmla="*/ 8534400 w 8601075"/>
                  <a:gd name="connsiteY237" fmla="*/ 1609725 h 4333875"/>
                  <a:gd name="connsiteX238" fmla="*/ 8277225 w 8601075"/>
                  <a:gd name="connsiteY238" fmla="*/ 1409700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124825 w 8601075"/>
                  <a:gd name="connsiteY241" fmla="*/ 1352550 h 4333875"/>
                  <a:gd name="connsiteX242" fmla="*/ 7924800 w 8601075"/>
                  <a:gd name="connsiteY242" fmla="*/ 1362075 h 4333875"/>
                  <a:gd name="connsiteX243" fmla="*/ 7867650 w 8601075"/>
                  <a:gd name="connsiteY243" fmla="*/ 1457325 h 4333875"/>
                  <a:gd name="connsiteX244" fmla="*/ 7896225 w 8601075"/>
                  <a:gd name="connsiteY244" fmla="*/ 1476375 h 4333875"/>
                  <a:gd name="connsiteX245" fmla="*/ 7858125 w 8601075"/>
                  <a:gd name="connsiteY245" fmla="*/ 1533525 h 4333875"/>
                  <a:gd name="connsiteX246" fmla="*/ 7658100 w 8601075"/>
                  <a:gd name="connsiteY246" fmla="*/ 1447800 h 4333875"/>
                  <a:gd name="connsiteX247" fmla="*/ 7515225 w 8601075"/>
                  <a:gd name="connsiteY247" fmla="*/ 1495425 h 4333875"/>
                  <a:gd name="connsiteX248" fmla="*/ 7467600 w 8601075"/>
                  <a:gd name="connsiteY248" fmla="*/ 1581150 h 4333875"/>
                  <a:gd name="connsiteX249" fmla="*/ 7296150 w 8601075"/>
                  <a:gd name="connsiteY249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86075 w 8601075"/>
                  <a:gd name="connsiteY181" fmla="*/ 3886200 h 4333875"/>
                  <a:gd name="connsiteX182" fmla="*/ 3038475 w 8601075"/>
                  <a:gd name="connsiteY182" fmla="*/ 3819525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38475 w 8601075"/>
                  <a:gd name="connsiteY182" fmla="*/ 3819525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5150 w 8601075"/>
                  <a:gd name="connsiteY183" fmla="*/ 3867150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81350 w 8601075"/>
                  <a:gd name="connsiteY184" fmla="*/ 3800475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90925 w 8601075"/>
                  <a:gd name="connsiteY185" fmla="*/ 3943350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86175 w 8601075"/>
                  <a:gd name="connsiteY186" fmla="*/ 405765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838575 w 8601075"/>
                  <a:gd name="connsiteY187" fmla="*/ 4057650 h 4333875"/>
                  <a:gd name="connsiteX188" fmla="*/ 4162425 w 8601075"/>
                  <a:gd name="connsiteY188" fmla="*/ 4248150 h 4333875"/>
                  <a:gd name="connsiteX189" fmla="*/ 4391025 w 8601075"/>
                  <a:gd name="connsiteY189" fmla="*/ 4200525 h 4333875"/>
                  <a:gd name="connsiteX190" fmla="*/ 4410075 w 8601075"/>
                  <a:gd name="connsiteY190" fmla="*/ 4305300 h 4333875"/>
                  <a:gd name="connsiteX191" fmla="*/ 4505325 w 8601075"/>
                  <a:gd name="connsiteY191" fmla="*/ 4276725 h 4333875"/>
                  <a:gd name="connsiteX192" fmla="*/ 4572000 w 8601075"/>
                  <a:gd name="connsiteY192" fmla="*/ 4333875 h 4333875"/>
                  <a:gd name="connsiteX193" fmla="*/ 4591050 w 8601075"/>
                  <a:gd name="connsiteY193" fmla="*/ 4248150 h 4333875"/>
                  <a:gd name="connsiteX194" fmla="*/ 5295900 w 8601075"/>
                  <a:gd name="connsiteY194" fmla="*/ 3924300 h 4333875"/>
                  <a:gd name="connsiteX195" fmla="*/ 5353050 w 8601075"/>
                  <a:gd name="connsiteY195" fmla="*/ 3990975 h 4333875"/>
                  <a:gd name="connsiteX196" fmla="*/ 5524500 w 8601075"/>
                  <a:gd name="connsiteY196" fmla="*/ 3914775 h 4333875"/>
                  <a:gd name="connsiteX197" fmla="*/ 5667375 w 8601075"/>
                  <a:gd name="connsiteY197" fmla="*/ 3962400 h 4333875"/>
                  <a:gd name="connsiteX198" fmla="*/ 5753100 w 8601075"/>
                  <a:gd name="connsiteY198" fmla="*/ 3924300 h 4333875"/>
                  <a:gd name="connsiteX199" fmla="*/ 5905500 w 8601075"/>
                  <a:gd name="connsiteY199" fmla="*/ 3943350 h 4333875"/>
                  <a:gd name="connsiteX200" fmla="*/ 6000750 w 8601075"/>
                  <a:gd name="connsiteY200" fmla="*/ 3800475 h 4333875"/>
                  <a:gd name="connsiteX201" fmla="*/ 6153150 w 8601075"/>
                  <a:gd name="connsiteY201" fmla="*/ 3781425 h 4333875"/>
                  <a:gd name="connsiteX202" fmla="*/ 6257925 w 8601075"/>
                  <a:gd name="connsiteY202" fmla="*/ 3581400 h 4333875"/>
                  <a:gd name="connsiteX203" fmla="*/ 6448425 w 8601075"/>
                  <a:gd name="connsiteY203" fmla="*/ 3448050 h 4333875"/>
                  <a:gd name="connsiteX204" fmla="*/ 6581775 w 8601075"/>
                  <a:gd name="connsiteY204" fmla="*/ 3276600 h 4333875"/>
                  <a:gd name="connsiteX205" fmla="*/ 6496050 w 8601075"/>
                  <a:gd name="connsiteY205" fmla="*/ 3228975 h 4333875"/>
                  <a:gd name="connsiteX206" fmla="*/ 6438900 w 8601075"/>
                  <a:gd name="connsiteY206" fmla="*/ 3162300 h 4333875"/>
                  <a:gd name="connsiteX207" fmla="*/ 6419850 w 8601075"/>
                  <a:gd name="connsiteY207" fmla="*/ 3105150 h 4333875"/>
                  <a:gd name="connsiteX208" fmla="*/ 6362700 w 8601075"/>
                  <a:gd name="connsiteY208" fmla="*/ 3076575 h 4333875"/>
                  <a:gd name="connsiteX209" fmla="*/ 6410325 w 8601075"/>
                  <a:gd name="connsiteY209" fmla="*/ 3019425 h 4333875"/>
                  <a:gd name="connsiteX210" fmla="*/ 6438900 w 8601075"/>
                  <a:gd name="connsiteY210" fmla="*/ 2819400 h 4333875"/>
                  <a:gd name="connsiteX211" fmla="*/ 6496050 w 8601075"/>
                  <a:gd name="connsiteY211" fmla="*/ 2762250 h 4333875"/>
                  <a:gd name="connsiteX212" fmla="*/ 6657975 w 8601075"/>
                  <a:gd name="connsiteY212" fmla="*/ 2752725 h 4333875"/>
                  <a:gd name="connsiteX213" fmla="*/ 6781800 w 8601075"/>
                  <a:gd name="connsiteY213" fmla="*/ 2838450 h 4333875"/>
                  <a:gd name="connsiteX214" fmla="*/ 7010400 w 8601075"/>
                  <a:gd name="connsiteY214" fmla="*/ 2838450 h 4333875"/>
                  <a:gd name="connsiteX215" fmla="*/ 7162800 w 8601075"/>
                  <a:gd name="connsiteY215" fmla="*/ 2705100 h 4333875"/>
                  <a:gd name="connsiteX216" fmla="*/ 7229475 w 8601075"/>
                  <a:gd name="connsiteY216" fmla="*/ 2590800 h 4333875"/>
                  <a:gd name="connsiteX217" fmla="*/ 7248525 w 8601075"/>
                  <a:gd name="connsiteY217" fmla="*/ 2524125 h 4333875"/>
                  <a:gd name="connsiteX218" fmla="*/ 7372350 w 8601075"/>
                  <a:gd name="connsiteY218" fmla="*/ 2543175 h 4333875"/>
                  <a:gd name="connsiteX219" fmla="*/ 7553325 w 8601075"/>
                  <a:gd name="connsiteY219" fmla="*/ 2447925 h 4333875"/>
                  <a:gd name="connsiteX220" fmla="*/ 7620000 w 8601075"/>
                  <a:gd name="connsiteY220" fmla="*/ 2324100 h 4333875"/>
                  <a:gd name="connsiteX221" fmla="*/ 7696200 w 8601075"/>
                  <a:gd name="connsiteY221" fmla="*/ 2314575 h 4333875"/>
                  <a:gd name="connsiteX222" fmla="*/ 7658100 w 8601075"/>
                  <a:gd name="connsiteY222" fmla="*/ 2257425 h 4333875"/>
                  <a:gd name="connsiteX223" fmla="*/ 7753350 w 8601075"/>
                  <a:gd name="connsiteY223" fmla="*/ 2057400 h 4333875"/>
                  <a:gd name="connsiteX224" fmla="*/ 7934325 w 8601075"/>
                  <a:gd name="connsiteY224" fmla="*/ 2028825 h 4333875"/>
                  <a:gd name="connsiteX225" fmla="*/ 7953375 w 8601075"/>
                  <a:gd name="connsiteY225" fmla="*/ 1952625 h 4333875"/>
                  <a:gd name="connsiteX226" fmla="*/ 7953375 w 8601075"/>
                  <a:gd name="connsiteY226" fmla="*/ 1952625 h 4333875"/>
                  <a:gd name="connsiteX227" fmla="*/ 8010525 w 8601075"/>
                  <a:gd name="connsiteY227" fmla="*/ 1895475 h 4333875"/>
                  <a:gd name="connsiteX228" fmla="*/ 8048625 w 8601075"/>
                  <a:gd name="connsiteY228" fmla="*/ 1971675 h 4333875"/>
                  <a:gd name="connsiteX229" fmla="*/ 8077200 w 8601075"/>
                  <a:gd name="connsiteY229" fmla="*/ 1885950 h 4333875"/>
                  <a:gd name="connsiteX230" fmla="*/ 8220075 w 8601075"/>
                  <a:gd name="connsiteY230" fmla="*/ 1847850 h 4333875"/>
                  <a:gd name="connsiteX231" fmla="*/ 8296275 w 8601075"/>
                  <a:gd name="connsiteY231" fmla="*/ 1809750 h 4333875"/>
                  <a:gd name="connsiteX232" fmla="*/ 8324850 w 8601075"/>
                  <a:gd name="connsiteY232" fmla="*/ 1790700 h 4333875"/>
                  <a:gd name="connsiteX233" fmla="*/ 8410575 w 8601075"/>
                  <a:gd name="connsiteY233" fmla="*/ 1847850 h 4333875"/>
                  <a:gd name="connsiteX234" fmla="*/ 8505825 w 8601075"/>
                  <a:gd name="connsiteY234" fmla="*/ 1781175 h 4333875"/>
                  <a:gd name="connsiteX235" fmla="*/ 8572500 w 8601075"/>
                  <a:gd name="connsiteY235" fmla="*/ 1809750 h 4333875"/>
                  <a:gd name="connsiteX236" fmla="*/ 8601075 w 8601075"/>
                  <a:gd name="connsiteY236" fmla="*/ 1704975 h 4333875"/>
                  <a:gd name="connsiteX237" fmla="*/ 8553450 w 8601075"/>
                  <a:gd name="connsiteY237" fmla="*/ 1676400 h 4333875"/>
                  <a:gd name="connsiteX238" fmla="*/ 8534400 w 8601075"/>
                  <a:gd name="connsiteY238" fmla="*/ 1609725 h 4333875"/>
                  <a:gd name="connsiteX239" fmla="*/ 8277225 w 8601075"/>
                  <a:gd name="connsiteY239" fmla="*/ 1409700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124825 w 8601075"/>
                  <a:gd name="connsiteY242" fmla="*/ 1352550 h 4333875"/>
                  <a:gd name="connsiteX243" fmla="*/ 7924800 w 8601075"/>
                  <a:gd name="connsiteY243" fmla="*/ 1362075 h 4333875"/>
                  <a:gd name="connsiteX244" fmla="*/ 7867650 w 8601075"/>
                  <a:gd name="connsiteY244" fmla="*/ 1457325 h 4333875"/>
                  <a:gd name="connsiteX245" fmla="*/ 7896225 w 8601075"/>
                  <a:gd name="connsiteY245" fmla="*/ 1476375 h 4333875"/>
                  <a:gd name="connsiteX246" fmla="*/ 7858125 w 8601075"/>
                  <a:gd name="connsiteY246" fmla="*/ 1533525 h 4333875"/>
                  <a:gd name="connsiteX247" fmla="*/ 7658100 w 8601075"/>
                  <a:gd name="connsiteY247" fmla="*/ 1447800 h 4333875"/>
                  <a:gd name="connsiteX248" fmla="*/ 7515225 w 8601075"/>
                  <a:gd name="connsiteY248" fmla="*/ 1495425 h 4333875"/>
                  <a:gd name="connsiteX249" fmla="*/ 7467600 w 8601075"/>
                  <a:gd name="connsiteY249" fmla="*/ 1581150 h 4333875"/>
                  <a:gd name="connsiteX250" fmla="*/ 7296150 w 8601075"/>
                  <a:gd name="connsiteY250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38575 w 8601075"/>
                  <a:gd name="connsiteY188" fmla="*/ 4057650 h 4333875"/>
                  <a:gd name="connsiteX189" fmla="*/ 4162425 w 8601075"/>
                  <a:gd name="connsiteY189" fmla="*/ 424815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2425 w 8601075"/>
                  <a:gd name="connsiteY189" fmla="*/ 424815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29087 w 8601075"/>
                  <a:gd name="connsiteY189" fmla="*/ 4214812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91025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79119 w 8601075"/>
                  <a:gd name="connsiteY190" fmla="*/ 4193381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410075 w 8601075"/>
                  <a:gd name="connsiteY191" fmla="*/ 4305300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395788 w 8601075"/>
                  <a:gd name="connsiteY191" fmla="*/ 4279106 h 4333875"/>
                  <a:gd name="connsiteX192" fmla="*/ 4505325 w 8601075"/>
                  <a:gd name="connsiteY192" fmla="*/ 4276725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33875"/>
                  <a:gd name="connsiteX1" fmla="*/ 7381875 w 8601075"/>
                  <a:gd name="connsiteY1" fmla="*/ 1323975 h 4333875"/>
                  <a:gd name="connsiteX2" fmla="*/ 7372350 w 8601075"/>
                  <a:gd name="connsiteY2" fmla="*/ 1190625 h 4333875"/>
                  <a:gd name="connsiteX3" fmla="*/ 7419975 w 8601075"/>
                  <a:gd name="connsiteY3" fmla="*/ 1047750 h 4333875"/>
                  <a:gd name="connsiteX4" fmla="*/ 7486650 w 8601075"/>
                  <a:gd name="connsiteY4" fmla="*/ 638175 h 4333875"/>
                  <a:gd name="connsiteX5" fmla="*/ 7343775 w 8601075"/>
                  <a:gd name="connsiteY5" fmla="*/ 647700 h 4333875"/>
                  <a:gd name="connsiteX6" fmla="*/ 7172325 w 8601075"/>
                  <a:gd name="connsiteY6" fmla="*/ 742950 h 4333875"/>
                  <a:gd name="connsiteX7" fmla="*/ 7010400 w 8601075"/>
                  <a:gd name="connsiteY7" fmla="*/ 609600 h 4333875"/>
                  <a:gd name="connsiteX8" fmla="*/ 6877050 w 8601075"/>
                  <a:gd name="connsiteY8" fmla="*/ 600075 h 4333875"/>
                  <a:gd name="connsiteX9" fmla="*/ 6600825 w 8601075"/>
                  <a:gd name="connsiteY9" fmla="*/ 904875 h 4333875"/>
                  <a:gd name="connsiteX10" fmla="*/ 6600825 w 8601075"/>
                  <a:gd name="connsiteY10" fmla="*/ 904875 h 4333875"/>
                  <a:gd name="connsiteX11" fmla="*/ 6534150 w 8601075"/>
                  <a:gd name="connsiteY11" fmla="*/ 942975 h 4333875"/>
                  <a:gd name="connsiteX12" fmla="*/ 6534150 w 8601075"/>
                  <a:gd name="connsiteY12" fmla="*/ 942975 h 4333875"/>
                  <a:gd name="connsiteX13" fmla="*/ 6362700 w 8601075"/>
                  <a:gd name="connsiteY13" fmla="*/ 1009650 h 4333875"/>
                  <a:gd name="connsiteX14" fmla="*/ 6238875 w 8601075"/>
                  <a:gd name="connsiteY14" fmla="*/ 1057275 h 4333875"/>
                  <a:gd name="connsiteX15" fmla="*/ 6115050 w 8601075"/>
                  <a:gd name="connsiteY15" fmla="*/ 1114425 h 4333875"/>
                  <a:gd name="connsiteX16" fmla="*/ 5962650 w 8601075"/>
                  <a:gd name="connsiteY16" fmla="*/ 1190625 h 4333875"/>
                  <a:gd name="connsiteX17" fmla="*/ 5895975 w 8601075"/>
                  <a:gd name="connsiteY17" fmla="*/ 1143000 h 4333875"/>
                  <a:gd name="connsiteX18" fmla="*/ 5895975 w 8601075"/>
                  <a:gd name="connsiteY18" fmla="*/ 1143000 h 4333875"/>
                  <a:gd name="connsiteX19" fmla="*/ 5676900 w 8601075"/>
                  <a:gd name="connsiteY19" fmla="*/ 1181100 h 4333875"/>
                  <a:gd name="connsiteX20" fmla="*/ 5600700 w 8601075"/>
                  <a:gd name="connsiteY20" fmla="*/ 1114425 h 4333875"/>
                  <a:gd name="connsiteX21" fmla="*/ 5391150 w 8601075"/>
                  <a:gd name="connsiteY21" fmla="*/ 1123950 h 4333875"/>
                  <a:gd name="connsiteX22" fmla="*/ 5334000 w 8601075"/>
                  <a:gd name="connsiteY22" fmla="*/ 1066800 h 4333875"/>
                  <a:gd name="connsiteX23" fmla="*/ 5248275 w 8601075"/>
                  <a:gd name="connsiteY23" fmla="*/ 981075 h 4333875"/>
                  <a:gd name="connsiteX24" fmla="*/ 5238750 w 8601075"/>
                  <a:gd name="connsiteY24" fmla="*/ 895350 h 4333875"/>
                  <a:gd name="connsiteX25" fmla="*/ 5133975 w 8601075"/>
                  <a:gd name="connsiteY25" fmla="*/ 895350 h 4333875"/>
                  <a:gd name="connsiteX26" fmla="*/ 4991100 w 8601075"/>
                  <a:gd name="connsiteY26" fmla="*/ 838200 h 4333875"/>
                  <a:gd name="connsiteX27" fmla="*/ 4905375 w 8601075"/>
                  <a:gd name="connsiteY27" fmla="*/ 771525 h 4333875"/>
                  <a:gd name="connsiteX28" fmla="*/ 4905375 w 8601075"/>
                  <a:gd name="connsiteY28" fmla="*/ 771525 h 4333875"/>
                  <a:gd name="connsiteX29" fmla="*/ 4781550 w 8601075"/>
                  <a:gd name="connsiteY29" fmla="*/ 762000 h 4333875"/>
                  <a:gd name="connsiteX30" fmla="*/ 4648200 w 8601075"/>
                  <a:gd name="connsiteY30" fmla="*/ 714375 h 4333875"/>
                  <a:gd name="connsiteX31" fmla="*/ 4581525 w 8601075"/>
                  <a:gd name="connsiteY31" fmla="*/ 695325 h 4333875"/>
                  <a:gd name="connsiteX32" fmla="*/ 4495800 w 8601075"/>
                  <a:gd name="connsiteY32" fmla="*/ 742950 h 4333875"/>
                  <a:gd name="connsiteX33" fmla="*/ 4343400 w 8601075"/>
                  <a:gd name="connsiteY33" fmla="*/ 781050 h 4333875"/>
                  <a:gd name="connsiteX34" fmla="*/ 4252913 w 8601075"/>
                  <a:gd name="connsiteY34" fmla="*/ 862013 h 4333875"/>
                  <a:gd name="connsiteX35" fmla="*/ 4205287 w 8601075"/>
                  <a:gd name="connsiteY35" fmla="*/ 823913 h 4333875"/>
                  <a:gd name="connsiteX36" fmla="*/ 4183856 w 8601075"/>
                  <a:gd name="connsiteY36" fmla="*/ 854868 h 4333875"/>
                  <a:gd name="connsiteX37" fmla="*/ 4110038 w 8601075"/>
                  <a:gd name="connsiteY37" fmla="*/ 804863 h 4333875"/>
                  <a:gd name="connsiteX38" fmla="*/ 4071938 w 8601075"/>
                  <a:gd name="connsiteY38" fmla="*/ 812006 h 4333875"/>
                  <a:gd name="connsiteX39" fmla="*/ 4050506 w 8601075"/>
                  <a:gd name="connsiteY39" fmla="*/ 773906 h 4333875"/>
                  <a:gd name="connsiteX40" fmla="*/ 3990975 w 8601075"/>
                  <a:gd name="connsiteY40" fmla="*/ 778669 h 4333875"/>
                  <a:gd name="connsiteX41" fmla="*/ 3945731 w 8601075"/>
                  <a:gd name="connsiteY41" fmla="*/ 750094 h 4333875"/>
                  <a:gd name="connsiteX42" fmla="*/ 3907631 w 8601075"/>
                  <a:gd name="connsiteY42" fmla="*/ 747713 h 4333875"/>
                  <a:gd name="connsiteX43" fmla="*/ 3888581 w 8601075"/>
                  <a:gd name="connsiteY43" fmla="*/ 700087 h 4333875"/>
                  <a:gd name="connsiteX44" fmla="*/ 3874294 w 8601075"/>
                  <a:gd name="connsiteY44" fmla="*/ 669131 h 4333875"/>
                  <a:gd name="connsiteX45" fmla="*/ 3829050 w 8601075"/>
                  <a:gd name="connsiteY45" fmla="*/ 678656 h 4333875"/>
                  <a:gd name="connsiteX46" fmla="*/ 3810000 w 8601075"/>
                  <a:gd name="connsiteY46" fmla="*/ 642938 h 4333875"/>
                  <a:gd name="connsiteX47" fmla="*/ 3831432 w 8601075"/>
                  <a:gd name="connsiteY47" fmla="*/ 588169 h 4333875"/>
                  <a:gd name="connsiteX48" fmla="*/ 3800475 w 8601075"/>
                  <a:gd name="connsiteY48" fmla="*/ 561975 h 4333875"/>
                  <a:gd name="connsiteX49" fmla="*/ 3817144 w 8601075"/>
                  <a:gd name="connsiteY49" fmla="*/ 519113 h 4333875"/>
                  <a:gd name="connsiteX50" fmla="*/ 3790950 w 8601075"/>
                  <a:gd name="connsiteY50" fmla="*/ 476250 h 4333875"/>
                  <a:gd name="connsiteX51" fmla="*/ 3786188 w 8601075"/>
                  <a:gd name="connsiteY51" fmla="*/ 414338 h 4333875"/>
                  <a:gd name="connsiteX52" fmla="*/ 3810000 w 8601075"/>
                  <a:gd name="connsiteY52" fmla="*/ 350043 h 4333875"/>
                  <a:gd name="connsiteX53" fmla="*/ 3771900 w 8601075"/>
                  <a:gd name="connsiteY53" fmla="*/ 352425 h 4333875"/>
                  <a:gd name="connsiteX54" fmla="*/ 3652838 w 8601075"/>
                  <a:gd name="connsiteY54" fmla="*/ 295275 h 4333875"/>
                  <a:gd name="connsiteX55" fmla="*/ 3614737 w 8601075"/>
                  <a:gd name="connsiteY55" fmla="*/ 300037 h 4333875"/>
                  <a:gd name="connsiteX56" fmla="*/ 3409950 w 8601075"/>
                  <a:gd name="connsiteY56" fmla="*/ 190500 h 4333875"/>
                  <a:gd name="connsiteX57" fmla="*/ 3305175 w 8601075"/>
                  <a:gd name="connsiteY57" fmla="*/ 159544 h 4333875"/>
                  <a:gd name="connsiteX58" fmla="*/ 3240881 w 8601075"/>
                  <a:gd name="connsiteY58" fmla="*/ 169068 h 4333875"/>
                  <a:gd name="connsiteX59" fmla="*/ 3209925 w 8601075"/>
                  <a:gd name="connsiteY59" fmla="*/ 104775 h 4333875"/>
                  <a:gd name="connsiteX60" fmla="*/ 3152775 w 8601075"/>
                  <a:gd name="connsiteY60" fmla="*/ 104775 h 4333875"/>
                  <a:gd name="connsiteX61" fmla="*/ 3014662 w 8601075"/>
                  <a:gd name="connsiteY61" fmla="*/ 0 h 4333875"/>
                  <a:gd name="connsiteX62" fmla="*/ 2981325 w 8601075"/>
                  <a:gd name="connsiteY62" fmla="*/ 59532 h 4333875"/>
                  <a:gd name="connsiteX63" fmla="*/ 2926556 w 8601075"/>
                  <a:gd name="connsiteY63" fmla="*/ 128588 h 4333875"/>
                  <a:gd name="connsiteX64" fmla="*/ 2883694 w 8601075"/>
                  <a:gd name="connsiteY64" fmla="*/ 145256 h 4333875"/>
                  <a:gd name="connsiteX65" fmla="*/ 2852738 w 8601075"/>
                  <a:gd name="connsiteY65" fmla="*/ 138113 h 4333875"/>
                  <a:gd name="connsiteX66" fmla="*/ 2828925 w 8601075"/>
                  <a:gd name="connsiteY66" fmla="*/ 166688 h 4333875"/>
                  <a:gd name="connsiteX67" fmla="*/ 2802731 w 8601075"/>
                  <a:gd name="connsiteY67" fmla="*/ 245269 h 4333875"/>
                  <a:gd name="connsiteX68" fmla="*/ 2759869 w 8601075"/>
                  <a:gd name="connsiteY68" fmla="*/ 242888 h 4333875"/>
                  <a:gd name="connsiteX69" fmla="*/ 2728912 w 8601075"/>
                  <a:gd name="connsiteY69" fmla="*/ 304800 h 4333875"/>
                  <a:gd name="connsiteX70" fmla="*/ 2724150 w 8601075"/>
                  <a:gd name="connsiteY70" fmla="*/ 369094 h 4333875"/>
                  <a:gd name="connsiteX71" fmla="*/ 2697957 w 8601075"/>
                  <a:gd name="connsiteY71" fmla="*/ 407194 h 4333875"/>
                  <a:gd name="connsiteX72" fmla="*/ 2724150 w 8601075"/>
                  <a:gd name="connsiteY72" fmla="*/ 466725 h 4333875"/>
                  <a:gd name="connsiteX73" fmla="*/ 2726531 w 8601075"/>
                  <a:gd name="connsiteY73" fmla="*/ 535781 h 4333875"/>
                  <a:gd name="connsiteX74" fmla="*/ 2755106 w 8601075"/>
                  <a:gd name="connsiteY74" fmla="*/ 588169 h 4333875"/>
                  <a:gd name="connsiteX75" fmla="*/ 2802732 w 8601075"/>
                  <a:gd name="connsiteY75" fmla="*/ 642938 h 4333875"/>
                  <a:gd name="connsiteX76" fmla="*/ 2752725 w 8601075"/>
                  <a:gd name="connsiteY76" fmla="*/ 781050 h 4333875"/>
                  <a:gd name="connsiteX77" fmla="*/ 2683669 w 8601075"/>
                  <a:gd name="connsiteY77" fmla="*/ 847725 h 4333875"/>
                  <a:gd name="connsiteX78" fmla="*/ 2612231 w 8601075"/>
                  <a:gd name="connsiteY78" fmla="*/ 842963 h 4333875"/>
                  <a:gd name="connsiteX79" fmla="*/ 2574131 w 8601075"/>
                  <a:gd name="connsiteY79" fmla="*/ 900113 h 4333875"/>
                  <a:gd name="connsiteX80" fmla="*/ 2514600 w 8601075"/>
                  <a:gd name="connsiteY80" fmla="*/ 914400 h 4333875"/>
                  <a:gd name="connsiteX81" fmla="*/ 2445544 w 8601075"/>
                  <a:gd name="connsiteY81" fmla="*/ 854869 h 4333875"/>
                  <a:gd name="connsiteX82" fmla="*/ 2390775 w 8601075"/>
                  <a:gd name="connsiteY82" fmla="*/ 826294 h 4333875"/>
                  <a:gd name="connsiteX83" fmla="*/ 2347913 w 8601075"/>
                  <a:gd name="connsiteY83" fmla="*/ 840581 h 4333875"/>
                  <a:gd name="connsiteX84" fmla="*/ 2295525 w 8601075"/>
                  <a:gd name="connsiteY84" fmla="*/ 823913 h 4333875"/>
                  <a:gd name="connsiteX85" fmla="*/ 2228850 w 8601075"/>
                  <a:gd name="connsiteY85" fmla="*/ 769144 h 4333875"/>
                  <a:gd name="connsiteX86" fmla="*/ 2183606 w 8601075"/>
                  <a:gd name="connsiteY86" fmla="*/ 781050 h 4333875"/>
                  <a:gd name="connsiteX87" fmla="*/ 2162175 w 8601075"/>
                  <a:gd name="connsiteY87" fmla="*/ 750094 h 4333875"/>
                  <a:gd name="connsiteX88" fmla="*/ 2105025 w 8601075"/>
                  <a:gd name="connsiteY88" fmla="*/ 790575 h 4333875"/>
                  <a:gd name="connsiteX89" fmla="*/ 1988344 w 8601075"/>
                  <a:gd name="connsiteY89" fmla="*/ 769144 h 4333875"/>
                  <a:gd name="connsiteX90" fmla="*/ 1938338 w 8601075"/>
                  <a:gd name="connsiteY90" fmla="*/ 716756 h 4333875"/>
                  <a:gd name="connsiteX91" fmla="*/ 1895475 w 8601075"/>
                  <a:gd name="connsiteY91" fmla="*/ 702469 h 4333875"/>
                  <a:gd name="connsiteX92" fmla="*/ 1852613 w 8601075"/>
                  <a:gd name="connsiteY92" fmla="*/ 728663 h 4333875"/>
                  <a:gd name="connsiteX93" fmla="*/ 1800225 w 8601075"/>
                  <a:gd name="connsiteY93" fmla="*/ 638175 h 4333875"/>
                  <a:gd name="connsiteX94" fmla="*/ 1790700 w 8601075"/>
                  <a:gd name="connsiteY94" fmla="*/ 490537 h 4333875"/>
                  <a:gd name="connsiteX95" fmla="*/ 1738312 w 8601075"/>
                  <a:gd name="connsiteY95" fmla="*/ 483393 h 4333875"/>
                  <a:gd name="connsiteX96" fmla="*/ 1647825 w 8601075"/>
                  <a:gd name="connsiteY96" fmla="*/ 473869 h 4333875"/>
                  <a:gd name="connsiteX97" fmla="*/ 1593056 w 8601075"/>
                  <a:gd name="connsiteY97" fmla="*/ 435769 h 4333875"/>
                  <a:gd name="connsiteX98" fmla="*/ 1524000 w 8601075"/>
                  <a:gd name="connsiteY98" fmla="*/ 445294 h 4333875"/>
                  <a:gd name="connsiteX99" fmla="*/ 1478756 w 8601075"/>
                  <a:gd name="connsiteY99" fmla="*/ 419100 h 4333875"/>
                  <a:gd name="connsiteX100" fmla="*/ 1469232 w 8601075"/>
                  <a:gd name="connsiteY100" fmla="*/ 347663 h 4333875"/>
                  <a:gd name="connsiteX101" fmla="*/ 1445419 w 8601075"/>
                  <a:gd name="connsiteY101" fmla="*/ 333375 h 4333875"/>
                  <a:gd name="connsiteX102" fmla="*/ 1407319 w 8601075"/>
                  <a:gd name="connsiteY102" fmla="*/ 380999 h 4333875"/>
                  <a:gd name="connsiteX103" fmla="*/ 1328737 w 8601075"/>
                  <a:gd name="connsiteY103" fmla="*/ 307181 h 4333875"/>
                  <a:gd name="connsiteX104" fmla="*/ 1288256 w 8601075"/>
                  <a:gd name="connsiteY104" fmla="*/ 347663 h 4333875"/>
                  <a:gd name="connsiteX105" fmla="*/ 1212056 w 8601075"/>
                  <a:gd name="connsiteY105" fmla="*/ 333375 h 4333875"/>
                  <a:gd name="connsiteX106" fmla="*/ 1133475 w 8601075"/>
                  <a:gd name="connsiteY106" fmla="*/ 359569 h 4333875"/>
                  <a:gd name="connsiteX107" fmla="*/ 1073944 w 8601075"/>
                  <a:gd name="connsiteY107" fmla="*/ 407193 h 4333875"/>
                  <a:gd name="connsiteX108" fmla="*/ 1000125 w 8601075"/>
                  <a:gd name="connsiteY108" fmla="*/ 419100 h 4333875"/>
                  <a:gd name="connsiteX109" fmla="*/ 964406 w 8601075"/>
                  <a:gd name="connsiteY109" fmla="*/ 411956 h 4333875"/>
                  <a:gd name="connsiteX110" fmla="*/ 885826 w 8601075"/>
                  <a:gd name="connsiteY110" fmla="*/ 442913 h 4333875"/>
                  <a:gd name="connsiteX111" fmla="*/ 864394 w 8601075"/>
                  <a:gd name="connsiteY111" fmla="*/ 471488 h 4333875"/>
                  <a:gd name="connsiteX112" fmla="*/ 797719 w 8601075"/>
                  <a:gd name="connsiteY112" fmla="*/ 461963 h 4333875"/>
                  <a:gd name="connsiteX113" fmla="*/ 728663 w 8601075"/>
                  <a:gd name="connsiteY113" fmla="*/ 485775 h 4333875"/>
                  <a:gd name="connsiteX114" fmla="*/ 673894 w 8601075"/>
                  <a:gd name="connsiteY114" fmla="*/ 523875 h 4333875"/>
                  <a:gd name="connsiteX115" fmla="*/ 578644 w 8601075"/>
                  <a:gd name="connsiteY115" fmla="*/ 538162 h 4333875"/>
                  <a:gd name="connsiteX116" fmla="*/ 564356 w 8601075"/>
                  <a:gd name="connsiteY116" fmla="*/ 559594 h 4333875"/>
                  <a:gd name="connsiteX117" fmla="*/ 576262 w 8601075"/>
                  <a:gd name="connsiteY117" fmla="*/ 604838 h 4333875"/>
                  <a:gd name="connsiteX118" fmla="*/ 476251 w 8601075"/>
                  <a:gd name="connsiteY118" fmla="*/ 657225 h 4333875"/>
                  <a:gd name="connsiteX119" fmla="*/ 438150 w 8601075"/>
                  <a:gd name="connsiteY119" fmla="*/ 628649 h 4333875"/>
                  <a:gd name="connsiteX120" fmla="*/ 407194 w 8601075"/>
                  <a:gd name="connsiteY120" fmla="*/ 685800 h 4333875"/>
                  <a:gd name="connsiteX121" fmla="*/ 350044 w 8601075"/>
                  <a:gd name="connsiteY121" fmla="*/ 647700 h 4333875"/>
                  <a:gd name="connsiteX122" fmla="*/ 314325 w 8601075"/>
                  <a:gd name="connsiteY122" fmla="*/ 676275 h 4333875"/>
                  <a:gd name="connsiteX123" fmla="*/ 278606 w 8601075"/>
                  <a:gd name="connsiteY123" fmla="*/ 640556 h 4333875"/>
                  <a:gd name="connsiteX124" fmla="*/ 226219 w 8601075"/>
                  <a:gd name="connsiteY124" fmla="*/ 652463 h 4333875"/>
                  <a:gd name="connsiteX125" fmla="*/ 180975 w 8601075"/>
                  <a:gd name="connsiteY125" fmla="*/ 623888 h 4333875"/>
                  <a:gd name="connsiteX126" fmla="*/ 157163 w 8601075"/>
                  <a:gd name="connsiteY126" fmla="*/ 642938 h 4333875"/>
                  <a:gd name="connsiteX127" fmla="*/ 133350 w 8601075"/>
                  <a:gd name="connsiteY127" fmla="*/ 702469 h 4333875"/>
                  <a:gd name="connsiteX128" fmla="*/ 61913 w 8601075"/>
                  <a:gd name="connsiteY128" fmla="*/ 740568 h 4333875"/>
                  <a:gd name="connsiteX129" fmla="*/ 28575 w 8601075"/>
                  <a:gd name="connsiteY129" fmla="*/ 769144 h 4333875"/>
                  <a:gd name="connsiteX130" fmla="*/ 33338 w 8601075"/>
                  <a:gd name="connsiteY130" fmla="*/ 812006 h 4333875"/>
                  <a:gd name="connsiteX131" fmla="*/ 0 w 8601075"/>
                  <a:gd name="connsiteY131" fmla="*/ 816769 h 4333875"/>
                  <a:gd name="connsiteX132" fmla="*/ 4763 w 8601075"/>
                  <a:gd name="connsiteY132" fmla="*/ 840581 h 4333875"/>
                  <a:gd name="connsiteX133" fmla="*/ 61912 w 8601075"/>
                  <a:gd name="connsiteY133" fmla="*/ 914400 h 4333875"/>
                  <a:gd name="connsiteX134" fmla="*/ 23813 w 8601075"/>
                  <a:gd name="connsiteY134" fmla="*/ 962025 h 4333875"/>
                  <a:gd name="connsiteX135" fmla="*/ 78581 w 8601075"/>
                  <a:gd name="connsiteY135" fmla="*/ 997744 h 4333875"/>
                  <a:gd name="connsiteX136" fmla="*/ 169069 w 8601075"/>
                  <a:gd name="connsiteY136" fmla="*/ 1085850 h 4333875"/>
                  <a:gd name="connsiteX137" fmla="*/ 171450 w 8601075"/>
                  <a:gd name="connsiteY137" fmla="*/ 1145381 h 4333875"/>
                  <a:gd name="connsiteX138" fmla="*/ 307181 w 8601075"/>
                  <a:gd name="connsiteY138" fmla="*/ 1278732 h 4333875"/>
                  <a:gd name="connsiteX139" fmla="*/ 361950 w 8601075"/>
                  <a:gd name="connsiteY139" fmla="*/ 1254919 h 4333875"/>
                  <a:gd name="connsiteX140" fmla="*/ 400050 w 8601075"/>
                  <a:gd name="connsiteY140" fmla="*/ 1281112 h 4333875"/>
                  <a:gd name="connsiteX141" fmla="*/ 414338 w 8601075"/>
                  <a:gd name="connsiteY141" fmla="*/ 1331118 h 4333875"/>
                  <a:gd name="connsiteX142" fmla="*/ 457200 w 8601075"/>
                  <a:gd name="connsiteY142" fmla="*/ 1366838 h 4333875"/>
                  <a:gd name="connsiteX143" fmla="*/ 497681 w 8601075"/>
                  <a:gd name="connsiteY143" fmla="*/ 1354931 h 4333875"/>
                  <a:gd name="connsiteX144" fmla="*/ 516731 w 8601075"/>
                  <a:gd name="connsiteY144" fmla="*/ 1412081 h 4333875"/>
                  <a:gd name="connsiteX145" fmla="*/ 564356 w 8601075"/>
                  <a:gd name="connsiteY145" fmla="*/ 1454944 h 4333875"/>
                  <a:gd name="connsiteX146" fmla="*/ 588169 w 8601075"/>
                  <a:gd name="connsiteY146" fmla="*/ 1557338 h 4333875"/>
                  <a:gd name="connsiteX147" fmla="*/ 585788 w 8601075"/>
                  <a:gd name="connsiteY147" fmla="*/ 1604963 h 4333875"/>
                  <a:gd name="connsiteX148" fmla="*/ 621506 w 8601075"/>
                  <a:gd name="connsiteY148" fmla="*/ 1704975 h 4333875"/>
                  <a:gd name="connsiteX149" fmla="*/ 666750 w 8601075"/>
                  <a:gd name="connsiteY149" fmla="*/ 1762125 h 4333875"/>
                  <a:gd name="connsiteX150" fmla="*/ 683418 w 8601075"/>
                  <a:gd name="connsiteY150" fmla="*/ 1919287 h 4333875"/>
                  <a:gd name="connsiteX151" fmla="*/ 650081 w 8601075"/>
                  <a:gd name="connsiteY151" fmla="*/ 1981200 h 4333875"/>
                  <a:gd name="connsiteX152" fmla="*/ 619125 w 8601075"/>
                  <a:gd name="connsiteY152" fmla="*/ 2057400 h 4333875"/>
                  <a:gd name="connsiteX153" fmla="*/ 633413 w 8601075"/>
                  <a:gd name="connsiteY153" fmla="*/ 2114550 h 4333875"/>
                  <a:gd name="connsiteX154" fmla="*/ 535781 w 8601075"/>
                  <a:gd name="connsiteY154" fmla="*/ 2221707 h 4333875"/>
                  <a:gd name="connsiteX155" fmla="*/ 492919 w 8601075"/>
                  <a:gd name="connsiteY155" fmla="*/ 2336006 h 4333875"/>
                  <a:gd name="connsiteX156" fmla="*/ 526256 w 8601075"/>
                  <a:gd name="connsiteY156" fmla="*/ 2376488 h 4333875"/>
                  <a:gd name="connsiteX157" fmla="*/ 509588 w 8601075"/>
                  <a:gd name="connsiteY157" fmla="*/ 2405063 h 4333875"/>
                  <a:gd name="connsiteX158" fmla="*/ 540544 w 8601075"/>
                  <a:gd name="connsiteY158" fmla="*/ 2462213 h 4333875"/>
                  <a:gd name="connsiteX159" fmla="*/ 569119 w 8601075"/>
                  <a:gd name="connsiteY159" fmla="*/ 2462213 h 4333875"/>
                  <a:gd name="connsiteX160" fmla="*/ 731044 w 8601075"/>
                  <a:gd name="connsiteY160" fmla="*/ 2564606 h 4333875"/>
                  <a:gd name="connsiteX161" fmla="*/ 835819 w 8601075"/>
                  <a:gd name="connsiteY161" fmla="*/ 2562225 h 4333875"/>
                  <a:gd name="connsiteX162" fmla="*/ 914400 w 8601075"/>
                  <a:gd name="connsiteY162" fmla="*/ 2616994 h 4333875"/>
                  <a:gd name="connsiteX163" fmla="*/ 1045368 w 8601075"/>
                  <a:gd name="connsiteY163" fmla="*/ 2619375 h 4333875"/>
                  <a:gd name="connsiteX164" fmla="*/ 1235868 w 8601075"/>
                  <a:gd name="connsiteY164" fmla="*/ 2688431 h 4333875"/>
                  <a:gd name="connsiteX165" fmla="*/ 1438275 w 8601075"/>
                  <a:gd name="connsiteY165" fmla="*/ 2838450 h 4333875"/>
                  <a:gd name="connsiteX166" fmla="*/ 1471612 w 8601075"/>
                  <a:gd name="connsiteY166" fmla="*/ 2905125 h 4333875"/>
                  <a:gd name="connsiteX167" fmla="*/ 1638300 w 8601075"/>
                  <a:gd name="connsiteY167" fmla="*/ 3031331 h 4333875"/>
                  <a:gd name="connsiteX168" fmla="*/ 1709738 w 8601075"/>
                  <a:gd name="connsiteY168" fmla="*/ 3026569 h 4333875"/>
                  <a:gd name="connsiteX169" fmla="*/ 1745457 w 8601075"/>
                  <a:gd name="connsiteY169" fmla="*/ 3050381 h 4333875"/>
                  <a:gd name="connsiteX170" fmla="*/ 1716881 w 8601075"/>
                  <a:gd name="connsiteY170" fmla="*/ 3090863 h 4333875"/>
                  <a:gd name="connsiteX171" fmla="*/ 1724025 w 8601075"/>
                  <a:gd name="connsiteY171" fmla="*/ 3143250 h 4333875"/>
                  <a:gd name="connsiteX172" fmla="*/ 1776413 w 8601075"/>
                  <a:gd name="connsiteY172" fmla="*/ 3169444 h 4333875"/>
                  <a:gd name="connsiteX173" fmla="*/ 1838325 w 8601075"/>
                  <a:gd name="connsiteY173" fmla="*/ 3393282 h 4333875"/>
                  <a:gd name="connsiteX174" fmla="*/ 1828800 w 8601075"/>
                  <a:gd name="connsiteY174" fmla="*/ 3457575 h 4333875"/>
                  <a:gd name="connsiteX175" fmla="*/ 1964531 w 8601075"/>
                  <a:gd name="connsiteY175" fmla="*/ 3624263 h 4333875"/>
                  <a:gd name="connsiteX176" fmla="*/ 1983581 w 8601075"/>
                  <a:gd name="connsiteY176" fmla="*/ 3674269 h 4333875"/>
                  <a:gd name="connsiteX177" fmla="*/ 1957388 w 8601075"/>
                  <a:gd name="connsiteY177" fmla="*/ 3693319 h 4333875"/>
                  <a:gd name="connsiteX178" fmla="*/ 2059781 w 8601075"/>
                  <a:gd name="connsiteY178" fmla="*/ 3702844 h 4333875"/>
                  <a:gd name="connsiteX179" fmla="*/ 2171700 w 8601075"/>
                  <a:gd name="connsiteY179" fmla="*/ 3690938 h 4333875"/>
                  <a:gd name="connsiteX180" fmla="*/ 2450306 w 8601075"/>
                  <a:gd name="connsiteY180" fmla="*/ 3774281 h 4333875"/>
                  <a:gd name="connsiteX181" fmla="*/ 2857500 w 8601075"/>
                  <a:gd name="connsiteY181" fmla="*/ 3855244 h 4333875"/>
                  <a:gd name="connsiteX182" fmla="*/ 3055144 w 8601075"/>
                  <a:gd name="connsiteY182" fmla="*/ 3824287 h 4333875"/>
                  <a:gd name="connsiteX183" fmla="*/ 3100388 w 8601075"/>
                  <a:gd name="connsiteY183" fmla="*/ 3836193 h 4333875"/>
                  <a:gd name="connsiteX184" fmla="*/ 3155156 w 8601075"/>
                  <a:gd name="connsiteY184" fmla="*/ 3812382 h 4333875"/>
                  <a:gd name="connsiteX185" fmla="*/ 3548062 w 8601075"/>
                  <a:gd name="connsiteY185" fmla="*/ 3902869 h 4333875"/>
                  <a:gd name="connsiteX186" fmla="*/ 3631407 w 8601075"/>
                  <a:gd name="connsiteY186" fmla="*/ 4000500 h 4333875"/>
                  <a:gd name="connsiteX187" fmla="*/ 3750469 w 8601075"/>
                  <a:gd name="connsiteY187" fmla="*/ 4071938 h 4333875"/>
                  <a:gd name="connsiteX188" fmla="*/ 3810000 w 8601075"/>
                  <a:gd name="connsiteY188" fmla="*/ 4055269 h 4333875"/>
                  <a:gd name="connsiteX189" fmla="*/ 4160043 w 8601075"/>
                  <a:gd name="connsiteY189" fmla="*/ 4229100 h 4333875"/>
                  <a:gd name="connsiteX190" fmla="*/ 4386263 w 8601075"/>
                  <a:gd name="connsiteY190" fmla="*/ 4200525 h 4333875"/>
                  <a:gd name="connsiteX191" fmla="*/ 4395788 w 8601075"/>
                  <a:gd name="connsiteY191" fmla="*/ 4279106 h 4333875"/>
                  <a:gd name="connsiteX192" fmla="*/ 4481513 w 8601075"/>
                  <a:gd name="connsiteY192" fmla="*/ 4274343 h 4333875"/>
                  <a:gd name="connsiteX193" fmla="*/ 4572000 w 8601075"/>
                  <a:gd name="connsiteY193" fmla="*/ 4333875 h 4333875"/>
                  <a:gd name="connsiteX194" fmla="*/ 4591050 w 8601075"/>
                  <a:gd name="connsiteY194" fmla="*/ 4248150 h 4333875"/>
                  <a:gd name="connsiteX195" fmla="*/ 5295900 w 8601075"/>
                  <a:gd name="connsiteY195" fmla="*/ 3924300 h 4333875"/>
                  <a:gd name="connsiteX196" fmla="*/ 5353050 w 8601075"/>
                  <a:gd name="connsiteY196" fmla="*/ 3990975 h 4333875"/>
                  <a:gd name="connsiteX197" fmla="*/ 5524500 w 8601075"/>
                  <a:gd name="connsiteY197" fmla="*/ 3914775 h 4333875"/>
                  <a:gd name="connsiteX198" fmla="*/ 5667375 w 8601075"/>
                  <a:gd name="connsiteY198" fmla="*/ 3962400 h 4333875"/>
                  <a:gd name="connsiteX199" fmla="*/ 5753100 w 8601075"/>
                  <a:gd name="connsiteY199" fmla="*/ 3924300 h 4333875"/>
                  <a:gd name="connsiteX200" fmla="*/ 5905500 w 8601075"/>
                  <a:gd name="connsiteY200" fmla="*/ 3943350 h 4333875"/>
                  <a:gd name="connsiteX201" fmla="*/ 6000750 w 8601075"/>
                  <a:gd name="connsiteY201" fmla="*/ 3800475 h 4333875"/>
                  <a:gd name="connsiteX202" fmla="*/ 6153150 w 8601075"/>
                  <a:gd name="connsiteY202" fmla="*/ 3781425 h 4333875"/>
                  <a:gd name="connsiteX203" fmla="*/ 6257925 w 8601075"/>
                  <a:gd name="connsiteY203" fmla="*/ 3581400 h 4333875"/>
                  <a:gd name="connsiteX204" fmla="*/ 6448425 w 8601075"/>
                  <a:gd name="connsiteY204" fmla="*/ 3448050 h 4333875"/>
                  <a:gd name="connsiteX205" fmla="*/ 6581775 w 8601075"/>
                  <a:gd name="connsiteY205" fmla="*/ 3276600 h 4333875"/>
                  <a:gd name="connsiteX206" fmla="*/ 6496050 w 8601075"/>
                  <a:gd name="connsiteY206" fmla="*/ 3228975 h 4333875"/>
                  <a:gd name="connsiteX207" fmla="*/ 6438900 w 8601075"/>
                  <a:gd name="connsiteY207" fmla="*/ 3162300 h 4333875"/>
                  <a:gd name="connsiteX208" fmla="*/ 6419850 w 8601075"/>
                  <a:gd name="connsiteY208" fmla="*/ 3105150 h 4333875"/>
                  <a:gd name="connsiteX209" fmla="*/ 6362700 w 8601075"/>
                  <a:gd name="connsiteY209" fmla="*/ 3076575 h 4333875"/>
                  <a:gd name="connsiteX210" fmla="*/ 6410325 w 8601075"/>
                  <a:gd name="connsiteY210" fmla="*/ 3019425 h 4333875"/>
                  <a:gd name="connsiteX211" fmla="*/ 6438900 w 8601075"/>
                  <a:gd name="connsiteY211" fmla="*/ 2819400 h 4333875"/>
                  <a:gd name="connsiteX212" fmla="*/ 6496050 w 8601075"/>
                  <a:gd name="connsiteY212" fmla="*/ 2762250 h 4333875"/>
                  <a:gd name="connsiteX213" fmla="*/ 6657975 w 8601075"/>
                  <a:gd name="connsiteY213" fmla="*/ 2752725 h 4333875"/>
                  <a:gd name="connsiteX214" fmla="*/ 6781800 w 8601075"/>
                  <a:gd name="connsiteY214" fmla="*/ 2838450 h 4333875"/>
                  <a:gd name="connsiteX215" fmla="*/ 7010400 w 8601075"/>
                  <a:gd name="connsiteY215" fmla="*/ 2838450 h 4333875"/>
                  <a:gd name="connsiteX216" fmla="*/ 7162800 w 8601075"/>
                  <a:gd name="connsiteY216" fmla="*/ 2705100 h 4333875"/>
                  <a:gd name="connsiteX217" fmla="*/ 7229475 w 8601075"/>
                  <a:gd name="connsiteY217" fmla="*/ 2590800 h 4333875"/>
                  <a:gd name="connsiteX218" fmla="*/ 7248525 w 8601075"/>
                  <a:gd name="connsiteY218" fmla="*/ 2524125 h 4333875"/>
                  <a:gd name="connsiteX219" fmla="*/ 7372350 w 8601075"/>
                  <a:gd name="connsiteY219" fmla="*/ 2543175 h 4333875"/>
                  <a:gd name="connsiteX220" fmla="*/ 7553325 w 8601075"/>
                  <a:gd name="connsiteY220" fmla="*/ 2447925 h 4333875"/>
                  <a:gd name="connsiteX221" fmla="*/ 7620000 w 8601075"/>
                  <a:gd name="connsiteY221" fmla="*/ 2324100 h 4333875"/>
                  <a:gd name="connsiteX222" fmla="*/ 7696200 w 8601075"/>
                  <a:gd name="connsiteY222" fmla="*/ 2314575 h 4333875"/>
                  <a:gd name="connsiteX223" fmla="*/ 7658100 w 8601075"/>
                  <a:gd name="connsiteY223" fmla="*/ 2257425 h 4333875"/>
                  <a:gd name="connsiteX224" fmla="*/ 7753350 w 8601075"/>
                  <a:gd name="connsiteY224" fmla="*/ 2057400 h 4333875"/>
                  <a:gd name="connsiteX225" fmla="*/ 7934325 w 8601075"/>
                  <a:gd name="connsiteY225" fmla="*/ 2028825 h 4333875"/>
                  <a:gd name="connsiteX226" fmla="*/ 7953375 w 8601075"/>
                  <a:gd name="connsiteY226" fmla="*/ 1952625 h 4333875"/>
                  <a:gd name="connsiteX227" fmla="*/ 7953375 w 8601075"/>
                  <a:gd name="connsiteY227" fmla="*/ 1952625 h 4333875"/>
                  <a:gd name="connsiteX228" fmla="*/ 8010525 w 8601075"/>
                  <a:gd name="connsiteY228" fmla="*/ 1895475 h 4333875"/>
                  <a:gd name="connsiteX229" fmla="*/ 8048625 w 8601075"/>
                  <a:gd name="connsiteY229" fmla="*/ 1971675 h 4333875"/>
                  <a:gd name="connsiteX230" fmla="*/ 8077200 w 8601075"/>
                  <a:gd name="connsiteY230" fmla="*/ 1885950 h 4333875"/>
                  <a:gd name="connsiteX231" fmla="*/ 8220075 w 8601075"/>
                  <a:gd name="connsiteY231" fmla="*/ 1847850 h 4333875"/>
                  <a:gd name="connsiteX232" fmla="*/ 8296275 w 8601075"/>
                  <a:gd name="connsiteY232" fmla="*/ 1809750 h 4333875"/>
                  <a:gd name="connsiteX233" fmla="*/ 8324850 w 8601075"/>
                  <a:gd name="connsiteY233" fmla="*/ 1790700 h 4333875"/>
                  <a:gd name="connsiteX234" fmla="*/ 8410575 w 8601075"/>
                  <a:gd name="connsiteY234" fmla="*/ 1847850 h 4333875"/>
                  <a:gd name="connsiteX235" fmla="*/ 8505825 w 8601075"/>
                  <a:gd name="connsiteY235" fmla="*/ 1781175 h 4333875"/>
                  <a:gd name="connsiteX236" fmla="*/ 8572500 w 8601075"/>
                  <a:gd name="connsiteY236" fmla="*/ 1809750 h 4333875"/>
                  <a:gd name="connsiteX237" fmla="*/ 8601075 w 8601075"/>
                  <a:gd name="connsiteY237" fmla="*/ 1704975 h 4333875"/>
                  <a:gd name="connsiteX238" fmla="*/ 8553450 w 8601075"/>
                  <a:gd name="connsiteY238" fmla="*/ 1676400 h 4333875"/>
                  <a:gd name="connsiteX239" fmla="*/ 8534400 w 8601075"/>
                  <a:gd name="connsiteY239" fmla="*/ 1609725 h 4333875"/>
                  <a:gd name="connsiteX240" fmla="*/ 8277225 w 8601075"/>
                  <a:gd name="connsiteY240" fmla="*/ 1409700 h 4333875"/>
                  <a:gd name="connsiteX241" fmla="*/ 8277225 w 8601075"/>
                  <a:gd name="connsiteY241" fmla="*/ 1409700 h 4333875"/>
                  <a:gd name="connsiteX242" fmla="*/ 8277225 w 8601075"/>
                  <a:gd name="connsiteY242" fmla="*/ 1409700 h 4333875"/>
                  <a:gd name="connsiteX243" fmla="*/ 8124825 w 8601075"/>
                  <a:gd name="connsiteY243" fmla="*/ 1352550 h 4333875"/>
                  <a:gd name="connsiteX244" fmla="*/ 7924800 w 8601075"/>
                  <a:gd name="connsiteY244" fmla="*/ 1362075 h 4333875"/>
                  <a:gd name="connsiteX245" fmla="*/ 7867650 w 8601075"/>
                  <a:gd name="connsiteY245" fmla="*/ 1457325 h 4333875"/>
                  <a:gd name="connsiteX246" fmla="*/ 7896225 w 8601075"/>
                  <a:gd name="connsiteY246" fmla="*/ 1476375 h 4333875"/>
                  <a:gd name="connsiteX247" fmla="*/ 7858125 w 8601075"/>
                  <a:gd name="connsiteY247" fmla="*/ 1533525 h 4333875"/>
                  <a:gd name="connsiteX248" fmla="*/ 7658100 w 8601075"/>
                  <a:gd name="connsiteY248" fmla="*/ 1447800 h 4333875"/>
                  <a:gd name="connsiteX249" fmla="*/ 7515225 w 8601075"/>
                  <a:gd name="connsiteY249" fmla="*/ 1495425 h 4333875"/>
                  <a:gd name="connsiteX250" fmla="*/ 7467600 w 8601075"/>
                  <a:gd name="connsiteY250" fmla="*/ 1581150 h 4333875"/>
                  <a:gd name="connsiteX251" fmla="*/ 7296150 w 8601075"/>
                  <a:gd name="connsiteY251" fmla="*/ 1466850 h 4333875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591050 w 8601075"/>
                  <a:gd name="connsiteY194" fmla="*/ 4248150 h 4305300"/>
                  <a:gd name="connsiteX195" fmla="*/ 5295900 w 8601075"/>
                  <a:gd name="connsiteY195" fmla="*/ 3924300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95900 w 8601075"/>
                  <a:gd name="connsiteY195" fmla="*/ 3924300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53050 w 8601075"/>
                  <a:gd name="connsiteY196" fmla="*/ 3990975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524500 w 8601075"/>
                  <a:gd name="connsiteY197" fmla="*/ 3914775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67375 w 8601075"/>
                  <a:gd name="connsiteY198" fmla="*/ 396240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53100 w 8601075"/>
                  <a:gd name="connsiteY199" fmla="*/ 3924300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905500 w 8601075"/>
                  <a:gd name="connsiteY200" fmla="*/ 3943350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6000750 w 8601075"/>
                  <a:gd name="connsiteY201" fmla="*/ 3800475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153150 w 8601075"/>
                  <a:gd name="connsiteY202" fmla="*/ 3781425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257925 w 8601075"/>
                  <a:gd name="connsiteY203" fmla="*/ 3581400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448425 w 8601075"/>
                  <a:gd name="connsiteY204" fmla="*/ 3448050 h 4305300"/>
                  <a:gd name="connsiteX205" fmla="*/ 6581775 w 8601075"/>
                  <a:gd name="connsiteY205" fmla="*/ 3276600 h 4305300"/>
                  <a:gd name="connsiteX206" fmla="*/ 6496050 w 8601075"/>
                  <a:gd name="connsiteY206" fmla="*/ 3228975 h 4305300"/>
                  <a:gd name="connsiteX207" fmla="*/ 6438900 w 8601075"/>
                  <a:gd name="connsiteY207" fmla="*/ 3162300 h 4305300"/>
                  <a:gd name="connsiteX208" fmla="*/ 6419850 w 8601075"/>
                  <a:gd name="connsiteY208" fmla="*/ 3105150 h 4305300"/>
                  <a:gd name="connsiteX209" fmla="*/ 6362700 w 8601075"/>
                  <a:gd name="connsiteY209" fmla="*/ 3076575 h 4305300"/>
                  <a:gd name="connsiteX210" fmla="*/ 6410325 w 8601075"/>
                  <a:gd name="connsiteY210" fmla="*/ 3019425 h 4305300"/>
                  <a:gd name="connsiteX211" fmla="*/ 6438900 w 8601075"/>
                  <a:gd name="connsiteY211" fmla="*/ 2819400 h 4305300"/>
                  <a:gd name="connsiteX212" fmla="*/ 6496050 w 8601075"/>
                  <a:gd name="connsiteY212" fmla="*/ 2762250 h 4305300"/>
                  <a:gd name="connsiteX213" fmla="*/ 6657975 w 8601075"/>
                  <a:gd name="connsiteY213" fmla="*/ 2752725 h 4305300"/>
                  <a:gd name="connsiteX214" fmla="*/ 6781800 w 8601075"/>
                  <a:gd name="connsiteY214" fmla="*/ 2838450 h 4305300"/>
                  <a:gd name="connsiteX215" fmla="*/ 7010400 w 8601075"/>
                  <a:gd name="connsiteY215" fmla="*/ 2838450 h 4305300"/>
                  <a:gd name="connsiteX216" fmla="*/ 7162800 w 8601075"/>
                  <a:gd name="connsiteY216" fmla="*/ 2705100 h 4305300"/>
                  <a:gd name="connsiteX217" fmla="*/ 7229475 w 8601075"/>
                  <a:gd name="connsiteY217" fmla="*/ 2590800 h 4305300"/>
                  <a:gd name="connsiteX218" fmla="*/ 7248525 w 8601075"/>
                  <a:gd name="connsiteY218" fmla="*/ 2524125 h 4305300"/>
                  <a:gd name="connsiteX219" fmla="*/ 7372350 w 8601075"/>
                  <a:gd name="connsiteY219" fmla="*/ 2543175 h 4305300"/>
                  <a:gd name="connsiteX220" fmla="*/ 7553325 w 8601075"/>
                  <a:gd name="connsiteY220" fmla="*/ 2447925 h 4305300"/>
                  <a:gd name="connsiteX221" fmla="*/ 7620000 w 8601075"/>
                  <a:gd name="connsiteY221" fmla="*/ 2324100 h 4305300"/>
                  <a:gd name="connsiteX222" fmla="*/ 7696200 w 8601075"/>
                  <a:gd name="connsiteY222" fmla="*/ 2314575 h 4305300"/>
                  <a:gd name="connsiteX223" fmla="*/ 7658100 w 8601075"/>
                  <a:gd name="connsiteY223" fmla="*/ 2257425 h 4305300"/>
                  <a:gd name="connsiteX224" fmla="*/ 7753350 w 8601075"/>
                  <a:gd name="connsiteY224" fmla="*/ 2057400 h 4305300"/>
                  <a:gd name="connsiteX225" fmla="*/ 7934325 w 8601075"/>
                  <a:gd name="connsiteY225" fmla="*/ 2028825 h 4305300"/>
                  <a:gd name="connsiteX226" fmla="*/ 7953375 w 8601075"/>
                  <a:gd name="connsiteY226" fmla="*/ 1952625 h 4305300"/>
                  <a:gd name="connsiteX227" fmla="*/ 7953375 w 8601075"/>
                  <a:gd name="connsiteY227" fmla="*/ 1952625 h 4305300"/>
                  <a:gd name="connsiteX228" fmla="*/ 8010525 w 8601075"/>
                  <a:gd name="connsiteY228" fmla="*/ 1895475 h 4305300"/>
                  <a:gd name="connsiteX229" fmla="*/ 8048625 w 8601075"/>
                  <a:gd name="connsiteY229" fmla="*/ 1971675 h 4305300"/>
                  <a:gd name="connsiteX230" fmla="*/ 8077200 w 8601075"/>
                  <a:gd name="connsiteY230" fmla="*/ 1885950 h 4305300"/>
                  <a:gd name="connsiteX231" fmla="*/ 8220075 w 8601075"/>
                  <a:gd name="connsiteY231" fmla="*/ 1847850 h 4305300"/>
                  <a:gd name="connsiteX232" fmla="*/ 8296275 w 8601075"/>
                  <a:gd name="connsiteY232" fmla="*/ 1809750 h 4305300"/>
                  <a:gd name="connsiteX233" fmla="*/ 8324850 w 8601075"/>
                  <a:gd name="connsiteY233" fmla="*/ 1790700 h 4305300"/>
                  <a:gd name="connsiteX234" fmla="*/ 8410575 w 8601075"/>
                  <a:gd name="connsiteY234" fmla="*/ 1847850 h 4305300"/>
                  <a:gd name="connsiteX235" fmla="*/ 8505825 w 8601075"/>
                  <a:gd name="connsiteY235" fmla="*/ 1781175 h 4305300"/>
                  <a:gd name="connsiteX236" fmla="*/ 8572500 w 8601075"/>
                  <a:gd name="connsiteY236" fmla="*/ 1809750 h 4305300"/>
                  <a:gd name="connsiteX237" fmla="*/ 8601075 w 8601075"/>
                  <a:gd name="connsiteY237" fmla="*/ 1704975 h 4305300"/>
                  <a:gd name="connsiteX238" fmla="*/ 8553450 w 8601075"/>
                  <a:gd name="connsiteY238" fmla="*/ 1676400 h 4305300"/>
                  <a:gd name="connsiteX239" fmla="*/ 8534400 w 8601075"/>
                  <a:gd name="connsiteY239" fmla="*/ 1609725 h 4305300"/>
                  <a:gd name="connsiteX240" fmla="*/ 8277225 w 8601075"/>
                  <a:gd name="connsiteY240" fmla="*/ 1409700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124825 w 8601075"/>
                  <a:gd name="connsiteY243" fmla="*/ 1352550 h 4305300"/>
                  <a:gd name="connsiteX244" fmla="*/ 7924800 w 8601075"/>
                  <a:gd name="connsiteY244" fmla="*/ 1362075 h 4305300"/>
                  <a:gd name="connsiteX245" fmla="*/ 7867650 w 8601075"/>
                  <a:gd name="connsiteY245" fmla="*/ 1457325 h 4305300"/>
                  <a:gd name="connsiteX246" fmla="*/ 7896225 w 8601075"/>
                  <a:gd name="connsiteY246" fmla="*/ 1476375 h 4305300"/>
                  <a:gd name="connsiteX247" fmla="*/ 7858125 w 8601075"/>
                  <a:gd name="connsiteY247" fmla="*/ 1533525 h 4305300"/>
                  <a:gd name="connsiteX248" fmla="*/ 7658100 w 8601075"/>
                  <a:gd name="connsiteY248" fmla="*/ 1447800 h 4305300"/>
                  <a:gd name="connsiteX249" fmla="*/ 7515225 w 8601075"/>
                  <a:gd name="connsiteY249" fmla="*/ 1495425 h 4305300"/>
                  <a:gd name="connsiteX250" fmla="*/ 7467600 w 8601075"/>
                  <a:gd name="connsiteY250" fmla="*/ 1581150 h 4305300"/>
                  <a:gd name="connsiteX251" fmla="*/ 7296150 w 8601075"/>
                  <a:gd name="connsiteY25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448425 w 8601075"/>
                  <a:gd name="connsiteY205" fmla="*/ 3448050 h 4305300"/>
                  <a:gd name="connsiteX206" fmla="*/ 6581775 w 8601075"/>
                  <a:gd name="connsiteY206" fmla="*/ 3276600 h 4305300"/>
                  <a:gd name="connsiteX207" fmla="*/ 6496050 w 8601075"/>
                  <a:gd name="connsiteY207" fmla="*/ 3228975 h 4305300"/>
                  <a:gd name="connsiteX208" fmla="*/ 6438900 w 8601075"/>
                  <a:gd name="connsiteY208" fmla="*/ 3162300 h 4305300"/>
                  <a:gd name="connsiteX209" fmla="*/ 6419850 w 8601075"/>
                  <a:gd name="connsiteY209" fmla="*/ 3105150 h 4305300"/>
                  <a:gd name="connsiteX210" fmla="*/ 6362700 w 8601075"/>
                  <a:gd name="connsiteY210" fmla="*/ 3076575 h 4305300"/>
                  <a:gd name="connsiteX211" fmla="*/ 6410325 w 8601075"/>
                  <a:gd name="connsiteY211" fmla="*/ 3019425 h 4305300"/>
                  <a:gd name="connsiteX212" fmla="*/ 6438900 w 8601075"/>
                  <a:gd name="connsiteY212" fmla="*/ 2819400 h 4305300"/>
                  <a:gd name="connsiteX213" fmla="*/ 6496050 w 8601075"/>
                  <a:gd name="connsiteY213" fmla="*/ 2762250 h 4305300"/>
                  <a:gd name="connsiteX214" fmla="*/ 6657975 w 8601075"/>
                  <a:gd name="connsiteY214" fmla="*/ 2752725 h 4305300"/>
                  <a:gd name="connsiteX215" fmla="*/ 6781800 w 8601075"/>
                  <a:gd name="connsiteY215" fmla="*/ 2838450 h 4305300"/>
                  <a:gd name="connsiteX216" fmla="*/ 7010400 w 8601075"/>
                  <a:gd name="connsiteY216" fmla="*/ 2838450 h 4305300"/>
                  <a:gd name="connsiteX217" fmla="*/ 7162800 w 8601075"/>
                  <a:gd name="connsiteY217" fmla="*/ 2705100 h 4305300"/>
                  <a:gd name="connsiteX218" fmla="*/ 7229475 w 8601075"/>
                  <a:gd name="connsiteY218" fmla="*/ 2590800 h 4305300"/>
                  <a:gd name="connsiteX219" fmla="*/ 7248525 w 8601075"/>
                  <a:gd name="connsiteY219" fmla="*/ 2524125 h 4305300"/>
                  <a:gd name="connsiteX220" fmla="*/ 7372350 w 8601075"/>
                  <a:gd name="connsiteY220" fmla="*/ 2543175 h 4305300"/>
                  <a:gd name="connsiteX221" fmla="*/ 7553325 w 8601075"/>
                  <a:gd name="connsiteY221" fmla="*/ 2447925 h 4305300"/>
                  <a:gd name="connsiteX222" fmla="*/ 7620000 w 8601075"/>
                  <a:gd name="connsiteY222" fmla="*/ 2324100 h 4305300"/>
                  <a:gd name="connsiteX223" fmla="*/ 7696200 w 8601075"/>
                  <a:gd name="connsiteY223" fmla="*/ 2314575 h 4305300"/>
                  <a:gd name="connsiteX224" fmla="*/ 7658100 w 8601075"/>
                  <a:gd name="connsiteY224" fmla="*/ 2257425 h 4305300"/>
                  <a:gd name="connsiteX225" fmla="*/ 7753350 w 8601075"/>
                  <a:gd name="connsiteY225" fmla="*/ 2057400 h 4305300"/>
                  <a:gd name="connsiteX226" fmla="*/ 7934325 w 8601075"/>
                  <a:gd name="connsiteY226" fmla="*/ 2028825 h 4305300"/>
                  <a:gd name="connsiteX227" fmla="*/ 7953375 w 8601075"/>
                  <a:gd name="connsiteY227" fmla="*/ 1952625 h 4305300"/>
                  <a:gd name="connsiteX228" fmla="*/ 7953375 w 8601075"/>
                  <a:gd name="connsiteY228" fmla="*/ 1952625 h 4305300"/>
                  <a:gd name="connsiteX229" fmla="*/ 8010525 w 8601075"/>
                  <a:gd name="connsiteY229" fmla="*/ 1895475 h 4305300"/>
                  <a:gd name="connsiteX230" fmla="*/ 8048625 w 8601075"/>
                  <a:gd name="connsiteY230" fmla="*/ 1971675 h 4305300"/>
                  <a:gd name="connsiteX231" fmla="*/ 8077200 w 8601075"/>
                  <a:gd name="connsiteY231" fmla="*/ 1885950 h 4305300"/>
                  <a:gd name="connsiteX232" fmla="*/ 8220075 w 8601075"/>
                  <a:gd name="connsiteY232" fmla="*/ 1847850 h 4305300"/>
                  <a:gd name="connsiteX233" fmla="*/ 8296275 w 8601075"/>
                  <a:gd name="connsiteY233" fmla="*/ 1809750 h 4305300"/>
                  <a:gd name="connsiteX234" fmla="*/ 8324850 w 8601075"/>
                  <a:gd name="connsiteY234" fmla="*/ 1790700 h 4305300"/>
                  <a:gd name="connsiteX235" fmla="*/ 8410575 w 8601075"/>
                  <a:gd name="connsiteY235" fmla="*/ 1847850 h 4305300"/>
                  <a:gd name="connsiteX236" fmla="*/ 8505825 w 8601075"/>
                  <a:gd name="connsiteY236" fmla="*/ 1781175 h 4305300"/>
                  <a:gd name="connsiteX237" fmla="*/ 8572500 w 8601075"/>
                  <a:gd name="connsiteY237" fmla="*/ 1809750 h 4305300"/>
                  <a:gd name="connsiteX238" fmla="*/ 8601075 w 8601075"/>
                  <a:gd name="connsiteY238" fmla="*/ 1704975 h 4305300"/>
                  <a:gd name="connsiteX239" fmla="*/ 8553450 w 8601075"/>
                  <a:gd name="connsiteY239" fmla="*/ 1676400 h 4305300"/>
                  <a:gd name="connsiteX240" fmla="*/ 8534400 w 8601075"/>
                  <a:gd name="connsiteY240" fmla="*/ 1609725 h 4305300"/>
                  <a:gd name="connsiteX241" fmla="*/ 8277225 w 8601075"/>
                  <a:gd name="connsiteY241" fmla="*/ 1409700 h 4305300"/>
                  <a:gd name="connsiteX242" fmla="*/ 8277225 w 8601075"/>
                  <a:gd name="connsiteY242" fmla="*/ 1409700 h 4305300"/>
                  <a:gd name="connsiteX243" fmla="*/ 8277225 w 8601075"/>
                  <a:gd name="connsiteY243" fmla="*/ 1409700 h 4305300"/>
                  <a:gd name="connsiteX244" fmla="*/ 8124825 w 8601075"/>
                  <a:gd name="connsiteY244" fmla="*/ 1352550 h 4305300"/>
                  <a:gd name="connsiteX245" fmla="*/ 7924800 w 8601075"/>
                  <a:gd name="connsiteY245" fmla="*/ 1362075 h 4305300"/>
                  <a:gd name="connsiteX246" fmla="*/ 7867650 w 8601075"/>
                  <a:gd name="connsiteY246" fmla="*/ 1457325 h 4305300"/>
                  <a:gd name="connsiteX247" fmla="*/ 7896225 w 8601075"/>
                  <a:gd name="connsiteY247" fmla="*/ 1476375 h 4305300"/>
                  <a:gd name="connsiteX248" fmla="*/ 7858125 w 8601075"/>
                  <a:gd name="connsiteY248" fmla="*/ 1533525 h 4305300"/>
                  <a:gd name="connsiteX249" fmla="*/ 7658100 w 8601075"/>
                  <a:gd name="connsiteY249" fmla="*/ 1447800 h 4305300"/>
                  <a:gd name="connsiteX250" fmla="*/ 7515225 w 8601075"/>
                  <a:gd name="connsiteY250" fmla="*/ 1495425 h 4305300"/>
                  <a:gd name="connsiteX251" fmla="*/ 7467600 w 8601075"/>
                  <a:gd name="connsiteY251" fmla="*/ 1581150 h 4305300"/>
                  <a:gd name="connsiteX252" fmla="*/ 7296150 w 8601075"/>
                  <a:gd name="connsiteY25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448425 w 8601075"/>
                  <a:gd name="connsiteY206" fmla="*/ 3448050 h 4305300"/>
                  <a:gd name="connsiteX207" fmla="*/ 6581775 w 8601075"/>
                  <a:gd name="connsiteY207" fmla="*/ 3276600 h 4305300"/>
                  <a:gd name="connsiteX208" fmla="*/ 6496050 w 8601075"/>
                  <a:gd name="connsiteY208" fmla="*/ 3228975 h 4305300"/>
                  <a:gd name="connsiteX209" fmla="*/ 6438900 w 8601075"/>
                  <a:gd name="connsiteY209" fmla="*/ 3162300 h 4305300"/>
                  <a:gd name="connsiteX210" fmla="*/ 6419850 w 8601075"/>
                  <a:gd name="connsiteY210" fmla="*/ 3105150 h 4305300"/>
                  <a:gd name="connsiteX211" fmla="*/ 6362700 w 8601075"/>
                  <a:gd name="connsiteY211" fmla="*/ 3076575 h 4305300"/>
                  <a:gd name="connsiteX212" fmla="*/ 6410325 w 8601075"/>
                  <a:gd name="connsiteY212" fmla="*/ 3019425 h 4305300"/>
                  <a:gd name="connsiteX213" fmla="*/ 6438900 w 8601075"/>
                  <a:gd name="connsiteY213" fmla="*/ 2819400 h 4305300"/>
                  <a:gd name="connsiteX214" fmla="*/ 6496050 w 8601075"/>
                  <a:gd name="connsiteY214" fmla="*/ 2762250 h 4305300"/>
                  <a:gd name="connsiteX215" fmla="*/ 6657975 w 8601075"/>
                  <a:gd name="connsiteY215" fmla="*/ 2752725 h 4305300"/>
                  <a:gd name="connsiteX216" fmla="*/ 6781800 w 8601075"/>
                  <a:gd name="connsiteY216" fmla="*/ 2838450 h 4305300"/>
                  <a:gd name="connsiteX217" fmla="*/ 7010400 w 8601075"/>
                  <a:gd name="connsiteY217" fmla="*/ 2838450 h 4305300"/>
                  <a:gd name="connsiteX218" fmla="*/ 7162800 w 8601075"/>
                  <a:gd name="connsiteY218" fmla="*/ 2705100 h 4305300"/>
                  <a:gd name="connsiteX219" fmla="*/ 7229475 w 8601075"/>
                  <a:gd name="connsiteY219" fmla="*/ 2590800 h 4305300"/>
                  <a:gd name="connsiteX220" fmla="*/ 7248525 w 8601075"/>
                  <a:gd name="connsiteY220" fmla="*/ 2524125 h 4305300"/>
                  <a:gd name="connsiteX221" fmla="*/ 7372350 w 8601075"/>
                  <a:gd name="connsiteY221" fmla="*/ 2543175 h 4305300"/>
                  <a:gd name="connsiteX222" fmla="*/ 7553325 w 8601075"/>
                  <a:gd name="connsiteY222" fmla="*/ 2447925 h 4305300"/>
                  <a:gd name="connsiteX223" fmla="*/ 7620000 w 8601075"/>
                  <a:gd name="connsiteY223" fmla="*/ 2324100 h 4305300"/>
                  <a:gd name="connsiteX224" fmla="*/ 7696200 w 8601075"/>
                  <a:gd name="connsiteY224" fmla="*/ 2314575 h 4305300"/>
                  <a:gd name="connsiteX225" fmla="*/ 7658100 w 8601075"/>
                  <a:gd name="connsiteY225" fmla="*/ 2257425 h 4305300"/>
                  <a:gd name="connsiteX226" fmla="*/ 7753350 w 8601075"/>
                  <a:gd name="connsiteY226" fmla="*/ 2057400 h 4305300"/>
                  <a:gd name="connsiteX227" fmla="*/ 7934325 w 8601075"/>
                  <a:gd name="connsiteY227" fmla="*/ 2028825 h 4305300"/>
                  <a:gd name="connsiteX228" fmla="*/ 7953375 w 8601075"/>
                  <a:gd name="connsiteY228" fmla="*/ 1952625 h 4305300"/>
                  <a:gd name="connsiteX229" fmla="*/ 7953375 w 8601075"/>
                  <a:gd name="connsiteY229" fmla="*/ 1952625 h 4305300"/>
                  <a:gd name="connsiteX230" fmla="*/ 8010525 w 8601075"/>
                  <a:gd name="connsiteY230" fmla="*/ 1895475 h 4305300"/>
                  <a:gd name="connsiteX231" fmla="*/ 8048625 w 8601075"/>
                  <a:gd name="connsiteY231" fmla="*/ 1971675 h 4305300"/>
                  <a:gd name="connsiteX232" fmla="*/ 8077200 w 8601075"/>
                  <a:gd name="connsiteY232" fmla="*/ 1885950 h 4305300"/>
                  <a:gd name="connsiteX233" fmla="*/ 8220075 w 8601075"/>
                  <a:gd name="connsiteY233" fmla="*/ 1847850 h 4305300"/>
                  <a:gd name="connsiteX234" fmla="*/ 8296275 w 8601075"/>
                  <a:gd name="connsiteY234" fmla="*/ 1809750 h 4305300"/>
                  <a:gd name="connsiteX235" fmla="*/ 8324850 w 8601075"/>
                  <a:gd name="connsiteY235" fmla="*/ 1790700 h 4305300"/>
                  <a:gd name="connsiteX236" fmla="*/ 8410575 w 8601075"/>
                  <a:gd name="connsiteY236" fmla="*/ 1847850 h 4305300"/>
                  <a:gd name="connsiteX237" fmla="*/ 8505825 w 8601075"/>
                  <a:gd name="connsiteY237" fmla="*/ 1781175 h 4305300"/>
                  <a:gd name="connsiteX238" fmla="*/ 8572500 w 8601075"/>
                  <a:gd name="connsiteY238" fmla="*/ 1809750 h 4305300"/>
                  <a:gd name="connsiteX239" fmla="*/ 8601075 w 8601075"/>
                  <a:gd name="connsiteY239" fmla="*/ 1704975 h 4305300"/>
                  <a:gd name="connsiteX240" fmla="*/ 8553450 w 8601075"/>
                  <a:gd name="connsiteY240" fmla="*/ 1676400 h 4305300"/>
                  <a:gd name="connsiteX241" fmla="*/ 8534400 w 8601075"/>
                  <a:gd name="connsiteY241" fmla="*/ 1609725 h 4305300"/>
                  <a:gd name="connsiteX242" fmla="*/ 8277225 w 8601075"/>
                  <a:gd name="connsiteY242" fmla="*/ 1409700 h 4305300"/>
                  <a:gd name="connsiteX243" fmla="*/ 8277225 w 8601075"/>
                  <a:gd name="connsiteY243" fmla="*/ 1409700 h 4305300"/>
                  <a:gd name="connsiteX244" fmla="*/ 8277225 w 8601075"/>
                  <a:gd name="connsiteY244" fmla="*/ 1409700 h 4305300"/>
                  <a:gd name="connsiteX245" fmla="*/ 8124825 w 8601075"/>
                  <a:gd name="connsiteY245" fmla="*/ 1352550 h 4305300"/>
                  <a:gd name="connsiteX246" fmla="*/ 7924800 w 8601075"/>
                  <a:gd name="connsiteY246" fmla="*/ 1362075 h 4305300"/>
                  <a:gd name="connsiteX247" fmla="*/ 7867650 w 8601075"/>
                  <a:gd name="connsiteY247" fmla="*/ 1457325 h 4305300"/>
                  <a:gd name="connsiteX248" fmla="*/ 7896225 w 8601075"/>
                  <a:gd name="connsiteY248" fmla="*/ 1476375 h 4305300"/>
                  <a:gd name="connsiteX249" fmla="*/ 7858125 w 8601075"/>
                  <a:gd name="connsiteY249" fmla="*/ 1533525 h 4305300"/>
                  <a:gd name="connsiteX250" fmla="*/ 7658100 w 8601075"/>
                  <a:gd name="connsiteY250" fmla="*/ 1447800 h 4305300"/>
                  <a:gd name="connsiteX251" fmla="*/ 7515225 w 8601075"/>
                  <a:gd name="connsiteY251" fmla="*/ 1495425 h 4305300"/>
                  <a:gd name="connsiteX252" fmla="*/ 7467600 w 8601075"/>
                  <a:gd name="connsiteY252" fmla="*/ 1581150 h 4305300"/>
                  <a:gd name="connsiteX253" fmla="*/ 7296150 w 8601075"/>
                  <a:gd name="connsiteY25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48425 w 8601075"/>
                  <a:gd name="connsiteY207" fmla="*/ 3448050 h 4305300"/>
                  <a:gd name="connsiteX208" fmla="*/ 6581775 w 8601075"/>
                  <a:gd name="connsiteY208" fmla="*/ 3276600 h 4305300"/>
                  <a:gd name="connsiteX209" fmla="*/ 6496050 w 8601075"/>
                  <a:gd name="connsiteY209" fmla="*/ 3228975 h 4305300"/>
                  <a:gd name="connsiteX210" fmla="*/ 6438900 w 8601075"/>
                  <a:gd name="connsiteY210" fmla="*/ 3162300 h 4305300"/>
                  <a:gd name="connsiteX211" fmla="*/ 6419850 w 8601075"/>
                  <a:gd name="connsiteY211" fmla="*/ 3105150 h 4305300"/>
                  <a:gd name="connsiteX212" fmla="*/ 6362700 w 8601075"/>
                  <a:gd name="connsiteY212" fmla="*/ 3076575 h 4305300"/>
                  <a:gd name="connsiteX213" fmla="*/ 6410325 w 8601075"/>
                  <a:gd name="connsiteY213" fmla="*/ 3019425 h 4305300"/>
                  <a:gd name="connsiteX214" fmla="*/ 6438900 w 8601075"/>
                  <a:gd name="connsiteY214" fmla="*/ 2819400 h 4305300"/>
                  <a:gd name="connsiteX215" fmla="*/ 6496050 w 8601075"/>
                  <a:gd name="connsiteY215" fmla="*/ 2762250 h 4305300"/>
                  <a:gd name="connsiteX216" fmla="*/ 6657975 w 8601075"/>
                  <a:gd name="connsiteY216" fmla="*/ 2752725 h 4305300"/>
                  <a:gd name="connsiteX217" fmla="*/ 6781800 w 8601075"/>
                  <a:gd name="connsiteY217" fmla="*/ 2838450 h 4305300"/>
                  <a:gd name="connsiteX218" fmla="*/ 7010400 w 8601075"/>
                  <a:gd name="connsiteY218" fmla="*/ 2838450 h 4305300"/>
                  <a:gd name="connsiteX219" fmla="*/ 7162800 w 8601075"/>
                  <a:gd name="connsiteY219" fmla="*/ 2705100 h 4305300"/>
                  <a:gd name="connsiteX220" fmla="*/ 7229475 w 8601075"/>
                  <a:gd name="connsiteY220" fmla="*/ 2590800 h 4305300"/>
                  <a:gd name="connsiteX221" fmla="*/ 7248525 w 8601075"/>
                  <a:gd name="connsiteY221" fmla="*/ 2524125 h 4305300"/>
                  <a:gd name="connsiteX222" fmla="*/ 7372350 w 8601075"/>
                  <a:gd name="connsiteY222" fmla="*/ 2543175 h 4305300"/>
                  <a:gd name="connsiteX223" fmla="*/ 7553325 w 8601075"/>
                  <a:gd name="connsiteY223" fmla="*/ 2447925 h 4305300"/>
                  <a:gd name="connsiteX224" fmla="*/ 7620000 w 8601075"/>
                  <a:gd name="connsiteY224" fmla="*/ 2324100 h 4305300"/>
                  <a:gd name="connsiteX225" fmla="*/ 7696200 w 8601075"/>
                  <a:gd name="connsiteY225" fmla="*/ 2314575 h 4305300"/>
                  <a:gd name="connsiteX226" fmla="*/ 7658100 w 8601075"/>
                  <a:gd name="connsiteY226" fmla="*/ 2257425 h 4305300"/>
                  <a:gd name="connsiteX227" fmla="*/ 7753350 w 8601075"/>
                  <a:gd name="connsiteY227" fmla="*/ 2057400 h 4305300"/>
                  <a:gd name="connsiteX228" fmla="*/ 7934325 w 8601075"/>
                  <a:gd name="connsiteY228" fmla="*/ 2028825 h 4305300"/>
                  <a:gd name="connsiteX229" fmla="*/ 7953375 w 8601075"/>
                  <a:gd name="connsiteY229" fmla="*/ 1952625 h 4305300"/>
                  <a:gd name="connsiteX230" fmla="*/ 7953375 w 8601075"/>
                  <a:gd name="connsiteY230" fmla="*/ 1952625 h 4305300"/>
                  <a:gd name="connsiteX231" fmla="*/ 8010525 w 8601075"/>
                  <a:gd name="connsiteY231" fmla="*/ 1895475 h 4305300"/>
                  <a:gd name="connsiteX232" fmla="*/ 8048625 w 8601075"/>
                  <a:gd name="connsiteY232" fmla="*/ 1971675 h 4305300"/>
                  <a:gd name="connsiteX233" fmla="*/ 8077200 w 8601075"/>
                  <a:gd name="connsiteY233" fmla="*/ 1885950 h 4305300"/>
                  <a:gd name="connsiteX234" fmla="*/ 8220075 w 8601075"/>
                  <a:gd name="connsiteY234" fmla="*/ 1847850 h 4305300"/>
                  <a:gd name="connsiteX235" fmla="*/ 8296275 w 8601075"/>
                  <a:gd name="connsiteY235" fmla="*/ 1809750 h 4305300"/>
                  <a:gd name="connsiteX236" fmla="*/ 8324850 w 8601075"/>
                  <a:gd name="connsiteY236" fmla="*/ 1790700 h 4305300"/>
                  <a:gd name="connsiteX237" fmla="*/ 8410575 w 8601075"/>
                  <a:gd name="connsiteY237" fmla="*/ 1847850 h 4305300"/>
                  <a:gd name="connsiteX238" fmla="*/ 8505825 w 8601075"/>
                  <a:gd name="connsiteY238" fmla="*/ 1781175 h 4305300"/>
                  <a:gd name="connsiteX239" fmla="*/ 8572500 w 8601075"/>
                  <a:gd name="connsiteY239" fmla="*/ 1809750 h 4305300"/>
                  <a:gd name="connsiteX240" fmla="*/ 8601075 w 8601075"/>
                  <a:gd name="connsiteY240" fmla="*/ 1704975 h 4305300"/>
                  <a:gd name="connsiteX241" fmla="*/ 8553450 w 8601075"/>
                  <a:gd name="connsiteY241" fmla="*/ 1676400 h 4305300"/>
                  <a:gd name="connsiteX242" fmla="*/ 8534400 w 8601075"/>
                  <a:gd name="connsiteY242" fmla="*/ 1609725 h 4305300"/>
                  <a:gd name="connsiteX243" fmla="*/ 8277225 w 8601075"/>
                  <a:gd name="connsiteY243" fmla="*/ 1409700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124825 w 8601075"/>
                  <a:gd name="connsiteY246" fmla="*/ 1352550 h 4305300"/>
                  <a:gd name="connsiteX247" fmla="*/ 7924800 w 8601075"/>
                  <a:gd name="connsiteY247" fmla="*/ 1362075 h 4305300"/>
                  <a:gd name="connsiteX248" fmla="*/ 7867650 w 8601075"/>
                  <a:gd name="connsiteY248" fmla="*/ 1457325 h 4305300"/>
                  <a:gd name="connsiteX249" fmla="*/ 7896225 w 8601075"/>
                  <a:gd name="connsiteY249" fmla="*/ 1476375 h 4305300"/>
                  <a:gd name="connsiteX250" fmla="*/ 7858125 w 8601075"/>
                  <a:gd name="connsiteY250" fmla="*/ 1533525 h 4305300"/>
                  <a:gd name="connsiteX251" fmla="*/ 7658100 w 8601075"/>
                  <a:gd name="connsiteY251" fmla="*/ 1447800 h 4305300"/>
                  <a:gd name="connsiteX252" fmla="*/ 7515225 w 8601075"/>
                  <a:gd name="connsiteY252" fmla="*/ 1495425 h 4305300"/>
                  <a:gd name="connsiteX253" fmla="*/ 7467600 w 8601075"/>
                  <a:gd name="connsiteY253" fmla="*/ 1581150 h 4305300"/>
                  <a:gd name="connsiteX254" fmla="*/ 7296150 w 8601075"/>
                  <a:gd name="connsiteY25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48425 w 8601075"/>
                  <a:gd name="connsiteY208" fmla="*/ 3448050 h 4305300"/>
                  <a:gd name="connsiteX209" fmla="*/ 6581775 w 8601075"/>
                  <a:gd name="connsiteY209" fmla="*/ 3276600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81775 w 8601075"/>
                  <a:gd name="connsiteY209" fmla="*/ 3276600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496050 w 8601075"/>
                  <a:gd name="connsiteY210" fmla="*/ 3228975 h 4305300"/>
                  <a:gd name="connsiteX211" fmla="*/ 6438900 w 8601075"/>
                  <a:gd name="connsiteY211" fmla="*/ 3162300 h 4305300"/>
                  <a:gd name="connsiteX212" fmla="*/ 6419850 w 8601075"/>
                  <a:gd name="connsiteY212" fmla="*/ 3105150 h 4305300"/>
                  <a:gd name="connsiteX213" fmla="*/ 6362700 w 8601075"/>
                  <a:gd name="connsiteY213" fmla="*/ 3076575 h 4305300"/>
                  <a:gd name="connsiteX214" fmla="*/ 6410325 w 8601075"/>
                  <a:gd name="connsiteY214" fmla="*/ 3019425 h 4305300"/>
                  <a:gd name="connsiteX215" fmla="*/ 6438900 w 8601075"/>
                  <a:gd name="connsiteY215" fmla="*/ 2819400 h 4305300"/>
                  <a:gd name="connsiteX216" fmla="*/ 6496050 w 8601075"/>
                  <a:gd name="connsiteY216" fmla="*/ 2762250 h 4305300"/>
                  <a:gd name="connsiteX217" fmla="*/ 6657975 w 8601075"/>
                  <a:gd name="connsiteY217" fmla="*/ 2752725 h 4305300"/>
                  <a:gd name="connsiteX218" fmla="*/ 6781800 w 8601075"/>
                  <a:gd name="connsiteY218" fmla="*/ 2838450 h 4305300"/>
                  <a:gd name="connsiteX219" fmla="*/ 7010400 w 8601075"/>
                  <a:gd name="connsiteY219" fmla="*/ 2838450 h 4305300"/>
                  <a:gd name="connsiteX220" fmla="*/ 7162800 w 8601075"/>
                  <a:gd name="connsiteY220" fmla="*/ 2705100 h 4305300"/>
                  <a:gd name="connsiteX221" fmla="*/ 7229475 w 8601075"/>
                  <a:gd name="connsiteY221" fmla="*/ 2590800 h 4305300"/>
                  <a:gd name="connsiteX222" fmla="*/ 7248525 w 8601075"/>
                  <a:gd name="connsiteY222" fmla="*/ 2524125 h 4305300"/>
                  <a:gd name="connsiteX223" fmla="*/ 7372350 w 8601075"/>
                  <a:gd name="connsiteY223" fmla="*/ 2543175 h 4305300"/>
                  <a:gd name="connsiteX224" fmla="*/ 7553325 w 8601075"/>
                  <a:gd name="connsiteY224" fmla="*/ 2447925 h 4305300"/>
                  <a:gd name="connsiteX225" fmla="*/ 7620000 w 8601075"/>
                  <a:gd name="connsiteY225" fmla="*/ 2324100 h 4305300"/>
                  <a:gd name="connsiteX226" fmla="*/ 7696200 w 8601075"/>
                  <a:gd name="connsiteY226" fmla="*/ 2314575 h 4305300"/>
                  <a:gd name="connsiteX227" fmla="*/ 7658100 w 8601075"/>
                  <a:gd name="connsiteY227" fmla="*/ 2257425 h 4305300"/>
                  <a:gd name="connsiteX228" fmla="*/ 7753350 w 8601075"/>
                  <a:gd name="connsiteY228" fmla="*/ 2057400 h 4305300"/>
                  <a:gd name="connsiteX229" fmla="*/ 7934325 w 8601075"/>
                  <a:gd name="connsiteY229" fmla="*/ 2028825 h 4305300"/>
                  <a:gd name="connsiteX230" fmla="*/ 7953375 w 8601075"/>
                  <a:gd name="connsiteY230" fmla="*/ 1952625 h 4305300"/>
                  <a:gd name="connsiteX231" fmla="*/ 7953375 w 8601075"/>
                  <a:gd name="connsiteY231" fmla="*/ 1952625 h 4305300"/>
                  <a:gd name="connsiteX232" fmla="*/ 8010525 w 8601075"/>
                  <a:gd name="connsiteY232" fmla="*/ 1895475 h 4305300"/>
                  <a:gd name="connsiteX233" fmla="*/ 8048625 w 8601075"/>
                  <a:gd name="connsiteY233" fmla="*/ 1971675 h 4305300"/>
                  <a:gd name="connsiteX234" fmla="*/ 8077200 w 8601075"/>
                  <a:gd name="connsiteY234" fmla="*/ 1885950 h 4305300"/>
                  <a:gd name="connsiteX235" fmla="*/ 8220075 w 8601075"/>
                  <a:gd name="connsiteY235" fmla="*/ 1847850 h 4305300"/>
                  <a:gd name="connsiteX236" fmla="*/ 8296275 w 8601075"/>
                  <a:gd name="connsiteY236" fmla="*/ 1809750 h 4305300"/>
                  <a:gd name="connsiteX237" fmla="*/ 8324850 w 8601075"/>
                  <a:gd name="connsiteY237" fmla="*/ 1790700 h 4305300"/>
                  <a:gd name="connsiteX238" fmla="*/ 8410575 w 8601075"/>
                  <a:gd name="connsiteY238" fmla="*/ 1847850 h 4305300"/>
                  <a:gd name="connsiteX239" fmla="*/ 8505825 w 8601075"/>
                  <a:gd name="connsiteY239" fmla="*/ 1781175 h 4305300"/>
                  <a:gd name="connsiteX240" fmla="*/ 8572500 w 8601075"/>
                  <a:gd name="connsiteY240" fmla="*/ 1809750 h 4305300"/>
                  <a:gd name="connsiteX241" fmla="*/ 8601075 w 8601075"/>
                  <a:gd name="connsiteY241" fmla="*/ 1704975 h 4305300"/>
                  <a:gd name="connsiteX242" fmla="*/ 8553450 w 8601075"/>
                  <a:gd name="connsiteY242" fmla="*/ 1676400 h 4305300"/>
                  <a:gd name="connsiteX243" fmla="*/ 8534400 w 8601075"/>
                  <a:gd name="connsiteY243" fmla="*/ 1609725 h 4305300"/>
                  <a:gd name="connsiteX244" fmla="*/ 8277225 w 8601075"/>
                  <a:gd name="connsiteY244" fmla="*/ 1409700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124825 w 8601075"/>
                  <a:gd name="connsiteY247" fmla="*/ 1352550 h 4305300"/>
                  <a:gd name="connsiteX248" fmla="*/ 7924800 w 8601075"/>
                  <a:gd name="connsiteY248" fmla="*/ 1362075 h 4305300"/>
                  <a:gd name="connsiteX249" fmla="*/ 7867650 w 8601075"/>
                  <a:gd name="connsiteY249" fmla="*/ 1457325 h 4305300"/>
                  <a:gd name="connsiteX250" fmla="*/ 7896225 w 8601075"/>
                  <a:gd name="connsiteY250" fmla="*/ 1476375 h 4305300"/>
                  <a:gd name="connsiteX251" fmla="*/ 7858125 w 8601075"/>
                  <a:gd name="connsiteY251" fmla="*/ 1533525 h 4305300"/>
                  <a:gd name="connsiteX252" fmla="*/ 7658100 w 8601075"/>
                  <a:gd name="connsiteY252" fmla="*/ 1447800 h 4305300"/>
                  <a:gd name="connsiteX253" fmla="*/ 7515225 w 8601075"/>
                  <a:gd name="connsiteY253" fmla="*/ 1495425 h 4305300"/>
                  <a:gd name="connsiteX254" fmla="*/ 7467600 w 8601075"/>
                  <a:gd name="connsiteY254" fmla="*/ 1581150 h 4305300"/>
                  <a:gd name="connsiteX255" fmla="*/ 7296150 w 8601075"/>
                  <a:gd name="connsiteY25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496050 w 8601075"/>
                  <a:gd name="connsiteY211" fmla="*/ 3228975 h 4305300"/>
                  <a:gd name="connsiteX212" fmla="*/ 6438900 w 8601075"/>
                  <a:gd name="connsiteY212" fmla="*/ 3162300 h 4305300"/>
                  <a:gd name="connsiteX213" fmla="*/ 6419850 w 8601075"/>
                  <a:gd name="connsiteY213" fmla="*/ 3105150 h 4305300"/>
                  <a:gd name="connsiteX214" fmla="*/ 6362700 w 8601075"/>
                  <a:gd name="connsiteY214" fmla="*/ 3076575 h 4305300"/>
                  <a:gd name="connsiteX215" fmla="*/ 6410325 w 8601075"/>
                  <a:gd name="connsiteY215" fmla="*/ 3019425 h 4305300"/>
                  <a:gd name="connsiteX216" fmla="*/ 6438900 w 8601075"/>
                  <a:gd name="connsiteY216" fmla="*/ 2819400 h 4305300"/>
                  <a:gd name="connsiteX217" fmla="*/ 6496050 w 8601075"/>
                  <a:gd name="connsiteY217" fmla="*/ 2762250 h 4305300"/>
                  <a:gd name="connsiteX218" fmla="*/ 6657975 w 8601075"/>
                  <a:gd name="connsiteY218" fmla="*/ 2752725 h 4305300"/>
                  <a:gd name="connsiteX219" fmla="*/ 6781800 w 8601075"/>
                  <a:gd name="connsiteY219" fmla="*/ 2838450 h 4305300"/>
                  <a:gd name="connsiteX220" fmla="*/ 7010400 w 8601075"/>
                  <a:gd name="connsiteY220" fmla="*/ 2838450 h 4305300"/>
                  <a:gd name="connsiteX221" fmla="*/ 7162800 w 8601075"/>
                  <a:gd name="connsiteY221" fmla="*/ 2705100 h 4305300"/>
                  <a:gd name="connsiteX222" fmla="*/ 7229475 w 8601075"/>
                  <a:gd name="connsiteY222" fmla="*/ 2590800 h 4305300"/>
                  <a:gd name="connsiteX223" fmla="*/ 7248525 w 8601075"/>
                  <a:gd name="connsiteY223" fmla="*/ 2524125 h 4305300"/>
                  <a:gd name="connsiteX224" fmla="*/ 7372350 w 8601075"/>
                  <a:gd name="connsiteY224" fmla="*/ 2543175 h 4305300"/>
                  <a:gd name="connsiteX225" fmla="*/ 7553325 w 8601075"/>
                  <a:gd name="connsiteY225" fmla="*/ 2447925 h 4305300"/>
                  <a:gd name="connsiteX226" fmla="*/ 7620000 w 8601075"/>
                  <a:gd name="connsiteY226" fmla="*/ 2324100 h 4305300"/>
                  <a:gd name="connsiteX227" fmla="*/ 7696200 w 8601075"/>
                  <a:gd name="connsiteY227" fmla="*/ 2314575 h 4305300"/>
                  <a:gd name="connsiteX228" fmla="*/ 7658100 w 8601075"/>
                  <a:gd name="connsiteY228" fmla="*/ 2257425 h 4305300"/>
                  <a:gd name="connsiteX229" fmla="*/ 7753350 w 8601075"/>
                  <a:gd name="connsiteY229" fmla="*/ 2057400 h 4305300"/>
                  <a:gd name="connsiteX230" fmla="*/ 7934325 w 8601075"/>
                  <a:gd name="connsiteY230" fmla="*/ 2028825 h 4305300"/>
                  <a:gd name="connsiteX231" fmla="*/ 7953375 w 8601075"/>
                  <a:gd name="connsiteY231" fmla="*/ 1952625 h 4305300"/>
                  <a:gd name="connsiteX232" fmla="*/ 7953375 w 8601075"/>
                  <a:gd name="connsiteY232" fmla="*/ 1952625 h 4305300"/>
                  <a:gd name="connsiteX233" fmla="*/ 8010525 w 8601075"/>
                  <a:gd name="connsiteY233" fmla="*/ 1895475 h 4305300"/>
                  <a:gd name="connsiteX234" fmla="*/ 8048625 w 8601075"/>
                  <a:gd name="connsiteY234" fmla="*/ 1971675 h 4305300"/>
                  <a:gd name="connsiteX235" fmla="*/ 8077200 w 8601075"/>
                  <a:gd name="connsiteY235" fmla="*/ 1885950 h 4305300"/>
                  <a:gd name="connsiteX236" fmla="*/ 8220075 w 8601075"/>
                  <a:gd name="connsiteY236" fmla="*/ 1847850 h 4305300"/>
                  <a:gd name="connsiteX237" fmla="*/ 8296275 w 8601075"/>
                  <a:gd name="connsiteY237" fmla="*/ 1809750 h 4305300"/>
                  <a:gd name="connsiteX238" fmla="*/ 8324850 w 8601075"/>
                  <a:gd name="connsiteY238" fmla="*/ 1790700 h 4305300"/>
                  <a:gd name="connsiteX239" fmla="*/ 8410575 w 8601075"/>
                  <a:gd name="connsiteY239" fmla="*/ 1847850 h 4305300"/>
                  <a:gd name="connsiteX240" fmla="*/ 8505825 w 8601075"/>
                  <a:gd name="connsiteY240" fmla="*/ 1781175 h 4305300"/>
                  <a:gd name="connsiteX241" fmla="*/ 8572500 w 8601075"/>
                  <a:gd name="connsiteY241" fmla="*/ 1809750 h 4305300"/>
                  <a:gd name="connsiteX242" fmla="*/ 8601075 w 8601075"/>
                  <a:gd name="connsiteY242" fmla="*/ 1704975 h 4305300"/>
                  <a:gd name="connsiteX243" fmla="*/ 8553450 w 8601075"/>
                  <a:gd name="connsiteY243" fmla="*/ 1676400 h 4305300"/>
                  <a:gd name="connsiteX244" fmla="*/ 8534400 w 8601075"/>
                  <a:gd name="connsiteY244" fmla="*/ 1609725 h 4305300"/>
                  <a:gd name="connsiteX245" fmla="*/ 8277225 w 8601075"/>
                  <a:gd name="connsiteY245" fmla="*/ 1409700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124825 w 8601075"/>
                  <a:gd name="connsiteY248" fmla="*/ 1352550 h 4305300"/>
                  <a:gd name="connsiteX249" fmla="*/ 7924800 w 8601075"/>
                  <a:gd name="connsiteY249" fmla="*/ 1362075 h 4305300"/>
                  <a:gd name="connsiteX250" fmla="*/ 7867650 w 8601075"/>
                  <a:gd name="connsiteY250" fmla="*/ 1457325 h 4305300"/>
                  <a:gd name="connsiteX251" fmla="*/ 7896225 w 8601075"/>
                  <a:gd name="connsiteY251" fmla="*/ 1476375 h 4305300"/>
                  <a:gd name="connsiteX252" fmla="*/ 7858125 w 8601075"/>
                  <a:gd name="connsiteY252" fmla="*/ 1533525 h 4305300"/>
                  <a:gd name="connsiteX253" fmla="*/ 7658100 w 8601075"/>
                  <a:gd name="connsiteY253" fmla="*/ 1447800 h 4305300"/>
                  <a:gd name="connsiteX254" fmla="*/ 7515225 w 8601075"/>
                  <a:gd name="connsiteY254" fmla="*/ 1495425 h 4305300"/>
                  <a:gd name="connsiteX255" fmla="*/ 7467600 w 8601075"/>
                  <a:gd name="connsiteY255" fmla="*/ 1581150 h 4305300"/>
                  <a:gd name="connsiteX256" fmla="*/ 7296150 w 8601075"/>
                  <a:gd name="connsiteY256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6050 w 8601075"/>
                  <a:gd name="connsiteY212" fmla="*/ 3228975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62700 w 8601075"/>
                  <a:gd name="connsiteY215" fmla="*/ 3076575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62700 w 8601075"/>
                  <a:gd name="connsiteY215" fmla="*/ 3076575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38900 w 8601075"/>
                  <a:gd name="connsiteY217" fmla="*/ 2819400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6050 w 8601075"/>
                  <a:gd name="connsiteY218" fmla="*/ 2762250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57975 w 8601075"/>
                  <a:gd name="connsiteY219" fmla="*/ 2752725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81800 w 8601075"/>
                  <a:gd name="connsiteY220" fmla="*/ 2838450 h 4305300"/>
                  <a:gd name="connsiteX221" fmla="*/ 7010400 w 8601075"/>
                  <a:gd name="connsiteY221" fmla="*/ 2838450 h 4305300"/>
                  <a:gd name="connsiteX222" fmla="*/ 7162800 w 8601075"/>
                  <a:gd name="connsiteY222" fmla="*/ 2705100 h 4305300"/>
                  <a:gd name="connsiteX223" fmla="*/ 7229475 w 8601075"/>
                  <a:gd name="connsiteY223" fmla="*/ 2590800 h 4305300"/>
                  <a:gd name="connsiteX224" fmla="*/ 7248525 w 8601075"/>
                  <a:gd name="connsiteY224" fmla="*/ 2524125 h 4305300"/>
                  <a:gd name="connsiteX225" fmla="*/ 7372350 w 8601075"/>
                  <a:gd name="connsiteY225" fmla="*/ 2543175 h 4305300"/>
                  <a:gd name="connsiteX226" fmla="*/ 7553325 w 8601075"/>
                  <a:gd name="connsiteY226" fmla="*/ 2447925 h 4305300"/>
                  <a:gd name="connsiteX227" fmla="*/ 7620000 w 8601075"/>
                  <a:gd name="connsiteY227" fmla="*/ 2324100 h 4305300"/>
                  <a:gd name="connsiteX228" fmla="*/ 7696200 w 8601075"/>
                  <a:gd name="connsiteY228" fmla="*/ 2314575 h 4305300"/>
                  <a:gd name="connsiteX229" fmla="*/ 7658100 w 8601075"/>
                  <a:gd name="connsiteY229" fmla="*/ 2257425 h 4305300"/>
                  <a:gd name="connsiteX230" fmla="*/ 7753350 w 8601075"/>
                  <a:gd name="connsiteY230" fmla="*/ 2057400 h 4305300"/>
                  <a:gd name="connsiteX231" fmla="*/ 7934325 w 8601075"/>
                  <a:gd name="connsiteY231" fmla="*/ 2028825 h 4305300"/>
                  <a:gd name="connsiteX232" fmla="*/ 7953375 w 8601075"/>
                  <a:gd name="connsiteY232" fmla="*/ 1952625 h 4305300"/>
                  <a:gd name="connsiteX233" fmla="*/ 7953375 w 8601075"/>
                  <a:gd name="connsiteY233" fmla="*/ 1952625 h 4305300"/>
                  <a:gd name="connsiteX234" fmla="*/ 8010525 w 8601075"/>
                  <a:gd name="connsiteY234" fmla="*/ 1895475 h 4305300"/>
                  <a:gd name="connsiteX235" fmla="*/ 8048625 w 8601075"/>
                  <a:gd name="connsiteY235" fmla="*/ 1971675 h 4305300"/>
                  <a:gd name="connsiteX236" fmla="*/ 8077200 w 8601075"/>
                  <a:gd name="connsiteY236" fmla="*/ 1885950 h 4305300"/>
                  <a:gd name="connsiteX237" fmla="*/ 8220075 w 8601075"/>
                  <a:gd name="connsiteY237" fmla="*/ 1847850 h 4305300"/>
                  <a:gd name="connsiteX238" fmla="*/ 8296275 w 8601075"/>
                  <a:gd name="connsiteY238" fmla="*/ 1809750 h 4305300"/>
                  <a:gd name="connsiteX239" fmla="*/ 8324850 w 8601075"/>
                  <a:gd name="connsiteY239" fmla="*/ 1790700 h 4305300"/>
                  <a:gd name="connsiteX240" fmla="*/ 8410575 w 8601075"/>
                  <a:gd name="connsiteY240" fmla="*/ 1847850 h 4305300"/>
                  <a:gd name="connsiteX241" fmla="*/ 8505825 w 8601075"/>
                  <a:gd name="connsiteY241" fmla="*/ 1781175 h 4305300"/>
                  <a:gd name="connsiteX242" fmla="*/ 8572500 w 8601075"/>
                  <a:gd name="connsiteY242" fmla="*/ 1809750 h 4305300"/>
                  <a:gd name="connsiteX243" fmla="*/ 8601075 w 8601075"/>
                  <a:gd name="connsiteY243" fmla="*/ 1704975 h 4305300"/>
                  <a:gd name="connsiteX244" fmla="*/ 8553450 w 8601075"/>
                  <a:gd name="connsiteY244" fmla="*/ 1676400 h 4305300"/>
                  <a:gd name="connsiteX245" fmla="*/ 8534400 w 8601075"/>
                  <a:gd name="connsiteY245" fmla="*/ 1609725 h 4305300"/>
                  <a:gd name="connsiteX246" fmla="*/ 8277225 w 8601075"/>
                  <a:gd name="connsiteY246" fmla="*/ 1409700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124825 w 8601075"/>
                  <a:gd name="connsiteY249" fmla="*/ 1352550 h 4305300"/>
                  <a:gd name="connsiteX250" fmla="*/ 7924800 w 8601075"/>
                  <a:gd name="connsiteY250" fmla="*/ 1362075 h 4305300"/>
                  <a:gd name="connsiteX251" fmla="*/ 7867650 w 8601075"/>
                  <a:gd name="connsiteY251" fmla="*/ 1457325 h 4305300"/>
                  <a:gd name="connsiteX252" fmla="*/ 7896225 w 8601075"/>
                  <a:gd name="connsiteY252" fmla="*/ 1476375 h 4305300"/>
                  <a:gd name="connsiteX253" fmla="*/ 7858125 w 8601075"/>
                  <a:gd name="connsiteY253" fmla="*/ 1533525 h 4305300"/>
                  <a:gd name="connsiteX254" fmla="*/ 7658100 w 8601075"/>
                  <a:gd name="connsiteY254" fmla="*/ 1447800 h 4305300"/>
                  <a:gd name="connsiteX255" fmla="*/ 7515225 w 8601075"/>
                  <a:gd name="connsiteY255" fmla="*/ 1495425 h 4305300"/>
                  <a:gd name="connsiteX256" fmla="*/ 7467600 w 8601075"/>
                  <a:gd name="connsiteY256" fmla="*/ 1581150 h 4305300"/>
                  <a:gd name="connsiteX257" fmla="*/ 7296150 w 8601075"/>
                  <a:gd name="connsiteY25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7010400 w 8601075"/>
                  <a:gd name="connsiteY222" fmla="*/ 2838450 h 4305300"/>
                  <a:gd name="connsiteX223" fmla="*/ 7162800 w 8601075"/>
                  <a:gd name="connsiteY223" fmla="*/ 2705100 h 4305300"/>
                  <a:gd name="connsiteX224" fmla="*/ 7229475 w 8601075"/>
                  <a:gd name="connsiteY224" fmla="*/ 2590800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29475 w 8601075"/>
                  <a:gd name="connsiteY224" fmla="*/ 2590800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8525 w 8601075"/>
                  <a:gd name="connsiteY225" fmla="*/ 2524125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34238 w 8601075"/>
                  <a:gd name="connsiteY225" fmla="*/ 2540794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2350 w 8601075"/>
                  <a:gd name="connsiteY226" fmla="*/ 2543175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3325 w 8601075"/>
                  <a:gd name="connsiteY227" fmla="*/ 2447925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20000 w 8601075"/>
                  <a:gd name="connsiteY228" fmla="*/ 23241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96200 w 8601075"/>
                  <a:gd name="connsiteY229" fmla="*/ 2314575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8100 w 8601075"/>
                  <a:gd name="connsiteY230" fmla="*/ 2257425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53350 w 8601075"/>
                  <a:gd name="connsiteY231" fmla="*/ 2057400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934325 w 8601075"/>
                  <a:gd name="connsiteY232" fmla="*/ 2028825 h 4305300"/>
                  <a:gd name="connsiteX233" fmla="*/ 7953375 w 8601075"/>
                  <a:gd name="connsiteY233" fmla="*/ 1952625 h 4305300"/>
                  <a:gd name="connsiteX234" fmla="*/ 7953375 w 8601075"/>
                  <a:gd name="connsiteY234" fmla="*/ 1952625 h 4305300"/>
                  <a:gd name="connsiteX235" fmla="*/ 8010525 w 8601075"/>
                  <a:gd name="connsiteY235" fmla="*/ 1895475 h 4305300"/>
                  <a:gd name="connsiteX236" fmla="*/ 8048625 w 8601075"/>
                  <a:gd name="connsiteY236" fmla="*/ 1971675 h 4305300"/>
                  <a:gd name="connsiteX237" fmla="*/ 8077200 w 8601075"/>
                  <a:gd name="connsiteY237" fmla="*/ 1885950 h 4305300"/>
                  <a:gd name="connsiteX238" fmla="*/ 8220075 w 8601075"/>
                  <a:gd name="connsiteY238" fmla="*/ 1847850 h 4305300"/>
                  <a:gd name="connsiteX239" fmla="*/ 8296275 w 8601075"/>
                  <a:gd name="connsiteY239" fmla="*/ 1809750 h 4305300"/>
                  <a:gd name="connsiteX240" fmla="*/ 8324850 w 8601075"/>
                  <a:gd name="connsiteY240" fmla="*/ 1790700 h 4305300"/>
                  <a:gd name="connsiteX241" fmla="*/ 8410575 w 8601075"/>
                  <a:gd name="connsiteY241" fmla="*/ 1847850 h 4305300"/>
                  <a:gd name="connsiteX242" fmla="*/ 8505825 w 8601075"/>
                  <a:gd name="connsiteY242" fmla="*/ 1781175 h 4305300"/>
                  <a:gd name="connsiteX243" fmla="*/ 8572500 w 8601075"/>
                  <a:gd name="connsiteY243" fmla="*/ 1809750 h 4305300"/>
                  <a:gd name="connsiteX244" fmla="*/ 8601075 w 8601075"/>
                  <a:gd name="connsiteY244" fmla="*/ 1704975 h 4305300"/>
                  <a:gd name="connsiteX245" fmla="*/ 8553450 w 8601075"/>
                  <a:gd name="connsiteY245" fmla="*/ 1676400 h 4305300"/>
                  <a:gd name="connsiteX246" fmla="*/ 8534400 w 8601075"/>
                  <a:gd name="connsiteY246" fmla="*/ 1609725 h 4305300"/>
                  <a:gd name="connsiteX247" fmla="*/ 8277225 w 8601075"/>
                  <a:gd name="connsiteY247" fmla="*/ 1409700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124825 w 8601075"/>
                  <a:gd name="connsiteY250" fmla="*/ 1352550 h 4305300"/>
                  <a:gd name="connsiteX251" fmla="*/ 7924800 w 8601075"/>
                  <a:gd name="connsiteY251" fmla="*/ 1362075 h 4305300"/>
                  <a:gd name="connsiteX252" fmla="*/ 7867650 w 8601075"/>
                  <a:gd name="connsiteY252" fmla="*/ 1457325 h 4305300"/>
                  <a:gd name="connsiteX253" fmla="*/ 7896225 w 8601075"/>
                  <a:gd name="connsiteY253" fmla="*/ 1476375 h 4305300"/>
                  <a:gd name="connsiteX254" fmla="*/ 7858125 w 8601075"/>
                  <a:gd name="connsiteY254" fmla="*/ 1533525 h 4305300"/>
                  <a:gd name="connsiteX255" fmla="*/ 7658100 w 8601075"/>
                  <a:gd name="connsiteY255" fmla="*/ 1447800 h 4305300"/>
                  <a:gd name="connsiteX256" fmla="*/ 7515225 w 8601075"/>
                  <a:gd name="connsiteY256" fmla="*/ 1495425 h 4305300"/>
                  <a:gd name="connsiteX257" fmla="*/ 7467600 w 8601075"/>
                  <a:gd name="connsiteY257" fmla="*/ 1581150 h 4305300"/>
                  <a:gd name="connsiteX258" fmla="*/ 7296150 w 8601075"/>
                  <a:gd name="connsiteY25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934325 w 8601075"/>
                  <a:gd name="connsiteY233" fmla="*/ 2028825 h 4305300"/>
                  <a:gd name="connsiteX234" fmla="*/ 7953375 w 8601075"/>
                  <a:gd name="connsiteY234" fmla="*/ 1952625 h 4305300"/>
                  <a:gd name="connsiteX235" fmla="*/ 7953375 w 8601075"/>
                  <a:gd name="connsiteY235" fmla="*/ 1952625 h 4305300"/>
                  <a:gd name="connsiteX236" fmla="*/ 8010525 w 8601075"/>
                  <a:gd name="connsiteY236" fmla="*/ 1895475 h 4305300"/>
                  <a:gd name="connsiteX237" fmla="*/ 8048625 w 8601075"/>
                  <a:gd name="connsiteY237" fmla="*/ 1971675 h 4305300"/>
                  <a:gd name="connsiteX238" fmla="*/ 8077200 w 8601075"/>
                  <a:gd name="connsiteY238" fmla="*/ 1885950 h 4305300"/>
                  <a:gd name="connsiteX239" fmla="*/ 8220075 w 8601075"/>
                  <a:gd name="connsiteY239" fmla="*/ 1847850 h 4305300"/>
                  <a:gd name="connsiteX240" fmla="*/ 8296275 w 8601075"/>
                  <a:gd name="connsiteY240" fmla="*/ 1809750 h 4305300"/>
                  <a:gd name="connsiteX241" fmla="*/ 8324850 w 8601075"/>
                  <a:gd name="connsiteY241" fmla="*/ 1790700 h 4305300"/>
                  <a:gd name="connsiteX242" fmla="*/ 8410575 w 8601075"/>
                  <a:gd name="connsiteY242" fmla="*/ 1847850 h 4305300"/>
                  <a:gd name="connsiteX243" fmla="*/ 8505825 w 8601075"/>
                  <a:gd name="connsiteY243" fmla="*/ 1781175 h 4305300"/>
                  <a:gd name="connsiteX244" fmla="*/ 8572500 w 8601075"/>
                  <a:gd name="connsiteY244" fmla="*/ 1809750 h 4305300"/>
                  <a:gd name="connsiteX245" fmla="*/ 8601075 w 8601075"/>
                  <a:gd name="connsiteY245" fmla="*/ 1704975 h 4305300"/>
                  <a:gd name="connsiteX246" fmla="*/ 8553450 w 8601075"/>
                  <a:gd name="connsiteY246" fmla="*/ 1676400 h 4305300"/>
                  <a:gd name="connsiteX247" fmla="*/ 8534400 w 8601075"/>
                  <a:gd name="connsiteY247" fmla="*/ 1609725 h 4305300"/>
                  <a:gd name="connsiteX248" fmla="*/ 8277225 w 8601075"/>
                  <a:gd name="connsiteY248" fmla="*/ 1409700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124825 w 8601075"/>
                  <a:gd name="connsiteY251" fmla="*/ 1352550 h 4305300"/>
                  <a:gd name="connsiteX252" fmla="*/ 7924800 w 8601075"/>
                  <a:gd name="connsiteY252" fmla="*/ 1362075 h 4305300"/>
                  <a:gd name="connsiteX253" fmla="*/ 7867650 w 8601075"/>
                  <a:gd name="connsiteY253" fmla="*/ 1457325 h 4305300"/>
                  <a:gd name="connsiteX254" fmla="*/ 7896225 w 8601075"/>
                  <a:gd name="connsiteY254" fmla="*/ 1476375 h 4305300"/>
                  <a:gd name="connsiteX255" fmla="*/ 7858125 w 8601075"/>
                  <a:gd name="connsiteY255" fmla="*/ 1533525 h 4305300"/>
                  <a:gd name="connsiteX256" fmla="*/ 7658100 w 8601075"/>
                  <a:gd name="connsiteY256" fmla="*/ 1447800 h 4305300"/>
                  <a:gd name="connsiteX257" fmla="*/ 7515225 w 8601075"/>
                  <a:gd name="connsiteY257" fmla="*/ 1495425 h 4305300"/>
                  <a:gd name="connsiteX258" fmla="*/ 7467600 w 8601075"/>
                  <a:gd name="connsiteY258" fmla="*/ 1581150 h 4305300"/>
                  <a:gd name="connsiteX259" fmla="*/ 7296150 w 8601075"/>
                  <a:gd name="connsiteY25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934325 w 8601075"/>
                  <a:gd name="connsiteY234" fmla="*/ 2028825 h 4305300"/>
                  <a:gd name="connsiteX235" fmla="*/ 7953375 w 8601075"/>
                  <a:gd name="connsiteY235" fmla="*/ 1952625 h 4305300"/>
                  <a:gd name="connsiteX236" fmla="*/ 7953375 w 8601075"/>
                  <a:gd name="connsiteY236" fmla="*/ 1952625 h 4305300"/>
                  <a:gd name="connsiteX237" fmla="*/ 8010525 w 8601075"/>
                  <a:gd name="connsiteY237" fmla="*/ 1895475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28825 h 4305300"/>
                  <a:gd name="connsiteX236" fmla="*/ 7953375 w 8601075"/>
                  <a:gd name="connsiteY236" fmla="*/ 1952625 h 4305300"/>
                  <a:gd name="connsiteX237" fmla="*/ 7953375 w 8601075"/>
                  <a:gd name="connsiteY237" fmla="*/ 1952625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53375 w 8601075"/>
                  <a:gd name="connsiteY237" fmla="*/ 1952625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43850 w 8601075"/>
                  <a:gd name="connsiteY237" fmla="*/ 1957388 h 4305300"/>
                  <a:gd name="connsiteX238" fmla="*/ 8010525 w 8601075"/>
                  <a:gd name="connsiteY238" fmla="*/ 1895475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43850 w 8601075"/>
                  <a:gd name="connsiteY237" fmla="*/ 1957388 h 4305300"/>
                  <a:gd name="connsiteX238" fmla="*/ 7967662 w 8601075"/>
                  <a:gd name="connsiteY238" fmla="*/ 1909763 h 4305300"/>
                  <a:gd name="connsiteX239" fmla="*/ 8048625 w 8601075"/>
                  <a:gd name="connsiteY239" fmla="*/ 1971675 h 4305300"/>
                  <a:gd name="connsiteX240" fmla="*/ 8077200 w 8601075"/>
                  <a:gd name="connsiteY240" fmla="*/ 1885950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53375 w 8601075"/>
                  <a:gd name="connsiteY236" fmla="*/ 1952625 h 4305300"/>
                  <a:gd name="connsiteX237" fmla="*/ 7967662 w 8601075"/>
                  <a:gd name="connsiteY237" fmla="*/ 1909763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67662 w 8601075"/>
                  <a:gd name="connsiteY237" fmla="*/ 1909763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8625 w 8601075"/>
                  <a:gd name="connsiteY238" fmla="*/ 1971675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7200 w 8601075"/>
                  <a:gd name="connsiteY239" fmla="*/ 1885950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58150 w 8601075"/>
                  <a:gd name="connsiteY239" fmla="*/ 1909762 h 4305300"/>
                  <a:gd name="connsiteX240" fmla="*/ 8220075 w 8601075"/>
                  <a:gd name="connsiteY240" fmla="*/ 1847850 h 4305300"/>
                  <a:gd name="connsiteX241" fmla="*/ 8296275 w 8601075"/>
                  <a:gd name="connsiteY241" fmla="*/ 1809750 h 4305300"/>
                  <a:gd name="connsiteX242" fmla="*/ 8324850 w 8601075"/>
                  <a:gd name="connsiteY242" fmla="*/ 1790700 h 4305300"/>
                  <a:gd name="connsiteX243" fmla="*/ 8410575 w 8601075"/>
                  <a:gd name="connsiteY243" fmla="*/ 1847850 h 4305300"/>
                  <a:gd name="connsiteX244" fmla="*/ 8505825 w 8601075"/>
                  <a:gd name="connsiteY244" fmla="*/ 1781175 h 4305300"/>
                  <a:gd name="connsiteX245" fmla="*/ 8572500 w 8601075"/>
                  <a:gd name="connsiteY245" fmla="*/ 1809750 h 4305300"/>
                  <a:gd name="connsiteX246" fmla="*/ 8601075 w 8601075"/>
                  <a:gd name="connsiteY246" fmla="*/ 1704975 h 4305300"/>
                  <a:gd name="connsiteX247" fmla="*/ 8553450 w 8601075"/>
                  <a:gd name="connsiteY247" fmla="*/ 1676400 h 4305300"/>
                  <a:gd name="connsiteX248" fmla="*/ 8534400 w 8601075"/>
                  <a:gd name="connsiteY248" fmla="*/ 1609725 h 4305300"/>
                  <a:gd name="connsiteX249" fmla="*/ 8277225 w 8601075"/>
                  <a:gd name="connsiteY249" fmla="*/ 1409700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124825 w 8601075"/>
                  <a:gd name="connsiteY252" fmla="*/ 1352550 h 4305300"/>
                  <a:gd name="connsiteX253" fmla="*/ 7924800 w 8601075"/>
                  <a:gd name="connsiteY253" fmla="*/ 1362075 h 4305300"/>
                  <a:gd name="connsiteX254" fmla="*/ 7867650 w 8601075"/>
                  <a:gd name="connsiteY254" fmla="*/ 1457325 h 4305300"/>
                  <a:gd name="connsiteX255" fmla="*/ 7896225 w 8601075"/>
                  <a:gd name="connsiteY255" fmla="*/ 1476375 h 4305300"/>
                  <a:gd name="connsiteX256" fmla="*/ 7858125 w 8601075"/>
                  <a:gd name="connsiteY256" fmla="*/ 1533525 h 4305300"/>
                  <a:gd name="connsiteX257" fmla="*/ 7658100 w 8601075"/>
                  <a:gd name="connsiteY257" fmla="*/ 1447800 h 4305300"/>
                  <a:gd name="connsiteX258" fmla="*/ 7515225 w 8601075"/>
                  <a:gd name="connsiteY258" fmla="*/ 1495425 h 4305300"/>
                  <a:gd name="connsiteX259" fmla="*/ 7467600 w 8601075"/>
                  <a:gd name="connsiteY259" fmla="*/ 1581150 h 4305300"/>
                  <a:gd name="connsiteX260" fmla="*/ 7296150 w 8601075"/>
                  <a:gd name="connsiteY26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58150 w 8601075"/>
                  <a:gd name="connsiteY239" fmla="*/ 1909762 h 4305300"/>
                  <a:gd name="connsiteX240" fmla="*/ 8155781 w 8601075"/>
                  <a:gd name="connsiteY240" fmla="*/ 1835944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55781 w 8601075"/>
                  <a:gd name="connsiteY240" fmla="*/ 1835944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0075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96275 w 8601075"/>
                  <a:gd name="connsiteY242" fmla="*/ 180975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24850 w 8601075"/>
                  <a:gd name="connsiteY243" fmla="*/ 1790700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410575 w 8601075"/>
                  <a:gd name="connsiteY244" fmla="*/ 1847850 h 4305300"/>
                  <a:gd name="connsiteX245" fmla="*/ 8505825 w 8601075"/>
                  <a:gd name="connsiteY245" fmla="*/ 1781175 h 4305300"/>
                  <a:gd name="connsiteX246" fmla="*/ 8572500 w 8601075"/>
                  <a:gd name="connsiteY246" fmla="*/ 1809750 h 4305300"/>
                  <a:gd name="connsiteX247" fmla="*/ 8601075 w 8601075"/>
                  <a:gd name="connsiteY247" fmla="*/ 1704975 h 4305300"/>
                  <a:gd name="connsiteX248" fmla="*/ 8553450 w 8601075"/>
                  <a:gd name="connsiteY248" fmla="*/ 1676400 h 4305300"/>
                  <a:gd name="connsiteX249" fmla="*/ 8534400 w 8601075"/>
                  <a:gd name="connsiteY249" fmla="*/ 1609725 h 4305300"/>
                  <a:gd name="connsiteX250" fmla="*/ 8277225 w 8601075"/>
                  <a:gd name="connsiteY250" fmla="*/ 1409700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124825 w 8601075"/>
                  <a:gd name="connsiteY253" fmla="*/ 1352550 h 4305300"/>
                  <a:gd name="connsiteX254" fmla="*/ 7924800 w 8601075"/>
                  <a:gd name="connsiteY254" fmla="*/ 1362075 h 4305300"/>
                  <a:gd name="connsiteX255" fmla="*/ 7867650 w 8601075"/>
                  <a:gd name="connsiteY255" fmla="*/ 1457325 h 4305300"/>
                  <a:gd name="connsiteX256" fmla="*/ 7896225 w 8601075"/>
                  <a:gd name="connsiteY256" fmla="*/ 1476375 h 4305300"/>
                  <a:gd name="connsiteX257" fmla="*/ 7858125 w 8601075"/>
                  <a:gd name="connsiteY257" fmla="*/ 1533525 h 4305300"/>
                  <a:gd name="connsiteX258" fmla="*/ 7658100 w 8601075"/>
                  <a:gd name="connsiteY258" fmla="*/ 1447800 h 4305300"/>
                  <a:gd name="connsiteX259" fmla="*/ 7515225 w 8601075"/>
                  <a:gd name="connsiteY259" fmla="*/ 1495425 h 4305300"/>
                  <a:gd name="connsiteX260" fmla="*/ 7467600 w 8601075"/>
                  <a:gd name="connsiteY260" fmla="*/ 1581150 h 4305300"/>
                  <a:gd name="connsiteX261" fmla="*/ 7296150 w 8601075"/>
                  <a:gd name="connsiteY261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410575 w 8601075"/>
                  <a:gd name="connsiteY245" fmla="*/ 1847850 h 4305300"/>
                  <a:gd name="connsiteX246" fmla="*/ 8505825 w 8601075"/>
                  <a:gd name="connsiteY246" fmla="*/ 1781175 h 4305300"/>
                  <a:gd name="connsiteX247" fmla="*/ 8572500 w 8601075"/>
                  <a:gd name="connsiteY247" fmla="*/ 1809750 h 4305300"/>
                  <a:gd name="connsiteX248" fmla="*/ 8601075 w 8601075"/>
                  <a:gd name="connsiteY248" fmla="*/ 1704975 h 4305300"/>
                  <a:gd name="connsiteX249" fmla="*/ 8553450 w 8601075"/>
                  <a:gd name="connsiteY249" fmla="*/ 1676400 h 4305300"/>
                  <a:gd name="connsiteX250" fmla="*/ 8534400 w 8601075"/>
                  <a:gd name="connsiteY250" fmla="*/ 1609725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124825 w 8601075"/>
                  <a:gd name="connsiteY254" fmla="*/ 1352550 h 4305300"/>
                  <a:gd name="connsiteX255" fmla="*/ 7924800 w 8601075"/>
                  <a:gd name="connsiteY255" fmla="*/ 1362075 h 4305300"/>
                  <a:gd name="connsiteX256" fmla="*/ 7867650 w 8601075"/>
                  <a:gd name="connsiteY256" fmla="*/ 1457325 h 4305300"/>
                  <a:gd name="connsiteX257" fmla="*/ 7896225 w 8601075"/>
                  <a:gd name="connsiteY257" fmla="*/ 1476375 h 4305300"/>
                  <a:gd name="connsiteX258" fmla="*/ 7858125 w 8601075"/>
                  <a:gd name="connsiteY258" fmla="*/ 1533525 h 4305300"/>
                  <a:gd name="connsiteX259" fmla="*/ 7658100 w 8601075"/>
                  <a:gd name="connsiteY259" fmla="*/ 1447800 h 4305300"/>
                  <a:gd name="connsiteX260" fmla="*/ 7515225 w 8601075"/>
                  <a:gd name="connsiteY260" fmla="*/ 1495425 h 4305300"/>
                  <a:gd name="connsiteX261" fmla="*/ 7467600 w 8601075"/>
                  <a:gd name="connsiteY261" fmla="*/ 1581150 h 4305300"/>
                  <a:gd name="connsiteX262" fmla="*/ 7296150 w 8601075"/>
                  <a:gd name="connsiteY26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505825 w 8601075"/>
                  <a:gd name="connsiteY246" fmla="*/ 1781175 h 4305300"/>
                  <a:gd name="connsiteX247" fmla="*/ 8572500 w 8601075"/>
                  <a:gd name="connsiteY247" fmla="*/ 1809750 h 4305300"/>
                  <a:gd name="connsiteX248" fmla="*/ 8601075 w 8601075"/>
                  <a:gd name="connsiteY248" fmla="*/ 1704975 h 4305300"/>
                  <a:gd name="connsiteX249" fmla="*/ 8553450 w 8601075"/>
                  <a:gd name="connsiteY249" fmla="*/ 1676400 h 4305300"/>
                  <a:gd name="connsiteX250" fmla="*/ 8534400 w 8601075"/>
                  <a:gd name="connsiteY250" fmla="*/ 1609725 h 4305300"/>
                  <a:gd name="connsiteX251" fmla="*/ 8277225 w 8601075"/>
                  <a:gd name="connsiteY251" fmla="*/ 1409700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124825 w 8601075"/>
                  <a:gd name="connsiteY254" fmla="*/ 1352550 h 4305300"/>
                  <a:gd name="connsiteX255" fmla="*/ 7924800 w 8601075"/>
                  <a:gd name="connsiteY255" fmla="*/ 1362075 h 4305300"/>
                  <a:gd name="connsiteX256" fmla="*/ 7867650 w 8601075"/>
                  <a:gd name="connsiteY256" fmla="*/ 1457325 h 4305300"/>
                  <a:gd name="connsiteX257" fmla="*/ 7896225 w 8601075"/>
                  <a:gd name="connsiteY257" fmla="*/ 1476375 h 4305300"/>
                  <a:gd name="connsiteX258" fmla="*/ 7858125 w 8601075"/>
                  <a:gd name="connsiteY258" fmla="*/ 1533525 h 4305300"/>
                  <a:gd name="connsiteX259" fmla="*/ 7658100 w 8601075"/>
                  <a:gd name="connsiteY259" fmla="*/ 1447800 h 4305300"/>
                  <a:gd name="connsiteX260" fmla="*/ 7515225 w 8601075"/>
                  <a:gd name="connsiteY260" fmla="*/ 1495425 h 4305300"/>
                  <a:gd name="connsiteX261" fmla="*/ 7467600 w 8601075"/>
                  <a:gd name="connsiteY261" fmla="*/ 1581150 h 4305300"/>
                  <a:gd name="connsiteX262" fmla="*/ 7296150 w 8601075"/>
                  <a:gd name="connsiteY262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505825 w 8601075"/>
                  <a:gd name="connsiteY247" fmla="*/ 1781175 h 4305300"/>
                  <a:gd name="connsiteX248" fmla="*/ 8572500 w 8601075"/>
                  <a:gd name="connsiteY248" fmla="*/ 1809750 h 4305300"/>
                  <a:gd name="connsiteX249" fmla="*/ 8601075 w 8601075"/>
                  <a:gd name="connsiteY249" fmla="*/ 1704975 h 4305300"/>
                  <a:gd name="connsiteX250" fmla="*/ 8553450 w 8601075"/>
                  <a:gd name="connsiteY250" fmla="*/ 1676400 h 4305300"/>
                  <a:gd name="connsiteX251" fmla="*/ 8534400 w 8601075"/>
                  <a:gd name="connsiteY251" fmla="*/ 1609725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124825 w 8601075"/>
                  <a:gd name="connsiteY255" fmla="*/ 1352550 h 4305300"/>
                  <a:gd name="connsiteX256" fmla="*/ 7924800 w 8601075"/>
                  <a:gd name="connsiteY256" fmla="*/ 1362075 h 4305300"/>
                  <a:gd name="connsiteX257" fmla="*/ 7867650 w 8601075"/>
                  <a:gd name="connsiteY257" fmla="*/ 1457325 h 4305300"/>
                  <a:gd name="connsiteX258" fmla="*/ 7896225 w 8601075"/>
                  <a:gd name="connsiteY258" fmla="*/ 1476375 h 4305300"/>
                  <a:gd name="connsiteX259" fmla="*/ 7858125 w 8601075"/>
                  <a:gd name="connsiteY259" fmla="*/ 1533525 h 4305300"/>
                  <a:gd name="connsiteX260" fmla="*/ 7658100 w 8601075"/>
                  <a:gd name="connsiteY260" fmla="*/ 1447800 h 4305300"/>
                  <a:gd name="connsiteX261" fmla="*/ 7515225 w 8601075"/>
                  <a:gd name="connsiteY261" fmla="*/ 1495425 h 4305300"/>
                  <a:gd name="connsiteX262" fmla="*/ 7467600 w 8601075"/>
                  <a:gd name="connsiteY262" fmla="*/ 1581150 h 4305300"/>
                  <a:gd name="connsiteX263" fmla="*/ 7296150 w 8601075"/>
                  <a:gd name="connsiteY26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72500 w 8601075"/>
                  <a:gd name="connsiteY248" fmla="*/ 1809750 h 4305300"/>
                  <a:gd name="connsiteX249" fmla="*/ 8601075 w 8601075"/>
                  <a:gd name="connsiteY249" fmla="*/ 1704975 h 4305300"/>
                  <a:gd name="connsiteX250" fmla="*/ 8553450 w 8601075"/>
                  <a:gd name="connsiteY250" fmla="*/ 1676400 h 4305300"/>
                  <a:gd name="connsiteX251" fmla="*/ 8534400 w 8601075"/>
                  <a:gd name="connsiteY251" fmla="*/ 1609725 h 4305300"/>
                  <a:gd name="connsiteX252" fmla="*/ 8277225 w 8601075"/>
                  <a:gd name="connsiteY252" fmla="*/ 1409700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124825 w 8601075"/>
                  <a:gd name="connsiteY255" fmla="*/ 1352550 h 4305300"/>
                  <a:gd name="connsiteX256" fmla="*/ 7924800 w 8601075"/>
                  <a:gd name="connsiteY256" fmla="*/ 1362075 h 4305300"/>
                  <a:gd name="connsiteX257" fmla="*/ 7867650 w 8601075"/>
                  <a:gd name="connsiteY257" fmla="*/ 1457325 h 4305300"/>
                  <a:gd name="connsiteX258" fmla="*/ 7896225 w 8601075"/>
                  <a:gd name="connsiteY258" fmla="*/ 1476375 h 4305300"/>
                  <a:gd name="connsiteX259" fmla="*/ 7858125 w 8601075"/>
                  <a:gd name="connsiteY259" fmla="*/ 1533525 h 4305300"/>
                  <a:gd name="connsiteX260" fmla="*/ 7658100 w 8601075"/>
                  <a:gd name="connsiteY260" fmla="*/ 1447800 h 4305300"/>
                  <a:gd name="connsiteX261" fmla="*/ 7515225 w 8601075"/>
                  <a:gd name="connsiteY261" fmla="*/ 1495425 h 4305300"/>
                  <a:gd name="connsiteX262" fmla="*/ 7467600 w 8601075"/>
                  <a:gd name="connsiteY262" fmla="*/ 1581150 h 4305300"/>
                  <a:gd name="connsiteX263" fmla="*/ 7296150 w 8601075"/>
                  <a:gd name="connsiteY263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72500 w 8601075"/>
                  <a:gd name="connsiteY248" fmla="*/ 1809750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3450 w 8601075"/>
                  <a:gd name="connsiteY251" fmla="*/ 1676400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3450 w 8601075"/>
                  <a:gd name="connsiteY251" fmla="*/ 1676400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277225 w 8601075"/>
                  <a:gd name="connsiteY253" fmla="*/ 1409700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124825 w 8601075"/>
                  <a:gd name="connsiteY256" fmla="*/ 1352550 h 4305300"/>
                  <a:gd name="connsiteX257" fmla="*/ 7924800 w 8601075"/>
                  <a:gd name="connsiteY257" fmla="*/ 1362075 h 4305300"/>
                  <a:gd name="connsiteX258" fmla="*/ 7867650 w 8601075"/>
                  <a:gd name="connsiteY258" fmla="*/ 1457325 h 4305300"/>
                  <a:gd name="connsiteX259" fmla="*/ 7896225 w 8601075"/>
                  <a:gd name="connsiteY259" fmla="*/ 1476375 h 4305300"/>
                  <a:gd name="connsiteX260" fmla="*/ 7858125 w 8601075"/>
                  <a:gd name="connsiteY260" fmla="*/ 1533525 h 4305300"/>
                  <a:gd name="connsiteX261" fmla="*/ 7658100 w 8601075"/>
                  <a:gd name="connsiteY261" fmla="*/ 1447800 h 4305300"/>
                  <a:gd name="connsiteX262" fmla="*/ 7515225 w 8601075"/>
                  <a:gd name="connsiteY262" fmla="*/ 1495425 h 4305300"/>
                  <a:gd name="connsiteX263" fmla="*/ 7467600 w 8601075"/>
                  <a:gd name="connsiteY263" fmla="*/ 1581150 h 4305300"/>
                  <a:gd name="connsiteX264" fmla="*/ 7296150 w 8601075"/>
                  <a:gd name="connsiteY264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277225 w 8601075"/>
                  <a:gd name="connsiteY254" fmla="*/ 1409700 h 4305300"/>
                  <a:gd name="connsiteX255" fmla="*/ 8277225 w 8601075"/>
                  <a:gd name="connsiteY255" fmla="*/ 1409700 h 4305300"/>
                  <a:gd name="connsiteX256" fmla="*/ 8277225 w 8601075"/>
                  <a:gd name="connsiteY256" fmla="*/ 1409700 h 4305300"/>
                  <a:gd name="connsiteX257" fmla="*/ 8124825 w 8601075"/>
                  <a:gd name="connsiteY257" fmla="*/ 1352550 h 4305300"/>
                  <a:gd name="connsiteX258" fmla="*/ 7924800 w 8601075"/>
                  <a:gd name="connsiteY258" fmla="*/ 1362075 h 4305300"/>
                  <a:gd name="connsiteX259" fmla="*/ 7867650 w 8601075"/>
                  <a:gd name="connsiteY259" fmla="*/ 1457325 h 4305300"/>
                  <a:gd name="connsiteX260" fmla="*/ 7896225 w 8601075"/>
                  <a:gd name="connsiteY260" fmla="*/ 1476375 h 4305300"/>
                  <a:gd name="connsiteX261" fmla="*/ 7858125 w 8601075"/>
                  <a:gd name="connsiteY261" fmla="*/ 1533525 h 4305300"/>
                  <a:gd name="connsiteX262" fmla="*/ 7658100 w 8601075"/>
                  <a:gd name="connsiteY262" fmla="*/ 1447800 h 4305300"/>
                  <a:gd name="connsiteX263" fmla="*/ 7515225 w 8601075"/>
                  <a:gd name="connsiteY263" fmla="*/ 1495425 h 4305300"/>
                  <a:gd name="connsiteX264" fmla="*/ 7467600 w 8601075"/>
                  <a:gd name="connsiteY264" fmla="*/ 1581150 h 4305300"/>
                  <a:gd name="connsiteX265" fmla="*/ 7296150 w 8601075"/>
                  <a:gd name="connsiteY265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277225 w 8601075"/>
                  <a:gd name="connsiteY255" fmla="*/ 1409700 h 4305300"/>
                  <a:gd name="connsiteX256" fmla="*/ 8277225 w 8601075"/>
                  <a:gd name="connsiteY256" fmla="*/ 1409700 h 4305300"/>
                  <a:gd name="connsiteX257" fmla="*/ 8277225 w 8601075"/>
                  <a:gd name="connsiteY257" fmla="*/ 1409700 h 4305300"/>
                  <a:gd name="connsiteX258" fmla="*/ 8124825 w 8601075"/>
                  <a:gd name="connsiteY258" fmla="*/ 1352550 h 4305300"/>
                  <a:gd name="connsiteX259" fmla="*/ 7924800 w 8601075"/>
                  <a:gd name="connsiteY259" fmla="*/ 1362075 h 4305300"/>
                  <a:gd name="connsiteX260" fmla="*/ 7867650 w 8601075"/>
                  <a:gd name="connsiteY260" fmla="*/ 1457325 h 4305300"/>
                  <a:gd name="connsiteX261" fmla="*/ 7896225 w 8601075"/>
                  <a:gd name="connsiteY261" fmla="*/ 1476375 h 4305300"/>
                  <a:gd name="connsiteX262" fmla="*/ 7858125 w 8601075"/>
                  <a:gd name="connsiteY262" fmla="*/ 1533525 h 4305300"/>
                  <a:gd name="connsiteX263" fmla="*/ 7658100 w 8601075"/>
                  <a:gd name="connsiteY263" fmla="*/ 1447800 h 4305300"/>
                  <a:gd name="connsiteX264" fmla="*/ 7515225 w 8601075"/>
                  <a:gd name="connsiteY264" fmla="*/ 1495425 h 4305300"/>
                  <a:gd name="connsiteX265" fmla="*/ 7467600 w 8601075"/>
                  <a:gd name="connsiteY265" fmla="*/ 1581150 h 4305300"/>
                  <a:gd name="connsiteX266" fmla="*/ 7296150 w 8601075"/>
                  <a:gd name="connsiteY266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277225 w 8601075"/>
                  <a:gd name="connsiteY256" fmla="*/ 1409700 h 4305300"/>
                  <a:gd name="connsiteX257" fmla="*/ 8277225 w 8601075"/>
                  <a:gd name="connsiteY257" fmla="*/ 1409700 h 4305300"/>
                  <a:gd name="connsiteX258" fmla="*/ 8277225 w 8601075"/>
                  <a:gd name="connsiteY258" fmla="*/ 1409700 h 4305300"/>
                  <a:gd name="connsiteX259" fmla="*/ 8124825 w 8601075"/>
                  <a:gd name="connsiteY259" fmla="*/ 1352550 h 4305300"/>
                  <a:gd name="connsiteX260" fmla="*/ 7924800 w 8601075"/>
                  <a:gd name="connsiteY260" fmla="*/ 1362075 h 4305300"/>
                  <a:gd name="connsiteX261" fmla="*/ 7867650 w 8601075"/>
                  <a:gd name="connsiteY261" fmla="*/ 1457325 h 4305300"/>
                  <a:gd name="connsiteX262" fmla="*/ 7896225 w 8601075"/>
                  <a:gd name="connsiteY262" fmla="*/ 1476375 h 4305300"/>
                  <a:gd name="connsiteX263" fmla="*/ 7858125 w 8601075"/>
                  <a:gd name="connsiteY263" fmla="*/ 1533525 h 4305300"/>
                  <a:gd name="connsiteX264" fmla="*/ 7658100 w 8601075"/>
                  <a:gd name="connsiteY264" fmla="*/ 1447800 h 4305300"/>
                  <a:gd name="connsiteX265" fmla="*/ 7515225 w 8601075"/>
                  <a:gd name="connsiteY265" fmla="*/ 1495425 h 4305300"/>
                  <a:gd name="connsiteX266" fmla="*/ 7467600 w 8601075"/>
                  <a:gd name="connsiteY266" fmla="*/ 1581150 h 4305300"/>
                  <a:gd name="connsiteX267" fmla="*/ 7296150 w 8601075"/>
                  <a:gd name="connsiteY267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277225 w 8601075"/>
                  <a:gd name="connsiteY257" fmla="*/ 1409700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124825 w 8601075"/>
                  <a:gd name="connsiteY260" fmla="*/ 1352550 h 4305300"/>
                  <a:gd name="connsiteX261" fmla="*/ 7924800 w 8601075"/>
                  <a:gd name="connsiteY261" fmla="*/ 1362075 h 4305300"/>
                  <a:gd name="connsiteX262" fmla="*/ 7867650 w 8601075"/>
                  <a:gd name="connsiteY262" fmla="*/ 1457325 h 4305300"/>
                  <a:gd name="connsiteX263" fmla="*/ 7896225 w 8601075"/>
                  <a:gd name="connsiteY263" fmla="*/ 1476375 h 4305300"/>
                  <a:gd name="connsiteX264" fmla="*/ 7858125 w 8601075"/>
                  <a:gd name="connsiteY264" fmla="*/ 1533525 h 4305300"/>
                  <a:gd name="connsiteX265" fmla="*/ 7658100 w 8601075"/>
                  <a:gd name="connsiteY265" fmla="*/ 1447800 h 4305300"/>
                  <a:gd name="connsiteX266" fmla="*/ 7515225 w 8601075"/>
                  <a:gd name="connsiteY266" fmla="*/ 1495425 h 4305300"/>
                  <a:gd name="connsiteX267" fmla="*/ 7467600 w 8601075"/>
                  <a:gd name="connsiteY267" fmla="*/ 1581150 h 4305300"/>
                  <a:gd name="connsiteX268" fmla="*/ 7296150 w 8601075"/>
                  <a:gd name="connsiteY26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81988 w 8601075"/>
                  <a:gd name="connsiteY260" fmla="*/ 1421607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124825 w 8601075"/>
                  <a:gd name="connsiteY260" fmla="*/ 1352550 h 4305300"/>
                  <a:gd name="connsiteX261" fmla="*/ 7924800 w 8601075"/>
                  <a:gd name="connsiteY261" fmla="*/ 1362075 h 4305300"/>
                  <a:gd name="connsiteX262" fmla="*/ 7867650 w 8601075"/>
                  <a:gd name="connsiteY262" fmla="*/ 1457325 h 4305300"/>
                  <a:gd name="connsiteX263" fmla="*/ 7896225 w 8601075"/>
                  <a:gd name="connsiteY263" fmla="*/ 1476375 h 4305300"/>
                  <a:gd name="connsiteX264" fmla="*/ 7858125 w 8601075"/>
                  <a:gd name="connsiteY264" fmla="*/ 1533525 h 4305300"/>
                  <a:gd name="connsiteX265" fmla="*/ 7658100 w 8601075"/>
                  <a:gd name="connsiteY265" fmla="*/ 1447800 h 4305300"/>
                  <a:gd name="connsiteX266" fmla="*/ 7515225 w 8601075"/>
                  <a:gd name="connsiteY266" fmla="*/ 1495425 h 4305300"/>
                  <a:gd name="connsiteX267" fmla="*/ 7467600 w 8601075"/>
                  <a:gd name="connsiteY267" fmla="*/ 1581150 h 4305300"/>
                  <a:gd name="connsiteX268" fmla="*/ 7296150 w 8601075"/>
                  <a:gd name="connsiteY268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24825 w 8601075"/>
                  <a:gd name="connsiteY261" fmla="*/ 1352550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24800 w 8601075"/>
                  <a:gd name="connsiteY262" fmla="*/ 1362075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867650 w 8601075"/>
                  <a:gd name="connsiteY263" fmla="*/ 1457325 h 4305300"/>
                  <a:gd name="connsiteX264" fmla="*/ 7896225 w 8601075"/>
                  <a:gd name="connsiteY264" fmla="*/ 1476375 h 4305300"/>
                  <a:gd name="connsiteX265" fmla="*/ 7858125 w 8601075"/>
                  <a:gd name="connsiteY265" fmla="*/ 1533525 h 4305300"/>
                  <a:gd name="connsiteX266" fmla="*/ 7658100 w 8601075"/>
                  <a:gd name="connsiteY266" fmla="*/ 1447800 h 4305300"/>
                  <a:gd name="connsiteX267" fmla="*/ 7515225 w 8601075"/>
                  <a:gd name="connsiteY267" fmla="*/ 1495425 h 4305300"/>
                  <a:gd name="connsiteX268" fmla="*/ 7467600 w 8601075"/>
                  <a:gd name="connsiteY268" fmla="*/ 1581150 h 4305300"/>
                  <a:gd name="connsiteX269" fmla="*/ 7296150 w 8601075"/>
                  <a:gd name="connsiteY269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96225 w 8601075"/>
                  <a:gd name="connsiteY265" fmla="*/ 1476375 h 4305300"/>
                  <a:gd name="connsiteX266" fmla="*/ 7858125 w 8601075"/>
                  <a:gd name="connsiteY266" fmla="*/ 1533525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58125 w 8601075"/>
                  <a:gd name="connsiteY266" fmla="*/ 1533525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58100 w 8601075"/>
                  <a:gd name="connsiteY267" fmla="*/ 1447800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15225 w 8601075"/>
                  <a:gd name="connsiteY268" fmla="*/ 1495425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24750 w 8601075"/>
                  <a:gd name="connsiteY268" fmla="*/ 1485900 h 4305300"/>
                  <a:gd name="connsiteX269" fmla="*/ 7467600 w 8601075"/>
                  <a:gd name="connsiteY269" fmla="*/ 1581150 h 4305300"/>
                  <a:gd name="connsiteX270" fmla="*/ 7296150 w 8601075"/>
                  <a:gd name="connsiteY270" fmla="*/ 1466850 h 4305300"/>
                  <a:gd name="connsiteX0" fmla="*/ 7296150 w 8601075"/>
                  <a:gd name="connsiteY0" fmla="*/ 1466850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98569 w 8601075"/>
                  <a:gd name="connsiteY268" fmla="*/ 1488281 h 4305300"/>
                  <a:gd name="connsiteX269" fmla="*/ 7524750 w 8601075"/>
                  <a:gd name="connsiteY269" fmla="*/ 1485900 h 4305300"/>
                  <a:gd name="connsiteX270" fmla="*/ 7467600 w 8601075"/>
                  <a:gd name="connsiteY270" fmla="*/ 1581150 h 4305300"/>
                  <a:gd name="connsiteX271" fmla="*/ 7296150 w 8601075"/>
                  <a:gd name="connsiteY271" fmla="*/ 1466850 h 4305300"/>
                  <a:gd name="connsiteX0" fmla="*/ 7329488 w 8601075"/>
                  <a:gd name="connsiteY0" fmla="*/ 1483519 h 4305300"/>
                  <a:gd name="connsiteX1" fmla="*/ 7381875 w 8601075"/>
                  <a:gd name="connsiteY1" fmla="*/ 1323975 h 4305300"/>
                  <a:gd name="connsiteX2" fmla="*/ 7372350 w 8601075"/>
                  <a:gd name="connsiteY2" fmla="*/ 1190625 h 4305300"/>
                  <a:gd name="connsiteX3" fmla="*/ 7419975 w 8601075"/>
                  <a:gd name="connsiteY3" fmla="*/ 1047750 h 4305300"/>
                  <a:gd name="connsiteX4" fmla="*/ 7486650 w 8601075"/>
                  <a:gd name="connsiteY4" fmla="*/ 638175 h 4305300"/>
                  <a:gd name="connsiteX5" fmla="*/ 7343775 w 8601075"/>
                  <a:gd name="connsiteY5" fmla="*/ 647700 h 4305300"/>
                  <a:gd name="connsiteX6" fmla="*/ 7172325 w 8601075"/>
                  <a:gd name="connsiteY6" fmla="*/ 742950 h 4305300"/>
                  <a:gd name="connsiteX7" fmla="*/ 7010400 w 8601075"/>
                  <a:gd name="connsiteY7" fmla="*/ 609600 h 4305300"/>
                  <a:gd name="connsiteX8" fmla="*/ 6877050 w 8601075"/>
                  <a:gd name="connsiteY8" fmla="*/ 600075 h 4305300"/>
                  <a:gd name="connsiteX9" fmla="*/ 6600825 w 8601075"/>
                  <a:gd name="connsiteY9" fmla="*/ 904875 h 4305300"/>
                  <a:gd name="connsiteX10" fmla="*/ 6600825 w 8601075"/>
                  <a:gd name="connsiteY10" fmla="*/ 904875 h 4305300"/>
                  <a:gd name="connsiteX11" fmla="*/ 6534150 w 8601075"/>
                  <a:gd name="connsiteY11" fmla="*/ 942975 h 4305300"/>
                  <a:gd name="connsiteX12" fmla="*/ 6534150 w 8601075"/>
                  <a:gd name="connsiteY12" fmla="*/ 942975 h 4305300"/>
                  <a:gd name="connsiteX13" fmla="*/ 6362700 w 8601075"/>
                  <a:gd name="connsiteY13" fmla="*/ 1009650 h 4305300"/>
                  <a:gd name="connsiteX14" fmla="*/ 6238875 w 8601075"/>
                  <a:gd name="connsiteY14" fmla="*/ 1057275 h 4305300"/>
                  <a:gd name="connsiteX15" fmla="*/ 6115050 w 8601075"/>
                  <a:gd name="connsiteY15" fmla="*/ 1114425 h 4305300"/>
                  <a:gd name="connsiteX16" fmla="*/ 5962650 w 8601075"/>
                  <a:gd name="connsiteY16" fmla="*/ 1190625 h 4305300"/>
                  <a:gd name="connsiteX17" fmla="*/ 5895975 w 8601075"/>
                  <a:gd name="connsiteY17" fmla="*/ 1143000 h 4305300"/>
                  <a:gd name="connsiteX18" fmla="*/ 5895975 w 8601075"/>
                  <a:gd name="connsiteY18" fmla="*/ 1143000 h 4305300"/>
                  <a:gd name="connsiteX19" fmla="*/ 5676900 w 8601075"/>
                  <a:gd name="connsiteY19" fmla="*/ 1181100 h 4305300"/>
                  <a:gd name="connsiteX20" fmla="*/ 5600700 w 8601075"/>
                  <a:gd name="connsiteY20" fmla="*/ 1114425 h 4305300"/>
                  <a:gd name="connsiteX21" fmla="*/ 5391150 w 8601075"/>
                  <a:gd name="connsiteY21" fmla="*/ 1123950 h 4305300"/>
                  <a:gd name="connsiteX22" fmla="*/ 5334000 w 8601075"/>
                  <a:gd name="connsiteY22" fmla="*/ 1066800 h 4305300"/>
                  <a:gd name="connsiteX23" fmla="*/ 5248275 w 8601075"/>
                  <a:gd name="connsiteY23" fmla="*/ 981075 h 4305300"/>
                  <a:gd name="connsiteX24" fmla="*/ 5238750 w 8601075"/>
                  <a:gd name="connsiteY24" fmla="*/ 895350 h 4305300"/>
                  <a:gd name="connsiteX25" fmla="*/ 5133975 w 8601075"/>
                  <a:gd name="connsiteY25" fmla="*/ 895350 h 4305300"/>
                  <a:gd name="connsiteX26" fmla="*/ 4991100 w 8601075"/>
                  <a:gd name="connsiteY26" fmla="*/ 838200 h 4305300"/>
                  <a:gd name="connsiteX27" fmla="*/ 4905375 w 8601075"/>
                  <a:gd name="connsiteY27" fmla="*/ 771525 h 4305300"/>
                  <a:gd name="connsiteX28" fmla="*/ 4905375 w 8601075"/>
                  <a:gd name="connsiteY28" fmla="*/ 771525 h 4305300"/>
                  <a:gd name="connsiteX29" fmla="*/ 4781550 w 8601075"/>
                  <a:gd name="connsiteY29" fmla="*/ 762000 h 4305300"/>
                  <a:gd name="connsiteX30" fmla="*/ 4648200 w 8601075"/>
                  <a:gd name="connsiteY30" fmla="*/ 714375 h 4305300"/>
                  <a:gd name="connsiteX31" fmla="*/ 4581525 w 8601075"/>
                  <a:gd name="connsiteY31" fmla="*/ 695325 h 4305300"/>
                  <a:gd name="connsiteX32" fmla="*/ 4495800 w 8601075"/>
                  <a:gd name="connsiteY32" fmla="*/ 742950 h 4305300"/>
                  <a:gd name="connsiteX33" fmla="*/ 4343400 w 8601075"/>
                  <a:gd name="connsiteY33" fmla="*/ 781050 h 4305300"/>
                  <a:gd name="connsiteX34" fmla="*/ 4252913 w 8601075"/>
                  <a:gd name="connsiteY34" fmla="*/ 862013 h 4305300"/>
                  <a:gd name="connsiteX35" fmla="*/ 4205287 w 8601075"/>
                  <a:gd name="connsiteY35" fmla="*/ 823913 h 4305300"/>
                  <a:gd name="connsiteX36" fmla="*/ 4183856 w 8601075"/>
                  <a:gd name="connsiteY36" fmla="*/ 854868 h 4305300"/>
                  <a:gd name="connsiteX37" fmla="*/ 4110038 w 8601075"/>
                  <a:gd name="connsiteY37" fmla="*/ 804863 h 4305300"/>
                  <a:gd name="connsiteX38" fmla="*/ 4071938 w 8601075"/>
                  <a:gd name="connsiteY38" fmla="*/ 812006 h 4305300"/>
                  <a:gd name="connsiteX39" fmla="*/ 4050506 w 8601075"/>
                  <a:gd name="connsiteY39" fmla="*/ 773906 h 4305300"/>
                  <a:gd name="connsiteX40" fmla="*/ 3990975 w 8601075"/>
                  <a:gd name="connsiteY40" fmla="*/ 778669 h 4305300"/>
                  <a:gd name="connsiteX41" fmla="*/ 3945731 w 8601075"/>
                  <a:gd name="connsiteY41" fmla="*/ 750094 h 4305300"/>
                  <a:gd name="connsiteX42" fmla="*/ 3907631 w 8601075"/>
                  <a:gd name="connsiteY42" fmla="*/ 747713 h 4305300"/>
                  <a:gd name="connsiteX43" fmla="*/ 3888581 w 8601075"/>
                  <a:gd name="connsiteY43" fmla="*/ 700087 h 4305300"/>
                  <a:gd name="connsiteX44" fmla="*/ 3874294 w 8601075"/>
                  <a:gd name="connsiteY44" fmla="*/ 669131 h 4305300"/>
                  <a:gd name="connsiteX45" fmla="*/ 3829050 w 8601075"/>
                  <a:gd name="connsiteY45" fmla="*/ 678656 h 4305300"/>
                  <a:gd name="connsiteX46" fmla="*/ 3810000 w 8601075"/>
                  <a:gd name="connsiteY46" fmla="*/ 642938 h 4305300"/>
                  <a:gd name="connsiteX47" fmla="*/ 3831432 w 8601075"/>
                  <a:gd name="connsiteY47" fmla="*/ 588169 h 4305300"/>
                  <a:gd name="connsiteX48" fmla="*/ 3800475 w 8601075"/>
                  <a:gd name="connsiteY48" fmla="*/ 561975 h 4305300"/>
                  <a:gd name="connsiteX49" fmla="*/ 3817144 w 8601075"/>
                  <a:gd name="connsiteY49" fmla="*/ 519113 h 4305300"/>
                  <a:gd name="connsiteX50" fmla="*/ 3790950 w 8601075"/>
                  <a:gd name="connsiteY50" fmla="*/ 476250 h 4305300"/>
                  <a:gd name="connsiteX51" fmla="*/ 3786188 w 8601075"/>
                  <a:gd name="connsiteY51" fmla="*/ 414338 h 4305300"/>
                  <a:gd name="connsiteX52" fmla="*/ 3810000 w 8601075"/>
                  <a:gd name="connsiteY52" fmla="*/ 350043 h 4305300"/>
                  <a:gd name="connsiteX53" fmla="*/ 3771900 w 8601075"/>
                  <a:gd name="connsiteY53" fmla="*/ 352425 h 4305300"/>
                  <a:gd name="connsiteX54" fmla="*/ 3652838 w 8601075"/>
                  <a:gd name="connsiteY54" fmla="*/ 295275 h 4305300"/>
                  <a:gd name="connsiteX55" fmla="*/ 3614737 w 8601075"/>
                  <a:gd name="connsiteY55" fmla="*/ 300037 h 4305300"/>
                  <a:gd name="connsiteX56" fmla="*/ 3409950 w 8601075"/>
                  <a:gd name="connsiteY56" fmla="*/ 190500 h 4305300"/>
                  <a:gd name="connsiteX57" fmla="*/ 3305175 w 8601075"/>
                  <a:gd name="connsiteY57" fmla="*/ 159544 h 4305300"/>
                  <a:gd name="connsiteX58" fmla="*/ 3240881 w 8601075"/>
                  <a:gd name="connsiteY58" fmla="*/ 169068 h 4305300"/>
                  <a:gd name="connsiteX59" fmla="*/ 3209925 w 8601075"/>
                  <a:gd name="connsiteY59" fmla="*/ 104775 h 4305300"/>
                  <a:gd name="connsiteX60" fmla="*/ 3152775 w 8601075"/>
                  <a:gd name="connsiteY60" fmla="*/ 104775 h 4305300"/>
                  <a:gd name="connsiteX61" fmla="*/ 3014662 w 8601075"/>
                  <a:gd name="connsiteY61" fmla="*/ 0 h 4305300"/>
                  <a:gd name="connsiteX62" fmla="*/ 2981325 w 8601075"/>
                  <a:gd name="connsiteY62" fmla="*/ 59532 h 4305300"/>
                  <a:gd name="connsiteX63" fmla="*/ 2926556 w 8601075"/>
                  <a:gd name="connsiteY63" fmla="*/ 128588 h 4305300"/>
                  <a:gd name="connsiteX64" fmla="*/ 2883694 w 8601075"/>
                  <a:gd name="connsiteY64" fmla="*/ 145256 h 4305300"/>
                  <a:gd name="connsiteX65" fmla="*/ 2852738 w 8601075"/>
                  <a:gd name="connsiteY65" fmla="*/ 138113 h 4305300"/>
                  <a:gd name="connsiteX66" fmla="*/ 2828925 w 8601075"/>
                  <a:gd name="connsiteY66" fmla="*/ 166688 h 4305300"/>
                  <a:gd name="connsiteX67" fmla="*/ 2802731 w 8601075"/>
                  <a:gd name="connsiteY67" fmla="*/ 245269 h 4305300"/>
                  <a:gd name="connsiteX68" fmla="*/ 2759869 w 8601075"/>
                  <a:gd name="connsiteY68" fmla="*/ 242888 h 4305300"/>
                  <a:gd name="connsiteX69" fmla="*/ 2728912 w 8601075"/>
                  <a:gd name="connsiteY69" fmla="*/ 304800 h 4305300"/>
                  <a:gd name="connsiteX70" fmla="*/ 2724150 w 8601075"/>
                  <a:gd name="connsiteY70" fmla="*/ 369094 h 4305300"/>
                  <a:gd name="connsiteX71" fmla="*/ 2697957 w 8601075"/>
                  <a:gd name="connsiteY71" fmla="*/ 407194 h 4305300"/>
                  <a:gd name="connsiteX72" fmla="*/ 2724150 w 8601075"/>
                  <a:gd name="connsiteY72" fmla="*/ 466725 h 4305300"/>
                  <a:gd name="connsiteX73" fmla="*/ 2726531 w 8601075"/>
                  <a:gd name="connsiteY73" fmla="*/ 535781 h 4305300"/>
                  <a:gd name="connsiteX74" fmla="*/ 2755106 w 8601075"/>
                  <a:gd name="connsiteY74" fmla="*/ 588169 h 4305300"/>
                  <a:gd name="connsiteX75" fmla="*/ 2802732 w 8601075"/>
                  <a:gd name="connsiteY75" fmla="*/ 642938 h 4305300"/>
                  <a:gd name="connsiteX76" fmla="*/ 2752725 w 8601075"/>
                  <a:gd name="connsiteY76" fmla="*/ 781050 h 4305300"/>
                  <a:gd name="connsiteX77" fmla="*/ 2683669 w 8601075"/>
                  <a:gd name="connsiteY77" fmla="*/ 847725 h 4305300"/>
                  <a:gd name="connsiteX78" fmla="*/ 2612231 w 8601075"/>
                  <a:gd name="connsiteY78" fmla="*/ 842963 h 4305300"/>
                  <a:gd name="connsiteX79" fmla="*/ 2574131 w 8601075"/>
                  <a:gd name="connsiteY79" fmla="*/ 900113 h 4305300"/>
                  <a:gd name="connsiteX80" fmla="*/ 2514600 w 8601075"/>
                  <a:gd name="connsiteY80" fmla="*/ 914400 h 4305300"/>
                  <a:gd name="connsiteX81" fmla="*/ 2445544 w 8601075"/>
                  <a:gd name="connsiteY81" fmla="*/ 854869 h 4305300"/>
                  <a:gd name="connsiteX82" fmla="*/ 2390775 w 8601075"/>
                  <a:gd name="connsiteY82" fmla="*/ 826294 h 4305300"/>
                  <a:gd name="connsiteX83" fmla="*/ 2347913 w 8601075"/>
                  <a:gd name="connsiteY83" fmla="*/ 840581 h 4305300"/>
                  <a:gd name="connsiteX84" fmla="*/ 2295525 w 8601075"/>
                  <a:gd name="connsiteY84" fmla="*/ 823913 h 4305300"/>
                  <a:gd name="connsiteX85" fmla="*/ 2228850 w 8601075"/>
                  <a:gd name="connsiteY85" fmla="*/ 769144 h 4305300"/>
                  <a:gd name="connsiteX86" fmla="*/ 2183606 w 8601075"/>
                  <a:gd name="connsiteY86" fmla="*/ 781050 h 4305300"/>
                  <a:gd name="connsiteX87" fmla="*/ 2162175 w 8601075"/>
                  <a:gd name="connsiteY87" fmla="*/ 750094 h 4305300"/>
                  <a:gd name="connsiteX88" fmla="*/ 2105025 w 8601075"/>
                  <a:gd name="connsiteY88" fmla="*/ 790575 h 4305300"/>
                  <a:gd name="connsiteX89" fmla="*/ 1988344 w 8601075"/>
                  <a:gd name="connsiteY89" fmla="*/ 769144 h 4305300"/>
                  <a:gd name="connsiteX90" fmla="*/ 1938338 w 8601075"/>
                  <a:gd name="connsiteY90" fmla="*/ 716756 h 4305300"/>
                  <a:gd name="connsiteX91" fmla="*/ 1895475 w 8601075"/>
                  <a:gd name="connsiteY91" fmla="*/ 702469 h 4305300"/>
                  <a:gd name="connsiteX92" fmla="*/ 1852613 w 8601075"/>
                  <a:gd name="connsiteY92" fmla="*/ 728663 h 4305300"/>
                  <a:gd name="connsiteX93" fmla="*/ 1800225 w 8601075"/>
                  <a:gd name="connsiteY93" fmla="*/ 638175 h 4305300"/>
                  <a:gd name="connsiteX94" fmla="*/ 1790700 w 8601075"/>
                  <a:gd name="connsiteY94" fmla="*/ 490537 h 4305300"/>
                  <a:gd name="connsiteX95" fmla="*/ 1738312 w 8601075"/>
                  <a:gd name="connsiteY95" fmla="*/ 483393 h 4305300"/>
                  <a:gd name="connsiteX96" fmla="*/ 1647825 w 8601075"/>
                  <a:gd name="connsiteY96" fmla="*/ 473869 h 4305300"/>
                  <a:gd name="connsiteX97" fmla="*/ 1593056 w 8601075"/>
                  <a:gd name="connsiteY97" fmla="*/ 435769 h 4305300"/>
                  <a:gd name="connsiteX98" fmla="*/ 1524000 w 8601075"/>
                  <a:gd name="connsiteY98" fmla="*/ 445294 h 4305300"/>
                  <a:gd name="connsiteX99" fmla="*/ 1478756 w 8601075"/>
                  <a:gd name="connsiteY99" fmla="*/ 419100 h 4305300"/>
                  <a:gd name="connsiteX100" fmla="*/ 1469232 w 8601075"/>
                  <a:gd name="connsiteY100" fmla="*/ 347663 h 4305300"/>
                  <a:gd name="connsiteX101" fmla="*/ 1445419 w 8601075"/>
                  <a:gd name="connsiteY101" fmla="*/ 333375 h 4305300"/>
                  <a:gd name="connsiteX102" fmla="*/ 1407319 w 8601075"/>
                  <a:gd name="connsiteY102" fmla="*/ 380999 h 4305300"/>
                  <a:gd name="connsiteX103" fmla="*/ 1328737 w 8601075"/>
                  <a:gd name="connsiteY103" fmla="*/ 307181 h 4305300"/>
                  <a:gd name="connsiteX104" fmla="*/ 1288256 w 8601075"/>
                  <a:gd name="connsiteY104" fmla="*/ 347663 h 4305300"/>
                  <a:gd name="connsiteX105" fmla="*/ 1212056 w 8601075"/>
                  <a:gd name="connsiteY105" fmla="*/ 333375 h 4305300"/>
                  <a:gd name="connsiteX106" fmla="*/ 1133475 w 8601075"/>
                  <a:gd name="connsiteY106" fmla="*/ 359569 h 4305300"/>
                  <a:gd name="connsiteX107" fmla="*/ 1073944 w 8601075"/>
                  <a:gd name="connsiteY107" fmla="*/ 407193 h 4305300"/>
                  <a:gd name="connsiteX108" fmla="*/ 1000125 w 8601075"/>
                  <a:gd name="connsiteY108" fmla="*/ 419100 h 4305300"/>
                  <a:gd name="connsiteX109" fmla="*/ 964406 w 8601075"/>
                  <a:gd name="connsiteY109" fmla="*/ 411956 h 4305300"/>
                  <a:gd name="connsiteX110" fmla="*/ 885826 w 8601075"/>
                  <a:gd name="connsiteY110" fmla="*/ 442913 h 4305300"/>
                  <a:gd name="connsiteX111" fmla="*/ 864394 w 8601075"/>
                  <a:gd name="connsiteY111" fmla="*/ 471488 h 4305300"/>
                  <a:gd name="connsiteX112" fmla="*/ 797719 w 8601075"/>
                  <a:gd name="connsiteY112" fmla="*/ 461963 h 4305300"/>
                  <a:gd name="connsiteX113" fmla="*/ 728663 w 8601075"/>
                  <a:gd name="connsiteY113" fmla="*/ 485775 h 4305300"/>
                  <a:gd name="connsiteX114" fmla="*/ 673894 w 8601075"/>
                  <a:gd name="connsiteY114" fmla="*/ 523875 h 4305300"/>
                  <a:gd name="connsiteX115" fmla="*/ 578644 w 8601075"/>
                  <a:gd name="connsiteY115" fmla="*/ 538162 h 4305300"/>
                  <a:gd name="connsiteX116" fmla="*/ 564356 w 8601075"/>
                  <a:gd name="connsiteY116" fmla="*/ 559594 h 4305300"/>
                  <a:gd name="connsiteX117" fmla="*/ 576262 w 8601075"/>
                  <a:gd name="connsiteY117" fmla="*/ 604838 h 4305300"/>
                  <a:gd name="connsiteX118" fmla="*/ 476251 w 8601075"/>
                  <a:gd name="connsiteY118" fmla="*/ 657225 h 4305300"/>
                  <a:gd name="connsiteX119" fmla="*/ 438150 w 8601075"/>
                  <a:gd name="connsiteY119" fmla="*/ 628649 h 4305300"/>
                  <a:gd name="connsiteX120" fmla="*/ 407194 w 8601075"/>
                  <a:gd name="connsiteY120" fmla="*/ 685800 h 4305300"/>
                  <a:gd name="connsiteX121" fmla="*/ 350044 w 8601075"/>
                  <a:gd name="connsiteY121" fmla="*/ 647700 h 4305300"/>
                  <a:gd name="connsiteX122" fmla="*/ 314325 w 8601075"/>
                  <a:gd name="connsiteY122" fmla="*/ 676275 h 4305300"/>
                  <a:gd name="connsiteX123" fmla="*/ 278606 w 8601075"/>
                  <a:gd name="connsiteY123" fmla="*/ 640556 h 4305300"/>
                  <a:gd name="connsiteX124" fmla="*/ 226219 w 8601075"/>
                  <a:gd name="connsiteY124" fmla="*/ 652463 h 4305300"/>
                  <a:gd name="connsiteX125" fmla="*/ 180975 w 8601075"/>
                  <a:gd name="connsiteY125" fmla="*/ 623888 h 4305300"/>
                  <a:gd name="connsiteX126" fmla="*/ 157163 w 8601075"/>
                  <a:gd name="connsiteY126" fmla="*/ 642938 h 4305300"/>
                  <a:gd name="connsiteX127" fmla="*/ 133350 w 8601075"/>
                  <a:gd name="connsiteY127" fmla="*/ 702469 h 4305300"/>
                  <a:gd name="connsiteX128" fmla="*/ 61913 w 8601075"/>
                  <a:gd name="connsiteY128" fmla="*/ 740568 h 4305300"/>
                  <a:gd name="connsiteX129" fmla="*/ 28575 w 8601075"/>
                  <a:gd name="connsiteY129" fmla="*/ 769144 h 4305300"/>
                  <a:gd name="connsiteX130" fmla="*/ 33338 w 8601075"/>
                  <a:gd name="connsiteY130" fmla="*/ 812006 h 4305300"/>
                  <a:gd name="connsiteX131" fmla="*/ 0 w 8601075"/>
                  <a:gd name="connsiteY131" fmla="*/ 816769 h 4305300"/>
                  <a:gd name="connsiteX132" fmla="*/ 4763 w 8601075"/>
                  <a:gd name="connsiteY132" fmla="*/ 840581 h 4305300"/>
                  <a:gd name="connsiteX133" fmla="*/ 61912 w 8601075"/>
                  <a:gd name="connsiteY133" fmla="*/ 914400 h 4305300"/>
                  <a:gd name="connsiteX134" fmla="*/ 23813 w 8601075"/>
                  <a:gd name="connsiteY134" fmla="*/ 962025 h 4305300"/>
                  <a:gd name="connsiteX135" fmla="*/ 78581 w 8601075"/>
                  <a:gd name="connsiteY135" fmla="*/ 997744 h 4305300"/>
                  <a:gd name="connsiteX136" fmla="*/ 169069 w 8601075"/>
                  <a:gd name="connsiteY136" fmla="*/ 1085850 h 4305300"/>
                  <a:gd name="connsiteX137" fmla="*/ 171450 w 8601075"/>
                  <a:gd name="connsiteY137" fmla="*/ 1145381 h 4305300"/>
                  <a:gd name="connsiteX138" fmla="*/ 307181 w 8601075"/>
                  <a:gd name="connsiteY138" fmla="*/ 1278732 h 4305300"/>
                  <a:gd name="connsiteX139" fmla="*/ 361950 w 8601075"/>
                  <a:gd name="connsiteY139" fmla="*/ 1254919 h 4305300"/>
                  <a:gd name="connsiteX140" fmla="*/ 400050 w 8601075"/>
                  <a:gd name="connsiteY140" fmla="*/ 1281112 h 4305300"/>
                  <a:gd name="connsiteX141" fmla="*/ 414338 w 8601075"/>
                  <a:gd name="connsiteY141" fmla="*/ 1331118 h 4305300"/>
                  <a:gd name="connsiteX142" fmla="*/ 457200 w 8601075"/>
                  <a:gd name="connsiteY142" fmla="*/ 1366838 h 4305300"/>
                  <a:gd name="connsiteX143" fmla="*/ 497681 w 8601075"/>
                  <a:gd name="connsiteY143" fmla="*/ 1354931 h 4305300"/>
                  <a:gd name="connsiteX144" fmla="*/ 516731 w 8601075"/>
                  <a:gd name="connsiteY144" fmla="*/ 1412081 h 4305300"/>
                  <a:gd name="connsiteX145" fmla="*/ 564356 w 8601075"/>
                  <a:gd name="connsiteY145" fmla="*/ 1454944 h 4305300"/>
                  <a:gd name="connsiteX146" fmla="*/ 588169 w 8601075"/>
                  <a:gd name="connsiteY146" fmla="*/ 1557338 h 4305300"/>
                  <a:gd name="connsiteX147" fmla="*/ 585788 w 8601075"/>
                  <a:gd name="connsiteY147" fmla="*/ 1604963 h 4305300"/>
                  <a:gd name="connsiteX148" fmla="*/ 621506 w 8601075"/>
                  <a:gd name="connsiteY148" fmla="*/ 1704975 h 4305300"/>
                  <a:gd name="connsiteX149" fmla="*/ 666750 w 8601075"/>
                  <a:gd name="connsiteY149" fmla="*/ 1762125 h 4305300"/>
                  <a:gd name="connsiteX150" fmla="*/ 683418 w 8601075"/>
                  <a:gd name="connsiteY150" fmla="*/ 1919287 h 4305300"/>
                  <a:gd name="connsiteX151" fmla="*/ 650081 w 8601075"/>
                  <a:gd name="connsiteY151" fmla="*/ 1981200 h 4305300"/>
                  <a:gd name="connsiteX152" fmla="*/ 619125 w 8601075"/>
                  <a:gd name="connsiteY152" fmla="*/ 2057400 h 4305300"/>
                  <a:gd name="connsiteX153" fmla="*/ 633413 w 8601075"/>
                  <a:gd name="connsiteY153" fmla="*/ 2114550 h 4305300"/>
                  <a:gd name="connsiteX154" fmla="*/ 535781 w 8601075"/>
                  <a:gd name="connsiteY154" fmla="*/ 2221707 h 4305300"/>
                  <a:gd name="connsiteX155" fmla="*/ 492919 w 8601075"/>
                  <a:gd name="connsiteY155" fmla="*/ 2336006 h 4305300"/>
                  <a:gd name="connsiteX156" fmla="*/ 526256 w 8601075"/>
                  <a:gd name="connsiteY156" fmla="*/ 2376488 h 4305300"/>
                  <a:gd name="connsiteX157" fmla="*/ 509588 w 8601075"/>
                  <a:gd name="connsiteY157" fmla="*/ 2405063 h 4305300"/>
                  <a:gd name="connsiteX158" fmla="*/ 540544 w 8601075"/>
                  <a:gd name="connsiteY158" fmla="*/ 2462213 h 4305300"/>
                  <a:gd name="connsiteX159" fmla="*/ 569119 w 8601075"/>
                  <a:gd name="connsiteY159" fmla="*/ 2462213 h 4305300"/>
                  <a:gd name="connsiteX160" fmla="*/ 731044 w 8601075"/>
                  <a:gd name="connsiteY160" fmla="*/ 2564606 h 4305300"/>
                  <a:gd name="connsiteX161" fmla="*/ 835819 w 8601075"/>
                  <a:gd name="connsiteY161" fmla="*/ 2562225 h 4305300"/>
                  <a:gd name="connsiteX162" fmla="*/ 914400 w 8601075"/>
                  <a:gd name="connsiteY162" fmla="*/ 2616994 h 4305300"/>
                  <a:gd name="connsiteX163" fmla="*/ 1045368 w 8601075"/>
                  <a:gd name="connsiteY163" fmla="*/ 2619375 h 4305300"/>
                  <a:gd name="connsiteX164" fmla="*/ 1235868 w 8601075"/>
                  <a:gd name="connsiteY164" fmla="*/ 2688431 h 4305300"/>
                  <a:gd name="connsiteX165" fmla="*/ 1438275 w 8601075"/>
                  <a:gd name="connsiteY165" fmla="*/ 2838450 h 4305300"/>
                  <a:gd name="connsiteX166" fmla="*/ 1471612 w 8601075"/>
                  <a:gd name="connsiteY166" fmla="*/ 2905125 h 4305300"/>
                  <a:gd name="connsiteX167" fmla="*/ 1638300 w 8601075"/>
                  <a:gd name="connsiteY167" fmla="*/ 3031331 h 4305300"/>
                  <a:gd name="connsiteX168" fmla="*/ 1709738 w 8601075"/>
                  <a:gd name="connsiteY168" fmla="*/ 3026569 h 4305300"/>
                  <a:gd name="connsiteX169" fmla="*/ 1745457 w 8601075"/>
                  <a:gd name="connsiteY169" fmla="*/ 3050381 h 4305300"/>
                  <a:gd name="connsiteX170" fmla="*/ 1716881 w 8601075"/>
                  <a:gd name="connsiteY170" fmla="*/ 3090863 h 4305300"/>
                  <a:gd name="connsiteX171" fmla="*/ 1724025 w 8601075"/>
                  <a:gd name="connsiteY171" fmla="*/ 3143250 h 4305300"/>
                  <a:gd name="connsiteX172" fmla="*/ 1776413 w 8601075"/>
                  <a:gd name="connsiteY172" fmla="*/ 3169444 h 4305300"/>
                  <a:gd name="connsiteX173" fmla="*/ 1838325 w 8601075"/>
                  <a:gd name="connsiteY173" fmla="*/ 3393282 h 4305300"/>
                  <a:gd name="connsiteX174" fmla="*/ 1828800 w 8601075"/>
                  <a:gd name="connsiteY174" fmla="*/ 3457575 h 4305300"/>
                  <a:gd name="connsiteX175" fmla="*/ 1964531 w 8601075"/>
                  <a:gd name="connsiteY175" fmla="*/ 3624263 h 4305300"/>
                  <a:gd name="connsiteX176" fmla="*/ 1983581 w 8601075"/>
                  <a:gd name="connsiteY176" fmla="*/ 3674269 h 4305300"/>
                  <a:gd name="connsiteX177" fmla="*/ 1957388 w 8601075"/>
                  <a:gd name="connsiteY177" fmla="*/ 3693319 h 4305300"/>
                  <a:gd name="connsiteX178" fmla="*/ 2059781 w 8601075"/>
                  <a:gd name="connsiteY178" fmla="*/ 3702844 h 4305300"/>
                  <a:gd name="connsiteX179" fmla="*/ 2171700 w 8601075"/>
                  <a:gd name="connsiteY179" fmla="*/ 3690938 h 4305300"/>
                  <a:gd name="connsiteX180" fmla="*/ 2450306 w 8601075"/>
                  <a:gd name="connsiteY180" fmla="*/ 3774281 h 4305300"/>
                  <a:gd name="connsiteX181" fmla="*/ 2857500 w 8601075"/>
                  <a:gd name="connsiteY181" fmla="*/ 3855244 h 4305300"/>
                  <a:gd name="connsiteX182" fmla="*/ 3055144 w 8601075"/>
                  <a:gd name="connsiteY182" fmla="*/ 3824287 h 4305300"/>
                  <a:gd name="connsiteX183" fmla="*/ 3100388 w 8601075"/>
                  <a:gd name="connsiteY183" fmla="*/ 3836193 h 4305300"/>
                  <a:gd name="connsiteX184" fmla="*/ 3155156 w 8601075"/>
                  <a:gd name="connsiteY184" fmla="*/ 3812382 h 4305300"/>
                  <a:gd name="connsiteX185" fmla="*/ 3548062 w 8601075"/>
                  <a:gd name="connsiteY185" fmla="*/ 3902869 h 4305300"/>
                  <a:gd name="connsiteX186" fmla="*/ 3631407 w 8601075"/>
                  <a:gd name="connsiteY186" fmla="*/ 4000500 h 4305300"/>
                  <a:gd name="connsiteX187" fmla="*/ 3750469 w 8601075"/>
                  <a:gd name="connsiteY187" fmla="*/ 4071938 h 4305300"/>
                  <a:gd name="connsiteX188" fmla="*/ 3810000 w 8601075"/>
                  <a:gd name="connsiteY188" fmla="*/ 4055269 h 4305300"/>
                  <a:gd name="connsiteX189" fmla="*/ 4160043 w 8601075"/>
                  <a:gd name="connsiteY189" fmla="*/ 4229100 h 4305300"/>
                  <a:gd name="connsiteX190" fmla="*/ 4386263 w 8601075"/>
                  <a:gd name="connsiteY190" fmla="*/ 4200525 h 4305300"/>
                  <a:gd name="connsiteX191" fmla="*/ 4395788 w 8601075"/>
                  <a:gd name="connsiteY191" fmla="*/ 4279106 h 4305300"/>
                  <a:gd name="connsiteX192" fmla="*/ 4481513 w 8601075"/>
                  <a:gd name="connsiteY192" fmla="*/ 4274343 h 4305300"/>
                  <a:gd name="connsiteX193" fmla="*/ 4560094 w 8601075"/>
                  <a:gd name="connsiteY193" fmla="*/ 4305300 h 4305300"/>
                  <a:gd name="connsiteX194" fmla="*/ 4602956 w 8601075"/>
                  <a:gd name="connsiteY194" fmla="*/ 4245769 h 4305300"/>
                  <a:gd name="connsiteX195" fmla="*/ 5274469 w 8601075"/>
                  <a:gd name="connsiteY195" fmla="*/ 3926681 h 4305300"/>
                  <a:gd name="connsiteX196" fmla="*/ 5362575 w 8601075"/>
                  <a:gd name="connsiteY196" fmla="*/ 3955257 h 4305300"/>
                  <a:gd name="connsiteX197" fmla="*/ 5493544 w 8601075"/>
                  <a:gd name="connsiteY197" fmla="*/ 3926681 h 4305300"/>
                  <a:gd name="connsiteX198" fmla="*/ 5672137 w 8601075"/>
                  <a:gd name="connsiteY198" fmla="*/ 3943350 h 4305300"/>
                  <a:gd name="connsiteX199" fmla="*/ 5729288 w 8601075"/>
                  <a:gd name="connsiteY199" fmla="*/ 3917157 h 4305300"/>
                  <a:gd name="connsiteX200" fmla="*/ 5862637 w 8601075"/>
                  <a:gd name="connsiteY200" fmla="*/ 3914775 h 4305300"/>
                  <a:gd name="connsiteX201" fmla="*/ 5995987 w 8601075"/>
                  <a:gd name="connsiteY201" fmla="*/ 3817144 h 4305300"/>
                  <a:gd name="connsiteX202" fmla="*/ 6062662 w 8601075"/>
                  <a:gd name="connsiteY202" fmla="*/ 3810000 h 4305300"/>
                  <a:gd name="connsiteX203" fmla="*/ 6160294 w 8601075"/>
                  <a:gd name="connsiteY203" fmla="*/ 3736181 h 4305300"/>
                  <a:gd name="connsiteX204" fmla="*/ 6234113 w 8601075"/>
                  <a:gd name="connsiteY204" fmla="*/ 3667125 h 4305300"/>
                  <a:gd name="connsiteX205" fmla="*/ 6243638 w 8601075"/>
                  <a:gd name="connsiteY205" fmla="*/ 3605213 h 4305300"/>
                  <a:gd name="connsiteX206" fmla="*/ 6276975 w 8601075"/>
                  <a:gd name="connsiteY206" fmla="*/ 3536156 h 4305300"/>
                  <a:gd name="connsiteX207" fmla="*/ 6429375 w 8601075"/>
                  <a:gd name="connsiteY207" fmla="*/ 3429000 h 4305300"/>
                  <a:gd name="connsiteX208" fmla="*/ 6462713 w 8601075"/>
                  <a:gd name="connsiteY208" fmla="*/ 3433763 h 4305300"/>
                  <a:gd name="connsiteX209" fmla="*/ 6515100 w 8601075"/>
                  <a:gd name="connsiteY209" fmla="*/ 3355181 h 4305300"/>
                  <a:gd name="connsiteX210" fmla="*/ 6562725 w 8601075"/>
                  <a:gd name="connsiteY210" fmla="*/ 3317081 h 4305300"/>
                  <a:gd name="connsiteX211" fmla="*/ 6548438 w 8601075"/>
                  <a:gd name="connsiteY211" fmla="*/ 3248025 h 4305300"/>
                  <a:gd name="connsiteX212" fmla="*/ 6498431 w 8601075"/>
                  <a:gd name="connsiteY212" fmla="*/ 3217068 h 4305300"/>
                  <a:gd name="connsiteX213" fmla="*/ 6438900 w 8601075"/>
                  <a:gd name="connsiteY213" fmla="*/ 3162300 h 4305300"/>
                  <a:gd name="connsiteX214" fmla="*/ 6419850 w 8601075"/>
                  <a:gd name="connsiteY214" fmla="*/ 3105150 h 4305300"/>
                  <a:gd name="connsiteX215" fmla="*/ 6384131 w 8601075"/>
                  <a:gd name="connsiteY215" fmla="*/ 3071813 h 4305300"/>
                  <a:gd name="connsiteX216" fmla="*/ 6410325 w 8601075"/>
                  <a:gd name="connsiteY216" fmla="*/ 3019425 h 4305300"/>
                  <a:gd name="connsiteX217" fmla="*/ 6450806 w 8601075"/>
                  <a:gd name="connsiteY217" fmla="*/ 2840831 h 4305300"/>
                  <a:gd name="connsiteX218" fmla="*/ 6491288 w 8601075"/>
                  <a:gd name="connsiteY218" fmla="*/ 2774156 h 4305300"/>
                  <a:gd name="connsiteX219" fmla="*/ 6636544 w 8601075"/>
                  <a:gd name="connsiteY219" fmla="*/ 2757487 h 4305300"/>
                  <a:gd name="connsiteX220" fmla="*/ 6705600 w 8601075"/>
                  <a:gd name="connsiteY220" fmla="*/ 2814638 h 4305300"/>
                  <a:gd name="connsiteX221" fmla="*/ 6781800 w 8601075"/>
                  <a:gd name="connsiteY221" fmla="*/ 2838450 h 4305300"/>
                  <a:gd name="connsiteX222" fmla="*/ 6986587 w 8601075"/>
                  <a:gd name="connsiteY222" fmla="*/ 2843213 h 4305300"/>
                  <a:gd name="connsiteX223" fmla="*/ 7162800 w 8601075"/>
                  <a:gd name="connsiteY223" fmla="*/ 2705100 h 4305300"/>
                  <a:gd name="connsiteX224" fmla="*/ 7219950 w 8601075"/>
                  <a:gd name="connsiteY224" fmla="*/ 2614612 h 4305300"/>
                  <a:gd name="connsiteX225" fmla="*/ 7246144 w 8601075"/>
                  <a:gd name="connsiteY225" fmla="*/ 2531269 h 4305300"/>
                  <a:gd name="connsiteX226" fmla="*/ 7377112 w 8601075"/>
                  <a:gd name="connsiteY226" fmla="*/ 2531269 h 4305300"/>
                  <a:gd name="connsiteX227" fmla="*/ 7550944 w 8601075"/>
                  <a:gd name="connsiteY227" fmla="*/ 2474118 h 4305300"/>
                  <a:gd name="connsiteX228" fmla="*/ 7610475 w 8601075"/>
                  <a:gd name="connsiteY228" fmla="*/ 2362200 h 4305300"/>
                  <a:gd name="connsiteX229" fmla="*/ 7674769 w 8601075"/>
                  <a:gd name="connsiteY229" fmla="*/ 2326481 h 4305300"/>
                  <a:gd name="connsiteX230" fmla="*/ 7653338 w 8601075"/>
                  <a:gd name="connsiteY230" fmla="*/ 2281238 h 4305300"/>
                  <a:gd name="connsiteX231" fmla="*/ 7731919 w 8601075"/>
                  <a:gd name="connsiteY231" fmla="*/ 2112168 h 4305300"/>
                  <a:gd name="connsiteX232" fmla="*/ 7786688 w 8601075"/>
                  <a:gd name="connsiteY232" fmla="*/ 2052638 h 4305300"/>
                  <a:gd name="connsiteX233" fmla="*/ 7824788 w 8601075"/>
                  <a:gd name="connsiteY233" fmla="*/ 2047875 h 4305300"/>
                  <a:gd name="connsiteX234" fmla="*/ 7870031 w 8601075"/>
                  <a:gd name="connsiteY234" fmla="*/ 2052638 h 4305300"/>
                  <a:gd name="connsiteX235" fmla="*/ 7934325 w 8601075"/>
                  <a:gd name="connsiteY235" fmla="*/ 2019300 h 4305300"/>
                  <a:gd name="connsiteX236" fmla="*/ 7943850 w 8601075"/>
                  <a:gd name="connsiteY236" fmla="*/ 1955006 h 4305300"/>
                  <a:gd name="connsiteX237" fmla="*/ 7984330 w 8601075"/>
                  <a:gd name="connsiteY237" fmla="*/ 1919288 h 4305300"/>
                  <a:gd name="connsiteX238" fmla="*/ 8043863 w 8601075"/>
                  <a:gd name="connsiteY238" fmla="*/ 1959768 h 4305300"/>
                  <a:gd name="connsiteX239" fmla="*/ 8070057 w 8601075"/>
                  <a:gd name="connsiteY239" fmla="*/ 1909762 h 4305300"/>
                  <a:gd name="connsiteX240" fmla="*/ 8165306 w 8601075"/>
                  <a:gd name="connsiteY240" fmla="*/ 1840706 h 4305300"/>
                  <a:gd name="connsiteX241" fmla="*/ 8227219 w 8601075"/>
                  <a:gd name="connsiteY241" fmla="*/ 1847850 h 4305300"/>
                  <a:gd name="connsiteX242" fmla="*/ 8277225 w 8601075"/>
                  <a:gd name="connsiteY242" fmla="*/ 1828800 h 4305300"/>
                  <a:gd name="connsiteX243" fmla="*/ 8315325 w 8601075"/>
                  <a:gd name="connsiteY243" fmla="*/ 1800225 h 4305300"/>
                  <a:gd name="connsiteX244" fmla="*/ 8348663 w 8601075"/>
                  <a:gd name="connsiteY244" fmla="*/ 1797844 h 4305300"/>
                  <a:gd name="connsiteX245" fmla="*/ 8384381 w 8601075"/>
                  <a:gd name="connsiteY245" fmla="*/ 1828800 h 4305300"/>
                  <a:gd name="connsiteX246" fmla="*/ 8443913 w 8601075"/>
                  <a:gd name="connsiteY246" fmla="*/ 1828800 h 4305300"/>
                  <a:gd name="connsiteX247" fmla="*/ 8482012 w 8601075"/>
                  <a:gd name="connsiteY247" fmla="*/ 1809750 h 4305300"/>
                  <a:gd name="connsiteX248" fmla="*/ 8565356 w 8601075"/>
                  <a:gd name="connsiteY248" fmla="*/ 1812132 h 4305300"/>
                  <a:gd name="connsiteX249" fmla="*/ 8596313 w 8601075"/>
                  <a:gd name="connsiteY249" fmla="*/ 1766888 h 4305300"/>
                  <a:gd name="connsiteX250" fmla="*/ 8601075 w 8601075"/>
                  <a:gd name="connsiteY250" fmla="*/ 1704975 h 4305300"/>
                  <a:gd name="connsiteX251" fmla="*/ 8551068 w 8601075"/>
                  <a:gd name="connsiteY251" fmla="*/ 1664494 h 4305300"/>
                  <a:gd name="connsiteX252" fmla="*/ 8534400 w 8601075"/>
                  <a:gd name="connsiteY252" fmla="*/ 1609725 h 4305300"/>
                  <a:gd name="connsiteX253" fmla="*/ 8443913 w 8601075"/>
                  <a:gd name="connsiteY253" fmla="*/ 1547813 h 4305300"/>
                  <a:gd name="connsiteX254" fmla="*/ 8403431 w 8601075"/>
                  <a:gd name="connsiteY254" fmla="*/ 1526381 h 4305300"/>
                  <a:gd name="connsiteX255" fmla="*/ 8365331 w 8601075"/>
                  <a:gd name="connsiteY255" fmla="*/ 1481138 h 4305300"/>
                  <a:gd name="connsiteX256" fmla="*/ 8334375 w 8601075"/>
                  <a:gd name="connsiteY256" fmla="*/ 1478756 h 4305300"/>
                  <a:gd name="connsiteX257" fmla="*/ 8317706 w 8601075"/>
                  <a:gd name="connsiteY257" fmla="*/ 1426369 h 4305300"/>
                  <a:gd name="connsiteX258" fmla="*/ 8277225 w 8601075"/>
                  <a:gd name="connsiteY258" fmla="*/ 1409700 h 4305300"/>
                  <a:gd name="connsiteX259" fmla="*/ 8277225 w 8601075"/>
                  <a:gd name="connsiteY259" fmla="*/ 1409700 h 4305300"/>
                  <a:gd name="connsiteX260" fmla="*/ 8236744 w 8601075"/>
                  <a:gd name="connsiteY260" fmla="*/ 1414463 h 4305300"/>
                  <a:gd name="connsiteX261" fmla="*/ 8151018 w 8601075"/>
                  <a:gd name="connsiteY261" fmla="*/ 1340644 h 4305300"/>
                  <a:gd name="connsiteX262" fmla="*/ 7970044 w 8601075"/>
                  <a:gd name="connsiteY262" fmla="*/ 1340643 h 4305300"/>
                  <a:gd name="connsiteX263" fmla="*/ 7917656 w 8601075"/>
                  <a:gd name="connsiteY263" fmla="*/ 1378744 h 4305300"/>
                  <a:gd name="connsiteX264" fmla="*/ 7867650 w 8601075"/>
                  <a:gd name="connsiteY264" fmla="*/ 1457325 h 4305300"/>
                  <a:gd name="connsiteX265" fmla="*/ 7884319 w 8601075"/>
                  <a:gd name="connsiteY265" fmla="*/ 1478756 h 4305300"/>
                  <a:gd name="connsiteX266" fmla="*/ 7839075 w 8601075"/>
                  <a:gd name="connsiteY266" fmla="*/ 1528762 h 4305300"/>
                  <a:gd name="connsiteX267" fmla="*/ 7689056 w 8601075"/>
                  <a:gd name="connsiteY267" fmla="*/ 1452562 h 4305300"/>
                  <a:gd name="connsiteX268" fmla="*/ 7598569 w 8601075"/>
                  <a:gd name="connsiteY268" fmla="*/ 1488281 h 4305300"/>
                  <a:gd name="connsiteX269" fmla="*/ 7524750 w 8601075"/>
                  <a:gd name="connsiteY269" fmla="*/ 1485900 h 4305300"/>
                  <a:gd name="connsiteX270" fmla="*/ 7467600 w 8601075"/>
                  <a:gd name="connsiteY270" fmla="*/ 1581150 h 4305300"/>
                  <a:gd name="connsiteX271" fmla="*/ 7329488 w 8601075"/>
                  <a:gd name="connsiteY27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1875 w 8601075"/>
                  <a:gd name="connsiteY2" fmla="*/ 1323975 h 4305300"/>
                  <a:gd name="connsiteX3" fmla="*/ 7372350 w 8601075"/>
                  <a:gd name="connsiteY3" fmla="*/ 1190625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190625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419975 w 8601075"/>
                  <a:gd name="connsiteY4" fmla="*/ 1047750 h 4305300"/>
                  <a:gd name="connsiteX5" fmla="*/ 7486650 w 8601075"/>
                  <a:gd name="connsiteY5" fmla="*/ 638175 h 4305300"/>
                  <a:gd name="connsiteX6" fmla="*/ 7343775 w 8601075"/>
                  <a:gd name="connsiteY6" fmla="*/ 647700 h 4305300"/>
                  <a:gd name="connsiteX7" fmla="*/ 7172325 w 8601075"/>
                  <a:gd name="connsiteY7" fmla="*/ 742950 h 4305300"/>
                  <a:gd name="connsiteX8" fmla="*/ 7010400 w 8601075"/>
                  <a:gd name="connsiteY8" fmla="*/ 609600 h 4305300"/>
                  <a:gd name="connsiteX9" fmla="*/ 6877050 w 8601075"/>
                  <a:gd name="connsiteY9" fmla="*/ 600075 h 4305300"/>
                  <a:gd name="connsiteX10" fmla="*/ 6600825 w 8601075"/>
                  <a:gd name="connsiteY10" fmla="*/ 904875 h 4305300"/>
                  <a:gd name="connsiteX11" fmla="*/ 6600825 w 8601075"/>
                  <a:gd name="connsiteY11" fmla="*/ 904875 h 4305300"/>
                  <a:gd name="connsiteX12" fmla="*/ 6534150 w 8601075"/>
                  <a:gd name="connsiteY12" fmla="*/ 942975 h 4305300"/>
                  <a:gd name="connsiteX13" fmla="*/ 6534150 w 8601075"/>
                  <a:gd name="connsiteY13" fmla="*/ 942975 h 4305300"/>
                  <a:gd name="connsiteX14" fmla="*/ 6362700 w 8601075"/>
                  <a:gd name="connsiteY14" fmla="*/ 1009650 h 4305300"/>
                  <a:gd name="connsiteX15" fmla="*/ 6238875 w 8601075"/>
                  <a:gd name="connsiteY15" fmla="*/ 1057275 h 4305300"/>
                  <a:gd name="connsiteX16" fmla="*/ 6115050 w 8601075"/>
                  <a:gd name="connsiteY16" fmla="*/ 1114425 h 4305300"/>
                  <a:gd name="connsiteX17" fmla="*/ 5962650 w 8601075"/>
                  <a:gd name="connsiteY17" fmla="*/ 1190625 h 4305300"/>
                  <a:gd name="connsiteX18" fmla="*/ 5895975 w 8601075"/>
                  <a:gd name="connsiteY18" fmla="*/ 1143000 h 4305300"/>
                  <a:gd name="connsiteX19" fmla="*/ 5895975 w 8601075"/>
                  <a:gd name="connsiteY19" fmla="*/ 1143000 h 4305300"/>
                  <a:gd name="connsiteX20" fmla="*/ 5676900 w 8601075"/>
                  <a:gd name="connsiteY20" fmla="*/ 1181100 h 4305300"/>
                  <a:gd name="connsiteX21" fmla="*/ 5600700 w 8601075"/>
                  <a:gd name="connsiteY21" fmla="*/ 1114425 h 4305300"/>
                  <a:gd name="connsiteX22" fmla="*/ 5391150 w 8601075"/>
                  <a:gd name="connsiteY22" fmla="*/ 1123950 h 4305300"/>
                  <a:gd name="connsiteX23" fmla="*/ 5334000 w 8601075"/>
                  <a:gd name="connsiteY23" fmla="*/ 1066800 h 4305300"/>
                  <a:gd name="connsiteX24" fmla="*/ 5248275 w 8601075"/>
                  <a:gd name="connsiteY24" fmla="*/ 981075 h 4305300"/>
                  <a:gd name="connsiteX25" fmla="*/ 5238750 w 8601075"/>
                  <a:gd name="connsiteY25" fmla="*/ 895350 h 4305300"/>
                  <a:gd name="connsiteX26" fmla="*/ 5133975 w 8601075"/>
                  <a:gd name="connsiteY26" fmla="*/ 895350 h 4305300"/>
                  <a:gd name="connsiteX27" fmla="*/ 4991100 w 8601075"/>
                  <a:gd name="connsiteY27" fmla="*/ 838200 h 4305300"/>
                  <a:gd name="connsiteX28" fmla="*/ 4905375 w 8601075"/>
                  <a:gd name="connsiteY28" fmla="*/ 771525 h 4305300"/>
                  <a:gd name="connsiteX29" fmla="*/ 4905375 w 8601075"/>
                  <a:gd name="connsiteY29" fmla="*/ 771525 h 4305300"/>
                  <a:gd name="connsiteX30" fmla="*/ 4781550 w 8601075"/>
                  <a:gd name="connsiteY30" fmla="*/ 762000 h 4305300"/>
                  <a:gd name="connsiteX31" fmla="*/ 4648200 w 8601075"/>
                  <a:gd name="connsiteY31" fmla="*/ 714375 h 4305300"/>
                  <a:gd name="connsiteX32" fmla="*/ 4581525 w 8601075"/>
                  <a:gd name="connsiteY32" fmla="*/ 695325 h 4305300"/>
                  <a:gd name="connsiteX33" fmla="*/ 4495800 w 8601075"/>
                  <a:gd name="connsiteY33" fmla="*/ 742950 h 4305300"/>
                  <a:gd name="connsiteX34" fmla="*/ 4343400 w 8601075"/>
                  <a:gd name="connsiteY34" fmla="*/ 781050 h 4305300"/>
                  <a:gd name="connsiteX35" fmla="*/ 4252913 w 8601075"/>
                  <a:gd name="connsiteY35" fmla="*/ 862013 h 4305300"/>
                  <a:gd name="connsiteX36" fmla="*/ 4205287 w 8601075"/>
                  <a:gd name="connsiteY36" fmla="*/ 823913 h 4305300"/>
                  <a:gd name="connsiteX37" fmla="*/ 4183856 w 8601075"/>
                  <a:gd name="connsiteY37" fmla="*/ 854868 h 4305300"/>
                  <a:gd name="connsiteX38" fmla="*/ 4110038 w 8601075"/>
                  <a:gd name="connsiteY38" fmla="*/ 804863 h 4305300"/>
                  <a:gd name="connsiteX39" fmla="*/ 4071938 w 8601075"/>
                  <a:gd name="connsiteY39" fmla="*/ 812006 h 4305300"/>
                  <a:gd name="connsiteX40" fmla="*/ 4050506 w 8601075"/>
                  <a:gd name="connsiteY40" fmla="*/ 773906 h 4305300"/>
                  <a:gd name="connsiteX41" fmla="*/ 3990975 w 8601075"/>
                  <a:gd name="connsiteY41" fmla="*/ 778669 h 4305300"/>
                  <a:gd name="connsiteX42" fmla="*/ 3945731 w 8601075"/>
                  <a:gd name="connsiteY42" fmla="*/ 750094 h 4305300"/>
                  <a:gd name="connsiteX43" fmla="*/ 3907631 w 8601075"/>
                  <a:gd name="connsiteY43" fmla="*/ 747713 h 4305300"/>
                  <a:gd name="connsiteX44" fmla="*/ 3888581 w 8601075"/>
                  <a:gd name="connsiteY44" fmla="*/ 700087 h 4305300"/>
                  <a:gd name="connsiteX45" fmla="*/ 3874294 w 8601075"/>
                  <a:gd name="connsiteY45" fmla="*/ 669131 h 4305300"/>
                  <a:gd name="connsiteX46" fmla="*/ 3829050 w 8601075"/>
                  <a:gd name="connsiteY46" fmla="*/ 678656 h 4305300"/>
                  <a:gd name="connsiteX47" fmla="*/ 3810000 w 8601075"/>
                  <a:gd name="connsiteY47" fmla="*/ 642938 h 4305300"/>
                  <a:gd name="connsiteX48" fmla="*/ 3831432 w 8601075"/>
                  <a:gd name="connsiteY48" fmla="*/ 588169 h 4305300"/>
                  <a:gd name="connsiteX49" fmla="*/ 3800475 w 8601075"/>
                  <a:gd name="connsiteY49" fmla="*/ 561975 h 4305300"/>
                  <a:gd name="connsiteX50" fmla="*/ 3817144 w 8601075"/>
                  <a:gd name="connsiteY50" fmla="*/ 519113 h 4305300"/>
                  <a:gd name="connsiteX51" fmla="*/ 3790950 w 8601075"/>
                  <a:gd name="connsiteY51" fmla="*/ 476250 h 4305300"/>
                  <a:gd name="connsiteX52" fmla="*/ 3786188 w 8601075"/>
                  <a:gd name="connsiteY52" fmla="*/ 414338 h 4305300"/>
                  <a:gd name="connsiteX53" fmla="*/ 3810000 w 8601075"/>
                  <a:gd name="connsiteY53" fmla="*/ 350043 h 4305300"/>
                  <a:gd name="connsiteX54" fmla="*/ 3771900 w 8601075"/>
                  <a:gd name="connsiteY54" fmla="*/ 352425 h 4305300"/>
                  <a:gd name="connsiteX55" fmla="*/ 3652838 w 8601075"/>
                  <a:gd name="connsiteY55" fmla="*/ 295275 h 4305300"/>
                  <a:gd name="connsiteX56" fmla="*/ 3614737 w 8601075"/>
                  <a:gd name="connsiteY56" fmla="*/ 300037 h 4305300"/>
                  <a:gd name="connsiteX57" fmla="*/ 3409950 w 8601075"/>
                  <a:gd name="connsiteY57" fmla="*/ 190500 h 4305300"/>
                  <a:gd name="connsiteX58" fmla="*/ 3305175 w 8601075"/>
                  <a:gd name="connsiteY58" fmla="*/ 159544 h 4305300"/>
                  <a:gd name="connsiteX59" fmla="*/ 3240881 w 8601075"/>
                  <a:gd name="connsiteY59" fmla="*/ 169068 h 4305300"/>
                  <a:gd name="connsiteX60" fmla="*/ 3209925 w 8601075"/>
                  <a:gd name="connsiteY60" fmla="*/ 104775 h 4305300"/>
                  <a:gd name="connsiteX61" fmla="*/ 3152775 w 8601075"/>
                  <a:gd name="connsiteY61" fmla="*/ 104775 h 4305300"/>
                  <a:gd name="connsiteX62" fmla="*/ 3014662 w 8601075"/>
                  <a:gd name="connsiteY62" fmla="*/ 0 h 4305300"/>
                  <a:gd name="connsiteX63" fmla="*/ 2981325 w 8601075"/>
                  <a:gd name="connsiteY63" fmla="*/ 59532 h 4305300"/>
                  <a:gd name="connsiteX64" fmla="*/ 2926556 w 8601075"/>
                  <a:gd name="connsiteY64" fmla="*/ 128588 h 4305300"/>
                  <a:gd name="connsiteX65" fmla="*/ 2883694 w 8601075"/>
                  <a:gd name="connsiteY65" fmla="*/ 145256 h 4305300"/>
                  <a:gd name="connsiteX66" fmla="*/ 2852738 w 8601075"/>
                  <a:gd name="connsiteY66" fmla="*/ 138113 h 4305300"/>
                  <a:gd name="connsiteX67" fmla="*/ 2828925 w 8601075"/>
                  <a:gd name="connsiteY67" fmla="*/ 166688 h 4305300"/>
                  <a:gd name="connsiteX68" fmla="*/ 2802731 w 8601075"/>
                  <a:gd name="connsiteY68" fmla="*/ 245269 h 4305300"/>
                  <a:gd name="connsiteX69" fmla="*/ 2759869 w 8601075"/>
                  <a:gd name="connsiteY69" fmla="*/ 242888 h 4305300"/>
                  <a:gd name="connsiteX70" fmla="*/ 2728912 w 8601075"/>
                  <a:gd name="connsiteY70" fmla="*/ 304800 h 4305300"/>
                  <a:gd name="connsiteX71" fmla="*/ 2724150 w 8601075"/>
                  <a:gd name="connsiteY71" fmla="*/ 369094 h 4305300"/>
                  <a:gd name="connsiteX72" fmla="*/ 2697957 w 8601075"/>
                  <a:gd name="connsiteY72" fmla="*/ 407194 h 4305300"/>
                  <a:gd name="connsiteX73" fmla="*/ 2724150 w 8601075"/>
                  <a:gd name="connsiteY73" fmla="*/ 466725 h 4305300"/>
                  <a:gd name="connsiteX74" fmla="*/ 2726531 w 8601075"/>
                  <a:gd name="connsiteY74" fmla="*/ 535781 h 4305300"/>
                  <a:gd name="connsiteX75" fmla="*/ 2755106 w 8601075"/>
                  <a:gd name="connsiteY75" fmla="*/ 588169 h 4305300"/>
                  <a:gd name="connsiteX76" fmla="*/ 2802732 w 8601075"/>
                  <a:gd name="connsiteY76" fmla="*/ 642938 h 4305300"/>
                  <a:gd name="connsiteX77" fmla="*/ 2752725 w 8601075"/>
                  <a:gd name="connsiteY77" fmla="*/ 781050 h 4305300"/>
                  <a:gd name="connsiteX78" fmla="*/ 2683669 w 8601075"/>
                  <a:gd name="connsiteY78" fmla="*/ 847725 h 4305300"/>
                  <a:gd name="connsiteX79" fmla="*/ 2612231 w 8601075"/>
                  <a:gd name="connsiteY79" fmla="*/ 842963 h 4305300"/>
                  <a:gd name="connsiteX80" fmla="*/ 2574131 w 8601075"/>
                  <a:gd name="connsiteY80" fmla="*/ 900113 h 4305300"/>
                  <a:gd name="connsiteX81" fmla="*/ 2514600 w 8601075"/>
                  <a:gd name="connsiteY81" fmla="*/ 914400 h 4305300"/>
                  <a:gd name="connsiteX82" fmla="*/ 2445544 w 8601075"/>
                  <a:gd name="connsiteY82" fmla="*/ 854869 h 4305300"/>
                  <a:gd name="connsiteX83" fmla="*/ 2390775 w 8601075"/>
                  <a:gd name="connsiteY83" fmla="*/ 826294 h 4305300"/>
                  <a:gd name="connsiteX84" fmla="*/ 2347913 w 8601075"/>
                  <a:gd name="connsiteY84" fmla="*/ 840581 h 4305300"/>
                  <a:gd name="connsiteX85" fmla="*/ 2295525 w 8601075"/>
                  <a:gd name="connsiteY85" fmla="*/ 823913 h 4305300"/>
                  <a:gd name="connsiteX86" fmla="*/ 2228850 w 8601075"/>
                  <a:gd name="connsiteY86" fmla="*/ 769144 h 4305300"/>
                  <a:gd name="connsiteX87" fmla="*/ 2183606 w 8601075"/>
                  <a:gd name="connsiteY87" fmla="*/ 781050 h 4305300"/>
                  <a:gd name="connsiteX88" fmla="*/ 2162175 w 8601075"/>
                  <a:gd name="connsiteY88" fmla="*/ 750094 h 4305300"/>
                  <a:gd name="connsiteX89" fmla="*/ 2105025 w 8601075"/>
                  <a:gd name="connsiteY89" fmla="*/ 790575 h 4305300"/>
                  <a:gd name="connsiteX90" fmla="*/ 1988344 w 8601075"/>
                  <a:gd name="connsiteY90" fmla="*/ 769144 h 4305300"/>
                  <a:gd name="connsiteX91" fmla="*/ 1938338 w 8601075"/>
                  <a:gd name="connsiteY91" fmla="*/ 716756 h 4305300"/>
                  <a:gd name="connsiteX92" fmla="*/ 1895475 w 8601075"/>
                  <a:gd name="connsiteY92" fmla="*/ 702469 h 4305300"/>
                  <a:gd name="connsiteX93" fmla="*/ 1852613 w 8601075"/>
                  <a:gd name="connsiteY93" fmla="*/ 728663 h 4305300"/>
                  <a:gd name="connsiteX94" fmla="*/ 1800225 w 8601075"/>
                  <a:gd name="connsiteY94" fmla="*/ 638175 h 4305300"/>
                  <a:gd name="connsiteX95" fmla="*/ 1790700 w 8601075"/>
                  <a:gd name="connsiteY95" fmla="*/ 490537 h 4305300"/>
                  <a:gd name="connsiteX96" fmla="*/ 1738312 w 8601075"/>
                  <a:gd name="connsiteY96" fmla="*/ 483393 h 4305300"/>
                  <a:gd name="connsiteX97" fmla="*/ 1647825 w 8601075"/>
                  <a:gd name="connsiteY97" fmla="*/ 473869 h 4305300"/>
                  <a:gd name="connsiteX98" fmla="*/ 1593056 w 8601075"/>
                  <a:gd name="connsiteY98" fmla="*/ 435769 h 4305300"/>
                  <a:gd name="connsiteX99" fmla="*/ 1524000 w 8601075"/>
                  <a:gd name="connsiteY99" fmla="*/ 445294 h 4305300"/>
                  <a:gd name="connsiteX100" fmla="*/ 1478756 w 8601075"/>
                  <a:gd name="connsiteY100" fmla="*/ 419100 h 4305300"/>
                  <a:gd name="connsiteX101" fmla="*/ 1469232 w 8601075"/>
                  <a:gd name="connsiteY101" fmla="*/ 347663 h 4305300"/>
                  <a:gd name="connsiteX102" fmla="*/ 1445419 w 8601075"/>
                  <a:gd name="connsiteY102" fmla="*/ 333375 h 4305300"/>
                  <a:gd name="connsiteX103" fmla="*/ 1407319 w 8601075"/>
                  <a:gd name="connsiteY103" fmla="*/ 380999 h 4305300"/>
                  <a:gd name="connsiteX104" fmla="*/ 1328737 w 8601075"/>
                  <a:gd name="connsiteY104" fmla="*/ 307181 h 4305300"/>
                  <a:gd name="connsiteX105" fmla="*/ 1288256 w 8601075"/>
                  <a:gd name="connsiteY105" fmla="*/ 347663 h 4305300"/>
                  <a:gd name="connsiteX106" fmla="*/ 1212056 w 8601075"/>
                  <a:gd name="connsiteY106" fmla="*/ 333375 h 4305300"/>
                  <a:gd name="connsiteX107" fmla="*/ 1133475 w 8601075"/>
                  <a:gd name="connsiteY107" fmla="*/ 359569 h 4305300"/>
                  <a:gd name="connsiteX108" fmla="*/ 1073944 w 8601075"/>
                  <a:gd name="connsiteY108" fmla="*/ 407193 h 4305300"/>
                  <a:gd name="connsiteX109" fmla="*/ 1000125 w 8601075"/>
                  <a:gd name="connsiteY109" fmla="*/ 419100 h 4305300"/>
                  <a:gd name="connsiteX110" fmla="*/ 964406 w 8601075"/>
                  <a:gd name="connsiteY110" fmla="*/ 411956 h 4305300"/>
                  <a:gd name="connsiteX111" fmla="*/ 885826 w 8601075"/>
                  <a:gd name="connsiteY111" fmla="*/ 442913 h 4305300"/>
                  <a:gd name="connsiteX112" fmla="*/ 864394 w 8601075"/>
                  <a:gd name="connsiteY112" fmla="*/ 471488 h 4305300"/>
                  <a:gd name="connsiteX113" fmla="*/ 797719 w 8601075"/>
                  <a:gd name="connsiteY113" fmla="*/ 461963 h 4305300"/>
                  <a:gd name="connsiteX114" fmla="*/ 728663 w 8601075"/>
                  <a:gd name="connsiteY114" fmla="*/ 485775 h 4305300"/>
                  <a:gd name="connsiteX115" fmla="*/ 673894 w 8601075"/>
                  <a:gd name="connsiteY115" fmla="*/ 523875 h 4305300"/>
                  <a:gd name="connsiteX116" fmla="*/ 578644 w 8601075"/>
                  <a:gd name="connsiteY116" fmla="*/ 538162 h 4305300"/>
                  <a:gd name="connsiteX117" fmla="*/ 564356 w 8601075"/>
                  <a:gd name="connsiteY117" fmla="*/ 559594 h 4305300"/>
                  <a:gd name="connsiteX118" fmla="*/ 576262 w 8601075"/>
                  <a:gd name="connsiteY118" fmla="*/ 604838 h 4305300"/>
                  <a:gd name="connsiteX119" fmla="*/ 476251 w 8601075"/>
                  <a:gd name="connsiteY119" fmla="*/ 657225 h 4305300"/>
                  <a:gd name="connsiteX120" fmla="*/ 438150 w 8601075"/>
                  <a:gd name="connsiteY120" fmla="*/ 628649 h 4305300"/>
                  <a:gd name="connsiteX121" fmla="*/ 407194 w 8601075"/>
                  <a:gd name="connsiteY121" fmla="*/ 685800 h 4305300"/>
                  <a:gd name="connsiteX122" fmla="*/ 350044 w 8601075"/>
                  <a:gd name="connsiteY122" fmla="*/ 647700 h 4305300"/>
                  <a:gd name="connsiteX123" fmla="*/ 314325 w 8601075"/>
                  <a:gd name="connsiteY123" fmla="*/ 676275 h 4305300"/>
                  <a:gd name="connsiteX124" fmla="*/ 278606 w 8601075"/>
                  <a:gd name="connsiteY124" fmla="*/ 640556 h 4305300"/>
                  <a:gd name="connsiteX125" fmla="*/ 226219 w 8601075"/>
                  <a:gd name="connsiteY125" fmla="*/ 652463 h 4305300"/>
                  <a:gd name="connsiteX126" fmla="*/ 180975 w 8601075"/>
                  <a:gd name="connsiteY126" fmla="*/ 623888 h 4305300"/>
                  <a:gd name="connsiteX127" fmla="*/ 157163 w 8601075"/>
                  <a:gd name="connsiteY127" fmla="*/ 642938 h 4305300"/>
                  <a:gd name="connsiteX128" fmla="*/ 133350 w 8601075"/>
                  <a:gd name="connsiteY128" fmla="*/ 702469 h 4305300"/>
                  <a:gd name="connsiteX129" fmla="*/ 61913 w 8601075"/>
                  <a:gd name="connsiteY129" fmla="*/ 740568 h 4305300"/>
                  <a:gd name="connsiteX130" fmla="*/ 28575 w 8601075"/>
                  <a:gd name="connsiteY130" fmla="*/ 769144 h 4305300"/>
                  <a:gd name="connsiteX131" fmla="*/ 33338 w 8601075"/>
                  <a:gd name="connsiteY131" fmla="*/ 812006 h 4305300"/>
                  <a:gd name="connsiteX132" fmla="*/ 0 w 8601075"/>
                  <a:gd name="connsiteY132" fmla="*/ 816769 h 4305300"/>
                  <a:gd name="connsiteX133" fmla="*/ 4763 w 8601075"/>
                  <a:gd name="connsiteY133" fmla="*/ 840581 h 4305300"/>
                  <a:gd name="connsiteX134" fmla="*/ 61912 w 8601075"/>
                  <a:gd name="connsiteY134" fmla="*/ 914400 h 4305300"/>
                  <a:gd name="connsiteX135" fmla="*/ 23813 w 8601075"/>
                  <a:gd name="connsiteY135" fmla="*/ 962025 h 4305300"/>
                  <a:gd name="connsiteX136" fmla="*/ 78581 w 8601075"/>
                  <a:gd name="connsiteY136" fmla="*/ 997744 h 4305300"/>
                  <a:gd name="connsiteX137" fmla="*/ 169069 w 8601075"/>
                  <a:gd name="connsiteY137" fmla="*/ 1085850 h 4305300"/>
                  <a:gd name="connsiteX138" fmla="*/ 171450 w 8601075"/>
                  <a:gd name="connsiteY138" fmla="*/ 1145381 h 4305300"/>
                  <a:gd name="connsiteX139" fmla="*/ 307181 w 8601075"/>
                  <a:gd name="connsiteY139" fmla="*/ 1278732 h 4305300"/>
                  <a:gd name="connsiteX140" fmla="*/ 361950 w 8601075"/>
                  <a:gd name="connsiteY140" fmla="*/ 1254919 h 4305300"/>
                  <a:gd name="connsiteX141" fmla="*/ 400050 w 8601075"/>
                  <a:gd name="connsiteY141" fmla="*/ 1281112 h 4305300"/>
                  <a:gd name="connsiteX142" fmla="*/ 414338 w 8601075"/>
                  <a:gd name="connsiteY142" fmla="*/ 1331118 h 4305300"/>
                  <a:gd name="connsiteX143" fmla="*/ 457200 w 8601075"/>
                  <a:gd name="connsiteY143" fmla="*/ 1366838 h 4305300"/>
                  <a:gd name="connsiteX144" fmla="*/ 497681 w 8601075"/>
                  <a:gd name="connsiteY144" fmla="*/ 1354931 h 4305300"/>
                  <a:gd name="connsiteX145" fmla="*/ 516731 w 8601075"/>
                  <a:gd name="connsiteY145" fmla="*/ 1412081 h 4305300"/>
                  <a:gd name="connsiteX146" fmla="*/ 564356 w 8601075"/>
                  <a:gd name="connsiteY146" fmla="*/ 1454944 h 4305300"/>
                  <a:gd name="connsiteX147" fmla="*/ 588169 w 8601075"/>
                  <a:gd name="connsiteY147" fmla="*/ 1557338 h 4305300"/>
                  <a:gd name="connsiteX148" fmla="*/ 585788 w 8601075"/>
                  <a:gd name="connsiteY148" fmla="*/ 1604963 h 4305300"/>
                  <a:gd name="connsiteX149" fmla="*/ 621506 w 8601075"/>
                  <a:gd name="connsiteY149" fmla="*/ 1704975 h 4305300"/>
                  <a:gd name="connsiteX150" fmla="*/ 666750 w 8601075"/>
                  <a:gd name="connsiteY150" fmla="*/ 1762125 h 4305300"/>
                  <a:gd name="connsiteX151" fmla="*/ 683418 w 8601075"/>
                  <a:gd name="connsiteY151" fmla="*/ 1919287 h 4305300"/>
                  <a:gd name="connsiteX152" fmla="*/ 650081 w 8601075"/>
                  <a:gd name="connsiteY152" fmla="*/ 1981200 h 4305300"/>
                  <a:gd name="connsiteX153" fmla="*/ 619125 w 8601075"/>
                  <a:gd name="connsiteY153" fmla="*/ 2057400 h 4305300"/>
                  <a:gd name="connsiteX154" fmla="*/ 633413 w 8601075"/>
                  <a:gd name="connsiteY154" fmla="*/ 2114550 h 4305300"/>
                  <a:gd name="connsiteX155" fmla="*/ 535781 w 8601075"/>
                  <a:gd name="connsiteY155" fmla="*/ 2221707 h 4305300"/>
                  <a:gd name="connsiteX156" fmla="*/ 492919 w 8601075"/>
                  <a:gd name="connsiteY156" fmla="*/ 2336006 h 4305300"/>
                  <a:gd name="connsiteX157" fmla="*/ 526256 w 8601075"/>
                  <a:gd name="connsiteY157" fmla="*/ 2376488 h 4305300"/>
                  <a:gd name="connsiteX158" fmla="*/ 509588 w 8601075"/>
                  <a:gd name="connsiteY158" fmla="*/ 2405063 h 4305300"/>
                  <a:gd name="connsiteX159" fmla="*/ 540544 w 8601075"/>
                  <a:gd name="connsiteY159" fmla="*/ 2462213 h 4305300"/>
                  <a:gd name="connsiteX160" fmla="*/ 569119 w 8601075"/>
                  <a:gd name="connsiteY160" fmla="*/ 2462213 h 4305300"/>
                  <a:gd name="connsiteX161" fmla="*/ 731044 w 8601075"/>
                  <a:gd name="connsiteY161" fmla="*/ 2564606 h 4305300"/>
                  <a:gd name="connsiteX162" fmla="*/ 835819 w 8601075"/>
                  <a:gd name="connsiteY162" fmla="*/ 2562225 h 4305300"/>
                  <a:gd name="connsiteX163" fmla="*/ 914400 w 8601075"/>
                  <a:gd name="connsiteY163" fmla="*/ 2616994 h 4305300"/>
                  <a:gd name="connsiteX164" fmla="*/ 1045368 w 8601075"/>
                  <a:gd name="connsiteY164" fmla="*/ 2619375 h 4305300"/>
                  <a:gd name="connsiteX165" fmla="*/ 1235868 w 8601075"/>
                  <a:gd name="connsiteY165" fmla="*/ 2688431 h 4305300"/>
                  <a:gd name="connsiteX166" fmla="*/ 1438275 w 8601075"/>
                  <a:gd name="connsiteY166" fmla="*/ 2838450 h 4305300"/>
                  <a:gd name="connsiteX167" fmla="*/ 1471612 w 8601075"/>
                  <a:gd name="connsiteY167" fmla="*/ 2905125 h 4305300"/>
                  <a:gd name="connsiteX168" fmla="*/ 1638300 w 8601075"/>
                  <a:gd name="connsiteY168" fmla="*/ 3031331 h 4305300"/>
                  <a:gd name="connsiteX169" fmla="*/ 1709738 w 8601075"/>
                  <a:gd name="connsiteY169" fmla="*/ 3026569 h 4305300"/>
                  <a:gd name="connsiteX170" fmla="*/ 1745457 w 8601075"/>
                  <a:gd name="connsiteY170" fmla="*/ 3050381 h 4305300"/>
                  <a:gd name="connsiteX171" fmla="*/ 1716881 w 8601075"/>
                  <a:gd name="connsiteY171" fmla="*/ 3090863 h 4305300"/>
                  <a:gd name="connsiteX172" fmla="*/ 1724025 w 8601075"/>
                  <a:gd name="connsiteY172" fmla="*/ 3143250 h 4305300"/>
                  <a:gd name="connsiteX173" fmla="*/ 1776413 w 8601075"/>
                  <a:gd name="connsiteY173" fmla="*/ 3169444 h 4305300"/>
                  <a:gd name="connsiteX174" fmla="*/ 1838325 w 8601075"/>
                  <a:gd name="connsiteY174" fmla="*/ 3393282 h 4305300"/>
                  <a:gd name="connsiteX175" fmla="*/ 1828800 w 8601075"/>
                  <a:gd name="connsiteY175" fmla="*/ 3457575 h 4305300"/>
                  <a:gd name="connsiteX176" fmla="*/ 1964531 w 8601075"/>
                  <a:gd name="connsiteY176" fmla="*/ 3624263 h 4305300"/>
                  <a:gd name="connsiteX177" fmla="*/ 1983581 w 8601075"/>
                  <a:gd name="connsiteY177" fmla="*/ 3674269 h 4305300"/>
                  <a:gd name="connsiteX178" fmla="*/ 1957388 w 8601075"/>
                  <a:gd name="connsiteY178" fmla="*/ 3693319 h 4305300"/>
                  <a:gd name="connsiteX179" fmla="*/ 2059781 w 8601075"/>
                  <a:gd name="connsiteY179" fmla="*/ 3702844 h 4305300"/>
                  <a:gd name="connsiteX180" fmla="*/ 2171700 w 8601075"/>
                  <a:gd name="connsiteY180" fmla="*/ 3690938 h 4305300"/>
                  <a:gd name="connsiteX181" fmla="*/ 2450306 w 8601075"/>
                  <a:gd name="connsiteY181" fmla="*/ 3774281 h 4305300"/>
                  <a:gd name="connsiteX182" fmla="*/ 2857500 w 8601075"/>
                  <a:gd name="connsiteY182" fmla="*/ 3855244 h 4305300"/>
                  <a:gd name="connsiteX183" fmla="*/ 3055144 w 8601075"/>
                  <a:gd name="connsiteY183" fmla="*/ 3824287 h 4305300"/>
                  <a:gd name="connsiteX184" fmla="*/ 3100388 w 8601075"/>
                  <a:gd name="connsiteY184" fmla="*/ 3836193 h 4305300"/>
                  <a:gd name="connsiteX185" fmla="*/ 3155156 w 8601075"/>
                  <a:gd name="connsiteY185" fmla="*/ 3812382 h 4305300"/>
                  <a:gd name="connsiteX186" fmla="*/ 3548062 w 8601075"/>
                  <a:gd name="connsiteY186" fmla="*/ 3902869 h 4305300"/>
                  <a:gd name="connsiteX187" fmla="*/ 3631407 w 8601075"/>
                  <a:gd name="connsiteY187" fmla="*/ 4000500 h 4305300"/>
                  <a:gd name="connsiteX188" fmla="*/ 3750469 w 8601075"/>
                  <a:gd name="connsiteY188" fmla="*/ 4071938 h 4305300"/>
                  <a:gd name="connsiteX189" fmla="*/ 3810000 w 8601075"/>
                  <a:gd name="connsiteY189" fmla="*/ 4055269 h 4305300"/>
                  <a:gd name="connsiteX190" fmla="*/ 4160043 w 8601075"/>
                  <a:gd name="connsiteY190" fmla="*/ 4229100 h 4305300"/>
                  <a:gd name="connsiteX191" fmla="*/ 4386263 w 8601075"/>
                  <a:gd name="connsiteY191" fmla="*/ 4200525 h 4305300"/>
                  <a:gd name="connsiteX192" fmla="*/ 4395788 w 8601075"/>
                  <a:gd name="connsiteY192" fmla="*/ 4279106 h 4305300"/>
                  <a:gd name="connsiteX193" fmla="*/ 4481513 w 8601075"/>
                  <a:gd name="connsiteY193" fmla="*/ 4274343 h 4305300"/>
                  <a:gd name="connsiteX194" fmla="*/ 4560094 w 8601075"/>
                  <a:gd name="connsiteY194" fmla="*/ 4305300 h 4305300"/>
                  <a:gd name="connsiteX195" fmla="*/ 4602956 w 8601075"/>
                  <a:gd name="connsiteY195" fmla="*/ 4245769 h 4305300"/>
                  <a:gd name="connsiteX196" fmla="*/ 5274469 w 8601075"/>
                  <a:gd name="connsiteY196" fmla="*/ 3926681 h 4305300"/>
                  <a:gd name="connsiteX197" fmla="*/ 5362575 w 8601075"/>
                  <a:gd name="connsiteY197" fmla="*/ 3955257 h 4305300"/>
                  <a:gd name="connsiteX198" fmla="*/ 5493544 w 8601075"/>
                  <a:gd name="connsiteY198" fmla="*/ 3926681 h 4305300"/>
                  <a:gd name="connsiteX199" fmla="*/ 5672137 w 8601075"/>
                  <a:gd name="connsiteY199" fmla="*/ 3943350 h 4305300"/>
                  <a:gd name="connsiteX200" fmla="*/ 5729288 w 8601075"/>
                  <a:gd name="connsiteY200" fmla="*/ 3917157 h 4305300"/>
                  <a:gd name="connsiteX201" fmla="*/ 5862637 w 8601075"/>
                  <a:gd name="connsiteY201" fmla="*/ 3914775 h 4305300"/>
                  <a:gd name="connsiteX202" fmla="*/ 5995987 w 8601075"/>
                  <a:gd name="connsiteY202" fmla="*/ 3817144 h 4305300"/>
                  <a:gd name="connsiteX203" fmla="*/ 6062662 w 8601075"/>
                  <a:gd name="connsiteY203" fmla="*/ 3810000 h 4305300"/>
                  <a:gd name="connsiteX204" fmla="*/ 6160294 w 8601075"/>
                  <a:gd name="connsiteY204" fmla="*/ 3736181 h 4305300"/>
                  <a:gd name="connsiteX205" fmla="*/ 6234113 w 8601075"/>
                  <a:gd name="connsiteY205" fmla="*/ 3667125 h 4305300"/>
                  <a:gd name="connsiteX206" fmla="*/ 6243638 w 8601075"/>
                  <a:gd name="connsiteY206" fmla="*/ 3605213 h 4305300"/>
                  <a:gd name="connsiteX207" fmla="*/ 6276975 w 8601075"/>
                  <a:gd name="connsiteY207" fmla="*/ 3536156 h 4305300"/>
                  <a:gd name="connsiteX208" fmla="*/ 6429375 w 8601075"/>
                  <a:gd name="connsiteY208" fmla="*/ 3429000 h 4305300"/>
                  <a:gd name="connsiteX209" fmla="*/ 6462713 w 8601075"/>
                  <a:gd name="connsiteY209" fmla="*/ 3433763 h 4305300"/>
                  <a:gd name="connsiteX210" fmla="*/ 6515100 w 8601075"/>
                  <a:gd name="connsiteY210" fmla="*/ 3355181 h 4305300"/>
                  <a:gd name="connsiteX211" fmla="*/ 6562725 w 8601075"/>
                  <a:gd name="connsiteY211" fmla="*/ 3317081 h 4305300"/>
                  <a:gd name="connsiteX212" fmla="*/ 6548438 w 8601075"/>
                  <a:gd name="connsiteY212" fmla="*/ 3248025 h 4305300"/>
                  <a:gd name="connsiteX213" fmla="*/ 6498431 w 8601075"/>
                  <a:gd name="connsiteY213" fmla="*/ 3217068 h 4305300"/>
                  <a:gd name="connsiteX214" fmla="*/ 6438900 w 8601075"/>
                  <a:gd name="connsiteY214" fmla="*/ 3162300 h 4305300"/>
                  <a:gd name="connsiteX215" fmla="*/ 6419850 w 8601075"/>
                  <a:gd name="connsiteY215" fmla="*/ 3105150 h 4305300"/>
                  <a:gd name="connsiteX216" fmla="*/ 6384131 w 8601075"/>
                  <a:gd name="connsiteY216" fmla="*/ 3071813 h 4305300"/>
                  <a:gd name="connsiteX217" fmla="*/ 6410325 w 8601075"/>
                  <a:gd name="connsiteY217" fmla="*/ 3019425 h 4305300"/>
                  <a:gd name="connsiteX218" fmla="*/ 6450806 w 8601075"/>
                  <a:gd name="connsiteY218" fmla="*/ 2840831 h 4305300"/>
                  <a:gd name="connsiteX219" fmla="*/ 6491288 w 8601075"/>
                  <a:gd name="connsiteY219" fmla="*/ 2774156 h 4305300"/>
                  <a:gd name="connsiteX220" fmla="*/ 6636544 w 8601075"/>
                  <a:gd name="connsiteY220" fmla="*/ 2757487 h 4305300"/>
                  <a:gd name="connsiteX221" fmla="*/ 6705600 w 8601075"/>
                  <a:gd name="connsiteY221" fmla="*/ 2814638 h 4305300"/>
                  <a:gd name="connsiteX222" fmla="*/ 6781800 w 8601075"/>
                  <a:gd name="connsiteY222" fmla="*/ 2838450 h 4305300"/>
                  <a:gd name="connsiteX223" fmla="*/ 6986587 w 8601075"/>
                  <a:gd name="connsiteY223" fmla="*/ 2843213 h 4305300"/>
                  <a:gd name="connsiteX224" fmla="*/ 7162800 w 8601075"/>
                  <a:gd name="connsiteY224" fmla="*/ 2705100 h 4305300"/>
                  <a:gd name="connsiteX225" fmla="*/ 7219950 w 8601075"/>
                  <a:gd name="connsiteY225" fmla="*/ 2614612 h 4305300"/>
                  <a:gd name="connsiteX226" fmla="*/ 7246144 w 8601075"/>
                  <a:gd name="connsiteY226" fmla="*/ 2531269 h 4305300"/>
                  <a:gd name="connsiteX227" fmla="*/ 7377112 w 8601075"/>
                  <a:gd name="connsiteY227" fmla="*/ 2531269 h 4305300"/>
                  <a:gd name="connsiteX228" fmla="*/ 7550944 w 8601075"/>
                  <a:gd name="connsiteY228" fmla="*/ 2474118 h 4305300"/>
                  <a:gd name="connsiteX229" fmla="*/ 7610475 w 8601075"/>
                  <a:gd name="connsiteY229" fmla="*/ 2362200 h 4305300"/>
                  <a:gd name="connsiteX230" fmla="*/ 7674769 w 8601075"/>
                  <a:gd name="connsiteY230" fmla="*/ 2326481 h 4305300"/>
                  <a:gd name="connsiteX231" fmla="*/ 7653338 w 8601075"/>
                  <a:gd name="connsiteY231" fmla="*/ 2281238 h 4305300"/>
                  <a:gd name="connsiteX232" fmla="*/ 7731919 w 8601075"/>
                  <a:gd name="connsiteY232" fmla="*/ 2112168 h 4305300"/>
                  <a:gd name="connsiteX233" fmla="*/ 7786688 w 8601075"/>
                  <a:gd name="connsiteY233" fmla="*/ 2052638 h 4305300"/>
                  <a:gd name="connsiteX234" fmla="*/ 7824788 w 8601075"/>
                  <a:gd name="connsiteY234" fmla="*/ 2047875 h 4305300"/>
                  <a:gd name="connsiteX235" fmla="*/ 7870031 w 8601075"/>
                  <a:gd name="connsiteY235" fmla="*/ 2052638 h 4305300"/>
                  <a:gd name="connsiteX236" fmla="*/ 7934325 w 8601075"/>
                  <a:gd name="connsiteY236" fmla="*/ 2019300 h 4305300"/>
                  <a:gd name="connsiteX237" fmla="*/ 7943850 w 8601075"/>
                  <a:gd name="connsiteY237" fmla="*/ 1955006 h 4305300"/>
                  <a:gd name="connsiteX238" fmla="*/ 7984330 w 8601075"/>
                  <a:gd name="connsiteY238" fmla="*/ 1919288 h 4305300"/>
                  <a:gd name="connsiteX239" fmla="*/ 8043863 w 8601075"/>
                  <a:gd name="connsiteY239" fmla="*/ 1959768 h 4305300"/>
                  <a:gd name="connsiteX240" fmla="*/ 8070057 w 8601075"/>
                  <a:gd name="connsiteY240" fmla="*/ 1909762 h 4305300"/>
                  <a:gd name="connsiteX241" fmla="*/ 8165306 w 8601075"/>
                  <a:gd name="connsiteY241" fmla="*/ 1840706 h 4305300"/>
                  <a:gd name="connsiteX242" fmla="*/ 8227219 w 8601075"/>
                  <a:gd name="connsiteY242" fmla="*/ 1847850 h 4305300"/>
                  <a:gd name="connsiteX243" fmla="*/ 8277225 w 8601075"/>
                  <a:gd name="connsiteY243" fmla="*/ 1828800 h 4305300"/>
                  <a:gd name="connsiteX244" fmla="*/ 8315325 w 8601075"/>
                  <a:gd name="connsiteY244" fmla="*/ 1800225 h 4305300"/>
                  <a:gd name="connsiteX245" fmla="*/ 8348663 w 8601075"/>
                  <a:gd name="connsiteY245" fmla="*/ 1797844 h 4305300"/>
                  <a:gd name="connsiteX246" fmla="*/ 8384381 w 8601075"/>
                  <a:gd name="connsiteY246" fmla="*/ 1828800 h 4305300"/>
                  <a:gd name="connsiteX247" fmla="*/ 8443913 w 8601075"/>
                  <a:gd name="connsiteY247" fmla="*/ 1828800 h 4305300"/>
                  <a:gd name="connsiteX248" fmla="*/ 8482012 w 8601075"/>
                  <a:gd name="connsiteY248" fmla="*/ 1809750 h 4305300"/>
                  <a:gd name="connsiteX249" fmla="*/ 8565356 w 8601075"/>
                  <a:gd name="connsiteY249" fmla="*/ 1812132 h 4305300"/>
                  <a:gd name="connsiteX250" fmla="*/ 8596313 w 8601075"/>
                  <a:gd name="connsiteY250" fmla="*/ 1766888 h 4305300"/>
                  <a:gd name="connsiteX251" fmla="*/ 8601075 w 8601075"/>
                  <a:gd name="connsiteY251" fmla="*/ 1704975 h 4305300"/>
                  <a:gd name="connsiteX252" fmla="*/ 8551068 w 8601075"/>
                  <a:gd name="connsiteY252" fmla="*/ 1664494 h 4305300"/>
                  <a:gd name="connsiteX253" fmla="*/ 8534400 w 8601075"/>
                  <a:gd name="connsiteY253" fmla="*/ 1609725 h 4305300"/>
                  <a:gd name="connsiteX254" fmla="*/ 8443913 w 8601075"/>
                  <a:gd name="connsiteY254" fmla="*/ 1547813 h 4305300"/>
                  <a:gd name="connsiteX255" fmla="*/ 8403431 w 8601075"/>
                  <a:gd name="connsiteY255" fmla="*/ 1526381 h 4305300"/>
                  <a:gd name="connsiteX256" fmla="*/ 8365331 w 8601075"/>
                  <a:gd name="connsiteY256" fmla="*/ 1481138 h 4305300"/>
                  <a:gd name="connsiteX257" fmla="*/ 8334375 w 8601075"/>
                  <a:gd name="connsiteY257" fmla="*/ 1478756 h 4305300"/>
                  <a:gd name="connsiteX258" fmla="*/ 8317706 w 8601075"/>
                  <a:gd name="connsiteY258" fmla="*/ 1426369 h 4305300"/>
                  <a:gd name="connsiteX259" fmla="*/ 8277225 w 8601075"/>
                  <a:gd name="connsiteY259" fmla="*/ 1409700 h 4305300"/>
                  <a:gd name="connsiteX260" fmla="*/ 8277225 w 8601075"/>
                  <a:gd name="connsiteY260" fmla="*/ 1409700 h 4305300"/>
                  <a:gd name="connsiteX261" fmla="*/ 8236744 w 8601075"/>
                  <a:gd name="connsiteY261" fmla="*/ 1414463 h 4305300"/>
                  <a:gd name="connsiteX262" fmla="*/ 8151018 w 8601075"/>
                  <a:gd name="connsiteY262" fmla="*/ 1340644 h 4305300"/>
                  <a:gd name="connsiteX263" fmla="*/ 7970044 w 8601075"/>
                  <a:gd name="connsiteY263" fmla="*/ 1340643 h 4305300"/>
                  <a:gd name="connsiteX264" fmla="*/ 7917656 w 8601075"/>
                  <a:gd name="connsiteY264" fmla="*/ 1378744 h 4305300"/>
                  <a:gd name="connsiteX265" fmla="*/ 7867650 w 8601075"/>
                  <a:gd name="connsiteY265" fmla="*/ 1457325 h 4305300"/>
                  <a:gd name="connsiteX266" fmla="*/ 7884319 w 8601075"/>
                  <a:gd name="connsiteY266" fmla="*/ 1478756 h 4305300"/>
                  <a:gd name="connsiteX267" fmla="*/ 7839075 w 8601075"/>
                  <a:gd name="connsiteY267" fmla="*/ 1528762 h 4305300"/>
                  <a:gd name="connsiteX268" fmla="*/ 7689056 w 8601075"/>
                  <a:gd name="connsiteY268" fmla="*/ 1452562 h 4305300"/>
                  <a:gd name="connsiteX269" fmla="*/ 7598569 w 8601075"/>
                  <a:gd name="connsiteY269" fmla="*/ 1488281 h 4305300"/>
                  <a:gd name="connsiteX270" fmla="*/ 7524750 w 8601075"/>
                  <a:gd name="connsiteY270" fmla="*/ 1485900 h 4305300"/>
                  <a:gd name="connsiteX271" fmla="*/ 7467600 w 8601075"/>
                  <a:gd name="connsiteY271" fmla="*/ 1581150 h 4305300"/>
                  <a:gd name="connsiteX272" fmla="*/ 7329488 w 8601075"/>
                  <a:gd name="connsiteY27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424738 w 8601075"/>
                  <a:gd name="connsiteY4" fmla="*/ 1131094 h 4305300"/>
                  <a:gd name="connsiteX5" fmla="*/ 7419975 w 8601075"/>
                  <a:gd name="connsiteY5" fmla="*/ 1047750 h 4305300"/>
                  <a:gd name="connsiteX6" fmla="*/ 7486650 w 8601075"/>
                  <a:gd name="connsiteY6" fmla="*/ 638175 h 4305300"/>
                  <a:gd name="connsiteX7" fmla="*/ 7343775 w 8601075"/>
                  <a:gd name="connsiteY7" fmla="*/ 647700 h 4305300"/>
                  <a:gd name="connsiteX8" fmla="*/ 7172325 w 8601075"/>
                  <a:gd name="connsiteY8" fmla="*/ 742950 h 4305300"/>
                  <a:gd name="connsiteX9" fmla="*/ 7010400 w 8601075"/>
                  <a:gd name="connsiteY9" fmla="*/ 609600 h 4305300"/>
                  <a:gd name="connsiteX10" fmla="*/ 6877050 w 8601075"/>
                  <a:gd name="connsiteY10" fmla="*/ 600075 h 4305300"/>
                  <a:gd name="connsiteX11" fmla="*/ 6600825 w 8601075"/>
                  <a:gd name="connsiteY11" fmla="*/ 904875 h 4305300"/>
                  <a:gd name="connsiteX12" fmla="*/ 6600825 w 8601075"/>
                  <a:gd name="connsiteY12" fmla="*/ 904875 h 4305300"/>
                  <a:gd name="connsiteX13" fmla="*/ 6534150 w 8601075"/>
                  <a:gd name="connsiteY13" fmla="*/ 942975 h 4305300"/>
                  <a:gd name="connsiteX14" fmla="*/ 6534150 w 8601075"/>
                  <a:gd name="connsiteY14" fmla="*/ 942975 h 4305300"/>
                  <a:gd name="connsiteX15" fmla="*/ 6362700 w 8601075"/>
                  <a:gd name="connsiteY15" fmla="*/ 1009650 h 4305300"/>
                  <a:gd name="connsiteX16" fmla="*/ 6238875 w 8601075"/>
                  <a:gd name="connsiteY16" fmla="*/ 1057275 h 4305300"/>
                  <a:gd name="connsiteX17" fmla="*/ 6115050 w 8601075"/>
                  <a:gd name="connsiteY17" fmla="*/ 1114425 h 4305300"/>
                  <a:gd name="connsiteX18" fmla="*/ 5962650 w 8601075"/>
                  <a:gd name="connsiteY18" fmla="*/ 1190625 h 4305300"/>
                  <a:gd name="connsiteX19" fmla="*/ 5895975 w 8601075"/>
                  <a:gd name="connsiteY19" fmla="*/ 1143000 h 4305300"/>
                  <a:gd name="connsiteX20" fmla="*/ 5895975 w 8601075"/>
                  <a:gd name="connsiteY20" fmla="*/ 1143000 h 4305300"/>
                  <a:gd name="connsiteX21" fmla="*/ 5676900 w 8601075"/>
                  <a:gd name="connsiteY21" fmla="*/ 1181100 h 4305300"/>
                  <a:gd name="connsiteX22" fmla="*/ 5600700 w 8601075"/>
                  <a:gd name="connsiteY22" fmla="*/ 1114425 h 4305300"/>
                  <a:gd name="connsiteX23" fmla="*/ 5391150 w 8601075"/>
                  <a:gd name="connsiteY23" fmla="*/ 1123950 h 4305300"/>
                  <a:gd name="connsiteX24" fmla="*/ 5334000 w 8601075"/>
                  <a:gd name="connsiteY24" fmla="*/ 1066800 h 4305300"/>
                  <a:gd name="connsiteX25" fmla="*/ 5248275 w 8601075"/>
                  <a:gd name="connsiteY25" fmla="*/ 981075 h 4305300"/>
                  <a:gd name="connsiteX26" fmla="*/ 5238750 w 8601075"/>
                  <a:gd name="connsiteY26" fmla="*/ 895350 h 4305300"/>
                  <a:gd name="connsiteX27" fmla="*/ 5133975 w 8601075"/>
                  <a:gd name="connsiteY27" fmla="*/ 895350 h 4305300"/>
                  <a:gd name="connsiteX28" fmla="*/ 4991100 w 8601075"/>
                  <a:gd name="connsiteY28" fmla="*/ 838200 h 4305300"/>
                  <a:gd name="connsiteX29" fmla="*/ 4905375 w 8601075"/>
                  <a:gd name="connsiteY29" fmla="*/ 771525 h 4305300"/>
                  <a:gd name="connsiteX30" fmla="*/ 4905375 w 8601075"/>
                  <a:gd name="connsiteY30" fmla="*/ 771525 h 4305300"/>
                  <a:gd name="connsiteX31" fmla="*/ 4781550 w 8601075"/>
                  <a:gd name="connsiteY31" fmla="*/ 762000 h 4305300"/>
                  <a:gd name="connsiteX32" fmla="*/ 4648200 w 8601075"/>
                  <a:gd name="connsiteY32" fmla="*/ 714375 h 4305300"/>
                  <a:gd name="connsiteX33" fmla="*/ 4581525 w 8601075"/>
                  <a:gd name="connsiteY33" fmla="*/ 695325 h 4305300"/>
                  <a:gd name="connsiteX34" fmla="*/ 4495800 w 8601075"/>
                  <a:gd name="connsiteY34" fmla="*/ 742950 h 4305300"/>
                  <a:gd name="connsiteX35" fmla="*/ 4343400 w 8601075"/>
                  <a:gd name="connsiteY35" fmla="*/ 781050 h 4305300"/>
                  <a:gd name="connsiteX36" fmla="*/ 4252913 w 8601075"/>
                  <a:gd name="connsiteY36" fmla="*/ 862013 h 4305300"/>
                  <a:gd name="connsiteX37" fmla="*/ 4205287 w 8601075"/>
                  <a:gd name="connsiteY37" fmla="*/ 823913 h 4305300"/>
                  <a:gd name="connsiteX38" fmla="*/ 4183856 w 8601075"/>
                  <a:gd name="connsiteY38" fmla="*/ 854868 h 4305300"/>
                  <a:gd name="connsiteX39" fmla="*/ 4110038 w 8601075"/>
                  <a:gd name="connsiteY39" fmla="*/ 804863 h 4305300"/>
                  <a:gd name="connsiteX40" fmla="*/ 4071938 w 8601075"/>
                  <a:gd name="connsiteY40" fmla="*/ 812006 h 4305300"/>
                  <a:gd name="connsiteX41" fmla="*/ 4050506 w 8601075"/>
                  <a:gd name="connsiteY41" fmla="*/ 773906 h 4305300"/>
                  <a:gd name="connsiteX42" fmla="*/ 3990975 w 8601075"/>
                  <a:gd name="connsiteY42" fmla="*/ 778669 h 4305300"/>
                  <a:gd name="connsiteX43" fmla="*/ 3945731 w 8601075"/>
                  <a:gd name="connsiteY43" fmla="*/ 750094 h 4305300"/>
                  <a:gd name="connsiteX44" fmla="*/ 3907631 w 8601075"/>
                  <a:gd name="connsiteY44" fmla="*/ 747713 h 4305300"/>
                  <a:gd name="connsiteX45" fmla="*/ 3888581 w 8601075"/>
                  <a:gd name="connsiteY45" fmla="*/ 700087 h 4305300"/>
                  <a:gd name="connsiteX46" fmla="*/ 3874294 w 8601075"/>
                  <a:gd name="connsiteY46" fmla="*/ 669131 h 4305300"/>
                  <a:gd name="connsiteX47" fmla="*/ 3829050 w 8601075"/>
                  <a:gd name="connsiteY47" fmla="*/ 678656 h 4305300"/>
                  <a:gd name="connsiteX48" fmla="*/ 3810000 w 8601075"/>
                  <a:gd name="connsiteY48" fmla="*/ 642938 h 4305300"/>
                  <a:gd name="connsiteX49" fmla="*/ 3831432 w 8601075"/>
                  <a:gd name="connsiteY49" fmla="*/ 588169 h 4305300"/>
                  <a:gd name="connsiteX50" fmla="*/ 3800475 w 8601075"/>
                  <a:gd name="connsiteY50" fmla="*/ 561975 h 4305300"/>
                  <a:gd name="connsiteX51" fmla="*/ 3817144 w 8601075"/>
                  <a:gd name="connsiteY51" fmla="*/ 519113 h 4305300"/>
                  <a:gd name="connsiteX52" fmla="*/ 3790950 w 8601075"/>
                  <a:gd name="connsiteY52" fmla="*/ 476250 h 4305300"/>
                  <a:gd name="connsiteX53" fmla="*/ 3786188 w 8601075"/>
                  <a:gd name="connsiteY53" fmla="*/ 414338 h 4305300"/>
                  <a:gd name="connsiteX54" fmla="*/ 3810000 w 8601075"/>
                  <a:gd name="connsiteY54" fmla="*/ 350043 h 4305300"/>
                  <a:gd name="connsiteX55" fmla="*/ 3771900 w 8601075"/>
                  <a:gd name="connsiteY55" fmla="*/ 352425 h 4305300"/>
                  <a:gd name="connsiteX56" fmla="*/ 3652838 w 8601075"/>
                  <a:gd name="connsiteY56" fmla="*/ 295275 h 4305300"/>
                  <a:gd name="connsiteX57" fmla="*/ 3614737 w 8601075"/>
                  <a:gd name="connsiteY57" fmla="*/ 300037 h 4305300"/>
                  <a:gd name="connsiteX58" fmla="*/ 3409950 w 8601075"/>
                  <a:gd name="connsiteY58" fmla="*/ 190500 h 4305300"/>
                  <a:gd name="connsiteX59" fmla="*/ 3305175 w 8601075"/>
                  <a:gd name="connsiteY59" fmla="*/ 159544 h 4305300"/>
                  <a:gd name="connsiteX60" fmla="*/ 3240881 w 8601075"/>
                  <a:gd name="connsiteY60" fmla="*/ 169068 h 4305300"/>
                  <a:gd name="connsiteX61" fmla="*/ 3209925 w 8601075"/>
                  <a:gd name="connsiteY61" fmla="*/ 104775 h 4305300"/>
                  <a:gd name="connsiteX62" fmla="*/ 3152775 w 8601075"/>
                  <a:gd name="connsiteY62" fmla="*/ 104775 h 4305300"/>
                  <a:gd name="connsiteX63" fmla="*/ 3014662 w 8601075"/>
                  <a:gd name="connsiteY63" fmla="*/ 0 h 4305300"/>
                  <a:gd name="connsiteX64" fmla="*/ 2981325 w 8601075"/>
                  <a:gd name="connsiteY64" fmla="*/ 59532 h 4305300"/>
                  <a:gd name="connsiteX65" fmla="*/ 2926556 w 8601075"/>
                  <a:gd name="connsiteY65" fmla="*/ 128588 h 4305300"/>
                  <a:gd name="connsiteX66" fmla="*/ 2883694 w 8601075"/>
                  <a:gd name="connsiteY66" fmla="*/ 145256 h 4305300"/>
                  <a:gd name="connsiteX67" fmla="*/ 2852738 w 8601075"/>
                  <a:gd name="connsiteY67" fmla="*/ 138113 h 4305300"/>
                  <a:gd name="connsiteX68" fmla="*/ 2828925 w 8601075"/>
                  <a:gd name="connsiteY68" fmla="*/ 166688 h 4305300"/>
                  <a:gd name="connsiteX69" fmla="*/ 2802731 w 8601075"/>
                  <a:gd name="connsiteY69" fmla="*/ 245269 h 4305300"/>
                  <a:gd name="connsiteX70" fmla="*/ 2759869 w 8601075"/>
                  <a:gd name="connsiteY70" fmla="*/ 242888 h 4305300"/>
                  <a:gd name="connsiteX71" fmla="*/ 2728912 w 8601075"/>
                  <a:gd name="connsiteY71" fmla="*/ 304800 h 4305300"/>
                  <a:gd name="connsiteX72" fmla="*/ 2724150 w 8601075"/>
                  <a:gd name="connsiteY72" fmla="*/ 369094 h 4305300"/>
                  <a:gd name="connsiteX73" fmla="*/ 2697957 w 8601075"/>
                  <a:gd name="connsiteY73" fmla="*/ 407194 h 4305300"/>
                  <a:gd name="connsiteX74" fmla="*/ 2724150 w 8601075"/>
                  <a:gd name="connsiteY74" fmla="*/ 466725 h 4305300"/>
                  <a:gd name="connsiteX75" fmla="*/ 2726531 w 8601075"/>
                  <a:gd name="connsiteY75" fmla="*/ 535781 h 4305300"/>
                  <a:gd name="connsiteX76" fmla="*/ 2755106 w 8601075"/>
                  <a:gd name="connsiteY76" fmla="*/ 588169 h 4305300"/>
                  <a:gd name="connsiteX77" fmla="*/ 2802732 w 8601075"/>
                  <a:gd name="connsiteY77" fmla="*/ 642938 h 4305300"/>
                  <a:gd name="connsiteX78" fmla="*/ 2752725 w 8601075"/>
                  <a:gd name="connsiteY78" fmla="*/ 781050 h 4305300"/>
                  <a:gd name="connsiteX79" fmla="*/ 2683669 w 8601075"/>
                  <a:gd name="connsiteY79" fmla="*/ 847725 h 4305300"/>
                  <a:gd name="connsiteX80" fmla="*/ 2612231 w 8601075"/>
                  <a:gd name="connsiteY80" fmla="*/ 842963 h 4305300"/>
                  <a:gd name="connsiteX81" fmla="*/ 2574131 w 8601075"/>
                  <a:gd name="connsiteY81" fmla="*/ 900113 h 4305300"/>
                  <a:gd name="connsiteX82" fmla="*/ 2514600 w 8601075"/>
                  <a:gd name="connsiteY82" fmla="*/ 914400 h 4305300"/>
                  <a:gd name="connsiteX83" fmla="*/ 2445544 w 8601075"/>
                  <a:gd name="connsiteY83" fmla="*/ 854869 h 4305300"/>
                  <a:gd name="connsiteX84" fmla="*/ 2390775 w 8601075"/>
                  <a:gd name="connsiteY84" fmla="*/ 826294 h 4305300"/>
                  <a:gd name="connsiteX85" fmla="*/ 2347913 w 8601075"/>
                  <a:gd name="connsiteY85" fmla="*/ 840581 h 4305300"/>
                  <a:gd name="connsiteX86" fmla="*/ 2295525 w 8601075"/>
                  <a:gd name="connsiteY86" fmla="*/ 823913 h 4305300"/>
                  <a:gd name="connsiteX87" fmla="*/ 2228850 w 8601075"/>
                  <a:gd name="connsiteY87" fmla="*/ 769144 h 4305300"/>
                  <a:gd name="connsiteX88" fmla="*/ 2183606 w 8601075"/>
                  <a:gd name="connsiteY88" fmla="*/ 781050 h 4305300"/>
                  <a:gd name="connsiteX89" fmla="*/ 2162175 w 8601075"/>
                  <a:gd name="connsiteY89" fmla="*/ 750094 h 4305300"/>
                  <a:gd name="connsiteX90" fmla="*/ 2105025 w 8601075"/>
                  <a:gd name="connsiteY90" fmla="*/ 790575 h 4305300"/>
                  <a:gd name="connsiteX91" fmla="*/ 1988344 w 8601075"/>
                  <a:gd name="connsiteY91" fmla="*/ 769144 h 4305300"/>
                  <a:gd name="connsiteX92" fmla="*/ 1938338 w 8601075"/>
                  <a:gd name="connsiteY92" fmla="*/ 716756 h 4305300"/>
                  <a:gd name="connsiteX93" fmla="*/ 1895475 w 8601075"/>
                  <a:gd name="connsiteY93" fmla="*/ 702469 h 4305300"/>
                  <a:gd name="connsiteX94" fmla="*/ 1852613 w 8601075"/>
                  <a:gd name="connsiteY94" fmla="*/ 728663 h 4305300"/>
                  <a:gd name="connsiteX95" fmla="*/ 1800225 w 8601075"/>
                  <a:gd name="connsiteY95" fmla="*/ 638175 h 4305300"/>
                  <a:gd name="connsiteX96" fmla="*/ 1790700 w 8601075"/>
                  <a:gd name="connsiteY96" fmla="*/ 490537 h 4305300"/>
                  <a:gd name="connsiteX97" fmla="*/ 1738312 w 8601075"/>
                  <a:gd name="connsiteY97" fmla="*/ 483393 h 4305300"/>
                  <a:gd name="connsiteX98" fmla="*/ 1647825 w 8601075"/>
                  <a:gd name="connsiteY98" fmla="*/ 473869 h 4305300"/>
                  <a:gd name="connsiteX99" fmla="*/ 1593056 w 8601075"/>
                  <a:gd name="connsiteY99" fmla="*/ 435769 h 4305300"/>
                  <a:gd name="connsiteX100" fmla="*/ 1524000 w 8601075"/>
                  <a:gd name="connsiteY100" fmla="*/ 445294 h 4305300"/>
                  <a:gd name="connsiteX101" fmla="*/ 1478756 w 8601075"/>
                  <a:gd name="connsiteY101" fmla="*/ 419100 h 4305300"/>
                  <a:gd name="connsiteX102" fmla="*/ 1469232 w 8601075"/>
                  <a:gd name="connsiteY102" fmla="*/ 347663 h 4305300"/>
                  <a:gd name="connsiteX103" fmla="*/ 1445419 w 8601075"/>
                  <a:gd name="connsiteY103" fmla="*/ 333375 h 4305300"/>
                  <a:gd name="connsiteX104" fmla="*/ 1407319 w 8601075"/>
                  <a:gd name="connsiteY104" fmla="*/ 380999 h 4305300"/>
                  <a:gd name="connsiteX105" fmla="*/ 1328737 w 8601075"/>
                  <a:gd name="connsiteY105" fmla="*/ 307181 h 4305300"/>
                  <a:gd name="connsiteX106" fmla="*/ 1288256 w 8601075"/>
                  <a:gd name="connsiteY106" fmla="*/ 347663 h 4305300"/>
                  <a:gd name="connsiteX107" fmla="*/ 1212056 w 8601075"/>
                  <a:gd name="connsiteY107" fmla="*/ 333375 h 4305300"/>
                  <a:gd name="connsiteX108" fmla="*/ 1133475 w 8601075"/>
                  <a:gd name="connsiteY108" fmla="*/ 359569 h 4305300"/>
                  <a:gd name="connsiteX109" fmla="*/ 1073944 w 8601075"/>
                  <a:gd name="connsiteY109" fmla="*/ 407193 h 4305300"/>
                  <a:gd name="connsiteX110" fmla="*/ 1000125 w 8601075"/>
                  <a:gd name="connsiteY110" fmla="*/ 419100 h 4305300"/>
                  <a:gd name="connsiteX111" fmla="*/ 964406 w 8601075"/>
                  <a:gd name="connsiteY111" fmla="*/ 411956 h 4305300"/>
                  <a:gd name="connsiteX112" fmla="*/ 885826 w 8601075"/>
                  <a:gd name="connsiteY112" fmla="*/ 442913 h 4305300"/>
                  <a:gd name="connsiteX113" fmla="*/ 864394 w 8601075"/>
                  <a:gd name="connsiteY113" fmla="*/ 471488 h 4305300"/>
                  <a:gd name="connsiteX114" fmla="*/ 797719 w 8601075"/>
                  <a:gd name="connsiteY114" fmla="*/ 461963 h 4305300"/>
                  <a:gd name="connsiteX115" fmla="*/ 728663 w 8601075"/>
                  <a:gd name="connsiteY115" fmla="*/ 485775 h 4305300"/>
                  <a:gd name="connsiteX116" fmla="*/ 673894 w 8601075"/>
                  <a:gd name="connsiteY116" fmla="*/ 523875 h 4305300"/>
                  <a:gd name="connsiteX117" fmla="*/ 578644 w 8601075"/>
                  <a:gd name="connsiteY117" fmla="*/ 538162 h 4305300"/>
                  <a:gd name="connsiteX118" fmla="*/ 564356 w 8601075"/>
                  <a:gd name="connsiteY118" fmla="*/ 559594 h 4305300"/>
                  <a:gd name="connsiteX119" fmla="*/ 576262 w 8601075"/>
                  <a:gd name="connsiteY119" fmla="*/ 604838 h 4305300"/>
                  <a:gd name="connsiteX120" fmla="*/ 476251 w 8601075"/>
                  <a:gd name="connsiteY120" fmla="*/ 657225 h 4305300"/>
                  <a:gd name="connsiteX121" fmla="*/ 438150 w 8601075"/>
                  <a:gd name="connsiteY121" fmla="*/ 628649 h 4305300"/>
                  <a:gd name="connsiteX122" fmla="*/ 407194 w 8601075"/>
                  <a:gd name="connsiteY122" fmla="*/ 685800 h 4305300"/>
                  <a:gd name="connsiteX123" fmla="*/ 350044 w 8601075"/>
                  <a:gd name="connsiteY123" fmla="*/ 647700 h 4305300"/>
                  <a:gd name="connsiteX124" fmla="*/ 314325 w 8601075"/>
                  <a:gd name="connsiteY124" fmla="*/ 676275 h 4305300"/>
                  <a:gd name="connsiteX125" fmla="*/ 278606 w 8601075"/>
                  <a:gd name="connsiteY125" fmla="*/ 640556 h 4305300"/>
                  <a:gd name="connsiteX126" fmla="*/ 226219 w 8601075"/>
                  <a:gd name="connsiteY126" fmla="*/ 652463 h 4305300"/>
                  <a:gd name="connsiteX127" fmla="*/ 180975 w 8601075"/>
                  <a:gd name="connsiteY127" fmla="*/ 623888 h 4305300"/>
                  <a:gd name="connsiteX128" fmla="*/ 157163 w 8601075"/>
                  <a:gd name="connsiteY128" fmla="*/ 642938 h 4305300"/>
                  <a:gd name="connsiteX129" fmla="*/ 133350 w 8601075"/>
                  <a:gd name="connsiteY129" fmla="*/ 702469 h 4305300"/>
                  <a:gd name="connsiteX130" fmla="*/ 61913 w 8601075"/>
                  <a:gd name="connsiteY130" fmla="*/ 740568 h 4305300"/>
                  <a:gd name="connsiteX131" fmla="*/ 28575 w 8601075"/>
                  <a:gd name="connsiteY131" fmla="*/ 769144 h 4305300"/>
                  <a:gd name="connsiteX132" fmla="*/ 33338 w 8601075"/>
                  <a:gd name="connsiteY132" fmla="*/ 812006 h 4305300"/>
                  <a:gd name="connsiteX133" fmla="*/ 0 w 8601075"/>
                  <a:gd name="connsiteY133" fmla="*/ 816769 h 4305300"/>
                  <a:gd name="connsiteX134" fmla="*/ 4763 w 8601075"/>
                  <a:gd name="connsiteY134" fmla="*/ 840581 h 4305300"/>
                  <a:gd name="connsiteX135" fmla="*/ 61912 w 8601075"/>
                  <a:gd name="connsiteY135" fmla="*/ 914400 h 4305300"/>
                  <a:gd name="connsiteX136" fmla="*/ 23813 w 8601075"/>
                  <a:gd name="connsiteY136" fmla="*/ 962025 h 4305300"/>
                  <a:gd name="connsiteX137" fmla="*/ 78581 w 8601075"/>
                  <a:gd name="connsiteY137" fmla="*/ 997744 h 4305300"/>
                  <a:gd name="connsiteX138" fmla="*/ 169069 w 8601075"/>
                  <a:gd name="connsiteY138" fmla="*/ 1085850 h 4305300"/>
                  <a:gd name="connsiteX139" fmla="*/ 171450 w 8601075"/>
                  <a:gd name="connsiteY139" fmla="*/ 1145381 h 4305300"/>
                  <a:gd name="connsiteX140" fmla="*/ 307181 w 8601075"/>
                  <a:gd name="connsiteY140" fmla="*/ 1278732 h 4305300"/>
                  <a:gd name="connsiteX141" fmla="*/ 361950 w 8601075"/>
                  <a:gd name="connsiteY141" fmla="*/ 1254919 h 4305300"/>
                  <a:gd name="connsiteX142" fmla="*/ 400050 w 8601075"/>
                  <a:gd name="connsiteY142" fmla="*/ 1281112 h 4305300"/>
                  <a:gd name="connsiteX143" fmla="*/ 414338 w 8601075"/>
                  <a:gd name="connsiteY143" fmla="*/ 1331118 h 4305300"/>
                  <a:gd name="connsiteX144" fmla="*/ 457200 w 8601075"/>
                  <a:gd name="connsiteY144" fmla="*/ 1366838 h 4305300"/>
                  <a:gd name="connsiteX145" fmla="*/ 497681 w 8601075"/>
                  <a:gd name="connsiteY145" fmla="*/ 1354931 h 4305300"/>
                  <a:gd name="connsiteX146" fmla="*/ 516731 w 8601075"/>
                  <a:gd name="connsiteY146" fmla="*/ 1412081 h 4305300"/>
                  <a:gd name="connsiteX147" fmla="*/ 564356 w 8601075"/>
                  <a:gd name="connsiteY147" fmla="*/ 1454944 h 4305300"/>
                  <a:gd name="connsiteX148" fmla="*/ 588169 w 8601075"/>
                  <a:gd name="connsiteY148" fmla="*/ 1557338 h 4305300"/>
                  <a:gd name="connsiteX149" fmla="*/ 585788 w 8601075"/>
                  <a:gd name="connsiteY149" fmla="*/ 1604963 h 4305300"/>
                  <a:gd name="connsiteX150" fmla="*/ 621506 w 8601075"/>
                  <a:gd name="connsiteY150" fmla="*/ 1704975 h 4305300"/>
                  <a:gd name="connsiteX151" fmla="*/ 666750 w 8601075"/>
                  <a:gd name="connsiteY151" fmla="*/ 1762125 h 4305300"/>
                  <a:gd name="connsiteX152" fmla="*/ 683418 w 8601075"/>
                  <a:gd name="connsiteY152" fmla="*/ 1919287 h 4305300"/>
                  <a:gd name="connsiteX153" fmla="*/ 650081 w 8601075"/>
                  <a:gd name="connsiteY153" fmla="*/ 1981200 h 4305300"/>
                  <a:gd name="connsiteX154" fmla="*/ 619125 w 8601075"/>
                  <a:gd name="connsiteY154" fmla="*/ 2057400 h 4305300"/>
                  <a:gd name="connsiteX155" fmla="*/ 633413 w 8601075"/>
                  <a:gd name="connsiteY155" fmla="*/ 2114550 h 4305300"/>
                  <a:gd name="connsiteX156" fmla="*/ 535781 w 8601075"/>
                  <a:gd name="connsiteY156" fmla="*/ 2221707 h 4305300"/>
                  <a:gd name="connsiteX157" fmla="*/ 492919 w 8601075"/>
                  <a:gd name="connsiteY157" fmla="*/ 2336006 h 4305300"/>
                  <a:gd name="connsiteX158" fmla="*/ 526256 w 8601075"/>
                  <a:gd name="connsiteY158" fmla="*/ 2376488 h 4305300"/>
                  <a:gd name="connsiteX159" fmla="*/ 509588 w 8601075"/>
                  <a:gd name="connsiteY159" fmla="*/ 2405063 h 4305300"/>
                  <a:gd name="connsiteX160" fmla="*/ 540544 w 8601075"/>
                  <a:gd name="connsiteY160" fmla="*/ 2462213 h 4305300"/>
                  <a:gd name="connsiteX161" fmla="*/ 569119 w 8601075"/>
                  <a:gd name="connsiteY161" fmla="*/ 2462213 h 4305300"/>
                  <a:gd name="connsiteX162" fmla="*/ 731044 w 8601075"/>
                  <a:gd name="connsiteY162" fmla="*/ 2564606 h 4305300"/>
                  <a:gd name="connsiteX163" fmla="*/ 835819 w 8601075"/>
                  <a:gd name="connsiteY163" fmla="*/ 2562225 h 4305300"/>
                  <a:gd name="connsiteX164" fmla="*/ 914400 w 8601075"/>
                  <a:gd name="connsiteY164" fmla="*/ 2616994 h 4305300"/>
                  <a:gd name="connsiteX165" fmla="*/ 1045368 w 8601075"/>
                  <a:gd name="connsiteY165" fmla="*/ 2619375 h 4305300"/>
                  <a:gd name="connsiteX166" fmla="*/ 1235868 w 8601075"/>
                  <a:gd name="connsiteY166" fmla="*/ 2688431 h 4305300"/>
                  <a:gd name="connsiteX167" fmla="*/ 1438275 w 8601075"/>
                  <a:gd name="connsiteY167" fmla="*/ 2838450 h 4305300"/>
                  <a:gd name="connsiteX168" fmla="*/ 1471612 w 8601075"/>
                  <a:gd name="connsiteY168" fmla="*/ 2905125 h 4305300"/>
                  <a:gd name="connsiteX169" fmla="*/ 1638300 w 8601075"/>
                  <a:gd name="connsiteY169" fmla="*/ 3031331 h 4305300"/>
                  <a:gd name="connsiteX170" fmla="*/ 1709738 w 8601075"/>
                  <a:gd name="connsiteY170" fmla="*/ 3026569 h 4305300"/>
                  <a:gd name="connsiteX171" fmla="*/ 1745457 w 8601075"/>
                  <a:gd name="connsiteY171" fmla="*/ 3050381 h 4305300"/>
                  <a:gd name="connsiteX172" fmla="*/ 1716881 w 8601075"/>
                  <a:gd name="connsiteY172" fmla="*/ 3090863 h 4305300"/>
                  <a:gd name="connsiteX173" fmla="*/ 1724025 w 8601075"/>
                  <a:gd name="connsiteY173" fmla="*/ 3143250 h 4305300"/>
                  <a:gd name="connsiteX174" fmla="*/ 1776413 w 8601075"/>
                  <a:gd name="connsiteY174" fmla="*/ 3169444 h 4305300"/>
                  <a:gd name="connsiteX175" fmla="*/ 1838325 w 8601075"/>
                  <a:gd name="connsiteY175" fmla="*/ 3393282 h 4305300"/>
                  <a:gd name="connsiteX176" fmla="*/ 1828800 w 8601075"/>
                  <a:gd name="connsiteY176" fmla="*/ 3457575 h 4305300"/>
                  <a:gd name="connsiteX177" fmla="*/ 1964531 w 8601075"/>
                  <a:gd name="connsiteY177" fmla="*/ 3624263 h 4305300"/>
                  <a:gd name="connsiteX178" fmla="*/ 1983581 w 8601075"/>
                  <a:gd name="connsiteY178" fmla="*/ 3674269 h 4305300"/>
                  <a:gd name="connsiteX179" fmla="*/ 1957388 w 8601075"/>
                  <a:gd name="connsiteY179" fmla="*/ 3693319 h 4305300"/>
                  <a:gd name="connsiteX180" fmla="*/ 2059781 w 8601075"/>
                  <a:gd name="connsiteY180" fmla="*/ 3702844 h 4305300"/>
                  <a:gd name="connsiteX181" fmla="*/ 2171700 w 8601075"/>
                  <a:gd name="connsiteY181" fmla="*/ 3690938 h 4305300"/>
                  <a:gd name="connsiteX182" fmla="*/ 2450306 w 8601075"/>
                  <a:gd name="connsiteY182" fmla="*/ 3774281 h 4305300"/>
                  <a:gd name="connsiteX183" fmla="*/ 2857500 w 8601075"/>
                  <a:gd name="connsiteY183" fmla="*/ 3855244 h 4305300"/>
                  <a:gd name="connsiteX184" fmla="*/ 3055144 w 8601075"/>
                  <a:gd name="connsiteY184" fmla="*/ 3824287 h 4305300"/>
                  <a:gd name="connsiteX185" fmla="*/ 3100388 w 8601075"/>
                  <a:gd name="connsiteY185" fmla="*/ 3836193 h 4305300"/>
                  <a:gd name="connsiteX186" fmla="*/ 3155156 w 8601075"/>
                  <a:gd name="connsiteY186" fmla="*/ 3812382 h 4305300"/>
                  <a:gd name="connsiteX187" fmla="*/ 3548062 w 8601075"/>
                  <a:gd name="connsiteY187" fmla="*/ 3902869 h 4305300"/>
                  <a:gd name="connsiteX188" fmla="*/ 3631407 w 8601075"/>
                  <a:gd name="connsiteY188" fmla="*/ 4000500 h 4305300"/>
                  <a:gd name="connsiteX189" fmla="*/ 3750469 w 8601075"/>
                  <a:gd name="connsiteY189" fmla="*/ 4071938 h 4305300"/>
                  <a:gd name="connsiteX190" fmla="*/ 3810000 w 8601075"/>
                  <a:gd name="connsiteY190" fmla="*/ 4055269 h 4305300"/>
                  <a:gd name="connsiteX191" fmla="*/ 4160043 w 8601075"/>
                  <a:gd name="connsiteY191" fmla="*/ 4229100 h 4305300"/>
                  <a:gd name="connsiteX192" fmla="*/ 4386263 w 8601075"/>
                  <a:gd name="connsiteY192" fmla="*/ 4200525 h 4305300"/>
                  <a:gd name="connsiteX193" fmla="*/ 4395788 w 8601075"/>
                  <a:gd name="connsiteY193" fmla="*/ 4279106 h 4305300"/>
                  <a:gd name="connsiteX194" fmla="*/ 4481513 w 8601075"/>
                  <a:gd name="connsiteY194" fmla="*/ 4274343 h 4305300"/>
                  <a:gd name="connsiteX195" fmla="*/ 4560094 w 8601075"/>
                  <a:gd name="connsiteY195" fmla="*/ 4305300 h 4305300"/>
                  <a:gd name="connsiteX196" fmla="*/ 4602956 w 8601075"/>
                  <a:gd name="connsiteY196" fmla="*/ 4245769 h 4305300"/>
                  <a:gd name="connsiteX197" fmla="*/ 5274469 w 8601075"/>
                  <a:gd name="connsiteY197" fmla="*/ 3926681 h 4305300"/>
                  <a:gd name="connsiteX198" fmla="*/ 5362575 w 8601075"/>
                  <a:gd name="connsiteY198" fmla="*/ 3955257 h 4305300"/>
                  <a:gd name="connsiteX199" fmla="*/ 5493544 w 8601075"/>
                  <a:gd name="connsiteY199" fmla="*/ 3926681 h 4305300"/>
                  <a:gd name="connsiteX200" fmla="*/ 5672137 w 8601075"/>
                  <a:gd name="connsiteY200" fmla="*/ 3943350 h 4305300"/>
                  <a:gd name="connsiteX201" fmla="*/ 5729288 w 8601075"/>
                  <a:gd name="connsiteY201" fmla="*/ 3917157 h 4305300"/>
                  <a:gd name="connsiteX202" fmla="*/ 5862637 w 8601075"/>
                  <a:gd name="connsiteY202" fmla="*/ 3914775 h 4305300"/>
                  <a:gd name="connsiteX203" fmla="*/ 5995987 w 8601075"/>
                  <a:gd name="connsiteY203" fmla="*/ 3817144 h 4305300"/>
                  <a:gd name="connsiteX204" fmla="*/ 6062662 w 8601075"/>
                  <a:gd name="connsiteY204" fmla="*/ 3810000 h 4305300"/>
                  <a:gd name="connsiteX205" fmla="*/ 6160294 w 8601075"/>
                  <a:gd name="connsiteY205" fmla="*/ 3736181 h 4305300"/>
                  <a:gd name="connsiteX206" fmla="*/ 6234113 w 8601075"/>
                  <a:gd name="connsiteY206" fmla="*/ 3667125 h 4305300"/>
                  <a:gd name="connsiteX207" fmla="*/ 6243638 w 8601075"/>
                  <a:gd name="connsiteY207" fmla="*/ 3605213 h 4305300"/>
                  <a:gd name="connsiteX208" fmla="*/ 6276975 w 8601075"/>
                  <a:gd name="connsiteY208" fmla="*/ 3536156 h 4305300"/>
                  <a:gd name="connsiteX209" fmla="*/ 6429375 w 8601075"/>
                  <a:gd name="connsiteY209" fmla="*/ 3429000 h 4305300"/>
                  <a:gd name="connsiteX210" fmla="*/ 6462713 w 8601075"/>
                  <a:gd name="connsiteY210" fmla="*/ 3433763 h 4305300"/>
                  <a:gd name="connsiteX211" fmla="*/ 6515100 w 8601075"/>
                  <a:gd name="connsiteY211" fmla="*/ 3355181 h 4305300"/>
                  <a:gd name="connsiteX212" fmla="*/ 6562725 w 8601075"/>
                  <a:gd name="connsiteY212" fmla="*/ 3317081 h 4305300"/>
                  <a:gd name="connsiteX213" fmla="*/ 6548438 w 8601075"/>
                  <a:gd name="connsiteY213" fmla="*/ 3248025 h 4305300"/>
                  <a:gd name="connsiteX214" fmla="*/ 6498431 w 8601075"/>
                  <a:gd name="connsiteY214" fmla="*/ 3217068 h 4305300"/>
                  <a:gd name="connsiteX215" fmla="*/ 6438900 w 8601075"/>
                  <a:gd name="connsiteY215" fmla="*/ 3162300 h 4305300"/>
                  <a:gd name="connsiteX216" fmla="*/ 6419850 w 8601075"/>
                  <a:gd name="connsiteY216" fmla="*/ 3105150 h 4305300"/>
                  <a:gd name="connsiteX217" fmla="*/ 6384131 w 8601075"/>
                  <a:gd name="connsiteY217" fmla="*/ 3071813 h 4305300"/>
                  <a:gd name="connsiteX218" fmla="*/ 6410325 w 8601075"/>
                  <a:gd name="connsiteY218" fmla="*/ 3019425 h 4305300"/>
                  <a:gd name="connsiteX219" fmla="*/ 6450806 w 8601075"/>
                  <a:gd name="connsiteY219" fmla="*/ 2840831 h 4305300"/>
                  <a:gd name="connsiteX220" fmla="*/ 6491288 w 8601075"/>
                  <a:gd name="connsiteY220" fmla="*/ 2774156 h 4305300"/>
                  <a:gd name="connsiteX221" fmla="*/ 6636544 w 8601075"/>
                  <a:gd name="connsiteY221" fmla="*/ 2757487 h 4305300"/>
                  <a:gd name="connsiteX222" fmla="*/ 6705600 w 8601075"/>
                  <a:gd name="connsiteY222" fmla="*/ 2814638 h 4305300"/>
                  <a:gd name="connsiteX223" fmla="*/ 6781800 w 8601075"/>
                  <a:gd name="connsiteY223" fmla="*/ 2838450 h 4305300"/>
                  <a:gd name="connsiteX224" fmla="*/ 6986587 w 8601075"/>
                  <a:gd name="connsiteY224" fmla="*/ 2843213 h 4305300"/>
                  <a:gd name="connsiteX225" fmla="*/ 7162800 w 8601075"/>
                  <a:gd name="connsiteY225" fmla="*/ 2705100 h 4305300"/>
                  <a:gd name="connsiteX226" fmla="*/ 7219950 w 8601075"/>
                  <a:gd name="connsiteY226" fmla="*/ 2614612 h 4305300"/>
                  <a:gd name="connsiteX227" fmla="*/ 7246144 w 8601075"/>
                  <a:gd name="connsiteY227" fmla="*/ 2531269 h 4305300"/>
                  <a:gd name="connsiteX228" fmla="*/ 7377112 w 8601075"/>
                  <a:gd name="connsiteY228" fmla="*/ 2531269 h 4305300"/>
                  <a:gd name="connsiteX229" fmla="*/ 7550944 w 8601075"/>
                  <a:gd name="connsiteY229" fmla="*/ 2474118 h 4305300"/>
                  <a:gd name="connsiteX230" fmla="*/ 7610475 w 8601075"/>
                  <a:gd name="connsiteY230" fmla="*/ 2362200 h 4305300"/>
                  <a:gd name="connsiteX231" fmla="*/ 7674769 w 8601075"/>
                  <a:gd name="connsiteY231" fmla="*/ 2326481 h 4305300"/>
                  <a:gd name="connsiteX232" fmla="*/ 7653338 w 8601075"/>
                  <a:gd name="connsiteY232" fmla="*/ 2281238 h 4305300"/>
                  <a:gd name="connsiteX233" fmla="*/ 7731919 w 8601075"/>
                  <a:gd name="connsiteY233" fmla="*/ 2112168 h 4305300"/>
                  <a:gd name="connsiteX234" fmla="*/ 7786688 w 8601075"/>
                  <a:gd name="connsiteY234" fmla="*/ 2052638 h 4305300"/>
                  <a:gd name="connsiteX235" fmla="*/ 7824788 w 8601075"/>
                  <a:gd name="connsiteY235" fmla="*/ 2047875 h 4305300"/>
                  <a:gd name="connsiteX236" fmla="*/ 7870031 w 8601075"/>
                  <a:gd name="connsiteY236" fmla="*/ 2052638 h 4305300"/>
                  <a:gd name="connsiteX237" fmla="*/ 7934325 w 8601075"/>
                  <a:gd name="connsiteY237" fmla="*/ 2019300 h 4305300"/>
                  <a:gd name="connsiteX238" fmla="*/ 7943850 w 8601075"/>
                  <a:gd name="connsiteY238" fmla="*/ 1955006 h 4305300"/>
                  <a:gd name="connsiteX239" fmla="*/ 7984330 w 8601075"/>
                  <a:gd name="connsiteY239" fmla="*/ 1919288 h 4305300"/>
                  <a:gd name="connsiteX240" fmla="*/ 8043863 w 8601075"/>
                  <a:gd name="connsiteY240" fmla="*/ 1959768 h 4305300"/>
                  <a:gd name="connsiteX241" fmla="*/ 8070057 w 8601075"/>
                  <a:gd name="connsiteY241" fmla="*/ 1909762 h 4305300"/>
                  <a:gd name="connsiteX242" fmla="*/ 8165306 w 8601075"/>
                  <a:gd name="connsiteY242" fmla="*/ 1840706 h 4305300"/>
                  <a:gd name="connsiteX243" fmla="*/ 8227219 w 8601075"/>
                  <a:gd name="connsiteY243" fmla="*/ 1847850 h 4305300"/>
                  <a:gd name="connsiteX244" fmla="*/ 8277225 w 8601075"/>
                  <a:gd name="connsiteY244" fmla="*/ 1828800 h 4305300"/>
                  <a:gd name="connsiteX245" fmla="*/ 8315325 w 8601075"/>
                  <a:gd name="connsiteY245" fmla="*/ 1800225 h 4305300"/>
                  <a:gd name="connsiteX246" fmla="*/ 8348663 w 8601075"/>
                  <a:gd name="connsiteY246" fmla="*/ 1797844 h 4305300"/>
                  <a:gd name="connsiteX247" fmla="*/ 8384381 w 8601075"/>
                  <a:gd name="connsiteY247" fmla="*/ 1828800 h 4305300"/>
                  <a:gd name="connsiteX248" fmla="*/ 8443913 w 8601075"/>
                  <a:gd name="connsiteY248" fmla="*/ 1828800 h 4305300"/>
                  <a:gd name="connsiteX249" fmla="*/ 8482012 w 8601075"/>
                  <a:gd name="connsiteY249" fmla="*/ 1809750 h 4305300"/>
                  <a:gd name="connsiteX250" fmla="*/ 8565356 w 8601075"/>
                  <a:gd name="connsiteY250" fmla="*/ 1812132 h 4305300"/>
                  <a:gd name="connsiteX251" fmla="*/ 8596313 w 8601075"/>
                  <a:gd name="connsiteY251" fmla="*/ 1766888 h 4305300"/>
                  <a:gd name="connsiteX252" fmla="*/ 8601075 w 8601075"/>
                  <a:gd name="connsiteY252" fmla="*/ 1704975 h 4305300"/>
                  <a:gd name="connsiteX253" fmla="*/ 8551068 w 8601075"/>
                  <a:gd name="connsiteY253" fmla="*/ 1664494 h 4305300"/>
                  <a:gd name="connsiteX254" fmla="*/ 8534400 w 8601075"/>
                  <a:gd name="connsiteY254" fmla="*/ 1609725 h 4305300"/>
                  <a:gd name="connsiteX255" fmla="*/ 8443913 w 8601075"/>
                  <a:gd name="connsiteY255" fmla="*/ 1547813 h 4305300"/>
                  <a:gd name="connsiteX256" fmla="*/ 8403431 w 8601075"/>
                  <a:gd name="connsiteY256" fmla="*/ 1526381 h 4305300"/>
                  <a:gd name="connsiteX257" fmla="*/ 8365331 w 8601075"/>
                  <a:gd name="connsiteY257" fmla="*/ 1481138 h 4305300"/>
                  <a:gd name="connsiteX258" fmla="*/ 8334375 w 8601075"/>
                  <a:gd name="connsiteY258" fmla="*/ 1478756 h 4305300"/>
                  <a:gd name="connsiteX259" fmla="*/ 8317706 w 8601075"/>
                  <a:gd name="connsiteY259" fmla="*/ 1426369 h 4305300"/>
                  <a:gd name="connsiteX260" fmla="*/ 8277225 w 8601075"/>
                  <a:gd name="connsiteY260" fmla="*/ 1409700 h 4305300"/>
                  <a:gd name="connsiteX261" fmla="*/ 8277225 w 8601075"/>
                  <a:gd name="connsiteY261" fmla="*/ 1409700 h 4305300"/>
                  <a:gd name="connsiteX262" fmla="*/ 8236744 w 8601075"/>
                  <a:gd name="connsiteY262" fmla="*/ 1414463 h 4305300"/>
                  <a:gd name="connsiteX263" fmla="*/ 8151018 w 8601075"/>
                  <a:gd name="connsiteY263" fmla="*/ 1340644 h 4305300"/>
                  <a:gd name="connsiteX264" fmla="*/ 7970044 w 8601075"/>
                  <a:gd name="connsiteY264" fmla="*/ 1340643 h 4305300"/>
                  <a:gd name="connsiteX265" fmla="*/ 7917656 w 8601075"/>
                  <a:gd name="connsiteY265" fmla="*/ 1378744 h 4305300"/>
                  <a:gd name="connsiteX266" fmla="*/ 7867650 w 8601075"/>
                  <a:gd name="connsiteY266" fmla="*/ 1457325 h 4305300"/>
                  <a:gd name="connsiteX267" fmla="*/ 7884319 w 8601075"/>
                  <a:gd name="connsiteY267" fmla="*/ 1478756 h 4305300"/>
                  <a:gd name="connsiteX268" fmla="*/ 7839075 w 8601075"/>
                  <a:gd name="connsiteY268" fmla="*/ 1528762 h 4305300"/>
                  <a:gd name="connsiteX269" fmla="*/ 7689056 w 8601075"/>
                  <a:gd name="connsiteY269" fmla="*/ 1452562 h 4305300"/>
                  <a:gd name="connsiteX270" fmla="*/ 7598569 w 8601075"/>
                  <a:gd name="connsiteY270" fmla="*/ 1488281 h 4305300"/>
                  <a:gd name="connsiteX271" fmla="*/ 7524750 w 8601075"/>
                  <a:gd name="connsiteY271" fmla="*/ 1485900 h 4305300"/>
                  <a:gd name="connsiteX272" fmla="*/ 7467600 w 8601075"/>
                  <a:gd name="connsiteY272" fmla="*/ 1581150 h 4305300"/>
                  <a:gd name="connsiteX273" fmla="*/ 7329488 w 8601075"/>
                  <a:gd name="connsiteY27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19975 w 8601075"/>
                  <a:gd name="connsiteY6" fmla="*/ 1047750 h 4305300"/>
                  <a:gd name="connsiteX7" fmla="*/ 7486650 w 8601075"/>
                  <a:gd name="connsiteY7" fmla="*/ 638175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486650 w 8601075"/>
                  <a:gd name="connsiteY7" fmla="*/ 638175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343775 w 8601075"/>
                  <a:gd name="connsiteY8" fmla="*/ 647700 h 4305300"/>
                  <a:gd name="connsiteX9" fmla="*/ 7172325 w 8601075"/>
                  <a:gd name="connsiteY9" fmla="*/ 742950 h 4305300"/>
                  <a:gd name="connsiteX10" fmla="*/ 7010400 w 8601075"/>
                  <a:gd name="connsiteY10" fmla="*/ 609600 h 4305300"/>
                  <a:gd name="connsiteX11" fmla="*/ 6877050 w 8601075"/>
                  <a:gd name="connsiteY11" fmla="*/ 600075 h 4305300"/>
                  <a:gd name="connsiteX12" fmla="*/ 6600825 w 8601075"/>
                  <a:gd name="connsiteY12" fmla="*/ 904875 h 4305300"/>
                  <a:gd name="connsiteX13" fmla="*/ 6600825 w 8601075"/>
                  <a:gd name="connsiteY13" fmla="*/ 904875 h 4305300"/>
                  <a:gd name="connsiteX14" fmla="*/ 6534150 w 8601075"/>
                  <a:gd name="connsiteY14" fmla="*/ 942975 h 4305300"/>
                  <a:gd name="connsiteX15" fmla="*/ 6534150 w 8601075"/>
                  <a:gd name="connsiteY15" fmla="*/ 942975 h 4305300"/>
                  <a:gd name="connsiteX16" fmla="*/ 6362700 w 8601075"/>
                  <a:gd name="connsiteY16" fmla="*/ 1009650 h 4305300"/>
                  <a:gd name="connsiteX17" fmla="*/ 6238875 w 8601075"/>
                  <a:gd name="connsiteY17" fmla="*/ 1057275 h 4305300"/>
                  <a:gd name="connsiteX18" fmla="*/ 6115050 w 8601075"/>
                  <a:gd name="connsiteY18" fmla="*/ 1114425 h 4305300"/>
                  <a:gd name="connsiteX19" fmla="*/ 5962650 w 8601075"/>
                  <a:gd name="connsiteY19" fmla="*/ 1190625 h 4305300"/>
                  <a:gd name="connsiteX20" fmla="*/ 5895975 w 8601075"/>
                  <a:gd name="connsiteY20" fmla="*/ 1143000 h 4305300"/>
                  <a:gd name="connsiteX21" fmla="*/ 5895975 w 8601075"/>
                  <a:gd name="connsiteY21" fmla="*/ 1143000 h 4305300"/>
                  <a:gd name="connsiteX22" fmla="*/ 5676900 w 8601075"/>
                  <a:gd name="connsiteY22" fmla="*/ 1181100 h 4305300"/>
                  <a:gd name="connsiteX23" fmla="*/ 5600700 w 8601075"/>
                  <a:gd name="connsiteY23" fmla="*/ 1114425 h 4305300"/>
                  <a:gd name="connsiteX24" fmla="*/ 5391150 w 8601075"/>
                  <a:gd name="connsiteY24" fmla="*/ 1123950 h 4305300"/>
                  <a:gd name="connsiteX25" fmla="*/ 5334000 w 8601075"/>
                  <a:gd name="connsiteY25" fmla="*/ 1066800 h 4305300"/>
                  <a:gd name="connsiteX26" fmla="*/ 5248275 w 8601075"/>
                  <a:gd name="connsiteY26" fmla="*/ 981075 h 4305300"/>
                  <a:gd name="connsiteX27" fmla="*/ 5238750 w 8601075"/>
                  <a:gd name="connsiteY27" fmla="*/ 895350 h 4305300"/>
                  <a:gd name="connsiteX28" fmla="*/ 5133975 w 8601075"/>
                  <a:gd name="connsiteY28" fmla="*/ 895350 h 4305300"/>
                  <a:gd name="connsiteX29" fmla="*/ 4991100 w 8601075"/>
                  <a:gd name="connsiteY29" fmla="*/ 838200 h 4305300"/>
                  <a:gd name="connsiteX30" fmla="*/ 4905375 w 8601075"/>
                  <a:gd name="connsiteY30" fmla="*/ 771525 h 4305300"/>
                  <a:gd name="connsiteX31" fmla="*/ 4905375 w 8601075"/>
                  <a:gd name="connsiteY31" fmla="*/ 771525 h 4305300"/>
                  <a:gd name="connsiteX32" fmla="*/ 4781550 w 8601075"/>
                  <a:gd name="connsiteY32" fmla="*/ 762000 h 4305300"/>
                  <a:gd name="connsiteX33" fmla="*/ 4648200 w 8601075"/>
                  <a:gd name="connsiteY33" fmla="*/ 714375 h 4305300"/>
                  <a:gd name="connsiteX34" fmla="*/ 4581525 w 8601075"/>
                  <a:gd name="connsiteY34" fmla="*/ 695325 h 4305300"/>
                  <a:gd name="connsiteX35" fmla="*/ 4495800 w 8601075"/>
                  <a:gd name="connsiteY35" fmla="*/ 742950 h 4305300"/>
                  <a:gd name="connsiteX36" fmla="*/ 4343400 w 8601075"/>
                  <a:gd name="connsiteY36" fmla="*/ 781050 h 4305300"/>
                  <a:gd name="connsiteX37" fmla="*/ 4252913 w 8601075"/>
                  <a:gd name="connsiteY37" fmla="*/ 862013 h 4305300"/>
                  <a:gd name="connsiteX38" fmla="*/ 4205287 w 8601075"/>
                  <a:gd name="connsiteY38" fmla="*/ 823913 h 4305300"/>
                  <a:gd name="connsiteX39" fmla="*/ 4183856 w 8601075"/>
                  <a:gd name="connsiteY39" fmla="*/ 854868 h 4305300"/>
                  <a:gd name="connsiteX40" fmla="*/ 4110038 w 8601075"/>
                  <a:gd name="connsiteY40" fmla="*/ 804863 h 4305300"/>
                  <a:gd name="connsiteX41" fmla="*/ 4071938 w 8601075"/>
                  <a:gd name="connsiteY41" fmla="*/ 812006 h 4305300"/>
                  <a:gd name="connsiteX42" fmla="*/ 4050506 w 8601075"/>
                  <a:gd name="connsiteY42" fmla="*/ 773906 h 4305300"/>
                  <a:gd name="connsiteX43" fmla="*/ 3990975 w 8601075"/>
                  <a:gd name="connsiteY43" fmla="*/ 778669 h 4305300"/>
                  <a:gd name="connsiteX44" fmla="*/ 3945731 w 8601075"/>
                  <a:gd name="connsiteY44" fmla="*/ 750094 h 4305300"/>
                  <a:gd name="connsiteX45" fmla="*/ 3907631 w 8601075"/>
                  <a:gd name="connsiteY45" fmla="*/ 747713 h 4305300"/>
                  <a:gd name="connsiteX46" fmla="*/ 3888581 w 8601075"/>
                  <a:gd name="connsiteY46" fmla="*/ 700087 h 4305300"/>
                  <a:gd name="connsiteX47" fmla="*/ 3874294 w 8601075"/>
                  <a:gd name="connsiteY47" fmla="*/ 669131 h 4305300"/>
                  <a:gd name="connsiteX48" fmla="*/ 3829050 w 8601075"/>
                  <a:gd name="connsiteY48" fmla="*/ 678656 h 4305300"/>
                  <a:gd name="connsiteX49" fmla="*/ 3810000 w 8601075"/>
                  <a:gd name="connsiteY49" fmla="*/ 642938 h 4305300"/>
                  <a:gd name="connsiteX50" fmla="*/ 3831432 w 8601075"/>
                  <a:gd name="connsiteY50" fmla="*/ 588169 h 4305300"/>
                  <a:gd name="connsiteX51" fmla="*/ 3800475 w 8601075"/>
                  <a:gd name="connsiteY51" fmla="*/ 561975 h 4305300"/>
                  <a:gd name="connsiteX52" fmla="*/ 3817144 w 8601075"/>
                  <a:gd name="connsiteY52" fmla="*/ 519113 h 4305300"/>
                  <a:gd name="connsiteX53" fmla="*/ 3790950 w 8601075"/>
                  <a:gd name="connsiteY53" fmla="*/ 476250 h 4305300"/>
                  <a:gd name="connsiteX54" fmla="*/ 3786188 w 8601075"/>
                  <a:gd name="connsiteY54" fmla="*/ 414338 h 4305300"/>
                  <a:gd name="connsiteX55" fmla="*/ 3810000 w 8601075"/>
                  <a:gd name="connsiteY55" fmla="*/ 350043 h 4305300"/>
                  <a:gd name="connsiteX56" fmla="*/ 3771900 w 8601075"/>
                  <a:gd name="connsiteY56" fmla="*/ 352425 h 4305300"/>
                  <a:gd name="connsiteX57" fmla="*/ 3652838 w 8601075"/>
                  <a:gd name="connsiteY57" fmla="*/ 295275 h 4305300"/>
                  <a:gd name="connsiteX58" fmla="*/ 3614737 w 8601075"/>
                  <a:gd name="connsiteY58" fmla="*/ 300037 h 4305300"/>
                  <a:gd name="connsiteX59" fmla="*/ 3409950 w 8601075"/>
                  <a:gd name="connsiteY59" fmla="*/ 190500 h 4305300"/>
                  <a:gd name="connsiteX60" fmla="*/ 3305175 w 8601075"/>
                  <a:gd name="connsiteY60" fmla="*/ 159544 h 4305300"/>
                  <a:gd name="connsiteX61" fmla="*/ 3240881 w 8601075"/>
                  <a:gd name="connsiteY61" fmla="*/ 169068 h 4305300"/>
                  <a:gd name="connsiteX62" fmla="*/ 3209925 w 8601075"/>
                  <a:gd name="connsiteY62" fmla="*/ 104775 h 4305300"/>
                  <a:gd name="connsiteX63" fmla="*/ 3152775 w 8601075"/>
                  <a:gd name="connsiteY63" fmla="*/ 104775 h 4305300"/>
                  <a:gd name="connsiteX64" fmla="*/ 3014662 w 8601075"/>
                  <a:gd name="connsiteY64" fmla="*/ 0 h 4305300"/>
                  <a:gd name="connsiteX65" fmla="*/ 2981325 w 8601075"/>
                  <a:gd name="connsiteY65" fmla="*/ 59532 h 4305300"/>
                  <a:gd name="connsiteX66" fmla="*/ 2926556 w 8601075"/>
                  <a:gd name="connsiteY66" fmla="*/ 128588 h 4305300"/>
                  <a:gd name="connsiteX67" fmla="*/ 2883694 w 8601075"/>
                  <a:gd name="connsiteY67" fmla="*/ 145256 h 4305300"/>
                  <a:gd name="connsiteX68" fmla="*/ 2852738 w 8601075"/>
                  <a:gd name="connsiteY68" fmla="*/ 138113 h 4305300"/>
                  <a:gd name="connsiteX69" fmla="*/ 2828925 w 8601075"/>
                  <a:gd name="connsiteY69" fmla="*/ 166688 h 4305300"/>
                  <a:gd name="connsiteX70" fmla="*/ 2802731 w 8601075"/>
                  <a:gd name="connsiteY70" fmla="*/ 245269 h 4305300"/>
                  <a:gd name="connsiteX71" fmla="*/ 2759869 w 8601075"/>
                  <a:gd name="connsiteY71" fmla="*/ 242888 h 4305300"/>
                  <a:gd name="connsiteX72" fmla="*/ 2728912 w 8601075"/>
                  <a:gd name="connsiteY72" fmla="*/ 304800 h 4305300"/>
                  <a:gd name="connsiteX73" fmla="*/ 2724150 w 8601075"/>
                  <a:gd name="connsiteY73" fmla="*/ 369094 h 4305300"/>
                  <a:gd name="connsiteX74" fmla="*/ 2697957 w 8601075"/>
                  <a:gd name="connsiteY74" fmla="*/ 407194 h 4305300"/>
                  <a:gd name="connsiteX75" fmla="*/ 2724150 w 8601075"/>
                  <a:gd name="connsiteY75" fmla="*/ 466725 h 4305300"/>
                  <a:gd name="connsiteX76" fmla="*/ 2726531 w 8601075"/>
                  <a:gd name="connsiteY76" fmla="*/ 535781 h 4305300"/>
                  <a:gd name="connsiteX77" fmla="*/ 2755106 w 8601075"/>
                  <a:gd name="connsiteY77" fmla="*/ 588169 h 4305300"/>
                  <a:gd name="connsiteX78" fmla="*/ 2802732 w 8601075"/>
                  <a:gd name="connsiteY78" fmla="*/ 642938 h 4305300"/>
                  <a:gd name="connsiteX79" fmla="*/ 2752725 w 8601075"/>
                  <a:gd name="connsiteY79" fmla="*/ 781050 h 4305300"/>
                  <a:gd name="connsiteX80" fmla="*/ 2683669 w 8601075"/>
                  <a:gd name="connsiteY80" fmla="*/ 847725 h 4305300"/>
                  <a:gd name="connsiteX81" fmla="*/ 2612231 w 8601075"/>
                  <a:gd name="connsiteY81" fmla="*/ 842963 h 4305300"/>
                  <a:gd name="connsiteX82" fmla="*/ 2574131 w 8601075"/>
                  <a:gd name="connsiteY82" fmla="*/ 900113 h 4305300"/>
                  <a:gd name="connsiteX83" fmla="*/ 2514600 w 8601075"/>
                  <a:gd name="connsiteY83" fmla="*/ 914400 h 4305300"/>
                  <a:gd name="connsiteX84" fmla="*/ 2445544 w 8601075"/>
                  <a:gd name="connsiteY84" fmla="*/ 854869 h 4305300"/>
                  <a:gd name="connsiteX85" fmla="*/ 2390775 w 8601075"/>
                  <a:gd name="connsiteY85" fmla="*/ 826294 h 4305300"/>
                  <a:gd name="connsiteX86" fmla="*/ 2347913 w 8601075"/>
                  <a:gd name="connsiteY86" fmla="*/ 840581 h 4305300"/>
                  <a:gd name="connsiteX87" fmla="*/ 2295525 w 8601075"/>
                  <a:gd name="connsiteY87" fmla="*/ 823913 h 4305300"/>
                  <a:gd name="connsiteX88" fmla="*/ 2228850 w 8601075"/>
                  <a:gd name="connsiteY88" fmla="*/ 769144 h 4305300"/>
                  <a:gd name="connsiteX89" fmla="*/ 2183606 w 8601075"/>
                  <a:gd name="connsiteY89" fmla="*/ 781050 h 4305300"/>
                  <a:gd name="connsiteX90" fmla="*/ 2162175 w 8601075"/>
                  <a:gd name="connsiteY90" fmla="*/ 750094 h 4305300"/>
                  <a:gd name="connsiteX91" fmla="*/ 2105025 w 8601075"/>
                  <a:gd name="connsiteY91" fmla="*/ 790575 h 4305300"/>
                  <a:gd name="connsiteX92" fmla="*/ 1988344 w 8601075"/>
                  <a:gd name="connsiteY92" fmla="*/ 769144 h 4305300"/>
                  <a:gd name="connsiteX93" fmla="*/ 1938338 w 8601075"/>
                  <a:gd name="connsiteY93" fmla="*/ 716756 h 4305300"/>
                  <a:gd name="connsiteX94" fmla="*/ 1895475 w 8601075"/>
                  <a:gd name="connsiteY94" fmla="*/ 702469 h 4305300"/>
                  <a:gd name="connsiteX95" fmla="*/ 1852613 w 8601075"/>
                  <a:gd name="connsiteY95" fmla="*/ 728663 h 4305300"/>
                  <a:gd name="connsiteX96" fmla="*/ 1800225 w 8601075"/>
                  <a:gd name="connsiteY96" fmla="*/ 638175 h 4305300"/>
                  <a:gd name="connsiteX97" fmla="*/ 1790700 w 8601075"/>
                  <a:gd name="connsiteY97" fmla="*/ 490537 h 4305300"/>
                  <a:gd name="connsiteX98" fmla="*/ 1738312 w 8601075"/>
                  <a:gd name="connsiteY98" fmla="*/ 483393 h 4305300"/>
                  <a:gd name="connsiteX99" fmla="*/ 1647825 w 8601075"/>
                  <a:gd name="connsiteY99" fmla="*/ 473869 h 4305300"/>
                  <a:gd name="connsiteX100" fmla="*/ 1593056 w 8601075"/>
                  <a:gd name="connsiteY100" fmla="*/ 435769 h 4305300"/>
                  <a:gd name="connsiteX101" fmla="*/ 1524000 w 8601075"/>
                  <a:gd name="connsiteY101" fmla="*/ 445294 h 4305300"/>
                  <a:gd name="connsiteX102" fmla="*/ 1478756 w 8601075"/>
                  <a:gd name="connsiteY102" fmla="*/ 419100 h 4305300"/>
                  <a:gd name="connsiteX103" fmla="*/ 1469232 w 8601075"/>
                  <a:gd name="connsiteY103" fmla="*/ 347663 h 4305300"/>
                  <a:gd name="connsiteX104" fmla="*/ 1445419 w 8601075"/>
                  <a:gd name="connsiteY104" fmla="*/ 333375 h 4305300"/>
                  <a:gd name="connsiteX105" fmla="*/ 1407319 w 8601075"/>
                  <a:gd name="connsiteY105" fmla="*/ 380999 h 4305300"/>
                  <a:gd name="connsiteX106" fmla="*/ 1328737 w 8601075"/>
                  <a:gd name="connsiteY106" fmla="*/ 307181 h 4305300"/>
                  <a:gd name="connsiteX107" fmla="*/ 1288256 w 8601075"/>
                  <a:gd name="connsiteY107" fmla="*/ 347663 h 4305300"/>
                  <a:gd name="connsiteX108" fmla="*/ 1212056 w 8601075"/>
                  <a:gd name="connsiteY108" fmla="*/ 333375 h 4305300"/>
                  <a:gd name="connsiteX109" fmla="*/ 1133475 w 8601075"/>
                  <a:gd name="connsiteY109" fmla="*/ 359569 h 4305300"/>
                  <a:gd name="connsiteX110" fmla="*/ 1073944 w 8601075"/>
                  <a:gd name="connsiteY110" fmla="*/ 407193 h 4305300"/>
                  <a:gd name="connsiteX111" fmla="*/ 1000125 w 8601075"/>
                  <a:gd name="connsiteY111" fmla="*/ 419100 h 4305300"/>
                  <a:gd name="connsiteX112" fmla="*/ 964406 w 8601075"/>
                  <a:gd name="connsiteY112" fmla="*/ 411956 h 4305300"/>
                  <a:gd name="connsiteX113" fmla="*/ 885826 w 8601075"/>
                  <a:gd name="connsiteY113" fmla="*/ 442913 h 4305300"/>
                  <a:gd name="connsiteX114" fmla="*/ 864394 w 8601075"/>
                  <a:gd name="connsiteY114" fmla="*/ 471488 h 4305300"/>
                  <a:gd name="connsiteX115" fmla="*/ 797719 w 8601075"/>
                  <a:gd name="connsiteY115" fmla="*/ 461963 h 4305300"/>
                  <a:gd name="connsiteX116" fmla="*/ 728663 w 8601075"/>
                  <a:gd name="connsiteY116" fmla="*/ 485775 h 4305300"/>
                  <a:gd name="connsiteX117" fmla="*/ 673894 w 8601075"/>
                  <a:gd name="connsiteY117" fmla="*/ 523875 h 4305300"/>
                  <a:gd name="connsiteX118" fmla="*/ 578644 w 8601075"/>
                  <a:gd name="connsiteY118" fmla="*/ 538162 h 4305300"/>
                  <a:gd name="connsiteX119" fmla="*/ 564356 w 8601075"/>
                  <a:gd name="connsiteY119" fmla="*/ 559594 h 4305300"/>
                  <a:gd name="connsiteX120" fmla="*/ 576262 w 8601075"/>
                  <a:gd name="connsiteY120" fmla="*/ 604838 h 4305300"/>
                  <a:gd name="connsiteX121" fmla="*/ 476251 w 8601075"/>
                  <a:gd name="connsiteY121" fmla="*/ 657225 h 4305300"/>
                  <a:gd name="connsiteX122" fmla="*/ 438150 w 8601075"/>
                  <a:gd name="connsiteY122" fmla="*/ 628649 h 4305300"/>
                  <a:gd name="connsiteX123" fmla="*/ 407194 w 8601075"/>
                  <a:gd name="connsiteY123" fmla="*/ 685800 h 4305300"/>
                  <a:gd name="connsiteX124" fmla="*/ 350044 w 8601075"/>
                  <a:gd name="connsiteY124" fmla="*/ 647700 h 4305300"/>
                  <a:gd name="connsiteX125" fmla="*/ 314325 w 8601075"/>
                  <a:gd name="connsiteY125" fmla="*/ 676275 h 4305300"/>
                  <a:gd name="connsiteX126" fmla="*/ 278606 w 8601075"/>
                  <a:gd name="connsiteY126" fmla="*/ 640556 h 4305300"/>
                  <a:gd name="connsiteX127" fmla="*/ 226219 w 8601075"/>
                  <a:gd name="connsiteY127" fmla="*/ 652463 h 4305300"/>
                  <a:gd name="connsiteX128" fmla="*/ 180975 w 8601075"/>
                  <a:gd name="connsiteY128" fmla="*/ 623888 h 4305300"/>
                  <a:gd name="connsiteX129" fmla="*/ 157163 w 8601075"/>
                  <a:gd name="connsiteY129" fmla="*/ 642938 h 4305300"/>
                  <a:gd name="connsiteX130" fmla="*/ 133350 w 8601075"/>
                  <a:gd name="connsiteY130" fmla="*/ 702469 h 4305300"/>
                  <a:gd name="connsiteX131" fmla="*/ 61913 w 8601075"/>
                  <a:gd name="connsiteY131" fmla="*/ 740568 h 4305300"/>
                  <a:gd name="connsiteX132" fmla="*/ 28575 w 8601075"/>
                  <a:gd name="connsiteY132" fmla="*/ 769144 h 4305300"/>
                  <a:gd name="connsiteX133" fmla="*/ 33338 w 8601075"/>
                  <a:gd name="connsiteY133" fmla="*/ 812006 h 4305300"/>
                  <a:gd name="connsiteX134" fmla="*/ 0 w 8601075"/>
                  <a:gd name="connsiteY134" fmla="*/ 816769 h 4305300"/>
                  <a:gd name="connsiteX135" fmla="*/ 4763 w 8601075"/>
                  <a:gd name="connsiteY135" fmla="*/ 840581 h 4305300"/>
                  <a:gd name="connsiteX136" fmla="*/ 61912 w 8601075"/>
                  <a:gd name="connsiteY136" fmla="*/ 914400 h 4305300"/>
                  <a:gd name="connsiteX137" fmla="*/ 23813 w 8601075"/>
                  <a:gd name="connsiteY137" fmla="*/ 962025 h 4305300"/>
                  <a:gd name="connsiteX138" fmla="*/ 78581 w 8601075"/>
                  <a:gd name="connsiteY138" fmla="*/ 997744 h 4305300"/>
                  <a:gd name="connsiteX139" fmla="*/ 169069 w 8601075"/>
                  <a:gd name="connsiteY139" fmla="*/ 1085850 h 4305300"/>
                  <a:gd name="connsiteX140" fmla="*/ 171450 w 8601075"/>
                  <a:gd name="connsiteY140" fmla="*/ 1145381 h 4305300"/>
                  <a:gd name="connsiteX141" fmla="*/ 307181 w 8601075"/>
                  <a:gd name="connsiteY141" fmla="*/ 1278732 h 4305300"/>
                  <a:gd name="connsiteX142" fmla="*/ 361950 w 8601075"/>
                  <a:gd name="connsiteY142" fmla="*/ 1254919 h 4305300"/>
                  <a:gd name="connsiteX143" fmla="*/ 400050 w 8601075"/>
                  <a:gd name="connsiteY143" fmla="*/ 1281112 h 4305300"/>
                  <a:gd name="connsiteX144" fmla="*/ 414338 w 8601075"/>
                  <a:gd name="connsiteY144" fmla="*/ 1331118 h 4305300"/>
                  <a:gd name="connsiteX145" fmla="*/ 457200 w 8601075"/>
                  <a:gd name="connsiteY145" fmla="*/ 1366838 h 4305300"/>
                  <a:gd name="connsiteX146" fmla="*/ 497681 w 8601075"/>
                  <a:gd name="connsiteY146" fmla="*/ 1354931 h 4305300"/>
                  <a:gd name="connsiteX147" fmla="*/ 516731 w 8601075"/>
                  <a:gd name="connsiteY147" fmla="*/ 1412081 h 4305300"/>
                  <a:gd name="connsiteX148" fmla="*/ 564356 w 8601075"/>
                  <a:gd name="connsiteY148" fmla="*/ 1454944 h 4305300"/>
                  <a:gd name="connsiteX149" fmla="*/ 588169 w 8601075"/>
                  <a:gd name="connsiteY149" fmla="*/ 1557338 h 4305300"/>
                  <a:gd name="connsiteX150" fmla="*/ 585788 w 8601075"/>
                  <a:gd name="connsiteY150" fmla="*/ 1604963 h 4305300"/>
                  <a:gd name="connsiteX151" fmla="*/ 621506 w 8601075"/>
                  <a:gd name="connsiteY151" fmla="*/ 1704975 h 4305300"/>
                  <a:gd name="connsiteX152" fmla="*/ 666750 w 8601075"/>
                  <a:gd name="connsiteY152" fmla="*/ 1762125 h 4305300"/>
                  <a:gd name="connsiteX153" fmla="*/ 683418 w 8601075"/>
                  <a:gd name="connsiteY153" fmla="*/ 1919287 h 4305300"/>
                  <a:gd name="connsiteX154" fmla="*/ 650081 w 8601075"/>
                  <a:gd name="connsiteY154" fmla="*/ 1981200 h 4305300"/>
                  <a:gd name="connsiteX155" fmla="*/ 619125 w 8601075"/>
                  <a:gd name="connsiteY155" fmla="*/ 2057400 h 4305300"/>
                  <a:gd name="connsiteX156" fmla="*/ 633413 w 8601075"/>
                  <a:gd name="connsiteY156" fmla="*/ 2114550 h 4305300"/>
                  <a:gd name="connsiteX157" fmla="*/ 535781 w 8601075"/>
                  <a:gd name="connsiteY157" fmla="*/ 2221707 h 4305300"/>
                  <a:gd name="connsiteX158" fmla="*/ 492919 w 8601075"/>
                  <a:gd name="connsiteY158" fmla="*/ 2336006 h 4305300"/>
                  <a:gd name="connsiteX159" fmla="*/ 526256 w 8601075"/>
                  <a:gd name="connsiteY159" fmla="*/ 2376488 h 4305300"/>
                  <a:gd name="connsiteX160" fmla="*/ 509588 w 8601075"/>
                  <a:gd name="connsiteY160" fmla="*/ 2405063 h 4305300"/>
                  <a:gd name="connsiteX161" fmla="*/ 540544 w 8601075"/>
                  <a:gd name="connsiteY161" fmla="*/ 2462213 h 4305300"/>
                  <a:gd name="connsiteX162" fmla="*/ 569119 w 8601075"/>
                  <a:gd name="connsiteY162" fmla="*/ 2462213 h 4305300"/>
                  <a:gd name="connsiteX163" fmla="*/ 731044 w 8601075"/>
                  <a:gd name="connsiteY163" fmla="*/ 2564606 h 4305300"/>
                  <a:gd name="connsiteX164" fmla="*/ 835819 w 8601075"/>
                  <a:gd name="connsiteY164" fmla="*/ 2562225 h 4305300"/>
                  <a:gd name="connsiteX165" fmla="*/ 914400 w 8601075"/>
                  <a:gd name="connsiteY165" fmla="*/ 2616994 h 4305300"/>
                  <a:gd name="connsiteX166" fmla="*/ 1045368 w 8601075"/>
                  <a:gd name="connsiteY166" fmla="*/ 2619375 h 4305300"/>
                  <a:gd name="connsiteX167" fmla="*/ 1235868 w 8601075"/>
                  <a:gd name="connsiteY167" fmla="*/ 2688431 h 4305300"/>
                  <a:gd name="connsiteX168" fmla="*/ 1438275 w 8601075"/>
                  <a:gd name="connsiteY168" fmla="*/ 2838450 h 4305300"/>
                  <a:gd name="connsiteX169" fmla="*/ 1471612 w 8601075"/>
                  <a:gd name="connsiteY169" fmla="*/ 2905125 h 4305300"/>
                  <a:gd name="connsiteX170" fmla="*/ 1638300 w 8601075"/>
                  <a:gd name="connsiteY170" fmla="*/ 3031331 h 4305300"/>
                  <a:gd name="connsiteX171" fmla="*/ 1709738 w 8601075"/>
                  <a:gd name="connsiteY171" fmla="*/ 3026569 h 4305300"/>
                  <a:gd name="connsiteX172" fmla="*/ 1745457 w 8601075"/>
                  <a:gd name="connsiteY172" fmla="*/ 3050381 h 4305300"/>
                  <a:gd name="connsiteX173" fmla="*/ 1716881 w 8601075"/>
                  <a:gd name="connsiteY173" fmla="*/ 3090863 h 4305300"/>
                  <a:gd name="connsiteX174" fmla="*/ 1724025 w 8601075"/>
                  <a:gd name="connsiteY174" fmla="*/ 3143250 h 4305300"/>
                  <a:gd name="connsiteX175" fmla="*/ 1776413 w 8601075"/>
                  <a:gd name="connsiteY175" fmla="*/ 3169444 h 4305300"/>
                  <a:gd name="connsiteX176" fmla="*/ 1838325 w 8601075"/>
                  <a:gd name="connsiteY176" fmla="*/ 3393282 h 4305300"/>
                  <a:gd name="connsiteX177" fmla="*/ 1828800 w 8601075"/>
                  <a:gd name="connsiteY177" fmla="*/ 3457575 h 4305300"/>
                  <a:gd name="connsiteX178" fmla="*/ 1964531 w 8601075"/>
                  <a:gd name="connsiteY178" fmla="*/ 3624263 h 4305300"/>
                  <a:gd name="connsiteX179" fmla="*/ 1983581 w 8601075"/>
                  <a:gd name="connsiteY179" fmla="*/ 3674269 h 4305300"/>
                  <a:gd name="connsiteX180" fmla="*/ 1957388 w 8601075"/>
                  <a:gd name="connsiteY180" fmla="*/ 3693319 h 4305300"/>
                  <a:gd name="connsiteX181" fmla="*/ 2059781 w 8601075"/>
                  <a:gd name="connsiteY181" fmla="*/ 3702844 h 4305300"/>
                  <a:gd name="connsiteX182" fmla="*/ 2171700 w 8601075"/>
                  <a:gd name="connsiteY182" fmla="*/ 3690938 h 4305300"/>
                  <a:gd name="connsiteX183" fmla="*/ 2450306 w 8601075"/>
                  <a:gd name="connsiteY183" fmla="*/ 3774281 h 4305300"/>
                  <a:gd name="connsiteX184" fmla="*/ 2857500 w 8601075"/>
                  <a:gd name="connsiteY184" fmla="*/ 3855244 h 4305300"/>
                  <a:gd name="connsiteX185" fmla="*/ 3055144 w 8601075"/>
                  <a:gd name="connsiteY185" fmla="*/ 3824287 h 4305300"/>
                  <a:gd name="connsiteX186" fmla="*/ 3100388 w 8601075"/>
                  <a:gd name="connsiteY186" fmla="*/ 3836193 h 4305300"/>
                  <a:gd name="connsiteX187" fmla="*/ 3155156 w 8601075"/>
                  <a:gd name="connsiteY187" fmla="*/ 3812382 h 4305300"/>
                  <a:gd name="connsiteX188" fmla="*/ 3548062 w 8601075"/>
                  <a:gd name="connsiteY188" fmla="*/ 3902869 h 4305300"/>
                  <a:gd name="connsiteX189" fmla="*/ 3631407 w 8601075"/>
                  <a:gd name="connsiteY189" fmla="*/ 4000500 h 4305300"/>
                  <a:gd name="connsiteX190" fmla="*/ 3750469 w 8601075"/>
                  <a:gd name="connsiteY190" fmla="*/ 4071938 h 4305300"/>
                  <a:gd name="connsiteX191" fmla="*/ 3810000 w 8601075"/>
                  <a:gd name="connsiteY191" fmla="*/ 4055269 h 4305300"/>
                  <a:gd name="connsiteX192" fmla="*/ 4160043 w 8601075"/>
                  <a:gd name="connsiteY192" fmla="*/ 4229100 h 4305300"/>
                  <a:gd name="connsiteX193" fmla="*/ 4386263 w 8601075"/>
                  <a:gd name="connsiteY193" fmla="*/ 4200525 h 4305300"/>
                  <a:gd name="connsiteX194" fmla="*/ 4395788 w 8601075"/>
                  <a:gd name="connsiteY194" fmla="*/ 4279106 h 4305300"/>
                  <a:gd name="connsiteX195" fmla="*/ 4481513 w 8601075"/>
                  <a:gd name="connsiteY195" fmla="*/ 4274343 h 4305300"/>
                  <a:gd name="connsiteX196" fmla="*/ 4560094 w 8601075"/>
                  <a:gd name="connsiteY196" fmla="*/ 4305300 h 4305300"/>
                  <a:gd name="connsiteX197" fmla="*/ 4602956 w 8601075"/>
                  <a:gd name="connsiteY197" fmla="*/ 4245769 h 4305300"/>
                  <a:gd name="connsiteX198" fmla="*/ 5274469 w 8601075"/>
                  <a:gd name="connsiteY198" fmla="*/ 3926681 h 4305300"/>
                  <a:gd name="connsiteX199" fmla="*/ 5362575 w 8601075"/>
                  <a:gd name="connsiteY199" fmla="*/ 3955257 h 4305300"/>
                  <a:gd name="connsiteX200" fmla="*/ 5493544 w 8601075"/>
                  <a:gd name="connsiteY200" fmla="*/ 3926681 h 4305300"/>
                  <a:gd name="connsiteX201" fmla="*/ 5672137 w 8601075"/>
                  <a:gd name="connsiteY201" fmla="*/ 3943350 h 4305300"/>
                  <a:gd name="connsiteX202" fmla="*/ 5729288 w 8601075"/>
                  <a:gd name="connsiteY202" fmla="*/ 3917157 h 4305300"/>
                  <a:gd name="connsiteX203" fmla="*/ 5862637 w 8601075"/>
                  <a:gd name="connsiteY203" fmla="*/ 3914775 h 4305300"/>
                  <a:gd name="connsiteX204" fmla="*/ 5995987 w 8601075"/>
                  <a:gd name="connsiteY204" fmla="*/ 3817144 h 4305300"/>
                  <a:gd name="connsiteX205" fmla="*/ 6062662 w 8601075"/>
                  <a:gd name="connsiteY205" fmla="*/ 3810000 h 4305300"/>
                  <a:gd name="connsiteX206" fmla="*/ 6160294 w 8601075"/>
                  <a:gd name="connsiteY206" fmla="*/ 3736181 h 4305300"/>
                  <a:gd name="connsiteX207" fmla="*/ 6234113 w 8601075"/>
                  <a:gd name="connsiteY207" fmla="*/ 3667125 h 4305300"/>
                  <a:gd name="connsiteX208" fmla="*/ 6243638 w 8601075"/>
                  <a:gd name="connsiteY208" fmla="*/ 3605213 h 4305300"/>
                  <a:gd name="connsiteX209" fmla="*/ 6276975 w 8601075"/>
                  <a:gd name="connsiteY209" fmla="*/ 3536156 h 4305300"/>
                  <a:gd name="connsiteX210" fmla="*/ 6429375 w 8601075"/>
                  <a:gd name="connsiteY210" fmla="*/ 3429000 h 4305300"/>
                  <a:gd name="connsiteX211" fmla="*/ 6462713 w 8601075"/>
                  <a:gd name="connsiteY211" fmla="*/ 3433763 h 4305300"/>
                  <a:gd name="connsiteX212" fmla="*/ 6515100 w 8601075"/>
                  <a:gd name="connsiteY212" fmla="*/ 3355181 h 4305300"/>
                  <a:gd name="connsiteX213" fmla="*/ 6562725 w 8601075"/>
                  <a:gd name="connsiteY213" fmla="*/ 3317081 h 4305300"/>
                  <a:gd name="connsiteX214" fmla="*/ 6548438 w 8601075"/>
                  <a:gd name="connsiteY214" fmla="*/ 3248025 h 4305300"/>
                  <a:gd name="connsiteX215" fmla="*/ 6498431 w 8601075"/>
                  <a:gd name="connsiteY215" fmla="*/ 3217068 h 4305300"/>
                  <a:gd name="connsiteX216" fmla="*/ 6438900 w 8601075"/>
                  <a:gd name="connsiteY216" fmla="*/ 3162300 h 4305300"/>
                  <a:gd name="connsiteX217" fmla="*/ 6419850 w 8601075"/>
                  <a:gd name="connsiteY217" fmla="*/ 3105150 h 4305300"/>
                  <a:gd name="connsiteX218" fmla="*/ 6384131 w 8601075"/>
                  <a:gd name="connsiteY218" fmla="*/ 3071813 h 4305300"/>
                  <a:gd name="connsiteX219" fmla="*/ 6410325 w 8601075"/>
                  <a:gd name="connsiteY219" fmla="*/ 3019425 h 4305300"/>
                  <a:gd name="connsiteX220" fmla="*/ 6450806 w 8601075"/>
                  <a:gd name="connsiteY220" fmla="*/ 2840831 h 4305300"/>
                  <a:gd name="connsiteX221" fmla="*/ 6491288 w 8601075"/>
                  <a:gd name="connsiteY221" fmla="*/ 2774156 h 4305300"/>
                  <a:gd name="connsiteX222" fmla="*/ 6636544 w 8601075"/>
                  <a:gd name="connsiteY222" fmla="*/ 2757487 h 4305300"/>
                  <a:gd name="connsiteX223" fmla="*/ 6705600 w 8601075"/>
                  <a:gd name="connsiteY223" fmla="*/ 2814638 h 4305300"/>
                  <a:gd name="connsiteX224" fmla="*/ 6781800 w 8601075"/>
                  <a:gd name="connsiteY224" fmla="*/ 2838450 h 4305300"/>
                  <a:gd name="connsiteX225" fmla="*/ 6986587 w 8601075"/>
                  <a:gd name="connsiteY225" fmla="*/ 2843213 h 4305300"/>
                  <a:gd name="connsiteX226" fmla="*/ 7162800 w 8601075"/>
                  <a:gd name="connsiteY226" fmla="*/ 2705100 h 4305300"/>
                  <a:gd name="connsiteX227" fmla="*/ 7219950 w 8601075"/>
                  <a:gd name="connsiteY227" fmla="*/ 2614612 h 4305300"/>
                  <a:gd name="connsiteX228" fmla="*/ 7246144 w 8601075"/>
                  <a:gd name="connsiteY228" fmla="*/ 2531269 h 4305300"/>
                  <a:gd name="connsiteX229" fmla="*/ 7377112 w 8601075"/>
                  <a:gd name="connsiteY229" fmla="*/ 2531269 h 4305300"/>
                  <a:gd name="connsiteX230" fmla="*/ 7550944 w 8601075"/>
                  <a:gd name="connsiteY230" fmla="*/ 2474118 h 4305300"/>
                  <a:gd name="connsiteX231" fmla="*/ 7610475 w 8601075"/>
                  <a:gd name="connsiteY231" fmla="*/ 2362200 h 4305300"/>
                  <a:gd name="connsiteX232" fmla="*/ 7674769 w 8601075"/>
                  <a:gd name="connsiteY232" fmla="*/ 2326481 h 4305300"/>
                  <a:gd name="connsiteX233" fmla="*/ 7653338 w 8601075"/>
                  <a:gd name="connsiteY233" fmla="*/ 2281238 h 4305300"/>
                  <a:gd name="connsiteX234" fmla="*/ 7731919 w 8601075"/>
                  <a:gd name="connsiteY234" fmla="*/ 2112168 h 4305300"/>
                  <a:gd name="connsiteX235" fmla="*/ 7786688 w 8601075"/>
                  <a:gd name="connsiteY235" fmla="*/ 2052638 h 4305300"/>
                  <a:gd name="connsiteX236" fmla="*/ 7824788 w 8601075"/>
                  <a:gd name="connsiteY236" fmla="*/ 2047875 h 4305300"/>
                  <a:gd name="connsiteX237" fmla="*/ 7870031 w 8601075"/>
                  <a:gd name="connsiteY237" fmla="*/ 2052638 h 4305300"/>
                  <a:gd name="connsiteX238" fmla="*/ 7934325 w 8601075"/>
                  <a:gd name="connsiteY238" fmla="*/ 2019300 h 4305300"/>
                  <a:gd name="connsiteX239" fmla="*/ 7943850 w 8601075"/>
                  <a:gd name="connsiteY239" fmla="*/ 1955006 h 4305300"/>
                  <a:gd name="connsiteX240" fmla="*/ 7984330 w 8601075"/>
                  <a:gd name="connsiteY240" fmla="*/ 1919288 h 4305300"/>
                  <a:gd name="connsiteX241" fmla="*/ 8043863 w 8601075"/>
                  <a:gd name="connsiteY241" fmla="*/ 1959768 h 4305300"/>
                  <a:gd name="connsiteX242" fmla="*/ 8070057 w 8601075"/>
                  <a:gd name="connsiteY242" fmla="*/ 1909762 h 4305300"/>
                  <a:gd name="connsiteX243" fmla="*/ 8165306 w 8601075"/>
                  <a:gd name="connsiteY243" fmla="*/ 1840706 h 4305300"/>
                  <a:gd name="connsiteX244" fmla="*/ 8227219 w 8601075"/>
                  <a:gd name="connsiteY244" fmla="*/ 1847850 h 4305300"/>
                  <a:gd name="connsiteX245" fmla="*/ 8277225 w 8601075"/>
                  <a:gd name="connsiteY245" fmla="*/ 1828800 h 4305300"/>
                  <a:gd name="connsiteX246" fmla="*/ 8315325 w 8601075"/>
                  <a:gd name="connsiteY246" fmla="*/ 1800225 h 4305300"/>
                  <a:gd name="connsiteX247" fmla="*/ 8348663 w 8601075"/>
                  <a:gd name="connsiteY247" fmla="*/ 1797844 h 4305300"/>
                  <a:gd name="connsiteX248" fmla="*/ 8384381 w 8601075"/>
                  <a:gd name="connsiteY248" fmla="*/ 1828800 h 4305300"/>
                  <a:gd name="connsiteX249" fmla="*/ 8443913 w 8601075"/>
                  <a:gd name="connsiteY249" fmla="*/ 1828800 h 4305300"/>
                  <a:gd name="connsiteX250" fmla="*/ 8482012 w 8601075"/>
                  <a:gd name="connsiteY250" fmla="*/ 1809750 h 4305300"/>
                  <a:gd name="connsiteX251" fmla="*/ 8565356 w 8601075"/>
                  <a:gd name="connsiteY251" fmla="*/ 1812132 h 4305300"/>
                  <a:gd name="connsiteX252" fmla="*/ 8596313 w 8601075"/>
                  <a:gd name="connsiteY252" fmla="*/ 1766888 h 4305300"/>
                  <a:gd name="connsiteX253" fmla="*/ 8601075 w 8601075"/>
                  <a:gd name="connsiteY253" fmla="*/ 1704975 h 4305300"/>
                  <a:gd name="connsiteX254" fmla="*/ 8551068 w 8601075"/>
                  <a:gd name="connsiteY254" fmla="*/ 1664494 h 4305300"/>
                  <a:gd name="connsiteX255" fmla="*/ 8534400 w 8601075"/>
                  <a:gd name="connsiteY255" fmla="*/ 1609725 h 4305300"/>
                  <a:gd name="connsiteX256" fmla="*/ 8443913 w 8601075"/>
                  <a:gd name="connsiteY256" fmla="*/ 1547813 h 4305300"/>
                  <a:gd name="connsiteX257" fmla="*/ 8403431 w 8601075"/>
                  <a:gd name="connsiteY257" fmla="*/ 1526381 h 4305300"/>
                  <a:gd name="connsiteX258" fmla="*/ 8365331 w 8601075"/>
                  <a:gd name="connsiteY258" fmla="*/ 1481138 h 4305300"/>
                  <a:gd name="connsiteX259" fmla="*/ 8334375 w 8601075"/>
                  <a:gd name="connsiteY259" fmla="*/ 1478756 h 4305300"/>
                  <a:gd name="connsiteX260" fmla="*/ 8317706 w 8601075"/>
                  <a:gd name="connsiteY260" fmla="*/ 1426369 h 4305300"/>
                  <a:gd name="connsiteX261" fmla="*/ 8277225 w 8601075"/>
                  <a:gd name="connsiteY261" fmla="*/ 1409700 h 4305300"/>
                  <a:gd name="connsiteX262" fmla="*/ 8277225 w 8601075"/>
                  <a:gd name="connsiteY262" fmla="*/ 1409700 h 4305300"/>
                  <a:gd name="connsiteX263" fmla="*/ 8236744 w 8601075"/>
                  <a:gd name="connsiteY263" fmla="*/ 1414463 h 4305300"/>
                  <a:gd name="connsiteX264" fmla="*/ 8151018 w 8601075"/>
                  <a:gd name="connsiteY264" fmla="*/ 1340644 h 4305300"/>
                  <a:gd name="connsiteX265" fmla="*/ 7970044 w 8601075"/>
                  <a:gd name="connsiteY265" fmla="*/ 1340643 h 4305300"/>
                  <a:gd name="connsiteX266" fmla="*/ 7917656 w 8601075"/>
                  <a:gd name="connsiteY266" fmla="*/ 1378744 h 4305300"/>
                  <a:gd name="connsiteX267" fmla="*/ 7867650 w 8601075"/>
                  <a:gd name="connsiteY267" fmla="*/ 1457325 h 4305300"/>
                  <a:gd name="connsiteX268" fmla="*/ 7884319 w 8601075"/>
                  <a:gd name="connsiteY268" fmla="*/ 1478756 h 4305300"/>
                  <a:gd name="connsiteX269" fmla="*/ 7839075 w 8601075"/>
                  <a:gd name="connsiteY269" fmla="*/ 1528762 h 4305300"/>
                  <a:gd name="connsiteX270" fmla="*/ 7689056 w 8601075"/>
                  <a:gd name="connsiteY270" fmla="*/ 1452562 h 4305300"/>
                  <a:gd name="connsiteX271" fmla="*/ 7598569 w 8601075"/>
                  <a:gd name="connsiteY271" fmla="*/ 1488281 h 4305300"/>
                  <a:gd name="connsiteX272" fmla="*/ 7524750 w 8601075"/>
                  <a:gd name="connsiteY272" fmla="*/ 1485900 h 4305300"/>
                  <a:gd name="connsiteX273" fmla="*/ 7467600 w 8601075"/>
                  <a:gd name="connsiteY273" fmla="*/ 1581150 h 4305300"/>
                  <a:gd name="connsiteX274" fmla="*/ 7329488 w 8601075"/>
                  <a:gd name="connsiteY27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43775 w 8601075"/>
                  <a:gd name="connsiteY9" fmla="*/ 647700 h 4305300"/>
                  <a:gd name="connsiteX10" fmla="*/ 7172325 w 8601075"/>
                  <a:gd name="connsiteY10" fmla="*/ 742950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72325 w 8601075"/>
                  <a:gd name="connsiteY10" fmla="*/ 742950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10400 w 8601075"/>
                  <a:gd name="connsiteY11" fmla="*/ 609600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877050 w 8601075"/>
                  <a:gd name="connsiteY12" fmla="*/ 600075 h 4305300"/>
                  <a:gd name="connsiteX13" fmla="*/ 6600825 w 8601075"/>
                  <a:gd name="connsiteY13" fmla="*/ 904875 h 4305300"/>
                  <a:gd name="connsiteX14" fmla="*/ 6600825 w 8601075"/>
                  <a:gd name="connsiteY14" fmla="*/ 904875 h 4305300"/>
                  <a:gd name="connsiteX15" fmla="*/ 6534150 w 8601075"/>
                  <a:gd name="connsiteY15" fmla="*/ 942975 h 4305300"/>
                  <a:gd name="connsiteX16" fmla="*/ 6534150 w 8601075"/>
                  <a:gd name="connsiteY16" fmla="*/ 942975 h 4305300"/>
                  <a:gd name="connsiteX17" fmla="*/ 6362700 w 8601075"/>
                  <a:gd name="connsiteY17" fmla="*/ 1009650 h 4305300"/>
                  <a:gd name="connsiteX18" fmla="*/ 6238875 w 8601075"/>
                  <a:gd name="connsiteY18" fmla="*/ 1057275 h 4305300"/>
                  <a:gd name="connsiteX19" fmla="*/ 6115050 w 8601075"/>
                  <a:gd name="connsiteY19" fmla="*/ 1114425 h 4305300"/>
                  <a:gd name="connsiteX20" fmla="*/ 5962650 w 8601075"/>
                  <a:gd name="connsiteY20" fmla="*/ 1190625 h 4305300"/>
                  <a:gd name="connsiteX21" fmla="*/ 5895975 w 8601075"/>
                  <a:gd name="connsiteY21" fmla="*/ 1143000 h 4305300"/>
                  <a:gd name="connsiteX22" fmla="*/ 5895975 w 8601075"/>
                  <a:gd name="connsiteY22" fmla="*/ 1143000 h 4305300"/>
                  <a:gd name="connsiteX23" fmla="*/ 5676900 w 8601075"/>
                  <a:gd name="connsiteY23" fmla="*/ 1181100 h 4305300"/>
                  <a:gd name="connsiteX24" fmla="*/ 5600700 w 8601075"/>
                  <a:gd name="connsiteY24" fmla="*/ 1114425 h 4305300"/>
                  <a:gd name="connsiteX25" fmla="*/ 5391150 w 8601075"/>
                  <a:gd name="connsiteY25" fmla="*/ 1123950 h 4305300"/>
                  <a:gd name="connsiteX26" fmla="*/ 5334000 w 8601075"/>
                  <a:gd name="connsiteY26" fmla="*/ 1066800 h 4305300"/>
                  <a:gd name="connsiteX27" fmla="*/ 5248275 w 8601075"/>
                  <a:gd name="connsiteY27" fmla="*/ 981075 h 4305300"/>
                  <a:gd name="connsiteX28" fmla="*/ 5238750 w 8601075"/>
                  <a:gd name="connsiteY28" fmla="*/ 895350 h 4305300"/>
                  <a:gd name="connsiteX29" fmla="*/ 5133975 w 8601075"/>
                  <a:gd name="connsiteY29" fmla="*/ 895350 h 4305300"/>
                  <a:gd name="connsiteX30" fmla="*/ 4991100 w 8601075"/>
                  <a:gd name="connsiteY30" fmla="*/ 838200 h 4305300"/>
                  <a:gd name="connsiteX31" fmla="*/ 4905375 w 8601075"/>
                  <a:gd name="connsiteY31" fmla="*/ 771525 h 4305300"/>
                  <a:gd name="connsiteX32" fmla="*/ 4905375 w 8601075"/>
                  <a:gd name="connsiteY32" fmla="*/ 771525 h 4305300"/>
                  <a:gd name="connsiteX33" fmla="*/ 4781550 w 8601075"/>
                  <a:gd name="connsiteY33" fmla="*/ 762000 h 4305300"/>
                  <a:gd name="connsiteX34" fmla="*/ 4648200 w 8601075"/>
                  <a:gd name="connsiteY34" fmla="*/ 714375 h 4305300"/>
                  <a:gd name="connsiteX35" fmla="*/ 4581525 w 8601075"/>
                  <a:gd name="connsiteY35" fmla="*/ 695325 h 4305300"/>
                  <a:gd name="connsiteX36" fmla="*/ 4495800 w 8601075"/>
                  <a:gd name="connsiteY36" fmla="*/ 742950 h 4305300"/>
                  <a:gd name="connsiteX37" fmla="*/ 4343400 w 8601075"/>
                  <a:gd name="connsiteY37" fmla="*/ 781050 h 4305300"/>
                  <a:gd name="connsiteX38" fmla="*/ 4252913 w 8601075"/>
                  <a:gd name="connsiteY38" fmla="*/ 862013 h 4305300"/>
                  <a:gd name="connsiteX39" fmla="*/ 4205287 w 8601075"/>
                  <a:gd name="connsiteY39" fmla="*/ 823913 h 4305300"/>
                  <a:gd name="connsiteX40" fmla="*/ 4183856 w 8601075"/>
                  <a:gd name="connsiteY40" fmla="*/ 854868 h 4305300"/>
                  <a:gd name="connsiteX41" fmla="*/ 4110038 w 8601075"/>
                  <a:gd name="connsiteY41" fmla="*/ 804863 h 4305300"/>
                  <a:gd name="connsiteX42" fmla="*/ 4071938 w 8601075"/>
                  <a:gd name="connsiteY42" fmla="*/ 812006 h 4305300"/>
                  <a:gd name="connsiteX43" fmla="*/ 4050506 w 8601075"/>
                  <a:gd name="connsiteY43" fmla="*/ 773906 h 4305300"/>
                  <a:gd name="connsiteX44" fmla="*/ 3990975 w 8601075"/>
                  <a:gd name="connsiteY44" fmla="*/ 778669 h 4305300"/>
                  <a:gd name="connsiteX45" fmla="*/ 3945731 w 8601075"/>
                  <a:gd name="connsiteY45" fmla="*/ 750094 h 4305300"/>
                  <a:gd name="connsiteX46" fmla="*/ 3907631 w 8601075"/>
                  <a:gd name="connsiteY46" fmla="*/ 747713 h 4305300"/>
                  <a:gd name="connsiteX47" fmla="*/ 3888581 w 8601075"/>
                  <a:gd name="connsiteY47" fmla="*/ 700087 h 4305300"/>
                  <a:gd name="connsiteX48" fmla="*/ 3874294 w 8601075"/>
                  <a:gd name="connsiteY48" fmla="*/ 669131 h 4305300"/>
                  <a:gd name="connsiteX49" fmla="*/ 3829050 w 8601075"/>
                  <a:gd name="connsiteY49" fmla="*/ 678656 h 4305300"/>
                  <a:gd name="connsiteX50" fmla="*/ 3810000 w 8601075"/>
                  <a:gd name="connsiteY50" fmla="*/ 642938 h 4305300"/>
                  <a:gd name="connsiteX51" fmla="*/ 3831432 w 8601075"/>
                  <a:gd name="connsiteY51" fmla="*/ 588169 h 4305300"/>
                  <a:gd name="connsiteX52" fmla="*/ 3800475 w 8601075"/>
                  <a:gd name="connsiteY52" fmla="*/ 561975 h 4305300"/>
                  <a:gd name="connsiteX53" fmla="*/ 3817144 w 8601075"/>
                  <a:gd name="connsiteY53" fmla="*/ 519113 h 4305300"/>
                  <a:gd name="connsiteX54" fmla="*/ 3790950 w 8601075"/>
                  <a:gd name="connsiteY54" fmla="*/ 476250 h 4305300"/>
                  <a:gd name="connsiteX55" fmla="*/ 3786188 w 8601075"/>
                  <a:gd name="connsiteY55" fmla="*/ 414338 h 4305300"/>
                  <a:gd name="connsiteX56" fmla="*/ 3810000 w 8601075"/>
                  <a:gd name="connsiteY56" fmla="*/ 350043 h 4305300"/>
                  <a:gd name="connsiteX57" fmla="*/ 3771900 w 8601075"/>
                  <a:gd name="connsiteY57" fmla="*/ 352425 h 4305300"/>
                  <a:gd name="connsiteX58" fmla="*/ 3652838 w 8601075"/>
                  <a:gd name="connsiteY58" fmla="*/ 295275 h 4305300"/>
                  <a:gd name="connsiteX59" fmla="*/ 3614737 w 8601075"/>
                  <a:gd name="connsiteY59" fmla="*/ 300037 h 4305300"/>
                  <a:gd name="connsiteX60" fmla="*/ 3409950 w 8601075"/>
                  <a:gd name="connsiteY60" fmla="*/ 190500 h 4305300"/>
                  <a:gd name="connsiteX61" fmla="*/ 3305175 w 8601075"/>
                  <a:gd name="connsiteY61" fmla="*/ 159544 h 4305300"/>
                  <a:gd name="connsiteX62" fmla="*/ 3240881 w 8601075"/>
                  <a:gd name="connsiteY62" fmla="*/ 169068 h 4305300"/>
                  <a:gd name="connsiteX63" fmla="*/ 3209925 w 8601075"/>
                  <a:gd name="connsiteY63" fmla="*/ 104775 h 4305300"/>
                  <a:gd name="connsiteX64" fmla="*/ 3152775 w 8601075"/>
                  <a:gd name="connsiteY64" fmla="*/ 104775 h 4305300"/>
                  <a:gd name="connsiteX65" fmla="*/ 3014662 w 8601075"/>
                  <a:gd name="connsiteY65" fmla="*/ 0 h 4305300"/>
                  <a:gd name="connsiteX66" fmla="*/ 2981325 w 8601075"/>
                  <a:gd name="connsiteY66" fmla="*/ 59532 h 4305300"/>
                  <a:gd name="connsiteX67" fmla="*/ 2926556 w 8601075"/>
                  <a:gd name="connsiteY67" fmla="*/ 128588 h 4305300"/>
                  <a:gd name="connsiteX68" fmla="*/ 2883694 w 8601075"/>
                  <a:gd name="connsiteY68" fmla="*/ 145256 h 4305300"/>
                  <a:gd name="connsiteX69" fmla="*/ 2852738 w 8601075"/>
                  <a:gd name="connsiteY69" fmla="*/ 138113 h 4305300"/>
                  <a:gd name="connsiteX70" fmla="*/ 2828925 w 8601075"/>
                  <a:gd name="connsiteY70" fmla="*/ 166688 h 4305300"/>
                  <a:gd name="connsiteX71" fmla="*/ 2802731 w 8601075"/>
                  <a:gd name="connsiteY71" fmla="*/ 245269 h 4305300"/>
                  <a:gd name="connsiteX72" fmla="*/ 2759869 w 8601075"/>
                  <a:gd name="connsiteY72" fmla="*/ 242888 h 4305300"/>
                  <a:gd name="connsiteX73" fmla="*/ 2728912 w 8601075"/>
                  <a:gd name="connsiteY73" fmla="*/ 304800 h 4305300"/>
                  <a:gd name="connsiteX74" fmla="*/ 2724150 w 8601075"/>
                  <a:gd name="connsiteY74" fmla="*/ 369094 h 4305300"/>
                  <a:gd name="connsiteX75" fmla="*/ 2697957 w 8601075"/>
                  <a:gd name="connsiteY75" fmla="*/ 407194 h 4305300"/>
                  <a:gd name="connsiteX76" fmla="*/ 2724150 w 8601075"/>
                  <a:gd name="connsiteY76" fmla="*/ 466725 h 4305300"/>
                  <a:gd name="connsiteX77" fmla="*/ 2726531 w 8601075"/>
                  <a:gd name="connsiteY77" fmla="*/ 535781 h 4305300"/>
                  <a:gd name="connsiteX78" fmla="*/ 2755106 w 8601075"/>
                  <a:gd name="connsiteY78" fmla="*/ 588169 h 4305300"/>
                  <a:gd name="connsiteX79" fmla="*/ 2802732 w 8601075"/>
                  <a:gd name="connsiteY79" fmla="*/ 642938 h 4305300"/>
                  <a:gd name="connsiteX80" fmla="*/ 2752725 w 8601075"/>
                  <a:gd name="connsiteY80" fmla="*/ 781050 h 4305300"/>
                  <a:gd name="connsiteX81" fmla="*/ 2683669 w 8601075"/>
                  <a:gd name="connsiteY81" fmla="*/ 847725 h 4305300"/>
                  <a:gd name="connsiteX82" fmla="*/ 2612231 w 8601075"/>
                  <a:gd name="connsiteY82" fmla="*/ 842963 h 4305300"/>
                  <a:gd name="connsiteX83" fmla="*/ 2574131 w 8601075"/>
                  <a:gd name="connsiteY83" fmla="*/ 900113 h 4305300"/>
                  <a:gd name="connsiteX84" fmla="*/ 2514600 w 8601075"/>
                  <a:gd name="connsiteY84" fmla="*/ 914400 h 4305300"/>
                  <a:gd name="connsiteX85" fmla="*/ 2445544 w 8601075"/>
                  <a:gd name="connsiteY85" fmla="*/ 854869 h 4305300"/>
                  <a:gd name="connsiteX86" fmla="*/ 2390775 w 8601075"/>
                  <a:gd name="connsiteY86" fmla="*/ 826294 h 4305300"/>
                  <a:gd name="connsiteX87" fmla="*/ 2347913 w 8601075"/>
                  <a:gd name="connsiteY87" fmla="*/ 840581 h 4305300"/>
                  <a:gd name="connsiteX88" fmla="*/ 2295525 w 8601075"/>
                  <a:gd name="connsiteY88" fmla="*/ 823913 h 4305300"/>
                  <a:gd name="connsiteX89" fmla="*/ 2228850 w 8601075"/>
                  <a:gd name="connsiteY89" fmla="*/ 769144 h 4305300"/>
                  <a:gd name="connsiteX90" fmla="*/ 2183606 w 8601075"/>
                  <a:gd name="connsiteY90" fmla="*/ 781050 h 4305300"/>
                  <a:gd name="connsiteX91" fmla="*/ 2162175 w 8601075"/>
                  <a:gd name="connsiteY91" fmla="*/ 750094 h 4305300"/>
                  <a:gd name="connsiteX92" fmla="*/ 2105025 w 8601075"/>
                  <a:gd name="connsiteY92" fmla="*/ 790575 h 4305300"/>
                  <a:gd name="connsiteX93" fmla="*/ 1988344 w 8601075"/>
                  <a:gd name="connsiteY93" fmla="*/ 769144 h 4305300"/>
                  <a:gd name="connsiteX94" fmla="*/ 1938338 w 8601075"/>
                  <a:gd name="connsiteY94" fmla="*/ 716756 h 4305300"/>
                  <a:gd name="connsiteX95" fmla="*/ 1895475 w 8601075"/>
                  <a:gd name="connsiteY95" fmla="*/ 702469 h 4305300"/>
                  <a:gd name="connsiteX96" fmla="*/ 1852613 w 8601075"/>
                  <a:gd name="connsiteY96" fmla="*/ 728663 h 4305300"/>
                  <a:gd name="connsiteX97" fmla="*/ 1800225 w 8601075"/>
                  <a:gd name="connsiteY97" fmla="*/ 638175 h 4305300"/>
                  <a:gd name="connsiteX98" fmla="*/ 1790700 w 8601075"/>
                  <a:gd name="connsiteY98" fmla="*/ 490537 h 4305300"/>
                  <a:gd name="connsiteX99" fmla="*/ 1738312 w 8601075"/>
                  <a:gd name="connsiteY99" fmla="*/ 483393 h 4305300"/>
                  <a:gd name="connsiteX100" fmla="*/ 1647825 w 8601075"/>
                  <a:gd name="connsiteY100" fmla="*/ 473869 h 4305300"/>
                  <a:gd name="connsiteX101" fmla="*/ 1593056 w 8601075"/>
                  <a:gd name="connsiteY101" fmla="*/ 435769 h 4305300"/>
                  <a:gd name="connsiteX102" fmla="*/ 1524000 w 8601075"/>
                  <a:gd name="connsiteY102" fmla="*/ 445294 h 4305300"/>
                  <a:gd name="connsiteX103" fmla="*/ 1478756 w 8601075"/>
                  <a:gd name="connsiteY103" fmla="*/ 419100 h 4305300"/>
                  <a:gd name="connsiteX104" fmla="*/ 1469232 w 8601075"/>
                  <a:gd name="connsiteY104" fmla="*/ 347663 h 4305300"/>
                  <a:gd name="connsiteX105" fmla="*/ 1445419 w 8601075"/>
                  <a:gd name="connsiteY105" fmla="*/ 333375 h 4305300"/>
                  <a:gd name="connsiteX106" fmla="*/ 1407319 w 8601075"/>
                  <a:gd name="connsiteY106" fmla="*/ 380999 h 4305300"/>
                  <a:gd name="connsiteX107" fmla="*/ 1328737 w 8601075"/>
                  <a:gd name="connsiteY107" fmla="*/ 307181 h 4305300"/>
                  <a:gd name="connsiteX108" fmla="*/ 1288256 w 8601075"/>
                  <a:gd name="connsiteY108" fmla="*/ 347663 h 4305300"/>
                  <a:gd name="connsiteX109" fmla="*/ 1212056 w 8601075"/>
                  <a:gd name="connsiteY109" fmla="*/ 333375 h 4305300"/>
                  <a:gd name="connsiteX110" fmla="*/ 1133475 w 8601075"/>
                  <a:gd name="connsiteY110" fmla="*/ 359569 h 4305300"/>
                  <a:gd name="connsiteX111" fmla="*/ 1073944 w 8601075"/>
                  <a:gd name="connsiteY111" fmla="*/ 407193 h 4305300"/>
                  <a:gd name="connsiteX112" fmla="*/ 1000125 w 8601075"/>
                  <a:gd name="connsiteY112" fmla="*/ 419100 h 4305300"/>
                  <a:gd name="connsiteX113" fmla="*/ 964406 w 8601075"/>
                  <a:gd name="connsiteY113" fmla="*/ 411956 h 4305300"/>
                  <a:gd name="connsiteX114" fmla="*/ 885826 w 8601075"/>
                  <a:gd name="connsiteY114" fmla="*/ 442913 h 4305300"/>
                  <a:gd name="connsiteX115" fmla="*/ 864394 w 8601075"/>
                  <a:gd name="connsiteY115" fmla="*/ 471488 h 4305300"/>
                  <a:gd name="connsiteX116" fmla="*/ 797719 w 8601075"/>
                  <a:gd name="connsiteY116" fmla="*/ 461963 h 4305300"/>
                  <a:gd name="connsiteX117" fmla="*/ 728663 w 8601075"/>
                  <a:gd name="connsiteY117" fmla="*/ 485775 h 4305300"/>
                  <a:gd name="connsiteX118" fmla="*/ 673894 w 8601075"/>
                  <a:gd name="connsiteY118" fmla="*/ 523875 h 4305300"/>
                  <a:gd name="connsiteX119" fmla="*/ 578644 w 8601075"/>
                  <a:gd name="connsiteY119" fmla="*/ 538162 h 4305300"/>
                  <a:gd name="connsiteX120" fmla="*/ 564356 w 8601075"/>
                  <a:gd name="connsiteY120" fmla="*/ 559594 h 4305300"/>
                  <a:gd name="connsiteX121" fmla="*/ 576262 w 8601075"/>
                  <a:gd name="connsiteY121" fmla="*/ 604838 h 4305300"/>
                  <a:gd name="connsiteX122" fmla="*/ 476251 w 8601075"/>
                  <a:gd name="connsiteY122" fmla="*/ 657225 h 4305300"/>
                  <a:gd name="connsiteX123" fmla="*/ 438150 w 8601075"/>
                  <a:gd name="connsiteY123" fmla="*/ 628649 h 4305300"/>
                  <a:gd name="connsiteX124" fmla="*/ 407194 w 8601075"/>
                  <a:gd name="connsiteY124" fmla="*/ 685800 h 4305300"/>
                  <a:gd name="connsiteX125" fmla="*/ 350044 w 8601075"/>
                  <a:gd name="connsiteY125" fmla="*/ 647700 h 4305300"/>
                  <a:gd name="connsiteX126" fmla="*/ 314325 w 8601075"/>
                  <a:gd name="connsiteY126" fmla="*/ 676275 h 4305300"/>
                  <a:gd name="connsiteX127" fmla="*/ 278606 w 8601075"/>
                  <a:gd name="connsiteY127" fmla="*/ 640556 h 4305300"/>
                  <a:gd name="connsiteX128" fmla="*/ 226219 w 8601075"/>
                  <a:gd name="connsiteY128" fmla="*/ 652463 h 4305300"/>
                  <a:gd name="connsiteX129" fmla="*/ 180975 w 8601075"/>
                  <a:gd name="connsiteY129" fmla="*/ 623888 h 4305300"/>
                  <a:gd name="connsiteX130" fmla="*/ 157163 w 8601075"/>
                  <a:gd name="connsiteY130" fmla="*/ 642938 h 4305300"/>
                  <a:gd name="connsiteX131" fmla="*/ 133350 w 8601075"/>
                  <a:gd name="connsiteY131" fmla="*/ 702469 h 4305300"/>
                  <a:gd name="connsiteX132" fmla="*/ 61913 w 8601075"/>
                  <a:gd name="connsiteY132" fmla="*/ 740568 h 4305300"/>
                  <a:gd name="connsiteX133" fmla="*/ 28575 w 8601075"/>
                  <a:gd name="connsiteY133" fmla="*/ 769144 h 4305300"/>
                  <a:gd name="connsiteX134" fmla="*/ 33338 w 8601075"/>
                  <a:gd name="connsiteY134" fmla="*/ 812006 h 4305300"/>
                  <a:gd name="connsiteX135" fmla="*/ 0 w 8601075"/>
                  <a:gd name="connsiteY135" fmla="*/ 816769 h 4305300"/>
                  <a:gd name="connsiteX136" fmla="*/ 4763 w 8601075"/>
                  <a:gd name="connsiteY136" fmla="*/ 840581 h 4305300"/>
                  <a:gd name="connsiteX137" fmla="*/ 61912 w 8601075"/>
                  <a:gd name="connsiteY137" fmla="*/ 914400 h 4305300"/>
                  <a:gd name="connsiteX138" fmla="*/ 23813 w 8601075"/>
                  <a:gd name="connsiteY138" fmla="*/ 962025 h 4305300"/>
                  <a:gd name="connsiteX139" fmla="*/ 78581 w 8601075"/>
                  <a:gd name="connsiteY139" fmla="*/ 997744 h 4305300"/>
                  <a:gd name="connsiteX140" fmla="*/ 169069 w 8601075"/>
                  <a:gd name="connsiteY140" fmla="*/ 1085850 h 4305300"/>
                  <a:gd name="connsiteX141" fmla="*/ 171450 w 8601075"/>
                  <a:gd name="connsiteY141" fmla="*/ 1145381 h 4305300"/>
                  <a:gd name="connsiteX142" fmla="*/ 307181 w 8601075"/>
                  <a:gd name="connsiteY142" fmla="*/ 1278732 h 4305300"/>
                  <a:gd name="connsiteX143" fmla="*/ 361950 w 8601075"/>
                  <a:gd name="connsiteY143" fmla="*/ 1254919 h 4305300"/>
                  <a:gd name="connsiteX144" fmla="*/ 400050 w 8601075"/>
                  <a:gd name="connsiteY144" fmla="*/ 1281112 h 4305300"/>
                  <a:gd name="connsiteX145" fmla="*/ 414338 w 8601075"/>
                  <a:gd name="connsiteY145" fmla="*/ 1331118 h 4305300"/>
                  <a:gd name="connsiteX146" fmla="*/ 457200 w 8601075"/>
                  <a:gd name="connsiteY146" fmla="*/ 1366838 h 4305300"/>
                  <a:gd name="connsiteX147" fmla="*/ 497681 w 8601075"/>
                  <a:gd name="connsiteY147" fmla="*/ 1354931 h 4305300"/>
                  <a:gd name="connsiteX148" fmla="*/ 516731 w 8601075"/>
                  <a:gd name="connsiteY148" fmla="*/ 1412081 h 4305300"/>
                  <a:gd name="connsiteX149" fmla="*/ 564356 w 8601075"/>
                  <a:gd name="connsiteY149" fmla="*/ 1454944 h 4305300"/>
                  <a:gd name="connsiteX150" fmla="*/ 588169 w 8601075"/>
                  <a:gd name="connsiteY150" fmla="*/ 1557338 h 4305300"/>
                  <a:gd name="connsiteX151" fmla="*/ 585788 w 8601075"/>
                  <a:gd name="connsiteY151" fmla="*/ 1604963 h 4305300"/>
                  <a:gd name="connsiteX152" fmla="*/ 621506 w 8601075"/>
                  <a:gd name="connsiteY152" fmla="*/ 1704975 h 4305300"/>
                  <a:gd name="connsiteX153" fmla="*/ 666750 w 8601075"/>
                  <a:gd name="connsiteY153" fmla="*/ 1762125 h 4305300"/>
                  <a:gd name="connsiteX154" fmla="*/ 683418 w 8601075"/>
                  <a:gd name="connsiteY154" fmla="*/ 1919287 h 4305300"/>
                  <a:gd name="connsiteX155" fmla="*/ 650081 w 8601075"/>
                  <a:gd name="connsiteY155" fmla="*/ 1981200 h 4305300"/>
                  <a:gd name="connsiteX156" fmla="*/ 619125 w 8601075"/>
                  <a:gd name="connsiteY156" fmla="*/ 2057400 h 4305300"/>
                  <a:gd name="connsiteX157" fmla="*/ 633413 w 8601075"/>
                  <a:gd name="connsiteY157" fmla="*/ 2114550 h 4305300"/>
                  <a:gd name="connsiteX158" fmla="*/ 535781 w 8601075"/>
                  <a:gd name="connsiteY158" fmla="*/ 2221707 h 4305300"/>
                  <a:gd name="connsiteX159" fmla="*/ 492919 w 8601075"/>
                  <a:gd name="connsiteY159" fmla="*/ 2336006 h 4305300"/>
                  <a:gd name="connsiteX160" fmla="*/ 526256 w 8601075"/>
                  <a:gd name="connsiteY160" fmla="*/ 2376488 h 4305300"/>
                  <a:gd name="connsiteX161" fmla="*/ 509588 w 8601075"/>
                  <a:gd name="connsiteY161" fmla="*/ 2405063 h 4305300"/>
                  <a:gd name="connsiteX162" fmla="*/ 540544 w 8601075"/>
                  <a:gd name="connsiteY162" fmla="*/ 2462213 h 4305300"/>
                  <a:gd name="connsiteX163" fmla="*/ 569119 w 8601075"/>
                  <a:gd name="connsiteY163" fmla="*/ 2462213 h 4305300"/>
                  <a:gd name="connsiteX164" fmla="*/ 731044 w 8601075"/>
                  <a:gd name="connsiteY164" fmla="*/ 2564606 h 4305300"/>
                  <a:gd name="connsiteX165" fmla="*/ 835819 w 8601075"/>
                  <a:gd name="connsiteY165" fmla="*/ 2562225 h 4305300"/>
                  <a:gd name="connsiteX166" fmla="*/ 914400 w 8601075"/>
                  <a:gd name="connsiteY166" fmla="*/ 2616994 h 4305300"/>
                  <a:gd name="connsiteX167" fmla="*/ 1045368 w 8601075"/>
                  <a:gd name="connsiteY167" fmla="*/ 2619375 h 4305300"/>
                  <a:gd name="connsiteX168" fmla="*/ 1235868 w 8601075"/>
                  <a:gd name="connsiteY168" fmla="*/ 2688431 h 4305300"/>
                  <a:gd name="connsiteX169" fmla="*/ 1438275 w 8601075"/>
                  <a:gd name="connsiteY169" fmla="*/ 2838450 h 4305300"/>
                  <a:gd name="connsiteX170" fmla="*/ 1471612 w 8601075"/>
                  <a:gd name="connsiteY170" fmla="*/ 2905125 h 4305300"/>
                  <a:gd name="connsiteX171" fmla="*/ 1638300 w 8601075"/>
                  <a:gd name="connsiteY171" fmla="*/ 3031331 h 4305300"/>
                  <a:gd name="connsiteX172" fmla="*/ 1709738 w 8601075"/>
                  <a:gd name="connsiteY172" fmla="*/ 3026569 h 4305300"/>
                  <a:gd name="connsiteX173" fmla="*/ 1745457 w 8601075"/>
                  <a:gd name="connsiteY173" fmla="*/ 3050381 h 4305300"/>
                  <a:gd name="connsiteX174" fmla="*/ 1716881 w 8601075"/>
                  <a:gd name="connsiteY174" fmla="*/ 3090863 h 4305300"/>
                  <a:gd name="connsiteX175" fmla="*/ 1724025 w 8601075"/>
                  <a:gd name="connsiteY175" fmla="*/ 3143250 h 4305300"/>
                  <a:gd name="connsiteX176" fmla="*/ 1776413 w 8601075"/>
                  <a:gd name="connsiteY176" fmla="*/ 3169444 h 4305300"/>
                  <a:gd name="connsiteX177" fmla="*/ 1838325 w 8601075"/>
                  <a:gd name="connsiteY177" fmla="*/ 3393282 h 4305300"/>
                  <a:gd name="connsiteX178" fmla="*/ 1828800 w 8601075"/>
                  <a:gd name="connsiteY178" fmla="*/ 3457575 h 4305300"/>
                  <a:gd name="connsiteX179" fmla="*/ 1964531 w 8601075"/>
                  <a:gd name="connsiteY179" fmla="*/ 3624263 h 4305300"/>
                  <a:gd name="connsiteX180" fmla="*/ 1983581 w 8601075"/>
                  <a:gd name="connsiteY180" fmla="*/ 3674269 h 4305300"/>
                  <a:gd name="connsiteX181" fmla="*/ 1957388 w 8601075"/>
                  <a:gd name="connsiteY181" fmla="*/ 3693319 h 4305300"/>
                  <a:gd name="connsiteX182" fmla="*/ 2059781 w 8601075"/>
                  <a:gd name="connsiteY182" fmla="*/ 3702844 h 4305300"/>
                  <a:gd name="connsiteX183" fmla="*/ 2171700 w 8601075"/>
                  <a:gd name="connsiteY183" fmla="*/ 3690938 h 4305300"/>
                  <a:gd name="connsiteX184" fmla="*/ 2450306 w 8601075"/>
                  <a:gd name="connsiteY184" fmla="*/ 3774281 h 4305300"/>
                  <a:gd name="connsiteX185" fmla="*/ 2857500 w 8601075"/>
                  <a:gd name="connsiteY185" fmla="*/ 3855244 h 4305300"/>
                  <a:gd name="connsiteX186" fmla="*/ 3055144 w 8601075"/>
                  <a:gd name="connsiteY186" fmla="*/ 3824287 h 4305300"/>
                  <a:gd name="connsiteX187" fmla="*/ 3100388 w 8601075"/>
                  <a:gd name="connsiteY187" fmla="*/ 3836193 h 4305300"/>
                  <a:gd name="connsiteX188" fmla="*/ 3155156 w 8601075"/>
                  <a:gd name="connsiteY188" fmla="*/ 3812382 h 4305300"/>
                  <a:gd name="connsiteX189" fmla="*/ 3548062 w 8601075"/>
                  <a:gd name="connsiteY189" fmla="*/ 3902869 h 4305300"/>
                  <a:gd name="connsiteX190" fmla="*/ 3631407 w 8601075"/>
                  <a:gd name="connsiteY190" fmla="*/ 4000500 h 4305300"/>
                  <a:gd name="connsiteX191" fmla="*/ 3750469 w 8601075"/>
                  <a:gd name="connsiteY191" fmla="*/ 4071938 h 4305300"/>
                  <a:gd name="connsiteX192" fmla="*/ 3810000 w 8601075"/>
                  <a:gd name="connsiteY192" fmla="*/ 4055269 h 4305300"/>
                  <a:gd name="connsiteX193" fmla="*/ 4160043 w 8601075"/>
                  <a:gd name="connsiteY193" fmla="*/ 4229100 h 4305300"/>
                  <a:gd name="connsiteX194" fmla="*/ 4386263 w 8601075"/>
                  <a:gd name="connsiteY194" fmla="*/ 4200525 h 4305300"/>
                  <a:gd name="connsiteX195" fmla="*/ 4395788 w 8601075"/>
                  <a:gd name="connsiteY195" fmla="*/ 4279106 h 4305300"/>
                  <a:gd name="connsiteX196" fmla="*/ 4481513 w 8601075"/>
                  <a:gd name="connsiteY196" fmla="*/ 4274343 h 4305300"/>
                  <a:gd name="connsiteX197" fmla="*/ 4560094 w 8601075"/>
                  <a:gd name="connsiteY197" fmla="*/ 4305300 h 4305300"/>
                  <a:gd name="connsiteX198" fmla="*/ 4602956 w 8601075"/>
                  <a:gd name="connsiteY198" fmla="*/ 4245769 h 4305300"/>
                  <a:gd name="connsiteX199" fmla="*/ 5274469 w 8601075"/>
                  <a:gd name="connsiteY199" fmla="*/ 3926681 h 4305300"/>
                  <a:gd name="connsiteX200" fmla="*/ 5362575 w 8601075"/>
                  <a:gd name="connsiteY200" fmla="*/ 3955257 h 4305300"/>
                  <a:gd name="connsiteX201" fmla="*/ 5493544 w 8601075"/>
                  <a:gd name="connsiteY201" fmla="*/ 3926681 h 4305300"/>
                  <a:gd name="connsiteX202" fmla="*/ 5672137 w 8601075"/>
                  <a:gd name="connsiteY202" fmla="*/ 3943350 h 4305300"/>
                  <a:gd name="connsiteX203" fmla="*/ 5729288 w 8601075"/>
                  <a:gd name="connsiteY203" fmla="*/ 3917157 h 4305300"/>
                  <a:gd name="connsiteX204" fmla="*/ 5862637 w 8601075"/>
                  <a:gd name="connsiteY204" fmla="*/ 3914775 h 4305300"/>
                  <a:gd name="connsiteX205" fmla="*/ 5995987 w 8601075"/>
                  <a:gd name="connsiteY205" fmla="*/ 3817144 h 4305300"/>
                  <a:gd name="connsiteX206" fmla="*/ 6062662 w 8601075"/>
                  <a:gd name="connsiteY206" fmla="*/ 3810000 h 4305300"/>
                  <a:gd name="connsiteX207" fmla="*/ 6160294 w 8601075"/>
                  <a:gd name="connsiteY207" fmla="*/ 3736181 h 4305300"/>
                  <a:gd name="connsiteX208" fmla="*/ 6234113 w 8601075"/>
                  <a:gd name="connsiteY208" fmla="*/ 3667125 h 4305300"/>
                  <a:gd name="connsiteX209" fmla="*/ 6243638 w 8601075"/>
                  <a:gd name="connsiteY209" fmla="*/ 3605213 h 4305300"/>
                  <a:gd name="connsiteX210" fmla="*/ 6276975 w 8601075"/>
                  <a:gd name="connsiteY210" fmla="*/ 3536156 h 4305300"/>
                  <a:gd name="connsiteX211" fmla="*/ 6429375 w 8601075"/>
                  <a:gd name="connsiteY211" fmla="*/ 3429000 h 4305300"/>
                  <a:gd name="connsiteX212" fmla="*/ 6462713 w 8601075"/>
                  <a:gd name="connsiteY212" fmla="*/ 3433763 h 4305300"/>
                  <a:gd name="connsiteX213" fmla="*/ 6515100 w 8601075"/>
                  <a:gd name="connsiteY213" fmla="*/ 3355181 h 4305300"/>
                  <a:gd name="connsiteX214" fmla="*/ 6562725 w 8601075"/>
                  <a:gd name="connsiteY214" fmla="*/ 3317081 h 4305300"/>
                  <a:gd name="connsiteX215" fmla="*/ 6548438 w 8601075"/>
                  <a:gd name="connsiteY215" fmla="*/ 3248025 h 4305300"/>
                  <a:gd name="connsiteX216" fmla="*/ 6498431 w 8601075"/>
                  <a:gd name="connsiteY216" fmla="*/ 3217068 h 4305300"/>
                  <a:gd name="connsiteX217" fmla="*/ 6438900 w 8601075"/>
                  <a:gd name="connsiteY217" fmla="*/ 3162300 h 4305300"/>
                  <a:gd name="connsiteX218" fmla="*/ 6419850 w 8601075"/>
                  <a:gd name="connsiteY218" fmla="*/ 3105150 h 4305300"/>
                  <a:gd name="connsiteX219" fmla="*/ 6384131 w 8601075"/>
                  <a:gd name="connsiteY219" fmla="*/ 3071813 h 4305300"/>
                  <a:gd name="connsiteX220" fmla="*/ 6410325 w 8601075"/>
                  <a:gd name="connsiteY220" fmla="*/ 3019425 h 4305300"/>
                  <a:gd name="connsiteX221" fmla="*/ 6450806 w 8601075"/>
                  <a:gd name="connsiteY221" fmla="*/ 2840831 h 4305300"/>
                  <a:gd name="connsiteX222" fmla="*/ 6491288 w 8601075"/>
                  <a:gd name="connsiteY222" fmla="*/ 2774156 h 4305300"/>
                  <a:gd name="connsiteX223" fmla="*/ 6636544 w 8601075"/>
                  <a:gd name="connsiteY223" fmla="*/ 2757487 h 4305300"/>
                  <a:gd name="connsiteX224" fmla="*/ 6705600 w 8601075"/>
                  <a:gd name="connsiteY224" fmla="*/ 2814638 h 4305300"/>
                  <a:gd name="connsiteX225" fmla="*/ 6781800 w 8601075"/>
                  <a:gd name="connsiteY225" fmla="*/ 2838450 h 4305300"/>
                  <a:gd name="connsiteX226" fmla="*/ 6986587 w 8601075"/>
                  <a:gd name="connsiteY226" fmla="*/ 2843213 h 4305300"/>
                  <a:gd name="connsiteX227" fmla="*/ 7162800 w 8601075"/>
                  <a:gd name="connsiteY227" fmla="*/ 2705100 h 4305300"/>
                  <a:gd name="connsiteX228" fmla="*/ 7219950 w 8601075"/>
                  <a:gd name="connsiteY228" fmla="*/ 2614612 h 4305300"/>
                  <a:gd name="connsiteX229" fmla="*/ 7246144 w 8601075"/>
                  <a:gd name="connsiteY229" fmla="*/ 2531269 h 4305300"/>
                  <a:gd name="connsiteX230" fmla="*/ 7377112 w 8601075"/>
                  <a:gd name="connsiteY230" fmla="*/ 2531269 h 4305300"/>
                  <a:gd name="connsiteX231" fmla="*/ 7550944 w 8601075"/>
                  <a:gd name="connsiteY231" fmla="*/ 2474118 h 4305300"/>
                  <a:gd name="connsiteX232" fmla="*/ 7610475 w 8601075"/>
                  <a:gd name="connsiteY232" fmla="*/ 2362200 h 4305300"/>
                  <a:gd name="connsiteX233" fmla="*/ 7674769 w 8601075"/>
                  <a:gd name="connsiteY233" fmla="*/ 2326481 h 4305300"/>
                  <a:gd name="connsiteX234" fmla="*/ 7653338 w 8601075"/>
                  <a:gd name="connsiteY234" fmla="*/ 2281238 h 4305300"/>
                  <a:gd name="connsiteX235" fmla="*/ 7731919 w 8601075"/>
                  <a:gd name="connsiteY235" fmla="*/ 2112168 h 4305300"/>
                  <a:gd name="connsiteX236" fmla="*/ 7786688 w 8601075"/>
                  <a:gd name="connsiteY236" fmla="*/ 2052638 h 4305300"/>
                  <a:gd name="connsiteX237" fmla="*/ 7824788 w 8601075"/>
                  <a:gd name="connsiteY237" fmla="*/ 2047875 h 4305300"/>
                  <a:gd name="connsiteX238" fmla="*/ 7870031 w 8601075"/>
                  <a:gd name="connsiteY238" fmla="*/ 2052638 h 4305300"/>
                  <a:gd name="connsiteX239" fmla="*/ 7934325 w 8601075"/>
                  <a:gd name="connsiteY239" fmla="*/ 2019300 h 4305300"/>
                  <a:gd name="connsiteX240" fmla="*/ 7943850 w 8601075"/>
                  <a:gd name="connsiteY240" fmla="*/ 1955006 h 4305300"/>
                  <a:gd name="connsiteX241" fmla="*/ 7984330 w 8601075"/>
                  <a:gd name="connsiteY241" fmla="*/ 1919288 h 4305300"/>
                  <a:gd name="connsiteX242" fmla="*/ 8043863 w 8601075"/>
                  <a:gd name="connsiteY242" fmla="*/ 1959768 h 4305300"/>
                  <a:gd name="connsiteX243" fmla="*/ 8070057 w 8601075"/>
                  <a:gd name="connsiteY243" fmla="*/ 1909762 h 4305300"/>
                  <a:gd name="connsiteX244" fmla="*/ 8165306 w 8601075"/>
                  <a:gd name="connsiteY244" fmla="*/ 1840706 h 4305300"/>
                  <a:gd name="connsiteX245" fmla="*/ 8227219 w 8601075"/>
                  <a:gd name="connsiteY245" fmla="*/ 1847850 h 4305300"/>
                  <a:gd name="connsiteX246" fmla="*/ 8277225 w 8601075"/>
                  <a:gd name="connsiteY246" fmla="*/ 1828800 h 4305300"/>
                  <a:gd name="connsiteX247" fmla="*/ 8315325 w 8601075"/>
                  <a:gd name="connsiteY247" fmla="*/ 1800225 h 4305300"/>
                  <a:gd name="connsiteX248" fmla="*/ 8348663 w 8601075"/>
                  <a:gd name="connsiteY248" fmla="*/ 1797844 h 4305300"/>
                  <a:gd name="connsiteX249" fmla="*/ 8384381 w 8601075"/>
                  <a:gd name="connsiteY249" fmla="*/ 1828800 h 4305300"/>
                  <a:gd name="connsiteX250" fmla="*/ 8443913 w 8601075"/>
                  <a:gd name="connsiteY250" fmla="*/ 1828800 h 4305300"/>
                  <a:gd name="connsiteX251" fmla="*/ 8482012 w 8601075"/>
                  <a:gd name="connsiteY251" fmla="*/ 1809750 h 4305300"/>
                  <a:gd name="connsiteX252" fmla="*/ 8565356 w 8601075"/>
                  <a:gd name="connsiteY252" fmla="*/ 1812132 h 4305300"/>
                  <a:gd name="connsiteX253" fmla="*/ 8596313 w 8601075"/>
                  <a:gd name="connsiteY253" fmla="*/ 1766888 h 4305300"/>
                  <a:gd name="connsiteX254" fmla="*/ 8601075 w 8601075"/>
                  <a:gd name="connsiteY254" fmla="*/ 1704975 h 4305300"/>
                  <a:gd name="connsiteX255" fmla="*/ 8551068 w 8601075"/>
                  <a:gd name="connsiteY255" fmla="*/ 1664494 h 4305300"/>
                  <a:gd name="connsiteX256" fmla="*/ 8534400 w 8601075"/>
                  <a:gd name="connsiteY256" fmla="*/ 1609725 h 4305300"/>
                  <a:gd name="connsiteX257" fmla="*/ 8443913 w 8601075"/>
                  <a:gd name="connsiteY257" fmla="*/ 1547813 h 4305300"/>
                  <a:gd name="connsiteX258" fmla="*/ 8403431 w 8601075"/>
                  <a:gd name="connsiteY258" fmla="*/ 1526381 h 4305300"/>
                  <a:gd name="connsiteX259" fmla="*/ 8365331 w 8601075"/>
                  <a:gd name="connsiteY259" fmla="*/ 1481138 h 4305300"/>
                  <a:gd name="connsiteX260" fmla="*/ 8334375 w 8601075"/>
                  <a:gd name="connsiteY260" fmla="*/ 1478756 h 4305300"/>
                  <a:gd name="connsiteX261" fmla="*/ 8317706 w 8601075"/>
                  <a:gd name="connsiteY261" fmla="*/ 1426369 h 4305300"/>
                  <a:gd name="connsiteX262" fmla="*/ 8277225 w 8601075"/>
                  <a:gd name="connsiteY262" fmla="*/ 1409700 h 4305300"/>
                  <a:gd name="connsiteX263" fmla="*/ 8277225 w 8601075"/>
                  <a:gd name="connsiteY263" fmla="*/ 1409700 h 4305300"/>
                  <a:gd name="connsiteX264" fmla="*/ 8236744 w 8601075"/>
                  <a:gd name="connsiteY264" fmla="*/ 1414463 h 4305300"/>
                  <a:gd name="connsiteX265" fmla="*/ 8151018 w 8601075"/>
                  <a:gd name="connsiteY265" fmla="*/ 1340644 h 4305300"/>
                  <a:gd name="connsiteX266" fmla="*/ 7970044 w 8601075"/>
                  <a:gd name="connsiteY266" fmla="*/ 1340643 h 4305300"/>
                  <a:gd name="connsiteX267" fmla="*/ 7917656 w 8601075"/>
                  <a:gd name="connsiteY267" fmla="*/ 1378744 h 4305300"/>
                  <a:gd name="connsiteX268" fmla="*/ 7867650 w 8601075"/>
                  <a:gd name="connsiteY268" fmla="*/ 1457325 h 4305300"/>
                  <a:gd name="connsiteX269" fmla="*/ 7884319 w 8601075"/>
                  <a:gd name="connsiteY269" fmla="*/ 1478756 h 4305300"/>
                  <a:gd name="connsiteX270" fmla="*/ 7839075 w 8601075"/>
                  <a:gd name="connsiteY270" fmla="*/ 1528762 h 4305300"/>
                  <a:gd name="connsiteX271" fmla="*/ 7689056 w 8601075"/>
                  <a:gd name="connsiteY271" fmla="*/ 1452562 h 4305300"/>
                  <a:gd name="connsiteX272" fmla="*/ 7598569 w 8601075"/>
                  <a:gd name="connsiteY272" fmla="*/ 1488281 h 4305300"/>
                  <a:gd name="connsiteX273" fmla="*/ 7524750 w 8601075"/>
                  <a:gd name="connsiteY273" fmla="*/ 1485900 h 4305300"/>
                  <a:gd name="connsiteX274" fmla="*/ 7467600 w 8601075"/>
                  <a:gd name="connsiteY274" fmla="*/ 1581150 h 4305300"/>
                  <a:gd name="connsiteX275" fmla="*/ 7329488 w 8601075"/>
                  <a:gd name="connsiteY27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00075 h 4305300"/>
                  <a:gd name="connsiteX14" fmla="*/ 6600825 w 8601075"/>
                  <a:gd name="connsiteY14" fmla="*/ 904875 h 4305300"/>
                  <a:gd name="connsiteX15" fmla="*/ 6600825 w 8601075"/>
                  <a:gd name="connsiteY15" fmla="*/ 904875 h 4305300"/>
                  <a:gd name="connsiteX16" fmla="*/ 6534150 w 8601075"/>
                  <a:gd name="connsiteY16" fmla="*/ 942975 h 4305300"/>
                  <a:gd name="connsiteX17" fmla="*/ 6534150 w 8601075"/>
                  <a:gd name="connsiteY17" fmla="*/ 942975 h 4305300"/>
                  <a:gd name="connsiteX18" fmla="*/ 6362700 w 8601075"/>
                  <a:gd name="connsiteY18" fmla="*/ 1009650 h 4305300"/>
                  <a:gd name="connsiteX19" fmla="*/ 6238875 w 8601075"/>
                  <a:gd name="connsiteY19" fmla="*/ 1057275 h 4305300"/>
                  <a:gd name="connsiteX20" fmla="*/ 6115050 w 8601075"/>
                  <a:gd name="connsiteY20" fmla="*/ 1114425 h 4305300"/>
                  <a:gd name="connsiteX21" fmla="*/ 5962650 w 8601075"/>
                  <a:gd name="connsiteY21" fmla="*/ 1190625 h 4305300"/>
                  <a:gd name="connsiteX22" fmla="*/ 5895975 w 8601075"/>
                  <a:gd name="connsiteY22" fmla="*/ 1143000 h 4305300"/>
                  <a:gd name="connsiteX23" fmla="*/ 5895975 w 8601075"/>
                  <a:gd name="connsiteY23" fmla="*/ 1143000 h 4305300"/>
                  <a:gd name="connsiteX24" fmla="*/ 5676900 w 8601075"/>
                  <a:gd name="connsiteY24" fmla="*/ 1181100 h 4305300"/>
                  <a:gd name="connsiteX25" fmla="*/ 5600700 w 8601075"/>
                  <a:gd name="connsiteY25" fmla="*/ 1114425 h 4305300"/>
                  <a:gd name="connsiteX26" fmla="*/ 5391150 w 8601075"/>
                  <a:gd name="connsiteY26" fmla="*/ 1123950 h 4305300"/>
                  <a:gd name="connsiteX27" fmla="*/ 5334000 w 8601075"/>
                  <a:gd name="connsiteY27" fmla="*/ 1066800 h 4305300"/>
                  <a:gd name="connsiteX28" fmla="*/ 5248275 w 8601075"/>
                  <a:gd name="connsiteY28" fmla="*/ 981075 h 4305300"/>
                  <a:gd name="connsiteX29" fmla="*/ 5238750 w 8601075"/>
                  <a:gd name="connsiteY29" fmla="*/ 895350 h 4305300"/>
                  <a:gd name="connsiteX30" fmla="*/ 5133975 w 8601075"/>
                  <a:gd name="connsiteY30" fmla="*/ 895350 h 4305300"/>
                  <a:gd name="connsiteX31" fmla="*/ 4991100 w 8601075"/>
                  <a:gd name="connsiteY31" fmla="*/ 838200 h 4305300"/>
                  <a:gd name="connsiteX32" fmla="*/ 4905375 w 8601075"/>
                  <a:gd name="connsiteY32" fmla="*/ 771525 h 4305300"/>
                  <a:gd name="connsiteX33" fmla="*/ 4905375 w 8601075"/>
                  <a:gd name="connsiteY33" fmla="*/ 771525 h 4305300"/>
                  <a:gd name="connsiteX34" fmla="*/ 4781550 w 8601075"/>
                  <a:gd name="connsiteY34" fmla="*/ 762000 h 4305300"/>
                  <a:gd name="connsiteX35" fmla="*/ 4648200 w 8601075"/>
                  <a:gd name="connsiteY35" fmla="*/ 714375 h 4305300"/>
                  <a:gd name="connsiteX36" fmla="*/ 4581525 w 8601075"/>
                  <a:gd name="connsiteY36" fmla="*/ 695325 h 4305300"/>
                  <a:gd name="connsiteX37" fmla="*/ 4495800 w 8601075"/>
                  <a:gd name="connsiteY37" fmla="*/ 742950 h 4305300"/>
                  <a:gd name="connsiteX38" fmla="*/ 4343400 w 8601075"/>
                  <a:gd name="connsiteY38" fmla="*/ 781050 h 4305300"/>
                  <a:gd name="connsiteX39" fmla="*/ 4252913 w 8601075"/>
                  <a:gd name="connsiteY39" fmla="*/ 862013 h 4305300"/>
                  <a:gd name="connsiteX40" fmla="*/ 4205287 w 8601075"/>
                  <a:gd name="connsiteY40" fmla="*/ 823913 h 4305300"/>
                  <a:gd name="connsiteX41" fmla="*/ 4183856 w 8601075"/>
                  <a:gd name="connsiteY41" fmla="*/ 854868 h 4305300"/>
                  <a:gd name="connsiteX42" fmla="*/ 4110038 w 8601075"/>
                  <a:gd name="connsiteY42" fmla="*/ 804863 h 4305300"/>
                  <a:gd name="connsiteX43" fmla="*/ 4071938 w 8601075"/>
                  <a:gd name="connsiteY43" fmla="*/ 812006 h 4305300"/>
                  <a:gd name="connsiteX44" fmla="*/ 4050506 w 8601075"/>
                  <a:gd name="connsiteY44" fmla="*/ 773906 h 4305300"/>
                  <a:gd name="connsiteX45" fmla="*/ 3990975 w 8601075"/>
                  <a:gd name="connsiteY45" fmla="*/ 778669 h 4305300"/>
                  <a:gd name="connsiteX46" fmla="*/ 3945731 w 8601075"/>
                  <a:gd name="connsiteY46" fmla="*/ 750094 h 4305300"/>
                  <a:gd name="connsiteX47" fmla="*/ 3907631 w 8601075"/>
                  <a:gd name="connsiteY47" fmla="*/ 747713 h 4305300"/>
                  <a:gd name="connsiteX48" fmla="*/ 3888581 w 8601075"/>
                  <a:gd name="connsiteY48" fmla="*/ 700087 h 4305300"/>
                  <a:gd name="connsiteX49" fmla="*/ 3874294 w 8601075"/>
                  <a:gd name="connsiteY49" fmla="*/ 669131 h 4305300"/>
                  <a:gd name="connsiteX50" fmla="*/ 3829050 w 8601075"/>
                  <a:gd name="connsiteY50" fmla="*/ 678656 h 4305300"/>
                  <a:gd name="connsiteX51" fmla="*/ 3810000 w 8601075"/>
                  <a:gd name="connsiteY51" fmla="*/ 642938 h 4305300"/>
                  <a:gd name="connsiteX52" fmla="*/ 3831432 w 8601075"/>
                  <a:gd name="connsiteY52" fmla="*/ 588169 h 4305300"/>
                  <a:gd name="connsiteX53" fmla="*/ 3800475 w 8601075"/>
                  <a:gd name="connsiteY53" fmla="*/ 561975 h 4305300"/>
                  <a:gd name="connsiteX54" fmla="*/ 3817144 w 8601075"/>
                  <a:gd name="connsiteY54" fmla="*/ 519113 h 4305300"/>
                  <a:gd name="connsiteX55" fmla="*/ 3790950 w 8601075"/>
                  <a:gd name="connsiteY55" fmla="*/ 476250 h 4305300"/>
                  <a:gd name="connsiteX56" fmla="*/ 3786188 w 8601075"/>
                  <a:gd name="connsiteY56" fmla="*/ 414338 h 4305300"/>
                  <a:gd name="connsiteX57" fmla="*/ 3810000 w 8601075"/>
                  <a:gd name="connsiteY57" fmla="*/ 350043 h 4305300"/>
                  <a:gd name="connsiteX58" fmla="*/ 3771900 w 8601075"/>
                  <a:gd name="connsiteY58" fmla="*/ 352425 h 4305300"/>
                  <a:gd name="connsiteX59" fmla="*/ 3652838 w 8601075"/>
                  <a:gd name="connsiteY59" fmla="*/ 295275 h 4305300"/>
                  <a:gd name="connsiteX60" fmla="*/ 3614737 w 8601075"/>
                  <a:gd name="connsiteY60" fmla="*/ 300037 h 4305300"/>
                  <a:gd name="connsiteX61" fmla="*/ 3409950 w 8601075"/>
                  <a:gd name="connsiteY61" fmla="*/ 190500 h 4305300"/>
                  <a:gd name="connsiteX62" fmla="*/ 3305175 w 8601075"/>
                  <a:gd name="connsiteY62" fmla="*/ 159544 h 4305300"/>
                  <a:gd name="connsiteX63" fmla="*/ 3240881 w 8601075"/>
                  <a:gd name="connsiteY63" fmla="*/ 169068 h 4305300"/>
                  <a:gd name="connsiteX64" fmla="*/ 3209925 w 8601075"/>
                  <a:gd name="connsiteY64" fmla="*/ 104775 h 4305300"/>
                  <a:gd name="connsiteX65" fmla="*/ 3152775 w 8601075"/>
                  <a:gd name="connsiteY65" fmla="*/ 104775 h 4305300"/>
                  <a:gd name="connsiteX66" fmla="*/ 3014662 w 8601075"/>
                  <a:gd name="connsiteY66" fmla="*/ 0 h 4305300"/>
                  <a:gd name="connsiteX67" fmla="*/ 2981325 w 8601075"/>
                  <a:gd name="connsiteY67" fmla="*/ 59532 h 4305300"/>
                  <a:gd name="connsiteX68" fmla="*/ 2926556 w 8601075"/>
                  <a:gd name="connsiteY68" fmla="*/ 128588 h 4305300"/>
                  <a:gd name="connsiteX69" fmla="*/ 2883694 w 8601075"/>
                  <a:gd name="connsiteY69" fmla="*/ 145256 h 4305300"/>
                  <a:gd name="connsiteX70" fmla="*/ 2852738 w 8601075"/>
                  <a:gd name="connsiteY70" fmla="*/ 138113 h 4305300"/>
                  <a:gd name="connsiteX71" fmla="*/ 2828925 w 8601075"/>
                  <a:gd name="connsiteY71" fmla="*/ 166688 h 4305300"/>
                  <a:gd name="connsiteX72" fmla="*/ 2802731 w 8601075"/>
                  <a:gd name="connsiteY72" fmla="*/ 245269 h 4305300"/>
                  <a:gd name="connsiteX73" fmla="*/ 2759869 w 8601075"/>
                  <a:gd name="connsiteY73" fmla="*/ 242888 h 4305300"/>
                  <a:gd name="connsiteX74" fmla="*/ 2728912 w 8601075"/>
                  <a:gd name="connsiteY74" fmla="*/ 304800 h 4305300"/>
                  <a:gd name="connsiteX75" fmla="*/ 2724150 w 8601075"/>
                  <a:gd name="connsiteY75" fmla="*/ 369094 h 4305300"/>
                  <a:gd name="connsiteX76" fmla="*/ 2697957 w 8601075"/>
                  <a:gd name="connsiteY76" fmla="*/ 407194 h 4305300"/>
                  <a:gd name="connsiteX77" fmla="*/ 2724150 w 8601075"/>
                  <a:gd name="connsiteY77" fmla="*/ 466725 h 4305300"/>
                  <a:gd name="connsiteX78" fmla="*/ 2726531 w 8601075"/>
                  <a:gd name="connsiteY78" fmla="*/ 535781 h 4305300"/>
                  <a:gd name="connsiteX79" fmla="*/ 2755106 w 8601075"/>
                  <a:gd name="connsiteY79" fmla="*/ 588169 h 4305300"/>
                  <a:gd name="connsiteX80" fmla="*/ 2802732 w 8601075"/>
                  <a:gd name="connsiteY80" fmla="*/ 642938 h 4305300"/>
                  <a:gd name="connsiteX81" fmla="*/ 2752725 w 8601075"/>
                  <a:gd name="connsiteY81" fmla="*/ 781050 h 4305300"/>
                  <a:gd name="connsiteX82" fmla="*/ 2683669 w 8601075"/>
                  <a:gd name="connsiteY82" fmla="*/ 847725 h 4305300"/>
                  <a:gd name="connsiteX83" fmla="*/ 2612231 w 8601075"/>
                  <a:gd name="connsiteY83" fmla="*/ 842963 h 4305300"/>
                  <a:gd name="connsiteX84" fmla="*/ 2574131 w 8601075"/>
                  <a:gd name="connsiteY84" fmla="*/ 900113 h 4305300"/>
                  <a:gd name="connsiteX85" fmla="*/ 2514600 w 8601075"/>
                  <a:gd name="connsiteY85" fmla="*/ 914400 h 4305300"/>
                  <a:gd name="connsiteX86" fmla="*/ 2445544 w 8601075"/>
                  <a:gd name="connsiteY86" fmla="*/ 854869 h 4305300"/>
                  <a:gd name="connsiteX87" fmla="*/ 2390775 w 8601075"/>
                  <a:gd name="connsiteY87" fmla="*/ 826294 h 4305300"/>
                  <a:gd name="connsiteX88" fmla="*/ 2347913 w 8601075"/>
                  <a:gd name="connsiteY88" fmla="*/ 840581 h 4305300"/>
                  <a:gd name="connsiteX89" fmla="*/ 2295525 w 8601075"/>
                  <a:gd name="connsiteY89" fmla="*/ 823913 h 4305300"/>
                  <a:gd name="connsiteX90" fmla="*/ 2228850 w 8601075"/>
                  <a:gd name="connsiteY90" fmla="*/ 769144 h 4305300"/>
                  <a:gd name="connsiteX91" fmla="*/ 2183606 w 8601075"/>
                  <a:gd name="connsiteY91" fmla="*/ 781050 h 4305300"/>
                  <a:gd name="connsiteX92" fmla="*/ 2162175 w 8601075"/>
                  <a:gd name="connsiteY92" fmla="*/ 750094 h 4305300"/>
                  <a:gd name="connsiteX93" fmla="*/ 2105025 w 8601075"/>
                  <a:gd name="connsiteY93" fmla="*/ 790575 h 4305300"/>
                  <a:gd name="connsiteX94" fmla="*/ 1988344 w 8601075"/>
                  <a:gd name="connsiteY94" fmla="*/ 769144 h 4305300"/>
                  <a:gd name="connsiteX95" fmla="*/ 1938338 w 8601075"/>
                  <a:gd name="connsiteY95" fmla="*/ 716756 h 4305300"/>
                  <a:gd name="connsiteX96" fmla="*/ 1895475 w 8601075"/>
                  <a:gd name="connsiteY96" fmla="*/ 702469 h 4305300"/>
                  <a:gd name="connsiteX97" fmla="*/ 1852613 w 8601075"/>
                  <a:gd name="connsiteY97" fmla="*/ 728663 h 4305300"/>
                  <a:gd name="connsiteX98" fmla="*/ 1800225 w 8601075"/>
                  <a:gd name="connsiteY98" fmla="*/ 638175 h 4305300"/>
                  <a:gd name="connsiteX99" fmla="*/ 1790700 w 8601075"/>
                  <a:gd name="connsiteY99" fmla="*/ 490537 h 4305300"/>
                  <a:gd name="connsiteX100" fmla="*/ 1738312 w 8601075"/>
                  <a:gd name="connsiteY100" fmla="*/ 483393 h 4305300"/>
                  <a:gd name="connsiteX101" fmla="*/ 1647825 w 8601075"/>
                  <a:gd name="connsiteY101" fmla="*/ 473869 h 4305300"/>
                  <a:gd name="connsiteX102" fmla="*/ 1593056 w 8601075"/>
                  <a:gd name="connsiteY102" fmla="*/ 435769 h 4305300"/>
                  <a:gd name="connsiteX103" fmla="*/ 1524000 w 8601075"/>
                  <a:gd name="connsiteY103" fmla="*/ 445294 h 4305300"/>
                  <a:gd name="connsiteX104" fmla="*/ 1478756 w 8601075"/>
                  <a:gd name="connsiteY104" fmla="*/ 419100 h 4305300"/>
                  <a:gd name="connsiteX105" fmla="*/ 1469232 w 8601075"/>
                  <a:gd name="connsiteY105" fmla="*/ 347663 h 4305300"/>
                  <a:gd name="connsiteX106" fmla="*/ 1445419 w 8601075"/>
                  <a:gd name="connsiteY106" fmla="*/ 333375 h 4305300"/>
                  <a:gd name="connsiteX107" fmla="*/ 1407319 w 8601075"/>
                  <a:gd name="connsiteY107" fmla="*/ 380999 h 4305300"/>
                  <a:gd name="connsiteX108" fmla="*/ 1328737 w 8601075"/>
                  <a:gd name="connsiteY108" fmla="*/ 307181 h 4305300"/>
                  <a:gd name="connsiteX109" fmla="*/ 1288256 w 8601075"/>
                  <a:gd name="connsiteY109" fmla="*/ 347663 h 4305300"/>
                  <a:gd name="connsiteX110" fmla="*/ 1212056 w 8601075"/>
                  <a:gd name="connsiteY110" fmla="*/ 333375 h 4305300"/>
                  <a:gd name="connsiteX111" fmla="*/ 1133475 w 8601075"/>
                  <a:gd name="connsiteY111" fmla="*/ 359569 h 4305300"/>
                  <a:gd name="connsiteX112" fmla="*/ 1073944 w 8601075"/>
                  <a:gd name="connsiteY112" fmla="*/ 407193 h 4305300"/>
                  <a:gd name="connsiteX113" fmla="*/ 1000125 w 8601075"/>
                  <a:gd name="connsiteY113" fmla="*/ 419100 h 4305300"/>
                  <a:gd name="connsiteX114" fmla="*/ 964406 w 8601075"/>
                  <a:gd name="connsiteY114" fmla="*/ 411956 h 4305300"/>
                  <a:gd name="connsiteX115" fmla="*/ 885826 w 8601075"/>
                  <a:gd name="connsiteY115" fmla="*/ 442913 h 4305300"/>
                  <a:gd name="connsiteX116" fmla="*/ 864394 w 8601075"/>
                  <a:gd name="connsiteY116" fmla="*/ 471488 h 4305300"/>
                  <a:gd name="connsiteX117" fmla="*/ 797719 w 8601075"/>
                  <a:gd name="connsiteY117" fmla="*/ 461963 h 4305300"/>
                  <a:gd name="connsiteX118" fmla="*/ 728663 w 8601075"/>
                  <a:gd name="connsiteY118" fmla="*/ 485775 h 4305300"/>
                  <a:gd name="connsiteX119" fmla="*/ 673894 w 8601075"/>
                  <a:gd name="connsiteY119" fmla="*/ 523875 h 4305300"/>
                  <a:gd name="connsiteX120" fmla="*/ 578644 w 8601075"/>
                  <a:gd name="connsiteY120" fmla="*/ 538162 h 4305300"/>
                  <a:gd name="connsiteX121" fmla="*/ 564356 w 8601075"/>
                  <a:gd name="connsiteY121" fmla="*/ 559594 h 4305300"/>
                  <a:gd name="connsiteX122" fmla="*/ 576262 w 8601075"/>
                  <a:gd name="connsiteY122" fmla="*/ 604838 h 4305300"/>
                  <a:gd name="connsiteX123" fmla="*/ 476251 w 8601075"/>
                  <a:gd name="connsiteY123" fmla="*/ 657225 h 4305300"/>
                  <a:gd name="connsiteX124" fmla="*/ 438150 w 8601075"/>
                  <a:gd name="connsiteY124" fmla="*/ 628649 h 4305300"/>
                  <a:gd name="connsiteX125" fmla="*/ 407194 w 8601075"/>
                  <a:gd name="connsiteY125" fmla="*/ 685800 h 4305300"/>
                  <a:gd name="connsiteX126" fmla="*/ 350044 w 8601075"/>
                  <a:gd name="connsiteY126" fmla="*/ 647700 h 4305300"/>
                  <a:gd name="connsiteX127" fmla="*/ 314325 w 8601075"/>
                  <a:gd name="connsiteY127" fmla="*/ 676275 h 4305300"/>
                  <a:gd name="connsiteX128" fmla="*/ 278606 w 8601075"/>
                  <a:gd name="connsiteY128" fmla="*/ 640556 h 4305300"/>
                  <a:gd name="connsiteX129" fmla="*/ 226219 w 8601075"/>
                  <a:gd name="connsiteY129" fmla="*/ 652463 h 4305300"/>
                  <a:gd name="connsiteX130" fmla="*/ 180975 w 8601075"/>
                  <a:gd name="connsiteY130" fmla="*/ 623888 h 4305300"/>
                  <a:gd name="connsiteX131" fmla="*/ 157163 w 8601075"/>
                  <a:gd name="connsiteY131" fmla="*/ 642938 h 4305300"/>
                  <a:gd name="connsiteX132" fmla="*/ 133350 w 8601075"/>
                  <a:gd name="connsiteY132" fmla="*/ 702469 h 4305300"/>
                  <a:gd name="connsiteX133" fmla="*/ 61913 w 8601075"/>
                  <a:gd name="connsiteY133" fmla="*/ 740568 h 4305300"/>
                  <a:gd name="connsiteX134" fmla="*/ 28575 w 8601075"/>
                  <a:gd name="connsiteY134" fmla="*/ 769144 h 4305300"/>
                  <a:gd name="connsiteX135" fmla="*/ 33338 w 8601075"/>
                  <a:gd name="connsiteY135" fmla="*/ 812006 h 4305300"/>
                  <a:gd name="connsiteX136" fmla="*/ 0 w 8601075"/>
                  <a:gd name="connsiteY136" fmla="*/ 816769 h 4305300"/>
                  <a:gd name="connsiteX137" fmla="*/ 4763 w 8601075"/>
                  <a:gd name="connsiteY137" fmla="*/ 840581 h 4305300"/>
                  <a:gd name="connsiteX138" fmla="*/ 61912 w 8601075"/>
                  <a:gd name="connsiteY138" fmla="*/ 914400 h 4305300"/>
                  <a:gd name="connsiteX139" fmla="*/ 23813 w 8601075"/>
                  <a:gd name="connsiteY139" fmla="*/ 962025 h 4305300"/>
                  <a:gd name="connsiteX140" fmla="*/ 78581 w 8601075"/>
                  <a:gd name="connsiteY140" fmla="*/ 997744 h 4305300"/>
                  <a:gd name="connsiteX141" fmla="*/ 169069 w 8601075"/>
                  <a:gd name="connsiteY141" fmla="*/ 1085850 h 4305300"/>
                  <a:gd name="connsiteX142" fmla="*/ 171450 w 8601075"/>
                  <a:gd name="connsiteY142" fmla="*/ 1145381 h 4305300"/>
                  <a:gd name="connsiteX143" fmla="*/ 307181 w 8601075"/>
                  <a:gd name="connsiteY143" fmla="*/ 1278732 h 4305300"/>
                  <a:gd name="connsiteX144" fmla="*/ 361950 w 8601075"/>
                  <a:gd name="connsiteY144" fmla="*/ 1254919 h 4305300"/>
                  <a:gd name="connsiteX145" fmla="*/ 400050 w 8601075"/>
                  <a:gd name="connsiteY145" fmla="*/ 1281112 h 4305300"/>
                  <a:gd name="connsiteX146" fmla="*/ 414338 w 8601075"/>
                  <a:gd name="connsiteY146" fmla="*/ 1331118 h 4305300"/>
                  <a:gd name="connsiteX147" fmla="*/ 457200 w 8601075"/>
                  <a:gd name="connsiteY147" fmla="*/ 1366838 h 4305300"/>
                  <a:gd name="connsiteX148" fmla="*/ 497681 w 8601075"/>
                  <a:gd name="connsiteY148" fmla="*/ 1354931 h 4305300"/>
                  <a:gd name="connsiteX149" fmla="*/ 516731 w 8601075"/>
                  <a:gd name="connsiteY149" fmla="*/ 1412081 h 4305300"/>
                  <a:gd name="connsiteX150" fmla="*/ 564356 w 8601075"/>
                  <a:gd name="connsiteY150" fmla="*/ 1454944 h 4305300"/>
                  <a:gd name="connsiteX151" fmla="*/ 588169 w 8601075"/>
                  <a:gd name="connsiteY151" fmla="*/ 1557338 h 4305300"/>
                  <a:gd name="connsiteX152" fmla="*/ 585788 w 8601075"/>
                  <a:gd name="connsiteY152" fmla="*/ 1604963 h 4305300"/>
                  <a:gd name="connsiteX153" fmla="*/ 621506 w 8601075"/>
                  <a:gd name="connsiteY153" fmla="*/ 1704975 h 4305300"/>
                  <a:gd name="connsiteX154" fmla="*/ 666750 w 8601075"/>
                  <a:gd name="connsiteY154" fmla="*/ 1762125 h 4305300"/>
                  <a:gd name="connsiteX155" fmla="*/ 683418 w 8601075"/>
                  <a:gd name="connsiteY155" fmla="*/ 1919287 h 4305300"/>
                  <a:gd name="connsiteX156" fmla="*/ 650081 w 8601075"/>
                  <a:gd name="connsiteY156" fmla="*/ 1981200 h 4305300"/>
                  <a:gd name="connsiteX157" fmla="*/ 619125 w 8601075"/>
                  <a:gd name="connsiteY157" fmla="*/ 2057400 h 4305300"/>
                  <a:gd name="connsiteX158" fmla="*/ 633413 w 8601075"/>
                  <a:gd name="connsiteY158" fmla="*/ 2114550 h 4305300"/>
                  <a:gd name="connsiteX159" fmla="*/ 535781 w 8601075"/>
                  <a:gd name="connsiteY159" fmla="*/ 2221707 h 4305300"/>
                  <a:gd name="connsiteX160" fmla="*/ 492919 w 8601075"/>
                  <a:gd name="connsiteY160" fmla="*/ 2336006 h 4305300"/>
                  <a:gd name="connsiteX161" fmla="*/ 526256 w 8601075"/>
                  <a:gd name="connsiteY161" fmla="*/ 2376488 h 4305300"/>
                  <a:gd name="connsiteX162" fmla="*/ 509588 w 8601075"/>
                  <a:gd name="connsiteY162" fmla="*/ 2405063 h 4305300"/>
                  <a:gd name="connsiteX163" fmla="*/ 540544 w 8601075"/>
                  <a:gd name="connsiteY163" fmla="*/ 2462213 h 4305300"/>
                  <a:gd name="connsiteX164" fmla="*/ 569119 w 8601075"/>
                  <a:gd name="connsiteY164" fmla="*/ 2462213 h 4305300"/>
                  <a:gd name="connsiteX165" fmla="*/ 731044 w 8601075"/>
                  <a:gd name="connsiteY165" fmla="*/ 2564606 h 4305300"/>
                  <a:gd name="connsiteX166" fmla="*/ 835819 w 8601075"/>
                  <a:gd name="connsiteY166" fmla="*/ 2562225 h 4305300"/>
                  <a:gd name="connsiteX167" fmla="*/ 914400 w 8601075"/>
                  <a:gd name="connsiteY167" fmla="*/ 2616994 h 4305300"/>
                  <a:gd name="connsiteX168" fmla="*/ 1045368 w 8601075"/>
                  <a:gd name="connsiteY168" fmla="*/ 2619375 h 4305300"/>
                  <a:gd name="connsiteX169" fmla="*/ 1235868 w 8601075"/>
                  <a:gd name="connsiteY169" fmla="*/ 2688431 h 4305300"/>
                  <a:gd name="connsiteX170" fmla="*/ 1438275 w 8601075"/>
                  <a:gd name="connsiteY170" fmla="*/ 2838450 h 4305300"/>
                  <a:gd name="connsiteX171" fmla="*/ 1471612 w 8601075"/>
                  <a:gd name="connsiteY171" fmla="*/ 2905125 h 4305300"/>
                  <a:gd name="connsiteX172" fmla="*/ 1638300 w 8601075"/>
                  <a:gd name="connsiteY172" fmla="*/ 3031331 h 4305300"/>
                  <a:gd name="connsiteX173" fmla="*/ 1709738 w 8601075"/>
                  <a:gd name="connsiteY173" fmla="*/ 3026569 h 4305300"/>
                  <a:gd name="connsiteX174" fmla="*/ 1745457 w 8601075"/>
                  <a:gd name="connsiteY174" fmla="*/ 3050381 h 4305300"/>
                  <a:gd name="connsiteX175" fmla="*/ 1716881 w 8601075"/>
                  <a:gd name="connsiteY175" fmla="*/ 3090863 h 4305300"/>
                  <a:gd name="connsiteX176" fmla="*/ 1724025 w 8601075"/>
                  <a:gd name="connsiteY176" fmla="*/ 3143250 h 4305300"/>
                  <a:gd name="connsiteX177" fmla="*/ 1776413 w 8601075"/>
                  <a:gd name="connsiteY177" fmla="*/ 3169444 h 4305300"/>
                  <a:gd name="connsiteX178" fmla="*/ 1838325 w 8601075"/>
                  <a:gd name="connsiteY178" fmla="*/ 3393282 h 4305300"/>
                  <a:gd name="connsiteX179" fmla="*/ 1828800 w 8601075"/>
                  <a:gd name="connsiteY179" fmla="*/ 3457575 h 4305300"/>
                  <a:gd name="connsiteX180" fmla="*/ 1964531 w 8601075"/>
                  <a:gd name="connsiteY180" fmla="*/ 3624263 h 4305300"/>
                  <a:gd name="connsiteX181" fmla="*/ 1983581 w 8601075"/>
                  <a:gd name="connsiteY181" fmla="*/ 3674269 h 4305300"/>
                  <a:gd name="connsiteX182" fmla="*/ 1957388 w 8601075"/>
                  <a:gd name="connsiteY182" fmla="*/ 3693319 h 4305300"/>
                  <a:gd name="connsiteX183" fmla="*/ 2059781 w 8601075"/>
                  <a:gd name="connsiteY183" fmla="*/ 3702844 h 4305300"/>
                  <a:gd name="connsiteX184" fmla="*/ 2171700 w 8601075"/>
                  <a:gd name="connsiteY184" fmla="*/ 3690938 h 4305300"/>
                  <a:gd name="connsiteX185" fmla="*/ 2450306 w 8601075"/>
                  <a:gd name="connsiteY185" fmla="*/ 3774281 h 4305300"/>
                  <a:gd name="connsiteX186" fmla="*/ 2857500 w 8601075"/>
                  <a:gd name="connsiteY186" fmla="*/ 3855244 h 4305300"/>
                  <a:gd name="connsiteX187" fmla="*/ 3055144 w 8601075"/>
                  <a:gd name="connsiteY187" fmla="*/ 3824287 h 4305300"/>
                  <a:gd name="connsiteX188" fmla="*/ 3100388 w 8601075"/>
                  <a:gd name="connsiteY188" fmla="*/ 3836193 h 4305300"/>
                  <a:gd name="connsiteX189" fmla="*/ 3155156 w 8601075"/>
                  <a:gd name="connsiteY189" fmla="*/ 3812382 h 4305300"/>
                  <a:gd name="connsiteX190" fmla="*/ 3548062 w 8601075"/>
                  <a:gd name="connsiteY190" fmla="*/ 3902869 h 4305300"/>
                  <a:gd name="connsiteX191" fmla="*/ 3631407 w 8601075"/>
                  <a:gd name="connsiteY191" fmla="*/ 4000500 h 4305300"/>
                  <a:gd name="connsiteX192" fmla="*/ 3750469 w 8601075"/>
                  <a:gd name="connsiteY192" fmla="*/ 4071938 h 4305300"/>
                  <a:gd name="connsiteX193" fmla="*/ 3810000 w 8601075"/>
                  <a:gd name="connsiteY193" fmla="*/ 4055269 h 4305300"/>
                  <a:gd name="connsiteX194" fmla="*/ 4160043 w 8601075"/>
                  <a:gd name="connsiteY194" fmla="*/ 4229100 h 4305300"/>
                  <a:gd name="connsiteX195" fmla="*/ 4386263 w 8601075"/>
                  <a:gd name="connsiteY195" fmla="*/ 4200525 h 4305300"/>
                  <a:gd name="connsiteX196" fmla="*/ 4395788 w 8601075"/>
                  <a:gd name="connsiteY196" fmla="*/ 4279106 h 4305300"/>
                  <a:gd name="connsiteX197" fmla="*/ 4481513 w 8601075"/>
                  <a:gd name="connsiteY197" fmla="*/ 4274343 h 4305300"/>
                  <a:gd name="connsiteX198" fmla="*/ 4560094 w 8601075"/>
                  <a:gd name="connsiteY198" fmla="*/ 4305300 h 4305300"/>
                  <a:gd name="connsiteX199" fmla="*/ 4602956 w 8601075"/>
                  <a:gd name="connsiteY199" fmla="*/ 4245769 h 4305300"/>
                  <a:gd name="connsiteX200" fmla="*/ 5274469 w 8601075"/>
                  <a:gd name="connsiteY200" fmla="*/ 3926681 h 4305300"/>
                  <a:gd name="connsiteX201" fmla="*/ 5362575 w 8601075"/>
                  <a:gd name="connsiteY201" fmla="*/ 3955257 h 4305300"/>
                  <a:gd name="connsiteX202" fmla="*/ 5493544 w 8601075"/>
                  <a:gd name="connsiteY202" fmla="*/ 3926681 h 4305300"/>
                  <a:gd name="connsiteX203" fmla="*/ 5672137 w 8601075"/>
                  <a:gd name="connsiteY203" fmla="*/ 3943350 h 4305300"/>
                  <a:gd name="connsiteX204" fmla="*/ 5729288 w 8601075"/>
                  <a:gd name="connsiteY204" fmla="*/ 3917157 h 4305300"/>
                  <a:gd name="connsiteX205" fmla="*/ 5862637 w 8601075"/>
                  <a:gd name="connsiteY205" fmla="*/ 3914775 h 4305300"/>
                  <a:gd name="connsiteX206" fmla="*/ 5995987 w 8601075"/>
                  <a:gd name="connsiteY206" fmla="*/ 3817144 h 4305300"/>
                  <a:gd name="connsiteX207" fmla="*/ 6062662 w 8601075"/>
                  <a:gd name="connsiteY207" fmla="*/ 3810000 h 4305300"/>
                  <a:gd name="connsiteX208" fmla="*/ 6160294 w 8601075"/>
                  <a:gd name="connsiteY208" fmla="*/ 3736181 h 4305300"/>
                  <a:gd name="connsiteX209" fmla="*/ 6234113 w 8601075"/>
                  <a:gd name="connsiteY209" fmla="*/ 3667125 h 4305300"/>
                  <a:gd name="connsiteX210" fmla="*/ 6243638 w 8601075"/>
                  <a:gd name="connsiteY210" fmla="*/ 3605213 h 4305300"/>
                  <a:gd name="connsiteX211" fmla="*/ 6276975 w 8601075"/>
                  <a:gd name="connsiteY211" fmla="*/ 3536156 h 4305300"/>
                  <a:gd name="connsiteX212" fmla="*/ 6429375 w 8601075"/>
                  <a:gd name="connsiteY212" fmla="*/ 3429000 h 4305300"/>
                  <a:gd name="connsiteX213" fmla="*/ 6462713 w 8601075"/>
                  <a:gd name="connsiteY213" fmla="*/ 3433763 h 4305300"/>
                  <a:gd name="connsiteX214" fmla="*/ 6515100 w 8601075"/>
                  <a:gd name="connsiteY214" fmla="*/ 3355181 h 4305300"/>
                  <a:gd name="connsiteX215" fmla="*/ 6562725 w 8601075"/>
                  <a:gd name="connsiteY215" fmla="*/ 3317081 h 4305300"/>
                  <a:gd name="connsiteX216" fmla="*/ 6548438 w 8601075"/>
                  <a:gd name="connsiteY216" fmla="*/ 3248025 h 4305300"/>
                  <a:gd name="connsiteX217" fmla="*/ 6498431 w 8601075"/>
                  <a:gd name="connsiteY217" fmla="*/ 3217068 h 4305300"/>
                  <a:gd name="connsiteX218" fmla="*/ 6438900 w 8601075"/>
                  <a:gd name="connsiteY218" fmla="*/ 3162300 h 4305300"/>
                  <a:gd name="connsiteX219" fmla="*/ 6419850 w 8601075"/>
                  <a:gd name="connsiteY219" fmla="*/ 3105150 h 4305300"/>
                  <a:gd name="connsiteX220" fmla="*/ 6384131 w 8601075"/>
                  <a:gd name="connsiteY220" fmla="*/ 3071813 h 4305300"/>
                  <a:gd name="connsiteX221" fmla="*/ 6410325 w 8601075"/>
                  <a:gd name="connsiteY221" fmla="*/ 3019425 h 4305300"/>
                  <a:gd name="connsiteX222" fmla="*/ 6450806 w 8601075"/>
                  <a:gd name="connsiteY222" fmla="*/ 2840831 h 4305300"/>
                  <a:gd name="connsiteX223" fmla="*/ 6491288 w 8601075"/>
                  <a:gd name="connsiteY223" fmla="*/ 2774156 h 4305300"/>
                  <a:gd name="connsiteX224" fmla="*/ 6636544 w 8601075"/>
                  <a:gd name="connsiteY224" fmla="*/ 2757487 h 4305300"/>
                  <a:gd name="connsiteX225" fmla="*/ 6705600 w 8601075"/>
                  <a:gd name="connsiteY225" fmla="*/ 2814638 h 4305300"/>
                  <a:gd name="connsiteX226" fmla="*/ 6781800 w 8601075"/>
                  <a:gd name="connsiteY226" fmla="*/ 2838450 h 4305300"/>
                  <a:gd name="connsiteX227" fmla="*/ 6986587 w 8601075"/>
                  <a:gd name="connsiteY227" fmla="*/ 2843213 h 4305300"/>
                  <a:gd name="connsiteX228" fmla="*/ 7162800 w 8601075"/>
                  <a:gd name="connsiteY228" fmla="*/ 2705100 h 4305300"/>
                  <a:gd name="connsiteX229" fmla="*/ 7219950 w 8601075"/>
                  <a:gd name="connsiteY229" fmla="*/ 2614612 h 4305300"/>
                  <a:gd name="connsiteX230" fmla="*/ 7246144 w 8601075"/>
                  <a:gd name="connsiteY230" fmla="*/ 2531269 h 4305300"/>
                  <a:gd name="connsiteX231" fmla="*/ 7377112 w 8601075"/>
                  <a:gd name="connsiteY231" fmla="*/ 2531269 h 4305300"/>
                  <a:gd name="connsiteX232" fmla="*/ 7550944 w 8601075"/>
                  <a:gd name="connsiteY232" fmla="*/ 2474118 h 4305300"/>
                  <a:gd name="connsiteX233" fmla="*/ 7610475 w 8601075"/>
                  <a:gd name="connsiteY233" fmla="*/ 2362200 h 4305300"/>
                  <a:gd name="connsiteX234" fmla="*/ 7674769 w 8601075"/>
                  <a:gd name="connsiteY234" fmla="*/ 2326481 h 4305300"/>
                  <a:gd name="connsiteX235" fmla="*/ 7653338 w 8601075"/>
                  <a:gd name="connsiteY235" fmla="*/ 2281238 h 4305300"/>
                  <a:gd name="connsiteX236" fmla="*/ 7731919 w 8601075"/>
                  <a:gd name="connsiteY236" fmla="*/ 2112168 h 4305300"/>
                  <a:gd name="connsiteX237" fmla="*/ 7786688 w 8601075"/>
                  <a:gd name="connsiteY237" fmla="*/ 2052638 h 4305300"/>
                  <a:gd name="connsiteX238" fmla="*/ 7824788 w 8601075"/>
                  <a:gd name="connsiteY238" fmla="*/ 2047875 h 4305300"/>
                  <a:gd name="connsiteX239" fmla="*/ 7870031 w 8601075"/>
                  <a:gd name="connsiteY239" fmla="*/ 2052638 h 4305300"/>
                  <a:gd name="connsiteX240" fmla="*/ 7934325 w 8601075"/>
                  <a:gd name="connsiteY240" fmla="*/ 2019300 h 4305300"/>
                  <a:gd name="connsiteX241" fmla="*/ 7943850 w 8601075"/>
                  <a:gd name="connsiteY241" fmla="*/ 1955006 h 4305300"/>
                  <a:gd name="connsiteX242" fmla="*/ 7984330 w 8601075"/>
                  <a:gd name="connsiteY242" fmla="*/ 1919288 h 4305300"/>
                  <a:gd name="connsiteX243" fmla="*/ 8043863 w 8601075"/>
                  <a:gd name="connsiteY243" fmla="*/ 1959768 h 4305300"/>
                  <a:gd name="connsiteX244" fmla="*/ 8070057 w 8601075"/>
                  <a:gd name="connsiteY244" fmla="*/ 1909762 h 4305300"/>
                  <a:gd name="connsiteX245" fmla="*/ 8165306 w 8601075"/>
                  <a:gd name="connsiteY245" fmla="*/ 1840706 h 4305300"/>
                  <a:gd name="connsiteX246" fmla="*/ 8227219 w 8601075"/>
                  <a:gd name="connsiteY246" fmla="*/ 1847850 h 4305300"/>
                  <a:gd name="connsiteX247" fmla="*/ 8277225 w 8601075"/>
                  <a:gd name="connsiteY247" fmla="*/ 1828800 h 4305300"/>
                  <a:gd name="connsiteX248" fmla="*/ 8315325 w 8601075"/>
                  <a:gd name="connsiteY248" fmla="*/ 1800225 h 4305300"/>
                  <a:gd name="connsiteX249" fmla="*/ 8348663 w 8601075"/>
                  <a:gd name="connsiteY249" fmla="*/ 1797844 h 4305300"/>
                  <a:gd name="connsiteX250" fmla="*/ 8384381 w 8601075"/>
                  <a:gd name="connsiteY250" fmla="*/ 1828800 h 4305300"/>
                  <a:gd name="connsiteX251" fmla="*/ 8443913 w 8601075"/>
                  <a:gd name="connsiteY251" fmla="*/ 1828800 h 4305300"/>
                  <a:gd name="connsiteX252" fmla="*/ 8482012 w 8601075"/>
                  <a:gd name="connsiteY252" fmla="*/ 1809750 h 4305300"/>
                  <a:gd name="connsiteX253" fmla="*/ 8565356 w 8601075"/>
                  <a:gd name="connsiteY253" fmla="*/ 1812132 h 4305300"/>
                  <a:gd name="connsiteX254" fmla="*/ 8596313 w 8601075"/>
                  <a:gd name="connsiteY254" fmla="*/ 1766888 h 4305300"/>
                  <a:gd name="connsiteX255" fmla="*/ 8601075 w 8601075"/>
                  <a:gd name="connsiteY255" fmla="*/ 1704975 h 4305300"/>
                  <a:gd name="connsiteX256" fmla="*/ 8551068 w 8601075"/>
                  <a:gd name="connsiteY256" fmla="*/ 1664494 h 4305300"/>
                  <a:gd name="connsiteX257" fmla="*/ 8534400 w 8601075"/>
                  <a:gd name="connsiteY257" fmla="*/ 1609725 h 4305300"/>
                  <a:gd name="connsiteX258" fmla="*/ 8443913 w 8601075"/>
                  <a:gd name="connsiteY258" fmla="*/ 1547813 h 4305300"/>
                  <a:gd name="connsiteX259" fmla="*/ 8403431 w 8601075"/>
                  <a:gd name="connsiteY259" fmla="*/ 1526381 h 4305300"/>
                  <a:gd name="connsiteX260" fmla="*/ 8365331 w 8601075"/>
                  <a:gd name="connsiteY260" fmla="*/ 1481138 h 4305300"/>
                  <a:gd name="connsiteX261" fmla="*/ 8334375 w 8601075"/>
                  <a:gd name="connsiteY261" fmla="*/ 1478756 h 4305300"/>
                  <a:gd name="connsiteX262" fmla="*/ 8317706 w 8601075"/>
                  <a:gd name="connsiteY262" fmla="*/ 1426369 h 4305300"/>
                  <a:gd name="connsiteX263" fmla="*/ 8277225 w 8601075"/>
                  <a:gd name="connsiteY263" fmla="*/ 1409700 h 4305300"/>
                  <a:gd name="connsiteX264" fmla="*/ 8277225 w 8601075"/>
                  <a:gd name="connsiteY264" fmla="*/ 1409700 h 4305300"/>
                  <a:gd name="connsiteX265" fmla="*/ 8236744 w 8601075"/>
                  <a:gd name="connsiteY265" fmla="*/ 1414463 h 4305300"/>
                  <a:gd name="connsiteX266" fmla="*/ 8151018 w 8601075"/>
                  <a:gd name="connsiteY266" fmla="*/ 1340644 h 4305300"/>
                  <a:gd name="connsiteX267" fmla="*/ 7970044 w 8601075"/>
                  <a:gd name="connsiteY267" fmla="*/ 1340643 h 4305300"/>
                  <a:gd name="connsiteX268" fmla="*/ 7917656 w 8601075"/>
                  <a:gd name="connsiteY268" fmla="*/ 1378744 h 4305300"/>
                  <a:gd name="connsiteX269" fmla="*/ 7867650 w 8601075"/>
                  <a:gd name="connsiteY269" fmla="*/ 1457325 h 4305300"/>
                  <a:gd name="connsiteX270" fmla="*/ 7884319 w 8601075"/>
                  <a:gd name="connsiteY270" fmla="*/ 1478756 h 4305300"/>
                  <a:gd name="connsiteX271" fmla="*/ 7839075 w 8601075"/>
                  <a:gd name="connsiteY271" fmla="*/ 1528762 h 4305300"/>
                  <a:gd name="connsiteX272" fmla="*/ 7689056 w 8601075"/>
                  <a:gd name="connsiteY272" fmla="*/ 1452562 h 4305300"/>
                  <a:gd name="connsiteX273" fmla="*/ 7598569 w 8601075"/>
                  <a:gd name="connsiteY273" fmla="*/ 1488281 h 4305300"/>
                  <a:gd name="connsiteX274" fmla="*/ 7524750 w 8601075"/>
                  <a:gd name="connsiteY274" fmla="*/ 1485900 h 4305300"/>
                  <a:gd name="connsiteX275" fmla="*/ 7467600 w 8601075"/>
                  <a:gd name="connsiteY275" fmla="*/ 1581150 h 4305300"/>
                  <a:gd name="connsiteX276" fmla="*/ 7329488 w 8601075"/>
                  <a:gd name="connsiteY276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600825 w 8601075"/>
                  <a:gd name="connsiteY14" fmla="*/ 904875 h 4305300"/>
                  <a:gd name="connsiteX15" fmla="*/ 6600825 w 8601075"/>
                  <a:gd name="connsiteY15" fmla="*/ 904875 h 4305300"/>
                  <a:gd name="connsiteX16" fmla="*/ 6534150 w 8601075"/>
                  <a:gd name="connsiteY16" fmla="*/ 942975 h 4305300"/>
                  <a:gd name="connsiteX17" fmla="*/ 6534150 w 8601075"/>
                  <a:gd name="connsiteY17" fmla="*/ 942975 h 4305300"/>
                  <a:gd name="connsiteX18" fmla="*/ 6362700 w 8601075"/>
                  <a:gd name="connsiteY18" fmla="*/ 1009650 h 4305300"/>
                  <a:gd name="connsiteX19" fmla="*/ 6238875 w 8601075"/>
                  <a:gd name="connsiteY19" fmla="*/ 1057275 h 4305300"/>
                  <a:gd name="connsiteX20" fmla="*/ 6115050 w 8601075"/>
                  <a:gd name="connsiteY20" fmla="*/ 1114425 h 4305300"/>
                  <a:gd name="connsiteX21" fmla="*/ 5962650 w 8601075"/>
                  <a:gd name="connsiteY21" fmla="*/ 1190625 h 4305300"/>
                  <a:gd name="connsiteX22" fmla="*/ 5895975 w 8601075"/>
                  <a:gd name="connsiteY22" fmla="*/ 1143000 h 4305300"/>
                  <a:gd name="connsiteX23" fmla="*/ 5895975 w 8601075"/>
                  <a:gd name="connsiteY23" fmla="*/ 1143000 h 4305300"/>
                  <a:gd name="connsiteX24" fmla="*/ 5676900 w 8601075"/>
                  <a:gd name="connsiteY24" fmla="*/ 1181100 h 4305300"/>
                  <a:gd name="connsiteX25" fmla="*/ 5600700 w 8601075"/>
                  <a:gd name="connsiteY25" fmla="*/ 1114425 h 4305300"/>
                  <a:gd name="connsiteX26" fmla="*/ 5391150 w 8601075"/>
                  <a:gd name="connsiteY26" fmla="*/ 1123950 h 4305300"/>
                  <a:gd name="connsiteX27" fmla="*/ 5334000 w 8601075"/>
                  <a:gd name="connsiteY27" fmla="*/ 1066800 h 4305300"/>
                  <a:gd name="connsiteX28" fmla="*/ 5248275 w 8601075"/>
                  <a:gd name="connsiteY28" fmla="*/ 981075 h 4305300"/>
                  <a:gd name="connsiteX29" fmla="*/ 5238750 w 8601075"/>
                  <a:gd name="connsiteY29" fmla="*/ 895350 h 4305300"/>
                  <a:gd name="connsiteX30" fmla="*/ 5133975 w 8601075"/>
                  <a:gd name="connsiteY30" fmla="*/ 895350 h 4305300"/>
                  <a:gd name="connsiteX31" fmla="*/ 4991100 w 8601075"/>
                  <a:gd name="connsiteY31" fmla="*/ 838200 h 4305300"/>
                  <a:gd name="connsiteX32" fmla="*/ 4905375 w 8601075"/>
                  <a:gd name="connsiteY32" fmla="*/ 771525 h 4305300"/>
                  <a:gd name="connsiteX33" fmla="*/ 4905375 w 8601075"/>
                  <a:gd name="connsiteY33" fmla="*/ 771525 h 4305300"/>
                  <a:gd name="connsiteX34" fmla="*/ 4781550 w 8601075"/>
                  <a:gd name="connsiteY34" fmla="*/ 762000 h 4305300"/>
                  <a:gd name="connsiteX35" fmla="*/ 4648200 w 8601075"/>
                  <a:gd name="connsiteY35" fmla="*/ 714375 h 4305300"/>
                  <a:gd name="connsiteX36" fmla="*/ 4581525 w 8601075"/>
                  <a:gd name="connsiteY36" fmla="*/ 695325 h 4305300"/>
                  <a:gd name="connsiteX37" fmla="*/ 4495800 w 8601075"/>
                  <a:gd name="connsiteY37" fmla="*/ 742950 h 4305300"/>
                  <a:gd name="connsiteX38" fmla="*/ 4343400 w 8601075"/>
                  <a:gd name="connsiteY38" fmla="*/ 781050 h 4305300"/>
                  <a:gd name="connsiteX39" fmla="*/ 4252913 w 8601075"/>
                  <a:gd name="connsiteY39" fmla="*/ 862013 h 4305300"/>
                  <a:gd name="connsiteX40" fmla="*/ 4205287 w 8601075"/>
                  <a:gd name="connsiteY40" fmla="*/ 823913 h 4305300"/>
                  <a:gd name="connsiteX41" fmla="*/ 4183856 w 8601075"/>
                  <a:gd name="connsiteY41" fmla="*/ 854868 h 4305300"/>
                  <a:gd name="connsiteX42" fmla="*/ 4110038 w 8601075"/>
                  <a:gd name="connsiteY42" fmla="*/ 804863 h 4305300"/>
                  <a:gd name="connsiteX43" fmla="*/ 4071938 w 8601075"/>
                  <a:gd name="connsiteY43" fmla="*/ 812006 h 4305300"/>
                  <a:gd name="connsiteX44" fmla="*/ 4050506 w 8601075"/>
                  <a:gd name="connsiteY44" fmla="*/ 773906 h 4305300"/>
                  <a:gd name="connsiteX45" fmla="*/ 3990975 w 8601075"/>
                  <a:gd name="connsiteY45" fmla="*/ 778669 h 4305300"/>
                  <a:gd name="connsiteX46" fmla="*/ 3945731 w 8601075"/>
                  <a:gd name="connsiteY46" fmla="*/ 750094 h 4305300"/>
                  <a:gd name="connsiteX47" fmla="*/ 3907631 w 8601075"/>
                  <a:gd name="connsiteY47" fmla="*/ 747713 h 4305300"/>
                  <a:gd name="connsiteX48" fmla="*/ 3888581 w 8601075"/>
                  <a:gd name="connsiteY48" fmla="*/ 700087 h 4305300"/>
                  <a:gd name="connsiteX49" fmla="*/ 3874294 w 8601075"/>
                  <a:gd name="connsiteY49" fmla="*/ 669131 h 4305300"/>
                  <a:gd name="connsiteX50" fmla="*/ 3829050 w 8601075"/>
                  <a:gd name="connsiteY50" fmla="*/ 678656 h 4305300"/>
                  <a:gd name="connsiteX51" fmla="*/ 3810000 w 8601075"/>
                  <a:gd name="connsiteY51" fmla="*/ 642938 h 4305300"/>
                  <a:gd name="connsiteX52" fmla="*/ 3831432 w 8601075"/>
                  <a:gd name="connsiteY52" fmla="*/ 588169 h 4305300"/>
                  <a:gd name="connsiteX53" fmla="*/ 3800475 w 8601075"/>
                  <a:gd name="connsiteY53" fmla="*/ 561975 h 4305300"/>
                  <a:gd name="connsiteX54" fmla="*/ 3817144 w 8601075"/>
                  <a:gd name="connsiteY54" fmla="*/ 519113 h 4305300"/>
                  <a:gd name="connsiteX55" fmla="*/ 3790950 w 8601075"/>
                  <a:gd name="connsiteY55" fmla="*/ 476250 h 4305300"/>
                  <a:gd name="connsiteX56" fmla="*/ 3786188 w 8601075"/>
                  <a:gd name="connsiteY56" fmla="*/ 414338 h 4305300"/>
                  <a:gd name="connsiteX57" fmla="*/ 3810000 w 8601075"/>
                  <a:gd name="connsiteY57" fmla="*/ 350043 h 4305300"/>
                  <a:gd name="connsiteX58" fmla="*/ 3771900 w 8601075"/>
                  <a:gd name="connsiteY58" fmla="*/ 352425 h 4305300"/>
                  <a:gd name="connsiteX59" fmla="*/ 3652838 w 8601075"/>
                  <a:gd name="connsiteY59" fmla="*/ 295275 h 4305300"/>
                  <a:gd name="connsiteX60" fmla="*/ 3614737 w 8601075"/>
                  <a:gd name="connsiteY60" fmla="*/ 300037 h 4305300"/>
                  <a:gd name="connsiteX61" fmla="*/ 3409950 w 8601075"/>
                  <a:gd name="connsiteY61" fmla="*/ 190500 h 4305300"/>
                  <a:gd name="connsiteX62" fmla="*/ 3305175 w 8601075"/>
                  <a:gd name="connsiteY62" fmla="*/ 159544 h 4305300"/>
                  <a:gd name="connsiteX63" fmla="*/ 3240881 w 8601075"/>
                  <a:gd name="connsiteY63" fmla="*/ 169068 h 4305300"/>
                  <a:gd name="connsiteX64" fmla="*/ 3209925 w 8601075"/>
                  <a:gd name="connsiteY64" fmla="*/ 104775 h 4305300"/>
                  <a:gd name="connsiteX65" fmla="*/ 3152775 w 8601075"/>
                  <a:gd name="connsiteY65" fmla="*/ 104775 h 4305300"/>
                  <a:gd name="connsiteX66" fmla="*/ 3014662 w 8601075"/>
                  <a:gd name="connsiteY66" fmla="*/ 0 h 4305300"/>
                  <a:gd name="connsiteX67" fmla="*/ 2981325 w 8601075"/>
                  <a:gd name="connsiteY67" fmla="*/ 59532 h 4305300"/>
                  <a:gd name="connsiteX68" fmla="*/ 2926556 w 8601075"/>
                  <a:gd name="connsiteY68" fmla="*/ 128588 h 4305300"/>
                  <a:gd name="connsiteX69" fmla="*/ 2883694 w 8601075"/>
                  <a:gd name="connsiteY69" fmla="*/ 145256 h 4305300"/>
                  <a:gd name="connsiteX70" fmla="*/ 2852738 w 8601075"/>
                  <a:gd name="connsiteY70" fmla="*/ 138113 h 4305300"/>
                  <a:gd name="connsiteX71" fmla="*/ 2828925 w 8601075"/>
                  <a:gd name="connsiteY71" fmla="*/ 166688 h 4305300"/>
                  <a:gd name="connsiteX72" fmla="*/ 2802731 w 8601075"/>
                  <a:gd name="connsiteY72" fmla="*/ 245269 h 4305300"/>
                  <a:gd name="connsiteX73" fmla="*/ 2759869 w 8601075"/>
                  <a:gd name="connsiteY73" fmla="*/ 242888 h 4305300"/>
                  <a:gd name="connsiteX74" fmla="*/ 2728912 w 8601075"/>
                  <a:gd name="connsiteY74" fmla="*/ 304800 h 4305300"/>
                  <a:gd name="connsiteX75" fmla="*/ 2724150 w 8601075"/>
                  <a:gd name="connsiteY75" fmla="*/ 369094 h 4305300"/>
                  <a:gd name="connsiteX76" fmla="*/ 2697957 w 8601075"/>
                  <a:gd name="connsiteY76" fmla="*/ 407194 h 4305300"/>
                  <a:gd name="connsiteX77" fmla="*/ 2724150 w 8601075"/>
                  <a:gd name="connsiteY77" fmla="*/ 466725 h 4305300"/>
                  <a:gd name="connsiteX78" fmla="*/ 2726531 w 8601075"/>
                  <a:gd name="connsiteY78" fmla="*/ 535781 h 4305300"/>
                  <a:gd name="connsiteX79" fmla="*/ 2755106 w 8601075"/>
                  <a:gd name="connsiteY79" fmla="*/ 588169 h 4305300"/>
                  <a:gd name="connsiteX80" fmla="*/ 2802732 w 8601075"/>
                  <a:gd name="connsiteY80" fmla="*/ 642938 h 4305300"/>
                  <a:gd name="connsiteX81" fmla="*/ 2752725 w 8601075"/>
                  <a:gd name="connsiteY81" fmla="*/ 781050 h 4305300"/>
                  <a:gd name="connsiteX82" fmla="*/ 2683669 w 8601075"/>
                  <a:gd name="connsiteY82" fmla="*/ 847725 h 4305300"/>
                  <a:gd name="connsiteX83" fmla="*/ 2612231 w 8601075"/>
                  <a:gd name="connsiteY83" fmla="*/ 842963 h 4305300"/>
                  <a:gd name="connsiteX84" fmla="*/ 2574131 w 8601075"/>
                  <a:gd name="connsiteY84" fmla="*/ 900113 h 4305300"/>
                  <a:gd name="connsiteX85" fmla="*/ 2514600 w 8601075"/>
                  <a:gd name="connsiteY85" fmla="*/ 914400 h 4305300"/>
                  <a:gd name="connsiteX86" fmla="*/ 2445544 w 8601075"/>
                  <a:gd name="connsiteY86" fmla="*/ 854869 h 4305300"/>
                  <a:gd name="connsiteX87" fmla="*/ 2390775 w 8601075"/>
                  <a:gd name="connsiteY87" fmla="*/ 826294 h 4305300"/>
                  <a:gd name="connsiteX88" fmla="*/ 2347913 w 8601075"/>
                  <a:gd name="connsiteY88" fmla="*/ 840581 h 4305300"/>
                  <a:gd name="connsiteX89" fmla="*/ 2295525 w 8601075"/>
                  <a:gd name="connsiteY89" fmla="*/ 823913 h 4305300"/>
                  <a:gd name="connsiteX90" fmla="*/ 2228850 w 8601075"/>
                  <a:gd name="connsiteY90" fmla="*/ 769144 h 4305300"/>
                  <a:gd name="connsiteX91" fmla="*/ 2183606 w 8601075"/>
                  <a:gd name="connsiteY91" fmla="*/ 781050 h 4305300"/>
                  <a:gd name="connsiteX92" fmla="*/ 2162175 w 8601075"/>
                  <a:gd name="connsiteY92" fmla="*/ 750094 h 4305300"/>
                  <a:gd name="connsiteX93" fmla="*/ 2105025 w 8601075"/>
                  <a:gd name="connsiteY93" fmla="*/ 790575 h 4305300"/>
                  <a:gd name="connsiteX94" fmla="*/ 1988344 w 8601075"/>
                  <a:gd name="connsiteY94" fmla="*/ 769144 h 4305300"/>
                  <a:gd name="connsiteX95" fmla="*/ 1938338 w 8601075"/>
                  <a:gd name="connsiteY95" fmla="*/ 716756 h 4305300"/>
                  <a:gd name="connsiteX96" fmla="*/ 1895475 w 8601075"/>
                  <a:gd name="connsiteY96" fmla="*/ 702469 h 4305300"/>
                  <a:gd name="connsiteX97" fmla="*/ 1852613 w 8601075"/>
                  <a:gd name="connsiteY97" fmla="*/ 728663 h 4305300"/>
                  <a:gd name="connsiteX98" fmla="*/ 1800225 w 8601075"/>
                  <a:gd name="connsiteY98" fmla="*/ 638175 h 4305300"/>
                  <a:gd name="connsiteX99" fmla="*/ 1790700 w 8601075"/>
                  <a:gd name="connsiteY99" fmla="*/ 490537 h 4305300"/>
                  <a:gd name="connsiteX100" fmla="*/ 1738312 w 8601075"/>
                  <a:gd name="connsiteY100" fmla="*/ 483393 h 4305300"/>
                  <a:gd name="connsiteX101" fmla="*/ 1647825 w 8601075"/>
                  <a:gd name="connsiteY101" fmla="*/ 473869 h 4305300"/>
                  <a:gd name="connsiteX102" fmla="*/ 1593056 w 8601075"/>
                  <a:gd name="connsiteY102" fmla="*/ 435769 h 4305300"/>
                  <a:gd name="connsiteX103" fmla="*/ 1524000 w 8601075"/>
                  <a:gd name="connsiteY103" fmla="*/ 445294 h 4305300"/>
                  <a:gd name="connsiteX104" fmla="*/ 1478756 w 8601075"/>
                  <a:gd name="connsiteY104" fmla="*/ 419100 h 4305300"/>
                  <a:gd name="connsiteX105" fmla="*/ 1469232 w 8601075"/>
                  <a:gd name="connsiteY105" fmla="*/ 347663 h 4305300"/>
                  <a:gd name="connsiteX106" fmla="*/ 1445419 w 8601075"/>
                  <a:gd name="connsiteY106" fmla="*/ 333375 h 4305300"/>
                  <a:gd name="connsiteX107" fmla="*/ 1407319 w 8601075"/>
                  <a:gd name="connsiteY107" fmla="*/ 380999 h 4305300"/>
                  <a:gd name="connsiteX108" fmla="*/ 1328737 w 8601075"/>
                  <a:gd name="connsiteY108" fmla="*/ 307181 h 4305300"/>
                  <a:gd name="connsiteX109" fmla="*/ 1288256 w 8601075"/>
                  <a:gd name="connsiteY109" fmla="*/ 347663 h 4305300"/>
                  <a:gd name="connsiteX110" fmla="*/ 1212056 w 8601075"/>
                  <a:gd name="connsiteY110" fmla="*/ 333375 h 4305300"/>
                  <a:gd name="connsiteX111" fmla="*/ 1133475 w 8601075"/>
                  <a:gd name="connsiteY111" fmla="*/ 359569 h 4305300"/>
                  <a:gd name="connsiteX112" fmla="*/ 1073944 w 8601075"/>
                  <a:gd name="connsiteY112" fmla="*/ 407193 h 4305300"/>
                  <a:gd name="connsiteX113" fmla="*/ 1000125 w 8601075"/>
                  <a:gd name="connsiteY113" fmla="*/ 419100 h 4305300"/>
                  <a:gd name="connsiteX114" fmla="*/ 964406 w 8601075"/>
                  <a:gd name="connsiteY114" fmla="*/ 411956 h 4305300"/>
                  <a:gd name="connsiteX115" fmla="*/ 885826 w 8601075"/>
                  <a:gd name="connsiteY115" fmla="*/ 442913 h 4305300"/>
                  <a:gd name="connsiteX116" fmla="*/ 864394 w 8601075"/>
                  <a:gd name="connsiteY116" fmla="*/ 471488 h 4305300"/>
                  <a:gd name="connsiteX117" fmla="*/ 797719 w 8601075"/>
                  <a:gd name="connsiteY117" fmla="*/ 461963 h 4305300"/>
                  <a:gd name="connsiteX118" fmla="*/ 728663 w 8601075"/>
                  <a:gd name="connsiteY118" fmla="*/ 485775 h 4305300"/>
                  <a:gd name="connsiteX119" fmla="*/ 673894 w 8601075"/>
                  <a:gd name="connsiteY119" fmla="*/ 523875 h 4305300"/>
                  <a:gd name="connsiteX120" fmla="*/ 578644 w 8601075"/>
                  <a:gd name="connsiteY120" fmla="*/ 538162 h 4305300"/>
                  <a:gd name="connsiteX121" fmla="*/ 564356 w 8601075"/>
                  <a:gd name="connsiteY121" fmla="*/ 559594 h 4305300"/>
                  <a:gd name="connsiteX122" fmla="*/ 576262 w 8601075"/>
                  <a:gd name="connsiteY122" fmla="*/ 604838 h 4305300"/>
                  <a:gd name="connsiteX123" fmla="*/ 476251 w 8601075"/>
                  <a:gd name="connsiteY123" fmla="*/ 657225 h 4305300"/>
                  <a:gd name="connsiteX124" fmla="*/ 438150 w 8601075"/>
                  <a:gd name="connsiteY124" fmla="*/ 628649 h 4305300"/>
                  <a:gd name="connsiteX125" fmla="*/ 407194 w 8601075"/>
                  <a:gd name="connsiteY125" fmla="*/ 685800 h 4305300"/>
                  <a:gd name="connsiteX126" fmla="*/ 350044 w 8601075"/>
                  <a:gd name="connsiteY126" fmla="*/ 647700 h 4305300"/>
                  <a:gd name="connsiteX127" fmla="*/ 314325 w 8601075"/>
                  <a:gd name="connsiteY127" fmla="*/ 676275 h 4305300"/>
                  <a:gd name="connsiteX128" fmla="*/ 278606 w 8601075"/>
                  <a:gd name="connsiteY128" fmla="*/ 640556 h 4305300"/>
                  <a:gd name="connsiteX129" fmla="*/ 226219 w 8601075"/>
                  <a:gd name="connsiteY129" fmla="*/ 652463 h 4305300"/>
                  <a:gd name="connsiteX130" fmla="*/ 180975 w 8601075"/>
                  <a:gd name="connsiteY130" fmla="*/ 623888 h 4305300"/>
                  <a:gd name="connsiteX131" fmla="*/ 157163 w 8601075"/>
                  <a:gd name="connsiteY131" fmla="*/ 642938 h 4305300"/>
                  <a:gd name="connsiteX132" fmla="*/ 133350 w 8601075"/>
                  <a:gd name="connsiteY132" fmla="*/ 702469 h 4305300"/>
                  <a:gd name="connsiteX133" fmla="*/ 61913 w 8601075"/>
                  <a:gd name="connsiteY133" fmla="*/ 740568 h 4305300"/>
                  <a:gd name="connsiteX134" fmla="*/ 28575 w 8601075"/>
                  <a:gd name="connsiteY134" fmla="*/ 769144 h 4305300"/>
                  <a:gd name="connsiteX135" fmla="*/ 33338 w 8601075"/>
                  <a:gd name="connsiteY135" fmla="*/ 812006 h 4305300"/>
                  <a:gd name="connsiteX136" fmla="*/ 0 w 8601075"/>
                  <a:gd name="connsiteY136" fmla="*/ 816769 h 4305300"/>
                  <a:gd name="connsiteX137" fmla="*/ 4763 w 8601075"/>
                  <a:gd name="connsiteY137" fmla="*/ 840581 h 4305300"/>
                  <a:gd name="connsiteX138" fmla="*/ 61912 w 8601075"/>
                  <a:gd name="connsiteY138" fmla="*/ 914400 h 4305300"/>
                  <a:gd name="connsiteX139" fmla="*/ 23813 w 8601075"/>
                  <a:gd name="connsiteY139" fmla="*/ 962025 h 4305300"/>
                  <a:gd name="connsiteX140" fmla="*/ 78581 w 8601075"/>
                  <a:gd name="connsiteY140" fmla="*/ 997744 h 4305300"/>
                  <a:gd name="connsiteX141" fmla="*/ 169069 w 8601075"/>
                  <a:gd name="connsiteY141" fmla="*/ 1085850 h 4305300"/>
                  <a:gd name="connsiteX142" fmla="*/ 171450 w 8601075"/>
                  <a:gd name="connsiteY142" fmla="*/ 1145381 h 4305300"/>
                  <a:gd name="connsiteX143" fmla="*/ 307181 w 8601075"/>
                  <a:gd name="connsiteY143" fmla="*/ 1278732 h 4305300"/>
                  <a:gd name="connsiteX144" fmla="*/ 361950 w 8601075"/>
                  <a:gd name="connsiteY144" fmla="*/ 1254919 h 4305300"/>
                  <a:gd name="connsiteX145" fmla="*/ 400050 w 8601075"/>
                  <a:gd name="connsiteY145" fmla="*/ 1281112 h 4305300"/>
                  <a:gd name="connsiteX146" fmla="*/ 414338 w 8601075"/>
                  <a:gd name="connsiteY146" fmla="*/ 1331118 h 4305300"/>
                  <a:gd name="connsiteX147" fmla="*/ 457200 w 8601075"/>
                  <a:gd name="connsiteY147" fmla="*/ 1366838 h 4305300"/>
                  <a:gd name="connsiteX148" fmla="*/ 497681 w 8601075"/>
                  <a:gd name="connsiteY148" fmla="*/ 1354931 h 4305300"/>
                  <a:gd name="connsiteX149" fmla="*/ 516731 w 8601075"/>
                  <a:gd name="connsiteY149" fmla="*/ 1412081 h 4305300"/>
                  <a:gd name="connsiteX150" fmla="*/ 564356 w 8601075"/>
                  <a:gd name="connsiteY150" fmla="*/ 1454944 h 4305300"/>
                  <a:gd name="connsiteX151" fmla="*/ 588169 w 8601075"/>
                  <a:gd name="connsiteY151" fmla="*/ 1557338 h 4305300"/>
                  <a:gd name="connsiteX152" fmla="*/ 585788 w 8601075"/>
                  <a:gd name="connsiteY152" fmla="*/ 1604963 h 4305300"/>
                  <a:gd name="connsiteX153" fmla="*/ 621506 w 8601075"/>
                  <a:gd name="connsiteY153" fmla="*/ 1704975 h 4305300"/>
                  <a:gd name="connsiteX154" fmla="*/ 666750 w 8601075"/>
                  <a:gd name="connsiteY154" fmla="*/ 1762125 h 4305300"/>
                  <a:gd name="connsiteX155" fmla="*/ 683418 w 8601075"/>
                  <a:gd name="connsiteY155" fmla="*/ 1919287 h 4305300"/>
                  <a:gd name="connsiteX156" fmla="*/ 650081 w 8601075"/>
                  <a:gd name="connsiteY156" fmla="*/ 1981200 h 4305300"/>
                  <a:gd name="connsiteX157" fmla="*/ 619125 w 8601075"/>
                  <a:gd name="connsiteY157" fmla="*/ 2057400 h 4305300"/>
                  <a:gd name="connsiteX158" fmla="*/ 633413 w 8601075"/>
                  <a:gd name="connsiteY158" fmla="*/ 2114550 h 4305300"/>
                  <a:gd name="connsiteX159" fmla="*/ 535781 w 8601075"/>
                  <a:gd name="connsiteY159" fmla="*/ 2221707 h 4305300"/>
                  <a:gd name="connsiteX160" fmla="*/ 492919 w 8601075"/>
                  <a:gd name="connsiteY160" fmla="*/ 2336006 h 4305300"/>
                  <a:gd name="connsiteX161" fmla="*/ 526256 w 8601075"/>
                  <a:gd name="connsiteY161" fmla="*/ 2376488 h 4305300"/>
                  <a:gd name="connsiteX162" fmla="*/ 509588 w 8601075"/>
                  <a:gd name="connsiteY162" fmla="*/ 2405063 h 4305300"/>
                  <a:gd name="connsiteX163" fmla="*/ 540544 w 8601075"/>
                  <a:gd name="connsiteY163" fmla="*/ 2462213 h 4305300"/>
                  <a:gd name="connsiteX164" fmla="*/ 569119 w 8601075"/>
                  <a:gd name="connsiteY164" fmla="*/ 2462213 h 4305300"/>
                  <a:gd name="connsiteX165" fmla="*/ 731044 w 8601075"/>
                  <a:gd name="connsiteY165" fmla="*/ 2564606 h 4305300"/>
                  <a:gd name="connsiteX166" fmla="*/ 835819 w 8601075"/>
                  <a:gd name="connsiteY166" fmla="*/ 2562225 h 4305300"/>
                  <a:gd name="connsiteX167" fmla="*/ 914400 w 8601075"/>
                  <a:gd name="connsiteY167" fmla="*/ 2616994 h 4305300"/>
                  <a:gd name="connsiteX168" fmla="*/ 1045368 w 8601075"/>
                  <a:gd name="connsiteY168" fmla="*/ 2619375 h 4305300"/>
                  <a:gd name="connsiteX169" fmla="*/ 1235868 w 8601075"/>
                  <a:gd name="connsiteY169" fmla="*/ 2688431 h 4305300"/>
                  <a:gd name="connsiteX170" fmla="*/ 1438275 w 8601075"/>
                  <a:gd name="connsiteY170" fmla="*/ 2838450 h 4305300"/>
                  <a:gd name="connsiteX171" fmla="*/ 1471612 w 8601075"/>
                  <a:gd name="connsiteY171" fmla="*/ 2905125 h 4305300"/>
                  <a:gd name="connsiteX172" fmla="*/ 1638300 w 8601075"/>
                  <a:gd name="connsiteY172" fmla="*/ 3031331 h 4305300"/>
                  <a:gd name="connsiteX173" fmla="*/ 1709738 w 8601075"/>
                  <a:gd name="connsiteY173" fmla="*/ 3026569 h 4305300"/>
                  <a:gd name="connsiteX174" fmla="*/ 1745457 w 8601075"/>
                  <a:gd name="connsiteY174" fmla="*/ 3050381 h 4305300"/>
                  <a:gd name="connsiteX175" fmla="*/ 1716881 w 8601075"/>
                  <a:gd name="connsiteY175" fmla="*/ 3090863 h 4305300"/>
                  <a:gd name="connsiteX176" fmla="*/ 1724025 w 8601075"/>
                  <a:gd name="connsiteY176" fmla="*/ 3143250 h 4305300"/>
                  <a:gd name="connsiteX177" fmla="*/ 1776413 w 8601075"/>
                  <a:gd name="connsiteY177" fmla="*/ 3169444 h 4305300"/>
                  <a:gd name="connsiteX178" fmla="*/ 1838325 w 8601075"/>
                  <a:gd name="connsiteY178" fmla="*/ 3393282 h 4305300"/>
                  <a:gd name="connsiteX179" fmla="*/ 1828800 w 8601075"/>
                  <a:gd name="connsiteY179" fmla="*/ 3457575 h 4305300"/>
                  <a:gd name="connsiteX180" fmla="*/ 1964531 w 8601075"/>
                  <a:gd name="connsiteY180" fmla="*/ 3624263 h 4305300"/>
                  <a:gd name="connsiteX181" fmla="*/ 1983581 w 8601075"/>
                  <a:gd name="connsiteY181" fmla="*/ 3674269 h 4305300"/>
                  <a:gd name="connsiteX182" fmla="*/ 1957388 w 8601075"/>
                  <a:gd name="connsiteY182" fmla="*/ 3693319 h 4305300"/>
                  <a:gd name="connsiteX183" fmla="*/ 2059781 w 8601075"/>
                  <a:gd name="connsiteY183" fmla="*/ 3702844 h 4305300"/>
                  <a:gd name="connsiteX184" fmla="*/ 2171700 w 8601075"/>
                  <a:gd name="connsiteY184" fmla="*/ 3690938 h 4305300"/>
                  <a:gd name="connsiteX185" fmla="*/ 2450306 w 8601075"/>
                  <a:gd name="connsiteY185" fmla="*/ 3774281 h 4305300"/>
                  <a:gd name="connsiteX186" fmla="*/ 2857500 w 8601075"/>
                  <a:gd name="connsiteY186" fmla="*/ 3855244 h 4305300"/>
                  <a:gd name="connsiteX187" fmla="*/ 3055144 w 8601075"/>
                  <a:gd name="connsiteY187" fmla="*/ 3824287 h 4305300"/>
                  <a:gd name="connsiteX188" fmla="*/ 3100388 w 8601075"/>
                  <a:gd name="connsiteY188" fmla="*/ 3836193 h 4305300"/>
                  <a:gd name="connsiteX189" fmla="*/ 3155156 w 8601075"/>
                  <a:gd name="connsiteY189" fmla="*/ 3812382 h 4305300"/>
                  <a:gd name="connsiteX190" fmla="*/ 3548062 w 8601075"/>
                  <a:gd name="connsiteY190" fmla="*/ 3902869 h 4305300"/>
                  <a:gd name="connsiteX191" fmla="*/ 3631407 w 8601075"/>
                  <a:gd name="connsiteY191" fmla="*/ 4000500 h 4305300"/>
                  <a:gd name="connsiteX192" fmla="*/ 3750469 w 8601075"/>
                  <a:gd name="connsiteY192" fmla="*/ 4071938 h 4305300"/>
                  <a:gd name="connsiteX193" fmla="*/ 3810000 w 8601075"/>
                  <a:gd name="connsiteY193" fmla="*/ 4055269 h 4305300"/>
                  <a:gd name="connsiteX194" fmla="*/ 4160043 w 8601075"/>
                  <a:gd name="connsiteY194" fmla="*/ 4229100 h 4305300"/>
                  <a:gd name="connsiteX195" fmla="*/ 4386263 w 8601075"/>
                  <a:gd name="connsiteY195" fmla="*/ 4200525 h 4305300"/>
                  <a:gd name="connsiteX196" fmla="*/ 4395788 w 8601075"/>
                  <a:gd name="connsiteY196" fmla="*/ 4279106 h 4305300"/>
                  <a:gd name="connsiteX197" fmla="*/ 4481513 w 8601075"/>
                  <a:gd name="connsiteY197" fmla="*/ 4274343 h 4305300"/>
                  <a:gd name="connsiteX198" fmla="*/ 4560094 w 8601075"/>
                  <a:gd name="connsiteY198" fmla="*/ 4305300 h 4305300"/>
                  <a:gd name="connsiteX199" fmla="*/ 4602956 w 8601075"/>
                  <a:gd name="connsiteY199" fmla="*/ 4245769 h 4305300"/>
                  <a:gd name="connsiteX200" fmla="*/ 5274469 w 8601075"/>
                  <a:gd name="connsiteY200" fmla="*/ 3926681 h 4305300"/>
                  <a:gd name="connsiteX201" fmla="*/ 5362575 w 8601075"/>
                  <a:gd name="connsiteY201" fmla="*/ 3955257 h 4305300"/>
                  <a:gd name="connsiteX202" fmla="*/ 5493544 w 8601075"/>
                  <a:gd name="connsiteY202" fmla="*/ 3926681 h 4305300"/>
                  <a:gd name="connsiteX203" fmla="*/ 5672137 w 8601075"/>
                  <a:gd name="connsiteY203" fmla="*/ 3943350 h 4305300"/>
                  <a:gd name="connsiteX204" fmla="*/ 5729288 w 8601075"/>
                  <a:gd name="connsiteY204" fmla="*/ 3917157 h 4305300"/>
                  <a:gd name="connsiteX205" fmla="*/ 5862637 w 8601075"/>
                  <a:gd name="connsiteY205" fmla="*/ 3914775 h 4305300"/>
                  <a:gd name="connsiteX206" fmla="*/ 5995987 w 8601075"/>
                  <a:gd name="connsiteY206" fmla="*/ 3817144 h 4305300"/>
                  <a:gd name="connsiteX207" fmla="*/ 6062662 w 8601075"/>
                  <a:gd name="connsiteY207" fmla="*/ 3810000 h 4305300"/>
                  <a:gd name="connsiteX208" fmla="*/ 6160294 w 8601075"/>
                  <a:gd name="connsiteY208" fmla="*/ 3736181 h 4305300"/>
                  <a:gd name="connsiteX209" fmla="*/ 6234113 w 8601075"/>
                  <a:gd name="connsiteY209" fmla="*/ 3667125 h 4305300"/>
                  <a:gd name="connsiteX210" fmla="*/ 6243638 w 8601075"/>
                  <a:gd name="connsiteY210" fmla="*/ 3605213 h 4305300"/>
                  <a:gd name="connsiteX211" fmla="*/ 6276975 w 8601075"/>
                  <a:gd name="connsiteY211" fmla="*/ 3536156 h 4305300"/>
                  <a:gd name="connsiteX212" fmla="*/ 6429375 w 8601075"/>
                  <a:gd name="connsiteY212" fmla="*/ 3429000 h 4305300"/>
                  <a:gd name="connsiteX213" fmla="*/ 6462713 w 8601075"/>
                  <a:gd name="connsiteY213" fmla="*/ 3433763 h 4305300"/>
                  <a:gd name="connsiteX214" fmla="*/ 6515100 w 8601075"/>
                  <a:gd name="connsiteY214" fmla="*/ 3355181 h 4305300"/>
                  <a:gd name="connsiteX215" fmla="*/ 6562725 w 8601075"/>
                  <a:gd name="connsiteY215" fmla="*/ 3317081 h 4305300"/>
                  <a:gd name="connsiteX216" fmla="*/ 6548438 w 8601075"/>
                  <a:gd name="connsiteY216" fmla="*/ 3248025 h 4305300"/>
                  <a:gd name="connsiteX217" fmla="*/ 6498431 w 8601075"/>
                  <a:gd name="connsiteY217" fmla="*/ 3217068 h 4305300"/>
                  <a:gd name="connsiteX218" fmla="*/ 6438900 w 8601075"/>
                  <a:gd name="connsiteY218" fmla="*/ 3162300 h 4305300"/>
                  <a:gd name="connsiteX219" fmla="*/ 6419850 w 8601075"/>
                  <a:gd name="connsiteY219" fmla="*/ 3105150 h 4305300"/>
                  <a:gd name="connsiteX220" fmla="*/ 6384131 w 8601075"/>
                  <a:gd name="connsiteY220" fmla="*/ 3071813 h 4305300"/>
                  <a:gd name="connsiteX221" fmla="*/ 6410325 w 8601075"/>
                  <a:gd name="connsiteY221" fmla="*/ 3019425 h 4305300"/>
                  <a:gd name="connsiteX222" fmla="*/ 6450806 w 8601075"/>
                  <a:gd name="connsiteY222" fmla="*/ 2840831 h 4305300"/>
                  <a:gd name="connsiteX223" fmla="*/ 6491288 w 8601075"/>
                  <a:gd name="connsiteY223" fmla="*/ 2774156 h 4305300"/>
                  <a:gd name="connsiteX224" fmla="*/ 6636544 w 8601075"/>
                  <a:gd name="connsiteY224" fmla="*/ 2757487 h 4305300"/>
                  <a:gd name="connsiteX225" fmla="*/ 6705600 w 8601075"/>
                  <a:gd name="connsiteY225" fmla="*/ 2814638 h 4305300"/>
                  <a:gd name="connsiteX226" fmla="*/ 6781800 w 8601075"/>
                  <a:gd name="connsiteY226" fmla="*/ 2838450 h 4305300"/>
                  <a:gd name="connsiteX227" fmla="*/ 6986587 w 8601075"/>
                  <a:gd name="connsiteY227" fmla="*/ 2843213 h 4305300"/>
                  <a:gd name="connsiteX228" fmla="*/ 7162800 w 8601075"/>
                  <a:gd name="connsiteY228" fmla="*/ 2705100 h 4305300"/>
                  <a:gd name="connsiteX229" fmla="*/ 7219950 w 8601075"/>
                  <a:gd name="connsiteY229" fmla="*/ 2614612 h 4305300"/>
                  <a:gd name="connsiteX230" fmla="*/ 7246144 w 8601075"/>
                  <a:gd name="connsiteY230" fmla="*/ 2531269 h 4305300"/>
                  <a:gd name="connsiteX231" fmla="*/ 7377112 w 8601075"/>
                  <a:gd name="connsiteY231" fmla="*/ 2531269 h 4305300"/>
                  <a:gd name="connsiteX232" fmla="*/ 7550944 w 8601075"/>
                  <a:gd name="connsiteY232" fmla="*/ 2474118 h 4305300"/>
                  <a:gd name="connsiteX233" fmla="*/ 7610475 w 8601075"/>
                  <a:gd name="connsiteY233" fmla="*/ 2362200 h 4305300"/>
                  <a:gd name="connsiteX234" fmla="*/ 7674769 w 8601075"/>
                  <a:gd name="connsiteY234" fmla="*/ 2326481 h 4305300"/>
                  <a:gd name="connsiteX235" fmla="*/ 7653338 w 8601075"/>
                  <a:gd name="connsiteY235" fmla="*/ 2281238 h 4305300"/>
                  <a:gd name="connsiteX236" fmla="*/ 7731919 w 8601075"/>
                  <a:gd name="connsiteY236" fmla="*/ 2112168 h 4305300"/>
                  <a:gd name="connsiteX237" fmla="*/ 7786688 w 8601075"/>
                  <a:gd name="connsiteY237" fmla="*/ 2052638 h 4305300"/>
                  <a:gd name="connsiteX238" fmla="*/ 7824788 w 8601075"/>
                  <a:gd name="connsiteY238" fmla="*/ 2047875 h 4305300"/>
                  <a:gd name="connsiteX239" fmla="*/ 7870031 w 8601075"/>
                  <a:gd name="connsiteY239" fmla="*/ 2052638 h 4305300"/>
                  <a:gd name="connsiteX240" fmla="*/ 7934325 w 8601075"/>
                  <a:gd name="connsiteY240" fmla="*/ 2019300 h 4305300"/>
                  <a:gd name="connsiteX241" fmla="*/ 7943850 w 8601075"/>
                  <a:gd name="connsiteY241" fmla="*/ 1955006 h 4305300"/>
                  <a:gd name="connsiteX242" fmla="*/ 7984330 w 8601075"/>
                  <a:gd name="connsiteY242" fmla="*/ 1919288 h 4305300"/>
                  <a:gd name="connsiteX243" fmla="*/ 8043863 w 8601075"/>
                  <a:gd name="connsiteY243" fmla="*/ 1959768 h 4305300"/>
                  <a:gd name="connsiteX244" fmla="*/ 8070057 w 8601075"/>
                  <a:gd name="connsiteY244" fmla="*/ 1909762 h 4305300"/>
                  <a:gd name="connsiteX245" fmla="*/ 8165306 w 8601075"/>
                  <a:gd name="connsiteY245" fmla="*/ 1840706 h 4305300"/>
                  <a:gd name="connsiteX246" fmla="*/ 8227219 w 8601075"/>
                  <a:gd name="connsiteY246" fmla="*/ 1847850 h 4305300"/>
                  <a:gd name="connsiteX247" fmla="*/ 8277225 w 8601075"/>
                  <a:gd name="connsiteY247" fmla="*/ 1828800 h 4305300"/>
                  <a:gd name="connsiteX248" fmla="*/ 8315325 w 8601075"/>
                  <a:gd name="connsiteY248" fmla="*/ 1800225 h 4305300"/>
                  <a:gd name="connsiteX249" fmla="*/ 8348663 w 8601075"/>
                  <a:gd name="connsiteY249" fmla="*/ 1797844 h 4305300"/>
                  <a:gd name="connsiteX250" fmla="*/ 8384381 w 8601075"/>
                  <a:gd name="connsiteY250" fmla="*/ 1828800 h 4305300"/>
                  <a:gd name="connsiteX251" fmla="*/ 8443913 w 8601075"/>
                  <a:gd name="connsiteY251" fmla="*/ 1828800 h 4305300"/>
                  <a:gd name="connsiteX252" fmla="*/ 8482012 w 8601075"/>
                  <a:gd name="connsiteY252" fmla="*/ 1809750 h 4305300"/>
                  <a:gd name="connsiteX253" fmla="*/ 8565356 w 8601075"/>
                  <a:gd name="connsiteY253" fmla="*/ 1812132 h 4305300"/>
                  <a:gd name="connsiteX254" fmla="*/ 8596313 w 8601075"/>
                  <a:gd name="connsiteY254" fmla="*/ 1766888 h 4305300"/>
                  <a:gd name="connsiteX255" fmla="*/ 8601075 w 8601075"/>
                  <a:gd name="connsiteY255" fmla="*/ 1704975 h 4305300"/>
                  <a:gd name="connsiteX256" fmla="*/ 8551068 w 8601075"/>
                  <a:gd name="connsiteY256" fmla="*/ 1664494 h 4305300"/>
                  <a:gd name="connsiteX257" fmla="*/ 8534400 w 8601075"/>
                  <a:gd name="connsiteY257" fmla="*/ 1609725 h 4305300"/>
                  <a:gd name="connsiteX258" fmla="*/ 8443913 w 8601075"/>
                  <a:gd name="connsiteY258" fmla="*/ 1547813 h 4305300"/>
                  <a:gd name="connsiteX259" fmla="*/ 8403431 w 8601075"/>
                  <a:gd name="connsiteY259" fmla="*/ 1526381 h 4305300"/>
                  <a:gd name="connsiteX260" fmla="*/ 8365331 w 8601075"/>
                  <a:gd name="connsiteY260" fmla="*/ 1481138 h 4305300"/>
                  <a:gd name="connsiteX261" fmla="*/ 8334375 w 8601075"/>
                  <a:gd name="connsiteY261" fmla="*/ 1478756 h 4305300"/>
                  <a:gd name="connsiteX262" fmla="*/ 8317706 w 8601075"/>
                  <a:gd name="connsiteY262" fmla="*/ 1426369 h 4305300"/>
                  <a:gd name="connsiteX263" fmla="*/ 8277225 w 8601075"/>
                  <a:gd name="connsiteY263" fmla="*/ 1409700 h 4305300"/>
                  <a:gd name="connsiteX264" fmla="*/ 8277225 w 8601075"/>
                  <a:gd name="connsiteY264" fmla="*/ 1409700 h 4305300"/>
                  <a:gd name="connsiteX265" fmla="*/ 8236744 w 8601075"/>
                  <a:gd name="connsiteY265" fmla="*/ 1414463 h 4305300"/>
                  <a:gd name="connsiteX266" fmla="*/ 8151018 w 8601075"/>
                  <a:gd name="connsiteY266" fmla="*/ 1340644 h 4305300"/>
                  <a:gd name="connsiteX267" fmla="*/ 7970044 w 8601075"/>
                  <a:gd name="connsiteY267" fmla="*/ 1340643 h 4305300"/>
                  <a:gd name="connsiteX268" fmla="*/ 7917656 w 8601075"/>
                  <a:gd name="connsiteY268" fmla="*/ 1378744 h 4305300"/>
                  <a:gd name="connsiteX269" fmla="*/ 7867650 w 8601075"/>
                  <a:gd name="connsiteY269" fmla="*/ 1457325 h 4305300"/>
                  <a:gd name="connsiteX270" fmla="*/ 7884319 w 8601075"/>
                  <a:gd name="connsiteY270" fmla="*/ 1478756 h 4305300"/>
                  <a:gd name="connsiteX271" fmla="*/ 7839075 w 8601075"/>
                  <a:gd name="connsiteY271" fmla="*/ 1528762 h 4305300"/>
                  <a:gd name="connsiteX272" fmla="*/ 7689056 w 8601075"/>
                  <a:gd name="connsiteY272" fmla="*/ 1452562 h 4305300"/>
                  <a:gd name="connsiteX273" fmla="*/ 7598569 w 8601075"/>
                  <a:gd name="connsiteY273" fmla="*/ 1488281 h 4305300"/>
                  <a:gd name="connsiteX274" fmla="*/ 7524750 w 8601075"/>
                  <a:gd name="connsiteY274" fmla="*/ 1485900 h 4305300"/>
                  <a:gd name="connsiteX275" fmla="*/ 7467600 w 8601075"/>
                  <a:gd name="connsiteY275" fmla="*/ 1581150 h 4305300"/>
                  <a:gd name="connsiteX276" fmla="*/ 7329488 w 8601075"/>
                  <a:gd name="connsiteY276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631781 w 8601075"/>
                  <a:gd name="connsiteY14" fmla="*/ 826294 h 4305300"/>
                  <a:gd name="connsiteX15" fmla="*/ 6600825 w 8601075"/>
                  <a:gd name="connsiteY15" fmla="*/ 904875 h 4305300"/>
                  <a:gd name="connsiteX16" fmla="*/ 6600825 w 8601075"/>
                  <a:gd name="connsiteY16" fmla="*/ 904875 h 4305300"/>
                  <a:gd name="connsiteX17" fmla="*/ 6534150 w 8601075"/>
                  <a:gd name="connsiteY17" fmla="*/ 942975 h 4305300"/>
                  <a:gd name="connsiteX18" fmla="*/ 6534150 w 8601075"/>
                  <a:gd name="connsiteY18" fmla="*/ 942975 h 4305300"/>
                  <a:gd name="connsiteX19" fmla="*/ 6362700 w 8601075"/>
                  <a:gd name="connsiteY19" fmla="*/ 1009650 h 4305300"/>
                  <a:gd name="connsiteX20" fmla="*/ 6238875 w 8601075"/>
                  <a:gd name="connsiteY20" fmla="*/ 1057275 h 4305300"/>
                  <a:gd name="connsiteX21" fmla="*/ 6115050 w 8601075"/>
                  <a:gd name="connsiteY21" fmla="*/ 1114425 h 4305300"/>
                  <a:gd name="connsiteX22" fmla="*/ 5962650 w 8601075"/>
                  <a:gd name="connsiteY22" fmla="*/ 1190625 h 4305300"/>
                  <a:gd name="connsiteX23" fmla="*/ 5895975 w 8601075"/>
                  <a:gd name="connsiteY23" fmla="*/ 1143000 h 4305300"/>
                  <a:gd name="connsiteX24" fmla="*/ 5895975 w 8601075"/>
                  <a:gd name="connsiteY24" fmla="*/ 1143000 h 4305300"/>
                  <a:gd name="connsiteX25" fmla="*/ 5676900 w 8601075"/>
                  <a:gd name="connsiteY25" fmla="*/ 1181100 h 4305300"/>
                  <a:gd name="connsiteX26" fmla="*/ 5600700 w 8601075"/>
                  <a:gd name="connsiteY26" fmla="*/ 1114425 h 4305300"/>
                  <a:gd name="connsiteX27" fmla="*/ 5391150 w 8601075"/>
                  <a:gd name="connsiteY27" fmla="*/ 1123950 h 4305300"/>
                  <a:gd name="connsiteX28" fmla="*/ 5334000 w 8601075"/>
                  <a:gd name="connsiteY28" fmla="*/ 1066800 h 4305300"/>
                  <a:gd name="connsiteX29" fmla="*/ 5248275 w 8601075"/>
                  <a:gd name="connsiteY29" fmla="*/ 981075 h 4305300"/>
                  <a:gd name="connsiteX30" fmla="*/ 5238750 w 8601075"/>
                  <a:gd name="connsiteY30" fmla="*/ 895350 h 4305300"/>
                  <a:gd name="connsiteX31" fmla="*/ 5133975 w 8601075"/>
                  <a:gd name="connsiteY31" fmla="*/ 895350 h 4305300"/>
                  <a:gd name="connsiteX32" fmla="*/ 4991100 w 8601075"/>
                  <a:gd name="connsiteY32" fmla="*/ 838200 h 4305300"/>
                  <a:gd name="connsiteX33" fmla="*/ 4905375 w 8601075"/>
                  <a:gd name="connsiteY33" fmla="*/ 771525 h 4305300"/>
                  <a:gd name="connsiteX34" fmla="*/ 4905375 w 8601075"/>
                  <a:gd name="connsiteY34" fmla="*/ 771525 h 4305300"/>
                  <a:gd name="connsiteX35" fmla="*/ 4781550 w 8601075"/>
                  <a:gd name="connsiteY35" fmla="*/ 762000 h 4305300"/>
                  <a:gd name="connsiteX36" fmla="*/ 4648200 w 8601075"/>
                  <a:gd name="connsiteY36" fmla="*/ 714375 h 4305300"/>
                  <a:gd name="connsiteX37" fmla="*/ 4581525 w 8601075"/>
                  <a:gd name="connsiteY37" fmla="*/ 695325 h 4305300"/>
                  <a:gd name="connsiteX38" fmla="*/ 4495800 w 8601075"/>
                  <a:gd name="connsiteY38" fmla="*/ 742950 h 4305300"/>
                  <a:gd name="connsiteX39" fmla="*/ 4343400 w 8601075"/>
                  <a:gd name="connsiteY39" fmla="*/ 781050 h 4305300"/>
                  <a:gd name="connsiteX40" fmla="*/ 4252913 w 8601075"/>
                  <a:gd name="connsiteY40" fmla="*/ 862013 h 4305300"/>
                  <a:gd name="connsiteX41" fmla="*/ 4205287 w 8601075"/>
                  <a:gd name="connsiteY41" fmla="*/ 823913 h 4305300"/>
                  <a:gd name="connsiteX42" fmla="*/ 4183856 w 8601075"/>
                  <a:gd name="connsiteY42" fmla="*/ 854868 h 4305300"/>
                  <a:gd name="connsiteX43" fmla="*/ 4110038 w 8601075"/>
                  <a:gd name="connsiteY43" fmla="*/ 804863 h 4305300"/>
                  <a:gd name="connsiteX44" fmla="*/ 4071938 w 8601075"/>
                  <a:gd name="connsiteY44" fmla="*/ 812006 h 4305300"/>
                  <a:gd name="connsiteX45" fmla="*/ 4050506 w 8601075"/>
                  <a:gd name="connsiteY45" fmla="*/ 773906 h 4305300"/>
                  <a:gd name="connsiteX46" fmla="*/ 3990975 w 8601075"/>
                  <a:gd name="connsiteY46" fmla="*/ 778669 h 4305300"/>
                  <a:gd name="connsiteX47" fmla="*/ 3945731 w 8601075"/>
                  <a:gd name="connsiteY47" fmla="*/ 750094 h 4305300"/>
                  <a:gd name="connsiteX48" fmla="*/ 3907631 w 8601075"/>
                  <a:gd name="connsiteY48" fmla="*/ 747713 h 4305300"/>
                  <a:gd name="connsiteX49" fmla="*/ 3888581 w 8601075"/>
                  <a:gd name="connsiteY49" fmla="*/ 700087 h 4305300"/>
                  <a:gd name="connsiteX50" fmla="*/ 3874294 w 8601075"/>
                  <a:gd name="connsiteY50" fmla="*/ 669131 h 4305300"/>
                  <a:gd name="connsiteX51" fmla="*/ 3829050 w 8601075"/>
                  <a:gd name="connsiteY51" fmla="*/ 678656 h 4305300"/>
                  <a:gd name="connsiteX52" fmla="*/ 3810000 w 8601075"/>
                  <a:gd name="connsiteY52" fmla="*/ 642938 h 4305300"/>
                  <a:gd name="connsiteX53" fmla="*/ 3831432 w 8601075"/>
                  <a:gd name="connsiteY53" fmla="*/ 588169 h 4305300"/>
                  <a:gd name="connsiteX54" fmla="*/ 3800475 w 8601075"/>
                  <a:gd name="connsiteY54" fmla="*/ 561975 h 4305300"/>
                  <a:gd name="connsiteX55" fmla="*/ 3817144 w 8601075"/>
                  <a:gd name="connsiteY55" fmla="*/ 519113 h 4305300"/>
                  <a:gd name="connsiteX56" fmla="*/ 3790950 w 8601075"/>
                  <a:gd name="connsiteY56" fmla="*/ 476250 h 4305300"/>
                  <a:gd name="connsiteX57" fmla="*/ 3786188 w 8601075"/>
                  <a:gd name="connsiteY57" fmla="*/ 414338 h 4305300"/>
                  <a:gd name="connsiteX58" fmla="*/ 3810000 w 8601075"/>
                  <a:gd name="connsiteY58" fmla="*/ 350043 h 4305300"/>
                  <a:gd name="connsiteX59" fmla="*/ 3771900 w 8601075"/>
                  <a:gd name="connsiteY59" fmla="*/ 352425 h 4305300"/>
                  <a:gd name="connsiteX60" fmla="*/ 3652838 w 8601075"/>
                  <a:gd name="connsiteY60" fmla="*/ 295275 h 4305300"/>
                  <a:gd name="connsiteX61" fmla="*/ 3614737 w 8601075"/>
                  <a:gd name="connsiteY61" fmla="*/ 300037 h 4305300"/>
                  <a:gd name="connsiteX62" fmla="*/ 3409950 w 8601075"/>
                  <a:gd name="connsiteY62" fmla="*/ 190500 h 4305300"/>
                  <a:gd name="connsiteX63" fmla="*/ 3305175 w 8601075"/>
                  <a:gd name="connsiteY63" fmla="*/ 159544 h 4305300"/>
                  <a:gd name="connsiteX64" fmla="*/ 3240881 w 8601075"/>
                  <a:gd name="connsiteY64" fmla="*/ 169068 h 4305300"/>
                  <a:gd name="connsiteX65" fmla="*/ 3209925 w 8601075"/>
                  <a:gd name="connsiteY65" fmla="*/ 104775 h 4305300"/>
                  <a:gd name="connsiteX66" fmla="*/ 3152775 w 8601075"/>
                  <a:gd name="connsiteY66" fmla="*/ 104775 h 4305300"/>
                  <a:gd name="connsiteX67" fmla="*/ 3014662 w 8601075"/>
                  <a:gd name="connsiteY67" fmla="*/ 0 h 4305300"/>
                  <a:gd name="connsiteX68" fmla="*/ 2981325 w 8601075"/>
                  <a:gd name="connsiteY68" fmla="*/ 59532 h 4305300"/>
                  <a:gd name="connsiteX69" fmla="*/ 2926556 w 8601075"/>
                  <a:gd name="connsiteY69" fmla="*/ 128588 h 4305300"/>
                  <a:gd name="connsiteX70" fmla="*/ 2883694 w 8601075"/>
                  <a:gd name="connsiteY70" fmla="*/ 145256 h 4305300"/>
                  <a:gd name="connsiteX71" fmla="*/ 2852738 w 8601075"/>
                  <a:gd name="connsiteY71" fmla="*/ 138113 h 4305300"/>
                  <a:gd name="connsiteX72" fmla="*/ 2828925 w 8601075"/>
                  <a:gd name="connsiteY72" fmla="*/ 166688 h 4305300"/>
                  <a:gd name="connsiteX73" fmla="*/ 2802731 w 8601075"/>
                  <a:gd name="connsiteY73" fmla="*/ 245269 h 4305300"/>
                  <a:gd name="connsiteX74" fmla="*/ 2759869 w 8601075"/>
                  <a:gd name="connsiteY74" fmla="*/ 242888 h 4305300"/>
                  <a:gd name="connsiteX75" fmla="*/ 2728912 w 8601075"/>
                  <a:gd name="connsiteY75" fmla="*/ 304800 h 4305300"/>
                  <a:gd name="connsiteX76" fmla="*/ 2724150 w 8601075"/>
                  <a:gd name="connsiteY76" fmla="*/ 369094 h 4305300"/>
                  <a:gd name="connsiteX77" fmla="*/ 2697957 w 8601075"/>
                  <a:gd name="connsiteY77" fmla="*/ 407194 h 4305300"/>
                  <a:gd name="connsiteX78" fmla="*/ 2724150 w 8601075"/>
                  <a:gd name="connsiteY78" fmla="*/ 466725 h 4305300"/>
                  <a:gd name="connsiteX79" fmla="*/ 2726531 w 8601075"/>
                  <a:gd name="connsiteY79" fmla="*/ 535781 h 4305300"/>
                  <a:gd name="connsiteX80" fmla="*/ 2755106 w 8601075"/>
                  <a:gd name="connsiteY80" fmla="*/ 588169 h 4305300"/>
                  <a:gd name="connsiteX81" fmla="*/ 2802732 w 8601075"/>
                  <a:gd name="connsiteY81" fmla="*/ 642938 h 4305300"/>
                  <a:gd name="connsiteX82" fmla="*/ 2752725 w 8601075"/>
                  <a:gd name="connsiteY82" fmla="*/ 781050 h 4305300"/>
                  <a:gd name="connsiteX83" fmla="*/ 2683669 w 8601075"/>
                  <a:gd name="connsiteY83" fmla="*/ 847725 h 4305300"/>
                  <a:gd name="connsiteX84" fmla="*/ 2612231 w 8601075"/>
                  <a:gd name="connsiteY84" fmla="*/ 842963 h 4305300"/>
                  <a:gd name="connsiteX85" fmla="*/ 2574131 w 8601075"/>
                  <a:gd name="connsiteY85" fmla="*/ 900113 h 4305300"/>
                  <a:gd name="connsiteX86" fmla="*/ 2514600 w 8601075"/>
                  <a:gd name="connsiteY86" fmla="*/ 914400 h 4305300"/>
                  <a:gd name="connsiteX87" fmla="*/ 2445544 w 8601075"/>
                  <a:gd name="connsiteY87" fmla="*/ 854869 h 4305300"/>
                  <a:gd name="connsiteX88" fmla="*/ 2390775 w 8601075"/>
                  <a:gd name="connsiteY88" fmla="*/ 826294 h 4305300"/>
                  <a:gd name="connsiteX89" fmla="*/ 2347913 w 8601075"/>
                  <a:gd name="connsiteY89" fmla="*/ 840581 h 4305300"/>
                  <a:gd name="connsiteX90" fmla="*/ 2295525 w 8601075"/>
                  <a:gd name="connsiteY90" fmla="*/ 823913 h 4305300"/>
                  <a:gd name="connsiteX91" fmla="*/ 2228850 w 8601075"/>
                  <a:gd name="connsiteY91" fmla="*/ 769144 h 4305300"/>
                  <a:gd name="connsiteX92" fmla="*/ 2183606 w 8601075"/>
                  <a:gd name="connsiteY92" fmla="*/ 781050 h 4305300"/>
                  <a:gd name="connsiteX93" fmla="*/ 2162175 w 8601075"/>
                  <a:gd name="connsiteY93" fmla="*/ 750094 h 4305300"/>
                  <a:gd name="connsiteX94" fmla="*/ 2105025 w 8601075"/>
                  <a:gd name="connsiteY94" fmla="*/ 790575 h 4305300"/>
                  <a:gd name="connsiteX95" fmla="*/ 1988344 w 8601075"/>
                  <a:gd name="connsiteY95" fmla="*/ 769144 h 4305300"/>
                  <a:gd name="connsiteX96" fmla="*/ 1938338 w 8601075"/>
                  <a:gd name="connsiteY96" fmla="*/ 716756 h 4305300"/>
                  <a:gd name="connsiteX97" fmla="*/ 1895475 w 8601075"/>
                  <a:gd name="connsiteY97" fmla="*/ 702469 h 4305300"/>
                  <a:gd name="connsiteX98" fmla="*/ 1852613 w 8601075"/>
                  <a:gd name="connsiteY98" fmla="*/ 728663 h 4305300"/>
                  <a:gd name="connsiteX99" fmla="*/ 1800225 w 8601075"/>
                  <a:gd name="connsiteY99" fmla="*/ 638175 h 4305300"/>
                  <a:gd name="connsiteX100" fmla="*/ 1790700 w 8601075"/>
                  <a:gd name="connsiteY100" fmla="*/ 490537 h 4305300"/>
                  <a:gd name="connsiteX101" fmla="*/ 1738312 w 8601075"/>
                  <a:gd name="connsiteY101" fmla="*/ 483393 h 4305300"/>
                  <a:gd name="connsiteX102" fmla="*/ 1647825 w 8601075"/>
                  <a:gd name="connsiteY102" fmla="*/ 473869 h 4305300"/>
                  <a:gd name="connsiteX103" fmla="*/ 1593056 w 8601075"/>
                  <a:gd name="connsiteY103" fmla="*/ 435769 h 4305300"/>
                  <a:gd name="connsiteX104" fmla="*/ 1524000 w 8601075"/>
                  <a:gd name="connsiteY104" fmla="*/ 445294 h 4305300"/>
                  <a:gd name="connsiteX105" fmla="*/ 1478756 w 8601075"/>
                  <a:gd name="connsiteY105" fmla="*/ 419100 h 4305300"/>
                  <a:gd name="connsiteX106" fmla="*/ 1469232 w 8601075"/>
                  <a:gd name="connsiteY106" fmla="*/ 347663 h 4305300"/>
                  <a:gd name="connsiteX107" fmla="*/ 1445419 w 8601075"/>
                  <a:gd name="connsiteY107" fmla="*/ 333375 h 4305300"/>
                  <a:gd name="connsiteX108" fmla="*/ 1407319 w 8601075"/>
                  <a:gd name="connsiteY108" fmla="*/ 380999 h 4305300"/>
                  <a:gd name="connsiteX109" fmla="*/ 1328737 w 8601075"/>
                  <a:gd name="connsiteY109" fmla="*/ 307181 h 4305300"/>
                  <a:gd name="connsiteX110" fmla="*/ 1288256 w 8601075"/>
                  <a:gd name="connsiteY110" fmla="*/ 347663 h 4305300"/>
                  <a:gd name="connsiteX111" fmla="*/ 1212056 w 8601075"/>
                  <a:gd name="connsiteY111" fmla="*/ 333375 h 4305300"/>
                  <a:gd name="connsiteX112" fmla="*/ 1133475 w 8601075"/>
                  <a:gd name="connsiteY112" fmla="*/ 359569 h 4305300"/>
                  <a:gd name="connsiteX113" fmla="*/ 1073944 w 8601075"/>
                  <a:gd name="connsiteY113" fmla="*/ 407193 h 4305300"/>
                  <a:gd name="connsiteX114" fmla="*/ 1000125 w 8601075"/>
                  <a:gd name="connsiteY114" fmla="*/ 419100 h 4305300"/>
                  <a:gd name="connsiteX115" fmla="*/ 964406 w 8601075"/>
                  <a:gd name="connsiteY115" fmla="*/ 411956 h 4305300"/>
                  <a:gd name="connsiteX116" fmla="*/ 885826 w 8601075"/>
                  <a:gd name="connsiteY116" fmla="*/ 442913 h 4305300"/>
                  <a:gd name="connsiteX117" fmla="*/ 864394 w 8601075"/>
                  <a:gd name="connsiteY117" fmla="*/ 471488 h 4305300"/>
                  <a:gd name="connsiteX118" fmla="*/ 797719 w 8601075"/>
                  <a:gd name="connsiteY118" fmla="*/ 461963 h 4305300"/>
                  <a:gd name="connsiteX119" fmla="*/ 728663 w 8601075"/>
                  <a:gd name="connsiteY119" fmla="*/ 485775 h 4305300"/>
                  <a:gd name="connsiteX120" fmla="*/ 673894 w 8601075"/>
                  <a:gd name="connsiteY120" fmla="*/ 523875 h 4305300"/>
                  <a:gd name="connsiteX121" fmla="*/ 578644 w 8601075"/>
                  <a:gd name="connsiteY121" fmla="*/ 538162 h 4305300"/>
                  <a:gd name="connsiteX122" fmla="*/ 564356 w 8601075"/>
                  <a:gd name="connsiteY122" fmla="*/ 559594 h 4305300"/>
                  <a:gd name="connsiteX123" fmla="*/ 576262 w 8601075"/>
                  <a:gd name="connsiteY123" fmla="*/ 604838 h 4305300"/>
                  <a:gd name="connsiteX124" fmla="*/ 476251 w 8601075"/>
                  <a:gd name="connsiteY124" fmla="*/ 657225 h 4305300"/>
                  <a:gd name="connsiteX125" fmla="*/ 438150 w 8601075"/>
                  <a:gd name="connsiteY125" fmla="*/ 628649 h 4305300"/>
                  <a:gd name="connsiteX126" fmla="*/ 407194 w 8601075"/>
                  <a:gd name="connsiteY126" fmla="*/ 685800 h 4305300"/>
                  <a:gd name="connsiteX127" fmla="*/ 350044 w 8601075"/>
                  <a:gd name="connsiteY127" fmla="*/ 647700 h 4305300"/>
                  <a:gd name="connsiteX128" fmla="*/ 314325 w 8601075"/>
                  <a:gd name="connsiteY128" fmla="*/ 676275 h 4305300"/>
                  <a:gd name="connsiteX129" fmla="*/ 278606 w 8601075"/>
                  <a:gd name="connsiteY129" fmla="*/ 640556 h 4305300"/>
                  <a:gd name="connsiteX130" fmla="*/ 226219 w 8601075"/>
                  <a:gd name="connsiteY130" fmla="*/ 652463 h 4305300"/>
                  <a:gd name="connsiteX131" fmla="*/ 180975 w 8601075"/>
                  <a:gd name="connsiteY131" fmla="*/ 623888 h 4305300"/>
                  <a:gd name="connsiteX132" fmla="*/ 157163 w 8601075"/>
                  <a:gd name="connsiteY132" fmla="*/ 642938 h 4305300"/>
                  <a:gd name="connsiteX133" fmla="*/ 133350 w 8601075"/>
                  <a:gd name="connsiteY133" fmla="*/ 702469 h 4305300"/>
                  <a:gd name="connsiteX134" fmla="*/ 61913 w 8601075"/>
                  <a:gd name="connsiteY134" fmla="*/ 740568 h 4305300"/>
                  <a:gd name="connsiteX135" fmla="*/ 28575 w 8601075"/>
                  <a:gd name="connsiteY135" fmla="*/ 769144 h 4305300"/>
                  <a:gd name="connsiteX136" fmla="*/ 33338 w 8601075"/>
                  <a:gd name="connsiteY136" fmla="*/ 812006 h 4305300"/>
                  <a:gd name="connsiteX137" fmla="*/ 0 w 8601075"/>
                  <a:gd name="connsiteY137" fmla="*/ 816769 h 4305300"/>
                  <a:gd name="connsiteX138" fmla="*/ 4763 w 8601075"/>
                  <a:gd name="connsiteY138" fmla="*/ 840581 h 4305300"/>
                  <a:gd name="connsiteX139" fmla="*/ 61912 w 8601075"/>
                  <a:gd name="connsiteY139" fmla="*/ 914400 h 4305300"/>
                  <a:gd name="connsiteX140" fmla="*/ 23813 w 8601075"/>
                  <a:gd name="connsiteY140" fmla="*/ 962025 h 4305300"/>
                  <a:gd name="connsiteX141" fmla="*/ 78581 w 8601075"/>
                  <a:gd name="connsiteY141" fmla="*/ 997744 h 4305300"/>
                  <a:gd name="connsiteX142" fmla="*/ 169069 w 8601075"/>
                  <a:gd name="connsiteY142" fmla="*/ 1085850 h 4305300"/>
                  <a:gd name="connsiteX143" fmla="*/ 171450 w 8601075"/>
                  <a:gd name="connsiteY143" fmla="*/ 1145381 h 4305300"/>
                  <a:gd name="connsiteX144" fmla="*/ 307181 w 8601075"/>
                  <a:gd name="connsiteY144" fmla="*/ 1278732 h 4305300"/>
                  <a:gd name="connsiteX145" fmla="*/ 361950 w 8601075"/>
                  <a:gd name="connsiteY145" fmla="*/ 1254919 h 4305300"/>
                  <a:gd name="connsiteX146" fmla="*/ 400050 w 8601075"/>
                  <a:gd name="connsiteY146" fmla="*/ 1281112 h 4305300"/>
                  <a:gd name="connsiteX147" fmla="*/ 414338 w 8601075"/>
                  <a:gd name="connsiteY147" fmla="*/ 1331118 h 4305300"/>
                  <a:gd name="connsiteX148" fmla="*/ 457200 w 8601075"/>
                  <a:gd name="connsiteY148" fmla="*/ 1366838 h 4305300"/>
                  <a:gd name="connsiteX149" fmla="*/ 497681 w 8601075"/>
                  <a:gd name="connsiteY149" fmla="*/ 1354931 h 4305300"/>
                  <a:gd name="connsiteX150" fmla="*/ 516731 w 8601075"/>
                  <a:gd name="connsiteY150" fmla="*/ 1412081 h 4305300"/>
                  <a:gd name="connsiteX151" fmla="*/ 564356 w 8601075"/>
                  <a:gd name="connsiteY151" fmla="*/ 1454944 h 4305300"/>
                  <a:gd name="connsiteX152" fmla="*/ 588169 w 8601075"/>
                  <a:gd name="connsiteY152" fmla="*/ 1557338 h 4305300"/>
                  <a:gd name="connsiteX153" fmla="*/ 585788 w 8601075"/>
                  <a:gd name="connsiteY153" fmla="*/ 1604963 h 4305300"/>
                  <a:gd name="connsiteX154" fmla="*/ 621506 w 8601075"/>
                  <a:gd name="connsiteY154" fmla="*/ 1704975 h 4305300"/>
                  <a:gd name="connsiteX155" fmla="*/ 666750 w 8601075"/>
                  <a:gd name="connsiteY155" fmla="*/ 1762125 h 4305300"/>
                  <a:gd name="connsiteX156" fmla="*/ 683418 w 8601075"/>
                  <a:gd name="connsiteY156" fmla="*/ 1919287 h 4305300"/>
                  <a:gd name="connsiteX157" fmla="*/ 650081 w 8601075"/>
                  <a:gd name="connsiteY157" fmla="*/ 1981200 h 4305300"/>
                  <a:gd name="connsiteX158" fmla="*/ 619125 w 8601075"/>
                  <a:gd name="connsiteY158" fmla="*/ 2057400 h 4305300"/>
                  <a:gd name="connsiteX159" fmla="*/ 633413 w 8601075"/>
                  <a:gd name="connsiteY159" fmla="*/ 2114550 h 4305300"/>
                  <a:gd name="connsiteX160" fmla="*/ 535781 w 8601075"/>
                  <a:gd name="connsiteY160" fmla="*/ 2221707 h 4305300"/>
                  <a:gd name="connsiteX161" fmla="*/ 492919 w 8601075"/>
                  <a:gd name="connsiteY161" fmla="*/ 2336006 h 4305300"/>
                  <a:gd name="connsiteX162" fmla="*/ 526256 w 8601075"/>
                  <a:gd name="connsiteY162" fmla="*/ 2376488 h 4305300"/>
                  <a:gd name="connsiteX163" fmla="*/ 509588 w 8601075"/>
                  <a:gd name="connsiteY163" fmla="*/ 2405063 h 4305300"/>
                  <a:gd name="connsiteX164" fmla="*/ 540544 w 8601075"/>
                  <a:gd name="connsiteY164" fmla="*/ 2462213 h 4305300"/>
                  <a:gd name="connsiteX165" fmla="*/ 569119 w 8601075"/>
                  <a:gd name="connsiteY165" fmla="*/ 2462213 h 4305300"/>
                  <a:gd name="connsiteX166" fmla="*/ 731044 w 8601075"/>
                  <a:gd name="connsiteY166" fmla="*/ 2564606 h 4305300"/>
                  <a:gd name="connsiteX167" fmla="*/ 835819 w 8601075"/>
                  <a:gd name="connsiteY167" fmla="*/ 2562225 h 4305300"/>
                  <a:gd name="connsiteX168" fmla="*/ 914400 w 8601075"/>
                  <a:gd name="connsiteY168" fmla="*/ 2616994 h 4305300"/>
                  <a:gd name="connsiteX169" fmla="*/ 1045368 w 8601075"/>
                  <a:gd name="connsiteY169" fmla="*/ 2619375 h 4305300"/>
                  <a:gd name="connsiteX170" fmla="*/ 1235868 w 8601075"/>
                  <a:gd name="connsiteY170" fmla="*/ 2688431 h 4305300"/>
                  <a:gd name="connsiteX171" fmla="*/ 1438275 w 8601075"/>
                  <a:gd name="connsiteY171" fmla="*/ 2838450 h 4305300"/>
                  <a:gd name="connsiteX172" fmla="*/ 1471612 w 8601075"/>
                  <a:gd name="connsiteY172" fmla="*/ 2905125 h 4305300"/>
                  <a:gd name="connsiteX173" fmla="*/ 1638300 w 8601075"/>
                  <a:gd name="connsiteY173" fmla="*/ 3031331 h 4305300"/>
                  <a:gd name="connsiteX174" fmla="*/ 1709738 w 8601075"/>
                  <a:gd name="connsiteY174" fmla="*/ 3026569 h 4305300"/>
                  <a:gd name="connsiteX175" fmla="*/ 1745457 w 8601075"/>
                  <a:gd name="connsiteY175" fmla="*/ 3050381 h 4305300"/>
                  <a:gd name="connsiteX176" fmla="*/ 1716881 w 8601075"/>
                  <a:gd name="connsiteY176" fmla="*/ 3090863 h 4305300"/>
                  <a:gd name="connsiteX177" fmla="*/ 1724025 w 8601075"/>
                  <a:gd name="connsiteY177" fmla="*/ 3143250 h 4305300"/>
                  <a:gd name="connsiteX178" fmla="*/ 1776413 w 8601075"/>
                  <a:gd name="connsiteY178" fmla="*/ 3169444 h 4305300"/>
                  <a:gd name="connsiteX179" fmla="*/ 1838325 w 8601075"/>
                  <a:gd name="connsiteY179" fmla="*/ 3393282 h 4305300"/>
                  <a:gd name="connsiteX180" fmla="*/ 1828800 w 8601075"/>
                  <a:gd name="connsiteY180" fmla="*/ 3457575 h 4305300"/>
                  <a:gd name="connsiteX181" fmla="*/ 1964531 w 8601075"/>
                  <a:gd name="connsiteY181" fmla="*/ 3624263 h 4305300"/>
                  <a:gd name="connsiteX182" fmla="*/ 1983581 w 8601075"/>
                  <a:gd name="connsiteY182" fmla="*/ 3674269 h 4305300"/>
                  <a:gd name="connsiteX183" fmla="*/ 1957388 w 8601075"/>
                  <a:gd name="connsiteY183" fmla="*/ 3693319 h 4305300"/>
                  <a:gd name="connsiteX184" fmla="*/ 2059781 w 8601075"/>
                  <a:gd name="connsiteY184" fmla="*/ 3702844 h 4305300"/>
                  <a:gd name="connsiteX185" fmla="*/ 2171700 w 8601075"/>
                  <a:gd name="connsiteY185" fmla="*/ 3690938 h 4305300"/>
                  <a:gd name="connsiteX186" fmla="*/ 2450306 w 8601075"/>
                  <a:gd name="connsiteY186" fmla="*/ 3774281 h 4305300"/>
                  <a:gd name="connsiteX187" fmla="*/ 2857500 w 8601075"/>
                  <a:gd name="connsiteY187" fmla="*/ 3855244 h 4305300"/>
                  <a:gd name="connsiteX188" fmla="*/ 3055144 w 8601075"/>
                  <a:gd name="connsiteY188" fmla="*/ 3824287 h 4305300"/>
                  <a:gd name="connsiteX189" fmla="*/ 3100388 w 8601075"/>
                  <a:gd name="connsiteY189" fmla="*/ 3836193 h 4305300"/>
                  <a:gd name="connsiteX190" fmla="*/ 3155156 w 8601075"/>
                  <a:gd name="connsiteY190" fmla="*/ 3812382 h 4305300"/>
                  <a:gd name="connsiteX191" fmla="*/ 3548062 w 8601075"/>
                  <a:gd name="connsiteY191" fmla="*/ 3902869 h 4305300"/>
                  <a:gd name="connsiteX192" fmla="*/ 3631407 w 8601075"/>
                  <a:gd name="connsiteY192" fmla="*/ 4000500 h 4305300"/>
                  <a:gd name="connsiteX193" fmla="*/ 3750469 w 8601075"/>
                  <a:gd name="connsiteY193" fmla="*/ 4071938 h 4305300"/>
                  <a:gd name="connsiteX194" fmla="*/ 3810000 w 8601075"/>
                  <a:gd name="connsiteY194" fmla="*/ 4055269 h 4305300"/>
                  <a:gd name="connsiteX195" fmla="*/ 4160043 w 8601075"/>
                  <a:gd name="connsiteY195" fmla="*/ 4229100 h 4305300"/>
                  <a:gd name="connsiteX196" fmla="*/ 4386263 w 8601075"/>
                  <a:gd name="connsiteY196" fmla="*/ 4200525 h 4305300"/>
                  <a:gd name="connsiteX197" fmla="*/ 4395788 w 8601075"/>
                  <a:gd name="connsiteY197" fmla="*/ 4279106 h 4305300"/>
                  <a:gd name="connsiteX198" fmla="*/ 4481513 w 8601075"/>
                  <a:gd name="connsiteY198" fmla="*/ 4274343 h 4305300"/>
                  <a:gd name="connsiteX199" fmla="*/ 4560094 w 8601075"/>
                  <a:gd name="connsiteY199" fmla="*/ 4305300 h 4305300"/>
                  <a:gd name="connsiteX200" fmla="*/ 4602956 w 8601075"/>
                  <a:gd name="connsiteY200" fmla="*/ 4245769 h 4305300"/>
                  <a:gd name="connsiteX201" fmla="*/ 5274469 w 8601075"/>
                  <a:gd name="connsiteY201" fmla="*/ 3926681 h 4305300"/>
                  <a:gd name="connsiteX202" fmla="*/ 5362575 w 8601075"/>
                  <a:gd name="connsiteY202" fmla="*/ 3955257 h 4305300"/>
                  <a:gd name="connsiteX203" fmla="*/ 5493544 w 8601075"/>
                  <a:gd name="connsiteY203" fmla="*/ 3926681 h 4305300"/>
                  <a:gd name="connsiteX204" fmla="*/ 5672137 w 8601075"/>
                  <a:gd name="connsiteY204" fmla="*/ 3943350 h 4305300"/>
                  <a:gd name="connsiteX205" fmla="*/ 5729288 w 8601075"/>
                  <a:gd name="connsiteY205" fmla="*/ 3917157 h 4305300"/>
                  <a:gd name="connsiteX206" fmla="*/ 5862637 w 8601075"/>
                  <a:gd name="connsiteY206" fmla="*/ 3914775 h 4305300"/>
                  <a:gd name="connsiteX207" fmla="*/ 5995987 w 8601075"/>
                  <a:gd name="connsiteY207" fmla="*/ 3817144 h 4305300"/>
                  <a:gd name="connsiteX208" fmla="*/ 6062662 w 8601075"/>
                  <a:gd name="connsiteY208" fmla="*/ 3810000 h 4305300"/>
                  <a:gd name="connsiteX209" fmla="*/ 6160294 w 8601075"/>
                  <a:gd name="connsiteY209" fmla="*/ 3736181 h 4305300"/>
                  <a:gd name="connsiteX210" fmla="*/ 6234113 w 8601075"/>
                  <a:gd name="connsiteY210" fmla="*/ 3667125 h 4305300"/>
                  <a:gd name="connsiteX211" fmla="*/ 6243638 w 8601075"/>
                  <a:gd name="connsiteY211" fmla="*/ 3605213 h 4305300"/>
                  <a:gd name="connsiteX212" fmla="*/ 6276975 w 8601075"/>
                  <a:gd name="connsiteY212" fmla="*/ 3536156 h 4305300"/>
                  <a:gd name="connsiteX213" fmla="*/ 6429375 w 8601075"/>
                  <a:gd name="connsiteY213" fmla="*/ 3429000 h 4305300"/>
                  <a:gd name="connsiteX214" fmla="*/ 6462713 w 8601075"/>
                  <a:gd name="connsiteY214" fmla="*/ 3433763 h 4305300"/>
                  <a:gd name="connsiteX215" fmla="*/ 6515100 w 8601075"/>
                  <a:gd name="connsiteY215" fmla="*/ 3355181 h 4305300"/>
                  <a:gd name="connsiteX216" fmla="*/ 6562725 w 8601075"/>
                  <a:gd name="connsiteY216" fmla="*/ 3317081 h 4305300"/>
                  <a:gd name="connsiteX217" fmla="*/ 6548438 w 8601075"/>
                  <a:gd name="connsiteY217" fmla="*/ 3248025 h 4305300"/>
                  <a:gd name="connsiteX218" fmla="*/ 6498431 w 8601075"/>
                  <a:gd name="connsiteY218" fmla="*/ 3217068 h 4305300"/>
                  <a:gd name="connsiteX219" fmla="*/ 6438900 w 8601075"/>
                  <a:gd name="connsiteY219" fmla="*/ 3162300 h 4305300"/>
                  <a:gd name="connsiteX220" fmla="*/ 6419850 w 8601075"/>
                  <a:gd name="connsiteY220" fmla="*/ 3105150 h 4305300"/>
                  <a:gd name="connsiteX221" fmla="*/ 6384131 w 8601075"/>
                  <a:gd name="connsiteY221" fmla="*/ 3071813 h 4305300"/>
                  <a:gd name="connsiteX222" fmla="*/ 6410325 w 8601075"/>
                  <a:gd name="connsiteY222" fmla="*/ 3019425 h 4305300"/>
                  <a:gd name="connsiteX223" fmla="*/ 6450806 w 8601075"/>
                  <a:gd name="connsiteY223" fmla="*/ 2840831 h 4305300"/>
                  <a:gd name="connsiteX224" fmla="*/ 6491288 w 8601075"/>
                  <a:gd name="connsiteY224" fmla="*/ 2774156 h 4305300"/>
                  <a:gd name="connsiteX225" fmla="*/ 6636544 w 8601075"/>
                  <a:gd name="connsiteY225" fmla="*/ 2757487 h 4305300"/>
                  <a:gd name="connsiteX226" fmla="*/ 6705600 w 8601075"/>
                  <a:gd name="connsiteY226" fmla="*/ 2814638 h 4305300"/>
                  <a:gd name="connsiteX227" fmla="*/ 6781800 w 8601075"/>
                  <a:gd name="connsiteY227" fmla="*/ 2838450 h 4305300"/>
                  <a:gd name="connsiteX228" fmla="*/ 6986587 w 8601075"/>
                  <a:gd name="connsiteY228" fmla="*/ 2843213 h 4305300"/>
                  <a:gd name="connsiteX229" fmla="*/ 7162800 w 8601075"/>
                  <a:gd name="connsiteY229" fmla="*/ 2705100 h 4305300"/>
                  <a:gd name="connsiteX230" fmla="*/ 7219950 w 8601075"/>
                  <a:gd name="connsiteY230" fmla="*/ 2614612 h 4305300"/>
                  <a:gd name="connsiteX231" fmla="*/ 7246144 w 8601075"/>
                  <a:gd name="connsiteY231" fmla="*/ 2531269 h 4305300"/>
                  <a:gd name="connsiteX232" fmla="*/ 7377112 w 8601075"/>
                  <a:gd name="connsiteY232" fmla="*/ 2531269 h 4305300"/>
                  <a:gd name="connsiteX233" fmla="*/ 7550944 w 8601075"/>
                  <a:gd name="connsiteY233" fmla="*/ 2474118 h 4305300"/>
                  <a:gd name="connsiteX234" fmla="*/ 7610475 w 8601075"/>
                  <a:gd name="connsiteY234" fmla="*/ 2362200 h 4305300"/>
                  <a:gd name="connsiteX235" fmla="*/ 7674769 w 8601075"/>
                  <a:gd name="connsiteY235" fmla="*/ 2326481 h 4305300"/>
                  <a:gd name="connsiteX236" fmla="*/ 7653338 w 8601075"/>
                  <a:gd name="connsiteY236" fmla="*/ 2281238 h 4305300"/>
                  <a:gd name="connsiteX237" fmla="*/ 7731919 w 8601075"/>
                  <a:gd name="connsiteY237" fmla="*/ 2112168 h 4305300"/>
                  <a:gd name="connsiteX238" fmla="*/ 7786688 w 8601075"/>
                  <a:gd name="connsiteY238" fmla="*/ 2052638 h 4305300"/>
                  <a:gd name="connsiteX239" fmla="*/ 7824788 w 8601075"/>
                  <a:gd name="connsiteY239" fmla="*/ 2047875 h 4305300"/>
                  <a:gd name="connsiteX240" fmla="*/ 7870031 w 8601075"/>
                  <a:gd name="connsiteY240" fmla="*/ 2052638 h 4305300"/>
                  <a:gd name="connsiteX241" fmla="*/ 7934325 w 8601075"/>
                  <a:gd name="connsiteY241" fmla="*/ 2019300 h 4305300"/>
                  <a:gd name="connsiteX242" fmla="*/ 7943850 w 8601075"/>
                  <a:gd name="connsiteY242" fmla="*/ 1955006 h 4305300"/>
                  <a:gd name="connsiteX243" fmla="*/ 7984330 w 8601075"/>
                  <a:gd name="connsiteY243" fmla="*/ 1919288 h 4305300"/>
                  <a:gd name="connsiteX244" fmla="*/ 8043863 w 8601075"/>
                  <a:gd name="connsiteY244" fmla="*/ 1959768 h 4305300"/>
                  <a:gd name="connsiteX245" fmla="*/ 8070057 w 8601075"/>
                  <a:gd name="connsiteY245" fmla="*/ 1909762 h 4305300"/>
                  <a:gd name="connsiteX246" fmla="*/ 8165306 w 8601075"/>
                  <a:gd name="connsiteY246" fmla="*/ 1840706 h 4305300"/>
                  <a:gd name="connsiteX247" fmla="*/ 8227219 w 8601075"/>
                  <a:gd name="connsiteY247" fmla="*/ 1847850 h 4305300"/>
                  <a:gd name="connsiteX248" fmla="*/ 8277225 w 8601075"/>
                  <a:gd name="connsiteY248" fmla="*/ 1828800 h 4305300"/>
                  <a:gd name="connsiteX249" fmla="*/ 8315325 w 8601075"/>
                  <a:gd name="connsiteY249" fmla="*/ 1800225 h 4305300"/>
                  <a:gd name="connsiteX250" fmla="*/ 8348663 w 8601075"/>
                  <a:gd name="connsiteY250" fmla="*/ 1797844 h 4305300"/>
                  <a:gd name="connsiteX251" fmla="*/ 8384381 w 8601075"/>
                  <a:gd name="connsiteY251" fmla="*/ 1828800 h 4305300"/>
                  <a:gd name="connsiteX252" fmla="*/ 8443913 w 8601075"/>
                  <a:gd name="connsiteY252" fmla="*/ 1828800 h 4305300"/>
                  <a:gd name="connsiteX253" fmla="*/ 8482012 w 8601075"/>
                  <a:gd name="connsiteY253" fmla="*/ 1809750 h 4305300"/>
                  <a:gd name="connsiteX254" fmla="*/ 8565356 w 8601075"/>
                  <a:gd name="connsiteY254" fmla="*/ 1812132 h 4305300"/>
                  <a:gd name="connsiteX255" fmla="*/ 8596313 w 8601075"/>
                  <a:gd name="connsiteY255" fmla="*/ 1766888 h 4305300"/>
                  <a:gd name="connsiteX256" fmla="*/ 8601075 w 8601075"/>
                  <a:gd name="connsiteY256" fmla="*/ 1704975 h 4305300"/>
                  <a:gd name="connsiteX257" fmla="*/ 8551068 w 8601075"/>
                  <a:gd name="connsiteY257" fmla="*/ 1664494 h 4305300"/>
                  <a:gd name="connsiteX258" fmla="*/ 8534400 w 8601075"/>
                  <a:gd name="connsiteY258" fmla="*/ 1609725 h 4305300"/>
                  <a:gd name="connsiteX259" fmla="*/ 8443913 w 8601075"/>
                  <a:gd name="connsiteY259" fmla="*/ 1547813 h 4305300"/>
                  <a:gd name="connsiteX260" fmla="*/ 8403431 w 8601075"/>
                  <a:gd name="connsiteY260" fmla="*/ 1526381 h 4305300"/>
                  <a:gd name="connsiteX261" fmla="*/ 8365331 w 8601075"/>
                  <a:gd name="connsiteY261" fmla="*/ 1481138 h 4305300"/>
                  <a:gd name="connsiteX262" fmla="*/ 8334375 w 8601075"/>
                  <a:gd name="connsiteY262" fmla="*/ 1478756 h 4305300"/>
                  <a:gd name="connsiteX263" fmla="*/ 8317706 w 8601075"/>
                  <a:gd name="connsiteY263" fmla="*/ 1426369 h 4305300"/>
                  <a:gd name="connsiteX264" fmla="*/ 8277225 w 8601075"/>
                  <a:gd name="connsiteY264" fmla="*/ 1409700 h 4305300"/>
                  <a:gd name="connsiteX265" fmla="*/ 8277225 w 8601075"/>
                  <a:gd name="connsiteY265" fmla="*/ 1409700 h 4305300"/>
                  <a:gd name="connsiteX266" fmla="*/ 8236744 w 8601075"/>
                  <a:gd name="connsiteY266" fmla="*/ 1414463 h 4305300"/>
                  <a:gd name="connsiteX267" fmla="*/ 8151018 w 8601075"/>
                  <a:gd name="connsiteY267" fmla="*/ 1340644 h 4305300"/>
                  <a:gd name="connsiteX268" fmla="*/ 7970044 w 8601075"/>
                  <a:gd name="connsiteY268" fmla="*/ 1340643 h 4305300"/>
                  <a:gd name="connsiteX269" fmla="*/ 7917656 w 8601075"/>
                  <a:gd name="connsiteY269" fmla="*/ 1378744 h 4305300"/>
                  <a:gd name="connsiteX270" fmla="*/ 7867650 w 8601075"/>
                  <a:gd name="connsiteY270" fmla="*/ 1457325 h 4305300"/>
                  <a:gd name="connsiteX271" fmla="*/ 7884319 w 8601075"/>
                  <a:gd name="connsiteY271" fmla="*/ 1478756 h 4305300"/>
                  <a:gd name="connsiteX272" fmla="*/ 7839075 w 8601075"/>
                  <a:gd name="connsiteY272" fmla="*/ 1528762 h 4305300"/>
                  <a:gd name="connsiteX273" fmla="*/ 7689056 w 8601075"/>
                  <a:gd name="connsiteY273" fmla="*/ 1452562 h 4305300"/>
                  <a:gd name="connsiteX274" fmla="*/ 7598569 w 8601075"/>
                  <a:gd name="connsiteY274" fmla="*/ 1488281 h 4305300"/>
                  <a:gd name="connsiteX275" fmla="*/ 7524750 w 8601075"/>
                  <a:gd name="connsiteY275" fmla="*/ 1485900 h 4305300"/>
                  <a:gd name="connsiteX276" fmla="*/ 7467600 w 8601075"/>
                  <a:gd name="connsiteY276" fmla="*/ 1581150 h 4305300"/>
                  <a:gd name="connsiteX277" fmla="*/ 7329488 w 8601075"/>
                  <a:gd name="connsiteY277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600825 w 8601075"/>
                  <a:gd name="connsiteY16" fmla="*/ 904875 h 4305300"/>
                  <a:gd name="connsiteX17" fmla="*/ 6600825 w 8601075"/>
                  <a:gd name="connsiteY17" fmla="*/ 904875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600825 w 8601075"/>
                  <a:gd name="connsiteY16" fmla="*/ 904875 h 4305300"/>
                  <a:gd name="connsiteX17" fmla="*/ 6581775 w 8601075"/>
                  <a:gd name="connsiteY17" fmla="*/ 928688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81775 w 8601075"/>
                  <a:gd name="connsiteY17" fmla="*/ 928688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3415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362700 w 8601075"/>
                  <a:gd name="connsiteY20" fmla="*/ 1009650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238875 w 8601075"/>
                  <a:gd name="connsiteY21" fmla="*/ 1057275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60331 w 8601075"/>
                  <a:gd name="connsiteY21" fmla="*/ 964407 h 4305300"/>
                  <a:gd name="connsiteX22" fmla="*/ 6115050 w 8601075"/>
                  <a:gd name="connsiteY22" fmla="*/ 1114425 h 4305300"/>
                  <a:gd name="connsiteX23" fmla="*/ 5962650 w 8601075"/>
                  <a:gd name="connsiteY23" fmla="*/ 1190625 h 4305300"/>
                  <a:gd name="connsiteX24" fmla="*/ 5895975 w 8601075"/>
                  <a:gd name="connsiteY24" fmla="*/ 1143000 h 4305300"/>
                  <a:gd name="connsiteX25" fmla="*/ 5895975 w 8601075"/>
                  <a:gd name="connsiteY25" fmla="*/ 1143000 h 4305300"/>
                  <a:gd name="connsiteX26" fmla="*/ 5676900 w 8601075"/>
                  <a:gd name="connsiteY26" fmla="*/ 1181100 h 4305300"/>
                  <a:gd name="connsiteX27" fmla="*/ 5600700 w 8601075"/>
                  <a:gd name="connsiteY27" fmla="*/ 1114425 h 4305300"/>
                  <a:gd name="connsiteX28" fmla="*/ 5391150 w 8601075"/>
                  <a:gd name="connsiteY28" fmla="*/ 1123950 h 4305300"/>
                  <a:gd name="connsiteX29" fmla="*/ 5334000 w 8601075"/>
                  <a:gd name="connsiteY29" fmla="*/ 1066800 h 4305300"/>
                  <a:gd name="connsiteX30" fmla="*/ 5248275 w 8601075"/>
                  <a:gd name="connsiteY30" fmla="*/ 981075 h 4305300"/>
                  <a:gd name="connsiteX31" fmla="*/ 5238750 w 8601075"/>
                  <a:gd name="connsiteY31" fmla="*/ 895350 h 4305300"/>
                  <a:gd name="connsiteX32" fmla="*/ 5133975 w 8601075"/>
                  <a:gd name="connsiteY32" fmla="*/ 895350 h 4305300"/>
                  <a:gd name="connsiteX33" fmla="*/ 4991100 w 8601075"/>
                  <a:gd name="connsiteY33" fmla="*/ 838200 h 4305300"/>
                  <a:gd name="connsiteX34" fmla="*/ 4905375 w 8601075"/>
                  <a:gd name="connsiteY34" fmla="*/ 771525 h 4305300"/>
                  <a:gd name="connsiteX35" fmla="*/ 4905375 w 8601075"/>
                  <a:gd name="connsiteY35" fmla="*/ 771525 h 4305300"/>
                  <a:gd name="connsiteX36" fmla="*/ 4781550 w 8601075"/>
                  <a:gd name="connsiteY36" fmla="*/ 762000 h 4305300"/>
                  <a:gd name="connsiteX37" fmla="*/ 4648200 w 8601075"/>
                  <a:gd name="connsiteY37" fmla="*/ 714375 h 4305300"/>
                  <a:gd name="connsiteX38" fmla="*/ 4581525 w 8601075"/>
                  <a:gd name="connsiteY38" fmla="*/ 695325 h 4305300"/>
                  <a:gd name="connsiteX39" fmla="*/ 4495800 w 8601075"/>
                  <a:gd name="connsiteY39" fmla="*/ 742950 h 4305300"/>
                  <a:gd name="connsiteX40" fmla="*/ 4343400 w 8601075"/>
                  <a:gd name="connsiteY40" fmla="*/ 781050 h 4305300"/>
                  <a:gd name="connsiteX41" fmla="*/ 4252913 w 8601075"/>
                  <a:gd name="connsiteY41" fmla="*/ 862013 h 4305300"/>
                  <a:gd name="connsiteX42" fmla="*/ 4205287 w 8601075"/>
                  <a:gd name="connsiteY42" fmla="*/ 823913 h 4305300"/>
                  <a:gd name="connsiteX43" fmla="*/ 4183856 w 8601075"/>
                  <a:gd name="connsiteY43" fmla="*/ 854868 h 4305300"/>
                  <a:gd name="connsiteX44" fmla="*/ 4110038 w 8601075"/>
                  <a:gd name="connsiteY44" fmla="*/ 804863 h 4305300"/>
                  <a:gd name="connsiteX45" fmla="*/ 4071938 w 8601075"/>
                  <a:gd name="connsiteY45" fmla="*/ 812006 h 4305300"/>
                  <a:gd name="connsiteX46" fmla="*/ 4050506 w 8601075"/>
                  <a:gd name="connsiteY46" fmla="*/ 773906 h 4305300"/>
                  <a:gd name="connsiteX47" fmla="*/ 3990975 w 8601075"/>
                  <a:gd name="connsiteY47" fmla="*/ 778669 h 4305300"/>
                  <a:gd name="connsiteX48" fmla="*/ 3945731 w 8601075"/>
                  <a:gd name="connsiteY48" fmla="*/ 750094 h 4305300"/>
                  <a:gd name="connsiteX49" fmla="*/ 3907631 w 8601075"/>
                  <a:gd name="connsiteY49" fmla="*/ 747713 h 4305300"/>
                  <a:gd name="connsiteX50" fmla="*/ 3888581 w 8601075"/>
                  <a:gd name="connsiteY50" fmla="*/ 700087 h 4305300"/>
                  <a:gd name="connsiteX51" fmla="*/ 3874294 w 8601075"/>
                  <a:gd name="connsiteY51" fmla="*/ 669131 h 4305300"/>
                  <a:gd name="connsiteX52" fmla="*/ 3829050 w 8601075"/>
                  <a:gd name="connsiteY52" fmla="*/ 678656 h 4305300"/>
                  <a:gd name="connsiteX53" fmla="*/ 3810000 w 8601075"/>
                  <a:gd name="connsiteY53" fmla="*/ 642938 h 4305300"/>
                  <a:gd name="connsiteX54" fmla="*/ 3831432 w 8601075"/>
                  <a:gd name="connsiteY54" fmla="*/ 588169 h 4305300"/>
                  <a:gd name="connsiteX55" fmla="*/ 3800475 w 8601075"/>
                  <a:gd name="connsiteY55" fmla="*/ 561975 h 4305300"/>
                  <a:gd name="connsiteX56" fmla="*/ 3817144 w 8601075"/>
                  <a:gd name="connsiteY56" fmla="*/ 519113 h 4305300"/>
                  <a:gd name="connsiteX57" fmla="*/ 3790950 w 8601075"/>
                  <a:gd name="connsiteY57" fmla="*/ 476250 h 4305300"/>
                  <a:gd name="connsiteX58" fmla="*/ 3786188 w 8601075"/>
                  <a:gd name="connsiteY58" fmla="*/ 414338 h 4305300"/>
                  <a:gd name="connsiteX59" fmla="*/ 3810000 w 8601075"/>
                  <a:gd name="connsiteY59" fmla="*/ 350043 h 4305300"/>
                  <a:gd name="connsiteX60" fmla="*/ 3771900 w 8601075"/>
                  <a:gd name="connsiteY60" fmla="*/ 352425 h 4305300"/>
                  <a:gd name="connsiteX61" fmla="*/ 3652838 w 8601075"/>
                  <a:gd name="connsiteY61" fmla="*/ 295275 h 4305300"/>
                  <a:gd name="connsiteX62" fmla="*/ 3614737 w 8601075"/>
                  <a:gd name="connsiteY62" fmla="*/ 300037 h 4305300"/>
                  <a:gd name="connsiteX63" fmla="*/ 3409950 w 8601075"/>
                  <a:gd name="connsiteY63" fmla="*/ 190500 h 4305300"/>
                  <a:gd name="connsiteX64" fmla="*/ 3305175 w 8601075"/>
                  <a:gd name="connsiteY64" fmla="*/ 159544 h 4305300"/>
                  <a:gd name="connsiteX65" fmla="*/ 3240881 w 8601075"/>
                  <a:gd name="connsiteY65" fmla="*/ 169068 h 4305300"/>
                  <a:gd name="connsiteX66" fmla="*/ 3209925 w 8601075"/>
                  <a:gd name="connsiteY66" fmla="*/ 104775 h 4305300"/>
                  <a:gd name="connsiteX67" fmla="*/ 3152775 w 8601075"/>
                  <a:gd name="connsiteY67" fmla="*/ 104775 h 4305300"/>
                  <a:gd name="connsiteX68" fmla="*/ 3014662 w 8601075"/>
                  <a:gd name="connsiteY68" fmla="*/ 0 h 4305300"/>
                  <a:gd name="connsiteX69" fmla="*/ 2981325 w 8601075"/>
                  <a:gd name="connsiteY69" fmla="*/ 59532 h 4305300"/>
                  <a:gd name="connsiteX70" fmla="*/ 2926556 w 8601075"/>
                  <a:gd name="connsiteY70" fmla="*/ 128588 h 4305300"/>
                  <a:gd name="connsiteX71" fmla="*/ 2883694 w 8601075"/>
                  <a:gd name="connsiteY71" fmla="*/ 145256 h 4305300"/>
                  <a:gd name="connsiteX72" fmla="*/ 2852738 w 8601075"/>
                  <a:gd name="connsiteY72" fmla="*/ 138113 h 4305300"/>
                  <a:gd name="connsiteX73" fmla="*/ 2828925 w 8601075"/>
                  <a:gd name="connsiteY73" fmla="*/ 166688 h 4305300"/>
                  <a:gd name="connsiteX74" fmla="*/ 2802731 w 8601075"/>
                  <a:gd name="connsiteY74" fmla="*/ 245269 h 4305300"/>
                  <a:gd name="connsiteX75" fmla="*/ 2759869 w 8601075"/>
                  <a:gd name="connsiteY75" fmla="*/ 242888 h 4305300"/>
                  <a:gd name="connsiteX76" fmla="*/ 2728912 w 8601075"/>
                  <a:gd name="connsiteY76" fmla="*/ 304800 h 4305300"/>
                  <a:gd name="connsiteX77" fmla="*/ 2724150 w 8601075"/>
                  <a:gd name="connsiteY77" fmla="*/ 369094 h 4305300"/>
                  <a:gd name="connsiteX78" fmla="*/ 2697957 w 8601075"/>
                  <a:gd name="connsiteY78" fmla="*/ 407194 h 4305300"/>
                  <a:gd name="connsiteX79" fmla="*/ 2724150 w 8601075"/>
                  <a:gd name="connsiteY79" fmla="*/ 466725 h 4305300"/>
                  <a:gd name="connsiteX80" fmla="*/ 2726531 w 8601075"/>
                  <a:gd name="connsiteY80" fmla="*/ 535781 h 4305300"/>
                  <a:gd name="connsiteX81" fmla="*/ 2755106 w 8601075"/>
                  <a:gd name="connsiteY81" fmla="*/ 588169 h 4305300"/>
                  <a:gd name="connsiteX82" fmla="*/ 2802732 w 8601075"/>
                  <a:gd name="connsiteY82" fmla="*/ 642938 h 4305300"/>
                  <a:gd name="connsiteX83" fmla="*/ 2752725 w 8601075"/>
                  <a:gd name="connsiteY83" fmla="*/ 781050 h 4305300"/>
                  <a:gd name="connsiteX84" fmla="*/ 2683669 w 8601075"/>
                  <a:gd name="connsiteY84" fmla="*/ 847725 h 4305300"/>
                  <a:gd name="connsiteX85" fmla="*/ 2612231 w 8601075"/>
                  <a:gd name="connsiteY85" fmla="*/ 842963 h 4305300"/>
                  <a:gd name="connsiteX86" fmla="*/ 2574131 w 8601075"/>
                  <a:gd name="connsiteY86" fmla="*/ 900113 h 4305300"/>
                  <a:gd name="connsiteX87" fmla="*/ 2514600 w 8601075"/>
                  <a:gd name="connsiteY87" fmla="*/ 914400 h 4305300"/>
                  <a:gd name="connsiteX88" fmla="*/ 2445544 w 8601075"/>
                  <a:gd name="connsiteY88" fmla="*/ 854869 h 4305300"/>
                  <a:gd name="connsiteX89" fmla="*/ 2390775 w 8601075"/>
                  <a:gd name="connsiteY89" fmla="*/ 826294 h 4305300"/>
                  <a:gd name="connsiteX90" fmla="*/ 2347913 w 8601075"/>
                  <a:gd name="connsiteY90" fmla="*/ 840581 h 4305300"/>
                  <a:gd name="connsiteX91" fmla="*/ 2295525 w 8601075"/>
                  <a:gd name="connsiteY91" fmla="*/ 823913 h 4305300"/>
                  <a:gd name="connsiteX92" fmla="*/ 2228850 w 8601075"/>
                  <a:gd name="connsiteY92" fmla="*/ 769144 h 4305300"/>
                  <a:gd name="connsiteX93" fmla="*/ 2183606 w 8601075"/>
                  <a:gd name="connsiteY93" fmla="*/ 781050 h 4305300"/>
                  <a:gd name="connsiteX94" fmla="*/ 2162175 w 8601075"/>
                  <a:gd name="connsiteY94" fmla="*/ 750094 h 4305300"/>
                  <a:gd name="connsiteX95" fmla="*/ 2105025 w 8601075"/>
                  <a:gd name="connsiteY95" fmla="*/ 790575 h 4305300"/>
                  <a:gd name="connsiteX96" fmla="*/ 1988344 w 8601075"/>
                  <a:gd name="connsiteY96" fmla="*/ 769144 h 4305300"/>
                  <a:gd name="connsiteX97" fmla="*/ 1938338 w 8601075"/>
                  <a:gd name="connsiteY97" fmla="*/ 716756 h 4305300"/>
                  <a:gd name="connsiteX98" fmla="*/ 1895475 w 8601075"/>
                  <a:gd name="connsiteY98" fmla="*/ 702469 h 4305300"/>
                  <a:gd name="connsiteX99" fmla="*/ 1852613 w 8601075"/>
                  <a:gd name="connsiteY99" fmla="*/ 728663 h 4305300"/>
                  <a:gd name="connsiteX100" fmla="*/ 1800225 w 8601075"/>
                  <a:gd name="connsiteY100" fmla="*/ 638175 h 4305300"/>
                  <a:gd name="connsiteX101" fmla="*/ 1790700 w 8601075"/>
                  <a:gd name="connsiteY101" fmla="*/ 490537 h 4305300"/>
                  <a:gd name="connsiteX102" fmla="*/ 1738312 w 8601075"/>
                  <a:gd name="connsiteY102" fmla="*/ 483393 h 4305300"/>
                  <a:gd name="connsiteX103" fmla="*/ 1647825 w 8601075"/>
                  <a:gd name="connsiteY103" fmla="*/ 473869 h 4305300"/>
                  <a:gd name="connsiteX104" fmla="*/ 1593056 w 8601075"/>
                  <a:gd name="connsiteY104" fmla="*/ 435769 h 4305300"/>
                  <a:gd name="connsiteX105" fmla="*/ 1524000 w 8601075"/>
                  <a:gd name="connsiteY105" fmla="*/ 445294 h 4305300"/>
                  <a:gd name="connsiteX106" fmla="*/ 1478756 w 8601075"/>
                  <a:gd name="connsiteY106" fmla="*/ 419100 h 4305300"/>
                  <a:gd name="connsiteX107" fmla="*/ 1469232 w 8601075"/>
                  <a:gd name="connsiteY107" fmla="*/ 347663 h 4305300"/>
                  <a:gd name="connsiteX108" fmla="*/ 1445419 w 8601075"/>
                  <a:gd name="connsiteY108" fmla="*/ 333375 h 4305300"/>
                  <a:gd name="connsiteX109" fmla="*/ 1407319 w 8601075"/>
                  <a:gd name="connsiteY109" fmla="*/ 380999 h 4305300"/>
                  <a:gd name="connsiteX110" fmla="*/ 1328737 w 8601075"/>
                  <a:gd name="connsiteY110" fmla="*/ 307181 h 4305300"/>
                  <a:gd name="connsiteX111" fmla="*/ 1288256 w 8601075"/>
                  <a:gd name="connsiteY111" fmla="*/ 347663 h 4305300"/>
                  <a:gd name="connsiteX112" fmla="*/ 1212056 w 8601075"/>
                  <a:gd name="connsiteY112" fmla="*/ 333375 h 4305300"/>
                  <a:gd name="connsiteX113" fmla="*/ 1133475 w 8601075"/>
                  <a:gd name="connsiteY113" fmla="*/ 359569 h 4305300"/>
                  <a:gd name="connsiteX114" fmla="*/ 1073944 w 8601075"/>
                  <a:gd name="connsiteY114" fmla="*/ 407193 h 4305300"/>
                  <a:gd name="connsiteX115" fmla="*/ 1000125 w 8601075"/>
                  <a:gd name="connsiteY115" fmla="*/ 419100 h 4305300"/>
                  <a:gd name="connsiteX116" fmla="*/ 964406 w 8601075"/>
                  <a:gd name="connsiteY116" fmla="*/ 411956 h 4305300"/>
                  <a:gd name="connsiteX117" fmla="*/ 885826 w 8601075"/>
                  <a:gd name="connsiteY117" fmla="*/ 442913 h 4305300"/>
                  <a:gd name="connsiteX118" fmla="*/ 864394 w 8601075"/>
                  <a:gd name="connsiteY118" fmla="*/ 471488 h 4305300"/>
                  <a:gd name="connsiteX119" fmla="*/ 797719 w 8601075"/>
                  <a:gd name="connsiteY119" fmla="*/ 461963 h 4305300"/>
                  <a:gd name="connsiteX120" fmla="*/ 728663 w 8601075"/>
                  <a:gd name="connsiteY120" fmla="*/ 485775 h 4305300"/>
                  <a:gd name="connsiteX121" fmla="*/ 673894 w 8601075"/>
                  <a:gd name="connsiteY121" fmla="*/ 523875 h 4305300"/>
                  <a:gd name="connsiteX122" fmla="*/ 578644 w 8601075"/>
                  <a:gd name="connsiteY122" fmla="*/ 538162 h 4305300"/>
                  <a:gd name="connsiteX123" fmla="*/ 564356 w 8601075"/>
                  <a:gd name="connsiteY123" fmla="*/ 559594 h 4305300"/>
                  <a:gd name="connsiteX124" fmla="*/ 576262 w 8601075"/>
                  <a:gd name="connsiteY124" fmla="*/ 604838 h 4305300"/>
                  <a:gd name="connsiteX125" fmla="*/ 476251 w 8601075"/>
                  <a:gd name="connsiteY125" fmla="*/ 657225 h 4305300"/>
                  <a:gd name="connsiteX126" fmla="*/ 438150 w 8601075"/>
                  <a:gd name="connsiteY126" fmla="*/ 628649 h 4305300"/>
                  <a:gd name="connsiteX127" fmla="*/ 407194 w 8601075"/>
                  <a:gd name="connsiteY127" fmla="*/ 685800 h 4305300"/>
                  <a:gd name="connsiteX128" fmla="*/ 350044 w 8601075"/>
                  <a:gd name="connsiteY128" fmla="*/ 647700 h 4305300"/>
                  <a:gd name="connsiteX129" fmla="*/ 314325 w 8601075"/>
                  <a:gd name="connsiteY129" fmla="*/ 676275 h 4305300"/>
                  <a:gd name="connsiteX130" fmla="*/ 278606 w 8601075"/>
                  <a:gd name="connsiteY130" fmla="*/ 640556 h 4305300"/>
                  <a:gd name="connsiteX131" fmla="*/ 226219 w 8601075"/>
                  <a:gd name="connsiteY131" fmla="*/ 652463 h 4305300"/>
                  <a:gd name="connsiteX132" fmla="*/ 180975 w 8601075"/>
                  <a:gd name="connsiteY132" fmla="*/ 623888 h 4305300"/>
                  <a:gd name="connsiteX133" fmla="*/ 157163 w 8601075"/>
                  <a:gd name="connsiteY133" fmla="*/ 642938 h 4305300"/>
                  <a:gd name="connsiteX134" fmla="*/ 133350 w 8601075"/>
                  <a:gd name="connsiteY134" fmla="*/ 702469 h 4305300"/>
                  <a:gd name="connsiteX135" fmla="*/ 61913 w 8601075"/>
                  <a:gd name="connsiteY135" fmla="*/ 740568 h 4305300"/>
                  <a:gd name="connsiteX136" fmla="*/ 28575 w 8601075"/>
                  <a:gd name="connsiteY136" fmla="*/ 769144 h 4305300"/>
                  <a:gd name="connsiteX137" fmla="*/ 33338 w 8601075"/>
                  <a:gd name="connsiteY137" fmla="*/ 812006 h 4305300"/>
                  <a:gd name="connsiteX138" fmla="*/ 0 w 8601075"/>
                  <a:gd name="connsiteY138" fmla="*/ 816769 h 4305300"/>
                  <a:gd name="connsiteX139" fmla="*/ 4763 w 8601075"/>
                  <a:gd name="connsiteY139" fmla="*/ 840581 h 4305300"/>
                  <a:gd name="connsiteX140" fmla="*/ 61912 w 8601075"/>
                  <a:gd name="connsiteY140" fmla="*/ 914400 h 4305300"/>
                  <a:gd name="connsiteX141" fmla="*/ 23813 w 8601075"/>
                  <a:gd name="connsiteY141" fmla="*/ 962025 h 4305300"/>
                  <a:gd name="connsiteX142" fmla="*/ 78581 w 8601075"/>
                  <a:gd name="connsiteY142" fmla="*/ 997744 h 4305300"/>
                  <a:gd name="connsiteX143" fmla="*/ 169069 w 8601075"/>
                  <a:gd name="connsiteY143" fmla="*/ 1085850 h 4305300"/>
                  <a:gd name="connsiteX144" fmla="*/ 171450 w 8601075"/>
                  <a:gd name="connsiteY144" fmla="*/ 1145381 h 4305300"/>
                  <a:gd name="connsiteX145" fmla="*/ 307181 w 8601075"/>
                  <a:gd name="connsiteY145" fmla="*/ 1278732 h 4305300"/>
                  <a:gd name="connsiteX146" fmla="*/ 361950 w 8601075"/>
                  <a:gd name="connsiteY146" fmla="*/ 1254919 h 4305300"/>
                  <a:gd name="connsiteX147" fmla="*/ 400050 w 8601075"/>
                  <a:gd name="connsiteY147" fmla="*/ 1281112 h 4305300"/>
                  <a:gd name="connsiteX148" fmla="*/ 414338 w 8601075"/>
                  <a:gd name="connsiteY148" fmla="*/ 1331118 h 4305300"/>
                  <a:gd name="connsiteX149" fmla="*/ 457200 w 8601075"/>
                  <a:gd name="connsiteY149" fmla="*/ 1366838 h 4305300"/>
                  <a:gd name="connsiteX150" fmla="*/ 497681 w 8601075"/>
                  <a:gd name="connsiteY150" fmla="*/ 1354931 h 4305300"/>
                  <a:gd name="connsiteX151" fmla="*/ 516731 w 8601075"/>
                  <a:gd name="connsiteY151" fmla="*/ 1412081 h 4305300"/>
                  <a:gd name="connsiteX152" fmla="*/ 564356 w 8601075"/>
                  <a:gd name="connsiteY152" fmla="*/ 1454944 h 4305300"/>
                  <a:gd name="connsiteX153" fmla="*/ 588169 w 8601075"/>
                  <a:gd name="connsiteY153" fmla="*/ 1557338 h 4305300"/>
                  <a:gd name="connsiteX154" fmla="*/ 585788 w 8601075"/>
                  <a:gd name="connsiteY154" fmla="*/ 1604963 h 4305300"/>
                  <a:gd name="connsiteX155" fmla="*/ 621506 w 8601075"/>
                  <a:gd name="connsiteY155" fmla="*/ 1704975 h 4305300"/>
                  <a:gd name="connsiteX156" fmla="*/ 666750 w 8601075"/>
                  <a:gd name="connsiteY156" fmla="*/ 1762125 h 4305300"/>
                  <a:gd name="connsiteX157" fmla="*/ 683418 w 8601075"/>
                  <a:gd name="connsiteY157" fmla="*/ 1919287 h 4305300"/>
                  <a:gd name="connsiteX158" fmla="*/ 650081 w 8601075"/>
                  <a:gd name="connsiteY158" fmla="*/ 1981200 h 4305300"/>
                  <a:gd name="connsiteX159" fmla="*/ 619125 w 8601075"/>
                  <a:gd name="connsiteY159" fmla="*/ 2057400 h 4305300"/>
                  <a:gd name="connsiteX160" fmla="*/ 633413 w 8601075"/>
                  <a:gd name="connsiteY160" fmla="*/ 2114550 h 4305300"/>
                  <a:gd name="connsiteX161" fmla="*/ 535781 w 8601075"/>
                  <a:gd name="connsiteY161" fmla="*/ 2221707 h 4305300"/>
                  <a:gd name="connsiteX162" fmla="*/ 492919 w 8601075"/>
                  <a:gd name="connsiteY162" fmla="*/ 2336006 h 4305300"/>
                  <a:gd name="connsiteX163" fmla="*/ 526256 w 8601075"/>
                  <a:gd name="connsiteY163" fmla="*/ 2376488 h 4305300"/>
                  <a:gd name="connsiteX164" fmla="*/ 509588 w 8601075"/>
                  <a:gd name="connsiteY164" fmla="*/ 2405063 h 4305300"/>
                  <a:gd name="connsiteX165" fmla="*/ 540544 w 8601075"/>
                  <a:gd name="connsiteY165" fmla="*/ 2462213 h 4305300"/>
                  <a:gd name="connsiteX166" fmla="*/ 569119 w 8601075"/>
                  <a:gd name="connsiteY166" fmla="*/ 2462213 h 4305300"/>
                  <a:gd name="connsiteX167" fmla="*/ 731044 w 8601075"/>
                  <a:gd name="connsiteY167" fmla="*/ 2564606 h 4305300"/>
                  <a:gd name="connsiteX168" fmla="*/ 835819 w 8601075"/>
                  <a:gd name="connsiteY168" fmla="*/ 2562225 h 4305300"/>
                  <a:gd name="connsiteX169" fmla="*/ 914400 w 8601075"/>
                  <a:gd name="connsiteY169" fmla="*/ 2616994 h 4305300"/>
                  <a:gd name="connsiteX170" fmla="*/ 1045368 w 8601075"/>
                  <a:gd name="connsiteY170" fmla="*/ 2619375 h 4305300"/>
                  <a:gd name="connsiteX171" fmla="*/ 1235868 w 8601075"/>
                  <a:gd name="connsiteY171" fmla="*/ 2688431 h 4305300"/>
                  <a:gd name="connsiteX172" fmla="*/ 1438275 w 8601075"/>
                  <a:gd name="connsiteY172" fmla="*/ 2838450 h 4305300"/>
                  <a:gd name="connsiteX173" fmla="*/ 1471612 w 8601075"/>
                  <a:gd name="connsiteY173" fmla="*/ 2905125 h 4305300"/>
                  <a:gd name="connsiteX174" fmla="*/ 1638300 w 8601075"/>
                  <a:gd name="connsiteY174" fmla="*/ 3031331 h 4305300"/>
                  <a:gd name="connsiteX175" fmla="*/ 1709738 w 8601075"/>
                  <a:gd name="connsiteY175" fmla="*/ 3026569 h 4305300"/>
                  <a:gd name="connsiteX176" fmla="*/ 1745457 w 8601075"/>
                  <a:gd name="connsiteY176" fmla="*/ 3050381 h 4305300"/>
                  <a:gd name="connsiteX177" fmla="*/ 1716881 w 8601075"/>
                  <a:gd name="connsiteY177" fmla="*/ 3090863 h 4305300"/>
                  <a:gd name="connsiteX178" fmla="*/ 1724025 w 8601075"/>
                  <a:gd name="connsiteY178" fmla="*/ 3143250 h 4305300"/>
                  <a:gd name="connsiteX179" fmla="*/ 1776413 w 8601075"/>
                  <a:gd name="connsiteY179" fmla="*/ 3169444 h 4305300"/>
                  <a:gd name="connsiteX180" fmla="*/ 1838325 w 8601075"/>
                  <a:gd name="connsiteY180" fmla="*/ 3393282 h 4305300"/>
                  <a:gd name="connsiteX181" fmla="*/ 1828800 w 8601075"/>
                  <a:gd name="connsiteY181" fmla="*/ 3457575 h 4305300"/>
                  <a:gd name="connsiteX182" fmla="*/ 1964531 w 8601075"/>
                  <a:gd name="connsiteY182" fmla="*/ 3624263 h 4305300"/>
                  <a:gd name="connsiteX183" fmla="*/ 1983581 w 8601075"/>
                  <a:gd name="connsiteY183" fmla="*/ 3674269 h 4305300"/>
                  <a:gd name="connsiteX184" fmla="*/ 1957388 w 8601075"/>
                  <a:gd name="connsiteY184" fmla="*/ 3693319 h 4305300"/>
                  <a:gd name="connsiteX185" fmla="*/ 2059781 w 8601075"/>
                  <a:gd name="connsiteY185" fmla="*/ 3702844 h 4305300"/>
                  <a:gd name="connsiteX186" fmla="*/ 2171700 w 8601075"/>
                  <a:gd name="connsiteY186" fmla="*/ 3690938 h 4305300"/>
                  <a:gd name="connsiteX187" fmla="*/ 2450306 w 8601075"/>
                  <a:gd name="connsiteY187" fmla="*/ 3774281 h 4305300"/>
                  <a:gd name="connsiteX188" fmla="*/ 2857500 w 8601075"/>
                  <a:gd name="connsiteY188" fmla="*/ 3855244 h 4305300"/>
                  <a:gd name="connsiteX189" fmla="*/ 3055144 w 8601075"/>
                  <a:gd name="connsiteY189" fmla="*/ 3824287 h 4305300"/>
                  <a:gd name="connsiteX190" fmla="*/ 3100388 w 8601075"/>
                  <a:gd name="connsiteY190" fmla="*/ 3836193 h 4305300"/>
                  <a:gd name="connsiteX191" fmla="*/ 3155156 w 8601075"/>
                  <a:gd name="connsiteY191" fmla="*/ 3812382 h 4305300"/>
                  <a:gd name="connsiteX192" fmla="*/ 3548062 w 8601075"/>
                  <a:gd name="connsiteY192" fmla="*/ 3902869 h 4305300"/>
                  <a:gd name="connsiteX193" fmla="*/ 3631407 w 8601075"/>
                  <a:gd name="connsiteY193" fmla="*/ 4000500 h 4305300"/>
                  <a:gd name="connsiteX194" fmla="*/ 3750469 w 8601075"/>
                  <a:gd name="connsiteY194" fmla="*/ 4071938 h 4305300"/>
                  <a:gd name="connsiteX195" fmla="*/ 3810000 w 8601075"/>
                  <a:gd name="connsiteY195" fmla="*/ 4055269 h 4305300"/>
                  <a:gd name="connsiteX196" fmla="*/ 4160043 w 8601075"/>
                  <a:gd name="connsiteY196" fmla="*/ 4229100 h 4305300"/>
                  <a:gd name="connsiteX197" fmla="*/ 4386263 w 8601075"/>
                  <a:gd name="connsiteY197" fmla="*/ 4200525 h 4305300"/>
                  <a:gd name="connsiteX198" fmla="*/ 4395788 w 8601075"/>
                  <a:gd name="connsiteY198" fmla="*/ 4279106 h 4305300"/>
                  <a:gd name="connsiteX199" fmla="*/ 4481513 w 8601075"/>
                  <a:gd name="connsiteY199" fmla="*/ 4274343 h 4305300"/>
                  <a:gd name="connsiteX200" fmla="*/ 4560094 w 8601075"/>
                  <a:gd name="connsiteY200" fmla="*/ 4305300 h 4305300"/>
                  <a:gd name="connsiteX201" fmla="*/ 4602956 w 8601075"/>
                  <a:gd name="connsiteY201" fmla="*/ 4245769 h 4305300"/>
                  <a:gd name="connsiteX202" fmla="*/ 5274469 w 8601075"/>
                  <a:gd name="connsiteY202" fmla="*/ 3926681 h 4305300"/>
                  <a:gd name="connsiteX203" fmla="*/ 5362575 w 8601075"/>
                  <a:gd name="connsiteY203" fmla="*/ 3955257 h 4305300"/>
                  <a:gd name="connsiteX204" fmla="*/ 5493544 w 8601075"/>
                  <a:gd name="connsiteY204" fmla="*/ 3926681 h 4305300"/>
                  <a:gd name="connsiteX205" fmla="*/ 5672137 w 8601075"/>
                  <a:gd name="connsiteY205" fmla="*/ 3943350 h 4305300"/>
                  <a:gd name="connsiteX206" fmla="*/ 5729288 w 8601075"/>
                  <a:gd name="connsiteY206" fmla="*/ 3917157 h 4305300"/>
                  <a:gd name="connsiteX207" fmla="*/ 5862637 w 8601075"/>
                  <a:gd name="connsiteY207" fmla="*/ 3914775 h 4305300"/>
                  <a:gd name="connsiteX208" fmla="*/ 5995987 w 8601075"/>
                  <a:gd name="connsiteY208" fmla="*/ 3817144 h 4305300"/>
                  <a:gd name="connsiteX209" fmla="*/ 6062662 w 8601075"/>
                  <a:gd name="connsiteY209" fmla="*/ 3810000 h 4305300"/>
                  <a:gd name="connsiteX210" fmla="*/ 6160294 w 8601075"/>
                  <a:gd name="connsiteY210" fmla="*/ 3736181 h 4305300"/>
                  <a:gd name="connsiteX211" fmla="*/ 6234113 w 8601075"/>
                  <a:gd name="connsiteY211" fmla="*/ 3667125 h 4305300"/>
                  <a:gd name="connsiteX212" fmla="*/ 6243638 w 8601075"/>
                  <a:gd name="connsiteY212" fmla="*/ 3605213 h 4305300"/>
                  <a:gd name="connsiteX213" fmla="*/ 6276975 w 8601075"/>
                  <a:gd name="connsiteY213" fmla="*/ 3536156 h 4305300"/>
                  <a:gd name="connsiteX214" fmla="*/ 6429375 w 8601075"/>
                  <a:gd name="connsiteY214" fmla="*/ 3429000 h 4305300"/>
                  <a:gd name="connsiteX215" fmla="*/ 6462713 w 8601075"/>
                  <a:gd name="connsiteY215" fmla="*/ 3433763 h 4305300"/>
                  <a:gd name="connsiteX216" fmla="*/ 6515100 w 8601075"/>
                  <a:gd name="connsiteY216" fmla="*/ 3355181 h 4305300"/>
                  <a:gd name="connsiteX217" fmla="*/ 6562725 w 8601075"/>
                  <a:gd name="connsiteY217" fmla="*/ 3317081 h 4305300"/>
                  <a:gd name="connsiteX218" fmla="*/ 6548438 w 8601075"/>
                  <a:gd name="connsiteY218" fmla="*/ 3248025 h 4305300"/>
                  <a:gd name="connsiteX219" fmla="*/ 6498431 w 8601075"/>
                  <a:gd name="connsiteY219" fmla="*/ 3217068 h 4305300"/>
                  <a:gd name="connsiteX220" fmla="*/ 6438900 w 8601075"/>
                  <a:gd name="connsiteY220" fmla="*/ 3162300 h 4305300"/>
                  <a:gd name="connsiteX221" fmla="*/ 6419850 w 8601075"/>
                  <a:gd name="connsiteY221" fmla="*/ 3105150 h 4305300"/>
                  <a:gd name="connsiteX222" fmla="*/ 6384131 w 8601075"/>
                  <a:gd name="connsiteY222" fmla="*/ 3071813 h 4305300"/>
                  <a:gd name="connsiteX223" fmla="*/ 6410325 w 8601075"/>
                  <a:gd name="connsiteY223" fmla="*/ 3019425 h 4305300"/>
                  <a:gd name="connsiteX224" fmla="*/ 6450806 w 8601075"/>
                  <a:gd name="connsiteY224" fmla="*/ 2840831 h 4305300"/>
                  <a:gd name="connsiteX225" fmla="*/ 6491288 w 8601075"/>
                  <a:gd name="connsiteY225" fmla="*/ 2774156 h 4305300"/>
                  <a:gd name="connsiteX226" fmla="*/ 6636544 w 8601075"/>
                  <a:gd name="connsiteY226" fmla="*/ 2757487 h 4305300"/>
                  <a:gd name="connsiteX227" fmla="*/ 6705600 w 8601075"/>
                  <a:gd name="connsiteY227" fmla="*/ 2814638 h 4305300"/>
                  <a:gd name="connsiteX228" fmla="*/ 6781800 w 8601075"/>
                  <a:gd name="connsiteY228" fmla="*/ 2838450 h 4305300"/>
                  <a:gd name="connsiteX229" fmla="*/ 6986587 w 8601075"/>
                  <a:gd name="connsiteY229" fmla="*/ 2843213 h 4305300"/>
                  <a:gd name="connsiteX230" fmla="*/ 7162800 w 8601075"/>
                  <a:gd name="connsiteY230" fmla="*/ 2705100 h 4305300"/>
                  <a:gd name="connsiteX231" fmla="*/ 7219950 w 8601075"/>
                  <a:gd name="connsiteY231" fmla="*/ 2614612 h 4305300"/>
                  <a:gd name="connsiteX232" fmla="*/ 7246144 w 8601075"/>
                  <a:gd name="connsiteY232" fmla="*/ 2531269 h 4305300"/>
                  <a:gd name="connsiteX233" fmla="*/ 7377112 w 8601075"/>
                  <a:gd name="connsiteY233" fmla="*/ 2531269 h 4305300"/>
                  <a:gd name="connsiteX234" fmla="*/ 7550944 w 8601075"/>
                  <a:gd name="connsiteY234" fmla="*/ 2474118 h 4305300"/>
                  <a:gd name="connsiteX235" fmla="*/ 7610475 w 8601075"/>
                  <a:gd name="connsiteY235" fmla="*/ 2362200 h 4305300"/>
                  <a:gd name="connsiteX236" fmla="*/ 7674769 w 8601075"/>
                  <a:gd name="connsiteY236" fmla="*/ 2326481 h 4305300"/>
                  <a:gd name="connsiteX237" fmla="*/ 7653338 w 8601075"/>
                  <a:gd name="connsiteY237" fmla="*/ 2281238 h 4305300"/>
                  <a:gd name="connsiteX238" fmla="*/ 7731919 w 8601075"/>
                  <a:gd name="connsiteY238" fmla="*/ 2112168 h 4305300"/>
                  <a:gd name="connsiteX239" fmla="*/ 7786688 w 8601075"/>
                  <a:gd name="connsiteY239" fmla="*/ 2052638 h 4305300"/>
                  <a:gd name="connsiteX240" fmla="*/ 7824788 w 8601075"/>
                  <a:gd name="connsiteY240" fmla="*/ 2047875 h 4305300"/>
                  <a:gd name="connsiteX241" fmla="*/ 7870031 w 8601075"/>
                  <a:gd name="connsiteY241" fmla="*/ 2052638 h 4305300"/>
                  <a:gd name="connsiteX242" fmla="*/ 7934325 w 8601075"/>
                  <a:gd name="connsiteY242" fmla="*/ 2019300 h 4305300"/>
                  <a:gd name="connsiteX243" fmla="*/ 7943850 w 8601075"/>
                  <a:gd name="connsiteY243" fmla="*/ 1955006 h 4305300"/>
                  <a:gd name="connsiteX244" fmla="*/ 7984330 w 8601075"/>
                  <a:gd name="connsiteY244" fmla="*/ 1919288 h 4305300"/>
                  <a:gd name="connsiteX245" fmla="*/ 8043863 w 8601075"/>
                  <a:gd name="connsiteY245" fmla="*/ 1959768 h 4305300"/>
                  <a:gd name="connsiteX246" fmla="*/ 8070057 w 8601075"/>
                  <a:gd name="connsiteY246" fmla="*/ 1909762 h 4305300"/>
                  <a:gd name="connsiteX247" fmla="*/ 8165306 w 8601075"/>
                  <a:gd name="connsiteY247" fmla="*/ 1840706 h 4305300"/>
                  <a:gd name="connsiteX248" fmla="*/ 8227219 w 8601075"/>
                  <a:gd name="connsiteY248" fmla="*/ 1847850 h 4305300"/>
                  <a:gd name="connsiteX249" fmla="*/ 8277225 w 8601075"/>
                  <a:gd name="connsiteY249" fmla="*/ 1828800 h 4305300"/>
                  <a:gd name="connsiteX250" fmla="*/ 8315325 w 8601075"/>
                  <a:gd name="connsiteY250" fmla="*/ 1800225 h 4305300"/>
                  <a:gd name="connsiteX251" fmla="*/ 8348663 w 8601075"/>
                  <a:gd name="connsiteY251" fmla="*/ 1797844 h 4305300"/>
                  <a:gd name="connsiteX252" fmla="*/ 8384381 w 8601075"/>
                  <a:gd name="connsiteY252" fmla="*/ 1828800 h 4305300"/>
                  <a:gd name="connsiteX253" fmla="*/ 8443913 w 8601075"/>
                  <a:gd name="connsiteY253" fmla="*/ 1828800 h 4305300"/>
                  <a:gd name="connsiteX254" fmla="*/ 8482012 w 8601075"/>
                  <a:gd name="connsiteY254" fmla="*/ 1809750 h 4305300"/>
                  <a:gd name="connsiteX255" fmla="*/ 8565356 w 8601075"/>
                  <a:gd name="connsiteY255" fmla="*/ 1812132 h 4305300"/>
                  <a:gd name="connsiteX256" fmla="*/ 8596313 w 8601075"/>
                  <a:gd name="connsiteY256" fmla="*/ 1766888 h 4305300"/>
                  <a:gd name="connsiteX257" fmla="*/ 8601075 w 8601075"/>
                  <a:gd name="connsiteY257" fmla="*/ 1704975 h 4305300"/>
                  <a:gd name="connsiteX258" fmla="*/ 8551068 w 8601075"/>
                  <a:gd name="connsiteY258" fmla="*/ 1664494 h 4305300"/>
                  <a:gd name="connsiteX259" fmla="*/ 8534400 w 8601075"/>
                  <a:gd name="connsiteY259" fmla="*/ 1609725 h 4305300"/>
                  <a:gd name="connsiteX260" fmla="*/ 8443913 w 8601075"/>
                  <a:gd name="connsiteY260" fmla="*/ 1547813 h 4305300"/>
                  <a:gd name="connsiteX261" fmla="*/ 8403431 w 8601075"/>
                  <a:gd name="connsiteY261" fmla="*/ 1526381 h 4305300"/>
                  <a:gd name="connsiteX262" fmla="*/ 8365331 w 8601075"/>
                  <a:gd name="connsiteY262" fmla="*/ 1481138 h 4305300"/>
                  <a:gd name="connsiteX263" fmla="*/ 8334375 w 8601075"/>
                  <a:gd name="connsiteY263" fmla="*/ 1478756 h 4305300"/>
                  <a:gd name="connsiteX264" fmla="*/ 8317706 w 8601075"/>
                  <a:gd name="connsiteY264" fmla="*/ 1426369 h 4305300"/>
                  <a:gd name="connsiteX265" fmla="*/ 8277225 w 8601075"/>
                  <a:gd name="connsiteY265" fmla="*/ 1409700 h 4305300"/>
                  <a:gd name="connsiteX266" fmla="*/ 8277225 w 8601075"/>
                  <a:gd name="connsiteY266" fmla="*/ 1409700 h 4305300"/>
                  <a:gd name="connsiteX267" fmla="*/ 8236744 w 8601075"/>
                  <a:gd name="connsiteY267" fmla="*/ 1414463 h 4305300"/>
                  <a:gd name="connsiteX268" fmla="*/ 8151018 w 8601075"/>
                  <a:gd name="connsiteY268" fmla="*/ 1340644 h 4305300"/>
                  <a:gd name="connsiteX269" fmla="*/ 7970044 w 8601075"/>
                  <a:gd name="connsiteY269" fmla="*/ 1340643 h 4305300"/>
                  <a:gd name="connsiteX270" fmla="*/ 7917656 w 8601075"/>
                  <a:gd name="connsiteY270" fmla="*/ 1378744 h 4305300"/>
                  <a:gd name="connsiteX271" fmla="*/ 7867650 w 8601075"/>
                  <a:gd name="connsiteY271" fmla="*/ 1457325 h 4305300"/>
                  <a:gd name="connsiteX272" fmla="*/ 7884319 w 8601075"/>
                  <a:gd name="connsiteY272" fmla="*/ 1478756 h 4305300"/>
                  <a:gd name="connsiteX273" fmla="*/ 7839075 w 8601075"/>
                  <a:gd name="connsiteY273" fmla="*/ 1528762 h 4305300"/>
                  <a:gd name="connsiteX274" fmla="*/ 7689056 w 8601075"/>
                  <a:gd name="connsiteY274" fmla="*/ 1452562 h 4305300"/>
                  <a:gd name="connsiteX275" fmla="*/ 7598569 w 8601075"/>
                  <a:gd name="connsiteY275" fmla="*/ 1488281 h 4305300"/>
                  <a:gd name="connsiteX276" fmla="*/ 7524750 w 8601075"/>
                  <a:gd name="connsiteY276" fmla="*/ 1485900 h 4305300"/>
                  <a:gd name="connsiteX277" fmla="*/ 7467600 w 8601075"/>
                  <a:gd name="connsiteY277" fmla="*/ 1581150 h 4305300"/>
                  <a:gd name="connsiteX278" fmla="*/ 7329488 w 8601075"/>
                  <a:gd name="connsiteY278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60331 w 8601075"/>
                  <a:gd name="connsiteY21" fmla="*/ 964407 h 4305300"/>
                  <a:gd name="connsiteX22" fmla="*/ 6355556 w 8601075"/>
                  <a:gd name="connsiteY22" fmla="*/ 1021556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55556 w 8601075"/>
                  <a:gd name="connsiteY22" fmla="*/ 1021556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17456 w 8601075"/>
                  <a:gd name="connsiteY22" fmla="*/ 1042987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115050 w 8601075"/>
                  <a:gd name="connsiteY23" fmla="*/ 1114425 h 4305300"/>
                  <a:gd name="connsiteX24" fmla="*/ 5962650 w 8601075"/>
                  <a:gd name="connsiteY24" fmla="*/ 1190625 h 4305300"/>
                  <a:gd name="connsiteX25" fmla="*/ 5895975 w 8601075"/>
                  <a:gd name="connsiteY25" fmla="*/ 1143000 h 4305300"/>
                  <a:gd name="connsiteX26" fmla="*/ 5895975 w 8601075"/>
                  <a:gd name="connsiteY26" fmla="*/ 1143000 h 4305300"/>
                  <a:gd name="connsiteX27" fmla="*/ 5676900 w 8601075"/>
                  <a:gd name="connsiteY27" fmla="*/ 1181100 h 4305300"/>
                  <a:gd name="connsiteX28" fmla="*/ 5600700 w 8601075"/>
                  <a:gd name="connsiteY28" fmla="*/ 1114425 h 4305300"/>
                  <a:gd name="connsiteX29" fmla="*/ 5391150 w 8601075"/>
                  <a:gd name="connsiteY29" fmla="*/ 1123950 h 4305300"/>
                  <a:gd name="connsiteX30" fmla="*/ 5334000 w 8601075"/>
                  <a:gd name="connsiteY30" fmla="*/ 1066800 h 4305300"/>
                  <a:gd name="connsiteX31" fmla="*/ 5248275 w 8601075"/>
                  <a:gd name="connsiteY31" fmla="*/ 981075 h 4305300"/>
                  <a:gd name="connsiteX32" fmla="*/ 5238750 w 8601075"/>
                  <a:gd name="connsiteY32" fmla="*/ 895350 h 4305300"/>
                  <a:gd name="connsiteX33" fmla="*/ 5133975 w 8601075"/>
                  <a:gd name="connsiteY33" fmla="*/ 895350 h 4305300"/>
                  <a:gd name="connsiteX34" fmla="*/ 4991100 w 8601075"/>
                  <a:gd name="connsiteY34" fmla="*/ 838200 h 4305300"/>
                  <a:gd name="connsiteX35" fmla="*/ 4905375 w 8601075"/>
                  <a:gd name="connsiteY35" fmla="*/ 771525 h 4305300"/>
                  <a:gd name="connsiteX36" fmla="*/ 4905375 w 8601075"/>
                  <a:gd name="connsiteY36" fmla="*/ 771525 h 4305300"/>
                  <a:gd name="connsiteX37" fmla="*/ 4781550 w 8601075"/>
                  <a:gd name="connsiteY37" fmla="*/ 762000 h 4305300"/>
                  <a:gd name="connsiteX38" fmla="*/ 4648200 w 8601075"/>
                  <a:gd name="connsiteY38" fmla="*/ 714375 h 4305300"/>
                  <a:gd name="connsiteX39" fmla="*/ 4581525 w 8601075"/>
                  <a:gd name="connsiteY39" fmla="*/ 695325 h 4305300"/>
                  <a:gd name="connsiteX40" fmla="*/ 4495800 w 8601075"/>
                  <a:gd name="connsiteY40" fmla="*/ 742950 h 4305300"/>
                  <a:gd name="connsiteX41" fmla="*/ 4343400 w 8601075"/>
                  <a:gd name="connsiteY41" fmla="*/ 781050 h 4305300"/>
                  <a:gd name="connsiteX42" fmla="*/ 4252913 w 8601075"/>
                  <a:gd name="connsiteY42" fmla="*/ 862013 h 4305300"/>
                  <a:gd name="connsiteX43" fmla="*/ 4205287 w 8601075"/>
                  <a:gd name="connsiteY43" fmla="*/ 823913 h 4305300"/>
                  <a:gd name="connsiteX44" fmla="*/ 4183856 w 8601075"/>
                  <a:gd name="connsiteY44" fmla="*/ 854868 h 4305300"/>
                  <a:gd name="connsiteX45" fmla="*/ 4110038 w 8601075"/>
                  <a:gd name="connsiteY45" fmla="*/ 804863 h 4305300"/>
                  <a:gd name="connsiteX46" fmla="*/ 4071938 w 8601075"/>
                  <a:gd name="connsiteY46" fmla="*/ 812006 h 4305300"/>
                  <a:gd name="connsiteX47" fmla="*/ 4050506 w 8601075"/>
                  <a:gd name="connsiteY47" fmla="*/ 773906 h 4305300"/>
                  <a:gd name="connsiteX48" fmla="*/ 3990975 w 8601075"/>
                  <a:gd name="connsiteY48" fmla="*/ 778669 h 4305300"/>
                  <a:gd name="connsiteX49" fmla="*/ 3945731 w 8601075"/>
                  <a:gd name="connsiteY49" fmla="*/ 750094 h 4305300"/>
                  <a:gd name="connsiteX50" fmla="*/ 3907631 w 8601075"/>
                  <a:gd name="connsiteY50" fmla="*/ 747713 h 4305300"/>
                  <a:gd name="connsiteX51" fmla="*/ 3888581 w 8601075"/>
                  <a:gd name="connsiteY51" fmla="*/ 700087 h 4305300"/>
                  <a:gd name="connsiteX52" fmla="*/ 3874294 w 8601075"/>
                  <a:gd name="connsiteY52" fmla="*/ 669131 h 4305300"/>
                  <a:gd name="connsiteX53" fmla="*/ 3829050 w 8601075"/>
                  <a:gd name="connsiteY53" fmla="*/ 678656 h 4305300"/>
                  <a:gd name="connsiteX54" fmla="*/ 3810000 w 8601075"/>
                  <a:gd name="connsiteY54" fmla="*/ 642938 h 4305300"/>
                  <a:gd name="connsiteX55" fmla="*/ 3831432 w 8601075"/>
                  <a:gd name="connsiteY55" fmla="*/ 588169 h 4305300"/>
                  <a:gd name="connsiteX56" fmla="*/ 3800475 w 8601075"/>
                  <a:gd name="connsiteY56" fmla="*/ 561975 h 4305300"/>
                  <a:gd name="connsiteX57" fmla="*/ 3817144 w 8601075"/>
                  <a:gd name="connsiteY57" fmla="*/ 519113 h 4305300"/>
                  <a:gd name="connsiteX58" fmla="*/ 3790950 w 8601075"/>
                  <a:gd name="connsiteY58" fmla="*/ 476250 h 4305300"/>
                  <a:gd name="connsiteX59" fmla="*/ 3786188 w 8601075"/>
                  <a:gd name="connsiteY59" fmla="*/ 414338 h 4305300"/>
                  <a:gd name="connsiteX60" fmla="*/ 3810000 w 8601075"/>
                  <a:gd name="connsiteY60" fmla="*/ 350043 h 4305300"/>
                  <a:gd name="connsiteX61" fmla="*/ 3771900 w 8601075"/>
                  <a:gd name="connsiteY61" fmla="*/ 352425 h 4305300"/>
                  <a:gd name="connsiteX62" fmla="*/ 3652838 w 8601075"/>
                  <a:gd name="connsiteY62" fmla="*/ 295275 h 4305300"/>
                  <a:gd name="connsiteX63" fmla="*/ 3614737 w 8601075"/>
                  <a:gd name="connsiteY63" fmla="*/ 300037 h 4305300"/>
                  <a:gd name="connsiteX64" fmla="*/ 3409950 w 8601075"/>
                  <a:gd name="connsiteY64" fmla="*/ 190500 h 4305300"/>
                  <a:gd name="connsiteX65" fmla="*/ 3305175 w 8601075"/>
                  <a:gd name="connsiteY65" fmla="*/ 159544 h 4305300"/>
                  <a:gd name="connsiteX66" fmla="*/ 3240881 w 8601075"/>
                  <a:gd name="connsiteY66" fmla="*/ 169068 h 4305300"/>
                  <a:gd name="connsiteX67" fmla="*/ 3209925 w 8601075"/>
                  <a:gd name="connsiteY67" fmla="*/ 104775 h 4305300"/>
                  <a:gd name="connsiteX68" fmla="*/ 3152775 w 8601075"/>
                  <a:gd name="connsiteY68" fmla="*/ 104775 h 4305300"/>
                  <a:gd name="connsiteX69" fmla="*/ 3014662 w 8601075"/>
                  <a:gd name="connsiteY69" fmla="*/ 0 h 4305300"/>
                  <a:gd name="connsiteX70" fmla="*/ 2981325 w 8601075"/>
                  <a:gd name="connsiteY70" fmla="*/ 59532 h 4305300"/>
                  <a:gd name="connsiteX71" fmla="*/ 2926556 w 8601075"/>
                  <a:gd name="connsiteY71" fmla="*/ 128588 h 4305300"/>
                  <a:gd name="connsiteX72" fmla="*/ 2883694 w 8601075"/>
                  <a:gd name="connsiteY72" fmla="*/ 145256 h 4305300"/>
                  <a:gd name="connsiteX73" fmla="*/ 2852738 w 8601075"/>
                  <a:gd name="connsiteY73" fmla="*/ 138113 h 4305300"/>
                  <a:gd name="connsiteX74" fmla="*/ 2828925 w 8601075"/>
                  <a:gd name="connsiteY74" fmla="*/ 166688 h 4305300"/>
                  <a:gd name="connsiteX75" fmla="*/ 2802731 w 8601075"/>
                  <a:gd name="connsiteY75" fmla="*/ 245269 h 4305300"/>
                  <a:gd name="connsiteX76" fmla="*/ 2759869 w 8601075"/>
                  <a:gd name="connsiteY76" fmla="*/ 242888 h 4305300"/>
                  <a:gd name="connsiteX77" fmla="*/ 2728912 w 8601075"/>
                  <a:gd name="connsiteY77" fmla="*/ 304800 h 4305300"/>
                  <a:gd name="connsiteX78" fmla="*/ 2724150 w 8601075"/>
                  <a:gd name="connsiteY78" fmla="*/ 369094 h 4305300"/>
                  <a:gd name="connsiteX79" fmla="*/ 2697957 w 8601075"/>
                  <a:gd name="connsiteY79" fmla="*/ 407194 h 4305300"/>
                  <a:gd name="connsiteX80" fmla="*/ 2724150 w 8601075"/>
                  <a:gd name="connsiteY80" fmla="*/ 466725 h 4305300"/>
                  <a:gd name="connsiteX81" fmla="*/ 2726531 w 8601075"/>
                  <a:gd name="connsiteY81" fmla="*/ 535781 h 4305300"/>
                  <a:gd name="connsiteX82" fmla="*/ 2755106 w 8601075"/>
                  <a:gd name="connsiteY82" fmla="*/ 588169 h 4305300"/>
                  <a:gd name="connsiteX83" fmla="*/ 2802732 w 8601075"/>
                  <a:gd name="connsiteY83" fmla="*/ 642938 h 4305300"/>
                  <a:gd name="connsiteX84" fmla="*/ 2752725 w 8601075"/>
                  <a:gd name="connsiteY84" fmla="*/ 781050 h 4305300"/>
                  <a:gd name="connsiteX85" fmla="*/ 2683669 w 8601075"/>
                  <a:gd name="connsiteY85" fmla="*/ 847725 h 4305300"/>
                  <a:gd name="connsiteX86" fmla="*/ 2612231 w 8601075"/>
                  <a:gd name="connsiteY86" fmla="*/ 842963 h 4305300"/>
                  <a:gd name="connsiteX87" fmla="*/ 2574131 w 8601075"/>
                  <a:gd name="connsiteY87" fmla="*/ 900113 h 4305300"/>
                  <a:gd name="connsiteX88" fmla="*/ 2514600 w 8601075"/>
                  <a:gd name="connsiteY88" fmla="*/ 914400 h 4305300"/>
                  <a:gd name="connsiteX89" fmla="*/ 2445544 w 8601075"/>
                  <a:gd name="connsiteY89" fmla="*/ 854869 h 4305300"/>
                  <a:gd name="connsiteX90" fmla="*/ 2390775 w 8601075"/>
                  <a:gd name="connsiteY90" fmla="*/ 826294 h 4305300"/>
                  <a:gd name="connsiteX91" fmla="*/ 2347913 w 8601075"/>
                  <a:gd name="connsiteY91" fmla="*/ 840581 h 4305300"/>
                  <a:gd name="connsiteX92" fmla="*/ 2295525 w 8601075"/>
                  <a:gd name="connsiteY92" fmla="*/ 823913 h 4305300"/>
                  <a:gd name="connsiteX93" fmla="*/ 2228850 w 8601075"/>
                  <a:gd name="connsiteY93" fmla="*/ 769144 h 4305300"/>
                  <a:gd name="connsiteX94" fmla="*/ 2183606 w 8601075"/>
                  <a:gd name="connsiteY94" fmla="*/ 781050 h 4305300"/>
                  <a:gd name="connsiteX95" fmla="*/ 2162175 w 8601075"/>
                  <a:gd name="connsiteY95" fmla="*/ 750094 h 4305300"/>
                  <a:gd name="connsiteX96" fmla="*/ 2105025 w 8601075"/>
                  <a:gd name="connsiteY96" fmla="*/ 790575 h 4305300"/>
                  <a:gd name="connsiteX97" fmla="*/ 1988344 w 8601075"/>
                  <a:gd name="connsiteY97" fmla="*/ 769144 h 4305300"/>
                  <a:gd name="connsiteX98" fmla="*/ 1938338 w 8601075"/>
                  <a:gd name="connsiteY98" fmla="*/ 716756 h 4305300"/>
                  <a:gd name="connsiteX99" fmla="*/ 1895475 w 8601075"/>
                  <a:gd name="connsiteY99" fmla="*/ 702469 h 4305300"/>
                  <a:gd name="connsiteX100" fmla="*/ 1852613 w 8601075"/>
                  <a:gd name="connsiteY100" fmla="*/ 728663 h 4305300"/>
                  <a:gd name="connsiteX101" fmla="*/ 1800225 w 8601075"/>
                  <a:gd name="connsiteY101" fmla="*/ 638175 h 4305300"/>
                  <a:gd name="connsiteX102" fmla="*/ 1790700 w 8601075"/>
                  <a:gd name="connsiteY102" fmla="*/ 490537 h 4305300"/>
                  <a:gd name="connsiteX103" fmla="*/ 1738312 w 8601075"/>
                  <a:gd name="connsiteY103" fmla="*/ 483393 h 4305300"/>
                  <a:gd name="connsiteX104" fmla="*/ 1647825 w 8601075"/>
                  <a:gd name="connsiteY104" fmla="*/ 473869 h 4305300"/>
                  <a:gd name="connsiteX105" fmla="*/ 1593056 w 8601075"/>
                  <a:gd name="connsiteY105" fmla="*/ 435769 h 4305300"/>
                  <a:gd name="connsiteX106" fmla="*/ 1524000 w 8601075"/>
                  <a:gd name="connsiteY106" fmla="*/ 445294 h 4305300"/>
                  <a:gd name="connsiteX107" fmla="*/ 1478756 w 8601075"/>
                  <a:gd name="connsiteY107" fmla="*/ 419100 h 4305300"/>
                  <a:gd name="connsiteX108" fmla="*/ 1469232 w 8601075"/>
                  <a:gd name="connsiteY108" fmla="*/ 347663 h 4305300"/>
                  <a:gd name="connsiteX109" fmla="*/ 1445419 w 8601075"/>
                  <a:gd name="connsiteY109" fmla="*/ 333375 h 4305300"/>
                  <a:gd name="connsiteX110" fmla="*/ 1407319 w 8601075"/>
                  <a:gd name="connsiteY110" fmla="*/ 380999 h 4305300"/>
                  <a:gd name="connsiteX111" fmla="*/ 1328737 w 8601075"/>
                  <a:gd name="connsiteY111" fmla="*/ 307181 h 4305300"/>
                  <a:gd name="connsiteX112" fmla="*/ 1288256 w 8601075"/>
                  <a:gd name="connsiteY112" fmla="*/ 347663 h 4305300"/>
                  <a:gd name="connsiteX113" fmla="*/ 1212056 w 8601075"/>
                  <a:gd name="connsiteY113" fmla="*/ 333375 h 4305300"/>
                  <a:gd name="connsiteX114" fmla="*/ 1133475 w 8601075"/>
                  <a:gd name="connsiteY114" fmla="*/ 359569 h 4305300"/>
                  <a:gd name="connsiteX115" fmla="*/ 1073944 w 8601075"/>
                  <a:gd name="connsiteY115" fmla="*/ 407193 h 4305300"/>
                  <a:gd name="connsiteX116" fmla="*/ 1000125 w 8601075"/>
                  <a:gd name="connsiteY116" fmla="*/ 419100 h 4305300"/>
                  <a:gd name="connsiteX117" fmla="*/ 964406 w 8601075"/>
                  <a:gd name="connsiteY117" fmla="*/ 411956 h 4305300"/>
                  <a:gd name="connsiteX118" fmla="*/ 885826 w 8601075"/>
                  <a:gd name="connsiteY118" fmla="*/ 442913 h 4305300"/>
                  <a:gd name="connsiteX119" fmla="*/ 864394 w 8601075"/>
                  <a:gd name="connsiteY119" fmla="*/ 471488 h 4305300"/>
                  <a:gd name="connsiteX120" fmla="*/ 797719 w 8601075"/>
                  <a:gd name="connsiteY120" fmla="*/ 461963 h 4305300"/>
                  <a:gd name="connsiteX121" fmla="*/ 728663 w 8601075"/>
                  <a:gd name="connsiteY121" fmla="*/ 485775 h 4305300"/>
                  <a:gd name="connsiteX122" fmla="*/ 673894 w 8601075"/>
                  <a:gd name="connsiteY122" fmla="*/ 523875 h 4305300"/>
                  <a:gd name="connsiteX123" fmla="*/ 578644 w 8601075"/>
                  <a:gd name="connsiteY123" fmla="*/ 538162 h 4305300"/>
                  <a:gd name="connsiteX124" fmla="*/ 564356 w 8601075"/>
                  <a:gd name="connsiteY124" fmla="*/ 559594 h 4305300"/>
                  <a:gd name="connsiteX125" fmla="*/ 576262 w 8601075"/>
                  <a:gd name="connsiteY125" fmla="*/ 604838 h 4305300"/>
                  <a:gd name="connsiteX126" fmla="*/ 476251 w 8601075"/>
                  <a:gd name="connsiteY126" fmla="*/ 657225 h 4305300"/>
                  <a:gd name="connsiteX127" fmla="*/ 438150 w 8601075"/>
                  <a:gd name="connsiteY127" fmla="*/ 628649 h 4305300"/>
                  <a:gd name="connsiteX128" fmla="*/ 407194 w 8601075"/>
                  <a:gd name="connsiteY128" fmla="*/ 685800 h 4305300"/>
                  <a:gd name="connsiteX129" fmla="*/ 350044 w 8601075"/>
                  <a:gd name="connsiteY129" fmla="*/ 647700 h 4305300"/>
                  <a:gd name="connsiteX130" fmla="*/ 314325 w 8601075"/>
                  <a:gd name="connsiteY130" fmla="*/ 676275 h 4305300"/>
                  <a:gd name="connsiteX131" fmla="*/ 278606 w 8601075"/>
                  <a:gd name="connsiteY131" fmla="*/ 640556 h 4305300"/>
                  <a:gd name="connsiteX132" fmla="*/ 226219 w 8601075"/>
                  <a:gd name="connsiteY132" fmla="*/ 652463 h 4305300"/>
                  <a:gd name="connsiteX133" fmla="*/ 180975 w 8601075"/>
                  <a:gd name="connsiteY133" fmla="*/ 623888 h 4305300"/>
                  <a:gd name="connsiteX134" fmla="*/ 157163 w 8601075"/>
                  <a:gd name="connsiteY134" fmla="*/ 642938 h 4305300"/>
                  <a:gd name="connsiteX135" fmla="*/ 133350 w 8601075"/>
                  <a:gd name="connsiteY135" fmla="*/ 702469 h 4305300"/>
                  <a:gd name="connsiteX136" fmla="*/ 61913 w 8601075"/>
                  <a:gd name="connsiteY136" fmla="*/ 740568 h 4305300"/>
                  <a:gd name="connsiteX137" fmla="*/ 28575 w 8601075"/>
                  <a:gd name="connsiteY137" fmla="*/ 769144 h 4305300"/>
                  <a:gd name="connsiteX138" fmla="*/ 33338 w 8601075"/>
                  <a:gd name="connsiteY138" fmla="*/ 812006 h 4305300"/>
                  <a:gd name="connsiteX139" fmla="*/ 0 w 8601075"/>
                  <a:gd name="connsiteY139" fmla="*/ 816769 h 4305300"/>
                  <a:gd name="connsiteX140" fmla="*/ 4763 w 8601075"/>
                  <a:gd name="connsiteY140" fmla="*/ 840581 h 4305300"/>
                  <a:gd name="connsiteX141" fmla="*/ 61912 w 8601075"/>
                  <a:gd name="connsiteY141" fmla="*/ 914400 h 4305300"/>
                  <a:gd name="connsiteX142" fmla="*/ 23813 w 8601075"/>
                  <a:gd name="connsiteY142" fmla="*/ 962025 h 4305300"/>
                  <a:gd name="connsiteX143" fmla="*/ 78581 w 8601075"/>
                  <a:gd name="connsiteY143" fmla="*/ 997744 h 4305300"/>
                  <a:gd name="connsiteX144" fmla="*/ 169069 w 8601075"/>
                  <a:gd name="connsiteY144" fmla="*/ 1085850 h 4305300"/>
                  <a:gd name="connsiteX145" fmla="*/ 171450 w 8601075"/>
                  <a:gd name="connsiteY145" fmla="*/ 1145381 h 4305300"/>
                  <a:gd name="connsiteX146" fmla="*/ 307181 w 8601075"/>
                  <a:gd name="connsiteY146" fmla="*/ 1278732 h 4305300"/>
                  <a:gd name="connsiteX147" fmla="*/ 361950 w 8601075"/>
                  <a:gd name="connsiteY147" fmla="*/ 1254919 h 4305300"/>
                  <a:gd name="connsiteX148" fmla="*/ 400050 w 8601075"/>
                  <a:gd name="connsiteY148" fmla="*/ 1281112 h 4305300"/>
                  <a:gd name="connsiteX149" fmla="*/ 414338 w 8601075"/>
                  <a:gd name="connsiteY149" fmla="*/ 1331118 h 4305300"/>
                  <a:gd name="connsiteX150" fmla="*/ 457200 w 8601075"/>
                  <a:gd name="connsiteY150" fmla="*/ 1366838 h 4305300"/>
                  <a:gd name="connsiteX151" fmla="*/ 497681 w 8601075"/>
                  <a:gd name="connsiteY151" fmla="*/ 1354931 h 4305300"/>
                  <a:gd name="connsiteX152" fmla="*/ 516731 w 8601075"/>
                  <a:gd name="connsiteY152" fmla="*/ 1412081 h 4305300"/>
                  <a:gd name="connsiteX153" fmla="*/ 564356 w 8601075"/>
                  <a:gd name="connsiteY153" fmla="*/ 1454944 h 4305300"/>
                  <a:gd name="connsiteX154" fmla="*/ 588169 w 8601075"/>
                  <a:gd name="connsiteY154" fmla="*/ 1557338 h 4305300"/>
                  <a:gd name="connsiteX155" fmla="*/ 585788 w 8601075"/>
                  <a:gd name="connsiteY155" fmla="*/ 1604963 h 4305300"/>
                  <a:gd name="connsiteX156" fmla="*/ 621506 w 8601075"/>
                  <a:gd name="connsiteY156" fmla="*/ 1704975 h 4305300"/>
                  <a:gd name="connsiteX157" fmla="*/ 666750 w 8601075"/>
                  <a:gd name="connsiteY157" fmla="*/ 1762125 h 4305300"/>
                  <a:gd name="connsiteX158" fmla="*/ 683418 w 8601075"/>
                  <a:gd name="connsiteY158" fmla="*/ 1919287 h 4305300"/>
                  <a:gd name="connsiteX159" fmla="*/ 650081 w 8601075"/>
                  <a:gd name="connsiteY159" fmla="*/ 1981200 h 4305300"/>
                  <a:gd name="connsiteX160" fmla="*/ 619125 w 8601075"/>
                  <a:gd name="connsiteY160" fmla="*/ 2057400 h 4305300"/>
                  <a:gd name="connsiteX161" fmla="*/ 633413 w 8601075"/>
                  <a:gd name="connsiteY161" fmla="*/ 2114550 h 4305300"/>
                  <a:gd name="connsiteX162" fmla="*/ 535781 w 8601075"/>
                  <a:gd name="connsiteY162" fmla="*/ 2221707 h 4305300"/>
                  <a:gd name="connsiteX163" fmla="*/ 492919 w 8601075"/>
                  <a:gd name="connsiteY163" fmla="*/ 2336006 h 4305300"/>
                  <a:gd name="connsiteX164" fmla="*/ 526256 w 8601075"/>
                  <a:gd name="connsiteY164" fmla="*/ 2376488 h 4305300"/>
                  <a:gd name="connsiteX165" fmla="*/ 509588 w 8601075"/>
                  <a:gd name="connsiteY165" fmla="*/ 2405063 h 4305300"/>
                  <a:gd name="connsiteX166" fmla="*/ 540544 w 8601075"/>
                  <a:gd name="connsiteY166" fmla="*/ 2462213 h 4305300"/>
                  <a:gd name="connsiteX167" fmla="*/ 569119 w 8601075"/>
                  <a:gd name="connsiteY167" fmla="*/ 2462213 h 4305300"/>
                  <a:gd name="connsiteX168" fmla="*/ 731044 w 8601075"/>
                  <a:gd name="connsiteY168" fmla="*/ 2564606 h 4305300"/>
                  <a:gd name="connsiteX169" fmla="*/ 835819 w 8601075"/>
                  <a:gd name="connsiteY169" fmla="*/ 2562225 h 4305300"/>
                  <a:gd name="connsiteX170" fmla="*/ 914400 w 8601075"/>
                  <a:gd name="connsiteY170" fmla="*/ 2616994 h 4305300"/>
                  <a:gd name="connsiteX171" fmla="*/ 1045368 w 8601075"/>
                  <a:gd name="connsiteY171" fmla="*/ 2619375 h 4305300"/>
                  <a:gd name="connsiteX172" fmla="*/ 1235868 w 8601075"/>
                  <a:gd name="connsiteY172" fmla="*/ 2688431 h 4305300"/>
                  <a:gd name="connsiteX173" fmla="*/ 1438275 w 8601075"/>
                  <a:gd name="connsiteY173" fmla="*/ 2838450 h 4305300"/>
                  <a:gd name="connsiteX174" fmla="*/ 1471612 w 8601075"/>
                  <a:gd name="connsiteY174" fmla="*/ 2905125 h 4305300"/>
                  <a:gd name="connsiteX175" fmla="*/ 1638300 w 8601075"/>
                  <a:gd name="connsiteY175" fmla="*/ 3031331 h 4305300"/>
                  <a:gd name="connsiteX176" fmla="*/ 1709738 w 8601075"/>
                  <a:gd name="connsiteY176" fmla="*/ 3026569 h 4305300"/>
                  <a:gd name="connsiteX177" fmla="*/ 1745457 w 8601075"/>
                  <a:gd name="connsiteY177" fmla="*/ 3050381 h 4305300"/>
                  <a:gd name="connsiteX178" fmla="*/ 1716881 w 8601075"/>
                  <a:gd name="connsiteY178" fmla="*/ 3090863 h 4305300"/>
                  <a:gd name="connsiteX179" fmla="*/ 1724025 w 8601075"/>
                  <a:gd name="connsiteY179" fmla="*/ 3143250 h 4305300"/>
                  <a:gd name="connsiteX180" fmla="*/ 1776413 w 8601075"/>
                  <a:gd name="connsiteY180" fmla="*/ 3169444 h 4305300"/>
                  <a:gd name="connsiteX181" fmla="*/ 1838325 w 8601075"/>
                  <a:gd name="connsiteY181" fmla="*/ 3393282 h 4305300"/>
                  <a:gd name="connsiteX182" fmla="*/ 1828800 w 8601075"/>
                  <a:gd name="connsiteY182" fmla="*/ 3457575 h 4305300"/>
                  <a:gd name="connsiteX183" fmla="*/ 1964531 w 8601075"/>
                  <a:gd name="connsiteY183" fmla="*/ 3624263 h 4305300"/>
                  <a:gd name="connsiteX184" fmla="*/ 1983581 w 8601075"/>
                  <a:gd name="connsiteY184" fmla="*/ 3674269 h 4305300"/>
                  <a:gd name="connsiteX185" fmla="*/ 1957388 w 8601075"/>
                  <a:gd name="connsiteY185" fmla="*/ 3693319 h 4305300"/>
                  <a:gd name="connsiteX186" fmla="*/ 2059781 w 8601075"/>
                  <a:gd name="connsiteY186" fmla="*/ 3702844 h 4305300"/>
                  <a:gd name="connsiteX187" fmla="*/ 2171700 w 8601075"/>
                  <a:gd name="connsiteY187" fmla="*/ 3690938 h 4305300"/>
                  <a:gd name="connsiteX188" fmla="*/ 2450306 w 8601075"/>
                  <a:gd name="connsiteY188" fmla="*/ 3774281 h 4305300"/>
                  <a:gd name="connsiteX189" fmla="*/ 2857500 w 8601075"/>
                  <a:gd name="connsiteY189" fmla="*/ 3855244 h 4305300"/>
                  <a:gd name="connsiteX190" fmla="*/ 3055144 w 8601075"/>
                  <a:gd name="connsiteY190" fmla="*/ 3824287 h 4305300"/>
                  <a:gd name="connsiteX191" fmla="*/ 3100388 w 8601075"/>
                  <a:gd name="connsiteY191" fmla="*/ 3836193 h 4305300"/>
                  <a:gd name="connsiteX192" fmla="*/ 3155156 w 8601075"/>
                  <a:gd name="connsiteY192" fmla="*/ 3812382 h 4305300"/>
                  <a:gd name="connsiteX193" fmla="*/ 3548062 w 8601075"/>
                  <a:gd name="connsiteY193" fmla="*/ 3902869 h 4305300"/>
                  <a:gd name="connsiteX194" fmla="*/ 3631407 w 8601075"/>
                  <a:gd name="connsiteY194" fmla="*/ 4000500 h 4305300"/>
                  <a:gd name="connsiteX195" fmla="*/ 3750469 w 8601075"/>
                  <a:gd name="connsiteY195" fmla="*/ 4071938 h 4305300"/>
                  <a:gd name="connsiteX196" fmla="*/ 3810000 w 8601075"/>
                  <a:gd name="connsiteY196" fmla="*/ 4055269 h 4305300"/>
                  <a:gd name="connsiteX197" fmla="*/ 4160043 w 8601075"/>
                  <a:gd name="connsiteY197" fmla="*/ 4229100 h 4305300"/>
                  <a:gd name="connsiteX198" fmla="*/ 4386263 w 8601075"/>
                  <a:gd name="connsiteY198" fmla="*/ 4200525 h 4305300"/>
                  <a:gd name="connsiteX199" fmla="*/ 4395788 w 8601075"/>
                  <a:gd name="connsiteY199" fmla="*/ 4279106 h 4305300"/>
                  <a:gd name="connsiteX200" fmla="*/ 4481513 w 8601075"/>
                  <a:gd name="connsiteY200" fmla="*/ 4274343 h 4305300"/>
                  <a:gd name="connsiteX201" fmla="*/ 4560094 w 8601075"/>
                  <a:gd name="connsiteY201" fmla="*/ 4305300 h 4305300"/>
                  <a:gd name="connsiteX202" fmla="*/ 4602956 w 8601075"/>
                  <a:gd name="connsiteY202" fmla="*/ 4245769 h 4305300"/>
                  <a:gd name="connsiteX203" fmla="*/ 5274469 w 8601075"/>
                  <a:gd name="connsiteY203" fmla="*/ 3926681 h 4305300"/>
                  <a:gd name="connsiteX204" fmla="*/ 5362575 w 8601075"/>
                  <a:gd name="connsiteY204" fmla="*/ 3955257 h 4305300"/>
                  <a:gd name="connsiteX205" fmla="*/ 5493544 w 8601075"/>
                  <a:gd name="connsiteY205" fmla="*/ 3926681 h 4305300"/>
                  <a:gd name="connsiteX206" fmla="*/ 5672137 w 8601075"/>
                  <a:gd name="connsiteY206" fmla="*/ 3943350 h 4305300"/>
                  <a:gd name="connsiteX207" fmla="*/ 5729288 w 8601075"/>
                  <a:gd name="connsiteY207" fmla="*/ 3917157 h 4305300"/>
                  <a:gd name="connsiteX208" fmla="*/ 5862637 w 8601075"/>
                  <a:gd name="connsiteY208" fmla="*/ 3914775 h 4305300"/>
                  <a:gd name="connsiteX209" fmla="*/ 5995987 w 8601075"/>
                  <a:gd name="connsiteY209" fmla="*/ 3817144 h 4305300"/>
                  <a:gd name="connsiteX210" fmla="*/ 6062662 w 8601075"/>
                  <a:gd name="connsiteY210" fmla="*/ 3810000 h 4305300"/>
                  <a:gd name="connsiteX211" fmla="*/ 6160294 w 8601075"/>
                  <a:gd name="connsiteY211" fmla="*/ 3736181 h 4305300"/>
                  <a:gd name="connsiteX212" fmla="*/ 6234113 w 8601075"/>
                  <a:gd name="connsiteY212" fmla="*/ 3667125 h 4305300"/>
                  <a:gd name="connsiteX213" fmla="*/ 6243638 w 8601075"/>
                  <a:gd name="connsiteY213" fmla="*/ 3605213 h 4305300"/>
                  <a:gd name="connsiteX214" fmla="*/ 6276975 w 8601075"/>
                  <a:gd name="connsiteY214" fmla="*/ 3536156 h 4305300"/>
                  <a:gd name="connsiteX215" fmla="*/ 6429375 w 8601075"/>
                  <a:gd name="connsiteY215" fmla="*/ 3429000 h 4305300"/>
                  <a:gd name="connsiteX216" fmla="*/ 6462713 w 8601075"/>
                  <a:gd name="connsiteY216" fmla="*/ 3433763 h 4305300"/>
                  <a:gd name="connsiteX217" fmla="*/ 6515100 w 8601075"/>
                  <a:gd name="connsiteY217" fmla="*/ 3355181 h 4305300"/>
                  <a:gd name="connsiteX218" fmla="*/ 6562725 w 8601075"/>
                  <a:gd name="connsiteY218" fmla="*/ 3317081 h 4305300"/>
                  <a:gd name="connsiteX219" fmla="*/ 6548438 w 8601075"/>
                  <a:gd name="connsiteY219" fmla="*/ 3248025 h 4305300"/>
                  <a:gd name="connsiteX220" fmla="*/ 6498431 w 8601075"/>
                  <a:gd name="connsiteY220" fmla="*/ 3217068 h 4305300"/>
                  <a:gd name="connsiteX221" fmla="*/ 6438900 w 8601075"/>
                  <a:gd name="connsiteY221" fmla="*/ 3162300 h 4305300"/>
                  <a:gd name="connsiteX222" fmla="*/ 6419850 w 8601075"/>
                  <a:gd name="connsiteY222" fmla="*/ 3105150 h 4305300"/>
                  <a:gd name="connsiteX223" fmla="*/ 6384131 w 8601075"/>
                  <a:gd name="connsiteY223" fmla="*/ 3071813 h 4305300"/>
                  <a:gd name="connsiteX224" fmla="*/ 6410325 w 8601075"/>
                  <a:gd name="connsiteY224" fmla="*/ 3019425 h 4305300"/>
                  <a:gd name="connsiteX225" fmla="*/ 6450806 w 8601075"/>
                  <a:gd name="connsiteY225" fmla="*/ 2840831 h 4305300"/>
                  <a:gd name="connsiteX226" fmla="*/ 6491288 w 8601075"/>
                  <a:gd name="connsiteY226" fmla="*/ 2774156 h 4305300"/>
                  <a:gd name="connsiteX227" fmla="*/ 6636544 w 8601075"/>
                  <a:gd name="connsiteY227" fmla="*/ 2757487 h 4305300"/>
                  <a:gd name="connsiteX228" fmla="*/ 6705600 w 8601075"/>
                  <a:gd name="connsiteY228" fmla="*/ 2814638 h 4305300"/>
                  <a:gd name="connsiteX229" fmla="*/ 6781800 w 8601075"/>
                  <a:gd name="connsiteY229" fmla="*/ 2838450 h 4305300"/>
                  <a:gd name="connsiteX230" fmla="*/ 6986587 w 8601075"/>
                  <a:gd name="connsiteY230" fmla="*/ 2843213 h 4305300"/>
                  <a:gd name="connsiteX231" fmla="*/ 7162800 w 8601075"/>
                  <a:gd name="connsiteY231" fmla="*/ 2705100 h 4305300"/>
                  <a:gd name="connsiteX232" fmla="*/ 7219950 w 8601075"/>
                  <a:gd name="connsiteY232" fmla="*/ 2614612 h 4305300"/>
                  <a:gd name="connsiteX233" fmla="*/ 7246144 w 8601075"/>
                  <a:gd name="connsiteY233" fmla="*/ 2531269 h 4305300"/>
                  <a:gd name="connsiteX234" fmla="*/ 7377112 w 8601075"/>
                  <a:gd name="connsiteY234" fmla="*/ 2531269 h 4305300"/>
                  <a:gd name="connsiteX235" fmla="*/ 7550944 w 8601075"/>
                  <a:gd name="connsiteY235" fmla="*/ 2474118 h 4305300"/>
                  <a:gd name="connsiteX236" fmla="*/ 7610475 w 8601075"/>
                  <a:gd name="connsiteY236" fmla="*/ 2362200 h 4305300"/>
                  <a:gd name="connsiteX237" fmla="*/ 7674769 w 8601075"/>
                  <a:gd name="connsiteY237" fmla="*/ 2326481 h 4305300"/>
                  <a:gd name="connsiteX238" fmla="*/ 7653338 w 8601075"/>
                  <a:gd name="connsiteY238" fmla="*/ 2281238 h 4305300"/>
                  <a:gd name="connsiteX239" fmla="*/ 7731919 w 8601075"/>
                  <a:gd name="connsiteY239" fmla="*/ 2112168 h 4305300"/>
                  <a:gd name="connsiteX240" fmla="*/ 7786688 w 8601075"/>
                  <a:gd name="connsiteY240" fmla="*/ 2052638 h 4305300"/>
                  <a:gd name="connsiteX241" fmla="*/ 7824788 w 8601075"/>
                  <a:gd name="connsiteY241" fmla="*/ 2047875 h 4305300"/>
                  <a:gd name="connsiteX242" fmla="*/ 7870031 w 8601075"/>
                  <a:gd name="connsiteY242" fmla="*/ 2052638 h 4305300"/>
                  <a:gd name="connsiteX243" fmla="*/ 7934325 w 8601075"/>
                  <a:gd name="connsiteY243" fmla="*/ 2019300 h 4305300"/>
                  <a:gd name="connsiteX244" fmla="*/ 7943850 w 8601075"/>
                  <a:gd name="connsiteY244" fmla="*/ 1955006 h 4305300"/>
                  <a:gd name="connsiteX245" fmla="*/ 7984330 w 8601075"/>
                  <a:gd name="connsiteY245" fmla="*/ 1919288 h 4305300"/>
                  <a:gd name="connsiteX246" fmla="*/ 8043863 w 8601075"/>
                  <a:gd name="connsiteY246" fmla="*/ 1959768 h 4305300"/>
                  <a:gd name="connsiteX247" fmla="*/ 8070057 w 8601075"/>
                  <a:gd name="connsiteY247" fmla="*/ 1909762 h 4305300"/>
                  <a:gd name="connsiteX248" fmla="*/ 8165306 w 8601075"/>
                  <a:gd name="connsiteY248" fmla="*/ 1840706 h 4305300"/>
                  <a:gd name="connsiteX249" fmla="*/ 8227219 w 8601075"/>
                  <a:gd name="connsiteY249" fmla="*/ 1847850 h 4305300"/>
                  <a:gd name="connsiteX250" fmla="*/ 8277225 w 8601075"/>
                  <a:gd name="connsiteY250" fmla="*/ 1828800 h 4305300"/>
                  <a:gd name="connsiteX251" fmla="*/ 8315325 w 8601075"/>
                  <a:gd name="connsiteY251" fmla="*/ 1800225 h 4305300"/>
                  <a:gd name="connsiteX252" fmla="*/ 8348663 w 8601075"/>
                  <a:gd name="connsiteY252" fmla="*/ 1797844 h 4305300"/>
                  <a:gd name="connsiteX253" fmla="*/ 8384381 w 8601075"/>
                  <a:gd name="connsiteY253" fmla="*/ 1828800 h 4305300"/>
                  <a:gd name="connsiteX254" fmla="*/ 8443913 w 8601075"/>
                  <a:gd name="connsiteY254" fmla="*/ 1828800 h 4305300"/>
                  <a:gd name="connsiteX255" fmla="*/ 8482012 w 8601075"/>
                  <a:gd name="connsiteY255" fmla="*/ 1809750 h 4305300"/>
                  <a:gd name="connsiteX256" fmla="*/ 8565356 w 8601075"/>
                  <a:gd name="connsiteY256" fmla="*/ 1812132 h 4305300"/>
                  <a:gd name="connsiteX257" fmla="*/ 8596313 w 8601075"/>
                  <a:gd name="connsiteY257" fmla="*/ 1766888 h 4305300"/>
                  <a:gd name="connsiteX258" fmla="*/ 8601075 w 8601075"/>
                  <a:gd name="connsiteY258" fmla="*/ 1704975 h 4305300"/>
                  <a:gd name="connsiteX259" fmla="*/ 8551068 w 8601075"/>
                  <a:gd name="connsiteY259" fmla="*/ 1664494 h 4305300"/>
                  <a:gd name="connsiteX260" fmla="*/ 8534400 w 8601075"/>
                  <a:gd name="connsiteY260" fmla="*/ 1609725 h 4305300"/>
                  <a:gd name="connsiteX261" fmla="*/ 8443913 w 8601075"/>
                  <a:gd name="connsiteY261" fmla="*/ 1547813 h 4305300"/>
                  <a:gd name="connsiteX262" fmla="*/ 8403431 w 8601075"/>
                  <a:gd name="connsiteY262" fmla="*/ 1526381 h 4305300"/>
                  <a:gd name="connsiteX263" fmla="*/ 8365331 w 8601075"/>
                  <a:gd name="connsiteY263" fmla="*/ 1481138 h 4305300"/>
                  <a:gd name="connsiteX264" fmla="*/ 8334375 w 8601075"/>
                  <a:gd name="connsiteY264" fmla="*/ 1478756 h 4305300"/>
                  <a:gd name="connsiteX265" fmla="*/ 8317706 w 8601075"/>
                  <a:gd name="connsiteY265" fmla="*/ 1426369 h 4305300"/>
                  <a:gd name="connsiteX266" fmla="*/ 8277225 w 8601075"/>
                  <a:gd name="connsiteY266" fmla="*/ 1409700 h 4305300"/>
                  <a:gd name="connsiteX267" fmla="*/ 8277225 w 8601075"/>
                  <a:gd name="connsiteY267" fmla="*/ 1409700 h 4305300"/>
                  <a:gd name="connsiteX268" fmla="*/ 8236744 w 8601075"/>
                  <a:gd name="connsiteY268" fmla="*/ 1414463 h 4305300"/>
                  <a:gd name="connsiteX269" fmla="*/ 8151018 w 8601075"/>
                  <a:gd name="connsiteY269" fmla="*/ 1340644 h 4305300"/>
                  <a:gd name="connsiteX270" fmla="*/ 7970044 w 8601075"/>
                  <a:gd name="connsiteY270" fmla="*/ 1340643 h 4305300"/>
                  <a:gd name="connsiteX271" fmla="*/ 7917656 w 8601075"/>
                  <a:gd name="connsiteY271" fmla="*/ 1378744 h 4305300"/>
                  <a:gd name="connsiteX272" fmla="*/ 7867650 w 8601075"/>
                  <a:gd name="connsiteY272" fmla="*/ 1457325 h 4305300"/>
                  <a:gd name="connsiteX273" fmla="*/ 7884319 w 8601075"/>
                  <a:gd name="connsiteY273" fmla="*/ 1478756 h 4305300"/>
                  <a:gd name="connsiteX274" fmla="*/ 7839075 w 8601075"/>
                  <a:gd name="connsiteY274" fmla="*/ 1528762 h 4305300"/>
                  <a:gd name="connsiteX275" fmla="*/ 7689056 w 8601075"/>
                  <a:gd name="connsiteY275" fmla="*/ 1452562 h 4305300"/>
                  <a:gd name="connsiteX276" fmla="*/ 7598569 w 8601075"/>
                  <a:gd name="connsiteY276" fmla="*/ 1488281 h 4305300"/>
                  <a:gd name="connsiteX277" fmla="*/ 7524750 w 8601075"/>
                  <a:gd name="connsiteY277" fmla="*/ 1485900 h 4305300"/>
                  <a:gd name="connsiteX278" fmla="*/ 7467600 w 8601075"/>
                  <a:gd name="connsiteY278" fmla="*/ 1581150 h 4305300"/>
                  <a:gd name="connsiteX279" fmla="*/ 7329488 w 8601075"/>
                  <a:gd name="connsiteY279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115050 w 8601075"/>
                  <a:gd name="connsiteY24" fmla="*/ 1114425 h 4305300"/>
                  <a:gd name="connsiteX25" fmla="*/ 5962650 w 8601075"/>
                  <a:gd name="connsiteY25" fmla="*/ 1190625 h 4305300"/>
                  <a:gd name="connsiteX26" fmla="*/ 5895975 w 8601075"/>
                  <a:gd name="connsiteY26" fmla="*/ 1143000 h 4305300"/>
                  <a:gd name="connsiteX27" fmla="*/ 5895975 w 8601075"/>
                  <a:gd name="connsiteY27" fmla="*/ 1143000 h 4305300"/>
                  <a:gd name="connsiteX28" fmla="*/ 5676900 w 8601075"/>
                  <a:gd name="connsiteY28" fmla="*/ 1181100 h 4305300"/>
                  <a:gd name="connsiteX29" fmla="*/ 5600700 w 8601075"/>
                  <a:gd name="connsiteY29" fmla="*/ 1114425 h 4305300"/>
                  <a:gd name="connsiteX30" fmla="*/ 5391150 w 8601075"/>
                  <a:gd name="connsiteY30" fmla="*/ 1123950 h 4305300"/>
                  <a:gd name="connsiteX31" fmla="*/ 5334000 w 8601075"/>
                  <a:gd name="connsiteY31" fmla="*/ 1066800 h 4305300"/>
                  <a:gd name="connsiteX32" fmla="*/ 5248275 w 8601075"/>
                  <a:gd name="connsiteY32" fmla="*/ 981075 h 4305300"/>
                  <a:gd name="connsiteX33" fmla="*/ 5238750 w 8601075"/>
                  <a:gd name="connsiteY33" fmla="*/ 895350 h 4305300"/>
                  <a:gd name="connsiteX34" fmla="*/ 5133975 w 8601075"/>
                  <a:gd name="connsiteY34" fmla="*/ 895350 h 4305300"/>
                  <a:gd name="connsiteX35" fmla="*/ 4991100 w 8601075"/>
                  <a:gd name="connsiteY35" fmla="*/ 838200 h 4305300"/>
                  <a:gd name="connsiteX36" fmla="*/ 4905375 w 8601075"/>
                  <a:gd name="connsiteY36" fmla="*/ 771525 h 4305300"/>
                  <a:gd name="connsiteX37" fmla="*/ 4905375 w 8601075"/>
                  <a:gd name="connsiteY37" fmla="*/ 771525 h 4305300"/>
                  <a:gd name="connsiteX38" fmla="*/ 4781550 w 8601075"/>
                  <a:gd name="connsiteY38" fmla="*/ 762000 h 4305300"/>
                  <a:gd name="connsiteX39" fmla="*/ 4648200 w 8601075"/>
                  <a:gd name="connsiteY39" fmla="*/ 714375 h 4305300"/>
                  <a:gd name="connsiteX40" fmla="*/ 4581525 w 8601075"/>
                  <a:gd name="connsiteY40" fmla="*/ 695325 h 4305300"/>
                  <a:gd name="connsiteX41" fmla="*/ 4495800 w 8601075"/>
                  <a:gd name="connsiteY41" fmla="*/ 742950 h 4305300"/>
                  <a:gd name="connsiteX42" fmla="*/ 4343400 w 8601075"/>
                  <a:gd name="connsiteY42" fmla="*/ 781050 h 4305300"/>
                  <a:gd name="connsiteX43" fmla="*/ 4252913 w 8601075"/>
                  <a:gd name="connsiteY43" fmla="*/ 862013 h 4305300"/>
                  <a:gd name="connsiteX44" fmla="*/ 4205287 w 8601075"/>
                  <a:gd name="connsiteY44" fmla="*/ 823913 h 4305300"/>
                  <a:gd name="connsiteX45" fmla="*/ 4183856 w 8601075"/>
                  <a:gd name="connsiteY45" fmla="*/ 854868 h 4305300"/>
                  <a:gd name="connsiteX46" fmla="*/ 4110038 w 8601075"/>
                  <a:gd name="connsiteY46" fmla="*/ 804863 h 4305300"/>
                  <a:gd name="connsiteX47" fmla="*/ 4071938 w 8601075"/>
                  <a:gd name="connsiteY47" fmla="*/ 812006 h 4305300"/>
                  <a:gd name="connsiteX48" fmla="*/ 4050506 w 8601075"/>
                  <a:gd name="connsiteY48" fmla="*/ 773906 h 4305300"/>
                  <a:gd name="connsiteX49" fmla="*/ 3990975 w 8601075"/>
                  <a:gd name="connsiteY49" fmla="*/ 778669 h 4305300"/>
                  <a:gd name="connsiteX50" fmla="*/ 3945731 w 8601075"/>
                  <a:gd name="connsiteY50" fmla="*/ 750094 h 4305300"/>
                  <a:gd name="connsiteX51" fmla="*/ 3907631 w 8601075"/>
                  <a:gd name="connsiteY51" fmla="*/ 747713 h 4305300"/>
                  <a:gd name="connsiteX52" fmla="*/ 3888581 w 8601075"/>
                  <a:gd name="connsiteY52" fmla="*/ 700087 h 4305300"/>
                  <a:gd name="connsiteX53" fmla="*/ 3874294 w 8601075"/>
                  <a:gd name="connsiteY53" fmla="*/ 669131 h 4305300"/>
                  <a:gd name="connsiteX54" fmla="*/ 3829050 w 8601075"/>
                  <a:gd name="connsiteY54" fmla="*/ 678656 h 4305300"/>
                  <a:gd name="connsiteX55" fmla="*/ 3810000 w 8601075"/>
                  <a:gd name="connsiteY55" fmla="*/ 642938 h 4305300"/>
                  <a:gd name="connsiteX56" fmla="*/ 3831432 w 8601075"/>
                  <a:gd name="connsiteY56" fmla="*/ 588169 h 4305300"/>
                  <a:gd name="connsiteX57" fmla="*/ 3800475 w 8601075"/>
                  <a:gd name="connsiteY57" fmla="*/ 561975 h 4305300"/>
                  <a:gd name="connsiteX58" fmla="*/ 3817144 w 8601075"/>
                  <a:gd name="connsiteY58" fmla="*/ 519113 h 4305300"/>
                  <a:gd name="connsiteX59" fmla="*/ 3790950 w 8601075"/>
                  <a:gd name="connsiteY59" fmla="*/ 476250 h 4305300"/>
                  <a:gd name="connsiteX60" fmla="*/ 3786188 w 8601075"/>
                  <a:gd name="connsiteY60" fmla="*/ 414338 h 4305300"/>
                  <a:gd name="connsiteX61" fmla="*/ 3810000 w 8601075"/>
                  <a:gd name="connsiteY61" fmla="*/ 350043 h 4305300"/>
                  <a:gd name="connsiteX62" fmla="*/ 3771900 w 8601075"/>
                  <a:gd name="connsiteY62" fmla="*/ 352425 h 4305300"/>
                  <a:gd name="connsiteX63" fmla="*/ 3652838 w 8601075"/>
                  <a:gd name="connsiteY63" fmla="*/ 295275 h 4305300"/>
                  <a:gd name="connsiteX64" fmla="*/ 3614737 w 8601075"/>
                  <a:gd name="connsiteY64" fmla="*/ 300037 h 4305300"/>
                  <a:gd name="connsiteX65" fmla="*/ 3409950 w 8601075"/>
                  <a:gd name="connsiteY65" fmla="*/ 190500 h 4305300"/>
                  <a:gd name="connsiteX66" fmla="*/ 3305175 w 8601075"/>
                  <a:gd name="connsiteY66" fmla="*/ 159544 h 4305300"/>
                  <a:gd name="connsiteX67" fmla="*/ 3240881 w 8601075"/>
                  <a:gd name="connsiteY67" fmla="*/ 169068 h 4305300"/>
                  <a:gd name="connsiteX68" fmla="*/ 3209925 w 8601075"/>
                  <a:gd name="connsiteY68" fmla="*/ 104775 h 4305300"/>
                  <a:gd name="connsiteX69" fmla="*/ 3152775 w 8601075"/>
                  <a:gd name="connsiteY69" fmla="*/ 104775 h 4305300"/>
                  <a:gd name="connsiteX70" fmla="*/ 3014662 w 8601075"/>
                  <a:gd name="connsiteY70" fmla="*/ 0 h 4305300"/>
                  <a:gd name="connsiteX71" fmla="*/ 2981325 w 8601075"/>
                  <a:gd name="connsiteY71" fmla="*/ 59532 h 4305300"/>
                  <a:gd name="connsiteX72" fmla="*/ 2926556 w 8601075"/>
                  <a:gd name="connsiteY72" fmla="*/ 128588 h 4305300"/>
                  <a:gd name="connsiteX73" fmla="*/ 2883694 w 8601075"/>
                  <a:gd name="connsiteY73" fmla="*/ 145256 h 4305300"/>
                  <a:gd name="connsiteX74" fmla="*/ 2852738 w 8601075"/>
                  <a:gd name="connsiteY74" fmla="*/ 138113 h 4305300"/>
                  <a:gd name="connsiteX75" fmla="*/ 2828925 w 8601075"/>
                  <a:gd name="connsiteY75" fmla="*/ 166688 h 4305300"/>
                  <a:gd name="connsiteX76" fmla="*/ 2802731 w 8601075"/>
                  <a:gd name="connsiteY76" fmla="*/ 245269 h 4305300"/>
                  <a:gd name="connsiteX77" fmla="*/ 2759869 w 8601075"/>
                  <a:gd name="connsiteY77" fmla="*/ 242888 h 4305300"/>
                  <a:gd name="connsiteX78" fmla="*/ 2728912 w 8601075"/>
                  <a:gd name="connsiteY78" fmla="*/ 304800 h 4305300"/>
                  <a:gd name="connsiteX79" fmla="*/ 2724150 w 8601075"/>
                  <a:gd name="connsiteY79" fmla="*/ 369094 h 4305300"/>
                  <a:gd name="connsiteX80" fmla="*/ 2697957 w 8601075"/>
                  <a:gd name="connsiteY80" fmla="*/ 407194 h 4305300"/>
                  <a:gd name="connsiteX81" fmla="*/ 2724150 w 8601075"/>
                  <a:gd name="connsiteY81" fmla="*/ 466725 h 4305300"/>
                  <a:gd name="connsiteX82" fmla="*/ 2726531 w 8601075"/>
                  <a:gd name="connsiteY82" fmla="*/ 535781 h 4305300"/>
                  <a:gd name="connsiteX83" fmla="*/ 2755106 w 8601075"/>
                  <a:gd name="connsiteY83" fmla="*/ 588169 h 4305300"/>
                  <a:gd name="connsiteX84" fmla="*/ 2802732 w 8601075"/>
                  <a:gd name="connsiteY84" fmla="*/ 642938 h 4305300"/>
                  <a:gd name="connsiteX85" fmla="*/ 2752725 w 8601075"/>
                  <a:gd name="connsiteY85" fmla="*/ 781050 h 4305300"/>
                  <a:gd name="connsiteX86" fmla="*/ 2683669 w 8601075"/>
                  <a:gd name="connsiteY86" fmla="*/ 847725 h 4305300"/>
                  <a:gd name="connsiteX87" fmla="*/ 2612231 w 8601075"/>
                  <a:gd name="connsiteY87" fmla="*/ 842963 h 4305300"/>
                  <a:gd name="connsiteX88" fmla="*/ 2574131 w 8601075"/>
                  <a:gd name="connsiteY88" fmla="*/ 900113 h 4305300"/>
                  <a:gd name="connsiteX89" fmla="*/ 2514600 w 8601075"/>
                  <a:gd name="connsiteY89" fmla="*/ 914400 h 4305300"/>
                  <a:gd name="connsiteX90" fmla="*/ 2445544 w 8601075"/>
                  <a:gd name="connsiteY90" fmla="*/ 854869 h 4305300"/>
                  <a:gd name="connsiteX91" fmla="*/ 2390775 w 8601075"/>
                  <a:gd name="connsiteY91" fmla="*/ 826294 h 4305300"/>
                  <a:gd name="connsiteX92" fmla="*/ 2347913 w 8601075"/>
                  <a:gd name="connsiteY92" fmla="*/ 840581 h 4305300"/>
                  <a:gd name="connsiteX93" fmla="*/ 2295525 w 8601075"/>
                  <a:gd name="connsiteY93" fmla="*/ 823913 h 4305300"/>
                  <a:gd name="connsiteX94" fmla="*/ 2228850 w 8601075"/>
                  <a:gd name="connsiteY94" fmla="*/ 769144 h 4305300"/>
                  <a:gd name="connsiteX95" fmla="*/ 2183606 w 8601075"/>
                  <a:gd name="connsiteY95" fmla="*/ 781050 h 4305300"/>
                  <a:gd name="connsiteX96" fmla="*/ 2162175 w 8601075"/>
                  <a:gd name="connsiteY96" fmla="*/ 750094 h 4305300"/>
                  <a:gd name="connsiteX97" fmla="*/ 2105025 w 8601075"/>
                  <a:gd name="connsiteY97" fmla="*/ 790575 h 4305300"/>
                  <a:gd name="connsiteX98" fmla="*/ 1988344 w 8601075"/>
                  <a:gd name="connsiteY98" fmla="*/ 769144 h 4305300"/>
                  <a:gd name="connsiteX99" fmla="*/ 1938338 w 8601075"/>
                  <a:gd name="connsiteY99" fmla="*/ 716756 h 4305300"/>
                  <a:gd name="connsiteX100" fmla="*/ 1895475 w 8601075"/>
                  <a:gd name="connsiteY100" fmla="*/ 702469 h 4305300"/>
                  <a:gd name="connsiteX101" fmla="*/ 1852613 w 8601075"/>
                  <a:gd name="connsiteY101" fmla="*/ 728663 h 4305300"/>
                  <a:gd name="connsiteX102" fmla="*/ 1800225 w 8601075"/>
                  <a:gd name="connsiteY102" fmla="*/ 638175 h 4305300"/>
                  <a:gd name="connsiteX103" fmla="*/ 1790700 w 8601075"/>
                  <a:gd name="connsiteY103" fmla="*/ 490537 h 4305300"/>
                  <a:gd name="connsiteX104" fmla="*/ 1738312 w 8601075"/>
                  <a:gd name="connsiteY104" fmla="*/ 483393 h 4305300"/>
                  <a:gd name="connsiteX105" fmla="*/ 1647825 w 8601075"/>
                  <a:gd name="connsiteY105" fmla="*/ 473869 h 4305300"/>
                  <a:gd name="connsiteX106" fmla="*/ 1593056 w 8601075"/>
                  <a:gd name="connsiteY106" fmla="*/ 435769 h 4305300"/>
                  <a:gd name="connsiteX107" fmla="*/ 1524000 w 8601075"/>
                  <a:gd name="connsiteY107" fmla="*/ 445294 h 4305300"/>
                  <a:gd name="connsiteX108" fmla="*/ 1478756 w 8601075"/>
                  <a:gd name="connsiteY108" fmla="*/ 419100 h 4305300"/>
                  <a:gd name="connsiteX109" fmla="*/ 1469232 w 8601075"/>
                  <a:gd name="connsiteY109" fmla="*/ 347663 h 4305300"/>
                  <a:gd name="connsiteX110" fmla="*/ 1445419 w 8601075"/>
                  <a:gd name="connsiteY110" fmla="*/ 333375 h 4305300"/>
                  <a:gd name="connsiteX111" fmla="*/ 1407319 w 8601075"/>
                  <a:gd name="connsiteY111" fmla="*/ 380999 h 4305300"/>
                  <a:gd name="connsiteX112" fmla="*/ 1328737 w 8601075"/>
                  <a:gd name="connsiteY112" fmla="*/ 307181 h 4305300"/>
                  <a:gd name="connsiteX113" fmla="*/ 1288256 w 8601075"/>
                  <a:gd name="connsiteY113" fmla="*/ 347663 h 4305300"/>
                  <a:gd name="connsiteX114" fmla="*/ 1212056 w 8601075"/>
                  <a:gd name="connsiteY114" fmla="*/ 333375 h 4305300"/>
                  <a:gd name="connsiteX115" fmla="*/ 1133475 w 8601075"/>
                  <a:gd name="connsiteY115" fmla="*/ 359569 h 4305300"/>
                  <a:gd name="connsiteX116" fmla="*/ 1073944 w 8601075"/>
                  <a:gd name="connsiteY116" fmla="*/ 407193 h 4305300"/>
                  <a:gd name="connsiteX117" fmla="*/ 1000125 w 8601075"/>
                  <a:gd name="connsiteY117" fmla="*/ 419100 h 4305300"/>
                  <a:gd name="connsiteX118" fmla="*/ 964406 w 8601075"/>
                  <a:gd name="connsiteY118" fmla="*/ 411956 h 4305300"/>
                  <a:gd name="connsiteX119" fmla="*/ 885826 w 8601075"/>
                  <a:gd name="connsiteY119" fmla="*/ 442913 h 4305300"/>
                  <a:gd name="connsiteX120" fmla="*/ 864394 w 8601075"/>
                  <a:gd name="connsiteY120" fmla="*/ 471488 h 4305300"/>
                  <a:gd name="connsiteX121" fmla="*/ 797719 w 8601075"/>
                  <a:gd name="connsiteY121" fmla="*/ 461963 h 4305300"/>
                  <a:gd name="connsiteX122" fmla="*/ 728663 w 8601075"/>
                  <a:gd name="connsiteY122" fmla="*/ 485775 h 4305300"/>
                  <a:gd name="connsiteX123" fmla="*/ 673894 w 8601075"/>
                  <a:gd name="connsiteY123" fmla="*/ 523875 h 4305300"/>
                  <a:gd name="connsiteX124" fmla="*/ 578644 w 8601075"/>
                  <a:gd name="connsiteY124" fmla="*/ 538162 h 4305300"/>
                  <a:gd name="connsiteX125" fmla="*/ 564356 w 8601075"/>
                  <a:gd name="connsiteY125" fmla="*/ 559594 h 4305300"/>
                  <a:gd name="connsiteX126" fmla="*/ 576262 w 8601075"/>
                  <a:gd name="connsiteY126" fmla="*/ 604838 h 4305300"/>
                  <a:gd name="connsiteX127" fmla="*/ 476251 w 8601075"/>
                  <a:gd name="connsiteY127" fmla="*/ 657225 h 4305300"/>
                  <a:gd name="connsiteX128" fmla="*/ 438150 w 8601075"/>
                  <a:gd name="connsiteY128" fmla="*/ 628649 h 4305300"/>
                  <a:gd name="connsiteX129" fmla="*/ 407194 w 8601075"/>
                  <a:gd name="connsiteY129" fmla="*/ 685800 h 4305300"/>
                  <a:gd name="connsiteX130" fmla="*/ 350044 w 8601075"/>
                  <a:gd name="connsiteY130" fmla="*/ 647700 h 4305300"/>
                  <a:gd name="connsiteX131" fmla="*/ 314325 w 8601075"/>
                  <a:gd name="connsiteY131" fmla="*/ 676275 h 4305300"/>
                  <a:gd name="connsiteX132" fmla="*/ 278606 w 8601075"/>
                  <a:gd name="connsiteY132" fmla="*/ 640556 h 4305300"/>
                  <a:gd name="connsiteX133" fmla="*/ 226219 w 8601075"/>
                  <a:gd name="connsiteY133" fmla="*/ 652463 h 4305300"/>
                  <a:gd name="connsiteX134" fmla="*/ 180975 w 8601075"/>
                  <a:gd name="connsiteY134" fmla="*/ 623888 h 4305300"/>
                  <a:gd name="connsiteX135" fmla="*/ 157163 w 8601075"/>
                  <a:gd name="connsiteY135" fmla="*/ 642938 h 4305300"/>
                  <a:gd name="connsiteX136" fmla="*/ 133350 w 8601075"/>
                  <a:gd name="connsiteY136" fmla="*/ 702469 h 4305300"/>
                  <a:gd name="connsiteX137" fmla="*/ 61913 w 8601075"/>
                  <a:gd name="connsiteY137" fmla="*/ 740568 h 4305300"/>
                  <a:gd name="connsiteX138" fmla="*/ 28575 w 8601075"/>
                  <a:gd name="connsiteY138" fmla="*/ 769144 h 4305300"/>
                  <a:gd name="connsiteX139" fmla="*/ 33338 w 8601075"/>
                  <a:gd name="connsiteY139" fmla="*/ 812006 h 4305300"/>
                  <a:gd name="connsiteX140" fmla="*/ 0 w 8601075"/>
                  <a:gd name="connsiteY140" fmla="*/ 816769 h 4305300"/>
                  <a:gd name="connsiteX141" fmla="*/ 4763 w 8601075"/>
                  <a:gd name="connsiteY141" fmla="*/ 840581 h 4305300"/>
                  <a:gd name="connsiteX142" fmla="*/ 61912 w 8601075"/>
                  <a:gd name="connsiteY142" fmla="*/ 914400 h 4305300"/>
                  <a:gd name="connsiteX143" fmla="*/ 23813 w 8601075"/>
                  <a:gd name="connsiteY143" fmla="*/ 962025 h 4305300"/>
                  <a:gd name="connsiteX144" fmla="*/ 78581 w 8601075"/>
                  <a:gd name="connsiteY144" fmla="*/ 997744 h 4305300"/>
                  <a:gd name="connsiteX145" fmla="*/ 169069 w 8601075"/>
                  <a:gd name="connsiteY145" fmla="*/ 1085850 h 4305300"/>
                  <a:gd name="connsiteX146" fmla="*/ 171450 w 8601075"/>
                  <a:gd name="connsiteY146" fmla="*/ 1145381 h 4305300"/>
                  <a:gd name="connsiteX147" fmla="*/ 307181 w 8601075"/>
                  <a:gd name="connsiteY147" fmla="*/ 1278732 h 4305300"/>
                  <a:gd name="connsiteX148" fmla="*/ 361950 w 8601075"/>
                  <a:gd name="connsiteY148" fmla="*/ 1254919 h 4305300"/>
                  <a:gd name="connsiteX149" fmla="*/ 400050 w 8601075"/>
                  <a:gd name="connsiteY149" fmla="*/ 1281112 h 4305300"/>
                  <a:gd name="connsiteX150" fmla="*/ 414338 w 8601075"/>
                  <a:gd name="connsiteY150" fmla="*/ 1331118 h 4305300"/>
                  <a:gd name="connsiteX151" fmla="*/ 457200 w 8601075"/>
                  <a:gd name="connsiteY151" fmla="*/ 1366838 h 4305300"/>
                  <a:gd name="connsiteX152" fmla="*/ 497681 w 8601075"/>
                  <a:gd name="connsiteY152" fmla="*/ 1354931 h 4305300"/>
                  <a:gd name="connsiteX153" fmla="*/ 516731 w 8601075"/>
                  <a:gd name="connsiteY153" fmla="*/ 1412081 h 4305300"/>
                  <a:gd name="connsiteX154" fmla="*/ 564356 w 8601075"/>
                  <a:gd name="connsiteY154" fmla="*/ 1454944 h 4305300"/>
                  <a:gd name="connsiteX155" fmla="*/ 588169 w 8601075"/>
                  <a:gd name="connsiteY155" fmla="*/ 1557338 h 4305300"/>
                  <a:gd name="connsiteX156" fmla="*/ 585788 w 8601075"/>
                  <a:gd name="connsiteY156" fmla="*/ 1604963 h 4305300"/>
                  <a:gd name="connsiteX157" fmla="*/ 621506 w 8601075"/>
                  <a:gd name="connsiteY157" fmla="*/ 1704975 h 4305300"/>
                  <a:gd name="connsiteX158" fmla="*/ 666750 w 8601075"/>
                  <a:gd name="connsiteY158" fmla="*/ 1762125 h 4305300"/>
                  <a:gd name="connsiteX159" fmla="*/ 683418 w 8601075"/>
                  <a:gd name="connsiteY159" fmla="*/ 1919287 h 4305300"/>
                  <a:gd name="connsiteX160" fmla="*/ 650081 w 8601075"/>
                  <a:gd name="connsiteY160" fmla="*/ 1981200 h 4305300"/>
                  <a:gd name="connsiteX161" fmla="*/ 619125 w 8601075"/>
                  <a:gd name="connsiteY161" fmla="*/ 2057400 h 4305300"/>
                  <a:gd name="connsiteX162" fmla="*/ 633413 w 8601075"/>
                  <a:gd name="connsiteY162" fmla="*/ 2114550 h 4305300"/>
                  <a:gd name="connsiteX163" fmla="*/ 535781 w 8601075"/>
                  <a:gd name="connsiteY163" fmla="*/ 2221707 h 4305300"/>
                  <a:gd name="connsiteX164" fmla="*/ 492919 w 8601075"/>
                  <a:gd name="connsiteY164" fmla="*/ 2336006 h 4305300"/>
                  <a:gd name="connsiteX165" fmla="*/ 526256 w 8601075"/>
                  <a:gd name="connsiteY165" fmla="*/ 2376488 h 4305300"/>
                  <a:gd name="connsiteX166" fmla="*/ 509588 w 8601075"/>
                  <a:gd name="connsiteY166" fmla="*/ 2405063 h 4305300"/>
                  <a:gd name="connsiteX167" fmla="*/ 540544 w 8601075"/>
                  <a:gd name="connsiteY167" fmla="*/ 2462213 h 4305300"/>
                  <a:gd name="connsiteX168" fmla="*/ 569119 w 8601075"/>
                  <a:gd name="connsiteY168" fmla="*/ 2462213 h 4305300"/>
                  <a:gd name="connsiteX169" fmla="*/ 731044 w 8601075"/>
                  <a:gd name="connsiteY169" fmla="*/ 2564606 h 4305300"/>
                  <a:gd name="connsiteX170" fmla="*/ 835819 w 8601075"/>
                  <a:gd name="connsiteY170" fmla="*/ 2562225 h 4305300"/>
                  <a:gd name="connsiteX171" fmla="*/ 914400 w 8601075"/>
                  <a:gd name="connsiteY171" fmla="*/ 2616994 h 4305300"/>
                  <a:gd name="connsiteX172" fmla="*/ 1045368 w 8601075"/>
                  <a:gd name="connsiteY172" fmla="*/ 2619375 h 4305300"/>
                  <a:gd name="connsiteX173" fmla="*/ 1235868 w 8601075"/>
                  <a:gd name="connsiteY173" fmla="*/ 2688431 h 4305300"/>
                  <a:gd name="connsiteX174" fmla="*/ 1438275 w 8601075"/>
                  <a:gd name="connsiteY174" fmla="*/ 2838450 h 4305300"/>
                  <a:gd name="connsiteX175" fmla="*/ 1471612 w 8601075"/>
                  <a:gd name="connsiteY175" fmla="*/ 2905125 h 4305300"/>
                  <a:gd name="connsiteX176" fmla="*/ 1638300 w 8601075"/>
                  <a:gd name="connsiteY176" fmla="*/ 3031331 h 4305300"/>
                  <a:gd name="connsiteX177" fmla="*/ 1709738 w 8601075"/>
                  <a:gd name="connsiteY177" fmla="*/ 3026569 h 4305300"/>
                  <a:gd name="connsiteX178" fmla="*/ 1745457 w 8601075"/>
                  <a:gd name="connsiteY178" fmla="*/ 3050381 h 4305300"/>
                  <a:gd name="connsiteX179" fmla="*/ 1716881 w 8601075"/>
                  <a:gd name="connsiteY179" fmla="*/ 3090863 h 4305300"/>
                  <a:gd name="connsiteX180" fmla="*/ 1724025 w 8601075"/>
                  <a:gd name="connsiteY180" fmla="*/ 3143250 h 4305300"/>
                  <a:gd name="connsiteX181" fmla="*/ 1776413 w 8601075"/>
                  <a:gd name="connsiteY181" fmla="*/ 3169444 h 4305300"/>
                  <a:gd name="connsiteX182" fmla="*/ 1838325 w 8601075"/>
                  <a:gd name="connsiteY182" fmla="*/ 3393282 h 4305300"/>
                  <a:gd name="connsiteX183" fmla="*/ 1828800 w 8601075"/>
                  <a:gd name="connsiteY183" fmla="*/ 3457575 h 4305300"/>
                  <a:gd name="connsiteX184" fmla="*/ 1964531 w 8601075"/>
                  <a:gd name="connsiteY184" fmla="*/ 3624263 h 4305300"/>
                  <a:gd name="connsiteX185" fmla="*/ 1983581 w 8601075"/>
                  <a:gd name="connsiteY185" fmla="*/ 3674269 h 4305300"/>
                  <a:gd name="connsiteX186" fmla="*/ 1957388 w 8601075"/>
                  <a:gd name="connsiteY186" fmla="*/ 3693319 h 4305300"/>
                  <a:gd name="connsiteX187" fmla="*/ 2059781 w 8601075"/>
                  <a:gd name="connsiteY187" fmla="*/ 3702844 h 4305300"/>
                  <a:gd name="connsiteX188" fmla="*/ 2171700 w 8601075"/>
                  <a:gd name="connsiteY188" fmla="*/ 3690938 h 4305300"/>
                  <a:gd name="connsiteX189" fmla="*/ 2450306 w 8601075"/>
                  <a:gd name="connsiteY189" fmla="*/ 3774281 h 4305300"/>
                  <a:gd name="connsiteX190" fmla="*/ 2857500 w 8601075"/>
                  <a:gd name="connsiteY190" fmla="*/ 3855244 h 4305300"/>
                  <a:gd name="connsiteX191" fmla="*/ 3055144 w 8601075"/>
                  <a:gd name="connsiteY191" fmla="*/ 3824287 h 4305300"/>
                  <a:gd name="connsiteX192" fmla="*/ 3100388 w 8601075"/>
                  <a:gd name="connsiteY192" fmla="*/ 3836193 h 4305300"/>
                  <a:gd name="connsiteX193" fmla="*/ 3155156 w 8601075"/>
                  <a:gd name="connsiteY193" fmla="*/ 3812382 h 4305300"/>
                  <a:gd name="connsiteX194" fmla="*/ 3548062 w 8601075"/>
                  <a:gd name="connsiteY194" fmla="*/ 3902869 h 4305300"/>
                  <a:gd name="connsiteX195" fmla="*/ 3631407 w 8601075"/>
                  <a:gd name="connsiteY195" fmla="*/ 4000500 h 4305300"/>
                  <a:gd name="connsiteX196" fmla="*/ 3750469 w 8601075"/>
                  <a:gd name="connsiteY196" fmla="*/ 4071938 h 4305300"/>
                  <a:gd name="connsiteX197" fmla="*/ 3810000 w 8601075"/>
                  <a:gd name="connsiteY197" fmla="*/ 4055269 h 4305300"/>
                  <a:gd name="connsiteX198" fmla="*/ 4160043 w 8601075"/>
                  <a:gd name="connsiteY198" fmla="*/ 4229100 h 4305300"/>
                  <a:gd name="connsiteX199" fmla="*/ 4386263 w 8601075"/>
                  <a:gd name="connsiteY199" fmla="*/ 4200525 h 4305300"/>
                  <a:gd name="connsiteX200" fmla="*/ 4395788 w 8601075"/>
                  <a:gd name="connsiteY200" fmla="*/ 4279106 h 4305300"/>
                  <a:gd name="connsiteX201" fmla="*/ 4481513 w 8601075"/>
                  <a:gd name="connsiteY201" fmla="*/ 4274343 h 4305300"/>
                  <a:gd name="connsiteX202" fmla="*/ 4560094 w 8601075"/>
                  <a:gd name="connsiteY202" fmla="*/ 4305300 h 4305300"/>
                  <a:gd name="connsiteX203" fmla="*/ 4602956 w 8601075"/>
                  <a:gd name="connsiteY203" fmla="*/ 4245769 h 4305300"/>
                  <a:gd name="connsiteX204" fmla="*/ 5274469 w 8601075"/>
                  <a:gd name="connsiteY204" fmla="*/ 3926681 h 4305300"/>
                  <a:gd name="connsiteX205" fmla="*/ 5362575 w 8601075"/>
                  <a:gd name="connsiteY205" fmla="*/ 3955257 h 4305300"/>
                  <a:gd name="connsiteX206" fmla="*/ 5493544 w 8601075"/>
                  <a:gd name="connsiteY206" fmla="*/ 3926681 h 4305300"/>
                  <a:gd name="connsiteX207" fmla="*/ 5672137 w 8601075"/>
                  <a:gd name="connsiteY207" fmla="*/ 3943350 h 4305300"/>
                  <a:gd name="connsiteX208" fmla="*/ 5729288 w 8601075"/>
                  <a:gd name="connsiteY208" fmla="*/ 3917157 h 4305300"/>
                  <a:gd name="connsiteX209" fmla="*/ 5862637 w 8601075"/>
                  <a:gd name="connsiteY209" fmla="*/ 3914775 h 4305300"/>
                  <a:gd name="connsiteX210" fmla="*/ 5995987 w 8601075"/>
                  <a:gd name="connsiteY210" fmla="*/ 3817144 h 4305300"/>
                  <a:gd name="connsiteX211" fmla="*/ 6062662 w 8601075"/>
                  <a:gd name="connsiteY211" fmla="*/ 3810000 h 4305300"/>
                  <a:gd name="connsiteX212" fmla="*/ 6160294 w 8601075"/>
                  <a:gd name="connsiteY212" fmla="*/ 3736181 h 4305300"/>
                  <a:gd name="connsiteX213" fmla="*/ 6234113 w 8601075"/>
                  <a:gd name="connsiteY213" fmla="*/ 3667125 h 4305300"/>
                  <a:gd name="connsiteX214" fmla="*/ 6243638 w 8601075"/>
                  <a:gd name="connsiteY214" fmla="*/ 3605213 h 4305300"/>
                  <a:gd name="connsiteX215" fmla="*/ 6276975 w 8601075"/>
                  <a:gd name="connsiteY215" fmla="*/ 3536156 h 4305300"/>
                  <a:gd name="connsiteX216" fmla="*/ 6429375 w 8601075"/>
                  <a:gd name="connsiteY216" fmla="*/ 3429000 h 4305300"/>
                  <a:gd name="connsiteX217" fmla="*/ 6462713 w 8601075"/>
                  <a:gd name="connsiteY217" fmla="*/ 3433763 h 4305300"/>
                  <a:gd name="connsiteX218" fmla="*/ 6515100 w 8601075"/>
                  <a:gd name="connsiteY218" fmla="*/ 3355181 h 4305300"/>
                  <a:gd name="connsiteX219" fmla="*/ 6562725 w 8601075"/>
                  <a:gd name="connsiteY219" fmla="*/ 3317081 h 4305300"/>
                  <a:gd name="connsiteX220" fmla="*/ 6548438 w 8601075"/>
                  <a:gd name="connsiteY220" fmla="*/ 3248025 h 4305300"/>
                  <a:gd name="connsiteX221" fmla="*/ 6498431 w 8601075"/>
                  <a:gd name="connsiteY221" fmla="*/ 3217068 h 4305300"/>
                  <a:gd name="connsiteX222" fmla="*/ 6438900 w 8601075"/>
                  <a:gd name="connsiteY222" fmla="*/ 3162300 h 4305300"/>
                  <a:gd name="connsiteX223" fmla="*/ 6419850 w 8601075"/>
                  <a:gd name="connsiteY223" fmla="*/ 3105150 h 4305300"/>
                  <a:gd name="connsiteX224" fmla="*/ 6384131 w 8601075"/>
                  <a:gd name="connsiteY224" fmla="*/ 3071813 h 4305300"/>
                  <a:gd name="connsiteX225" fmla="*/ 6410325 w 8601075"/>
                  <a:gd name="connsiteY225" fmla="*/ 3019425 h 4305300"/>
                  <a:gd name="connsiteX226" fmla="*/ 6450806 w 8601075"/>
                  <a:gd name="connsiteY226" fmla="*/ 2840831 h 4305300"/>
                  <a:gd name="connsiteX227" fmla="*/ 6491288 w 8601075"/>
                  <a:gd name="connsiteY227" fmla="*/ 2774156 h 4305300"/>
                  <a:gd name="connsiteX228" fmla="*/ 6636544 w 8601075"/>
                  <a:gd name="connsiteY228" fmla="*/ 2757487 h 4305300"/>
                  <a:gd name="connsiteX229" fmla="*/ 6705600 w 8601075"/>
                  <a:gd name="connsiteY229" fmla="*/ 2814638 h 4305300"/>
                  <a:gd name="connsiteX230" fmla="*/ 6781800 w 8601075"/>
                  <a:gd name="connsiteY230" fmla="*/ 2838450 h 4305300"/>
                  <a:gd name="connsiteX231" fmla="*/ 6986587 w 8601075"/>
                  <a:gd name="connsiteY231" fmla="*/ 2843213 h 4305300"/>
                  <a:gd name="connsiteX232" fmla="*/ 7162800 w 8601075"/>
                  <a:gd name="connsiteY232" fmla="*/ 2705100 h 4305300"/>
                  <a:gd name="connsiteX233" fmla="*/ 7219950 w 8601075"/>
                  <a:gd name="connsiteY233" fmla="*/ 2614612 h 4305300"/>
                  <a:gd name="connsiteX234" fmla="*/ 7246144 w 8601075"/>
                  <a:gd name="connsiteY234" fmla="*/ 2531269 h 4305300"/>
                  <a:gd name="connsiteX235" fmla="*/ 7377112 w 8601075"/>
                  <a:gd name="connsiteY235" fmla="*/ 2531269 h 4305300"/>
                  <a:gd name="connsiteX236" fmla="*/ 7550944 w 8601075"/>
                  <a:gd name="connsiteY236" fmla="*/ 2474118 h 4305300"/>
                  <a:gd name="connsiteX237" fmla="*/ 7610475 w 8601075"/>
                  <a:gd name="connsiteY237" fmla="*/ 2362200 h 4305300"/>
                  <a:gd name="connsiteX238" fmla="*/ 7674769 w 8601075"/>
                  <a:gd name="connsiteY238" fmla="*/ 2326481 h 4305300"/>
                  <a:gd name="connsiteX239" fmla="*/ 7653338 w 8601075"/>
                  <a:gd name="connsiteY239" fmla="*/ 2281238 h 4305300"/>
                  <a:gd name="connsiteX240" fmla="*/ 7731919 w 8601075"/>
                  <a:gd name="connsiteY240" fmla="*/ 2112168 h 4305300"/>
                  <a:gd name="connsiteX241" fmla="*/ 7786688 w 8601075"/>
                  <a:gd name="connsiteY241" fmla="*/ 2052638 h 4305300"/>
                  <a:gd name="connsiteX242" fmla="*/ 7824788 w 8601075"/>
                  <a:gd name="connsiteY242" fmla="*/ 2047875 h 4305300"/>
                  <a:gd name="connsiteX243" fmla="*/ 7870031 w 8601075"/>
                  <a:gd name="connsiteY243" fmla="*/ 2052638 h 4305300"/>
                  <a:gd name="connsiteX244" fmla="*/ 7934325 w 8601075"/>
                  <a:gd name="connsiteY244" fmla="*/ 2019300 h 4305300"/>
                  <a:gd name="connsiteX245" fmla="*/ 7943850 w 8601075"/>
                  <a:gd name="connsiteY245" fmla="*/ 1955006 h 4305300"/>
                  <a:gd name="connsiteX246" fmla="*/ 7984330 w 8601075"/>
                  <a:gd name="connsiteY246" fmla="*/ 1919288 h 4305300"/>
                  <a:gd name="connsiteX247" fmla="*/ 8043863 w 8601075"/>
                  <a:gd name="connsiteY247" fmla="*/ 1959768 h 4305300"/>
                  <a:gd name="connsiteX248" fmla="*/ 8070057 w 8601075"/>
                  <a:gd name="connsiteY248" fmla="*/ 1909762 h 4305300"/>
                  <a:gd name="connsiteX249" fmla="*/ 8165306 w 8601075"/>
                  <a:gd name="connsiteY249" fmla="*/ 1840706 h 4305300"/>
                  <a:gd name="connsiteX250" fmla="*/ 8227219 w 8601075"/>
                  <a:gd name="connsiteY250" fmla="*/ 1847850 h 4305300"/>
                  <a:gd name="connsiteX251" fmla="*/ 8277225 w 8601075"/>
                  <a:gd name="connsiteY251" fmla="*/ 1828800 h 4305300"/>
                  <a:gd name="connsiteX252" fmla="*/ 8315325 w 8601075"/>
                  <a:gd name="connsiteY252" fmla="*/ 1800225 h 4305300"/>
                  <a:gd name="connsiteX253" fmla="*/ 8348663 w 8601075"/>
                  <a:gd name="connsiteY253" fmla="*/ 1797844 h 4305300"/>
                  <a:gd name="connsiteX254" fmla="*/ 8384381 w 8601075"/>
                  <a:gd name="connsiteY254" fmla="*/ 1828800 h 4305300"/>
                  <a:gd name="connsiteX255" fmla="*/ 8443913 w 8601075"/>
                  <a:gd name="connsiteY255" fmla="*/ 1828800 h 4305300"/>
                  <a:gd name="connsiteX256" fmla="*/ 8482012 w 8601075"/>
                  <a:gd name="connsiteY256" fmla="*/ 1809750 h 4305300"/>
                  <a:gd name="connsiteX257" fmla="*/ 8565356 w 8601075"/>
                  <a:gd name="connsiteY257" fmla="*/ 1812132 h 4305300"/>
                  <a:gd name="connsiteX258" fmla="*/ 8596313 w 8601075"/>
                  <a:gd name="connsiteY258" fmla="*/ 1766888 h 4305300"/>
                  <a:gd name="connsiteX259" fmla="*/ 8601075 w 8601075"/>
                  <a:gd name="connsiteY259" fmla="*/ 1704975 h 4305300"/>
                  <a:gd name="connsiteX260" fmla="*/ 8551068 w 8601075"/>
                  <a:gd name="connsiteY260" fmla="*/ 1664494 h 4305300"/>
                  <a:gd name="connsiteX261" fmla="*/ 8534400 w 8601075"/>
                  <a:gd name="connsiteY261" fmla="*/ 1609725 h 4305300"/>
                  <a:gd name="connsiteX262" fmla="*/ 8443913 w 8601075"/>
                  <a:gd name="connsiteY262" fmla="*/ 1547813 h 4305300"/>
                  <a:gd name="connsiteX263" fmla="*/ 8403431 w 8601075"/>
                  <a:gd name="connsiteY263" fmla="*/ 1526381 h 4305300"/>
                  <a:gd name="connsiteX264" fmla="*/ 8365331 w 8601075"/>
                  <a:gd name="connsiteY264" fmla="*/ 1481138 h 4305300"/>
                  <a:gd name="connsiteX265" fmla="*/ 8334375 w 8601075"/>
                  <a:gd name="connsiteY265" fmla="*/ 1478756 h 4305300"/>
                  <a:gd name="connsiteX266" fmla="*/ 8317706 w 8601075"/>
                  <a:gd name="connsiteY266" fmla="*/ 1426369 h 4305300"/>
                  <a:gd name="connsiteX267" fmla="*/ 8277225 w 8601075"/>
                  <a:gd name="connsiteY267" fmla="*/ 1409700 h 4305300"/>
                  <a:gd name="connsiteX268" fmla="*/ 8277225 w 8601075"/>
                  <a:gd name="connsiteY268" fmla="*/ 1409700 h 4305300"/>
                  <a:gd name="connsiteX269" fmla="*/ 8236744 w 8601075"/>
                  <a:gd name="connsiteY269" fmla="*/ 1414463 h 4305300"/>
                  <a:gd name="connsiteX270" fmla="*/ 8151018 w 8601075"/>
                  <a:gd name="connsiteY270" fmla="*/ 1340644 h 4305300"/>
                  <a:gd name="connsiteX271" fmla="*/ 7970044 w 8601075"/>
                  <a:gd name="connsiteY271" fmla="*/ 1340643 h 4305300"/>
                  <a:gd name="connsiteX272" fmla="*/ 7917656 w 8601075"/>
                  <a:gd name="connsiteY272" fmla="*/ 1378744 h 4305300"/>
                  <a:gd name="connsiteX273" fmla="*/ 7867650 w 8601075"/>
                  <a:gd name="connsiteY273" fmla="*/ 1457325 h 4305300"/>
                  <a:gd name="connsiteX274" fmla="*/ 7884319 w 8601075"/>
                  <a:gd name="connsiteY274" fmla="*/ 1478756 h 4305300"/>
                  <a:gd name="connsiteX275" fmla="*/ 7839075 w 8601075"/>
                  <a:gd name="connsiteY275" fmla="*/ 1528762 h 4305300"/>
                  <a:gd name="connsiteX276" fmla="*/ 7689056 w 8601075"/>
                  <a:gd name="connsiteY276" fmla="*/ 1452562 h 4305300"/>
                  <a:gd name="connsiteX277" fmla="*/ 7598569 w 8601075"/>
                  <a:gd name="connsiteY277" fmla="*/ 1488281 h 4305300"/>
                  <a:gd name="connsiteX278" fmla="*/ 7524750 w 8601075"/>
                  <a:gd name="connsiteY278" fmla="*/ 1485900 h 4305300"/>
                  <a:gd name="connsiteX279" fmla="*/ 7467600 w 8601075"/>
                  <a:gd name="connsiteY279" fmla="*/ 1581150 h 4305300"/>
                  <a:gd name="connsiteX280" fmla="*/ 7329488 w 8601075"/>
                  <a:gd name="connsiteY280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15050 w 8601075"/>
                  <a:gd name="connsiteY25" fmla="*/ 1114425 h 4305300"/>
                  <a:gd name="connsiteX26" fmla="*/ 5962650 w 8601075"/>
                  <a:gd name="connsiteY26" fmla="*/ 1190625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5962650 w 8601075"/>
                  <a:gd name="connsiteY26" fmla="*/ 1190625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895975 w 8601075"/>
                  <a:gd name="connsiteY27" fmla="*/ 1143000 h 4305300"/>
                  <a:gd name="connsiteX28" fmla="*/ 5895975 w 8601075"/>
                  <a:gd name="connsiteY28" fmla="*/ 1143000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895975 w 8601075"/>
                  <a:gd name="connsiteY27" fmla="*/ 1143000 h 4305300"/>
                  <a:gd name="connsiteX28" fmla="*/ 5884069 w 8601075"/>
                  <a:gd name="connsiteY28" fmla="*/ 1209675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884069 w 8601075"/>
                  <a:gd name="connsiteY28" fmla="*/ 1209675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676900 w 8601075"/>
                  <a:gd name="connsiteY29" fmla="*/ 1181100 h 4305300"/>
                  <a:gd name="connsiteX30" fmla="*/ 5600700 w 8601075"/>
                  <a:gd name="connsiteY30" fmla="*/ 1114425 h 4305300"/>
                  <a:gd name="connsiteX31" fmla="*/ 5391150 w 8601075"/>
                  <a:gd name="connsiteY31" fmla="*/ 1123950 h 4305300"/>
                  <a:gd name="connsiteX32" fmla="*/ 5334000 w 8601075"/>
                  <a:gd name="connsiteY32" fmla="*/ 1066800 h 4305300"/>
                  <a:gd name="connsiteX33" fmla="*/ 5248275 w 8601075"/>
                  <a:gd name="connsiteY33" fmla="*/ 981075 h 4305300"/>
                  <a:gd name="connsiteX34" fmla="*/ 5238750 w 8601075"/>
                  <a:gd name="connsiteY34" fmla="*/ 895350 h 4305300"/>
                  <a:gd name="connsiteX35" fmla="*/ 5133975 w 8601075"/>
                  <a:gd name="connsiteY35" fmla="*/ 895350 h 4305300"/>
                  <a:gd name="connsiteX36" fmla="*/ 4991100 w 8601075"/>
                  <a:gd name="connsiteY36" fmla="*/ 838200 h 4305300"/>
                  <a:gd name="connsiteX37" fmla="*/ 4905375 w 8601075"/>
                  <a:gd name="connsiteY37" fmla="*/ 771525 h 4305300"/>
                  <a:gd name="connsiteX38" fmla="*/ 4905375 w 8601075"/>
                  <a:gd name="connsiteY38" fmla="*/ 771525 h 4305300"/>
                  <a:gd name="connsiteX39" fmla="*/ 4781550 w 8601075"/>
                  <a:gd name="connsiteY39" fmla="*/ 762000 h 4305300"/>
                  <a:gd name="connsiteX40" fmla="*/ 4648200 w 8601075"/>
                  <a:gd name="connsiteY40" fmla="*/ 714375 h 4305300"/>
                  <a:gd name="connsiteX41" fmla="*/ 4581525 w 8601075"/>
                  <a:gd name="connsiteY41" fmla="*/ 695325 h 4305300"/>
                  <a:gd name="connsiteX42" fmla="*/ 4495800 w 8601075"/>
                  <a:gd name="connsiteY42" fmla="*/ 742950 h 4305300"/>
                  <a:gd name="connsiteX43" fmla="*/ 4343400 w 8601075"/>
                  <a:gd name="connsiteY43" fmla="*/ 781050 h 4305300"/>
                  <a:gd name="connsiteX44" fmla="*/ 4252913 w 8601075"/>
                  <a:gd name="connsiteY44" fmla="*/ 862013 h 4305300"/>
                  <a:gd name="connsiteX45" fmla="*/ 4205287 w 8601075"/>
                  <a:gd name="connsiteY45" fmla="*/ 823913 h 4305300"/>
                  <a:gd name="connsiteX46" fmla="*/ 4183856 w 8601075"/>
                  <a:gd name="connsiteY46" fmla="*/ 854868 h 4305300"/>
                  <a:gd name="connsiteX47" fmla="*/ 4110038 w 8601075"/>
                  <a:gd name="connsiteY47" fmla="*/ 804863 h 4305300"/>
                  <a:gd name="connsiteX48" fmla="*/ 4071938 w 8601075"/>
                  <a:gd name="connsiteY48" fmla="*/ 812006 h 4305300"/>
                  <a:gd name="connsiteX49" fmla="*/ 4050506 w 8601075"/>
                  <a:gd name="connsiteY49" fmla="*/ 773906 h 4305300"/>
                  <a:gd name="connsiteX50" fmla="*/ 3990975 w 8601075"/>
                  <a:gd name="connsiteY50" fmla="*/ 778669 h 4305300"/>
                  <a:gd name="connsiteX51" fmla="*/ 3945731 w 8601075"/>
                  <a:gd name="connsiteY51" fmla="*/ 750094 h 4305300"/>
                  <a:gd name="connsiteX52" fmla="*/ 3907631 w 8601075"/>
                  <a:gd name="connsiteY52" fmla="*/ 747713 h 4305300"/>
                  <a:gd name="connsiteX53" fmla="*/ 3888581 w 8601075"/>
                  <a:gd name="connsiteY53" fmla="*/ 700087 h 4305300"/>
                  <a:gd name="connsiteX54" fmla="*/ 3874294 w 8601075"/>
                  <a:gd name="connsiteY54" fmla="*/ 669131 h 4305300"/>
                  <a:gd name="connsiteX55" fmla="*/ 3829050 w 8601075"/>
                  <a:gd name="connsiteY55" fmla="*/ 678656 h 4305300"/>
                  <a:gd name="connsiteX56" fmla="*/ 3810000 w 8601075"/>
                  <a:gd name="connsiteY56" fmla="*/ 642938 h 4305300"/>
                  <a:gd name="connsiteX57" fmla="*/ 3831432 w 8601075"/>
                  <a:gd name="connsiteY57" fmla="*/ 588169 h 4305300"/>
                  <a:gd name="connsiteX58" fmla="*/ 3800475 w 8601075"/>
                  <a:gd name="connsiteY58" fmla="*/ 561975 h 4305300"/>
                  <a:gd name="connsiteX59" fmla="*/ 3817144 w 8601075"/>
                  <a:gd name="connsiteY59" fmla="*/ 519113 h 4305300"/>
                  <a:gd name="connsiteX60" fmla="*/ 3790950 w 8601075"/>
                  <a:gd name="connsiteY60" fmla="*/ 476250 h 4305300"/>
                  <a:gd name="connsiteX61" fmla="*/ 3786188 w 8601075"/>
                  <a:gd name="connsiteY61" fmla="*/ 414338 h 4305300"/>
                  <a:gd name="connsiteX62" fmla="*/ 3810000 w 8601075"/>
                  <a:gd name="connsiteY62" fmla="*/ 350043 h 4305300"/>
                  <a:gd name="connsiteX63" fmla="*/ 3771900 w 8601075"/>
                  <a:gd name="connsiteY63" fmla="*/ 352425 h 4305300"/>
                  <a:gd name="connsiteX64" fmla="*/ 3652838 w 8601075"/>
                  <a:gd name="connsiteY64" fmla="*/ 295275 h 4305300"/>
                  <a:gd name="connsiteX65" fmla="*/ 3614737 w 8601075"/>
                  <a:gd name="connsiteY65" fmla="*/ 300037 h 4305300"/>
                  <a:gd name="connsiteX66" fmla="*/ 3409950 w 8601075"/>
                  <a:gd name="connsiteY66" fmla="*/ 190500 h 4305300"/>
                  <a:gd name="connsiteX67" fmla="*/ 3305175 w 8601075"/>
                  <a:gd name="connsiteY67" fmla="*/ 159544 h 4305300"/>
                  <a:gd name="connsiteX68" fmla="*/ 3240881 w 8601075"/>
                  <a:gd name="connsiteY68" fmla="*/ 169068 h 4305300"/>
                  <a:gd name="connsiteX69" fmla="*/ 3209925 w 8601075"/>
                  <a:gd name="connsiteY69" fmla="*/ 104775 h 4305300"/>
                  <a:gd name="connsiteX70" fmla="*/ 3152775 w 8601075"/>
                  <a:gd name="connsiteY70" fmla="*/ 104775 h 4305300"/>
                  <a:gd name="connsiteX71" fmla="*/ 3014662 w 8601075"/>
                  <a:gd name="connsiteY71" fmla="*/ 0 h 4305300"/>
                  <a:gd name="connsiteX72" fmla="*/ 2981325 w 8601075"/>
                  <a:gd name="connsiteY72" fmla="*/ 59532 h 4305300"/>
                  <a:gd name="connsiteX73" fmla="*/ 2926556 w 8601075"/>
                  <a:gd name="connsiteY73" fmla="*/ 128588 h 4305300"/>
                  <a:gd name="connsiteX74" fmla="*/ 2883694 w 8601075"/>
                  <a:gd name="connsiteY74" fmla="*/ 145256 h 4305300"/>
                  <a:gd name="connsiteX75" fmla="*/ 2852738 w 8601075"/>
                  <a:gd name="connsiteY75" fmla="*/ 138113 h 4305300"/>
                  <a:gd name="connsiteX76" fmla="*/ 2828925 w 8601075"/>
                  <a:gd name="connsiteY76" fmla="*/ 166688 h 4305300"/>
                  <a:gd name="connsiteX77" fmla="*/ 2802731 w 8601075"/>
                  <a:gd name="connsiteY77" fmla="*/ 245269 h 4305300"/>
                  <a:gd name="connsiteX78" fmla="*/ 2759869 w 8601075"/>
                  <a:gd name="connsiteY78" fmla="*/ 242888 h 4305300"/>
                  <a:gd name="connsiteX79" fmla="*/ 2728912 w 8601075"/>
                  <a:gd name="connsiteY79" fmla="*/ 304800 h 4305300"/>
                  <a:gd name="connsiteX80" fmla="*/ 2724150 w 8601075"/>
                  <a:gd name="connsiteY80" fmla="*/ 369094 h 4305300"/>
                  <a:gd name="connsiteX81" fmla="*/ 2697957 w 8601075"/>
                  <a:gd name="connsiteY81" fmla="*/ 407194 h 4305300"/>
                  <a:gd name="connsiteX82" fmla="*/ 2724150 w 8601075"/>
                  <a:gd name="connsiteY82" fmla="*/ 466725 h 4305300"/>
                  <a:gd name="connsiteX83" fmla="*/ 2726531 w 8601075"/>
                  <a:gd name="connsiteY83" fmla="*/ 535781 h 4305300"/>
                  <a:gd name="connsiteX84" fmla="*/ 2755106 w 8601075"/>
                  <a:gd name="connsiteY84" fmla="*/ 588169 h 4305300"/>
                  <a:gd name="connsiteX85" fmla="*/ 2802732 w 8601075"/>
                  <a:gd name="connsiteY85" fmla="*/ 642938 h 4305300"/>
                  <a:gd name="connsiteX86" fmla="*/ 2752725 w 8601075"/>
                  <a:gd name="connsiteY86" fmla="*/ 781050 h 4305300"/>
                  <a:gd name="connsiteX87" fmla="*/ 2683669 w 8601075"/>
                  <a:gd name="connsiteY87" fmla="*/ 847725 h 4305300"/>
                  <a:gd name="connsiteX88" fmla="*/ 2612231 w 8601075"/>
                  <a:gd name="connsiteY88" fmla="*/ 842963 h 4305300"/>
                  <a:gd name="connsiteX89" fmla="*/ 2574131 w 8601075"/>
                  <a:gd name="connsiteY89" fmla="*/ 900113 h 4305300"/>
                  <a:gd name="connsiteX90" fmla="*/ 2514600 w 8601075"/>
                  <a:gd name="connsiteY90" fmla="*/ 914400 h 4305300"/>
                  <a:gd name="connsiteX91" fmla="*/ 2445544 w 8601075"/>
                  <a:gd name="connsiteY91" fmla="*/ 854869 h 4305300"/>
                  <a:gd name="connsiteX92" fmla="*/ 2390775 w 8601075"/>
                  <a:gd name="connsiteY92" fmla="*/ 826294 h 4305300"/>
                  <a:gd name="connsiteX93" fmla="*/ 2347913 w 8601075"/>
                  <a:gd name="connsiteY93" fmla="*/ 840581 h 4305300"/>
                  <a:gd name="connsiteX94" fmla="*/ 2295525 w 8601075"/>
                  <a:gd name="connsiteY94" fmla="*/ 823913 h 4305300"/>
                  <a:gd name="connsiteX95" fmla="*/ 2228850 w 8601075"/>
                  <a:gd name="connsiteY95" fmla="*/ 769144 h 4305300"/>
                  <a:gd name="connsiteX96" fmla="*/ 2183606 w 8601075"/>
                  <a:gd name="connsiteY96" fmla="*/ 781050 h 4305300"/>
                  <a:gd name="connsiteX97" fmla="*/ 2162175 w 8601075"/>
                  <a:gd name="connsiteY97" fmla="*/ 750094 h 4305300"/>
                  <a:gd name="connsiteX98" fmla="*/ 2105025 w 8601075"/>
                  <a:gd name="connsiteY98" fmla="*/ 790575 h 4305300"/>
                  <a:gd name="connsiteX99" fmla="*/ 1988344 w 8601075"/>
                  <a:gd name="connsiteY99" fmla="*/ 769144 h 4305300"/>
                  <a:gd name="connsiteX100" fmla="*/ 1938338 w 8601075"/>
                  <a:gd name="connsiteY100" fmla="*/ 716756 h 4305300"/>
                  <a:gd name="connsiteX101" fmla="*/ 1895475 w 8601075"/>
                  <a:gd name="connsiteY101" fmla="*/ 702469 h 4305300"/>
                  <a:gd name="connsiteX102" fmla="*/ 1852613 w 8601075"/>
                  <a:gd name="connsiteY102" fmla="*/ 728663 h 4305300"/>
                  <a:gd name="connsiteX103" fmla="*/ 1800225 w 8601075"/>
                  <a:gd name="connsiteY103" fmla="*/ 638175 h 4305300"/>
                  <a:gd name="connsiteX104" fmla="*/ 1790700 w 8601075"/>
                  <a:gd name="connsiteY104" fmla="*/ 490537 h 4305300"/>
                  <a:gd name="connsiteX105" fmla="*/ 1738312 w 8601075"/>
                  <a:gd name="connsiteY105" fmla="*/ 483393 h 4305300"/>
                  <a:gd name="connsiteX106" fmla="*/ 1647825 w 8601075"/>
                  <a:gd name="connsiteY106" fmla="*/ 473869 h 4305300"/>
                  <a:gd name="connsiteX107" fmla="*/ 1593056 w 8601075"/>
                  <a:gd name="connsiteY107" fmla="*/ 435769 h 4305300"/>
                  <a:gd name="connsiteX108" fmla="*/ 1524000 w 8601075"/>
                  <a:gd name="connsiteY108" fmla="*/ 445294 h 4305300"/>
                  <a:gd name="connsiteX109" fmla="*/ 1478756 w 8601075"/>
                  <a:gd name="connsiteY109" fmla="*/ 419100 h 4305300"/>
                  <a:gd name="connsiteX110" fmla="*/ 1469232 w 8601075"/>
                  <a:gd name="connsiteY110" fmla="*/ 347663 h 4305300"/>
                  <a:gd name="connsiteX111" fmla="*/ 1445419 w 8601075"/>
                  <a:gd name="connsiteY111" fmla="*/ 333375 h 4305300"/>
                  <a:gd name="connsiteX112" fmla="*/ 1407319 w 8601075"/>
                  <a:gd name="connsiteY112" fmla="*/ 380999 h 4305300"/>
                  <a:gd name="connsiteX113" fmla="*/ 1328737 w 8601075"/>
                  <a:gd name="connsiteY113" fmla="*/ 307181 h 4305300"/>
                  <a:gd name="connsiteX114" fmla="*/ 1288256 w 8601075"/>
                  <a:gd name="connsiteY114" fmla="*/ 347663 h 4305300"/>
                  <a:gd name="connsiteX115" fmla="*/ 1212056 w 8601075"/>
                  <a:gd name="connsiteY115" fmla="*/ 333375 h 4305300"/>
                  <a:gd name="connsiteX116" fmla="*/ 1133475 w 8601075"/>
                  <a:gd name="connsiteY116" fmla="*/ 359569 h 4305300"/>
                  <a:gd name="connsiteX117" fmla="*/ 1073944 w 8601075"/>
                  <a:gd name="connsiteY117" fmla="*/ 407193 h 4305300"/>
                  <a:gd name="connsiteX118" fmla="*/ 1000125 w 8601075"/>
                  <a:gd name="connsiteY118" fmla="*/ 419100 h 4305300"/>
                  <a:gd name="connsiteX119" fmla="*/ 964406 w 8601075"/>
                  <a:gd name="connsiteY119" fmla="*/ 411956 h 4305300"/>
                  <a:gd name="connsiteX120" fmla="*/ 885826 w 8601075"/>
                  <a:gd name="connsiteY120" fmla="*/ 442913 h 4305300"/>
                  <a:gd name="connsiteX121" fmla="*/ 864394 w 8601075"/>
                  <a:gd name="connsiteY121" fmla="*/ 471488 h 4305300"/>
                  <a:gd name="connsiteX122" fmla="*/ 797719 w 8601075"/>
                  <a:gd name="connsiteY122" fmla="*/ 461963 h 4305300"/>
                  <a:gd name="connsiteX123" fmla="*/ 728663 w 8601075"/>
                  <a:gd name="connsiteY123" fmla="*/ 485775 h 4305300"/>
                  <a:gd name="connsiteX124" fmla="*/ 673894 w 8601075"/>
                  <a:gd name="connsiteY124" fmla="*/ 523875 h 4305300"/>
                  <a:gd name="connsiteX125" fmla="*/ 578644 w 8601075"/>
                  <a:gd name="connsiteY125" fmla="*/ 538162 h 4305300"/>
                  <a:gd name="connsiteX126" fmla="*/ 564356 w 8601075"/>
                  <a:gd name="connsiteY126" fmla="*/ 559594 h 4305300"/>
                  <a:gd name="connsiteX127" fmla="*/ 576262 w 8601075"/>
                  <a:gd name="connsiteY127" fmla="*/ 604838 h 4305300"/>
                  <a:gd name="connsiteX128" fmla="*/ 476251 w 8601075"/>
                  <a:gd name="connsiteY128" fmla="*/ 657225 h 4305300"/>
                  <a:gd name="connsiteX129" fmla="*/ 438150 w 8601075"/>
                  <a:gd name="connsiteY129" fmla="*/ 628649 h 4305300"/>
                  <a:gd name="connsiteX130" fmla="*/ 407194 w 8601075"/>
                  <a:gd name="connsiteY130" fmla="*/ 685800 h 4305300"/>
                  <a:gd name="connsiteX131" fmla="*/ 350044 w 8601075"/>
                  <a:gd name="connsiteY131" fmla="*/ 647700 h 4305300"/>
                  <a:gd name="connsiteX132" fmla="*/ 314325 w 8601075"/>
                  <a:gd name="connsiteY132" fmla="*/ 676275 h 4305300"/>
                  <a:gd name="connsiteX133" fmla="*/ 278606 w 8601075"/>
                  <a:gd name="connsiteY133" fmla="*/ 640556 h 4305300"/>
                  <a:gd name="connsiteX134" fmla="*/ 226219 w 8601075"/>
                  <a:gd name="connsiteY134" fmla="*/ 652463 h 4305300"/>
                  <a:gd name="connsiteX135" fmla="*/ 180975 w 8601075"/>
                  <a:gd name="connsiteY135" fmla="*/ 623888 h 4305300"/>
                  <a:gd name="connsiteX136" fmla="*/ 157163 w 8601075"/>
                  <a:gd name="connsiteY136" fmla="*/ 642938 h 4305300"/>
                  <a:gd name="connsiteX137" fmla="*/ 133350 w 8601075"/>
                  <a:gd name="connsiteY137" fmla="*/ 702469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76900 w 8601075"/>
                  <a:gd name="connsiteY30" fmla="*/ 1181100 h 4305300"/>
                  <a:gd name="connsiteX31" fmla="*/ 5600700 w 8601075"/>
                  <a:gd name="connsiteY31" fmla="*/ 1114425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00700 w 8601075"/>
                  <a:gd name="connsiteY31" fmla="*/ 1114425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391150 w 8601075"/>
                  <a:gd name="connsiteY32" fmla="*/ 1123950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34000 w 8601075"/>
                  <a:gd name="connsiteY33" fmla="*/ 1066800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48275 w 8601075"/>
                  <a:gd name="connsiteY34" fmla="*/ 981075 h 4305300"/>
                  <a:gd name="connsiteX35" fmla="*/ 5238750 w 8601075"/>
                  <a:gd name="connsiteY35" fmla="*/ 895350 h 4305300"/>
                  <a:gd name="connsiteX36" fmla="*/ 5133975 w 8601075"/>
                  <a:gd name="connsiteY36" fmla="*/ 895350 h 4305300"/>
                  <a:gd name="connsiteX37" fmla="*/ 4991100 w 8601075"/>
                  <a:gd name="connsiteY37" fmla="*/ 838200 h 4305300"/>
                  <a:gd name="connsiteX38" fmla="*/ 4905375 w 8601075"/>
                  <a:gd name="connsiteY38" fmla="*/ 771525 h 4305300"/>
                  <a:gd name="connsiteX39" fmla="*/ 4905375 w 8601075"/>
                  <a:gd name="connsiteY39" fmla="*/ 771525 h 4305300"/>
                  <a:gd name="connsiteX40" fmla="*/ 4781550 w 8601075"/>
                  <a:gd name="connsiteY40" fmla="*/ 762000 h 4305300"/>
                  <a:gd name="connsiteX41" fmla="*/ 4648200 w 8601075"/>
                  <a:gd name="connsiteY41" fmla="*/ 714375 h 4305300"/>
                  <a:gd name="connsiteX42" fmla="*/ 4581525 w 8601075"/>
                  <a:gd name="connsiteY42" fmla="*/ 695325 h 4305300"/>
                  <a:gd name="connsiteX43" fmla="*/ 4495800 w 8601075"/>
                  <a:gd name="connsiteY43" fmla="*/ 742950 h 4305300"/>
                  <a:gd name="connsiteX44" fmla="*/ 4343400 w 8601075"/>
                  <a:gd name="connsiteY44" fmla="*/ 781050 h 4305300"/>
                  <a:gd name="connsiteX45" fmla="*/ 4252913 w 8601075"/>
                  <a:gd name="connsiteY45" fmla="*/ 862013 h 4305300"/>
                  <a:gd name="connsiteX46" fmla="*/ 4205287 w 8601075"/>
                  <a:gd name="connsiteY46" fmla="*/ 823913 h 4305300"/>
                  <a:gd name="connsiteX47" fmla="*/ 4183856 w 8601075"/>
                  <a:gd name="connsiteY47" fmla="*/ 854868 h 4305300"/>
                  <a:gd name="connsiteX48" fmla="*/ 4110038 w 8601075"/>
                  <a:gd name="connsiteY48" fmla="*/ 804863 h 4305300"/>
                  <a:gd name="connsiteX49" fmla="*/ 4071938 w 8601075"/>
                  <a:gd name="connsiteY49" fmla="*/ 812006 h 4305300"/>
                  <a:gd name="connsiteX50" fmla="*/ 4050506 w 8601075"/>
                  <a:gd name="connsiteY50" fmla="*/ 773906 h 4305300"/>
                  <a:gd name="connsiteX51" fmla="*/ 3990975 w 8601075"/>
                  <a:gd name="connsiteY51" fmla="*/ 778669 h 4305300"/>
                  <a:gd name="connsiteX52" fmla="*/ 3945731 w 8601075"/>
                  <a:gd name="connsiteY52" fmla="*/ 750094 h 4305300"/>
                  <a:gd name="connsiteX53" fmla="*/ 3907631 w 8601075"/>
                  <a:gd name="connsiteY53" fmla="*/ 747713 h 4305300"/>
                  <a:gd name="connsiteX54" fmla="*/ 3888581 w 8601075"/>
                  <a:gd name="connsiteY54" fmla="*/ 700087 h 4305300"/>
                  <a:gd name="connsiteX55" fmla="*/ 3874294 w 8601075"/>
                  <a:gd name="connsiteY55" fmla="*/ 669131 h 4305300"/>
                  <a:gd name="connsiteX56" fmla="*/ 3829050 w 8601075"/>
                  <a:gd name="connsiteY56" fmla="*/ 678656 h 4305300"/>
                  <a:gd name="connsiteX57" fmla="*/ 3810000 w 8601075"/>
                  <a:gd name="connsiteY57" fmla="*/ 642938 h 4305300"/>
                  <a:gd name="connsiteX58" fmla="*/ 3831432 w 8601075"/>
                  <a:gd name="connsiteY58" fmla="*/ 588169 h 4305300"/>
                  <a:gd name="connsiteX59" fmla="*/ 3800475 w 8601075"/>
                  <a:gd name="connsiteY59" fmla="*/ 561975 h 4305300"/>
                  <a:gd name="connsiteX60" fmla="*/ 3817144 w 8601075"/>
                  <a:gd name="connsiteY60" fmla="*/ 519113 h 4305300"/>
                  <a:gd name="connsiteX61" fmla="*/ 3790950 w 8601075"/>
                  <a:gd name="connsiteY61" fmla="*/ 476250 h 4305300"/>
                  <a:gd name="connsiteX62" fmla="*/ 3786188 w 8601075"/>
                  <a:gd name="connsiteY62" fmla="*/ 414338 h 4305300"/>
                  <a:gd name="connsiteX63" fmla="*/ 3810000 w 8601075"/>
                  <a:gd name="connsiteY63" fmla="*/ 350043 h 4305300"/>
                  <a:gd name="connsiteX64" fmla="*/ 3771900 w 8601075"/>
                  <a:gd name="connsiteY64" fmla="*/ 352425 h 4305300"/>
                  <a:gd name="connsiteX65" fmla="*/ 3652838 w 8601075"/>
                  <a:gd name="connsiteY65" fmla="*/ 295275 h 4305300"/>
                  <a:gd name="connsiteX66" fmla="*/ 3614737 w 8601075"/>
                  <a:gd name="connsiteY66" fmla="*/ 300037 h 4305300"/>
                  <a:gd name="connsiteX67" fmla="*/ 3409950 w 8601075"/>
                  <a:gd name="connsiteY67" fmla="*/ 190500 h 4305300"/>
                  <a:gd name="connsiteX68" fmla="*/ 3305175 w 8601075"/>
                  <a:gd name="connsiteY68" fmla="*/ 159544 h 4305300"/>
                  <a:gd name="connsiteX69" fmla="*/ 3240881 w 8601075"/>
                  <a:gd name="connsiteY69" fmla="*/ 169068 h 4305300"/>
                  <a:gd name="connsiteX70" fmla="*/ 3209925 w 8601075"/>
                  <a:gd name="connsiteY70" fmla="*/ 104775 h 4305300"/>
                  <a:gd name="connsiteX71" fmla="*/ 3152775 w 8601075"/>
                  <a:gd name="connsiteY71" fmla="*/ 104775 h 4305300"/>
                  <a:gd name="connsiteX72" fmla="*/ 3014662 w 8601075"/>
                  <a:gd name="connsiteY72" fmla="*/ 0 h 4305300"/>
                  <a:gd name="connsiteX73" fmla="*/ 2981325 w 8601075"/>
                  <a:gd name="connsiteY73" fmla="*/ 59532 h 4305300"/>
                  <a:gd name="connsiteX74" fmla="*/ 2926556 w 8601075"/>
                  <a:gd name="connsiteY74" fmla="*/ 128588 h 4305300"/>
                  <a:gd name="connsiteX75" fmla="*/ 2883694 w 8601075"/>
                  <a:gd name="connsiteY75" fmla="*/ 145256 h 4305300"/>
                  <a:gd name="connsiteX76" fmla="*/ 2852738 w 8601075"/>
                  <a:gd name="connsiteY76" fmla="*/ 138113 h 4305300"/>
                  <a:gd name="connsiteX77" fmla="*/ 2828925 w 8601075"/>
                  <a:gd name="connsiteY77" fmla="*/ 166688 h 4305300"/>
                  <a:gd name="connsiteX78" fmla="*/ 2802731 w 8601075"/>
                  <a:gd name="connsiteY78" fmla="*/ 245269 h 4305300"/>
                  <a:gd name="connsiteX79" fmla="*/ 2759869 w 8601075"/>
                  <a:gd name="connsiteY79" fmla="*/ 242888 h 4305300"/>
                  <a:gd name="connsiteX80" fmla="*/ 2728912 w 8601075"/>
                  <a:gd name="connsiteY80" fmla="*/ 304800 h 4305300"/>
                  <a:gd name="connsiteX81" fmla="*/ 2724150 w 8601075"/>
                  <a:gd name="connsiteY81" fmla="*/ 369094 h 4305300"/>
                  <a:gd name="connsiteX82" fmla="*/ 2697957 w 8601075"/>
                  <a:gd name="connsiteY82" fmla="*/ 407194 h 4305300"/>
                  <a:gd name="connsiteX83" fmla="*/ 2724150 w 8601075"/>
                  <a:gd name="connsiteY83" fmla="*/ 466725 h 4305300"/>
                  <a:gd name="connsiteX84" fmla="*/ 2726531 w 8601075"/>
                  <a:gd name="connsiteY84" fmla="*/ 535781 h 4305300"/>
                  <a:gd name="connsiteX85" fmla="*/ 2755106 w 8601075"/>
                  <a:gd name="connsiteY85" fmla="*/ 588169 h 4305300"/>
                  <a:gd name="connsiteX86" fmla="*/ 2802732 w 8601075"/>
                  <a:gd name="connsiteY86" fmla="*/ 642938 h 4305300"/>
                  <a:gd name="connsiteX87" fmla="*/ 2752725 w 8601075"/>
                  <a:gd name="connsiteY87" fmla="*/ 781050 h 4305300"/>
                  <a:gd name="connsiteX88" fmla="*/ 2683669 w 8601075"/>
                  <a:gd name="connsiteY88" fmla="*/ 847725 h 4305300"/>
                  <a:gd name="connsiteX89" fmla="*/ 2612231 w 8601075"/>
                  <a:gd name="connsiteY89" fmla="*/ 842963 h 4305300"/>
                  <a:gd name="connsiteX90" fmla="*/ 2574131 w 8601075"/>
                  <a:gd name="connsiteY90" fmla="*/ 900113 h 4305300"/>
                  <a:gd name="connsiteX91" fmla="*/ 2514600 w 8601075"/>
                  <a:gd name="connsiteY91" fmla="*/ 914400 h 4305300"/>
                  <a:gd name="connsiteX92" fmla="*/ 2445544 w 8601075"/>
                  <a:gd name="connsiteY92" fmla="*/ 854869 h 4305300"/>
                  <a:gd name="connsiteX93" fmla="*/ 2390775 w 8601075"/>
                  <a:gd name="connsiteY93" fmla="*/ 826294 h 4305300"/>
                  <a:gd name="connsiteX94" fmla="*/ 2347913 w 8601075"/>
                  <a:gd name="connsiteY94" fmla="*/ 840581 h 4305300"/>
                  <a:gd name="connsiteX95" fmla="*/ 2295525 w 8601075"/>
                  <a:gd name="connsiteY95" fmla="*/ 823913 h 4305300"/>
                  <a:gd name="connsiteX96" fmla="*/ 2228850 w 8601075"/>
                  <a:gd name="connsiteY96" fmla="*/ 769144 h 4305300"/>
                  <a:gd name="connsiteX97" fmla="*/ 2183606 w 8601075"/>
                  <a:gd name="connsiteY97" fmla="*/ 781050 h 4305300"/>
                  <a:gd name="connsiteX98" fmla="*/ 2162175 w 8601075"/>
                  <a:gd name="connsiteY98" fmla="*/ 750094 h 4305300"/>
                  <a:gd name="connsiteX99" fmla="*/ 2105025 w 8601075"/>
                  <a:gd name="connsiteY99" fmla="*/ 790575 h 4305300"/>
                  <a:gd name="connsiteX100" fmla="*/ 1988344 w 8601075"/>
                  <a:gd name="connsiteY100" fmla="*/ 769144 h 4305300"/>
                  <a:gd name="connsiteX101" fmla="*/ 1938338 w 8601075"/>
                  <a:gd name="connsiteY101" fmla="*/ 716756 h 4305300"/>
                  <a:gd name="connsiteX102" fmla="*/ 1895475 w 8601075"/>
                  <a:gd name="connsiteY102" fmla="*/ 702469 h 4305300"/>
                  <a:gd name="connsiteX103" fmla="*/ 1852613 w 8601075"/>
                  <a:gd name="connsiteY103" fmla="*/ 728663 h 4305300"/>
                  <a:gd name="connsiteX104" fmla="*/ 1800225 w 8601075"/>
                  <a:gd name="connsiteY104" fmla="*/ 638175 h 4305300"/>
                  <a:gd name="connsiteX105" fmla="*/ 1790700 w 8601075"/>
                  <a:gd name="connsiteY105" fmla="*/ 490537 h 4305300"/>
                  <a:gd name="connsiteX106" fmla="*/ 1738312 w 8601075"/>
                  <a:gd name="connsiteY106" fmla="*/ 483393 h 4305300"/>
                  <a:gd name="connsiteX107" fmla="*/ 1647825 w 8601075"/>
                  <a:gd name="connsiteY107" fmla="*/ 473869 h 4305300"/>
                  <a:gd name="connsiteX108" fmla="*/ 1593056 w 8601075"/>
                  <a:gd name="connsiteY108" fmla="*/ 435769 h 4305300"/>
                  <a:gd name="connsiteX109" fmla="*/ 1524000 w 8601075"/>
                  <a:gd name="connsiteY109" fmla="*/ 445294 h 4305300"/>
                  <a:gd name="connsiteX110" fmla="*/ 1478756 w 8601075"/>
                  <a:gd name="connsiteY110" fmla="*/ 419100 h 4305300"/>
                  <a:gd name="connsiteX111" fmla="*/ 1469232 w 8601075"/>
                  <a:gd name="connsiteY111" fmla="*/ 347663 h 4305300"/>
                  <a:gd name="connsiteX112" fmla="*/ 1445419 w 8601075"/>
                  <a:gd name="connsiteY112" fmla="*/ 333375 h 4305300"/>
                  <a:gd name="connsiteX113" fmla="*/ 1407319 w 8601075"/>
                  <a:gd name="connsiteY113" fmla="*/ 380999 h 4305300"/>
                  <a:gd name="connsiteX114" fmla="*/ 1328737 w 8601075"/>
                  <a:gd name="connsiteY114" fmla="*/ 307181 h 4305300"/>
                  <a:gd name="connsiteX115" fmla="*/ 1288256 w 8601075"/>
                  <a:gd name="connsiteY115" fmla="*/ 347663 h 4305300"/>
                  <a:gd name="connsiteX116" fmla="*/ 1212056 w 8601075"/>
                  <a:gd name="connsiteY116" fmla="*/ 333375 h 4305300"/>
                  <a:gd name="connsiteX117" fmla="*/ 1133475 w 8601075"/>
                  <a:gd name="connsiteY117" fmla="*/ 359569 h 4305300"/>
                  <a:gd name="connsiteX118" fmla="*/ 1073944 w 8601075"/>
                  <a:gd name="connsiteY118" fmla="*/ 407193 h 4305300"/>
                  <a:gd name="connsiteX119" fmla="*/ 1000125 w 8601075"/>
                  <a:gd name="connsiteY119" fmla="*/ 419100 h 4305300"/>
                  <a:gd name="connsiteX120" fmla="*/ 964406 w 8601075"/>
                  <a:gd name="connsiteY120" fmla="*/ 411956 h 4305300"/>
                  <a:gd name="connsiteX121" fmla="*/ 885826 w 8601075"/>
                  <a:gd name="connsiteY121" fmla="*/ 442913 h 4305300"/>
                  <a:gd name="connsiteX122" fmla="*/ 864394 w 8601075"/>
                  <a:gd name="connsiteY122" fmla="*/ 471488 h 4305300"/>
                  <a:gd name="connsiteX123" fmla="*/ 797719 w 8601075"/>
                  <a:gd name="connsiteY123" fmla="*/ 461963 h 4305300"/>
                  <a:gd name="connsiteX124" fmla="*/ 728663 w 8601075"/>
                  <a:gd name="connsiteY124" fmla="*/ 485775 h 4305300"/>
                  <a:gd name="connsiteX125" fmla="*/ 673894 w 8601075"/>
                  <a:gd name="connsiteY125" fmla="*/ 523875 h 4305300"/>
                  <a:gd name="connsiteX126" fmla="*/ 578644 w 8601075"/>
                  <a:gd name="connsiteY126" fmla="*/ 538162 h 4305300"/>
                  <a:gd name="connsiteX127" fmla="*/ 564356 w 8601075"/>
                  <a:gd name="connsiteY127" fmla="*/ 559594 h 4305300"/>
                  <a:gd name="connsiteX128" fmla="*/ 576262 w 8601075"/>
                  <a:gd name="connsiteY128" fmla="*/ 604838 h 4305300"/>
                  <a:gd name="connsiteX129" fmla="*/ 476251 w 8601075"/>
                  <a:gd name="connsiteY129" fmla="*/ 657225 h 4305300"/>
                  <a:gd name="connsiteX130" fmla="*/ 438150 w 8601075"/>
                  <a:gd name="connsiteY130" fmla="*/ 628649 h 4305300"/>
                  <a:gd name="connsiteX131" fmla="*/ 407194 w 8601075"/>
                  <a:gd name="connsiteY131" fmla="*/ 685800 h 4305300"/>
                  <a:gd name="connsiteX132" fmla="*/ 350044 w 8601075"/>
                  <a:gd name="connsiteY132" fmla="*/ 647700 h 4305300"/>
                  <a:gd name="connsiteX133" fmla="*/ 314325 w 8601075"/>
                  <a:gd name="connsiteY133" fmla="*/ 676275 h 4305300"/>
                  <a:gd name="connsiteX134" fmla="*/ 278606 w 8601075"/>
                  <a:gd name="connsiteY134" fmla="*/ 640556 h 4305300"/>
                  <a:gd name="connsiteX135" fmla="*/ 226219 w 8601075"/>
                  <a:gd name="connsiteY135" fmla="*/ 652463 h 4305300"/>
                  <a:gd name="connsiteX136" fmla="*/ 180975 w 8601075"/>
                  <a:gd name="connsiteY136" fmla="*/ 623888 h 4305300"/>
                  <a:gd name="connsiteX137" fmla="*/ 157163 w 8601075"/>
                  <a:gd name="connsiteY137" fmla="*/ 642938 h 4305300"/>
                  <a:gd name="connsiteX138" fmla="*/ 133350 w 8601075"/>
                  <a:gd name="connsiteY138" fmla="*/ 702469 h 4305300"/>
                  <a:gd name="connsiteX139" fmla="*/ 61913 w 8601075"/>
                  <a:gd name="connsiteY139" fmla="*/ 740568 h 4305300"/>
                  <a:gd name="connsiteX140" fmla="*/ 28575 w 8601075"/>
                  <a:gd name="connsiteY140" fmla="*/ 769144 h 4305300"/>
                  <a:gd name="connsiteX141" fmla="*/ 33338 w 8601075"/>
                  <a:gd name="connsiteY141" fmla="*/ 812006 h 4305300"/>
                  <a:gd name="connsiteX142" fmla="*/ 0 w 8601075"/>
                  <a:gd name="connsiteY142" fmla="*/ 816769 h 4305300"/>
                  <a:gd name="connsiteX143" fmla="*/ 4763 w 8601075"/>
                  <a:gd name="connsiteY143" fmla="*/ 840581 h 4305300"/>
                  <a:gd name="connsiteX144" fmla="*/ 61912 w 8601075"/>
                  <a:gd name="connsiteY144" fmla="*/ 914400 h 4305300"/>
                  <a:gd name="connsiteX145" fmla="*/ 23813 w 8601075"/>
                  <a:gd name="connsiteY145" fmla="*/ 962025 h 4305300"/>
                  <a:gd name="connsiteX146" fmla="*/ 78581 w 8601075"/>
                  <a:gd name="connsiteY146" fmla="*/ 997744 h 4305300"/>
                  <a:gd name="connsiteX147" fmla="*/ 169069 w 8601075"/>
                  <a:gd name="connsiteY147" fmla="*/ 1085850 h 4305300"/>
                  <a:gd name="connsiteX148" fmla="*/ 171450 w 8601075"/>
                  <a:gd name="connsiteY148" fmla="*/ 1145381 h 4305300"/>
                  <a:gd name="connsiteX149" fmla="*/ 307181 w 8601075"/>
                  <a:gd name="connsiteY149" fmla="*/ 1278732 h 4305300"/>
                  <a:gd name="connsiteX150" fmla="*/ 361950 w 8601075"/>
                  <a:gd name="connsiteY150" fmla="*/ 1254919 h 4305300"/>
                  <a:gd name="connsiteX151" fmla="*/ 400050 w 8601075"/>
                  <a:gd name="connsiteY151" fmla="*/ 1281112 h 4305300"/>
                  <a:gd name="connsiteX152" fmla="*/ 414338 w 8601075"/>
                  <a:gd name="connsiteY152" fmla="*/ 1331118 h 4305300"/>
                  <a:gd name="connsiteX153" fmla="*/ 457200 w 8601075"/>
                  <a:gd name="connsiteY153" fmla="*/ 1366838 h 4305300"/>
                  <a:gd name="connsiteX154" fmla="*/ 497681 w 8601075"/>
                  <a:gd name="connsiteY154" fmla="*/ 1354931 h 4305300"/>
                  <a:gd name="connsiteX155" fmla="*/ 516731 w 8601075"/>
                  <a:gd name="connsiteY155" fmla="*/ 1412081 h 4305300"/>
                  <a:gd name="connsiteX156" fmla="*/ 564356 w 8601075"/>
                  <a:gd name="connsiteY156" fmla="*/ 1454944 h 4305300"/>
                  <a:gd name="connsiteX157" fmla="*/ 588169 w 8601075"/>
                  <a:gd name="connsiteY157" fmla="*/ 1557338 h 4305300"/>
                  <a:gd name="connsiteX158" fmla="*/ 585788 w 8601075"/>
                  <a:gd name="connsiteY158" fmla="*/ 1604963 h 4305300"/>
                  <a:gd name="connsiteX159" fmla="*/ 621506 w 8601075"/>
                  <a:gd name="connsiteY159" fmla="*/ 1704975 h 4305300"/>
                  <a:gd name="connsiteX160" fmla="*/ 666750 w 8601075"/>
                  <a:gd name="connsiteY160" fmla="*/ 1762125 h 4305300"/>
                  <a:gd name="connsiteX161" fmla="*/ 683418 w 8601075"/>
                  <a:gd name="connsiteY161" fmla="*/ 1919287 h 4305300"/>
                  <a:gd name="connsiteX162" fmla="*/ 650081 w 8601075"/>
                  <a:gd name="connsiteY162" fmla="*/ 1981200 h 4305300"/>
                  <a:gd name="connsiteX163" fmla="*/ 619125 w 8601075"/>
                  <a:gd name="connsiteY163" fmla="*/ 2057400 h 4305300"/>
                  <a:gd name="connsiteX164" fmla="*/ 633413 w 8601075"/>
                  <a:gd name="connsiteY164" fmla="*/ 2114550 h 4305300"/>
                  <a:gd name="connsiteX165" fmla="*/ 535781 w 8601075"/>
                  <a:gd name="connsiteY165" fmla="*/ 2221707 h 4305300"/>
                  <a:gd name="connsiteX166" fmla="*/ 492919 w 8601075"/>
                  <a:gd name="connsiteY166" fmla="*/ 2336006 h 4305300"/>
                  <a:gd name="connsiteX167" fmla="*/ 526256 w 8601075"/>
                  <a:gd name="connsiteY167" fmla="*/ 2376488 h 4305300"/>
                  <a:gd name="connsiteX168" fmla="*/ 509588 w 8601075"/>
                  <a:gd name="connsiteY168" fmla="*/ 2405063 h 4305300"/>
                  <a:gd name="connsiteX169" fmla="*/ 540544 w 8601075"/>
                  <a:gd name="connsiteY169" fmla="*/ 2462213 h 4305300"/>
                  <a:gd name="connsiteX170" fmla="*/ 569119 w 8601075"/>
                  <a:gd name="connsiteY170" fmla="*/ 2462213 h 4305300"/>
                  <a:gd name="connsiteX171" fmla="*/ 731044 w 8601075"/>
                  <a:gd name="connsiteY171" fmla="*/ 2564606 h 4305300"/>
                  <a:gd name="connsiteX172" fmla="*/ 835819 w 8601075"/>
                  <a:gd name="connsiteY172" fmla="*/ 2562225 h 4305300"/>
                  <a:gd name="connsiteX173" fmla="*/ 914400 w 8601075"/>
                  <a:gd name="connsiteY173" fmla="*/ 2616994 h 4305300"/>
                  <a:gd name="connsiteX174" fmla="*/ 1045368 w 8601075"/>
                  <a:gd name="connsiteY174" fmla="*/ 2619375 h 4305300"/>
                  <a:gd name="connsiteX175" fmla="*/ 1235868 w 8601075"/>
                  <a:gd name="connsiteY175" fmla="*/ 2688431 h 4305300"/>
                  <a:gd name="connsiteX176" fmla="*/ 1438275 w 8601075"/>
                  <a:gd name="connsiteY176" fmla="*/ 2838450 h 4305300"/>
                  <a:gd name="connsiteX177" fmla="*/ 1471612 w 8601075"/>
                  <a:gd name="connsiteY177" fmla="*/ 2905125 h 4305300"/>
                  <a:gd name="connsiteX178" fmla="*/ 1638300 w 8601075"/>
                  <a:gd name="connsiteY178" fmla="*/ 3031331 h 4305300"/>
                  <a:gd name="connsiteX179" fmla="*/ 1709738 w 8601075"/>
                  <a:gd name="connsiteY179" fmla="*/ 3026569 h 4305300"/>
                  <a:gd name="connsiteX180" fmla="*/ 1745457 w 8601075"/>
                  <a:gd name="connsiteY180" fmla="*/ 3050381 h 4305300"/>
                  <a:gd name="connsiteX181" fmla="*/ 1716881 w 8601075"/>
                  <a:gd name="connsiteY181" fmla="*/ 3090863 h 4305300"/>
                  <a:gd name="connsiteX182" fmla="*/ 1724025 w 8601075"/>
                  <a:gd name="connsiteY182" fmla="*/ 3143250 h 4305300"/>
                  <a:gd name="connsiteX183" fmla="*/ 1776413 w 8601075"/>
                  <a:gd name="connsiteY183" fmla="*/ 3169444 h 4305300"/>
                  <a:gd name="connsiteX184" fmla="*/ 1838325 w 8601075"/>
                  <a:gd name="connsiteY184" fmla="*/ 3393282 h 4305300"/>
                  <a:gd name="connsiteX185" fmla="*/ 1828800 w 8601075"/>
                  <a:gd name="connsiteY185" fmla="*/ 3457575 h 4305300"/>
                  <a:gd name="connsiteX186" fmla="*/ 1964531 w 8601075"/>
                  <a:gd name="connsiteY186" fmla="*/ 3624263 h 4305300"/>
                  <a:gd name="connsiteX187" fmla="*/ 1983581 w 8601075"/>
                  <a:gd name="connsiteY187" fmla="*/ 3674269 h 4305300"/>
                  <a:gd name="connsiteX188" fmla="*/ 1957388 w 8601075"/>
                  <a:gd name="connsiteY188" fmla="*/ 3693319 h 4305300"/>
                  <a:gd name="connsiteX189" fmla="*/ 2059781 w 8601075"/>
                  <a:gd name="connsiteY189" fmla="*/ 3702844 h 4305300"/>
                  <a:gd name="connsiteX190" fmla="*/ 2171700 w 8601075"/>
                  <a:gd name="connsiteY190" fmla="*/ 3690938 h 4305300"/>
                  <a:gd name="connsiteX191" fmla="*/ 2450306 w 8601075"/>
                  <a:gd name="connsiteY191" fmla="*/ 3774281 h 4305300"/>
                  <a:gd name="connsiteX192" fmla="*/ 2857500 w 8601075"/>
                  <a:gd name="connsiteY192" fmla="*/ 3855244 h 4305300"/>
                  <a:gd name="connsiteX193" fmla="*/ 3055144 w 8601075"/>
                  <a:gd name="connsiteY193" fmla="*/ 3824287 h 4305300"/>
                  <a:gd name="connsiteX194" fmla="*/ 3100388 w 8601075"/>
                  <a:gd name="connsiteY194" fmla="*/ 3836193 h 4305300"/>
                  <a:gd name="connsiteX195" fmla="*/ 3155156 w 8601075"/>
                  <a:gd name="connsiteY195" fmla="*/ 3812382 h 4305300"/>
                  <a:gd name="connsiteX196" fmla="*/ 3548062 w 8601075"/>
                  <a:gd name="connsiteY196" fmla="*/ 3902869 h 4305300"/>
                  <a:gd name="connsiteX197" fmla="*/ 3631407 w 8601075"/>
                  <a:gd name="connsiteY197" fmla="*/ 4000500 h 4305300"/>
                  <a:gd name="connsiteX198" fmla="*/ 3750469 w 8601075"/>
                  <a:gd name="connsiteY198" fmla="*/ 4071938 h 4305300"/>
                  <a:gd name="connsiteX199" fmla="*/ 3810000 w 8601075"/>
                  <a:gd name="connsiteY199" fmla="*/ 4055269 h 4305300"/>
                  <a:gd name="connsiteX200" fmla="*/ 4160043 w 8601075"/>
                  <a:gd name="connsiteY200" fmla="*/ 4229100 h 4305300"/>
                  <a:gd name="connsiteX201" fmla="*/ 4386263 w 8601075"/>
                  <a:gd name="connsiteY201" fmla="*/ 4200525 h 4305300"/>
                  <a:gd name="connsiteX202" fmla="*/ 4395788 w 8601075"/>
                  <a:gd name="connsiteY202" fmla="*/ 4279106 h 4305300"/>
                  <a:gd name="connsiteX203" fmla="*/ 4481513 w 8601075"/>
                  <a:gd name="connsiteY203" fmla="*/ 4274343 h 4305300"/>
                  <a:gd name="connsiteX204" fmla="*/ 4560094 w 8601075"/>
                  <a:gd name="connsiteY204" fmla="*/ 4305300 h 4305300"/>
                  <a:gd name="connsiteX205" fmla="*/ 4602956 w 8601075"/>
                  <a:gd name="connsiteY205" fmla="*/ 4245769 h 4305300"/>
                  <a:gd name="connsiteX206" fmla="*/ 5274469 w 8601075"/>
                  <a:gd name="connsiteY206" fmla="*/ 3926681 h 4305300"/>
                  <a:gd name="connsiteX207" fmla="*/ 5362575 w 8601075"/>
                  <a:gd name="connsiteY207" fmla="*/ 3955257 h 4305300"/>
                  <a:gd name="connsiteX208" fmla="*/ 5493544 w 8601075"/>
                  <a:gd name="connsiteY208" fmla="*/ 3926681 h 4305300"/>
                  <a:gd name="connsiteX209" fmla="*/ 5672137 w 8601075"/>
                  <a:gd name="connsiteY209" fmla="*/ 3943350 h 4305300"/>
                  <a:gd name="connsiteX210" fmla="*/ 5729288 w 8601075"/>
                  <a:gd name="connsiteY210" fmla="*/ 3917157 h 4305300"/>
                  <a:gd name="connsiteX211" fmla="*/ 5862637 w 8601075"/>
                  <a:gd name="connsiteY211" fmla="*/ 3914775 h 4305300"/>
                  <a:gd name="connsiteX212" fmla="*/ 5995987 w 8601075"/>
                  <a:gd name="connsiteY212" fmla="*/ 3817144 h 4305300"/>
                  <a:gd name="connsiteX213" fmla="*/ 6062662 w 8601075"/>
                  <a:gd name="connsiteY213" fmla="*/ 3810000 h 4305300"/>
                  <a:gd name="connsiteX214" fmla="*/ 6160294 w 8601075"/>
                  <a:gd name="connsiteY214" fmla="*/ 3736181 h 4305300"/>
                  <a:gd name="connsiteX215" fmla="*/ 6234113 w 8601075"/>
                  <a:gd name="connsiteY215" fmla="*/ 3667125 h 4305300"/>
                  <a:gd name="connsiteX216" fmla="*/ 6243638 w 8601075"/>
                  <a:gd name="connsiteY216" fmla="*/ 3605213 h 4305300"/>
                  <a:gd name="connsiteX217" fmla="*/ 6276975 w 8601075"/>
                  <a:gd name="connsiteY217" fmla="*/ 3536156 h 4305300"/>
                  <a:gd name="connsiteX218" fmla="*/ 6429375 w 8601075"/>
                  <a:gd name="connsiteY218" fmla="*/ 3429000 h 4305300"/>
                  <a:gd name="connsiteX219" fmla="*/ 6462713 w 8601075"/>
                  <a:gd name="connsiteY219" fmla="*/ 3433763 h 4305300"/>
                  <a:gd name="connsiteX220" fmla="*/ 6515100 w 8601075"/>
                  <a:gd name="connsiteY220" fmla="*/ 3355181 h 4305300"/>
                  <a:gd name="connsiteX221" fmla="*/ 6562725 w 8601075"/>
                  <a:gd name="connsiteY221" fmla="*/ 3317081 h 4305300"/>
                  <a:gd name="connsiteX222" fmla="*/ 6548438 w 8601075"/>
                  <a:gd name="connsiteY222" fmla="*/ 3248025 h 4305300"/>
                  <a:gd name="connsiteX223" fmla="*/ 6498431 w 8601075"/>
                  <a:gd name="connsiteY223" fmla="*/ 3217068 h 4305300"/>
                  <a:gd name="connsiteX224" fmla="*/ 6438900 w 8601075"/>
                  <a:gd name="connsiteY224" fmla="*/ 3162300 h 4305300"/>
                  <a:gd name="connsiteX225" fmla="*/ 6419850 w 8601075"/>
                  <a:gd name="connsiteY225" fmla="*/ 3105150 h 4305300"/>
                  <a:gd name="connsiteX226" fmla="*/ 6384131 w 8601075"/>
                  <a:gd name="connsiteY226" fmla="*/ 3071813 h 4305300"/>
                  <a:gd name="connsiteX227" fmla="*/ 6410325 w 8601075"/>
                  <a:gd name="connsiteY227" fmla="*/ 3019425 h 4305300"/>
                  <a:gd name="connsiteX228" fmla="*/ 6450806 w 8601075"/>
                  <a:gd name="connsiteY228" fmla="*/ 2840831 h 4305300"/>
                  <a:gd name="connsiteX229" fmla="*/ 6491288 w 8601075"/>
                  <a:gd name="connsiteY229" fmla="*/ 2774156 h 4305300"/>
                  <a:gd name="connsiteX230" fmla="*/ 6636544 w 8601075"/>
                  <a:gd name="connsiteY230" fmla="*/ 2757487 h 4305300"/>
                  <a:gd name="connsiteX231" fmla="*/ 6705600 w 8601075"/>
                  <a:gd name="connsiteY231" fmla="*/ 2814638 h 4305300"/>
                  <a:gd name="connsiteX232" fmla="*/ 6781800 w 8601075"/>
                  <a:gd name="connsiteY232" fmla="*/ 2838450 h 4305300"/>
                  <a:gd name="connsiteX233" fmla="*/ 6986587 w 8601075"/>
                  <a:gd name="connsiteY233" fmla="*/ 2843213 h 4305300"/>
                  <a:gd name="connsiteX234" fmla="*/ 7162800 w 8601075"/>
                  <a:gd name="connsiteY234" fmla="*/ 2705100 h 4305300"/>
                  <a:gd name="connsiteX235" fmla="*/ 7219950 w 8601075"/>
                  <a:gd name="connsiteY235" fmla="*/ 2614612 h 4305300"/>
                  <a:gd name="connsiteX236" fmla="*/ 7246144 w 8601075"/>
                  <a:gd name="connsiteY236" fmla="*/ 2531269 h 4305300"/>
                  <a:gd name="connsiteX237" fmla="*/ 7377112 w 8601075"/>
                  <a:gd name="connsiteY237" fmla="*/ 2531269 h 4305300"/>
                  <a:gd name="connsiteX238" fmla="*/ 7550944 w 8601075"/>
                  <a:gd name="connsiteY238" fmla="*/ 2474118 h 4305300"/>
                  <a:gd name="connsiteX239" fmla="*/ 7610475 w 8601075"/>
                  <a:gd name="connsiteY239" fmla="*/ 2362200 h 4305300"/>
                  <a:gd name="connsiteX240" fmla="*/ 7674769 w 8601075"/>
                  <a:gd name="connsiteY240" fmla="*/ 2326481 h 4305300"/>
                  <a:gd name="connsiteX241" fmla="*/ 7653338 w 8601075"/>
                  <a:gd name="connsiteY241" fmla="*/ 2281238 h 4305300"/>
                  <a:gd name="connsiteX242" fmla="*/ 7731919 w 8601075"/>
                  <a:gd name="connsiteY242" fmla="*/ 2112168 h 4305300"/>
                  <a:gd name="connsiteX243" fmla="*/ 7786688 w 8601075"/>
                  <a:gd name="connsiteY243" fmla="*/ 2052638 h 4305300"/>
                  <a:gd name="connsiteX244" fmla="*/ 7824788 w 8601075"/>
                  <a:gd name="connsiteY244" fmla="*/ 2047875 h 4305300"/>
                  <a:gd name="connsiteX245" fmla="*/ 7870031 w 8601075"/>
                  <a:gd name="connsiteY245" fmla="*/ 2052638 h 4305300"/>
                  <a:gd name="connsiteX246" fmla="*/ 7934325 w 8601075"/>
                  <a:gd name="connsiteY246" fmla="*/ 2019300 h 4305300"/>
                  <a:gd name="connsiteX247" fmla="*/ 7943850 w 8601075"/>
                  <a:gd name="connsiteY247" fmla="*/ 1955006 h 4305300"/>
                  <a:gd name="connsiteX248" fmla="*/ 7984330 w 8601075"/>
                  <a:gd name="connsiteY248" fmla="*/ 1919288 h 4305300"/>
                  <a:gd name="connsiteX249" fmla="*/ 8043863 w 8601075"/>
                  <a:gd name="connsiteY249" fmla="*/ 1959768 h 4305300"/>
                  <a:gd name="connsiteX250" fmla="*/ 8070057 w 8601075"/>
                  <a:gd name="connsiteY250" fmla="*/ 1909762 h 4305300"/>
                  <a:gd name="connsiteX251" fmla="*/ 8165306 w 8601075"/>
                  <a:gd name="connsiteY251" fmla="*/ 1840706 h 4305300"/>
                  <a:gd name="connsiteX252" fmla="*/ 8227219 w 8601075"/>
                  <a:gd name="connsiteY252" fmla="*/ 1847850 h 4305300"/>
                  <a:gd name="connsiteX253" fmla="*/ 8277225 w 8601075"/>
                  <a:gd name="connsiteY253" fmla="*/ 1828800 h 4305300"/>
                  <a:gd name="connsiteX254" fmla="*/ 8315325 w 8601075"/>
                  <a:gd name="connsiteY254" fmla="*/ 1800225 h 4305300"/>
                  <a:gd name="connsiteX255" fmla="*/ 8348663 w 8601075"/>
                  <a:gd name="connsiteY255" fmla="*/ 1797844 h 4305300"/>
                  <a:gd name="connsiteX256" fmla="*/ 8384381 w 8601075"/>
                  <a:gd name="connsiteY256" fmla="*/ 1828800 h 4305300"/>
                  <a:gd name="connsiteX257" fmla="*/ 8443913 w 8601075"/>
                  <a:gd name="connsiteY257" fmla="*/ 1828800 h 4305300"/>
                  <a:gd name="connsiteX258" fmla="*/ 8482012 w 8601075"/>
                  <a:gd name="connsiteY258" fmla="*/ 1809750 h 4305300"/>
                  <a:gd name="connsiteX259" fmla="*/ 8565356 w 8601075"/>
                  <a:gd name="connsiteY259" fmla="*/ 1812132 h 4305300"/>
                  <a:gd name="connsiteX260" fmla="*/ 8596313 w 8601075"/>
                  <a:gd name="connsiteY260" fmla="*/ 1766888 h 4305300"/>
                  <a:gd name="connsiteX261" fmla="*/ 8601075 w 8601075"/>
                  <a:gd name="connsiteY261" fmla="*/ 1704975 h 4305300"/>
                  <a:gd name="connsiteX262" fmla="*/ 8551068 w 8601075"/>
                  <a:gd name="connsiteY262" fmla="*/ 1664494 h 4305300"/>
                  <a:gd name="connsiteX263" fmla="*/ 8534400 w 8601075"/>
                  <a:gd name="connsiteY263" fmla="*/ 1609725 h 4305300"/>
                  <a:gd name="connsiteX264" fmla="*/ 8443913 w 8601075"/>
                  <a:gd name="connsiteY264" fmla="*/ 1547813 h 4305300"/>
                  <a:gd name="connsiteX265" fmla="*/ 8403431 w 8601075"/>
                  <a:gd name="connsiteY265" fmla="*/ 1526381 h 4305300"/>
                  <a:gd name="connsiteX266" fmla="*/ 8365331 w 8601075"/>
                  <a:gd name="connsiteY266" fmla="*/ 1481138 h 4305300"/>
                  <a:gd name="connsiteX267" fmla="*/ 8334375 w 8601075"/>
                  <a:gd name="connsiteY267" fmla="*/ 1478756 h 4305300"/>
                  <a:gd name="connsiteX268" fmla="*/ 8317706 w 8601075"/>
                  <a:gd name="connsiteY268" fmla="*/ 1426369 h 4305300"/>
                  <a:gd name="connsiteX269" fmla="*/ 8277225 w 8601075"/>
                  <a:gd name="connsiteY269" fmla="*/ 1409700 h 4305300"/>
                  <a:gd name="connsiteX270" fmla="*/ 8277225 w 8601075"/>
                  <a:gd name="connsiteY270" fmla="*/ 1409700 h 4305300"/>
                  <a:gd name="connsiteX271" fmla="*/ 8236744 w 8601075"/>
                  <a:gd name="connsiteY271" fmla="*/ 1414463 h 4305300"/>
                  <a:gd name="connsiteX272" fmla="*/ 8151018 w 8601075"/>
                  <a:gd name="connsiteY272" fmla="*/ 1340644 h 4305300"/>
                  <a:gd name="connsiteX273" fmla="*/ 7970044 w 8601075"/>
                  <a:gd name="connsiteY273" fmla="*/ 1340643 h 4305300"/>
                  <a:gd name="connsiteX274" fmla="*/ 7917656 w 8601075"/>
                  <a:gd name="connsiteY274" fmla="*/ 1378744 h 4305300"/>
                  <a:gd name="connsiteX275" fmla="*/ 7867650 w 8601075"/>
                  <a:gd name="connsiteY275" fmla="*/ 1457325 h 4305300"/>
                  <a:gd name="connsiteX276" fmla="*/ 7884319 w 8601075"/>
                  <a:gd name="connsiteY276" fmla="*/ 1478756 h 4305300"/>
                  <a:gd name="connsiteX277" fmla="*/ 7839075 w 8601075"/>
                  <a:gd name="connsiteY277" fmla="*/ 1528762 h 4305300"/>
                  <a:gd name="connsiteX278" fmla="*/ 7689056 w 8601075"/>
                  <a:gd name="connsiteY278" fmla="*/ 1452562 h 4305300"/>
                  <a:gd name="connsiteX279" fmla="*/ 7598569 w 8601075"/>
                  <a:gd name="connsiteY279" fmla="*/ 1488281 h 4305300"/>
                  <a:gd name="connsiteX280" fmla="*/ 7524750 w 8601075"/>
                  <a:gd name="connsiteY280" fmla="*/ 1485900 h 4305300"/>
                  <a:gd name="connsiteX281" fmla="*/ 7467600 w 8601075"/>
                  <a:gd name="connsiteY281" fmla="*/ 1581150 h 4305300"/>
                  <a:gd name="connsiteX282" fmla="*/ 7329488 w 8601075"/>
                  <a:gd name="connsiteY282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81613 w 8601075"/>
                  <a:gd name="connsiteY34" fmla="*/ 1035844 h 4305300"/>
                  <a:gd name="connsiteX35" fmla="*/ 5248275 w 8601075"/>
                  <a:gd name="connsiteY35" fmla="*/ 981075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81613 w 8601075"/>
                  <a:gd name="connsiteY34" fmla="*/ 1035844 h 4305300"/>
                  <a:gd name="connsiteX35" fmla="*/ 5274468 w 8601075"/>
                  <a:gd name="connsiteY35" fmla="*/ 952500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38750 w 8601075"/>
                  <a:gd name="connsiteY36" fmla="*/ 895350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33975 w 8601075"/>
                  <a:gd name="connsiteY37" fmla="*/ 895350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4991100 w 8601075"/>
                  <a:gd name="connsiteY38" fmla="*/ 838200 h 4305300"/>
                  <a:gd name="connsiteX39" fmla="*/ 4905375 w 8601075"/>
                  <a:gd name="connsiteY39" fmla="*/ 771525 h 4305300"/>
                  <a:gd name="connsiteX40" fmla="*/ 4905375 w 8601075"/>
                  <a:gd name="connsiteY40" fmla="*/ 771525 h 4305300"/>
                  <a:gd name="connsiteX41" fmla="*/ 4781550 w 8601075"/>
                  <a:gd name="connsiteY41" fmla="*/ 762000 h 4305300"/>
                  <a:gd name="connsiteX42" fmla="*/ 4648200 w 8601075"/>
                  <a:gd name="connsiteY42" fmla="*/ 714375 h 4305300"/>
                  <a:gd name="connsiteX43" fmla="*/ 4581525 w 8601075"/>
                  <a:gd name="connsiteY43" fmla="*/ 695325 h 4305300"/>
                  <a:gd name="connsiteX44" fmla="*/ 4495800 w 8601075"/>
                  <a:gd name="connsiteY44" fmla="*/ 742950 h 4305300"/>
                  <a:gd name="connsiteX45" fmla="*/ 4343400 w 8601075"/>
                  <a:gd name="connsiteY45" fmla="*/ 781050 h 4305300"/>
                  <a:gd name="connsiteX46" fmla="*/ 4252913 w 8601075"/>
                  <a:gd name="connsiteY46" fmla="*/ 862013 h 4305300"/>
                  <a:gd name="connsiteX47" fmla="*/ 4205287 w 8601075"/>
                  <a:gd name="connsiteY47" fmla="*/ 823913 h 4305300"/>
                  <a:gd name="connsiteX48" fmla="*/ 4183856 w 8601075"/>
                  <a:gd name="connsiteY48" fmla="*/ 854868 h 4305300"/>
                  <a:gd name="connsiteX49" fmla="*/ 4110038 w 8601075"/>
                  <a:gd name="connsiteY49" fmla="*/ 804863 h 4305300"/>
                  <a:gd name="connsiteX50" fmla="*/ 4071938 w 8601075"/>
                  <a:gd name="connsiteY50" fmla="*/ 812006 h 4305300"/>
                  <a:gd name="connsiteX51" fmla="*/ 4050506 w 8601075"/>
                  <a:gd name="connsiteY51" fmla="*/ 773906 h 4305300"/>
                  <a:gd name="connsiteX52" fmla="*/ 3990975 w 8601075"/>
                  <a:gd name="connsiteY52" fmla="*/ 778669 h 4305300"/>
                  <a:gd name="connsiteX53" fmla="*/ 3945731 w 8601075"/>
                  <a:gd name="connsiteY53" fmla="*/ 750094 h 4305300"/>
                  <a:gd name="connsiteX54" fmla="*/ 3907631 w 8601075"/>
                  <a:gd name="connsiteY54" fmla="*/ 747713 h 4305300"/>
                  <a:gd name="connsiteX55" fmla="*/ 3888581 w 8601075"/>
                  <a:gd name="connsiteY55" fmla="*/ 700087 h 4305300"/>
                  <a:gd name="connsiteX56" fmla="*/ 3874294 w 8601075"/>
                  <a:gd name="connsiteY56" fmla="*/ 669131 h 4305300"/>
                  <a:gd name="connsiteX57" fmla="*/ 3829050 w 8601075"/>
                  <a:gd name="connsiteY57" fmla="*/ 678656 h 4305300"/>
                  <a:gd name="connsiteX58" fmla="*/ 3810000 w 8601075"/>
                  <a:gd name="connsiteY58" fmla="*/ 642938 h 4305300"/>
                  <a:gd name="connsiteX59" fmla="*/ 3831432 w 8601075"/>
                  <a:gd name="connsiteY59" fmla="*/ 588169 h 4305300"/>
                  <a:gd name="connsiteX60" fmla="*/ 3800475 w 8601075"/>
                  <a:gd name="connsiteY60" fmla="*/ 561975 h 4305300"/>
                  <a:gd name="connsiteX61" fmla="*/ 3817144 w 8601075"/>
                  <a:gd name="connsiteY61" fmla="*/ 519113 h 4305300"/>
                  <a:gd name="connsiteX62" fmla="*/ 3790950 w 8601075"/>
                  <a:gd name="connsiteY62" fmla="*/ 476250 h 4305300"/>
                  <a:gd name="connsiteX63" fmla="*/ 3786188 w 8601075"/>
                  <a:gd name="connsiteY63" fmla="*/ 414338 h 4305300"/>
                  <a:gd name="connsiteX64" fmla="*/ 3810000 w 8601075"/>
                  <a:gd name="connsiteY64" fmla="*/ 350043 h 4305300"/>
                  <a:gd name="connsiteX65" fmla="*/ 3771900 w 8601075"/>
                  <a:gd name="connsiteY65" fmla="*/ 352425 h 4305300"/>
                  <a:gd name="connsiteX66" fmla="*/ 3652838 w 8601075"/>
                  <a:gd name="connsiteY66" fmla="*/ 295275 h 4305300"/>
                  <a:gd name="connsiteX67" fmla="*/ 3614737 w 8601075"/>
                  <a:gd name="connsiteY67" fmla="*/ 300037 h 4305300"/>
                  <a:gd name="connsiteX68" fmla="*/ 3409950 w 8601075"/>
                  <a:gd name="connsiteY68" fmla="*/ 190500 h 4305300"/>
                  <a:gd name="connsiteX69" fmla="*/ 3305175 w 8601075"/>
                  <a:gd name="connsiteY69" fmla="*/ 159544 h 4305300"/>
                  <a:gd name="connsiteX70" fmla="*/ 3240881 w 8601075"/>
                  <a:gd name="connsiteY70" fmla="*/ 169068 h 4305300"/>
                  <a:gd name="connsiteX71" fmla="*/ 3209925 w 8601075"/>
                  <a:gd name="connsiteY71" fmla="*/ 104775 h 4305300"/>
                  <a:gd name="connsiteX72" fmla="*/ 3152775 w 8601075"/>
                  <a:gd name="connsiteY72" fmla="*/ 104775 h 4305300"/>
                  <a:gd name="connsiteX73" fmla="*/ 3014662 w 8601075"/>
                  <a:gd name="connsiteY73" fmla="*/ 0 h 4305300"/>
                  <a:gd name="connsiteX74" fmla="*/ 2981325 w 8601075"/>
                  <a:gd name="connsiteY74" fmla="*/ 59532 h 4305300"/>
                  <a:gd name="connsiteX75" fmla="*/ 2926556 w 8601075"/>
                  <a:gd name="connsiteY75" fmla="*/ 128588 h 4305300"/>
                  <a:gd name="connsiteX76" fmla="*/ 2883694 w 8601075"/>
                  <a:gd name="connsiteY76" fmla="*/ 145256 h 4305300"/>
                  <a:gd name="connsiteX77" fmla="*/ 2852738 w 8601075"/>
                  <a:gd name="connsiteY77" fmla="*/ 138113 h 4305300"/>
                  <a:gd name="connsiteX78" fmla="*/ 2828925 w 8601075"/>
                  <a:gd name="connsiteY78" fmla="*/ 166688 h 4305300"/>
                  <a:gd name="connsiteX79" fmla="*/ 2802731 w 8601075"/>
                  <a:gd name="connsiteY79" fmla="*/ 245269 h 4305300"/>
                  <a:gd name="connsiteX80" fmla="*/ 2759869 w 8601075"/>
                  <a:gd name="connsiteY80" fmla="*/ 242888 h 4305300"/>
                  <a:gd name="connsiteX81" fmla="*/ 2728912 w 8601075"/>
                  <a:gd name="connsiteY81" fmla="*/ 304800 h 4305300"/>
                  <a:gd name="connsiteX82" fmla="*/ 2724150 w 8601075"/>
                  <a:gd name="connsiteY82" fmla="*/ 369094 h 4305300"/>
                  <a:gd name="connsiteX83" fmla="*/ 2697957 w 8601075"/>
                  <a:gd name="connsiteY83" fmla="*/ 407194 h 4305300"/>
                  <a:gd name="connsiteX84" fmla="*/ 2724150 w 8601075"/>
                  <a:gd name="connsiteY84" fmla="*/ 466725 h 4305300"/>
                  <a:gd name="connsiteX85" fmla="*/ 2726531 w 8601075"/>
                  <a:gd name="connsiteY85" fmla="*/ 535781 h 4305300"/>
                  <a:gd name="connsiteX86" fmla="*/ 2755106 w 8601075"/>
                  <a:gd name="connsiteY86" fmla="*/ 588169 h 4305300"/>
                  <a:gd name="connsiteX87" fmla="*/ 2802732 w 8601075"/>
                  <a:gd name="connsiteY87" fmla="*/ 642938 h 4305300"/>
                  <a:gd name="connsiteX88" fmla="*/ 2752725 w 8601075"/>
                  <a:gd name="connsiteY88" fmla="*/ 781050 h 4305300"/>
                  <a:gd name="connsiteX89" fmla="*/ 2683669 w 8601075"/>
                  <a:gd name="connsiteY89" fmla="*/ 847725 h 4305300"/>
                  <a:gd name="connsiteX90" fmla="*/ 2612231 w 8601075"/>
                  <a:gd name="connsiteY90" fmla="*/ 842963 h 4305300"/>
                  <a:gd name="connsiteX91" fmla="*/ 2574131 w 8601075"/>
                  <a:gd name="connsiteY91" fmla="*/ 900113 h 4305300"/>
                  <a:gd name="connsiteX92" fmla="*/ 2514600 w 8601075"/>
                  <a:gd name="connsiteY92" fmla="*/ 914400 h 4305300"/>
                  <a:gd name="connsiteX93" fmla="*/ 2445544 w 8601075"/>
                  <a:gd name="connsiteY93" fmla="*/ 854869 h 4305300"/>
                  <a:gd name="connsiteX94" fmla="*/ 2390775 w 8601075"/>
                  <a:gd name="connsiteY94" fmla="*/ 826294 h 4305300"/>
                  <a:gd name="connsiteX95" fmla="*/ 2347913 w 8601075"/>
                  <a:gd name="connsiteY95" fmla="*/ 840581 h 4305300"/>
                  <a:gd name="connsiteX96" fmla="*/ 2295525 w 8601075"/>
                  <a:gd name="connsiteY96" fmla="*/ 823913 h 4305300"/>
                  <a:gd name="connsiteX97" fmla="*/ 2228850 w 8601075"/>
                  <a:gd name="connsiteY97" fmla="*/ 769144 h 4305300"/>
                  <a:gd name="connsiteX98" fmla="*/ 2183606 w 8601075"/>
                  <a:gd name="connsiteY98" fmla="*/ 781050 h 4305300"/>
                  <a:gd name="connsiteX99" fmla="*/ 2162175 w 8601075"/>
                  <a:gd name="connsiteY99" fmla="*/ 750094 h 4305300"/>
                  <a:gd name="connsiteX100" fmla="*/ 2105025 w 8601075"/>
                  <a:gd name="connsiteY100" fmla="*/ 790575 h 4305300"/>
                  <a:gd name="connsiteX101" fmla="*/ 1988344 w 8601075"/>
                  <a:gd name="connsiteY101" fmla="*/ 769144 h 4305300"/>
                  <a:gd name="connsiteX102" fmla="*/ 1938338 w 8601075"/>
                  <a:gd name="connsiteY102" fmla="*/ 716756 h 4305300"/>
                  <a:gd name="connsiteX103" fmla="*/ 1895475 w 8601075"/>
                  <a:gd name="connsiteY103" fmla="*/ 702469 h 4305300"/>
                  <a:gd name="connsiteX104" fmla="*/ 1852613 w 8601075"/>
                  <a:gd name="connsiteY104" fmla="*/ 728663 h 4305300"/>
                  <a:gd name="connsiteX105" fmla="*/ 1800225 w 8601075"/>
                  <a:gd name="connsiteY105" fmla="*/ 638175 h 4305300"/>
                  <a:gd name="connsiteX106" fmla="*/ 1790700 w 8601075"/>
                  <a:gd name="connsiteY106" fmla="*/ 490537 h 4305300"/>
                  <a:gd name="connsiteX107" fmla="*/ 1738312 w 8601075"/>
                  <a:gd name="connsiteY107" fmla="*/ 483393 h 4305300"/>
                  <a:gd name="connsiteX108" fmla="*/ 1647825 w 8601075"/>
                  <a:gd name="connsiteY108" fmla="*/ 473869 h 4305300"/>
                  <a:gd name="connsiteX109" fmla="*/ 1593056 w 8601075"/>
                  <a:gd name="connsiteY109" fmla="*/ 435769 h 4305300"/>
                  <a:gd name="connsiteX110" fmla="*/ 1524000 w 8601075"/>
                  <a:gd name="connsiteY110" fmla="*/ 445294 h 4305300"/>
                  <a:gd name="connsiteX111" fmla="*/ 1478756 w 8601075"/>
                  <a:gd name="connsiteY111" fmla="*/ 419100 h 4305300"/>
                  <a:gd name="connsiteX112" fmla="*/ 1469232 w 8601075"/>
                  <a:gd name="connsiteY112" fmla="*/ 347663 h 4305300"/>
                  <a:gd name="connsiteX113" fmla="*/ 1445419 w 8601075"/>
                  <a:gd name="connsiteY113" fmla="*/ 333375 h 4305300"/>
                  <a:gd name="connsiteX114" fmla="*/ 1407319 w 8601075"/>
                  <a:gd name="connsiteY114" fmla="*/ 380999 h 4305300"/>
                  <a:gd name="connsiteX115" fmla="*/ 1328737 w 8601075"/>
                  <a:gd name="connsiteY115" fmla="*/ 307181 h 4305300"/>
                  <a:gd name="connsiteX116" fmla="*/ 1288256 w 8601075"/>
                  <a:gd name="connsiteY116" fmla="*/ 347663 h 4305300"/>
                  <a:gd name="connsiteX117" fmla="*/ 1212056 w 8601075"/>
                  <a:gd name="connsiteY117" fmla="*/ 333375 h 4305300"/>
                  <a:gd name="connsiteX118" fmla="*/ 1133475 w 8601075"/>
                  <a:gd name="connsiteY118" fmla="*/ 359569 h 4305300"/>
                  <a:gd name="connsiteX119" fmla="*/ 1073944 w 8601075"/>
                  <a:gd name="connsiteY119" fmla="*/ 407193 h 4305300"/>
                  <a:gd name="connsiteX120" fmla="*/ 1000125 w 8601075"/>
                  <a:gd name="connsiteY120" fmla="*/ 419100 h 4305300"/>
                  <a:gd name="connsiteX121" fmla="*/ 964406 w 8601075"/>
                  <a:gd name="connsiteY121" fmla="*/ 411956 h 4305300"/>
                  <a:gd name="connsiteX122" fmla="*/ 885826 w 8601075"/>
                  <a:gd name="connsiteY122" fmla="*/ 442913 h 4305300"/>
                  <a:gd name="connsiteX123" fmla="*/ 864394 w 8601075"/>
                  <a:gd name="connsiteY123" fmla="*/ 471488 h 4305300"/>
                  <a:gd name="connsiteX124" fmla="*/ 797719 w 8601075"/>
                  <a:gd name="connsiteY124" fmla="*/ 461963 h 4305300"/>
                  <a:gd name="connsiteX125" fmla="*/ 728663 w 8601075"/>
                  <a:gd name="connsiteY125" fmla="*/ 485775 h 4305300"/>
                  <a:gd name="connsiteX126" fmla="*/ 673894 w 8601075"/>
                  <a:gd name="connsiteY126" fmla="*/ 523875 h 4305300"/>
                  <a:gd name="connsiteX127" fmla="*/ 578644 w 8601075"/>
                  <a:gd name="connsiteY127" fmla="*/ 538162 h 4305300"/>
                  <a:gd name="connsiteX128" fmla="*/ 564356 w 8601075"/>
                  <a:gd name="connsiteY128" fmla="*/ 559594 h 4305300"/>
                  <a:gd name="connsiteX129" fmla="*/ 576262 w 8601075"/>
                  <a:gd name="connsiteY129" fmla="*/ 604838 h 4305300"/>
                  <a:gd name="connsiteX130" fmla="*/ 476251 w 8601075"/>
                  <a:gd name="connsiteY130" fmla="*/ 657225 h 4305300"/>
                  <a:gd name="connsiteX131" fmla="*/ 438150 w 8601075"/>
                  <a:gd name="connsiteY131" fmla="*/ 628649 h 4305300"/>
                  <a:gd name="connsiteX132" fmla="*/ 407194 w 8601075"/>
                  <a:gd name="connsiteY132" fmla="*/ 685800 h 4305300"/>
                  <a:gd name="connsiteX133" fmla="*/ 350044 w 8601075"/>
                  <a:gd name="connsiteY133" fmla="*/ 647700 h 4305300"/>
                  <a:gd name="connsiteX134" fmla="*/ 314325 w 8601075"/>
                  <a:gd name="connsiteY134" fmla="*/ 676275 h 4305300"/>
                  <a:gd name="connsiteX135" fmla="*/ 278606 w 8601075"/>
                  <a:gd name="connsiteY135" fmla="*/ 640556 h 4305300"/>
                  <a:gd name="connsiteX136" fmla="*/ 226219 w 8601075"/>
                  <a:gd name="connsiteY136" fmla="*/ 652463 h 4305300"/>
                  <a:gd name="connsiteX137" fmla="*/ 180975 w 8601075"/>
                  <a:gd name="connsiteY137" fmla="*/ 623888 h 4305300"/>
                  <a:gd name="connsiteX138" fmla="*/ 157163 w 8601075"/>
                  <a:gd name="connsiteY138" fmla="*/ 642938 h 4305300"/>
                  <a:gd name="connsiteX139" fmla="*/ 133350 w 8601075"/>
                  <a:gd name="connsiteY139" fmla="*/ 702469 h 4305300"/>
                  <a:gd name="connsiteX140" fmla="*/ 61913 w 8601075"/>
                  <a:gd name="connsiteY140" fmla="*/ 740568 h 4305300"/>
                  <a:gd name="connsiteX141" fmla="*/ 28575 w 8601075"/>
                  <a:gd name="connsiteY141" fmla="*/ 769144 h 4305300"/>
                  <a:gd name="connsiteX142" fmla="*/ 33338 w 8601075"/>
                  <a:gd name="connsiteY142" fmla="*/ 812006 h 4305300"/>
                  <a:gd name="connsiteX143" fmla="*/ 0 w 8601075"/>
                  <a:gd name="connsiteY143" fmla="*/ 816769 h 4305300"/>
                  <a:gd name="connsiteX144" fmla="*/ 4763 w 8601075"/>
                  <a:gd name="connsiteY144" fmla="*/ 840581 h 4305300"/>
                  <a:gd name="connsiteX145" fmla="*/ 61912 w 8601075"/>
                  <a:gd name="connsiteY145" fmla="*/ 914400 h 4305300"/>
                  <a:gd name="connsiteX146" fmla="*/ 23813 w 8601075"/>
                  <a:gd name="connsiteY146" fmla="*/ 962025 h 4305300"/>
                  <a:gd name="connsiteX147" fmla="*/ 78581 w 8601075"/>
                  <a:gd name="connsiteY147" fmla="*/ 997744 h 4305300"/>
                  <a:gd name="connsiteX148" fmla="*/ 169069 w 8601075"/>
                  <a:gd name="connsiteY148" fmla="*/ 1085850 h 4305300"/>
                  <a:gd name="connsiteX149" fmla="*/ 171450 w 8601075"/>
                  <a:gd name="connsiteY149" fmla="*/ 1145381 h 4305300"/>
                  <a:gd name="connsiteX150" fmla="*/ 307181 w 8601075"/>
                  <a:gd name="connsiteY150" fmla="*/ 1278732 h 4305300"/>
                  <a:gd name="connsiteX151" fmla="*/ 361950 w 8601075"/>
                  <a:gd name="connsiteY151" fmla="*/ 1254919 h 4305300"/>
                  <a:gd name="connsiteX152" fmla="*/ 400050 w 8601075"/>
                  <a:gd name="connsiteY152" fmla="*/ 1281112 h 4305300"/>
                  <a:gd name="connsiteX153" fmla="*/ 414338 w 8601075"/>
                  <a:gd name="connsiteY153" fmla="*/ 1331118 h 4305300"/>
                  <a:gd name="connsiteX154" fmla="*/ 457200 w 8601075"/>
                  <a:gd name="connsiteY154" fmla="*/ 1366838 h 4305300"/>
                  <a:gd name="connsiteX155" fmla="*/ 497681 w 8601075"/>
                  <a:gd name="connsiteY155" fmla="*/ 1354931 h 4305300"/>
                  <a:gd name="connsiteX156" fmla="*/ 516731 w 8601075"/>
                  <a:gd name="connsiteY156" fmla="*/ 1412081 h 4305300"/>
                  <a:gd name="connsiteX157" fmla="*/ 564356 w 8601075"/>
                  <a:gd name="connsiteY157" fmla="*/ 1454944 h 4305300"/>
                  <a:gd name="connsiteX158" fmla="*/ 588169 w 8601075"/>
                  <a:gd name="connsiteY158" fmla="*/ 1557338 h 4305300"/>
                  <a:gd name="connsiteX159" fmla="*/ 585788 w 8601075"/>
                  <a:gd name="connsiteY159" fmla="*/ 1604963 h 4305300"/>
                  <a:gd name="connsiteX160" fmla="*/ 621506 w 8601075"/>
                  <a:gd name="connsiteY160" fmla="*/ 1704975 h 4305300"/>
                  <a:gd name="connsiteX161" fmla="*/ 666750 w 8601075"/>
                  <a:gd name="connsiteY161" fmla="*/ 1762125 h 4305300"/>
                  <a:gd name="connsiteX162" fmla="*/ 683418 w 8601075"/>
                  <a:gd name="connsiteY162" fmla="*/ 1919287 h 4305300"/>
                  <a:gd name="connsiteX163" fmla="*/ 650081 w 8601075"/>
                  <a:gd name="connsiteY163" fmla="*/ 1981200 h 4305300"/>
                  <a:gd name="connsiteX164" fmla="*/ 619125 w 8601075"/>
                  <a:gd name="connsiteY164" fmla="*/ 2057400 h 4305300"/>
                  <a:gd name="connsiteX165" fmla="*/ 633413 w 8601075"/>
                  <a:gd name="connsiteY165" fmla="*/ 2114550 h 4305300"/>
                  <a:gd name="connsiteX166" fmla="*/ 535781 w 8601075"/>
                  <a:gd name="connsiteY166" fmla="*/ 2221707 h 4305300"/>
                  <a:gd name="connsiteX167" fmla="*/ 492919 w 8601075"/>
                  <a:gd name="connsiteY167" fmla="*/ 2336006 h 4305300"/>
                  <a:gd name="connsiteX168" fmla="*/ 526256 w 8601075"/>
                  <a:gd name="connsiteY168" fmla="*/ 2376488 h 4305300"/>
                  <a:gd name="connsiteX169" fmla="*/ 509588 w 8601075"/>
                  <a:gd name="connsiteY169" fmla="*/ 2405063 h 4305300"/>
                  <a:gd name="connsiteX170" fmla="*/ 540544 w 8601075"/>
                  <a:gd name="connsiteY170" fmla="*/ 2462213 h 4305300"/>
                  <a:gd name="connsiteX171" fmla="*/ 569119 w 8601075"/>
                  <a:gd name="connsiteY171" fmla="*/ 2462213 h 4305300"/>
                  <a:gd name="connsiteX172" fmla="*/ 731044 w 8601075"/>
                  <a:gd name="connsiteY172" fmla="*/ 2564606 h 4305300"/>
                  <a:gd name="connsiteX173" fmla="*/ 835819 w 8601075"/>
                  <a:gd name="connsiteY173" fmla="*/ 2562225 h 4305300"/>
                  <a:gd name="connsiteX174" fmla="*/ 914400 w 8601075"/>
                  <a:gd name="connsiteY174" fmla="*/ 2616994 h 4305300"/>
                  <a:gd name="connsiteX175" fmla="*/ 1045368 w 8601075"/>
                  <a:gd name="connsiteY175" fmla="*/ 2619375 h 4305300"/>
                  <a:gd name="connsiteX176" fmla="*/ 1235868 w 8601075"/>
                  <a:gd name="connsiteY176" fmla="*/ 2688431 h 4305300"/>
                  <a:gd name="connsiteX177" fmla="*/ 1438275 w 8601075"/>
                  <a:gd name="connsiteY177" fmla="*/ 2838450 h 4305300"/>
                  <a:gd name="connsiteX178" fmla="*/ 1471612 w 8601075"/>
                  <a:gd name="connsiteY178" fmla="*/ 2905125 h 4305300"/>
                  <a:gd name="connsiteX179" fmla="*/ 1638300 w 8601075"/>
                  <a:gd name="connsiteY179" fmla="*/ 3031331 h 4305300"/>
                  <a:gd name="connsiteX180" fmla="*/ 1709738 w 8601075"/>
                  <a:gd name="connsiteY180" fmla="*/ 3026569 h 4305300"/>
                  <a:gd name="connsiteX181" fmla="*/ 1745457 w 8601075"/>
                  <a:gd name="connsiteY181" fmla="*/ 3050381 h 4305300"/>
                  <a:gd name="connsiteX182" fmla="*/ 1716881 w 8601075"/>
                  <a:gd name="connsiteY182" fmla="*/ 3090863 h 4305300"/>
                  <a:gd name="connsiteX183" fmla="*/ 1724025 w 8601075"/>
                  <a:gd name="connsiteY183" fmla="*/ 3143250 h 4305300"/>
                  <a:gd name="connsiteX184" fmla="*/ 1776413 w 8601075"/>
                  <a:gd name="connsiteY184" fmla="*/ 3169444 h 4305300"/>
                  <a:gd name="connsiteX185" fmla="*/ 1838325 w 8601075"/>
                  <a:gd name="connsiteY185" fmla="*/ 3393282 h 4305300"/>
                  <a:gd name="connsiteX186" fmla="*/ 1828800 w 8601075"/>
                  <a:gd name="connsiteY186" fmla="*/ 3457575 h 4305300"/>
                  <a:gd name="connsiteX187" fmla="*/ 1964531 w 8601075"/>
                  <a:gd name="connsiteY187" fmla="*/ 3624263 h 4305300"/>
                  <a:gd name="connsiteX188" fmla="*/ 1983581 w 8601075"/>
                  <a:gd name="connsiteY188" fmla="*/ 3674269 h 4305300"/>
                  <a:gd name="connsiteX189" fmla="*/ 1957388 w 8601075"/>
                  <a:gd name="connsiteY189" fmla="*/ 3693319 h 4305300"/>
                  <a:gd name="connsiteX190" fmla="*/ 2059781 w 8601075"/>
                  <a:gd name="connsiteY190" fmla="*/ 3702844 h 4305300"/>
                  <a:gd name="connsiteX191" fmla="*/ 2171700 w 8601075"/>
                  <a:gd name="connsiteY191" fmla="*/ 3690938 h 4305300"/>
                  <a:gd name="connsiteX192" fmla="*/ 2450306 w 8601075"/>
                  <a:gd name="connsiteY192" fmla="*/ 3774281 h 4305300"/>
                  <a:gd name="connsiteX193" fmla="*/ 2857500 w 8601075"/>
                  <a:gd name="connsiteY193" fmla="*/ 3855244 h 4305300"/>
                  <a:gd name="connsiteX194" fmla="*/ 3055144 w 8601075"/>
                  <a:gd name="connsiteY194" fmla="*/ 3824287 h 4305300"/>
                  <a:gd name="connsiteX195" fmla="*/ 3100388 w 8601075"/>
                  <a:gd name="connsiteY195" fmla="*/ 3836193 h 4305300"/>
                  <a:gd name="connsiteX196" fmla="*/ 3155156 w 8601075"/>
                  <a:gd name="connsiteY196" fmla="*/ 3812382 h 4305300"/>
                  <a:gd name="connsiteX197" fmla="*/ 3548062 w 8601075"/>
                  <a:gd name="connsiteY197" fmla="*/ 3902869 h 4305300"/>
                  <a:gd name="connsiteX198" fmla="*/ 3631407 w 8601075"/>
                  <a:gd name="connsiteY198" fmla="*/ 4000500 h 4305300"/>
                  <a:gd name="connsiteX199" fmla="*/ 3750469 w 8601075"/>
                  <a:gd name="connsiteY199" fmla="*/ 4071938 h 4305300"/>
                  <a:gd name="connsiteX200" fmla="*/ 3810000 w 8601075"/>
                  <a:gd name="connsiteY200" fmla="*/ 4055269 h 4305300"/>
                  <a:gd name="connsiteX201" fmla="*/ 4160043 w 8601075"/>
                  <a:gd name="connsiteY201" fmla="*/ 4229100 h 4305300"/>
                  <a:gd name="connsiteX202" fmla="*/ 4386263 w 8601075"/>
                  <a:gd name="connsiteY202" fmla="*/ 4200525 h 4305300"/>
                  <a:gd name="connsiteX203" fmla="*/ 4395788 w 8601075"/>
                  <a:gd name="connsiteY203" fmla="*/ 4279106 h 4305300"/>
                  <a:gd name="connsiteX204" fmla="*/ 4481513 w 8601075"/>
                  <a:gd name="connsiteY204" fmla="*/ 4274343 h 4305300"/>
                  <a:gd name="connsiteX205" fmla="*/ 4560094 w 8601075"/>
                  <a:gd name="connsiteY205" fmla="*/ 4305300 h 4305300"/>
                  <a:gd name="connsiteX206" fmla="*/ 4602956 w 8601075"/>
                  <a:gd name="connsiteY206" fmla="*/ 4245769 h 4305300"/>
                  <a:gd name="connsiteX207" fmla="*/ 5274469 w 8601075"/>
                  <a:gd name="connsiteY207" fmla="*/ 3926681 h 4305300"/>
                  <a:gd name="connsiteX208" fmla="*/ 5362575 w 8601075"/>
                  <a:gd name="connsiteY208" fmla="*/ 3955257 h 4305300"/>
                  <a:gd name="connsiteX209" fmla="*/ 5493544 w 8601075"/>
                  <a:gd name="connsiteY209" fmla="*/ 3926681 h 4305300"/>
                  <a:gd name="connsiteX210" fmla="*/ 5672137 w 8601075"/>
                  <a:gd name="connsiteY210" fmla="*/ 3943350 h 4305300"/>
                  <a:gd name="connsiteX211" fmla="*/ 5729288 w 8601075"/>
                  <a:gd name="connsiteY211" fmla="*/ 3917157 h 4305300"/>
                  <a:gd name="connsiteX212" fmla="*/ 5862637 w 8601075"/>
                  <a:gd name="connsiteY212" fmla="*/ 3914775 h 4305300"/>
                  <a:gd name="connsiteX213" fmla="*/ 5995987 w 8601075"/>
                  <a:gd name="connsiteY213" fmla="*/ 3817144 h 4305300"/>
                  <a:gd name="connsiteX214" fmla="*/ 6062662 w 8601075"/>
                  <a:gd name="connsiteY214" fmla="*/ 3810000 h 4305300"/>
                  <a:gd name="connsiteX215" fmla="*/ 6160294 w 8601075"/>
                  <a:gd name="connsiteY215" fmla="*/ 3736181 h 4305300"/>
                  <a:gd name="connsiteX216" fmla="*/ 6234113 w 8601075"/>
                  <a:gd name="connsiteY216" fmla="*/ 3667125 h 4305300"/>
                  <a:gd name="connsiteX217" fmla="*/ 6243638 w 8601075"/>
                  <a:gd name="connsiteY217" fmla="*/ 3605213 h 4305300"/>
                  <a:gd name="connsiteX218" fmla="*/ 6276975 w 8601075"/>
                  <a:gd name="connsiteY218" fmla="*/ 3536156 h 4305300"/>
                  <a:gd name="connsiteX219" fmla="*/ 6429375 w 8601075"/>
                  <a:gd name="connsiteY219" fmla="*/ 3429000 h 4305300"/>
                  <a:gd name="connsiteX220" fmla="*/ 6462713 w 8601075"/>
                  <a:gd name="connsiteY220" fmla="*/ 3433763 h 4305300"/>
                  <a:gd name="connsiteX221" fmla="*/ 6515100 w 8601075"/>
                  <a:gd name="connsiteY221" fmla="*/ 3355181 h 4305300"/>
                  <a:gd name="connsiteX222" fmla="*/ 6562725 w 8601075"/>
                  <a:gd name="connsiteY222" fmla="*/ 3317081 h 4305300"/>
                  <a:gd name="connsiteX223" fmla="*/ 6548438 w 8601075"/>
                  <a:gd name="connsiteY223" fmla="*/ 3248025 h 4305300"/>
                  <a:gd name="connsiteX224" fmla="*/ 6498431 w 8601075"/>
                  <a:gd name="connsiteY224" fmla="*/ 3217068 h 4305300"/>
                  <a:gd name="connsiteX225" fmla="*/ 6438900 w 8601075"/>
                  <a:gd name="connsiteY225" fmla="*/ 3162300 h 4305300"/>
                  <a:gd name="connsiteX226" fmla="*/ 6419850 w 8601075"/>
                  <a:gd name="connsiteY226" fmla="*/ 3105150 h 4305300"/>
                  <a:gd name="connsiteX227" fmla="*/ 6384131 w 8601075"/>
                  <a:gd name="connsiteY227" fmla="*/ 3071813 h 4305300"/>
                  <a:gd name="connsiteX228" fmla="*/ 6410325 w 8601075"/>
                  <a:gd name="connsiteY228" fmla="*/ 3019425 h 4305300"/>
                  <a:gd name="connsiteX229" fmla="*/ 6450806 w 8601075"/>
                  <a:gd name="connsiteY229" fmla="*/ 2840831 h 4305300"/>
                  <a:gd name="connsiteX230" fmla="*/ 6491288 w 8601075"/>
                  <a:gd name="connsiteY230" fmla="*/ 2774156 h 4305300"/>
                  <a:gd name="connsiteX231" fmla="*/ 6636544 w 8601075"/>
                  <a:gd name="connsiteY231" fmla="*/ 2757487 h 4305300"/>
                  <a:gd name="connsiteX232" fmla="*/ 6705600 w 8601075"/>
                  <a:gd name="connsiteY232" fmla="*/ 2814638 h 4305300"/>
                  <a:gd name="connsiteX233" fmla="*/ 6781800 w 8601075"/>
                  <a:gd name="connsiteY233" fmla="*/ 2838450 h 4305300"/>
                  <a:gd name="connsiteX234" fmla="*/ 6986587 w 8601075"/>
                  <a:gd name="connsiteY234" fmla="*/ 2843213 h 4305300"/>
                  <a:gd name="connsiteX235" fmla="*/ 7162800 w 8601075"/>
                  <a:gd name="connsiteY235" fmla="*/ 2705100 h 4305300"/>
                  <a:gd name="connsiteX236" fmla="*/ 7219950 w 8601075"/>
                  <a:gd name="connsiteY236" fmla="*/ 2614612 h 4305300"/>
                  <a:gd name="connsiteX237" fmla="*/ 7246144 w 8601075"/>
                  <a:gd name="connsiteY237" fmla="*/ 2531269 h 4305300"/>
                  <a:gd name="connsiteX238" fmla="*/ 7377112 w 8601075"/>
                  <a:gd name="connsiteY238" fmla="*/ 2531269 h 4305300"/>
                  <a:gd name="connsiteX239" fmla="*/ 7550944 w 8601075"/>
                  <a:gd name="connsiteY239" fmla="*/ 2474118 h 4305300"/>
                  <a:gd name="connsiteX240" fmla="*/ 7610475 w 8601075"/>
                  <a:gd name="connsiteY240" fmla="*/ 2362200 h 4305300"/>
                  <a:gd name="connsiteX241" fmla="*/ 7674769 w 8601075"/>
                  <a:gd name="connsiteY241" fmla="*/ 2326481 h 4305300"/>
                  <a:gd name="connsiteX242" fmla="*/ 7653338 w 8601075"/>
                  <a:gd name="connsiteY242" fmla="*/ 2281238 h 4305300"/>
                  <a:gd name="connsiteX243" fmla="*/ 7731919 w 8601075"/>
                  <a:gd name="connsiteY243" fmla="*/ 2112168 h 4305300"/>
                  <a:gd name="connsiteX244" fmla="*/ 7786688 w 8601075"/>
                  <a:gd name="connsiteY244" fmla="*/ 2052638 h 4305300"/>
                  <a:gd name="connsiteX245" fmla="*/ 7824788 w 8601075"/>
                  <a:gd name="connsiteY245" fmla="*/ 2047875 h 4305300"/>
                  <a:gd name="connsiteX246" fmla="*/ 7870031 w 8601075"/>
                  <a:gd name="connsiteY246" fmla="*/ 2052638 h 4305300"/>
                  <a:gd name="connsiteX247" fmla="*/ 7934325 w 8601075"/>
                  <a:gd name="connsiteY247" fmla="*/ 2019300 h 4305300"/>
                  <a:gd name="connsiteX248" fmla="*/ 7943850 w 8601075"/>
                  <a:gd name="connsiteY248" fmla="*/ 1955006 h 4305300"/>
                  <a:gd name="connsiteX249" fmla="*/ 7984330 w 8601075"/>
                  <a:gd name="connsiteY249" fmla="*/ 1919288 h 4305300"/>
                  <a:gd name="connsiteX250" fmla="*/ 8043863 w 8601075"/>
                  <a:gd name="connsiteY250" fmla="*/ 1959768 h 4305300"/>
                  <a:gd name="connsiteX251" fmla="*/ 8070057 w 8601075"/>
                  <a:gd name="connsiteY251" fmla="*/ 1909762 h 4305300"/>
                  <a:gd name="connsiteX252" fmla="*/ 8165306 w 8601075"/>
                  <a:gd name="connsiteY252" fmla="*/ 1840706 h 4305300"/>
                  <a:gd name="connsiteX253" fmla="*/ 8227219 w 8601075"/>
                  <a:gd name="connsiteY253" fmla="*/ 1847850 h 4305300"/>
                  <a:gd name="connsiteX254" fmla="*/ 8277225 w 8601075"/>
                  <a:gd name="connsiteY254" fmla="*/ 1828800 h 4305300"/>
                  <a:gd name="connsiteX255" fmla="*/ 8315325 w 8601075"/>
                  <a:gd name="connsiteY255" fmla="*/ 1800225 h 4305300"/>
                  <a:gd name="connsiteX256" fmla="*/ 8348663 w 8601075"/>
                  <a:gd name="connsiteY256" fmla="*/ 1797844 h 4305300"/>
                  <a:gd name="connsiteX257" fmla="*/ 8384381 w 8601075"/>
                  <a:gd name="connsiteY257" fmla="*/ 1828800 h 4305300"/>
                  <a:gd name="connsiteX258" fmla="*/ 8443913 w 8601075"/>
                  <a:gd name="connsiteY258" fmla="*/ 1828800 h 4305300"/>
                  <a:gd name="connsiteX259" fmla="*/ 8482012 w 8601075"/>
                  <a:gd name="connsiteY259" fmla="*/ 1809750 h 4305300"/>
                  <a:gd name="connsiteX260" fmla="*/ 8565356 w 8601075"/>
                  <a:gd name="connsiteY260" fmla="*/ 1812132 h 4305300"/>
                  <a:gd name="connsiteX261" fmla="*/ 8596313 w 8601075"/>
                  <a:gd name="connsiteY261" fmla="*/ 1766888 h 4305300"/>
                  <a:gd name="connsiteX262" fmla="*/ 8601075 w 8601075"/>
                  <a:gd name="connsiteY262" fmla="*/ 1704975 h 4305300"/>
                  <a:gd name="connsiteX263" fmla="*/ 8551068 w 8601075"/>
                  <a:gd name="connsiteY263" fmla="*/ 1664494 h 4305300"/>
                  <a:gd name="connsiteX264" fmla="*/ 8534400 w 8601075"/>
                  <a:gd name="connsiteY264" fmla="*/ 1609725 h 4305300"/>
                  <a:gd name="connsiteX265" fmla="*/ 8443913 w 8601075"/>
                  <a:gd name="connsiteY265" fmla="*/ 1547813 h 4305300"/>
                  <a:gd name="connsiteX266" fmla="*/ 8403431 w 8601075"/>
                  <a:gd name="connsiteY266" fmla="*/ 1526381 h 4305300"/>
                  <a:gd name="connsiteX267" fmla="*/ 8365331 w 8601075"/>
                  <a:gd name="connsiteY267" fmla="*/ 1481138 h 4305300"/>
                  <a:gd name="connsiteX268" fmla="*/ 8334375 w 8601075"/>
                  <a:gd name="connsiteY268" fmla="*/ 1478756 h 4305300"/>
                  <a:gd name="connsiteX269" fmla="*/ 8317706 w 8601075"/>
                  <a:gd name="connsiteY269" fmla="*/ 1426369 h 4305300"/>
                  <a:gd name="connsiteX270" fmla="*/ 8277225 w 8601075"/>
                  <a:gd name="connsiteY270" fmla="*/ 1409700 h 4305300"/>
                  <a:gd name="connsiteX271" fmla="*/ 8277225 w 8601075"/>
                  <a:gd name="connsiteY271" fmla="*/ 1409700 h 4305300"/>
                  <a:gd name="connsiteX272" fmla="*/ 8236744 w 8601075"/>
                  <a:gd name="connsiteY272" fmla="*/ 1414463 h 4305300"/>
                  <a:gd name="connsiteX273" fmla="*/ 8151018 w 8601075"/>
                  <a:gd name="connsiteY273" fmla="*/ 1340644 h 4305300"/>
                  <a:gd name="connsiteX274" fmla="*/ 7970044 w 8601075"/>
                  <a:gd name="connsiteY274" fmla="*/ 1340643 h 4305300"/>
                  <a:gd name="connsiteX275" fmla="*/ 7917656 w 8601075"/>
                  <a:gd name="connsiteY275" fmla="*/ 1378744 h 4305300"/>
                  <a:gd name="connsiteX276" fmla="*/ 7867650 w 8601075"/>
                  <a:gd name="connsiteY276" fmla="*/ 1457325 h 4305300"/>
                  <a:gd name="connsiteX277" fmla="*/ 7884319 w 8601075"/>
                  <a:gd name="connsiteY277" fmla="*/ 1478756 h 4305300"/>
                  <a:gd name="connsiteX278" fmla="*/ 7839075 w 8601075"/>
                  <a:gd name="connsiteY278" fmla="*/ 1528762 h 4305300"/>
                  <a:gd name="connsiteX279" fmla="*/ 7689056 w 8601075"/>
                  <a:gd name="connsiteY279" fmla="*/ 1452562 h 4305300"/>
                  <a:gd name="connsiteX280" fmla="*/ 7598569 w 8601075"/>
                  <a:gd name="connsiteY280" fmla="*/ 1488281 h 4305300"/>
                  <a:gd name="connsiteX281" fmla="*/ 7524750 w 8601075"/>
                  <a:gd name="connsiteY281" fmla="*/ 1485900 h 4305300"/>
                  <a:gd name="connsiteX282" fmla="*/ 7467600 w 8601075"/>
                  <a:gd name="connsiteY282" fmla="*/ 1581150 h 4305300"/>
                  <a:gd name="connsiteX283" fmla="*/ 7329488 w 8601075"/>
                  <a:gd name="connsiteY283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1100 w 8601075"/>
                  <a:gd name="connsiteY39" fmla="*/ 838200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71525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71525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05375 w 8601075"/>
                  <a:gd name="connsiteY40" fmla="*/ 771525 h 4305300"/>
                  <a:gd name="connsiteX41" fmla="*/ 4905375 w 8601075"/>
                  <a:gd name="connsiteY41" fmla="*/ 747712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905375 w 8601075"/>
                  <a:gd name="connsiteY41" fmla="*/ 747712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781550 w 8601075"/>
                  <a:gd name="connsiteY42" fmla="*/ 762000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76287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648200 w 8601075"/>
                  <a:gd name="connsiteY43" fmla="*/ 714375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64881 w 8601075"/>
                  <a:gd name="connsiteY43" fmla="*/ 731044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581525 w 8601075"/>
                  <a:gd name="connsiteY44" fmla="*/ 695325 h 4305300"/>
                  <a:gd name="connsiteX45" fmla="*/ 4495800 w 8601075"/>
                  <a:gd name="connsiteY45" fmla="*/ 742950 h 4305300"/>
                  <a:gd name="connsiteX46" fmla="*/ 4343400 w 8601075"/>
                  <a:gd name="connsiteY46" fmla="*/ 781050 h 4305300"/>
                  <a:gd name="connsiteX47" fmla="*/ 4252913 w 8601075"/>
                  <a:gd name="connsiteY47" fmla="*/ 862013 h 4305300"/>
                  <a:gd name="connsiteX48" fmla="*/ 4205287 w 8601075"/>
                  <a:gd name="connsiteY48" fmla="*/ 823913 h 4305300"/>
                  <a:gd name="connsiteX49" fmla="*/ 4183856 w 8601075"/>
                  <a:gd name="connsiteY49" fmla="*/ 854868 h 4305300"/>
                  <a:gd name="connsiteX50" fmla="*/ 4110038 w 8601075"/>
                  <a:gd name="connsiteY50" fmla="*/ 804863 h 4305300"/>
                  <a:gd name="connsiteX51" fmla="*/ 4071938 w 8601075"/>
                  <a:gd name="connsiteY51" fmla="*/ 812006 h 4305300"/>
                  <a:gd name="connsiteX52" fmla="*/ 4050506 w 8601075"/>
                  <a:gd name="connsiteY52" fmla="*/ 773906 h 4305300"/>
                  <a:gd name="connsiteX53" fmla="*/ 3990975 w 8601075"/>
                  <a:gd name="connsiteY53" fmla="*/ 778669 h 4305300"/>
                  <a:gd name="connsiteX54" fmla="*/ 3945731 w 8601075"/>
                  <a:gd name="connsiteY54" fmla="*/ 750094 h 4305300"/>
                  <a:gd name="connsiteX55" fmla="*/ 3907631 w 8601075"/>
                  <a:gd name="connsiteY55" fmla="*/ 747713 h 4305300"/>
                  <a:gd name="connsiteX56" fmla="*/ 3888581 w 8601075"/>
                  <a:gd name="connsiteY56" fmla="*/ 700087 h 4305300"/>
                  <a:gd name="connsiteX57" fmla="*/ 3874294 w 8601075"/>
                  <a:gd name="connsiteY57" fmla="*/ 669131 h 4305300"/>
                  <a:gd name="connsiteX58" fmla="*/ 3829050 w 8601075"/>
                  <a:gd name="connsiteY58" fmla="*/ 678656 h 4305300"/>
                  <a:gd name="connsiteX59" fmla="*/ 3810000 w 8601075"/>
                  <a:gd name="connsiteY59" fmla="*/ 642938 h 4305300"/>
                  <a:gd name="connsiteX60" fmla="*/ 3831432 w 8601075"/>
                  <a:gd name="connsiteY60" fmla="*/ 588169 h 4305300"/>
                  <a:gd name="connsiteX61" fmla="*/ 3800475 w 8601075"/>
                  <a:gd name="connsiteY61" fmla="*/ 561975 h 4305300"/>
                  <a:gd name="connsiteX62" fmla="*/ 3817144 w 8601075"/>
                  <a:gd name="connsiteY62" fmla="*/ 519113 h 4305300"/>
                  <a:gd name="connsiteX63" fmla="*/ 3790950 w 8601075"/>
                  <a:gd name="connsiteY63" fmla="*/ 476250 h 4305300"/>
                  <a:gd name="connsiteX64" fmla="*/ 3786188 w 8601075"/>
                  <a:gd name="connsiteY64" fmla="*/ 414338 h 4305300"/>
                  <a:gd name="connsiteX65" fmla="*/ 3810000 w 8601075"/>
                  <a:gd name="connsiteY65" fmla="*/ 350043 h 4305300"/>
                  <a:gd name="connsiteX66" fmla="*/ 3771900 w 8601075"/>
                  <a:gd name="connsiteY66" fmla="*/ 352425 h 4305300"/>
                  <a:gd name="connsiteX67" fmla="*/ 3652838 w 8601075"/>
                  <a:gd name="connsiteY67" fmla="*/ 295275 h 4305300"/>
                  <a:gd name="connsiteX68" fmla="*/ 3614737 w 8601075"/>
                  <a:gd name="connsiteY68" fmla="*/ 300037 h 4305300"/>
                  <a:gd name="connsiteX69" fmla="*/ 3409950 w 8601075"/>
                  <a:gd name="connsiteY69" fmla="*/ 190500 h 4305300"/>
                  <a:gd name="connsiteX70" fmla="*/ 3305175 w 8601075"/>
                  <a:gd name="connsiteY70" fmla="*/ 159544 h 4305300"/>
                  <a:gd name="connsiteX71" fmla="*/ 3240881 w 8601075"/>
                  <a:gd name="connsiteY71" fmla="*/ 169068 h 4305300"/>
                  <a:gd name="connsiteX72" fmla="*/ 3209925 w 8601075"/>
                  <a:gd name="connsiteY72" fmla="*/ 104775 h 4305300"/>
                  <a:gd name="connsiteX73" fmla="*/ 3152775 w 8601075"/>
                  <a:gd name="connsiteY73" fmla="*/ 104775 h 4305300"/>
                  <a:gd name="connsiteX74" fmla="*/ 3014662 w 8601075"/>
                  <a:gd name="connsiteY74" fmla="*/ 0 h 4305300"/>
                  <a:gd name="connsiteX75" fmla="*/ 2981325 w 8601075"/>
                  <a:gd name="connsiteY75" fmla="*/ 59532 h 4305300"/>
                  <a:gd name="connsiteX76" fmla="*/ 2926556 w 8601075"/>
                  <a:gd name="connsiteY76" fmla="*/ 128588 h 4305300"/>
                  <a:gd name="connsiteX77" fmla="*/ 2883694 w 8601075"/>
                  <a:gd name="connsiteY77" fmla="*/ 145256 h 4305300"/>
                  <a:gd name="connsiteX78" fmla="*/ 2852738 w 8601075"/>
                  <a:gd name="connsiteY78" fmla="*/ 138113 h 4305300"/>
                  <a:gd name="connsiteX79" fmla="*/ 2828925 w 8601075"/>
                  <a:gd name="connsiteY79" fmla="*/ 166688 h 4305300"/>
                  <a:gd name="connsiteX80" fmla="*/ 2802731 w 8601075"/>
                  <a:gd name="connsiteY80" fmla="*/ 245269 h 4305300"/>
                  <a:gd name="connsiteX81" fmla="*/ 2759869 w 8601075"/>
                  <a:gd name="connsiteY81" fmla="*/ 242888 h 4305300"/>
                  <a:gd name="connsiteX82" fmla="*/ 2728912 w 8601075"/>
                  <a:gd name="connsiteY82" fmla="*/ 304800 h 4305300"/>
                  <a:gd name="connsiteX83" fmla="*/ 2724150 w 8601075"/>
                  <a:gd name="connsiteY83" fmla="*/ 369094 h 4305300"/>
                  <a:gd name="connsiteX84" fmla="*/ 2697957 w 8601075"/>
                  <a:gd name="connsiteY84" fmla="*/ 407194 h 4305300"/>
                  <a:gd name="connsiteX85" fmla="*/ 2724150 w 8601075"/>
                  <a:gd name="connsiteY85" fmla="*/ 466725 h 4305300"/>
                  <a:gd name="connsiteX86" fmla="*/ 2726531 w 8601075"/>
                  <a:gd name="connsiteY86" fmla="*/ 535781 h 4305300"/>
                  <a:gd name="connsiteX87" fmla="*/ 2755106 w 8601075"/>
                  <a:gd name="connsiteY87" fmla="*/ 588169 h 4305300"/>
                  <a:gd name="connsiteX88" fmla="*/ 2802732 w 8601075"/>
                  <a:gd name="connsiteY88" fmla="*/ 642938 h 4305300"/>
                  <a:gd name="connsiteX89" fmla="*/ 2752725 w 8601075"/>
                  <a:gd name="connsiteY89" fmla="*/ 781050 h 4305300"/>
                  <a:gd name="connsiteX90" fmla="*/ 2683669 w 8601075"/>
                  <a:gd name="connsiteY90" fmla="*/ 847725 h 4305300"/>
                  <a:gd name="connsiteX91" fmla="*/ 2612231 w 8601075"/>
                  <a:gd name="connsiteY91" fmla="*/ 842963 h 4305300"/>
                  <a:gd name="connsiteX92" fmla="*/ 2574131 w 8601075"/>
                  <a:gd name="connsiteY92" fmla="*/ 900113 h 4305300"/>
                  <a:gd name="connsiteX93" fmla="*/ 2514600 w 8601075"/>
                  <a:gd name="connsiteY93" fmla="*/ 914400 h 4305300"/>
                  <a:gd name="connsiteX94" fmla="*/ 2445544 w 8601075"/>
                  <a:gd name="connsiteY94" fmla="*/ 854869 h 4305300"/>
                  <a:gd name="connsiteX95" fmla="*/ 2390775 w 8601075"/>
                  <a:gd name="connsiteY95" fmla="*/ 826294 h 4305300"/>
                  <a:gd name="connsiteX96" fmla="*/ 2347913 w 8601075"/>
                  <a:gd name="connsiteY96" fmla="*/ 840581 h 4305300"/>
                  <a:gd name="connsiteX97" fmla="*/ 2295525 w 8601075"/>
                  <a:gd name="connsiteY97" fmla="*/ 823913 h 4305300"/>
                  <a:gd name="connsiteX98" fmla="*/ 2228850 w 8601075"/>
                  <a:gd name="connsiteY98" fmla="*/ 769144 h 4305300"/>
                  <a:gd name="connsiteX99" fmla="*/ 2183606 w 8601075"/>
                  <a:gd name="connsiteY99" fmla="*/ 781050 h 4305300"/>
                  <a:gd name="connsiteX100" fmla="*/ 2162175 w 8601075"/>
                  <a:gd name="connsiteY100" fmla="*/ 750094 h 4305300"/>
                  <a:gd name="connsiteX101" fmla="*/ 2105025 w 8601075"/>
                  <a:gd name="connsiteY101" fmla="*/ 790575 h 4305300"/>
                  <a:gd name="connsiteX102" fmla="*/ 1988344 w 8601075"/>
                  <a:gd name="connsiteY102" fmla="*/ 769144 h 4305300"/>
                  <a:gd name="connsiteX103" fmla="*/ 1938338 w 8601075"/>
                  <a:gd name="connsiteY103" fmla="*/ 716756 h 4305300"/>
                  <a:gd name="connsiteX104" fmla="*/ 1895475 w 8601075"/>
                  <a:gd name="connsiteY104" fmla="*/ 702469 h 4305300"/>
                  <a:gd name="connsiteX105" fmla="*/ 1852613 w 8601075"/>
                  <a:gd name="connsiteY105" fmla="*/ 728663 h 4305300"/>
                  <a:gd name="connsiteX106" fmla="*/ 1800225 w 8601075"/>
                  <a:gd name="connsiteY106" fmla="*/ 638175 h 4305300"/>
                  <a:gd name="connsiteX107" fmla="*/ 1790700 w 8601075"/>
                  <a:gd name="connsiteY107" fmla="*/ 490537 h 4305300"/>
                  <a:gd name="connsiteX108" fmla="*/ 1738312 w 8601075"/>
                  <a:gd name="connsiteY108" fmla="*/ 483393 h 4305300"/>
                  <a:gd name="connsiteX109" fmla="*/ 1647825 w 8601075"/>
                  <a:gd name="connsiteY109" fmla="*/ 473869 h 4305300"/>
                  <a:gd name="connsiteX110" fmla="*/ 1593056 w 8601075"/>
                  <a:gd name="connsiteY110" fmla="*/ 435769 h 4305300"/>
                  <a:gd name="connsiteX111" fmla="*/ 1524000 w 8601075"/>
                  <a:gd name="connsiteY111" fmla="*/ 445294 h 4305300"/>
                  <a:gd name="connsiteX112" fmla="*/ 1478756 w 8601075"/>
                  <a:gd name="connsiteY112" fmla="*/ 419100 h 4305300"/>
                  <a:gd name="connsiteX113" fmla="*/ 1469232 w 8601075"/>
                  <a:gd name="connsiteY113" fmla="*/ 347663 h 4305300"/>
                  <a:gd name="connsiteX114" fmla="*/ 1445419 w 8601075"/>
                  <a:gd name="connsiteY114" fmla="*/ 333375 h 4305300"/>
                  <a:gd name="connsiteX115" fmla="*/ 1407319 w 8601075"/>
                  <a:gd name="connsiteY115" fmla="*/ 380999 h 4305300"/>
                  <a:gd name="connsiteX116" fmla="*/ 1328737 w 8601075"/>
                  <a:gd name="connsiteY116" fmla="*/ 307181 h 4305300"/>
                  <a:gd name="connsiteX117" fmla="*/ 1288256 w 8601075"/>
                  <a:gd name="connsiteY117" fmla="*/ 347663 h 4305300"/>
                  <a:gd name="connsiteX118" fmla="*/ 1212056 w 8601075"/>
                  <a:gd name="connsiteY118" fmla="*/ 333375 h 4305300"/>
                  <a:gd name="connsiteX119" fmla="*/ 1133475 w 8601075"/>
                  <a:gd name="connsiteY119" fmla="*/ 359569 h 4305300"/>
                  <a:gd name="connsiteX120" fmla="*/ 1073944 w 8601075"/>
                  <a:gd name="connsiteY120" fmla="*/ 407193 h 4305300"/>
                  <a:gd name="connsiteX121" fmla="*/ 1000125 w 8601075"/>
                  <a:gd name="connsiteY121" fmla="*/ 419100 h 4305300"/>
                  <a:gd name="connsiteX122" fmla="*/ 964406 w 8601075"/>
                  <a:gd name="connsiteY122" fmla="*/ 411956 h 4305300"/>
                  <a:gd name="connsiteX123" fmla="*/ 885826 w 8601075"/>
                  <a:gd name="connsiteY123" fmla="*/ 442913 h 4305300"/>
                  <a:gd name="connsiteX124" fmla="*/ 864394 w 8601075"/>
                  <a:gd name="connsiteY124" fmla="*/ 471488 h 4305300"/>
                  <a:gd name="connsiteX125" fmla="*/ 797719 w 8601075"/>
                  <a:gd name="connsiteY125" fmla="*/ 461963 h 4305300"/>
                  <a:gd name="connsiteX126" fmla="*/ 728663 w 8601075"/>
                  <a:gd name="connsiteY126" fmla="*/ 485775 h 4305300"/>
                  <a:gd name="connsiteX127" fmla="*/ 673894 w 8601075"/>
                  <a:gd name="connsiteY127" fmla="*/ 523875 h 4305300"/>
                  <a:gd name="connsiteX128" fmla="*/ 578644 w 8601075"/>
                  <a:gd name="connsiteY128" fmla="*/ 538162 h 4305300"/>
                  <a:gd name="connsiteX129" fmla="*/ 564356 w 8601075"/>
                  <a:gd name="connsiteY129" fmla="*/ 559594 h 4305300"/>
                  <a:gd name="connsiteX130" fmla="*/ 576262 w 8601075"/>
                  <a:gd name="connsiteY130" fmla="*/ 604838 h 4305300"/>
                  <a:gd name="connsiteX131" fmla="*/ 476251 w 8601075"/>
                  <a:gd name="connsiteY131" fmla="*/ 657225 h 4305300"/>
                  <a:gd name="connsiteX132" fmla="*/ 438150 w 8601075"/>
                  <a:gd name="connsiteY132" fmla="*/ 628649 h 4305300"/>
                  <a:gd name="connsiteX133" fmla="*/ 407194 w 8601075"/>
                  <a:gd name="connsiteY133" fmla="*/ 685800 h 4305300"/>
                  <a:gd name="connsiteX134" fmla="*/ 350044 w 8601075"/>
                  <a:gd name="connsiteY134" fmla="*/ 647700 h 4305300"/>
                  <a:gd name="connsiteX135" fmla="*/ 314325 w 8601075"/>
                  <a:gd name="connsiteY135" fmla="*/ 676275 h 4305300"/>
                  <a:gd name="connsiteX136" fmla="*/ 278606 w 8601075"/>
                  <a:gd name="connsiteY136" fmla="*/ 640556 h 4305300"/>
                  <a:gd name="connsiteX137" fmla="*/ 226219 w 8601075"/>
                  <a:gd name="connsiteY137" fmla="*/ 652463 h 4305300"/>
                  <a:gd name="connsiteX138" fmla="*/ 180975 w 8601075"/>
                  <a:gd name="connsiteY138" fmla="*/ 623888 h 4305300"/>
                  <a:gd name="connsiteX139" fmla="*/ 157163 w 8601075"/>
                  <a:gd name="connsiteY139" fmla="*/ 642938 h 4305300"/>
                  <a:gd name="connsiteX140" fmla="*/ 133350 w 8601075"/>
                  <a:gd name="connsiteY140" fmla="*/ 702469 h 4305300"/>
                  <a:gd name="connsiteX141" fmla="*/ 61913 w 8601075"/>
                  <a:gd name="connsiteY141" fmla="*/ 740568 h 4305300"/>
                  <a:gd name="connsiteX142" fmla="*/ 28575 w 8601075"/>
                  <a:gd name="connsiteY142" fmla="*/ 769144 h 4305300"/>
                  <a:gd name="connsiteX143" fmla="*/ 33338 w 8601075"/>
                  <a:gd name="connsiteY143" fmla="*/ 812006 h 4305300"/>
                  <a:gd name="connsiteX144" fmla="*/ 0 w 8601075"/>
                  <a:gd name="connsiteY144" fmla="*/ 816769 h 4305300"/>
                  <a:gd name="connsiteX145" fmla="*/ 4763 w 8601075"/>
                  <a:gd name="connsiteY145" fmla="*/ 840581 h 4305300"/>
                  <a:gd name="connsiteX146" fmla="*/ 61912 w 8601075"/>
                  <a:gd name="connsiteY146" fmla="*/ 914400 h 4305300"/>
                  <a:gd name="connsiteX147" fmla="*/ 23813 w 8601075"/>
                  <a:gd name="connsiteY147" fmla="*/ 962025 h 4305300"/>
                  <a:gd name="connsiteX148" fmla="*/ 78581 w 8601075"/>
                  <a:gd name="connsiteY148" fmla="*/ 997744 h 4305300"/>
                  <a:gd name="connsiteX149" fmla="*/ 169069 w 8601075"/>
                  <a:gd name="connsiteY149" fmla="*/ 1085850 h 4305300"/>
                  <a:gd name="connsiteX150" fmla="*/ 171450 w 8601075"/>
                  <a:gd name="connsiteY150" fmla="*/ 1145381 h 4305300"/>
                  <a:gd name="connsiteX151" fmla="*/ 307181 w 8601075"/>
                  <a:gd name="connsiteY151" fmla="*/ 1278732 h 4305300"/>
                  <a:gd name="connsiteX152" fmla="*/ 361950 w 8601075"/>
                  <a:gd name="connsiteY152" fmla="*/ 1254919 h 4305300"/>
                  <a:gd name="connsiteX153" fmla="*/ 400050 w 8601075"/>
                  <a:gd name="connsiteY153" fmla="*/ 1281112 h 4305300"/>
                  <a:gd name="connsiteX154" fmla="*/ 414338 w 8601075"/>
                  <a:gd name="connsiteY154" fmla="*/ 1331118 h 4305300"/>
                  <a:gd name="connsiteX155" fmla="*/ 457200 w 8601075"/>
                  <a:gd name="connsiteY155" fmla="*/ 1366838 h 4305300"/>
                  <a:gd name="connsiteX156" fmla="*/ 497681 w 8601075"/>
                  <a:gd name="connsiteY156" fmla="*/ 1354931 h 4305300"/>
                  <a:gd name="connsiteX157" fmla="*/ 516731 w 8601075"/>
                  <a:gd name="connsiteY157" fmla="*/ 1412081 h 4305300"/>
                  <a:gd name="connsiteX158" fmla="*/ 564356 w 8601075"/>
                  <a:gd name="connsiteY158" fmla="*/ 1454944 h 4305300"/>
                  <a:gd name="connsiteX159" fmla="*/ 588169 w 8601075"/>
                  <a:gd name="connsiteY159" fmla="*/ 1557338 h 4305300"/>
                  <a:gd name="connsiteX160" fmla="*/ 585788 w 8601075"/>
                  <a:gd name="connsiteY160" fmla="*/ 1604963 h 4305300"/>
                  <a:gd name="connsiteX161" fmla="*/ 621506 w 8601075"/>
                  <a:gd name="connsiteY161" fmla="*/ 1704975 h 4305300"/>
                  <a:gd name="connsiteX162" fmla="*/ 666750 w 8601075"/>
                  <a:gd name="connsiteY162" fmla="*/ 1762125 h 4305300"/>
                  <a:gd name="connsiteX163" fmla="*/ 683418 w 8601075"/>
                  <a:gd name="connsiteY163" fmla="*/ 1919287 h 4305300"/>
                  <a:gd name="connsiteX164" fmla="*/ 650081 w 8601075"/>
                  <a:gd name="connsiteY164" fmla="*/ 1981200 h 4305300"/>
                  <a:gd name="connsiteX165" fmla="*/ 619125 w 8601075"/>
                  <a:gd name="connsiteY165" fmla="*/ 2057400 h 4305300"/>
                  <a:gd name="connsiteX166" fmla="*/ 633413 w 8601075"/>
                  <a:gd name="connsiteY166" fmla="*/ 2114550 h 4305300"/>
                  <a:gd name="connsiteX167" fmla="*/ 535781 w 8601075"/>
                  <a:gd name="connsiteY167" fmla="*/ 2221707 h 4305300"/>
                  <a:gd name="connsiteX168" fmla="*/ 492919 w 8601075"/>
                  <a:gd name="connsiteY168" fmla="*/ 2336006 h 4305300"/>
                  <a:gd name="connsiteX169" fmla="*/ 526256 w 8601075"/>
                  <a:gd name="connsiteY169" fmla="*/ 2376488 h 4305300"/>
                  <a:gd name="connsiteX170" fmla="*/ 509588 w 8601075"/>
                  <a:gd name="connsiteY170" fmla="*/ 2405063 h 4305300"/>
                  <a:gd name="connsiteX171" fmla="*/ 540544 w 8601075"/>
                  <a:gd name="connsiteY171" fmla="*/ 2462213 h 4305300"/>
                  <a:gd name="connsiteX172" fmla="*/ 569119 w 8601075"/>
                  <a:gd name="connsiteY172" fmla="*/ 2462213 h 4305300"/>
                  <a:gd name="connsiteX173" fmla="*/ 731044 w 8601075"/>
                  <a:gd name="connsiteY173" fmla="*/ 2564606 h 4305300"/>
                  <a:gd name="connsiteX174" fmla="*/ 835819 w 8601075"/>
                  <a:gd name="connsiteY174" fmla="*/ 2562225 h 4305300"/>
                  <a:gd name="connsiteX175" fmla="*/ 914400 w 8601075"/>
                  <a:gd name="connsiteY175" fmla="*/ 2616994 h 4305300"/>
                  <a:gd name="connsiteX176" fmla="*/ 1045368 w 8601075"/>
                  <a:gd name="connsiteY176" fmla="*/ 2619375 h 4305300"/>
                  <a:gd name="connsiteX177" fmla="*/ 1235868 w 8601075"/>
                  <a:gd name="connsiteY177" fmla="*/ 2688431 h 4305300"/>
                  <a:gd name="connsiteX178" fmla="*/ 1438275 w 8601075"/>
                  <a:gd name="connsiteY178" fmla="*/ 2838450 h 4305300"/>
                  <a:gd name="connsiteX179" fmla="*/ 1471612 w 8601075"/>
                  <a:gd name="connsiteY179" fmla="*/ 2905125 h 4305300"/>
                  <a:gd name="connsiteX180" fmla="*/ 1638300 w 8601075"/>
                  <a:gd name="connsiteY180" fmla="*/ 3031331 h 4305300"/>
                  <a:gd name="connsiteX181" fmla="*/ 1709738 w 8601075"/>
                  <a:gd name="connsiteY181" fmla="*/ 3026569 h 4305300"/>
                  <a:gd name="connsiteX182" fmla="*/ 1745457 w 8601075"/>
                  <a:gd name="connsiteY182" fmla="*/ 3050381 h 4305300"/>
                  <a:gd name="connsiteX183" fmla="*/ 1716881 w 8601075"/>
                  <a:gd name="connsiteY183" fmla="*/ 3090863 h 4305300"/>
                  <a:gd name="connsiteX184" fmla="*/ 1724025 w 8601075"/>
                  <a:gd name="connsiteY184" fmla="*/ 3143250 h 4305300"/>
                  <a:gd name="connsiteX185" fmla="*/ 1776413 w 8601075"/>
                  <a:gd name="connsiteY185" fmla="*/ 3169444 h 4305300"/>
                  <a:gd name="connsiteX186" fmla="*/ 1838325 w 8601075"/>
                  <a:gd name="connsiteY186" fmla="*/ 3393282 h 4305300"/>
                  <a:gd name="connsiteX187" fmla="*/ 1828800 w 8601075"/>
                  <a:gd name="connsiteY187" fmla="*/ 3457575 h 4305300"/>
                  <a:gd name="connsiteX188" fmla="*/ 1964531 w 8601075"/>
                  <a:gd name="connsiteY188" fmla="*/ 3624263 h 4305300"/>
                  <a:gd name="connsiteX189" fmla="*/ 1983581 w 8601075"/>
                  <a:gd name="connsiteY189" fmla="*/ 3674269 h 4305300"/>
                  <a:gd name="connsiteX190" fmla="*/ 1957388 w 8601075"/>
                  <a:gd name="connsiteY190" fmla="*/ 3693319 h 4305300"/>
                  <a:gd name="connsiteX191" fmla="*/ 2059781 w 8601075"/>
                  <a:gd name="connsiteY191" fmla="*/ 3702844 h 4305300"/>
                  <a:gd name="connsiteX192" fmla="*/ 2171700 w 8601075"/>
                  <a:gd name="connsiteY192" fmla="*/ 3690938 h 4305300"/>
                  <a:gd name="connsiteX193" fmla="*/ 2450306 w 8601075"/>
                  <a:gd name="connsiteY193" fmla="*/ 3774281 h 4305300"/>
                  <a:gd name="connsiteX194" fmla="*/ 2857500 w 8601075"/>
                  <a:gd name="connsiteY194" fmla="*/ 3855244 h 4305300"/>
                  <a:gd name="connsiteX195" fmla="*/ 3055144 w 8601075"/>
                  <a:gd name="connsiteY195" fmla="*/ 3824287 h 4305300"/>
                  <a:gd name="connsiteX196" fmla="*/ 3100388 w 8601075"/>
                  <a:gd name="connsiteY196" fmla="*/ 3836193 h 4305300"/>
                  <a:gd name="connsiteX197" fmla="*/ 3155156 w 8601075"/>
                  <a:gd name="connsiteY197" fmla="*/ 3812382 h 4305300"/>
                  <a:gd name="connsiteX198" fmla="*/ 3548062 w 8601075"/>
                  <a:gd name="connsiteY198" fmla="*/ 3902869 h 4305300"/>
                  <a:gd name="connsiteX199" fmla="*/ 3631407 w 8601075"/>
                  <a:gd name="connsiteY199" fmla="*/ 4000500 h 4305300"/>
                  <a:gd name="connsiteX200" fmla="*/ 3750469 w 8601075"/>
                  <a:gd name="connsiteY200" fmla="*/ 4071938 h 4305300"/>
                  <a:gd name="connsiteX201" fmla="*/ 3810000 w 8601075"/>
                  <a:gd name="connsiteY201" fmla="*/ 4055269 h 4305300"/>
                  <a:gd name="connsiteX202" fmla="*/ 4160043 w 8601075"/>
                  <a:gd name="connsiteY202" fmla="*/ 4229100 h 4305300"/>
                  <a:gd name="connsiteX203" fmla="*/ 4386263 w 8601075"/>
                  <a:gd name="connsiteY203" fmla="*/ 4200525 h 4305300"/>
                  <a:gd name="connsiteX204" fmla="*/ 4395788 w 8601075"/>
                  <a:gd name="connsiteY204" fmla="*/ 4279106 h 4305300"/>
                  <a:gd name="connsiteX205" fmla="*/ 4481513 w 8601075"/>
                  <a:gd name="connsiteY205" fmla="*/ 4274343 h 4305300"/>
                  <a:gd name="connsiteX206" fmla="*/ 4560094 w 8601075"/>
                  <a:gd name="connsiteY206" fmla="*/ 4305300 h 4305300"/>
                  <a:gd name="connsiteX207" fmla="*/ 4602956 w 8601075"/>
                  <a:gd name="connsiteY207" fmla="*/ 4245769 h 4305300"/>
                  <a:gd name="connsiteX208" fmla="*/ 5274469 w 8601075"/>
                  <a:gd name="connsiteY208" fmla="*/ 3926681 h 4305300"/>
                  <a:gd name="connsiteX209" fmla="*/ 5362575 w 8601075"/>
                  <a:gd name="connsiteY209" fmla="*/ 3955257 h 4305300"/>
                  <a:gd name="connsiteX210" fmla="*/ 5493544 w 8601075"/>
                  <a:gd name="connsiteY210" fmla="*/ 3926681 h 4305300"/>
                  <a:gd name="connsiteX211" fmla="*/ 5672137 w 8601075"/>
                  <a:gd name="connsiteY211" fmla="*/ 3943350 h 4305300"/>
                  <a:gd name="connsiteX212" fmla="*/ 5729288 w 8601075"/>
                  <a:gd name="connsiteY212" fmla="*/ 3917157 h 4305300"/>
                  <a:gd name="connsiteX213" fmla="*/ 5862637 w 8601075"/>
                  <a:gd name="connsiteY213" fmla="*/ 3914775 h 4305300"/>
                  <a:gd name="connsiteX214" fmla="*/ 5995987 w 8601075"/>
                  <a:gd name="connsiteY214" fmla="*/ 3817144 h 4305300"/>
                  <a:gd name="connsiteX215" fmla="*/ 6062662 w 8601075"/>
                  <a:gd name="connsiteY215" fmla="*/ 3810000 h 4305300"/>
                  <a:gd name="connsiteX216" fmla="*/ 6160294 w 8601075"/>
                  <a:gd name="connsiteY216" fmla="*/ 3736181 h 4305300"/>
                  <a:gd name="connsiteX217" fmla="*/ 6234113 w 8601075"/>
                  <a:gd name="connsiteY217" fmla="*/ 3667125 h 4305300"/>
                  <a:gd name="connsiteX218" fmla="*/ 6243638 w 8601075"/>
                  <a:gd name="connsiteY218" fmla="*/ 3605213 h 4305300"/>
                  <a:gd name="connsiteX219" fmla="*/ 6276975 w 8601075"/>
                  <a:gd name="connsiteY219" fmla="*/ 3536156 h 4305300"/>
                  <a:gd name="connsiteX220" fmla="*/ 6429375 w 8601075"/>
                  <a:gd name="connsiteY220" fmla="*/ 3429000 h 4305300"/>
                  <a:gd name="connsiteX221" fmla="*/ 6462713 w 8601075"/>
                  <a:gd name="connsiteY221" fmla="*/ 3433763 h 4305300"/>
                  <a:gd name="connsiteX222" fmla="*/ 6515100 w 8601075"/>
                  <a:gd name="connsiteY222" fmla="*/ 3355181 h 4305300"/>
                  <a:gd name="connsiteX223" fmla="*/ 6562725 w 8601075"/>
                  <a:gd name="connsiteY223" fmla="*/ 3317081 h 4305300"/>
                  <a:gd name="connsiteX224" fmla="*/ 6548438 w 8601075"/>
                  <a:gd name="connsiteY224" fmla="*/ 3248025 h 4305300"/>
                  <a:gd name="connsiteX225" fmla="*/ 6498431 w 8601075"/>
                  <a:gd name="connsiteY225" fmla="*/ 3217068 h 4305300"/>
                  <a:gd name="connsiteX226" fmla="*/ 6438900 w 8601075"/>
                  <a:gd name="connsiteY226" fmla="*/ 3162300 h 4305300"/>
                  <a:gd name="connsiteX227" fmla="*/ 6419850 w 8601075"/>
                  <a:gd name="connsiteY227" fmla="*/ 3105150 h 4305300"/>
                  <a:gd name="connsiteX228" fmla="*/ 6384131 w 8601075"/>
                  <a:gd name="connsiteY228" fmla="*/ 3071813 h 4305300"/>
                  <a:gd name="connsiteX229" fmla="*/ 6410325 w 8601075"/>
                  <a:gd name="connsiteY229" fmla="*/ 3019425 h 4305300"/>
                  <a:gd name="connsiteX230" fmla="*/ 6450806 w 8601075"/>
                  <a:gd name="connsiteY230" fmla="*/ 2840831 h 4305300"/>
                  <a:gd name="connsiteX231" fmla="*/ 6491288 w 8601075"/>
                  <a:gd name="connsiteY231" fmla="*/ 2774156 h 4305300"/>
                  <a:gd name="connsiteX232" fmla="*/ 6636544 w 8601075"/>
                  <a:gd name="connsiteY232" fmla="*/ 2757487 h 4305300"/>
                  <a:gd name="connsiteX233" fmla="*/ 6705600 w 8601075"/>
                  <a:gd name="connsiteY233" fmla="*/ 2814638 h 4305300"/>
                  <a:gd name="connsiteX234" fmla="*/ 6781800 w 8601075"/>
                  <a:gd name="connsiteY234" fmla="*/ 2838450 h 4305300"/>
                  <a:gd name="connsiteX235" fmla="*/ 6986587 w 8601075"/>
                  <a:gd name="connsiteY235" fmla="*/ 2843213 h 4305300"/>
                  <a:gd name="connsiteX236" fmla="*/ 7162800 w 8601075"/>
                  <a:gd name="connsiteY236" fmla="*/ 2705100 h 4305300"/>
                  <a:gd name="connsiteX237" fmla="*/ 7219950 w 8601075"/>
                  <a:gd name="connsiteY237" fmla="*/ 2614612 h 4305300"/>
                  <a:gd name="connsiteX238" fmla="*/ 7246144 w 8601075"/>
                  <a:gd name="connsiteY238" fmla="*/ 2531269 h 4305300"/>
                  <a:gd name="connsiteX239" fmla="*/ 7377112 w 8601075"/>
                  <a:gd name="connsiteY239" fmla="*/ 2531269 h 4305300"/>
                  <a:gd name="connsiteX240" fmla="*/ 7550944 w 8601075"/>
                  <a:gd name="connsiteY240" fmla="*/ 2474118 h 4305300"/>
                  <a:gd name="connsiteX241" fmla="*/ 7610475 w 8601075"/>
                  <a:gd name="connsiteY241" fmla="*/ 2362200 h 4305300"/>
                  <a:gd name="connsiteX242" fmla="*/ 7674769 w 8601075"/>
                  <a:gd name="connsiteY242" fmla="*/ 2326481 h 4305300"/>
                  <a:gd name="connsiteX243" fmla="*/ 7653338 w 8601075"/>
                  <a:gd name="connsiteY243" fmla="*/ 2281238 h 4305300"/>
                  <a:gd name="connsiteX244" fmla="*/ 7731919 w 8601075"/>
                  <a:gd name="connsiteY244" fmla="*/ 2112168 h 4305300"/>
                  <a:gd name="connsiteX245" fmla="*/ 7786688 w 8601075"/>
                  <a:gd name="connsiteY245" fmla="*/ 2052638 h 4305300"/>
                  <a:gd name="connsiteX246" fmla="*/ 7824788 w 8601075"/>
                  <a:gd name="connsiteY246" fmla="*/ 2047875 h 4305300"/>
                  <a:gd name="connsiteX247" fmla="*/ 7870031 w 8601075"/>
                  <a:gd name="connsiteY247" fmla="*/ 2052638 h 4305300"/>
                  <a:gd name="connsiteX248" fmla="*/ 7934325 w 8601075"/>
                  <a:gd name="connsiteY248" fmla="*/ 2019300 h 4305300"/>
                  <a:gd name="connsiteX249" fmla="*/ 7943850 w 8601075"/>
                  <a:gd name="connsiteY249" fmla="*/ 1955006 h 4305300"/>
                  <a:gd name="connsiteX250" fmla="*/ 7984330 w 8601075"/>
                  <a:gd name="connsiteY250" fmla="*/ 1919288 h 4305300"/>
                  <a:gd name="connsiteX251" fmla="*/ 8043863 w 8601075"/>
                  <a:gd name="connsiteY251" fmla="*/ 1959768 h 4305300"/>
                  <a:gd name="connsiteX252" fmla="*/ 8070057 w 8601075"/>
                  <a:gd name="connsiteY252" fmla="*/ 1909762 h 4305300"/>
                  <a:gd name="connsiteX253" fmla="*/ 8165306 w 8601075"/>
                  <a:gd name="connsiteY253" fmla="*/ 1840706 h 4305300"/>
                  <a:gd name="connsiteX254" fmla="*/ 8227219 w 8601075"/>
                  <a:gd name="connsiteY254" fmla="*/ 1847850 h 4305300"/>
                  <a:gd name="connsiteX255" fmla="*/ 8277225 w 8601075"/>
                  <a:gd name="connsiteY255" fmla="*/ 1828800 h 4305300"/>
                  <a:gd name="connsiteX256" fmla="*/ 8315325 w 8601075"/>
                  <a:gd name="connsiteY256" fmla="*/ 1800225 h 4305300"/>
                  <a:gd name="connsiteX257" fmla="*/ 8348663 w 8601075"/>
                  <a:gd name="connsiteY257" fmla="*/ 1797844 h 4305300"/>
                  <a:gd name="connsiteX258" fmla="*/ 8384381 w 8601075"/>
                  <a:gd name="connsiteY258" fmla="*/ 1828800 h 4305300"/>
                  <a:gd name="connsiteX259" fmla="*/ 8443913 w 8601075"/>
                  <a:gd name="connsiteY259" fmla="*/ 1828800 h 4305300"/>
                  <a:gd name="connsiteX260" fmla="*/ 8482012 w 8601075"/>
                  <a:gd name="connsiteY260" fmla="*/ 1809750 h 4305300"/>
                  <a:gd name="connsiteX261" fmla="*/ 8565356 w 8601075"/>
                  <a:gd name="connsiteY261" fmla="*/ 1812132 h 4305300"/>
                  <a:gd name="connsiteX262" fmla="*/ 8596313 w 8601075"/>
                  <a:gd name="connsiteY262" fmla="*/ 1766888 h 4305300"/>
                  <a:gd name="connsiteX263" fmla="*/ 8601075 w 8601075"/>
                  <a:gd name="connsiteY263" fmla="*/ 1704975 h 4305300"/>
                  <a:gd name="connsiteX264" fmla="*/ 8551068 w 8601075"/>
                  <a:gd name="connsiteY264" fmla="*/ 1664494 h 4305300"/>
                  <a:gd name="connsiteX265" fmla="*/ 8534400 w 8601075"/>
                  <a:gd name="connsiteY265" fmla="*/ 1609725 h 4305300"/>
                  <a:gd name="connsiteX266" fmla="*/ 8443913 w 8601075"/>
                  <a:gd name="connsiteY266" fmla="*/ 1547813 h 4305300"/>
                  <a:gd name="connsiteX267" fmla="*/ 8403431 w 8601075"/>
                  <a:gd name="connsiteY267" fmla="*/ 1526381 h 4305300"/>
                  <a:gd name="connsiteX268" fmla="*/ 8365331 w 8601075"/>
                  <a:gd name="connsiteY268" fmla="*/ 1481138 h 4305300"/>
                  <a:gd name="connsiteX269" fmla="*/ 8334375 w 8601075"/>
                  <a:gd name="connsiteY269" fmla="*/ 1478756 h 4305300"/>
                  <a:gd name="connsiteX270" fmla="*/ 8317706 w 8601075"/>
                  <a:gd name="connsiteY270" fmla="*/ 1426369 h 4305300"/>
                  <a:gd name="connsiteX271" fmla="*/ 8277225 w 8601075"/>
                  <a:gd name="connsiteY271" fmla="*/ 1409700 h 4305300"/>
                  <a:gd name="connsiteX272" fmla="*/ 8277225 w 8601075"/>
                  <a:gd name="connsiteY272" fmla="*/ 1409700 h 4305300"/>
                  <a:gd name="connsiteX273" fmla="*/ 8236744 w 8601075"/>
                  <a:gd name="connsiteY273" fmla="*/ 1414463 h 4305300"/>
                  <a:gd name="connsiteX274" fmla="*/ 8151018 w 8601075"/>
                  <a:gd name="connsiteY274" fmla="*/ 1340644 h 4305300"/>
                  <a:gd name="connsiteX275" fmla="*/ 7970044 w 8601075"/>
                  <a:gd name="connsiteY275" fmla="*/ 1340643 h 4305300"/>
                  <a:gd name="connsiteX276" fmla="*/ 7917656 w 8601075"/>
                  <a:gd name="connsiteY276" fmla="*/ 1378744 h 4305300"/>
                  <a:gd name="connsiteX277" fmla="*/ 7867650 w 8601075"/>
                  <a:gd name="connsiteY277" fmla="*/ 1457325 h 4305300"/>
                  <a:gd name="connsiteX278" fmla="*/ 7884319 w 8601075"/>
                  <a:gd name="connsiteY278" fmla="*/ 1478756 h 4305300"/>
                  <a:gd name="connsiteX279" fmla="*/ 7839075 w 8601075"/>
                  <a:gd name="connsiteY279" fmla="*/ 1528762 h 4305300"/>
                  <a:gd name="connsiteX280" fmla="*/ 7689056 w 8601075"/>
                  <a:gd name="connsiteY280" fmla="*/ 1452562 h 4305300"/>
                  <a:gd name="connsiteX281" fmla="*/ 7598569 w 8601075"/>
                  <a:gd name="connsiteY281" fmla="*/ 1488281 h 4305300"/>
                  <a:gd name="connsiteX282" fmla="*/ 7524750 w 8601075"/>
                  <a:gd name="connsiteY282" fmla="*/ 1485900 h 4305300"/>
                  <a:gd name="connsiteX283" fmla="*/ 7467600 w 8601075"/>
                  <a:gd name="connsiteY283" fmla="*/ 1581150 h 4305300"/>
                  <a:gd name="connsiteX284" fmla="*/ 7329488 w 8601075"/>
                  <a:gd name="connsiteY284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581525 w 8601075"/>
                  <a:gd name="connsiteY45" fmla="*/ 695325 h 4305300"/>
                  <a:gd name="connsiteX46" fmla="*/ 4495800 w 8601075"/>
                  <a:gd name="connsiteY46" fmla="*/ 742950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495800 w 8601075"/>
                  <a:gd name="connsiteY46" fmla="*/ 742950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43400 w 8601075"/>
                  <a:gd name="connsiteY47" fmla="*/ 781050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81500 w 8601075"/>
                  <a:gd name="connsiteY47" fmla="*/ 769144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278606 w 8601075"/>
                  <a:gd name="connsiteY137" fmla="*/ 640556 h 4305300"/>
                  <a:gd name="connsiteX138" fmla="*/ 226219 w 8601075"/>
                  <a:gd name="connsiteY138" fmla="*/ 652463 h 4305300"/>
                  <a:gd name="connsiteX139" fmla="*/ 180975 w 8601075"/>
                  <a:gd name="connsiteY139" fmla="*/ 623888 h 4305300"/>
                  <a:gd name="connsiteX140" fmla="*/ 157163 w 8601075"/>
                  <a:gd name="connsiteY140" fmla="*/ 642938 h 4305300"/>
                  <a:gd name="connsiteX141" fmla="*/ 133350 w 8601075"/>
                  <a:gd name="connsiteY141" fmla="*/ 702469 h 4305300"/>
                  <a:gd name="connsiteX142" fmla="*/ 61913 w 8601075"/>
                  <a:gd name="connsiteY142" fmla="*/ 740568 h 4305300"/>
                  <a:gd name="connsiteX143" fmla="*/ 28575 w 8601075"/>
                  <a:gd name="connsiteY143" fmla="*/ 769144 h 4305300"/>
                  <a:gd name="connsiteX144" fmla="*/ 33338 w 8601075"/>
                  <a:gd name="connsiteY144" fmla="*/ 812006 h 4305300"/>
                  <a:gd name="connsiteX145" fmla="*/ 0 w 8601075"/>
                  <a:gd name="connsiteY145" fmla="*/ 816769 h 4305300"/>
                  <a:gd name="connsiteX146" fmla="*/ 4763 w 8601075"/>
                  <a:gd name="connsiteY146" fmla="*/ 840581 h 4305300"/>
                  <a:gd name="connsiteX147" fmla="*/ 61912 w 8601075"/>
                  <a:gd name="connsiteY147" fmla="*/ 914400 h 4305300"/>
                  <a:gd name="connsiteX148" fmla="*/ 23813 w 8601075"/>
                  <a:gd name="connsiteY148" fmla="*/ 962025 h 4305300"/>
                  <a:gd name="connsiteX149" fmla="*/ 78581 w 8601075"/>
                  <a:gd name="connsiteY149" fmla="*/ 997744 h 4305300"/>
                  <a:gd name="connsiteX150" fmla="*/ 169069 w 8601075"/>
                  <a:gd name="connsiteY150" fmla="*/ 1085850 h 4305300"/>
                  <a:gd name="connsiteX151" fmla="*/ 171450 w 8601075"/>
                  <a:gd name="connsiteY151" fmla="*/ 1145381 h 4305300"/>
                  <a:gd name="connsiteX152" fmla="*/ 307181 w 8601075"/>
                  <a:gd name="connsiteY152" fmla="*/ 1278732 h 4305300"/>
                  <a:gd name="connsiteX153" fmla="*/ 361950 w 8601075"/>
                  <a:gd name="connsiteY153" fmla="*/ 1254919 h 4305300"/>
                  <a:gd name="connsiteX154" fmla="*/ 400050 w 8601075"/>
                  <a:gd name="connsiteY154" fmla="*/ 1281112 h 4305300"/>
                  <a:gd name="connsiteX155" fmla="*/ 414338 w 8601075"/>
                  <a:gd name="connsiteY155" fmla="*/ 1331118 h 4305300"/>
                  <a:gd name="connsiteX156" fmla="*/ 457200 w 8601075"/>
                  <a:gd name="connsiteY156" fmla="*/ 1366838 h 4305300"/>
                  <a:gd name="connsiteX157" fmla="*/ 497681 w 8601075"/>
                  <a:gd name="connsiteY157" fmla="*/ 1354931 h 4305300"/>
                  <a:gd name="connsiteX158" fmla="*/ 516731 w 8601075"/>
                  <a:gd name="connsiteY158" fmla="*/ 1412081 h 4305300"/>
                  <a:gd name="connsiteX159" fmla="*/ 564356 w 8601075"/>
                  <a:gd name="connsiteY159" fmla="*/ 1454944 h 4305300"/>
                  <a:gd name="connsiteX160" fmla="*/ 588169 w 8601075"/>
                  <a:gd name="connsiteY160" fmla="*/ 1557338 h 4305300"/>
                  <a:gd name="connsiteX161" fmla="*/ 585788 w 8601075"/>
                  <a:gd name="connsiteY161" fmla="*/ 1604963 h 4305300"/>
                  <a:gd name="connsiteX162" fmla="*/ 621506 w 8601075"/>
                  <a:gd name="connsiteY162" fmla="*/ 1704975 h 4305300"/>
                  <a:gd name="connsiteX163" fmla="*/ 666750 w 8601075"/>
                  <a:gd name="connsiteY163" fmla="*/ 1762125 h 4305300"/>
                  <a:gd name="connsiteX164" fmla="*/ 683418 w 8601075"/>
                  <a:gd name="connsiteY164" fmla="*/ 1919287 h 4305300"/>
                  <a:gd name="connsiteX165" fmla="*/ 650081 w 8601075"/>
                  <a:gd name="connsiteY165" fmla="*/ 1981200 h 4305300"/>
                  <a:gd name="connsiteX166" fmla="*/ 619125 w 8601075"/>
                  <a:gd name="connsiteY166" fmla="*/ 2057400 h 4305300"/>
                  <a:gd name="connsiteX167" fmla="*/ 633413 w 8601075"/>
                  <a:gd name="connsiteY167" fmla="*/ 2114550 h 4305300"/>
                  <a:gd name="connsiteX168" fmla="*/ 535781 w 8601075"/>
                  <a:gd name="connsiteY168" fmla="*/ 2221707 h 4305300"/>
                  <a:gd name="connsiteX169" fmla="*/ 492919 w 8601075"/>
                  <a:gd name="connsiteY169" fmla="*/ 2336006 h 4305300"/>
                  <a:gd name="connsiteX170" fmla="*/ 526256 w 8601075"/>
                  <a:gd name="connsiteY170" fmla="*/ 2376488 h 4305300"/>
                  <a:gd name="connsiteX171" fmla="*/ 509588 w 8601075"/>
                  <a:gd name="connsiteY171" fmla="*/ 2405063 h 4305300"/>
                  <a:gd name="connsiteX172" fmla="*/ 540544 w 8601075"/>
                  <a:gd name="connsiteY172" fmla="*/ 2462213 h 4305300"/>
                  <a:gd name="connsiteX173" fmla="*/ 569119 w 8601075"/>
                  <a:gd name="connsiteY173" fmla="*/ 2462213 h 4305300"/>
                  <a:gd name="connsiteX174" fmla="*/ 731044 w 8601075"/>
                  <a:gd name="connsiteY174" fmla="*/ 2564606 h 4305300"/>
                  <a:gd name="connsiteX175" fmla="*/ 835819 w 8601075"/>
                  <a:gd name="connsiteY175" fmla="*/ 2562225 h 4305300"/>
                  <a:gd name="connsiteX176" fmla="*/ 914400 w 8601075"/>
                  <a:gd name="connsiteY176" fmla="*/ 2616994 h 4305300"/>
                  <a:gd name="connsiteX177" fmla="*/ 1045368 w 8601075"/>
                  <a:gd name="connsiteY177" fmla="*/ 2619375 h 4305300"/>
                  <a:gd name="connsiteX178" fmla="*/ 1235868 w 8601075"/>
                  <a:gd name="connsiteY178" fmla="*/ 2688431 h 4305300"/>
                  <a:gd name="connsiteX179" fmla="*/ 1438275 w 8601075"/>
                  <a:gd name="connsiteY179" fmla="*/ 2838450 h 4305300"/>
                  <a:gd name="connsiteX180" fmla="*/ 1471612 w 8601075"/>
                  <a:gd name="connsiteY180" fmla="*/ 2905125 h 4305300"/>
                  <a:gd name="connsiteX181" fmla="*/ 1638300 w 8601075"/>
                  <a:gd name="connsiteY181" fmla="*/ 3031331 h 4305300"/>
                  <a:gd name="connsiteX182" fmla="*/ 1709738 w 8601075"/>
                  <a:gd name="connsiteY182" fmla="*/ 3026569 h 4305300"/>
                  <a:gd name="connsiteX183" fmla="*/ 1745457 w 8601075"/>
                  <a:gd name="connsiteY183" fmla="*/ 3050381 h 4305300"/>
                  <a:gd name="connsiteX184" fmla="*/ 1716881 w 8601075"/>
                  <a:gd name="connsiteY184" fmla="*/ 3090863 h 4305300"/>
                  <a:gd name="connsiteX185" fmla="*/ 1724025 w 8601075"/>
                  <a:gd name="connsiteY185" fmla="*/ 3143250 h 4305300"/>
                  <a:gd name="connsiteX186" fmla="*/ 1776413 w 8601075"/>
                  <a:gd name="connsiteY186" fmla="*/ 3169444 h 4305300"/>
                  <a:gd name="connsiteX187" fmla="*/ 1838325 w 8601075"/>
                  <a:gd name="connsiteY187" fmla="*/ 3393282 h 4305300"/>
                  <a:gd name="connsiteX188" fmla="*/ 1828800 w 8601075"/>
                  <a:gd name="connsiteY188" fmla="*/ 3457575 h 4305300"/>
                  <a:gd name="connsiteX189" fmla="*/ 1964531 w 8601075"/>
                  <a:gd name="connsiteY189" fmla="*/ 3624263 h 4305300"/>
                  <a:gd name="connsiteX190" fmla="*/ 1983581 w 8601075"/>
                  <a:gd name="connsiteY190" fmla="*/ 3674269 h 4305300"/>
                  <a:gd name="connsiteX191" fmla="*/ 1957388 w 8601075"/>
                  <a:gd name="connsiteY191" fmla="*/ 3693319 h 4305300"/>
                  <a:gd name="connsiteX192" fmla="*/ 2059781 w 8601075"/>
                  <a:gd name="connsiteY192" fmla="*/ 3702844 h 4305300"/>
                  <a:gd name="connsiteX193" fmla="*/ 2171700 w 8601075"/>
                  <a:gd name="connsiteY193" fmla="*/ 3690938 h 4305300"/>
                  <a:gd name="connsiteX194" fmla="*/ 2450306 w 8601075"/>
                  <a:gd name="connsiteY194" fmla="*/ 3774281 h 4305300"/>
                  <a:gd name="connsiteX195" fmla="*/ 2857500 w 8601075"/>
                  <a:gd name="connsiteY195" fmla="*/ 3855244 h 4305300"/>
                  <a:gd name="connsiteX196" fmla="*/ 3055144 w 8601075"/>
                  <a:gd name="connsiteY196" fmla="*/ 3824287 h 4305300"/>
                  <a:gd name="connsiteX197" fmla="*/ 3100388 w 8601075"/>
                  <a:gd name="connsiteY197" fmla="*/ 3836193 h 4305300"/>
                  <a:gd name="connsiteX198" fmla="*/ 3155156 w 8601075"/>
                  <a:gd name="connsiteY198" fmla="*/ 3812382 h 4305300"/>
                  <a:gd name="connsiteX199" fmla="*/ 3548062 w 8601075"/>
                  <a:gd name="connsiteY199" fmla="*/ 3902869 h 4305300"/>
                  <a:gd name="connsiteX200" fmla="*/ 3631407 w 8601075"/>
                  <a:gd name="connsiteY200" fmla="*/ 4000500 h 4305300"/>
                  <a:gd name="connsiteX201" fmla="*/ 3750469 w 8601075"/>
                  <a:gd name="connsiteY201" fmla="*/ 4071938 h 4305300"/>
                  <a:gd name="connsiteX202" fmla="*/ 3810000 w 8601075"/>
                  <a:gd name="connsiteY202" fmla="*/ 4055269 h 4305300"/>
                  <a:gd name="connsiteX203" fmla="*/ 4160043 w 8601075"/>
                  <a:gd name="connsiteY203" fmla="*/ 4229100 h 4305300"/>
                  <a:gd name="connsiteX204" fmla="*/ 4386263 w 8601075"/>
                  <a:gd name="connsiteY204" fmla="*/ 4200525 h 4305300"/>
                  <a:gd name="connsiteX205" fmla="*/ 4395788 w 8601075"/>
                  <a:gd name="connsiteY205" fmla="*/ 4279106 h 4305300"/>
                  <a:gd name="connsiteX206" fmla="*/ 4481513 w 8601075"/>
                  <a:gd name="connsiteY206" fmla="*/ 4274343 h 4305300"/>
                  <a:gd name="connsiteX207" fmla="*/ 4560094 w 8601075"/>
                  <a:gd name="connsiteY207" fmla="*/ 4305300 h 4305300"/>
                  <a:gd name="connsiteX208" fmla="*/ 4602956 w 8601075"/>
                  <a:gd name="connsiteY208" fmla="*/ 4245769 h 4305300"/>
                  <a:gd name="connsiteX209" fmla="*/ 5274469 w 8601075"/>
                  <a:gd name="connsiteY209" fmla="*/ 3926681 h 4305300"/>
                  <a:gd name="connsiteX210" fmla="*/ 5362575 w 8601075"/>
                  <a:gd name="connsiteY210" fmla="*/ 3955257 h 4305300"/>
                  <a:gd name="connsiteX211" fmla="*/ 5493544 w 8601075"/>
                  <a:gd name="connsiteY211" fmla="*/ 3926681 h 4305300"/>
                  <a:gd name="connsiteX212" fmla="*/ 5672137 w 8601075"/>
                  <a:gd name="connsiteY212" fmla="*/ 3943350 h 4305300"/>
                  <a:gd name="connsiteX213" fmla="*/ 5729288 w 8601075"/>
                  <a:gd name="connsiteY213" fmla="*/ 3917157 h 4305300"/>
                  <a:gd name="connsiteX214" fmla="*/ 5862637 w 8601075"/>
                  <a:gd name="connsiteY214" fmla="*/ 3914775 h 4305300"/>
                  <a:gd name="connsiteX215" fmla="*/ 5995987 w 8601075"/>
                  <a:gd name="connsiteY215" fmla="*/ 3817144 h 4305300"/>
                  <a:gd name="connsiteX216" fmla="*/ 6062662 w 8601075"/>
                  <a:gd name="connsiteY216" fmla="*/ 3810000 h 4305300"/>
                  <a:gd name="connsiteX217" fmla="*/ 6160294 w 8601075"/>
                  <a:gd name="connsiteY217" fmla="*/ 3736181 h 4305300"/>
                  <a:gd name="connsiteX218" fmla="*/ 6234113 w 8601075"/>
                  <a:gd name="connsiteY218" fmla="*/ 3667125 h 4305300"/>
                  <a:gd name="connsiteX219" fmla="*/ 6243638 w 8601075"/>
                  <a:gd name="connsiteY219" fmla="*/ 3605213 h 4305300"/>
                  <a:gd name="connsiteX220" fmla="*/ 6276975 w 8601075"/>
                  <a:gd name="connsiteY220" fmla="*/ 3536156 h 4305300"/>
                  <a:gd name="connsiteX221" fmla="*/ 6429375 w 8601075"/>
                  <a:gd name="connsiteY221" fmla="*/ 3429000 h 4305300"/>
                  <a:gd name="connsiteX222" fmla="*/ 6462713 w 8601075"/>
                  <a:gd name="connsiteY222" fmla="*/ 3433763 h 4305300"/>
                  <a:gd name="connsiteX223" fmla="*/ 6515100 w 8601075"/>
                  <a:gd name="connsiteY223" fmla="*/ 3355181 h 4305300"/>
                  <a:gd name="connsiteX224" fmla="*/ 6562725 w 8601075"/>
                  <a:gd name="connsiteY224" fmla="*/ 3317081 h 4305300"/>
                  <a:gd name="connsiteX225" fmla="*/ 6548438 w 8601075"/>
                  <a:gd name="connsiteY225" fmla="*/ 3248025 h 4305300"/>
                  <a:gd name="connsiteX226" fmla="*/ 6498431 w 8601075"/>
                  <a:gd name="connsiteY226" fmla="*/ 3217068 h 4305300"/>
                  <a:gd name="connsiteX227" fmla="*/ 6438900 w 8601075"/>
                  <a:gd name="connsiteY227" fmla="*/ 3162300 h 4305300"/>
                  <a:gd name="connsiteX228" fmla="*/ 6419850 w 8601075"/>
                  <a:gd name="connsiteY228" fmla="*/ 3105150 h 4305300"/>
                  <a:gd name="connsiteX229" fmla="*/ 6384131 w 8601075"/>
                  <a:gd name="connsiteY229" fmla="*/ 3071813 h 4305300"/>
                  <a:gd name="connsiteX230" fmla="*/ 6410325 w 8601075"/>
                  <a:gd name="connsiteY230" fmla="*/ 3019425 h 4305300"/>
                  <a:gd name="connsiteX231" fmla="*/ 6450806 w 8601075"/>
                  <a:gd name="connsiteY231" fmla="*/ 2840831 h 4305300"/>
                  <a:gd name="connsiteX232" fmla="*/ 6491288 w 8601075"/>
                  <a:gd name="connsiteY232" fmla="*/ 2774156 h 4305300"/>
                  <a:gd name="connsiteX233" fmla="*/ 6636544 w 8601075"/>
                  <a:gd name="connsiteY233" fmla="*/ 2757487 h 4305300"/>
                  <a:gd name="connsiteX234" fmla="*/ 6705600 w 8601075"/>
                  <a:gd name="connsiteY234" fmla="*/ 2814638 h 4305300"/>
                  <a:gd name="connsiteX235" fmla="*/ 6781800 w 8601075"/>
                  <a:gd name="connsiteY235" fmla="*/ 2838450 h 4305300"/>
                  <a:gd name="connsiteX236" fmla="*/ 6986587 w 8601075"/>
                  <a:gd name="connsiteY236" fmla="*/ 2843213 h 4305300"/>
                  <a:gd name="connsiteX237" fmla="*/ 7162800 w 8601075"/>
                  <a:gd name="connsiteY237" fmla="*/ 2705100 h 4305300"/>
                  <a:gd name="connsiteX238" fmla="*/ 7219950 w 8601075"/>
                  <a:gd name="connsiteY238" fmla="*/ 2614612 h 4305300"/>
                  <a:gd name="connsiteX239" fmla="*/ 7246144 w 8601075"/>
                  <a:gd name="connsiteY239" fmla="*/ 2531269 h 4305300"/>
                  <a:gd name="connsiteX240" fmla="*/ 7377112 w 8601075"/>
                  <a:gd name="connsiteY240" fmla="*/ 2531269 h 4305300"/>
                  <a:gd name="connsiteX241" fmla="*/ 7550944 w 8601075"/>
                  <a:gd name="connsiteY241" fmla="*/ 2474118 h 4305300"/>
                  <a:gd name="connsiteX242" fmla="*/ 7610475 w 8601075"/>
                  <a:gd name="connsiteY242" fmla="*/ 2362200 h 4305300"/>
                  <a:gd name="connsiteX243" fmla="*/ 7674769 w 8601075"/>
                  <a:gd name="connsiteY243" fmla="*/ 2326481 h 4305300"/>
                  <a:gd name="connsiteX244" fmla="*/ 7653338 w 8601075"/>
                  <a:gd name="connsiteY244" fmla="*/ 2281238 h 4305300"/>
                  <a:gd name="connsiteX245" fmla="*/ 7731919 w 8601075"/>
                  <a:gd name="connsiteY245" fmla="*/ 2112168 h 4305300"/>
                  <a:gd name="connsiteX246" fmla="*/ 7786688 w 8601075"/>
                  <a:gd name="connsiteY246" fmla="*/ 2052638 h 4305300"/>
                  <a:gd name="connsiteX247" fmla="*/ 7824788 w 8601075"/>
                  <a:gd name="connsiteY247" fmla="*/ 2047875 h 4305300"/>
                  <a:gd name="connsiteX248" fmla="*/ 7870031 w 8601075"/>
                  <a:gd name="connsiteY248" fmla="*/ 2052638 h 4305300"/>
                  <a:gd name="connsiteX249" fmla="*/ 7934325 w 8601075"/>
                  <a:gd name="connsiteY249" fmla="*/ 2019300 h 4305300"/>
                  <a:gd name="connsiteX250" fmla="*/ 7943850 w 8601075"/>
                  <a:gd name="connsiteY250" fmla="*/ 1955006 h 4305300"/>
                  <a:gd name="connsiteX251" fmla="*/ 7984330 w 8601075"/>
                  <a:gd name="connsiteY251" fmla="*/ 1919288 h 4305300"/>
                  <a:gd name="connsiteX252" fmla="*/ 8043863 w 8601075"/>
                  <a:gd name="connsiteY252" fmla="*/ 1959768 h 4305300"/>
                  <a:gd name="connsiteX253" fmla="*/ 8070057 w 8601075"/>
                  <a:gd name="connsiteY253" fmla="*/ 1909762 h 4305300"/>
                  <a:gd name="connsiteX254" fmla="*/ 8165306 w 8601075"/>
                  <a:gd name="connsiteY254" fmla="*/ 1840706 h 4305300"/>
                  <a:gd name="connsiteX255" fmla="*/ 8227219 w 8601075"/>
                  <a:gd name="connsiteY255" fmla="*/ 1847850 h 4305300"/>
                  <a:gd name="connsiteX256" fmla="*/ 8277225 w 8601075"/>
                  <a:gd name="connsiteY256" fmla="*/ 1828800 h 4305300"/>
                  <a:gd name="connsiteX257" fmla="*/ 8315325 w 8601075"/>
                  <a:gd name="connsiteY257" fmla="*/ 1800225 h 4305300"/>
                  <a:gd name="connsiteX258" fmla="*/ 8348663 w 8601075"/>
                  <a:gd name="connsiteY258" fmla="*/ 1797844 h 4305300"/>
                  <a:gd name="connsiteX259" fmla="*/ 8384381 w 8601075"/>
                  <a:gd name="connsiteY259" fmla="*/ 1828800 h 4305300"/>
                  <a:gd name="connsiteX260" fmla="*/ 8443913 w 8601075"/>
                  <a:gd name="connsiteY260" fmla="*/ 1828800 h 4305300"/>
                  <a:gd name="connsiteX261" fmla="*/ 8482012 w 8601075"/>
                  <a:gd name="connsiteY261" fmla="*/ 1809750 h 4305300"/>
                  <a:gd name="connsiteX262" fmla="*/ 8565356 w 8601075"/>
                  <a:gd name="connsiteY262" fmla="*/ 1812132 h 4305300"/>
                  <a:gd name="connsiteX263" fmla="*/ 8596313 w 8601075"/>
                  <a:gd name="connsiteY263" fmla="*/ 1766888 h 4305300"/>
                  <a:gd name="connsiteX264" fmla="*/ 8601075 w 8601075"/>
                  <a:gd name="connsiteY264" fmla="*/ 1704975 h 4305300"/>
                  <a:gd name="connsiteX265" fmla="*/ 8551068 w 8601075"/>
                  <a:gd name="connsiteY265" fmla="*/ 1664494 h 4305300"/>
                  <a:gd name="connsiteX266" fmla="*/ 8534400 w 8601075"/>
                  <a:gd name="connsiteY266" fmla="*/ 1609725 h 4305300"/>
                  <a:gd name="connsiteX267" fmla="*/ 8443913 w 8601075"/>
                  <a:gd name="connsiteY267" fmla="*/ 1547813 h 4305300"/>
                  <a:gd name="connsiteX268" fmla="*/ 8403431 w 8601075"/>
                  <a:gd name="connsiteY268" fmla="*/ 1526381 h 4305300"/>
                  <a:gd name="connsiteX269" fmla="*/ 8365331 w 8601075"/>
                  <a:gd name="connsiteY269" fmla="*/ 1481138 h 4305300"/>
                  <a:gd name="connsiteX270" fmla="*/ 8334375 w 8601075"/>
                  <a:gd name="connsiteY270" fmla="*/ 1478756 h 4305300"/>
                  <a:gd name="connsiteX271" fmla="*/ 8317706 w 8601075"/>
                  <a:gd name="connsiteY271" fmla="*/ 1426369 h 4305300"/>
                  <a:gd name="connsiteX272" fmla="*/ 8277225 w 8601075"/>
                  <a:gd name="connsiteY272" fmla="*/ 1409700 h 4305300"/>
                  <a:gd name="connsiteX273" fmla="*/ 8277225 w 8601075"/>
                  <a:gd name="connsiteY273" fmla="*/ 1409700 h 4305300"/>
                  <a:gd name="connsiteX274" fmla="*/ 8236744 w 8601075"/>
                  <a:gd name="connsiteY274" fmla="*/ 1414463 h 4305300"/>
                  <a:gd name="connsiteX275" fmla="*/ 8151018 w 8601075"/>
                  <a:gd name="connsiteY275" fmla="*/ 1340644 h 4305300"/>
                  <a:gd name="connsiteX276" fmla="*/ 7970044 w 8601075"/>
                  <a:gd name="connsiteY276" fmla="*/ 1340643 h 4305300"/>
                  <a:gd name="connsiteX277" fmla="*/ 7917656 w 8601075"/>
                  <a:gd name="connsiteY277" fmla="*/ 1378744 h 4305300"/>
                  <a:gd name="connsiteX278" fmla="*/ 7867650 w 8601075"/>
                  <a:gd name="connsiteY278" fmla="*/ 1457325 h 4305300"/>
                  <a:gd name="connsiteX279" fmla="*/ 7884319 w 8601075"/>
                  <a:gd name="connsiteY279" fmla="*/ 1478756 h 4305300"/>
                  <a:gd name="connsiteX280" fmla="*/ 7839075 w 8601075"/>
                  <a:gd name="connsiteY280" fmla="*/ 1528762 h 4305300"/>
                  <a:gd name="connsiteX281" fmla="*/ 7689056 w 8601075"/>
                  <a:gd name="connsiteY281" fmla="*/ 1452562 h 4305300"/>
                  <a:gd name="connsiteX282" fmla="*/ 7598569 w 8601075"/>
                  <a:gd name="connsiteY282" fmla="*/ 1488281 h 4305300"/>
                  <a:gd name="connsiteX283" fmla="*/ 7524750 w 8601075"/>
                  <a:gd name="connsiteY283" fmla="*/ 1485900 h 4305300"/>
                  <a:gd name="connsiteX284" fmla="*/ 7467600 w 8601075"/>
                  <a:gd name="connsiteY284" fmla="*/ 1581150 h 4305300"/>
                  <a:gd name="connsiteX285" fmla="*/ 7329488 w 8601075"/>
                  <a:gd name="connsiteY285" fmla="*/ 1483519 h 4305300"/>
                  <a:gd name="connsiteX0" fmla="*/ 7532688 w 8804275"/>
                  <a:gd name="connsiteY0" fmla="*/ 1483519 h 4305300"/>
                  <a:gd name="connsiteX1" fmla="*/ 7525544 w 8804275"/>
                  <a:gd name="connsiteY1" fmla="*/ 1428750 h 4305300"/>
                  <a:gd name="connsiteX2" fmla="*/ 7592219 w 8804275"/>
                  <a:gd name="connsiteY2" fmla="*/ 1354931 h 4305300"/>
                  <a:gd name="connsiteX3" fmla="*/ 7575550 w 8804275"/>
                  <a:gd name="connsiteY3" fmla="*/ 1283494 h 4305300"/>
                  <a:gd name="connsiteX4" fmla="*/ 7589838 w 8804275"/>
                  <a:gd name="connsiteY4" fmla="*/ 1188244 h 4305300"/>
                  <a:gd name="connsiteX5" fmla="*/ 7627938 w 8804275"/>
                  <a:gd name="connsiteY5" fmla="*/ 1131094 h 4305300"/>
                  <a:gd name="connsiteX6" fmla="*/ 7608887 w 8804275"/>
                  <a:gd name="connsiteY6" fmla="*/ 1097756 h 4305300"/>
                  <a:gd name="connsiteX7" fmla="*/ 7706518 w 8804275"/>
                  <a:gd name="connsiteY7" fmla="*/ 697706 h 4305300"/>
                  <a:gd name="connsiteX8" fmla="*/ 7699375 w 8804275"/>
                  <a:gd name="connsiteY8" fmla="*/ 669131 h 4305300"/>
                  <a:gd name="connsiteX9" fmla="*/ 7570788 w 8804275"/>
                  <a:gd name="connsiteY9" fmla="*/ 647700 h 4305300"/>
                  <a:gd name="connsiteX10" fmla="*/ 7387432 w 8804275"/>
                  <a:gd name="connsiteY10" fmla="*/ 726281 h 4305300"/>
                  <a:gd name="connsiteX11" fmla="*/ 7230268 w 8804275"/>
                  <a:gd name="connsiteY11" fmla="*/ 611981 h 4305300"/>
                  <a:gd name="connsiteX12" fmla="*/ 7154069 w 8804275"/>
                  <a:gd name="connsiteY12" fmla="*/ 619125 h 4305300"/>
                  <a:gd name="connsiteX13" fmla="*/ 7080250 w 8804275"/>
                  <a:gd name="connsiteY13" fmla="*/ 614363 h 4305300"/>
                  <a:gd name="connsiteX14" fmla="*/ 6942138 w 8804275"/>
                  <a:gd name="connsiteY14" fmla="*/ 719138 h 4305300"/>
                  <a:gd name="connsiteX15" fmla="*/ 6834981 w 8804275"/>
                  <a:gd name="connsiteY15" fmla="*/ 826294 h 4305300"/>
                  <a:gd name="connsiteX16" fmla="*/ 6792119 w 8804275"/>
                  <a:gd name="connsiteY16" fmla="*/ 895350 h 4305300"/>
                  <a:gd name="connsiteX17" fmla="*/ 6799263 w 8804275"/>
                  <a:gd name="connsiteY17" fmla="*/ 931069 h 4305300"/>
                  <a:gd name="connsiteX18" fmla="*/ 6737350 w 8804275"/>
                  <a:gd name="connsiteY18" fmla="*/ 942975 h 4305300"/>
                  <a:gd name="connsiteX19" fmla="*/ 6756400 w 8804275"/>
                  <a:gd name="connsiteY19" fmla="*/ 942975 h 4305300"/>
                  <a:gd name="connsiteX20" fmla="*/ 6723063 w 8804275"/>
                  <a:gd name="connsiteY20" fmla="*/ 973931 h 4305300"/>
                  <a:gd name="connsiteX21" fmla="*/ 6623050 w 8804275"/>
                  <a:gd name="connsiteY21" fmla="*/ 973932 h 4305300"/>
                  <a:gd name="connsiteX22" fmla="*/ 6527800 w 8804275"/>
                  <a:gd name="connsiteY22" fmla="*/ 1028700 h 4305300"/>
                  <a:gd name="connsiteX23" fmla="*/ 6446838 w 8804275"/>
                  <a:gd name="connsiteY23" fmla="*/ 1038225 h 4305300"/>
                  <a:gd name="connsiteX24" fmla="*/ 6406356 w 8804275"/>
                  <a:gd name="connsiteY24" fmla="*/ 1071563 h 4305300"/>
                  <a:gd name="connsiteX25" fmla="*/ 6356350 w 8804275"/>
                  <a:gd name="connsiteY25" fmla="*/ 1076325 h 4305300"/>
                  <a:gd name="connsiteX26" fmla="*/ 6234907 w 8804275"/>
                  <a:gd name="connsiteY26" fmla="*/ 1169194 h 4305300"/>
                  <a:gd name="connsiteX27" fmla="*/ 6175375 w 8804275"/>
                  <a:gd name="connsiteY27" fmla="*/ 1173956 h 4305300"/>
                  <a:gd name="connsiteX28" fmla="*/ 6122988 w 8804275"/>
                  <a:gd name="connsiteY28" fmla="*/ 1138238 h 4305300"/>
                  <a:gd name="connsiteX29" fmla="*/ 6096794 w 8804275"/>
                  <a:gd name="connsiteY29" fmla="*/ 1173956 h 4305300"/>
                  <a:gd name="connsiteX30" fmla="*/ 5899150 w 8804275"/>
                  <a:gd name="connsiteY30" fmla="*/ 1166813 h 4305300"/>
                  <a:gd name="connsiteX31" fmla="*/ 5837238 w 8804275"/>
                  <a:gd name="connsiteY31" fmla="*/ 1121569 h 4305300"/>
                  <a:gd name="connsiteX32" fmla="*/ 5639594 w 8804275"/>
                  <a:gd name="connsiteY32" fmla="*/ 1138238 h 4305300"/>
                  <a:gd name="connsiteX33" fmla="*/ 5551488 w 8804275"/>
                  <a:gd name="connsiteY33" fmla="*/ 1054893 h 4305300"/>
                  <a:gd name="connsiteX34" fmla="*/ 5475288 w 8804275"/>
                  <a:gd name="connsiteY34" fmla="*/ 1009650 h 4305300"/>
                  <a:gd name="connsiteX35" fmla="*/ 5477668 w 8804275"/>
                  <a:gd name="connsiteY35" fmla="*/ 952500 h 4305300"/>
                  <a:gd name="connsiteX36" fmla="*/ 5458619 w 8804275"/>
                  <a:gd name="connsiteY36" fmla="*/ 909637 h 4305300"/>
                  <a:gd name="connsiteX37" fmla="*/ 5363369 w 8804275"/>
                  <a:gd name="connsiteY37" fmla="*/ 912019 h 4305300"/>
                  <a:gd name="connsiteX38" fmla="*/ 5268119 w 8804275"/>
                  <a:gd name="connsiteY38" fmla="*/ 890588 h 4305300"/>
                  <a:gd name="connsiteX39" fmla="*/ 5199062 w 8804275"/>
                  <a:gd name="connsiteY39" fmla="*/ 823912 h 4305300"/>
                  <a:gd name="connsiteX40" fmla="*/ 5163344 w 8804275"/>
                  <a:gd name="connsiteY40" fmla="*/ 781050 h 4305300"/>
                  <a:gd name="connsiteX41" fmla="*/ 5082381 w 8804275"/>
                  <a:gd name="connsiteY41" fmla="*/ 757237 h 4305300"/>
                  <a:gd name="connsiteX42" fmla="*/ 5008563 w 8804275"/>
                  <a:gd name="connsiteY42" fmla="*/ 769143 h 4305300"/>
                  <a:gd name="connsiteX43" fmla="*/ 4951412 w 8804275"/>
                  <a:gd name="connsiteY43" fmla="*/ 716756 h 4305300"/>
                  <a:gd name="connsiteX44" fmla="*/ 4856163 w 8804275"/>
                  <a:gd name="connsiteY44" fmla="*/ 728663 h 4305300"/>
                  <a:gd name="connsiteX45" fmla="*/ 4803775 w 8804275"/>
                  <a:gd name="connsiteY45" fmla="*/ 702469 h 4305300"/>
                  <a:gd name="connsiteX46" fmla="*/ 4722813 w 8804275"/>
                  <a:gd name="connsiteY46" fmla="*/ 745331 h 4305300"/>
                  <a:gd name="connsiteX47" fmla="*/ 4584700 w 8804275"/>
                  <a:gd name="connsiteY47" fmla="*/ 769144 h 4305300"/>
                  <a:gd name="connsiteX48" fmla="*/ 4456113 w 8804275"/>
                  <a:gd name="connsiteY48" fmla="*/ 862013 h 4305300"/>
                  <a:gd name="connsiteX49" fmla="*/ 4408487 w 8804275"/>
                  <a:gd name="connsiteY49" fmla="*/ 823913 h 4305300"/>
                  <a:gd name="connsiteX50" fmla="*/ 4387056 w 8804275"/>
                  <a:gd name="connsiteY50" fmla="*/ 854868 h 4305300"/>
                  <a:gd name="connsiteX51" fmla="*/ 4313238 w 8804275"/>
                  <a:gd name="connsiteY51" fmla="*/ 804863 h 4305300"/>
                  <a:gd name="connsiteX52" fmla="*/ 4275138 w 8804275"/>
                  <a:gd name="connsiteY52" fmla="*/ 812006 h 4305300"/>
                  <a:gd name="connsiteX53" fmla="*/ 4253706 w 8804275"/>
                  <a:gd name="connsiteY53" fmla="*/ 773906 h 4305300"/>
                  <a:gd name="connsiteX54" fmla="*/ 4194175 w 8804275"/>
                  <a:gd name="connsiteY54" fmla="*/ 778669 h 4305300"/>
                  <a:gd name="connsiteX55" fmla="*/ 4148931 w 8804275"/>
                  <a:gd name="connsiteY55" fmla="*/ 750094 h 4305300"/>
                  <a:gd name="connsiteX56" fmla="*/ 4110831 w 8804275"/>
                  <a:gd name="connsiteY56" fmla="*/ 747713 h 4305300"/>
                  <a:gd name="connsiteX57" fmla="*/ 4091781 w 8804275"/>
                  <a:gd name="connsiteY57" fmla="*/ 700087 h 4305300"/>
                  <a:gd name="connsiteX58" fmla="*/ 4077494 w 8804275"/>
                  <a:gd name="connsiteY58" fmla="*/ 669131 h 4305300"/>
                  <a:gd name="connsiteX59" fmla="*/ 4032250 w 8804275"/>
                  <a:gd name="connsiteY59" fmla="*/ 678656 h 4305300"/>
                  <a:gd name="connsiteX60" fmla="*/ 4013200 w 8804275"/>
                  <a:gd name="connsiteY60" fmla="*/ 642938 h 4305300"/>
                  <a:gd name="connsiteX61" fmla="*/ 4034632 w 8804275"/>
                  <a:gd name="connsiteY61" fmla="*/ 588169 h 4305300"/>
                  <a:gd name="connsiteX62" fmla="*/ 4003675 w 8804275"/>
                  <a:gd name="connsiteY62" fmla="*/ 561975 h 4305300"/>
                  <a:gd name="connsiteX63" fmla="*/ 4020344 w 8804275"/>
                  <a:gd name="connsiteY63" fmla="*/ 519113 h 4305300"/>
                  <a:gd name="connsiteX64" fmla="*/ 3994150 w 8804275"/>
                  <a:gd name="connsiteY64" fmla="*/ 476250 h 4305300"/>
                  <a:gd name="connsiteX65" fmla="*/ 3989388 w 8804275"/>
                  <a:gd name="connsiteY65" fmla="*/ 414338 h 4305300"/>
                  <a:gd name="connsiteX66" fmla="*/ 4013200 w 8804275"/>
                  <a:gd name="connsiteY66" fmla="*/ 350043 h 4305300"/>
                  <a:gd name="connsiteX67" fmla="*/ 3975100 w 8804275"/>
                  <a:gd name="connsiteY67" fmla="*/ 352425 h 4305300"/>
                  <a:gd name="connsiteX68" fmla="*/ 3856038 w 8804275"/>
                  <a:gd name="connsiteY68" fmla="*/ 295275 h 4305300"/>
                  <a:gd name="connsiteX69" fmla="*/ 3817937 w 8804275"/>
                  <a:gd name="connsiteY69" fmla="*/ 300037 h 4305300"/>
                  <a:gd name="connsiteX70" fmla="*/ 3613150 w 8804275"/>
                  <a:gd name="connsiteY70" fmla="*/ 190500 h 4305300"/>
                  <a:gd name="connsiteX71" fmla="*/ 3508375 w 8804275"/>
                  <a:gd name="connsiteY71" fmla="*/ 159544 h 4305300"/>
                  <a:gd name="connsiteX72" fmla="*/ 3444081 w 8804275"/>
                  <a:gd name="connsiteY72" fmla="*/ 169068 h 4305300"/>
                  <a:gd name="connsiteX73" fmla="*/ 3413125 w 8804275"/>
                  <a:gd name="connsiteY73" fmla="*/ 104775 h 4305300"/>
                  <a:gd name="connsiteX74" fmla="*/ 3355975 w 8804275"/>
                  <a:gd name="connsiteY74" fmla="*/ 104775 h 4305300"/>
                  <a:gd name="connsiteX75" fmla="*/ 3217862 w 8804275"/>
                  <a:gd name="connsiteY75" fmla="*/ 0 h 4305300"/>
                  <a:gd name="connsiteX76" fmla="*/ 3184525 w 8804275"/>
                  <a:gd name="connsiteY76" fmla="*/ 59532 h 4305300"/>
                  <a:gd name="connsiteX77" fmla="*/ 3129756 w 8804275"/>
                  <a:gd name="connsiteY77" fmla="*/ 128588 h 4305300"/>
                  <a:gd name="connsiteX78" fmla="*/ 3086894 w 8804275"/>
                  <a:gd name="connsiteY78" fmla="*/ 145256 h 4305300"/>
                  <a:gd name="connsiteX79" fmla="*/ 3055938 w 8804275"/>
                  <a:gd name="connsiteY79" fmla="*/ 138113 h 4305300"/>
                  <a:gd name="connsiteX80" fmla="*/ 3032125 w 8804275"/>
                  <a:gd name="connsiteY80" fmla="*/ 166688 h 4305300"/>
                  <a:gd name="connsiteX81" fmla="*/ 3005931 w 8804275"/>
                  <a:gd name="connsiteY81" fmla="*/ 245269 h 4305300"/>
                  <a:gd name="connsiteX82" fmla="*/ 2963069 w 8804275"/>
                  <a:gd name="connsiteY82" fmla="*/ 242888 h 4305300"/>
                  <a:gd name="connsiteX83" fmla="*/ 2932112 w 8804275"/>
                  <a:gd name="connsiteY83" fmla="*/ 304800 h 4305300"/>
                  <a:gd name="connsiteX84" fmla="*/ 2927350 w 8804275"/>
                  <a:gd name="connsiteY84" fmla="*/ 369094 h 4305300"/>
                  <a:gd name="connsiteX85" fmla="*/ 2901157 w 8804275"/>
                  <a:gd name="connsiteY85" fmla="*/ 407194 h 4305300"/>
                  <a:gd name="connsiteX86" fmla="*/ 2927350 w 8804275"/>
                  <a:gd name="connsiteY86" fmla="*/ 466725 h 4305300"/>
                  <a:gd name="connsiteX87" fmla="*/ 2929731 w 8804275"/>
                  <a:gd name="connsiteY87" fmla="*/ 535781 h 4305300"/>
                  <a:gd name="connsiteX88" fmla="*/ 2958306 w 8804275"/>
                  <a:gd name="connsiteY88" fmla="*/ 588169 h 4305300"/>
                  <a:gd name="connsiteX89" fmla="*/ 3005932 w 8804275"/>
                  <a:gd name="connsiteY89" fmla="*/ 642938 h 4305300"/>
                  <a:gd name="connsiteX90" fmla="*/ 2955925 w 8804275"/>
                  <a:gd name="connsiteY90" fmla="*/ 781050 h 4305300"/>
                  <a:gd name="connsiteX91" fmla="*/ 2886869 w 8804275"/>
                  <a:gd name="connsiteY91" fmla="*/ 847725 h 4305300"/>
                  <a:gd name="connsiteX92" fmla="*/ 2815431 w 8804275"/>
                  <a:gd name="connsiteY92" fmla="*/ 842963 h 4305300"/>
                  <a:gd name="connsiteX93" fmla="*/ 2777331 w 8804275"/>
                  <a:gd name="connsiteY93" fmla="*/ 900113 h 4305300"/>
                  <a:gd name="connsiteX94" fmla="*/ 2717800 w 8804275"/>
                  <a:gd name="connsiteY94" fmla="*/ 914400 h 4305300"/>
                  <a:gd name="connsiteX95" fmla="*/ 2648744 w 8804275"/>
                  <a:gd name="connsiteY95" fmla="*/ 854869 h 4305300"/>
                  <a:gd name="connsiteX96" fmla="*/ 2593975 w 8804275"/>
                  <a:gd name="connsiteY96" fmla="*/ 826294 h 4305300"/>
                  <a:gd name="connsiteX97" fmla="*/ 2551113 w 8804275"/>
                  <a:gd name="connsiteY97" fmla="*/ 840581 h 4305300"/>
                  <a:gd name="connsiteX98" fmla="*/ 2498725 w 8804275"/>
                  <a:gd name="connsiteY98" fmla="*/ 823913 h 4305300"/>
                  <a:gd name="connsiteX99" fmla="*/ 2432050 w 8804275"/>
                  <a:gd name="connsiteY99" fmla="*/ 769144 h 4305300"/>
                  <a:gd name="connsiteX100" fmla="*/ 2386806 w 8804275"/>
                  <a:gd name="connsiteY100" fmla="*/ 781050 h 4305300"/>
                  <a:gd name="connsiteX101" fmla="*/ 2365375 w 8804275"/>
                  <a:gd name="connsiteY101" fmla="*/ 750094 h 4305300"/>
                  <a:gd name="connsiteX102" fmla="*/ 2308225 w 8804275"/>
                  <a:gd name="connsiteY102" fmla="*/ 790575 h 4305300"/>
                  <a:gd name="connsiteX103" fmla="*/ 2191544 w 8804275"/>
                  <a:gd name="connsiteY103" fmla="*/ 769144 h 4305300"/>
                  <a:gd name="connsiteX104" fmla="*/ 2141538 w 8804275"/>
                  <a:gd name="connsiteY104" fmla="*/ 716756 h 4305300"/>
                  <a:gd name="connsiteX105" fmla="*/ 2098675 w 8804275"/>
                  <a:gd name="connsiteY105" fmla="*/ 702469 h 4305300"/>
                  <a:gd name="connsiteX106" fmla="*/ 2055813 w 8804275"/>
                  <a:gd name="connsiteY106" fmla="*/ 728663 h 4305300"/>
                  <a:gd name="connsiteX107" fmla="*/ 2003425 w 8804275"/>
                  <a:gd name="connsiteY107" fmla="*/ 638175 h 4305300"/>
                  <a:gd name="connsiteX108" fmla="*/ 1993900 w 8804275"/>
                  <a:gd name="connsiteY108" fmla="*/ 490537 h 4305300"/>
                  <a:gd name="connsiteX109" fmla="*/ 1941512 w 8804275"/>
                  <a:gd name="connsiteY109" fmla="*/ 483393 h 4305300"/>
                  <a:gd name="connsiteX110" fmla="*/ 1851025 w 8804275"/>
                  <a:gd name="connsiteY110" fmla="*/ 473869 h 4305300"/>
                  <a:gd name="connsiteX111" fmla="*/ 1796256 w 8804275"/>
                  <a:gd name="connsiteY111" fmla="*/ 435769 h 4305300"/>
                  <a:gd name="connsiteX112" fmla="*/ 1727200 w 8804275"/>
                  <a:gd name="connsiteY112" fmla="*/ 445294 h 4305300"/>
                  <a:gd name="connsiteX113" fmla="*/ 1681956 w 8804275"/>
                  <a:gd name="connsiteY113" fmla="*/ 419100 h 4305300"/>
                  <a:gd name="connsiteX114" fmla="*/ 1672432 w 8804275"/>
                  <a:gd name="connsiteY114" fmla="*/ 347663 h 4305300"/>
                  <a:gd name="connsiteX115" fmla="*/ 1648619 w 8804275"/>
                  <a:gd name="connsiteY115" fmla="*/ 333375 h 4305300"/>
                  <a:gd name="connsiteX116" fmla="*/ 1610519 w 8804275"/>
                  <a:gd name="connsiteY116" fmla="*/ 380999 h 4305300"/>
                  <a:gd name="connsiteX117" fmla="*/ 1531937 w 8804275"/>
                  <a:gd name="connsiteY117" fmla="*/ 307181 h 4305300"/>
                  <a:gd name="connsiteX118" fmla="*/ 1491456 w 8804275"/>
                  <a:gd name="connsiteY118" fmla="*/ 347663 h 4305300"/>
                  <a:gd name="connsiteX119" fmla="*/ 1415256 w 8804275"/>
                  <a:gd name="connsiteY119" fmla="*/ 333375 h 4305300"/>
                  <a:gd name="connsiteX120" fmla="*/ 1336675 w 8804275"/>
                  <a:gd name="connsiteY120" fmla="*/ 359569 h 4305300"/>
                  <a:gd name="connsiteX121" fmla="*/ 1277144 w 8804275"/>
                  <a:gd name="connsiteY121" fmla="*/ 407193 h 4305300"/>
                  <a:gd name="connsiteX122" fmla="*/ 1203325 w 8804275"/>
                  <a:gd name="connsiteY122" fmla="*/ 419100 h 4305300"/>
                  <a:gd name="connsiteX123" fmla="*/ 1167606 w 8804275"/>
                  <a:gd name="connsiteY123" fmla="*/ 411956 h 4305300"/>
                  <a:gd name="connsiteX124" fmla="*/ 1089026 w 8804275"/>
                  <a:gd name="connsiteY124" fmla="*/ 442913 h 4305300"/>
                  <a:gd name="connsiteX125" fmla="*/ 1067594 w 8804275"/>
                  <a:gd name="connsiteY125" fmla="*/ 471488 h 4305300"/>
                  <a:gd name="connsiteX126" fmla="*/ 1000919 w 8804275"/>
                  <a:gd name="connsiteY126" fmla="*/ 461963 h 4305300"/>
                  <a:gd name="connsiteX127" fmla="*/ 931863 w 8804275"/>
                  <a:gd name="connsiteY127" fmla="*/ 485775 h 4305300"/>
                  <a:gd name="connsiteX128" fmla="*/ 877094 w 8804275"/>
                  <a:gd name="connsiteY128" fmla="*/ 523875 h 4305300"/>
                  <a:gd name="connsiteX129" fmla="*/ 781844 w 8804275"/>
                  <a:gd name="connsiteY129" fmla="*/ 538162 h 4305300"/>
                  <a:gd name="connsiteX130" fmla="*/ 767556 w 8804275"/>
                  <a:gd name="connsiteY130" fmla="*/ 559594 h 4305300"/>
                  <a:gd name="connsiteX131" fmla="*/ 779462 w 8804275"/>
                  <a:gd name="connsiteY131" fmla="*/ 604838 h 4305300"/>
                  <a:gd name="connsiteX132" fmla="*/ 679451 w 8804275"/>
                  <a:gd name="connsiteY132" fmla="*/ 657225 h 4305300"/>
                  <a:gd name="connsiteX133" fmla="*/ 641350 w 8804275"/>
                  <a:gd name="connsiteY133" fmla="*/ 628649 h 4305300"/>
                  <a:gd name="connsiteX134" fmla="*/ 610394 w 8804275"/>
                  <a:gd name="connsiteY134" fmla="*/ 685800 h 4305300"/>
                  <a:gd name="connsiteX135" fmla="*/ 553244 w 8804275"/>
                  <a:gd name="connsiteY135" fmla="*/ 647700 h 4305300"/>
                  <a:gd name="connsiteX136" fmla="*/ 517525 w 8804275"/>
                  <a:gd name="connsiteY136" fmla="*/ 676275 h 4305300"/>
                  <a:gd name="connsiteX137" fmla="*/ 481806 w 8804275"/>
                  <a:gd name="connsiteY137" fmla="*/ 640556 h 4305300"/>
                  <a:gd name="connsiteX138" fmla="*/ 429419 w 8804275"/>
                  <a:gd name="connsiteY138" fmla="*/ 652463 h 4305300"/>
                  <a:gd name="connsiteX139" fmla="*/ 384175 w 8804275"/>
                  <a:gd name="connsiteY139" fmla="*/ 623888 h 4305300"/>
                  <a:gd name="connsiteX140" fmla="*/ 360363 w 8804275"/>
                  <a:gd name="connsiteY140" fmla="*/ 642938 h 4305300"/>
                  <a:gd name="connsiteX141" fmla="*/ 0 w 8804275"/>
                  <a:gd name="connsiteY141" fmla="*/ 448469 h 4305300"/>
                  <a:gd name="connsiteX142" fmla="*/ 265113 w 8804275"/>
                  <a:gd name="connsiteY142" fmla="*/ 740568 h 4305300"/>
                  <a:gd name="connsiteX143" fmla="*/ 231775 w 8804275"/>
                  <a:gd name="connsiteY143" fmla="*/ 769144 h 4305300"/>
                  <a:gd name="connsiteX144" fmla="*/ 236538 w 8804275"/>
                  <a:gd name="connsiteY144" fmla="*/ 812006 h 4305300"/>
                  <a:gd name="connsiteX145" fmla="*/ 203200 w 8804275"/>
                  <a:gd name="connsiteY145" fmla="*/ 816769 h 4305300"/>
                  <a:gd name="connsiteX146" fmla="*/ 207963 w 8804275"/>
                  <a:gd name="connsiteY146" fmla="*/ 840581 h 4305300"/>
                  <a:gd name="connsiteX147" fmla="*/ 265112 w 8804275"/>
                  <a:gd name="connsiteY147" fmla="*/ 914400 h 4305300"/>
                  <a:gd name="connsiteX148" fmla="*/ 227013 w 8804275"/>
                  <a:gd name="connsiteY148" fmla="*/ 962025 h 4305300"/>
                  <a:gd name="connsiteX149" fmla="*/ 281781 w 8804275"/>
                  <a:gd name="connsiteY149" fmla="*/ 997744 h 4305300"/>
                  <a:gd name="connsiteX150" fmla="*/ 372269 w 8804275"/>
                  <a:gd name="connsiteY150" fmla="*/ 1085850 h 4305300"/>
                  <a:gd name="connsiteX151" fmla="*/ 374650 w 8804275"/>
                  <a:gd name="connsiteY151" fmla="*/ 1145381 h 4305300"/>
                  <a:gd name="connsiteX152" fmla="*/ 510381 w 8804275"/>
                  <a:gd name="connsiteY152" fmla="*/ 1278732 h 4305300"/>
                  <a:gd name="connsiteX153" fmla="*/ 565150 w 8804275"/>
                  <a:gd name="connsiteY153" fmla="*/ 1254919 h 4305300"/>
                  <a:gd name="connsiteX154" fmla="*/ 603250 w 8804275"/>
                  <a:gd name="connsiteY154" fmla="*/ 1281112 h 4305300"/>
                  <a:gd name="connsiteX155" fmla="*/ 617538 w 8804275"/>
                  <a:gd name="connsiteY155" fmla="*/ 1331118 h 4305300"/>
                  <a:gd name="connsiteX156" fmla="*/ 660400 w 8804275"/>
                  <a:gd name="connsiteY156" fmla="*/ 1366838 h 4305300"/>
                  <a:gd name="connsiteX157" fmla="*/ 700881 w 8804275"/>
                  <a:gd name="connsiteY157" fmla="*/ 1354931 h 4305300"/>
                  <a:gd name="connsiteX158" fmla="*/ 719931 w 8804275"/>
                  <a:gd name="connsiteY158" fmla="*/ 1412081 h 4305300"/>
                  <a:gd name="connsiteX159" fmla="*/ 767556 w 8804275"/>
                  <a:gd name="connsiteY159" fmla="*/ 1454944 h 4305300"/>
                  <a:gd name="connsiteX160" fmla="*/ 791369 w 8804275"/>
                  <a:gd name="connsiteY160" fmla="*/ 1557338 h 4305300"/>
                  <a:gd name="connsiteX161" fmla="*/ 788988 w 8804275"/>
                  <a:gd name="connsiteY161" fmla="*/ 1604963 h 4305300"/>
                  <a:gd name="connsiteX162" fmla="*/ 824706 w 8804275"/>
                  <a:gd name="connsiteY162" fmla="*/ 1704975 h 4305300"/>
                  <a:gd name="connsiteX163" fmla="*/ 869950 w 8804275"/>
                  <a:gd name="connsiteY163" fmla="*/ 1762125 h 4305300"/>
                  <a:gd name="connsiteX164" fmla="*/ 886618 w 8804275"/>
                  <a:gd name="connsiteY164" fmla="*/ 1919287 h 4305300"/>
                  <a:gd name="connsiteX165" fmla="*/ 853281 w 8804275"/>
                  <a:gd name="connsiteY165" fmla="*/ 1981200 h 4305300"/>
                  <a:gd name="connsiteX166" fmla="*/ 822325 w 8804275"/>
                  <a:gd name="connsiteY166" fmla="*/ 2057400 h 4305300"/>
                  <a:gd name="connsiteX167" fmla="*/ 836613 w 8804275"/>
                  <a:gd name="connsiteY167" fmla="*/ 2114550 h 4305300"/>
                  <a:gd name="connsiteX168" fmla="*/ 738981 w 8804275"/>
                  <a:gd name="connsiteY168" fmla="*/ 2221707 h 4305300"/>
                  <a:gd name="connsiteX169" fmla="*/ 696119 w 8804275"/>
                  <a:gd name="connsiteY169" fmla="*/ 2336006 h 4305300"/>
                  <a:gd name="connsiteX170" fmla="*/ 729456 w 8804275"/>
                  <a:gd name="connsiteY170" fmla="*/ 2376488 h 4305300"/>
                  <a:gd name="connsiteX171" fmla="*/ 712788 w 8804275"/>
                  <a:gd name="connsiteY171" fmla="*/ 2405063 h 4305300"/>
                  <a:gd name="connsiteX172" fmla="*/ 743744 w 8804275"/>
                  <a:gd name="connsiteY172" fmla="*/ 2462213 h 4305300"/>
                  <a:gd name="connsiteX173" fmla="*/ 772319 w 8804275"/>
                  <a:gd name="connsiteY173" fmla="*/ 2462213 h 4305300"/>
                  <a:gd name="connsiteX174" fmla="*/ 934244 w 8804275"/>
                  <a:gd name="connsiteY174" fmla="*/ 2564606 h 4305300"/>
                  <a:gd name="connsiteX175" fmla="*/ 1039019 w 8804275"/>
                  <a:gd name="connsiteY175" fmla="*/ 2562225 h 4305300"/>
                  <a:gd name="connsiteX176" fmla="*/ 1117600 w 8804275"/>
                  <a:gd name="connsiteY176" fmla="*/ 2616994 h 4305300"/>
                  <a:gd name="connsiteX177" fmla="*/ 1248568 w 8804275"/>
                  <a:gd name="connsiteY177" fmla="*/ 2619375 h 4305300"/>
                  <a:gd name="connsiteX178" fmla="*/ 1439068 w 8804275"/>
                  <a:gd name="connsiteY178" fmla="*/ 2688431 h 4305300"/>
                  <a:gd name="connsiteX179" fmla="*/ 1641475 w 8804275"/>
                  <a:gd name="connsiteY179" fmla="*/ 2838450 h 4305300"/>
                  <a:gd name="connsiteX180" fmla="*/ 1674812 w 8804275"/>
                  <a:gd name="connsiteY180" fmla="*/ 2905125 h 4305300"/>
                  <a:gd name="connsiteX181" fmla="*/ 1841500 w 8804275"/>
                  <a:gd name="connsiteY181" fmla="*/ 3031331 h 4305300"/>
                  <a:gd name="connsiteX182" fmla="*/ 1912938 w 8804275"/>
                  <a:gd name="connsiteY182" fmla="*/ 3026569 h 4305300"/>
                  <a:gd name="connsiteX183" fmla="*/ 1948657 w 8804275"/>
                  <a:gd name="connsiteY183" fmla="*/ 3050381 h 4305300"/>
                  <a:gd name="connsiteX184" fmla="*/ 1920081 w 8804275"/>
                  <a:gd name="connsiteY184" fmla="*/ 3090863 h 4305300"/>
                  <a:gd name="connsiteX185" fmla="*/ 1927225 w 8804275"/>
                  <a:gd name="connsiteY185" fmla="*/ 3143250 h 4305300"/>
                  <a:gd name="connsiteX186" fmla="*/ 1979613 w 8804275"/>
                  <a:gd name="connsiteY186" fmla="*/ 3169444 h 4305300"/>
                  <a:gd name="connsiteX187" fmla="*/ 2041525 w 8804275"/>
                  <a:gd name="connsiteY187" fmla="*/ 3393282 h 4305300"/>
                  <a:gd name="connsiteX188" fmla="*/ 2032000 w 8804275"/>
                  <a:gd name="connsiteY188" fmla="*/ 3457575 h 4305300"/>
                  <a:gd name="connsiteX189" fmla="*/ 2167731 w 8804275"/>
                  <a:gd name="connsiteY189" fmla="*/ 3624263 h 4305300"/>
                  <a:gd name="connsiteX190" fmla="*/ 2186781 w 8804275"/>
                  <a:gd name="connsiteY190" fmla="*/ 3674269 h 4305300"/>
                  <a:gd name="connsiteX191" fmla="*/ 2160588 w 8804275"/>
                  <a:gd name="connsiteY191" fmla="*/ 3693319 h 4305300"/>
                  <a:gd name="connsiteX192" fmla="*/ 2262981 w 8804275"/>
                  <a:gd name="connsiteY192" fmla="*/ 3702844 h 4305300"/>
                  <a:gd name="connsiteX193" fmla="*/ 2374900 w 8804275"/>
                  <a:gd name="connsiteY193" fmla="*/ 3690938 h 4305300"/>
                  <a:gd name="connsiteX194" fmla="*/ 2653506 w 8804275"/>
                  <a:gd name="connsiteY194" fmla="*/ 3774281 h 4305300"/>
                  <a:gd name="connsiteX195" fmla="*/ 3060700 w 8804275"/>
                  <a:gd name="connsiteY195" fmla="*/ 3855244 h 4305300"/>
                  <a:gd name="connsiteX196" fmla="*/ 3258344 w 8804275"/>
                  <a:gd name="connsiteY196" fmla="*/ 3824287 h 4305300"/>
                  <a:gd name="connsiteX197" fmla="*/ 3303588 w 8804275"/>
                  <a:gd name="connsiteY197" fmla="*/ 3836193 h 4305300"/>
                  <a:gd name="connsiteX198" fmla="*/ 3358356 w 8804275"/>
                  <a:gd name="connsiteY198" fmla="*/ 3812382 h 4305300"/>
                  <a:gd name="connsiteX199" fmla="*/ 3751262 w 8804275"/>
                  <a:gd name="connsiteY199" fmla="*/ 3902869 h 4305300"/>
                  <a:gd name="connsiteX200" fmla="*/ 3834607 w 8804275"/>
                  <a:gd name="connsiteY200" fmla="*/ 4000500 h 4305300"/>
                  <a:gd name="connsiteX201" fmla="*/ 3953669 w 8804275"/>
                  <a:gd name="connsiteY201" fmla="*/ 4071938 h 4305300"/>
                  <a:gd name="connsiteX202" fmla="*/ 4013200 w 8804275"/>
                  <a:gd name="connsiteY202" fmla="*/ 4055269 h 4305300"/>
                  <a:gd name="connsiteX203" fmla="*/ 4363243 w 8804275"/>
                  <a:gd name="connsiteY203" fmla="*/ 4229100 h 4305300"/>
                  <a:gd name="connsiteX204" fmla="*/ 4589463 w 8804275"/>
                  <a:gd name="connsiteY204" fmla="*/ 4200525 h 4305300"/>
                  <a:gd name="connsiteX205" fmla="*/ 4598988 w 8804275"/>
                  <a:gd name="connsiteY205" fmla="*/ 4279106 h 4305300"/>
                  <a:gd name="connsiteX206" fmla="*/ 4684713 w 8804275"/>
                  <a:gd name="connsiteY206" fmla="*/ 4274343 h 4305300"/>
                  <a:gd name="connsiteX207" fmla="*/ 4763294 w 8804275"/>
                  <a:gd name="connsiteY207" fmla="*/ 4305300 h 4305300"/>
                  <a:gd name="connsiteX208" fmla="*/ 4806156 w 8804275"/>
                  <a:gd name="connsiteY208" fmla="*/ 4245769 h 4305300"/>
                  <a:gd name="connsiteX209" fmla="*/ 5477669 w 8804275"/>
                  <a:gd name="connsiteY209" fmla="*/ 3926681 h 4305300"/>
                  <a:gd name="connsiteX210" fmla="*/ 5565775 w 8804275"/>
                  <a:gd name="connsiteY210" fmla="*/ 3955257 h 4305300"/>
                  <a:gd name="connsiteX211" fmla="*/ 5696744 w 8804275"/>
                  <a:gd name="connsiteY211" fmla="*/ 3926681 h 4305300"/>
                  <a:gd name="connsiteX212" fmla="*/ 5875337 w 8804275"/>
                  <a:gd name="connsiteY212" fmla="*/ 3943350 h 4305300"/>
                  <a:gd name="connsiteX213" fmla="*/ 5932488 w 8804275"/>
                  <a:gd name="connsiteY213" fmla="*/ 3917157 h 4305300"/>
                  <a:gd name="connsiteX214" fmla="*/ 6065837 w 8804275"/>
                  <a:gd name="connsiteY214" fmla="*/ 3914775 h 4305300"/>
                  <a:gd name="connsiteX215" fmla="*/ 6199187 w 8804275"/>
                  <a:gd name="connsiteY215" fmla="*/ 3817144 h 4305300"/>
                  <a:gd name="connsiteX216" fmla="*/ 6265862 w 8804275"/>
                  <a:gd name="connsiteY216" fmla="*/ 3810000 h 4305300"/>
                  <a:gd name="connsiteX217" fmla="*/ 6363494 w 8804275"/>
                  <a:gd name="connsiteY217" fmla="*/ 3736181 h 4305300"/>
                  <a:gd name="connsiteX218" fmla="*/ 6437313 w 8804275"/>
                  <a:gd name="connsiteY218" fmla="*/ 3667125 h 4305300"/>
                  <a:gd name="connsiteX219" fmla="*/ 6446838 w 8804275"/>
                  <a:gd name="connsiteY219" fmla="*/ 3605213 h 4305300"/>
                  <a:gd name="connsiteX220" fmla="*/ 6480175 w 8804275"/>
                  <a:gd name="connsiteY220" fmla="*/ 3536156 h 4305300"/>
                  <a:gd name="connsiteX221" fmla="*/ 6632575 w 8804275"/>
                  <a:gd name="connsiteY221" fmla="*/ 3429000 h 4305300"/>
                  <a:gd name="connsiteX222" fmla="*/ 6665913 w 8804275"/>
                  <a:gd name="connsiteY222" fmla="*/ 3433763 h 4305300"/>
                  <a:gd name="connsiteX223" fmla="*/ 6718300 w 8804275"/>
                  <a:gd name="connsiteY223" fmla="*/ 3355181 h 4305300"/>
                  <a:gd name="connsiteX224" fmla="*/ 6765925 w 8804275"/>
                  <a:gd name="connsiteY224" fmla="*/ 3317081 h 4305300"/>
                  <a:gd name="connsiteX225" fmla="*/ 6751638 w 8804275"/>
                  <a:gd name="connsiteY225" fmla="*/ 3248025 h 4305300"/>
                  <a:gd name="connsiteX226" fmla="*/ 6701631 w 8804275"/>
                  <a:gd name="connsiteY226" fmla="*/ 3217068 h 4305300"/>
                  <a:gd name="connsiteX227" fmla="*/ 6642100 w 8804275"/>
                  <a:gd name="connsiteY227" fmla="*/ 3162300 h 4305300"/>
                  <a:gd name="connsiteX228" fmla="*/ 6623050 w 8804275"/>
                  <a:gd name="connsiteY228" fmla="*/ 3105150 h 4305300"/>
                  <a:gd name="connsiteX229" fmla="*/ 6587331 w 8804275"/>
                  <a:gd name="connsiteY229" fmla="*/ 3071813 h 4305300"/>
                  <a:gd name="connsiteX230" fmla="*/ 6613525 w 8804275"/>
                  <a:gd name="connsiteY230" fmla="*/ 3019425 h 4305300"/>
                  <a:gd name="connsiteX231" fmla="*/ 6654006 w 8804275"/>
                  <a:gd name="connsiteY231" fmla="*/ 2840831 h 4305300"/>
                  <a:gd name="connsiteX232" fmla="*/ 6694488 w 8804275"/>
                  <a:gd name="connsiteY232" fmla="*/ 2774156 h 4305300"/>
                  <a:gd name="connsiteX233" fmla="*/ 6839744 w 8804275"/>
                  <a:gd name="connsiteY233" fmla="*/ 2757487 h 4305300"/>
                  <a:gd name="connsiteX234" fmla="*/ 6908800 w 8804275"/>
                  <a:gd name="connsiteY234" fmla="*/ 2814638 h 4305300"/>
                  <a:gd name="connsiteX235" fmla="*/ 6985000 w 8804275"/>
                  <a:gd name="connsiteY235" fmla="*/ 2838450 h 4305300"/>
                  <a:gd name="connsiteX236" fmla="*/ 7189787 w 8804275"/>
                  <a:gd name="connsiteY236" fmla="*/ 2843213 h 4305300"/>
                  <a:gd name="connsiteX237" fmla="*/ 7366000 w 8804275"/>
                  <a:gd name="connsiteY237" fmla="*/ 2705100 h 4305300"/>
                  <a:gd name="connsiteX238" fmla="*/ 7423150 w 8804275"/>
                  <a:gd name="connsiteY238" fmla="*/ 2614612 h 4305300"/>
                  <a:gd name="connsiteX239" fmla="*/ 7449344 w 8804275"/>
                  <a:gd name="connsiteY239" fmla="*/ 2531269 h 4305300"/>
                  <a:gd name="connsiteX240" fmla="*/ 7580312 w 8804275"/>
                  <a:gd name="connsiteY240" fmla="*/ 2531269 h 4305300"/>
                  <a:gd name="connsiteX241" fmla="*/ 7754144 w 8804275"/>
                  <a:gd name="connsiteY241" fmla="*/ 2474118 h 4305300"/>
                  <a:gd name="connsiteX242" fmla="*/ 7813675 w 8804275"/>
                  <a:gd name="connsiteY242" fmla="*/ 2362200 h 4305300"/>
                  <a:gd name="connsiteX243" fmla="*/ 7877969 w 8804275"/>
                  <a:gd name="connsiteY243" fmla="*/ 2326481 h 4305300"/>
                  <a:gd name="connsiteX244" fmla="*/ 7856538 w 8804275"/>
                  <a:gd name="connsiteY244" fmla="*/ 2281238 h 4305300"/>
                  <a:gd name="connsiteX245" fmla="*/ 7935119 w 8804275"/>
                  <a:gd name="connsiteY245" fmla="*/ 2112168 h 4305300"/>
                  <a:gd name="connsiteX246" fmla="*/ 7989888 w 8804275"/>
                  <a:gd name="connsiteY246" fmla="*/ 2052638 h 4305300"/>
                  <a:gd name="connsiteX247" fmla="*/ 8027988 w 8804275"/>
                  <a:gd name="connsiteY247" fmla="*/ 2047875 h 4305300"/>
                  <a:gd name="connsiteX248" fmla="*/ 8073231 w 8804275"/>
                  <a:gd name="connsiteY248" fmla="*/ 2052638 h 4305300"/>
                  <a:gd name="connsiteX249" fmla="*/ 8137525 w 8804275"/>
                  <a:gd name="connsiteY249" fmla="*/ 2019300 h 4305300"/>
                  <a:gd name="connsiteX250" fmla="*/ 8147050 w 8804275"/>
                  <a:gd name="connsiteY250" fmla="*/ 1955006 h 4305300"/>
                  <a:gd name="connsiteX251" fmla="*/ 8187530 w 8804275"/>
                  <a:gd name="connsiteY251" fmla="*/ 1919288 h 4305300"/>
                  <a:gd name="connsiteX252" fmla="*/ 8247063 w 8804275"/>
                  <a:gd name="connsiteY252" fmla="*/ 1959768 h 4305300"/>
                  <a:gd name="connsiteX253" fmla="*/ 8273257 w 8804275"/>
                  <a:gd name="connsiteY253" fmla="*/ 1909762 h 4305300"/>
                  <a:gd name="connsiteX254" fmla="*/ 8368506 w 8804275"/>
                  <a:gd name="connsiteY254" fmla="*/ 1840706 h 4305300"/>
                  <a:gd name="connsiteX255" fmla="*/ 8430419 w 8804275"/>
                  <a:gd name="connsiteY255" fmla="*/ 1847850 h 4305300"/>
                  <a:gd name="connsiteX256" fmla="*/ 8480425 w 8804275"/>
                  <a:gd name="connsiteY256" fmla="*/ 1828800 h 4305300"/>
                  <a:gd name="connsiteX257" fmla="*/ 8518525 w 8804275"/>
                  <a:gd name="connsiteY257" fmla="*/ 1800225 h 4305300"/>
                  <a:gd name="connsiteX258" fmla="*/ 8551863 w 8804275"/>
                  <a:gd name="connsiteY258" fmla="*/ 1797844 h 4305300"/>
                  <a:gd name="connsiteX259" fmla="*/ 8587581 w 8804275"/>
                  <a:gd name="connsiteY259" fmla="*/ 1828800 h 4305300"/>
                  <a:gd name="connsiteX260" fmla="*/ 8647113 w 8804275"/>
                  <a:gd name="connsiteY260" fmla="*/ 1828800 h 4305300"/>
                  <a:gd name="connsiteX261" fmla="*/ 8685212 w 8804275"/>
                  <a:gd name="connsiteY261" fmla="*/ 1809750 h 4305300"/>
                  <a:gd name="connsiteX262" fmla="*/ 8768556 w 8804275"/>
                  <a:gd name="connsiteY262" fmla="*/ 1812132 h 4305300"/>
                  <a:gd name="connsiteX263" fmla="*/ 8799513 w 8804275"/>
                  <a:gd name="connsiteY263" fmla="*/ 1766888 h 4305300"/>
                  <a:gd name="connsiteX264" fmla="*/ 8804275 w 8804275"/>
                  <a:gd name="connsiteY264" fmla="*/ 1704975 h 4305300"/>
                  <a:gd name="connsiteX265" fmla="*/ 8754268 w 8804275"/>
                  <a:gd name="connsiteY265" fmla="*/ 1664494 h 4305300"/>
                  <a:gd name="connsiteX266" fmla="*/ 8737600 w 8804275"/>
                  <a:gd name="connsiteY266" fmla="*/ 1609725 h 4305300"/>
                  <a:gd name="connsiteX267" fmla="*/ 8647113 w 8804275"/>
                  <a:gd name="connsiteY267" fmla="*/ 1547813 h 4305300"/>
                  <a:gd name="connsiteX268" fmla="*/ 8606631 w 8804275"/>
                  <a:gd name="connsiteY268" fmla="*/ 1526381 h 4305300"/>
                  <a:gd name="connsiteX269" fmla="*/ 8568531 w 8804275"/>
                  <a:gd name="connsiteY269" fmla="*/ 1481138 h 4305300"/>
                  <a:gd name="connsiteX270" fmla="*/ 8537575 w 8804275"/>
                  <a:gd name="connsiteY270" fmla="*/ 1478756 h 4305300"/>
                  <a:gd name="connsiteX271" fmla="*/ 8520906 w 8804275"/>
                  <a:gd name="connsiteY271" fmla="*/ 1426369 h 4305300"/>
                  <a:gd name="connsiteX272" fmla="*/ 8480425 w 8804275"/>
                  <a:gd name="connsiteY272" fmla="*/ 1409700 h 4305300"/>
                  <a:gd name="connsiteX273" fmla="*/ 8480425 w 8804275"/>
                  <a:gd name="connsiteY273" fmla="*/ 1409700 h 4305300"/>
                  <a:gd name="connsiteX274" fmla="*/ 8439944 w 8804275"/>
                  <a:gd name="connsiteY274" fmla="*/ 1414463 h 4305300"/>
                  <a:gd name="connsiteX275" fmla="*/ 8354218 w 8804275"/>
                  <a:gd name="connsiteY275" fmla="*/ 1340644 h 4305300"/>
                  <a:gd name="connsiteX276" fmla="*/ 8173244 w 8804275"/>
                  <a:gd name="connsiteY276" fmla="*/ 1340643 h 4305300"/>
                  <a:gd name="connsiteX277" fmla="*/ 8120856 w 8804275"/>
                  <a:gd name="connsiteY277" fmla="*/ 1378744 h 4305300"/>
                  <a:gd name="connsiteX278" fmla="*/ 8070850 w 8804275"/>
                  <a:gd name="connsiteY278" fmla="*/ 1457325 h 4305300"/>
                  <a:gd name="connsiteX279" fmla="*/ 8087519 w 8804275"/>
                  <a:gd name="connsiteY279" fmla="*/ 1478756 h 4305300"/>
                  <a:gd name="connsiteX280" fmla="*/ 8042275 w 8804275"/>
                  <a:gd name="connsiteY280" fmla="*/ 1528762 h 4305300"/>
                  <a:gd name="connsiteX281" fmla="*/ 7892256 w 8804275"/>
                  <a:gd name="connsiteY281" fmla="*/ 1452562 h 4305300"/>
                  <a:gd name="connsiteX282" fmla="*/ 7801769 w 8804275"/>
                  <a:gd name="connsiteY282" fmla="*/ 1488281 h 4305300"/>
                  <a:gd name="connsiteX283" fmla="*/ 7727950 w 8804275"/>
                  <a:gd name="connsiteY283" fmla="*/ 1485900 h 4305300"/>
                  <a:gd name="connsiteX284" fmla="*/ 7670800 w 8804275"/>
                  <a:gd name="connsiteY284" fmla="*/ 1581150 h 4305300"/>
                  <a:gd name="connsiteX285" fmla="*/ 7532688 w 8804275"/>
                  <a:gd name="connsiteY285" fmla="*/ 1483519 h 4305300"/>
                  <a:gd name="connsiteX0" fmla="*/ 7532688 w 8804275"/>
                  <a:gd name="connsiteY0" fmla="*/ 1483519 h 4305300"/>
                  <a:gd name="connsiteX1" fmla="*/ 7525544 w 8804275"/>
                  <a:gd name="connsiteY1" fmla="*/ 1428750 h 4305300"/>
                  <a:gd name="connsiteX2" fmla="*/ 7592219 w 8804275"/>
                  <a:gd name="connsiteY2" fmla="*/ 1354931 h 4305300"/>
                  <a:gd name="connsiteX3" fmla="*/ 7575550 w 8804275"/>
                  <a:gd name="connsiteY3" fmla="*/ 1283494 h 4305300"/>
                  <a:gd name="connsiteX4" fmla="*/ 7589838 w 8804275"/>
                  <a:gd name="connsiteY4" fmla="*/ 1188244 h 4305300"/>
                  <a:gd name="connsiteX5" fmla="*/ 7627938 w 8804275"/>
                  <a:gd name="connsiteY5" fmla="*/ 1131094 h 4305300"/>
                  <a:gd name="connsiteX6" fmla="*/ 7608887 w 8804275"/>
                  <a:gd name="connsiteY6" fmla="*/ 1097756 h 4305300"/>
                  <a:gd name="connsiteX7" fmla="*/ 7706518 w 8804275"/>
                  <a:gd name="connsiteY7" fmla="*/ 697706 h 4305300"/>
                  <a:gd name="connsiteX8" fmla="*/ 7699375 w 8804275"/>
                  <a:gd name="connsiteY8" fmla="*/ 669131 h 4305300"/>
                  <a:gd name="connsiteX9" fmla="*/ 7570788 w 8804275"/>
                  <a:gd name="connsiteY9" fmla="*/ 647700 h 4305300"/>
                  <a:gd name="connsiteX10" fmla="*/ 7387432 w 8804275"/>
                  <a:gd name="connsiteY10" fmla="*/ 726281 h 4305300"/>
                  <a:gd name="connsiteX11" fmla="*/ 7230268 w 8804275"/>
                  <a:gd name="connsiteY11" fmla="*/ 611981 h 4305300"/>
                  <a:gd name="connsiteX12" fmla="*/ 7154069 w 8804275"/>
                  <a:gd name="connsiteY12" fmla="*/ 619125 h 4305300"/>
                  <a:gd name="connsiteX13" fmla="*/ 7080250 w 8804275"/>
                  <a:gd name="connsiteY13" fmla="*/ 614363 h 4305300"/>
                  <a:gd name="connsiteX14" fmla="*/ 6942138 w 8804275"/>
                  <a:gd name="connsiteY14" fmla="*/ 719138 h 4305300"/>
                  <a:gd name="connsiteX15" fmla="*/ 6834981 w 8804275"/>
                  <a:gd name="connsiteY15" fmla="*/ 826294 h 4305300"/>
                  <a:gd name="connsiteX16" fmla="*/ 6792119 w 8804275"/>
                  <a:gd name="connsiteY16" fmla="*/ 895350 h 4305300"/>
                  <a:gd name="connsiteX17" fmla="*/ 6799263 w 8804275"/>
                  <a:gd name="connsiteY17" fmla="*/ 931069 h 4305300"/>
                  <a:gd name="connsiteX18" fmla="*/ 6737350 w 8804275"/>
                  <a:gd name="connsiteY18" fmla="*/ 942975 h 4305300"/>
                  <a:gd name="connsiteX19" fmla="*/ 6756400 w 8804275"/>
                  <a:gd name="connsiteY19" fmla="*/ 942975 h 4305300"/>
                  <a:gd name="connsiteX20" fmla="*/ 6723063 w 8804275"/>
                  <a:gd name="connsiteY20" fmla="*/ 973931 h 4305300"/>
                  <a:gd name="connsiteX21" fmla="*/ 6623050 w 8804275"/>
                  <a:gd name="connsiteY21" fmla="*/ 973932 h 4305300"/>
                  <a:gd name="connsiteX22" fmla="*/ 6527800 w 8804275"/>
                  <a:gd name="connsiteY22" fmla="*/ 1028700 h 4305300"/>
                  <a:gd name="connsiteX23" fmla="*/ 6446838 w 8804275"/>
                  <a:gd name="connsiteY23" fmla="*/ 1038225 h 4305300"/>
                  <a:gd name="connsiteX24" fmla="*/ 6406356 w 8804275"/>
                  <a:gd name="connsiteY24" fmla="*/ 1071563 h 4305300"/>
                  <a:gd name="connsiteX25" fmla="*/ 6356350 w 8804275"/>
                  <a:gd name="connsiteY25" fmla="*/ 1076325 h 4305300"/>
                  <a:gd name="connsiteX26" fmla="*/ 6234907 w 8804275"/>
                  <a:gd name="connsiteY26" fmla="*/ 1169194 h 4305300"/>
                  <a:gd name="connsiteX27" fmla="*/ 6175375 w 8804275"/>
                  <a:gd name="connsiteY27" fmla="*/ 1173956 h 4305300"/>
                  <a:gd name="connsiteX28" fmla="*/ 6122988 w 8804275"/>
                  <a:gd name="connsiteY28" fmla="*/ 1138238 h 4305300"/>
                  <a:gd name="connsiteX29" fmla="*/ 6096794 w 8804275"/>
                  <a:gd name="connsiteY29" fmla="*/ 1173956 h 4305300"/>
                  <a:gd name="connsiteX30" fmla="*/ 5899150 w 8804275"/>
                  <a:gd name="connsiteY30" fmla="*/ 1166813 h 4305300"/>
                  <a:gd name="connsiteX31" fmla="*/ 5837238 w 8804275"/>
                  <a:gd name="connsiteY31" fmla="*/ 1121569 h 4305300"/>
                  <a:gd name="connsiteX32" fmla="*/ 5639594 w 8804275"/>
                  <a:gd name="connsiteY32" fmla="*/ 1138238 h 4305300"/>
                  <a:gd name="connsiteX33" fmla="*/ 5551488 w 8804275"/>
                  <a:gd name="connsiteY33" fmla="*/ 1054893 h 4305300"/>
                  <a:gd name="connsiteX34" fmla="*/ 5475288 w 8804275"/>
                  <a:gd name="connsiteY34" fmla="*/ 1009650 h 4305300"/>
                  <a:gd name="connsiteX35" fmla="*/ 5477668 w 8804275"/>
                  <a:gd name="connsiteY35" fmla="*/ 952500 h 4305300"/>
                  <a:gd name="connsiteX36" fmla="*/ 5458619 w 8804275"/>
                  <a:gd name="connsiteY36" fmla="*/ 909637 h 4305300"/>
                  <a:gd name="connsiteX37" fmla="*/ 5363369 w 8804275"/>
                  <a:gd name="connsiteY37" fmla="*/ 912019 h 4305300"/>
                  <a:gd name="connsiteX38" fmla="*/ 5268119 w 8804275"/>
                  <a:gd name="connsiteY38" fmla="*/ 890588 h 4305300"/>
                  <a:gd name="connsiteX39" fmla="*/ 5199062 w 8804275"/>
                  <a:gd name="connsiteY39" fmla="*/ 823912 h 4305300"/>
                  <a:gd name="connsiteX40" fmla="*/ 5163344 w 8804275"/>
                  <a:gd name="connsiteY40" fmla="*/ 781050 h 4305300"/>
                  <a:gd name="connsiteX41" fmla="*/ 5082381 w 8804275"/>
                  <a:gd name="connsiteY41" fmla="*/ 757237 h 4305300"/>
                  <a:gd name="connsiteX42" fmla="*/ 5008563 w 8804275"/>
                  <a:gd name="connsiteY42" fmla="*/ 769143 h 4305300"/>
                  <a:gd name="connsiteX43" fmla="*/ 4951412 w 8804275"/>
                  <a:gd name="connsiteY43" fmla="*/ 716756 h 4305300"/>
                  <a:gd name="connsiteX44" fmla="*/ 4856163 w 8804275"/>
                  <a:gd name="connsiteY44" fmla="*/ 728663 h 4305300"/>
                  <a:gd name="connsiteX45" fmla="*/ 4803775 w 8804275"/>
                  <a:gd name="connsiteY45" fmla="*/ 702469 h 4305300"/>
                  <a:gd name="connsiteX46" fmla="*/ 4722813 w 8804275"/>
                  <a:gd name="connsiteY46" fmla="*/ 745331 h 4305300"/>
                  <a:gd name="connsiteX47" fmla="*/ 4584700 w 8804275"/>
                  <a:gd name="connsiteY47" fmla="*/ 769144 h 4305300"/>
                  <a:gd name="connsiteX48" fmla="*/ 4456113 w 8804275"/>
                  <a:gd name="connsiteY48" fmla="*/ 862013 h 4305300"/>
                  <a:gd name="connsiteX49" fmla="*/ 4408487 w 8804275"/>
                  <a:gd name="connsiteY49" fmla="*/ 823913 h 4305300"/>
                  <a:gd name="connsiteX50" fmla="*/ 4387056 w 8804275"/>
                  <a:gd name="connsiteY50" fmla="*/ 854868 h 4305300"/>
                  <a:gd name="connsiteX51" fmla="*/ 4313238 w 8804275"/>
                  <a:gd name="connsiteY51" fmla="*/ 804863 h 4305300"/>
                  <a:gd name="connsiteX52" fmla="*/ 4275138 w 8804275"/>
                  <a:gd name="connsiteY52" fmla="*/ 812006 h 4305300"/>
                  <a:gd name="connsiteX53" fmla="*/ 4253706 w 8804275"/>
                  <a:gd name="connsiteY53" fmla="*/ 773906 h 4305300"/>
                  <a:gd name="connsiteX54" fmla="*/ 4194175 w 8804275"/>
                  <a:gd name="connsiteY54" fmla="*/ 778669 h 4305300"/>
                  <a:gd name="connsiteX55" fmla="*/ 4148931 w 8804275"/>
                  <a:gd name="connsiteY55" fmla="*/ 750094 h 4305300"/>
                  <a:gd name="connsiteX56" fmla="*/ 4110831 w 8804275"/>
                  <a:gd name="connsiteY56" fmla="*/ 747713 h 4305300"/>
                  <a:gd name="connsiteX57" fmla="*/ 4091781 w 8804275"/>
                  <a:gd name="connsiteY57" fmla="*/ 700087 h 4305300"/>
                  <a:gd name="connsiteX58" fmla="*/ 4077494 w 8804275"/>
                  <a:gd name="connsiteY58" fmla="*/ 669131 h 4305300"/>
                  <a:gd name="connsiteX59" fmla="*/ 4032250 w 8804275"/>
                  <a:gd name="connsiteY59" fmla="*/ 678656 h 4305300"/>
                  <a:gd name="connsiteX60" fmla="*/ 4013200 w 8804275"/>
                  <a:gd name="connsiteY60" fmla="*/ 642938 h 4305300"/>
                  <a:gd name="connsiteX61" fmla="*/ 4034632 w 8804275"/>
                  <a:gd name="connsiteY61" fmla="*/ 588169 h 4305300"/>
                  <a:gd name="connsiteX62" fmla="*/ 4003675 w 8804275"/>
                  <a:gd name="connsiteY62" fmla="*/ 561975 h 4305300"/>
                  <a:gd name="connsiteX63" fmla="*/ 4020344 w 8804275"/>
                  <a:gd name="connsiteY63" fmla="*/ 519113 h 4305300"/>
                  <a:gd name="connsiteX64" fmla="*/ 3994150 w 8804275"/>
                  <a:gd name="connsiteY64" fmla="*/ 476250 h 4305300"/>
                  <a:gd name="connsiteX65" fmla="*/ 3989388 w 8804275"/>
                  <a:gd name="connsiteY65" fmla="*/ 414338 h 4305300"/>
                  <a:gd name="connsiteX66" fmla="*/ 4013200 w 8804275"/>
                  <a:gd name="connsiteY66" fmla="*/ 350043 h 4305300"/>
                  <a:gd name="connsiteX67" fmla="*/ 3975100 w 8804275"/>
                  <a:gd name="connsiteY67" fmla="*/ 352425 h 4305300"/>
                  <a:gd name="connsiteX68" fmla="*/ 3856038 w 8804275"/>
                  <a:gd name="connsiteY68" fmla="*/ 295275 h 4305300"/>
                  <a:gd name="connsiteX69" fmla="*/ 3817937 w 8804275"/>
                  <a:gd name="connsiteY69" fmla="*/ 300037 h 4305300"/>
                  <a:gd name="connsiteX70" fmla="*/ 3613150 w 8804275"/>
                  <a:gd name="connsiteY70" fmla="*/ 190500 h 4305300"/>
                  <a:gd name="connsiteX71" fmla="*/ 3508375 w 8804275"/>
                  <a:gd name="connsiteY71" fmla="*/ 159544 h 4305300"/>
                  <a:gd name="connsiteX72" fmla="*/ 3444081 w 8804275"/>
                  <a:gd name="connsiteY72" fmla="*/ 169068 h 4305300"/>
                  <a:gd name="connsiteX73" fmla="*/ 3413125 w 8804275"/>
                  <a:gd name="connsiteY73" fmla="*/ 104775 h 4305300"/>
                  <a:gd name="connsiteX74" fmla="*/ 3355975 w 8804275"/>
                  <a:gd name="connsiteY74" fmla="*/ 104775 h 4305300"/>
                  <a:gd name="connsiteX75" fmla="*/ 3217862 w 8804275"/>
                  <a:gd name="connsiteY75" fmla="*/ 0 h 4305300"/>
                  <a:gd name="connsiteX76" fmla="*/ 3184525 w 8804275"/>
                  <a:gd name="connsiteY76" fmla="*/ 59532 h 4305300"/>
                  <a:gd name="connsiteX77" fmla="*/ 3129756 w 8804275"/>
                  <a:gd name="connsiteY77" fmla="*/ 128588 h 4305300"/>
                  <a:gd name="connsiteX78" fmla="*/ 3086894 w 8804275"/>
                  <a:gd name="connsiteY78" fmla="*/ 145256 h 4305300"/>
                  <a:gd name="connsiteX79" fmla="*/ 3055938 w 8804275"/>
                  <a:gd name="connsiteY79" fmla="*/ 138113 h 4305300"/>
                  <a:gd name="connsiteX80" fmla="*/ 3032125 w 8804275"/>
                  <a:gd name="connsiteY80" fmla="*/ 166688 h 4305300"/>
                  <a:gd name="connsiteX81" fmla="*/ 3005931 w 8804275"/>
                  <a:gd name="connsiteY81" fmla="*/ 245269 h 4305300"/>
                  <a:gd name="connsiteX82" fmla="*/ 2963069 w 8804275"/>
                  <a:gd name="connsiteY82" fmla="*/ 242888 h 4305300"/>
                  <a:gd name="connsiteX83" fmla="*/ 2932112 w 8804275"/>
                  <a:gd name="connsiteY83" fmla="*/ 304800 h 4305300"/>
                  <a:gd name="connsiteX84" fmla="*/ 2927350 w 8804275"/>
                  <a:gd name="connsiteY84" fmla="*/ 369094 h 4305300"/>
                  <a:gd name="connsiteX85" fmla="*/ 2901157 w 8804275"/>
                  <a:gd name="connsiteY85" fmla="*/ 407194 h 4305300"/>
                  <a:gd name="connsiteX86" fmla="*/ 2927350 w 8804275"/>
                  <a:gd name="connsiteY86" fmla="*/ 466725 h 4305300"/>
                  <a:gd name="connsiteX87" fmla="*/ 2929731 w 8804275"/>
                  <a:gd name="connsiteY87" fmla="*/ 535781 h 4305300"/>
                  <a:gd name="connsiteX88" fmla="*/ 2958306 w 8804275"/>
                  <a:gd name="connsiteY88" fmla="*/ 588169 h 4305300"/>
                  <a:gd name="connsiteX89" fmla="*/ 3005932 w 8804275"/>
                  <a:gd name="connsiteY89" fmla="*/ 642938 h 4305300"/>
                  <a:gd name="connsiteX90" fmla="*/ 2955925 w 8804275"/>
                  <a:gd name="connsiteY90" fmla="*/ 781050 h 4305300"/>
                  <a:gd name="connsiteX91" fmla="*/ 2886869 w 8804275"/>
                  <a:gd name="connsiteY91" fmla="*/ 847725 h 4305300"/>
                  <a:gd name="connsiteX92" fmla="*/ 2815431 w 8804275"/>
                  <a:gd name="connsiteY92" fmla="*/ 842963 h 4305300"/>
                  <a:gd name="connsiteX93" fmla="*/ 2777331 w 8804275"/>
                  <a:gd name="connsiteY93" fmla="*/ 900113 h 4305300"/>
                  <a:gd name="connsiteX94" fmla="*/ 2717800 w 8804275"/>
                  <a:gd name="connsiteY94" fmla="*/ 914400 h 4305300"/>
                  <a:gd name="connsiteX95" fmla="*/ 2648744 w 8804275"/>
                  <a:gd name="connsiteY95" fmla="*/ 854869 h 4305300"/>
                  <a:gd name="connsiteX96" fmla="*/ 2593975 w 8804275"/>
                  <a:gd name="connsiteY96" fmla="*/ 826294 h 4305300"/>
                  <a:gd name="connsiteX97" fmla="*/ 2551113 w 8804275"/>
                  <a:gd name="connsiteY97" fmla="*/ 840581 h 4305300"/>
                  <a:gd name="connsiteX98" fmla="*/ 2498725 w 8804275"/>
                  <a:gd name="connsiteY98" fmla="*/ 823913 h 4305300"/>
                  <a:gd name="connsiteX99" fmla="*/ 2432050 w 8804275"/>
                  <a:gd name="connsiteY99" fmla="*/ 769144 h 4305300"/>
                  <a:gd name="connsiteX100" fmla="*/ 2386806 w 8804275"/>
                  <a:gd name="connsiteY100" fmla="*/ 781050 h 4305300"/>
                  <a:gd name="connsiteX101" fmla="*/ 2365375 w 8804275"/>
                  <a:gd name="connsiteY101" fmla="*/ 750094 h 4305300"/>
                  <a:gd name="connsiteX102" fmla="*/ 2308225 w 8804275"/>
                  <a:gd name="connsiteY102" fmla="*/ 790575 h 4305300"/>
                  <a:gd name="connsiteX103" fmla="*/ 2191544 w 8804275"/>
                  <a:gd name="connsiteY103" fmla="*/ 769144 h 4305300"/>
                  <a:gd name="connsiteX104" fmla="*/ 2141538 w 8804275"/>
                  <a:gd name="connsiteY104" fmla="*/ 716756 h 4305300"/>
                  <a:gd name="connsiteX105" fmla="*/ 2098675 w 8804275"/>
                  <a:gd name="connsiteY105" fmla="*/ 702469 h 4305300"/>
                  <a:gd name="connsiteX106" fmla="*/ 2055813 w 8804275"/>
                  <a:gd name="connsiteY106" fmla="*/ 728663 h 4305300"/>
                  <a:gd name="connsiteX107" fmla="*/ 2003425 w 8804275"/>
                  <a:gd name="connsiteY107" fmla="*/ 638175 h 4305300"/>
                  <a:gd name="connsiteX108" fmla="*/ 1993900 w 8804275"/>
                  <a:gd name="connsiteY108" fmla="*/ 490537 h 4305300"/>
                  <a:gd name="connsiteX109" fmla="*/ 1941512 w 8804275"/>
                  <a:gd name="connsiteY109" fmla="*/ 483393 h 4305300"/>
                  <a:gd name="connsiteX110" fmla="*/ 1851025 w 8804275"/>
                  <a:gd name="connsiteY110" fmla="*/ 473869 h 4305300"/>
                  <a:gd name="connsiteX111" fmla="*/ 1796256 w 8804275"/>
                  <a:gd name="connsiteY111" fmla="*/ 435769 h 4305300"/>
                  <a:gd name="connsiteX112" fmla="*/ 1727200 w 8804275"/>
                  <a:gd name="connsiteY112" fmla="*/ 445294 h 4305300"/>
                  <a:gd name="connsiteX113" fmla="*/ 1681956 w 8804275"/>
                  <a:gd name="connsiteY113" fmla="*/ 419100 h 4305300"/>
                  <a:gd name="connsiteX114" fmla="*/ 1672432 w 8804275"/>
                  <a:gd name="connsiteY114" fmla="*/ 347663 h 4305300"/>
                  <a:gd name="connsiteX115" fmla="*/ 1648619 w 8804275"/>
                  <a:gd name="connsiteY115" fmla="*/ 333375 h 4305300"/>
                  <a:gd name="connsiteX116" fmla="*/ 1610519 w 8804275"/>
                  <a:gd name="connsiteY116" fmla="*/ 380999 h 4305300"/>
                  <a:gd name="connsiteX117" fmla="*/ 1531937 w 8804275"/>
                  <a:gd name="connsiteY117" fmla="*/ 307181 h 4305300"/>
                  <a:gd name="connsiteX118" fmla="*/ 1491456 w 8804275"/>
                  <a:gd name="connsiteY118" fmla="*/ 347663 h 4305300"/>
                  <a:gd name="connsiteX119" fmla="*/ 1415256 w 8804275"/>
                  <a:gd name="connsiteY119" fmla="*/ 333375 h 4305300"/>
                  <a:gd name="connsiteX120" fmla="*/ 1336675 w 8804275"/>
                  <a:gd name="connsiteY120" fmla="*/ 359569 h 4305300"/>
                  <a:gd name="connsiteX121" fmla="*/ 1277144 w 8804275"/>
                  <a:gd name="connsiteY121" fmla="*/ 407193 h 4305300"/>
                  <a:gd name="connsiteX122" fmla="*/ 1203325 w 8804275"/>
                  <a:gd name="connsiteY122" fmla="*/ 419100 h 4305300"/>
                  <a:gd name="connsiteX123" fmla="*/ 1167606 w 8804275"/>
                  <a:gd name="connsiteY123" fmla="*/ 411956 h 4305300"/>
                  <a:gd name="connsiteX124" fmla="*/ 1089026 w 8804275"/>
                  <a:gd name="connsiteY124" fmla="*/ 442913 h 4305300"/>
                  <a:gd name="connsiteX125" fmla="*/ 1067594 w 8804275"/>
                  <a:gd name="connsiteY125" fmla="*/ 471488 h 4305300"/>
                  <a:gd name="connsiteX126" fmla="*/ 1000919 w 8804275"/>
                  <a:gd name="connsiteY126" fmla="*/ 461963 h 4305300"/>
                  <a:gd name="connsiteX127" fmla="*/ 931863 w 8804275"/>
                  <a:gd name="connsiteY127" fmla="*/ 485775 h 4305300"/>
                  <a:gd name="connsiteX128" fmla="*/ 877094 w 8804275"/>
                  <a:gd name="connsiteY128" fmla="*/ 523875 h 4305300"/>
                  <a:gd name="connsiteX129" fmla="*/ 781844 w 8804275"/>
                  <a:gd name="connsiteY129" fmla="*/ 538162 h 4305300"/>
                  <a:gd name="connsiteX130" fmla="*/ 767556 w 8804275"/>
                  <a:gd name="connsiteY130" fmla="*/ 559594 h 4305300"/>
                  <a:gd name="connsiteX131" fmla="*/ 779462 w 8804275"/>
                  <a:gd name="connsiteY131" fmla="*/ 604838 h 4305300"/>
                  <a:gd name="connsiteX132" fmla="*/ 679451 w 8804275"/>
                  <a:gd name="connsiteY132" fmla="*/ 657225 h 4305300"/>
                  <a:gd name="connsiteX133" fmla="*/ 641350 w 8804275"/>
                  <a:gd name="connsiteY133" fmla="*/ 628649 h 4305300"/>
                  <a:gd name="connsiteX134" fmla="*/ 610394 w 8804275"/>
                  <a:gd name="connsiteY134" fmla="*/ 685800 h 4305300"/>
                  <a:gd name="connsiteX135" fmla="*/ 553244 w 8804275"/>
                  <a:gd name="connsiteY135" fmla="*/ 647700 h 4305300"/>
                  <a:gd name="connsiteX136" fmla="*/ 517525 w 8804275"/>
                  <a:gd name="connsiteY136" fmla="*/ 676275 h 4305300"/>
                  <a:gd name="connsiteX137" fmla="*/ 481806 w 8804275"/>
                  <a:gd name="connsiteY137" fmla="*/ 640556 h 4305300"/>
                  <a:gd name="connsiteX138" fmla="*/ 429419 w 8804275"/>
                  <a:gd name="connsiteY138" fmla="*/ 652463 h 4305300"/>
                  <a:gd name="connsiteX139" fmla="*/ 384175 w 8804275"/>
                  <a:gd name="connsiteY139" fmla="*/ 623888 h 4305300"/>
                  <a:gd name="connsiteX140" fmla="*/ 0 w 8804275"/>
                  <a:gd name="connsiteY140" fmla="*/ 448469 h 4305300"/>
                  <a:gd name="connsiteX141" fmla="*/ 265113 w 8804275"/>
                  <a:gd name="connsiteY141" fmla="*/ 740568 h 4305300"/>
                  <a:gd name="connsiteX142" fmla="*/ 231775 w 8804275"/>
                  <a:gd name="connsiteY142" fmla="*/ 769144 h 4305300"/>
                  <a:gd name="connsiteX143" fmla="*/ 236538 w 8804275"/>
                  <a:gd name="connsiteY143" fmla="*/ 812006 h 4305300"/>
                  <a:gd name="connsiteX144" fmla="*/ 203200 w 8804275"/>
                  <a:gd name="connsiteY144" fmla="*/ 816769 h 4305300"/>
                  <a:gd name="connsiteX145" fmla="*/ 207963 w 8804275"/>
                  <a:gd name="connsiteY145" fmla="*/ 840581 h 4305300"/>
                  <a:gd name="connsiteX146" fmla="*/ 265112 w 8804275"/>
                  <a:gd name="connsiteY146" fmla="*/ 914400 h 4305300"/>
                  <a:gd name="connsiteX147" fmla="*/ 227013 w 8804275"/>
                  <a:gd name="connsiteY147" fmla="*/ 962025 h 4305300"/>
                  <a:gd name="connsiteX148" fmla="*/ 281781 w 8804275"/>
                  <a:gd name="connsiteY148" fmla="*/ 997744 h 4305300"/>
                  <a:gd name="connsiteX149" fmla="*/ 372269 w 8804275"/>
                  <a:gd name="connsiteY149" fmla="*/ 1085850 h 4305300"/>
                  <a:gd name="connsiteX150" fmla="*/ 374650 w 8804275"/>
                  <a:gd name="connsiteY150" fmla="*/ 1145381 h 4305300"/>
                  <a:gd name="connsiteX151" fmla="*/ 510381 w 8804275"/>
                  <a:gd name="connsiteY151" fmla="*/ 1278732 h 4305300"/>
                  <a:gd name="connsiteX152" fmla="*/ 565150 w 8804275"/>
                  <a:gd name="connsiteY152" fmla="*/ 1254919 h 4305300"/>
                  <a:gd name="connsiteX153" fmla="*/ 603250 w 8804275"/>
                  <a:gd name="connsiteY153" fmla="*/ 1281112 h 4305300"/>
                  <a:gd name="connsiteX154" fmla="*/ 617538 w 8804275"/>
                  <a:gd name="connsiteY154" fmla="*/ 1331118 h 4305300"/>
                  <a:gd name="connsiteX155" fmla="*/ 660400 w 8804275"/>
                  <a:gd name="connsiteY155" fmla="*/ 1366838 h 4305300"/>
                  <a:gd name="connsiteX156" fmla="*/ 700881 w 8804275"/>
                  <a:gd name="connsiteY156" fmla="*/ 1354931 h 4305300"/>
                  <a:gd name="connsiteX157" fmla="*/ 719931 w 8804275"/>
                  <a:gd name="connsiteY157" fmla="*/ 1412081 h 4305300"/>
                  <a:gd name="connsiteX158" fmla="*/ 767556 w 8804275"/>
                  <a:gd name="connsiteY158" fmla="*/ 1454944 h 4305300"/>
                  <a:gd name="connsiteX159" fmla="*/ 791369 w 8804275"/>
                  <a:gd name="connsiteY159" fmla="*/ 1557338 h 4305300"/>
                  <a:gd name="connsiteX160" fmla="*/ 788988 w 8804275"/>
                  <a:gd name="connsiteY160" fmla="*/ 1604963 h 4305300"/>
                  <a:gd name="connsiteX161" fmla="*/ 824706 w 8804275"/>
                  <a:gd name="connsiteY161" fmla="*/ 1704975 h 4305300"/>
                  <a:gd name="connsiteX162" fmla="*/ 869950 w 8804275"/>
                  <a:gd name="connsiteY162" fmla="*/ 1762125 h 4305300"/>
                  <a:gd name="connsiteX163" fmla="*/ 886618 w 8804275"/>
                  <a:gd name="connsiteY163" fmla="*/ 1919287 h 4305300"/>
                  <a:gd name="connsiteX164" fmla="*/ 853281 w 8804275"/>
                  <a:gd name="connsiteY164" fmla="*/ 1981200 h 4305300"/>
                  <a:gd name="connsiteX165" fmla="*/ 822325 w 8804275"/>
                  <a:gd name="connsiteY165" fmla="*/ 2057400 h 4305300"/>
                  <a:gd name="connsiteX166" fmla="*/ 836613 w 8804275"/>
                  <a:gd name="connsiteY166" fmla="*/ 2114550 h 4305300"/>
                  <a:gd name="connsiteX167" fmla="*/ 738981 w 8804275"/>
                  <a:gd name="connsiteY167" fmla="*/ 2221707 h 4305300"/>
                  <a:gd name="connsiteX168" fmla="*/ 696119 w 8804275"/>
                  <a:gd name="connsiteY168" fmla="*/ 2336006 h 4305300"/>
                  <a:gd name="connsiteX169" fmla="*/ 729456 w 8804275"/>
                  <a:gd name="connsiteY169" fmla="*/ 2376488 h 4305300"/>
                  <a:gd name="connsiteX170" fmla="*/ 712788 w 8804275"/>
                  <a:gd name="connsiteY170" fmla="*/ 2405063 h 4305300"/>
                  <a:gd name="connsiteX171" fmla="*/ 743744 w 8804275"/>
                  <a:gd name="connsiteY171" fmla="*/ 2462213 h 4305300"/>
                  <a:gd name="connsiteX172" fmla="*/ 772319 w 8804275"/>
                  <a:gd name="connsiteY172" fmla="*/ 2462213 h 4305300"/>
                  <a:gd name="connsiteX173" fmla="*/ 934244 w 8804275"/>
                  <a:gd name="connsiteY173" fmla="*/ 2564606 h 4305300"/>
                  <a:gd name="connsiteX174" fmla="*/ 1039019 w 8804275"/>
                  <a:gd name="connsiteY174" fmla="*/ 2562225 h 4305300"/>
                  <a:gd name="connsiteX175" fmla="*/ 1117600 w 8804275"/>
                  <a:gd name="connsiteY175" fmla="*/ 2616994 h 4305300"/>
                  <a:gd name="connsiteX176" fmla="*/ 1248568 w 8804275"/>
                  <a:gd name="connsiteY176" fmla="*/ 2619375 h 4305300"/>
                  <a:gd name="connsiteX177" fmla="*/ 1439068 w 8804275"/>
                  <a:gd name="connsiteY177" fmla="*/ 2688431 h 4305300"/>
                  <a:gd name="connsiteX178" fmla="*/ 1641475 w 8804275"/>
                  <a:gd name="connsiteY178" fmla="*/ 2838450 h 4305300"/>
                  <a:gd name="connsiteX179" fmla="*/ 1674812 w 8804275"/>
                  <a:gd name="connsiteY179" fmla="*/ 2905125 h 4305300"/>
                  <a:gd name="connsiteX180" fmla="*/ 1841500 w 8804275"/>
                  <a:gd name="connsiteY180" fmla="*/ 3031331 h 4305300"/>
                  <a:gd name="connsiteX181" fmla="*/ 1912938 w 8804275"/>
                  <a:gd name="connsiteY181" fmla="*/ 3026569 h 4305300"/>
                  <a:gd name="connsiteX182" fmla="*/ 1948657 w 8804275"/>
                  <a:gd name="connsiteY182" fmla="*/ 3050381 h 4305300"/>
                  <a:gd name="connsiteX183" fmla="*/ 1920081 w 8804275"/>
                  <a:gd name="connsiteY183" fmla="*/ 3090863 h 4305300"/>
                  <a:gd name="connsiteX184" fmla="*/ 1927225 w 8804275"/>
                  <a:gd name="connsiteY184" fmla="*/ 3143250 h 4305300"/>
                  <a:gd name="connsiteX185" fmla="*/ 1979613 w 8804275"/>
                  <a:gd name="connsiteY185" fmla="*/ 3169444 h 4305300"/>
                  <a:gd name="connsiteX186" fmla="*/ 2041525 w 8804275"/>
                  <a:gd name="connsiteY186" fmla="*/ 3393282 h 4305300"/>
                  <a:gd name="connsiteX187" fmla="*/ 2032000 w 8804275"/>
                  <a:gd name="connsiteY187" fmla="*/ 3457575 h 4305300"/>
                  <a:gd name="connsiteX188" fmla="*/ 2167731 w 8804275"/>
                  <a:gd name="connsiteY188" fmla="*/ 3624263 h 4305300"/>
                  <a:gd name="connsiteX189" fmla="*/ 2186781 w 8804275"/>
                  <a:gd name="connsiteY189" fmla="*/ 3674269 h 4305300"/>
                  <a:gd name="connsiteX190" fmla="*/ 2160588 w 8804275"/>
                  <a:gd name="connsiteY190" fmla="*/ 3693319 h 4305300"/>
                  <a:gd name="connsiteX191" fmla="*/ 2262981 w 8804275"/>
                  <a:gd name="connsiteY191" fmla="*/ 3702844 h 4305300"/>
                  <a:gd name="connsiteX192" fmla="*/ 2374900 w 8804275"/>
                  <a:gd name="connsiteY192" fmla="*/ 3690938 h 4305300"/>
                  <a:gd name="connsiteX193" fmla="*/ 2653506 w 8804275"/>
                  <a:gd name="connsiteY193" fmla="*/ 3774281 h 4305300"/>
                  <a:gd name="connsiteX194" fmla="*/ 3060700 w 8804275"/>
                  <a:gd name="connsiteY194" fmla="*/ 3855244 h 4305300"/>
                  <a:gd name="connsiteX195" fmla="*/ 3258344 w 8804275"/>
                  <a:gd name="connsiteY195" fmla="*/ 3824287 h 4305300"/>
                  <a:gd name="connsiteX196" fmla="*/ 3303588 w 8804275"/>
                  <a:gd name="connsiteY196" fmla="*/ 3836193 h 4305300"/>
                  <a:gd name="connsiteX197" fmla="*/ 3358356 w 8804275"/>
                  <a:gd name="connsiteY197" fmla="*/ 3812382 h 4305300"/>
                  <a:gd name="connsiteX198" fmla="*/ 3751262 w 8804275"/>
                  <a:gd name="connsiteY198" fmla="*/ 3902869 h 4305300"/>
                  <a:gd name="connsiteX199" fmla="*/ 3834607 w 8804275"/>
                  <a:gd name="connsiteY199" fmla="*/ 4000500 h 4305300"/>
                  <a:gd name="connsiteX200" fmla="*/ 3953669 w 8804275"/>
                  <a:gd name="connsiteY200" fmla="*/ 4071938 h 4305300"/>
                  <a:gd name="connsiteX201" fmla="*/ 4013200 w 8804275"/>
                  <a:gd name="connsiteY201" fmla="*/ 4055269 h 4305300"/>
                  <a:gd name="connsiteX202" fmla="*/ 4363243 w 8804275"/>
                  <a:gd name="connsiteY202" fmla="*/ 4229100 h 4305300"/>
                  <a:gd name="connsiteX203" fmla="*/ 4589463 w 8804275"/>
                  <a:gd name="connsiteY203" fmla="*/ 4200525 h 4305300"/>
                  <a:gd name="connsiteX204" fmla="*/ 4598988 w 8804275"/>
                  <a:gd name="connsiteY204" fmla="*/ 4279106 h 4305300"/>
                  <a:gd name="connsiteX205" fmla="*/ 4684713 w 8804275"/>
                  <a:gd name="connsiteY205" fmla="*/ 4274343 h 4305300"/>
                  <a:gd name="connsiteX206" fmla="*/ 4763294 w 8804275"/>
                  <a:gd name="connsiteY206" fmla="*/ 4305300 h 4305300"/>
                  <a:gd name="connsiteX207" fmla="*/ 4806156 w 8804275"/>
                  <a:gd name="connsiteY207" fmla="*/ 4245769 h 4305300"/>
                  <a:gd name="connsiteX208" fmla="*/ 5477669 w 8804275"/>
                  <a:gd name="connsiteY208" fmla="*/ 3926681 h 4305300"/>
                  <a:gd name="connsiteX209" fmla="*/ 5565775 w 8804275"/>
                  <a:gd name="connsiteY209" fmla="*/ 3955257 h 4305300"/>
                  <a:gd name="connsiteX210" fmla="*/ 5696744 w 8804275"/>
                  <a:gd name="connsiteY210" fmla="*/ 3926681 h 4305300"/>
                  <a:gd name="connsiteX211" fmla="*/ 5875337 w 8804275"/>
                  <a:gd name="connsiteY211" fmla="*/ 3943350 h 4305300"/>
                  <a:gd name="connsiteX212" fmla="*/ 5932488 w 8804275"/>
                  <a:gd name="connsiteY212" fmla="*/ 3917157 h 4305300"/>
                  <a:gd name="connsiteX213" fmla="*/ 6065837 w 8804275"/>
                  <a:gd name="connsiteY213" fmla="*/ 3914775 h 4305300"/>
                  <a:gd name="connsiteX214" fmla="*/ 6199187 w 8804275"/>
                  <a:gd name="connsiteY214" fmla="*/ 3817144 h 4305300"/>
                  <a:gd name="connsiteX215" fmla="*/ 6265862 w 8804275"/>
                  <a:gd name="connsiteY215" fmla="*/ 3810000 h 4305300"/>
                  <a:gd name="connsiteX216" fmla="*/ 6363494 w 8804275"/>
                  <a:gd name="connsiteY216" fmla="*/ 3736181 h 4305300"/>
                  <a:gd name="connsiteX217" fmla="*/ 6437313 w 8804275"/>
                  <a:gd name="connsiteY217" fmla="*/ 3667125 h 4305300"/>
                  <a:gd name="connsiteX218" fmla="*/ 6446838 w 8804275"/>
                  <a:gd name="connsiteY218" fmla="*/ 3605213 h 4305300"/>
                  <a:gd name="connsiteX219" fmla="*/ 6480175 w 8804275"/>
                  <a:gd name="connsiteY219" fmla="*/ 3536156 h 4305300"/>
                  <a:gd name="connsiteX220" fmla="*/ 6632575 w 8804275"/>
                  <a:gd name="connsiteY220" fmla="*/ 3429000 h 4305300"/>
                  <a:gd name="connsiteX221" fmla="*/ 6665913 w 8804275"/>
                  <a:gd name="connsiteY221" fmla="*/ 3433763 h 4305300"/>
                  <a:gd name="connsiteX222" fmla="*/ 6718300 w 8804275"/>
                  <a:gd name="connsiteY222" fmla="*/ 3355181 h 4305300"/>
                  <a:gd name="connsiteX223" fmla="*/ 6765925 w 8804275"/>
                  <a:gd name="connsiteY223" fmla="*/ 3317081 h 4305300"/>
                  <a:gd name="connsiteX224" fmla="*/ 6751638 w 8804275"/>
                  <a:gd name="connsiteY224" fmla="*/ 3248025 h 4305300"/>
                  <a:gd name="connsiteX225" fmla="*/ 6701631 w 8804275"/>
                  <a:gd name="connsiteY225" fmla="*/ 3217068 h 4305300"/>
                  <a:gd name="connsiteX226" fmla="*/ 6642100 w 8804275"/>
                  <a:gd name="connsiteY226" fmla="*/ 3162300 h 4305300"/>
                  <a:gd name="connsiteX227" fmla="*/ 6623050 w 8804275"/>
                  <a:gd name="connsiteY227" fmla="*/ 3105150 h 4305300"/>
                  <a:gd name="connsiteX228" fmla="*/ 6587331 w 8804275"/>
                  <a:gd name="connsiteY228" fmla="*/ 3071813 h 4305300"/>
                  <a:gd name="connsiteX229" fmla="*/ 6613525 w 8804275"/>
                  <a:gd name="connsiteY229" fmla="*/ 3019425 h 4305300"/>
                  <a:gd name="connsiteX230" fmla="*/ 6654006 w 8804275"/>
                  <a:gd name="connsiteY230" fmla="*/ 2840831 h 4305300"/>
                  <a:gd name="connsiteX231" fmla="*/ 6694488 w 8804275"/>
                  <a:gd name="connsiteY231" fmla="*/ 2774156 h 4305300"/>
                  <a:gd name="connsiteX232" fmla="*/ 6839744 w 8804275"/>
                  <a:gd name="connsiteY232" fmla="*/ 2757487 h 4305300"/>
                  <a:gd name="connsiteX233" fmla="*/ 6908800 w 8804275"/>
                  <a:gd name="connsiteY233" fmla="*/ 2814638 h 4305300"/>
                  <a:gd name="connsiteX234" fmla="*/ 6985000 w 8804275"/>
                  <a:gd name="connsiteY234" fmla="*/ 2838450 h 4305300"/>
                  <a:gd name="connsiteX235" fmla="*/ 7189787 w 8804275"/>
                  <a:gd name="connsiteY235" fmla="*/ 2843213 h 4305300"/>
                  <a:gd name="connsiteX236" fmla="*/ 7366000 w 8804275"/>
                  <a:gd name="connsiteY236" fmla="*/ 2705100 h 4305300"/>
                  <a:gd name="connsiteX237" fmla="*/ 7423150 w 8804275"/>
                  <a:gd name="connsiteY237" fmla="*/ 2614612 h 4305300"/>
                  <a:gd name="connsiteX238" fmla="*/ 7449344 w 8804275"/>
                  <a:gd name="connsiteY238" fmla="*/ 2531269 h 4305300"/>
                  <a:gd name="connsiteX239" fmla="*/ 7580312 w 8804275"/>
                  <a:gd name="connsiteY239" fmla="*/ 2531269 h 4305300"/>
                  <a:gd name="connsiteX240" fmla="*/ 7754144 w 8804275"/>
                  <a:gd name="connsiteY240" fmla="*/ 2474118 h 4305300"/>
                  <a:gd name="connsiteX241" fmla="*/ 7813675 w 8804275"/>
                  <a:gd name="connsiteY241" fmla="*/ 2362200 h 4305300"/>
                  <a:gd name="connsiteX242" fmla="*/ 7877969 w 8804275"/>
                  <a:gd name="connsiteY242" fmla="*/ 2326481 h 4305300"/>
                  <a:gd name="connsiteX243" fmla="*/ 7856538 w 8804275"/>
                  <a:gd name="connsiteY243" fmla="*/ 2281238 h 4305300"/>
                  <a:gd name="connsiteX244" fmla="*/ 7935119 w 8804275"/>
                  <a:gd name="connsiteY244" fmla="*/ 2112168 h 4305300"/>
                  <a:gd name="connsiteX245" fmla="*/ 7989888 w 8804275"/>
                  <a:gd name="connsiteY245" fmla="*/ 2052638 h 4305300"/>
                  <a:gd name="connsiteX246" fmla="*/ 8027988 w 8804275"/>
                  <a:gd name="connsiteY246" fmla="*/ 2047875 h 4305300"/>
                  <a:gd name="connsiteX247" fmla="*/ 8073231 w 8804275"/>
                  <a:gd name="connsiteY247" fmla="*/ 2052638 h 4305300"/>
                  <a:gd name="connsiteX248" fmla="*/ 8137525 w 8804275"/>
                  <a:gd name="connsiteY248" fmla="*/ 2019300 h 4305300"/>
                  <a:gd name="connsiteX249" fmla="*/ 8147050 w 8804275"/>
                  <a:gd name="connsiteY249" fmla="*/ 1955006 h 4305300"/>
                  <a:gd name="connsiteX250" fmla="*/ 8187530 w 8804275"/>
                  <a:gd name="connsiteY250" fmla="*/ 1919288 h 4305300"/>
                  <a:gd name="connsiteX251" fmla="*/ 8247063 w 8804275"/>
                  <a:gd name="connsiteY251" fmla="*/ 1959768 h 4305300"/>
                  <a:gd name="connsiteX252" fmla="*/ 8273257 w 8804275"/>
                  <a:gd name="connsiteY252" fmla="*/ 1909762 h 4305300"/>
                  <a:gd name="connsiteX253" fmla="*/ 8368506 w 8804275"/>
                  <a:gd name="connsiteY253" fmla="*/ 1840706 h 4305300"/>
                  <a:gd name="connsiteX254" fmla="*/ 8430419 w 8804275"/>
                  <a:gd name="connsiteY254" fmla="*/ 1847850 h 4305300"/>
                  <a:gd name="connsiteX255" fmla="*/ 8480425 w 8804275"/>
                  <a:gd name="connsiteY255" fmla="*/ 1828800 h 4305300"/>
                  <a:gd name="connsiteX256" fmla="*/ 8518525 w 8804275"/>
                  <a:gd name="connsiteY256" fmla="*/ 1800225 h 4305300"/>
                  <a:gd name="connsiteX257" fmla="*/ 8551863 w 8804275"/>
                  <a:gd name="connsiteY257" fmla="*/ 1797844 h 4305300"/>
                  <a:gd name="connsiteX258" fmla="*/ 8587581 w 8804275"/>
                  <a:gd name="connsiteY258" fmla="*/ 1828800 h 4305300"/>
                  <a:gd name="connsiteX259" fmla="*/ 8647113 w 8804275"/>
                  <a:gd name="connsiteY259" fmla="*/ 1828800 h 4305300"/>
                  <a:gd name="connsiteX260" fmla="*/ 8685212 w 8804275"/>
                  <a:gd name="connsiteY260" fmla="*/ 1809750 h 4305300"/>
                  <a:gd name="connsiteX261" fmla="*/ 8768556 w 8804275"/>
                  <a:gd name="connsiteY261" fmla="*/ 1812132 h 4305300"/>
                  <a:gd name="connsiteX262" fmla="*/ 8799513 w 8804275"/>
                  <a:gd name="connsiteY262" fmla="*/ 1766888 h 4305300"/>
                  <a:gd name="connsiteX263" fmla="*/ 8804275 w 8804275"/>
                  <a:gd name="connsiteY263" fmla="*/ 1704975 h 4305300"/>
                  <a:gd name="connsiteX264" fmla="*/ 8754268 w 8804275"/>
                  <a:gd name="connsiteY264" fmla="*/ 1664494 h 4305300"/>
                  <a:gd name="connsiteX265" fmla="*/ 8737600 w 8804275"/>
                  <a:gd name="connsiteY265" fmla="*/ 1609725 h 4305300"/>
                  <a:gd name="connsiteX266" fmla="*/ 8647113 w 8804275"/>
                  <a:gd name="connsiteY266" fmla="*/ 1547813 h 4305300"/>
                  <a:gd name="connsiteX267" fmla="*/ 8606631 w 8804275"/>
                  <a:gd name="connsiteY267" fmla="*/ 1526381 h 4305300"/>
                  <a:gd name="connsiteX268" fmla="*/ 8568531 w 8804275"/>
                  <a:gd name="connsiteY268" fmla="*/ 1481138 h 4305300"/>
                  <a:gd name="connsiteX269" fmla="*/ 8537575 w 8804275"/>
                  <a:gd name="connsiteY269" fmla="*/ 1478756 h 4305300"/>
                  <a:gd name="connsiteX270" fmla="*/ 8520906 w 8804275"/>
                  <a:gd name="connsiteY270" fmla="*/ 1426369 h 4305300"/>
                  <a:gd name="connsiteX271" fmla="*/ 8480425 w 8804275"/>
                  <a:gd name="connsiteY271" fmla="*/ 1409700 h 4305300"/>
                  <a:gd name="connsiteX272" fmla="*/ 8480425 w 8804275"/>
                  <a:gd name="connsiteY272" fmla="*/ 1409700 h 4305300"/>
                  <a:gd name="connsiteX273" fmla="*/ 8439944 w 8804275"/>
                  <a:gd name="connsiteY273" fmla="*/ 1414463 h 4305300"/>
                  <a:gd name="connsiteX274" fmla="*/ 8354218 w 8804275"/>
                  <a:gd name="connsiteY274" fmla="*/ 1340644 h 4305300"/>
                  <a:gd name="connsiteX275" fmla="*/ 8173244 w 8804275"/>
                  <a:gd name="connsiteY275" fmla="*/ 1340643 h 4305300"/>
                  <a:gd name="connsiteX276" fmla="*/ 8120856 w 8804275"/>
                  <a:gd name="connsiteY276" fmla="*/ 1378744 h 4305300"/>
                  <a:gd name="connsiteX277" fmla="*/ 8070850 w 8804275"/>
                  <a:gd name="connsiteY277" fmla="*/ 1457325 h 4305300"/>
                  <a:gd name="connsiteX278" fmla="*/ 8087519 w 8804275"/>
                  <a:gd name="connsiteY278" fmla="*/ 1478756 h 4305300"/>
                  <a:gd name="connsiteX279" fmla="*/ 8042275 w 8804275"/>
                  <a:gd name="connsiteY279" fmla="*/ 1528762 h 4305300"/>
                  <a:gd name="connsiteX280" fmla="*/ 7892256 w 8804275"/>
                  <a:gd name="connsiteY280" fmla="*/ 1452562 h 4305300"/>
                  <a:gd name="connsiteX281" fmla="*/ 7801769 w 8804275"/>
                  <a:gd name="connsiteY281" fmla="*/ 1488281 h 4305300"/>
                  <a:gd name="connsiteX282" fmla="*/ 7727950 w 8804275"/>
                  <a:gd name="connsiteY282" fmla="*/ 1485900 h 4305300"/>
                  <a:gd name="connsiteX283" fmla="*/ 7670800 w 8804275"/>
                  <a:gd name="connsiteY283" fmla="*/ 1581150 h 4305300"/>
                  <a:gd name="connsiteX284" fmla="*/ 7532688 w 8804275"/>
                  <a:gd name="connsiteY284" fmla="*/ 1483519 h 4305300"/>
                  <a:gd name="connsiteX0" fmla="*/ 7532688 w 8804275"/>
                  <a:gd name="connsiteY0" fmla="*/ 1483519 h 4305300"/>
                  <a:gd name="connsiteX1" fmla="*/ 7525544 w 8804275"/>
                  <a:gd name="connsiteY1" fmla="*/ 1428750 h 4305300"/>
                  <a:gd name="connsiteX2" fmla="*/ 7592219 w 8804275"/>
                  <a:gd name="connsiteY2" fmla="*/ 1354931 h 4305300"/>
                  <a:gd name="connsiteX3" fmla="*/ 7575550 w 8804275"/>
                  <a:gd name="connsiteY3" fmla="*/ 1283494 h 4305300"/>
                  <a:gd name="connsiteX4" fmla="*/ 7589838 w 8804275"/>
                  <a:gd name="connsiteY4" fmla="*/ 1188244 h 4305300"/>
                  <a:gd name="connsiteX5" fmla="*/ 7627938 w 8804275"/>
                  <a:gd name="connsiteY5" fmla="*/ 1131094 h 4305300"/>
                  <a:gd name="connsiteX6" fmla="*/ 7608887 w 8804275"/>
                  <a:gd name="connsiteY6" fmla="*/ 1097756 h 4305300"/>
                  <a:gd name="connsiteX7" fmla="*/ 7706518 w 8804275"/>
                  <a:gd name="connsiteY7" fmla="*/ 697706 h 4305300"/>
                  <a:gd name="connsiteX8" fmla="*/ 7699375 w 8804275"/>
                  <a:gd name="connsiteY8" fmla="*/ 669131 h 4305300"/>
                  <a:gd name="connsiteX9" fmla="*/ 7570788 w 8804275"/>
                  <a:gd name="connsiteY9" fmla="*/ 647700 h 4305300"/>
                  <a:gd name="connsiteX10" fmla="*/ 7387432 w 8804275"/>
                  <a:gd name="connsiteY10" fmla="*/ 726281 h 4305300"/>
                  <a:gd name="connsiteX11" fmla="*/ 7230268 w 8804275"/>
                  <a:gd name="connsiteY11" fmla="*/ 611981 h 4305300"/>
                  <a:gd name="connsiteX12" fmla="*/ 7154069 w 8804275"/>
                  <a:gd name="connsiteY12" fmla="*/ 619125 h 4305300"/>
                  <a:gd name="connsiteX13" fmla="*/ 7080250 w 8804275"/>
                  <a:gd name="connsiteY13" fmla="*/ 614363 h 4305300"/>
                  <a:gd name="connsiteX14" fmla="*/ 6942138 w 8804275"/>
                  <a:gd name="connsiteY14" fmla="*/ 719138 h 4305300"/>
                  <a:gd name="connsiteX15" fmla="*/ 6834981 w 8804275"/>
                  <a:gd name="connsiteY15" fmla="*/ 826294 h 4305300"/>
                  <a:gd name="connsiteX16" fmla="*/ 6792119 w 8804275"/>
                  <a:gd name="connsiteY16" fmla="*/ 895350 h 4305300"/>
                  <a:gd name="connsiteX17" fmla="*/ 6799263 w 8804275"/>
                  <a:gd name="connsiteY17" fmla="*/ 931069 h 4305300"/>
                  <a:gd name="connsiteX18" fmla="*/ 6737350 w 8804275"/>
                  <a:gd name="connsiteY18" fmla="*/ 942975 h 4305300"/>
                  <a:gd name="connsiteX19" fmla="*/ 6756400 w 8804275"/>
                  <a:gd name="connsiteY19" fmla="*/ 942975 h 4305300"/>
                  <a:gd name="connsiteX20" fmla="*/ 6723063 w 8804275"/>
                  <a:gd name="connsiteY20" fmla="*/ 973931 h 4305300"/>
                  <a:gd name="connsiteX21" fmla="*/ 6623050 w 8804275"/>
                  <a:gd name="connsiteY21" fmla="*/ 973932 h 4305300"/>
                  <a:gd name="connsiteX22" fmla="*/ 6527800 w 8804275"/>
                  <a:gd name="connsiteY22" fmla="*/ 1028700 h 4305300"/>
                  <a:gd name="connsiteX23" fmla="*/ 6446838 w 8804275"/>
                  <a:gd name="connsiteY23" fmla="*/ 1038225 h 4305300"/>
                  <a:gd name="connsiteX24" fmla="*/ 6406356 w 8804275"/>
                  <a:gd name="connsiteY24" fmla="*/ 1071563 h 4305300"/>
                  <a:gd name="connsiteX25" fmla="*/ 6356350 w 8804275"/>
                  <a:gd name="connsiteY25" fmla="*/ 1076325 h 4305300"/>
                  <a:gd name="connsiteX26" fmla="*/ 6234907 w 8804275"/>
                  <a:gd name="connsiteY26" fmla="*/ 1169194 h 4305300"/>
                  <a:gd name="connsiteX27" fmla="*/ 6175375 w 8804275"/>
                  <a:gd name="connsiteY27" fmla="*/ 1173956 h 4305300"/>
                  <a:gd name="connsiteX28" fmla="*/ 6122988 w 8804275"/>
                  <a:gd name="connsiteY28" fmla="*/ 1138238 h 4305300"/>
                  <a:gd name="connsiteX29" fmla="*/ 6096794 w 8804275"/>
                  <a:gd name="connsiteY29" fmla="*/ 1173956 h 4305300"/>
                  <a:gd name="connsiteX30" fmla="*/ 5899150 w 8804275"/>
                  <a:gd name="connsiteY30" fmla="*/ 1166813 h 4305300"/>
                  <a:gd name="connsiteX31" fmla="*/ 5837238 w 8804275"/>
                  <a:gd name="connsiteY31" fmla="*/ 1121569 h 4305300"/>
                  <a:gd name="connsiteX32" fmla="*/ 5639594 w 8804275"/>
                  <a:gd name="connsiteY32" fmla="*/ 1138238 h 4305300"/>
                  <a:gd name="connsiteX33" fmla="*/ 5551488 w 8804275"/>
                  <a:gd name="connsiteY33" fmla="*/ 1054893 h 4305300"/>
                  <a:gd name="connsiteX34" fmla="*/ 5475288 w 8804275"/>
                  <a:gd name="connsiteY34" fmla="*/ 1009650 h 4305300"/>
                  <a:gd name="connsiteX35" fmla="*/ 5477668 w 8804275"/>
                  <a:gd name="connsiteY35" fmla="*/ 952500 h 4305300"/>
                  <a:gd name="connsiteX36" fmla="*/ 5458619 w 8804275"/>
                  <a:gd name="connsiteY36" fmla="*/ 909637 h 4305300"/>
                  <a:gd name="connsiteX37" fmla="*/ 5363369 w 8804275"/>
                  <a:gd name="connsiteY37" fmla="*/ 912019 h 4305300"/>
                  <a:gd name="connsiteX38" fmla="*/ 5268119 w 8804275"/>
                  <a:gd name="connsiteY38" fmla="*/ 890588 h 4305300"/>
                  <a:gd name="connsiteX39" fmla="*/ 5199062 w 8804275"/>
                  <a:gd name="connsiteY39" fmla="*/ 823912 h 4305300"/>
                  <a:gd name="connsiteX40" fmla="*/ 5163344 w 8804275"/>
                  <a:gd name="connsiteY40" fmla="*/ 781050 h 4305300"/>
                  <a:gd name="connsiteX41" fmla="*/ 5082381 w 8804275"/>
                  <a:gd name="connsiteY41" fmla="*/ 757237 h 4305300"/>
                  <a:gd name="connsiteX42" fmla="*/ 5008563 w 8804275"/>
                  <a:gd name="connsiteY42" fmla="*/ 769143 h 4305300"/>
                  <a:gd name="connsiteX43" fmla="*/ 4951412 w 8804275"/>
                  <a:gd name="connsiteY43" fmla="*/ 716756 h 4305300"/>
                  <a:gd name="connsiteX44" fmla="*/ 4856163 w 8804275"/>
                  <a:gd name="connsiteY44" fmla="*/ 728663 h 4305300"/>
                  <a:gd name="connsiteX45" fmla="*/ 4803775 w 8804275"/>
                  <a:gd name="connsiteY45" fmla="*/ 702469 h 4305300"/>
                  <a:gd name="connsiteX46" fmla="*/ 4722813 w 8804275"/>
                  <a:gd name="connsiteY46" fmla="*/ 745331 h 4305300"/>
                  <a:gd name="connsiteX47" fmla="*/ 4584700 w 8804275"/>
                  <a:gd name="connsiteY47" fmla="*/ 769144 h 4305300"/>
                  <a:gd name="connsiteX48" fmla="*/ 4456113 w 8804275"/>
                  <a:gd name="connsiteY48" fmla="*/ 862013 h 4305300"/>
                  <a:gd name="connsiteX49" fmla="*/ 4408487 w 8804275"/>
                  <a:gd name="connsiteY49" fmla="*/ 823913 h 4305300"/>
                  <a:gd name="connsiteX50" fmla="*/ 4387056 w 8804275"/>
                  <a:gd name="connsiteY50" fmla="*/ 854868 h 4305300"/>
                  <a:gd name="connsiteX51" fmla="*/ 4313238 w 8804275"/>
                  <a:gd name="connsiteY51" fmla="*/ 804863 h 4305300"/>
                  <a:gd name="connsiteX52" fmla="*/ 4275138 w 8804275"/>
                  <a:gd name="connsiteY52" fmla="*/ 812006 h 4305300"/>
                  <a:gd name="connsiteX53" fmla="*/ 4253706 w 8804275"/>
                  <a:gd name="connsiteY53" fmla="*/ 773906 h 4305300"/>
                  <a:gd name="connsiteX54" fmla="*/ 4194175 w 8804275"/>
                  <a:gd name="connsiteY54" fmla="*/ 778669 h 4305300"/>
                  <a:gd name="connsiteX55" fmla="*/ 4148931 w 8804275"/>
                  <a:gd name="connsiteY55" fmla="*/ 750094 h 4305300"/>
                  <a:gd name="connsiteX56" fmla="*/ 4110831 w 8804275"/>
                  <a:gd name="connsiteY56" fmla="*/ 747713 h 4305300"/>
                  <a:gd name="connsiteX57" fmla="*/ 4091781 w 8804275"/>
                  <a:gd name="connsiteY57" fmla="*/ 700087 h 4305300"/>
                  <a:gd name="connsiteX58" fmla="*/ 4077494 w 8804275"/>
                  <a:gd name="connsiteY58" fmla="*/ 669131 h 4305300"/>
                  <a:gd name="connsiteX59" fmla="*/ 4032250 w 8804275"/>
                  <a:gd name="connsiteY59" fmla="*/ 678656 h 4305300"/>
                  <a:gd name="connsiteX60" fmla="*/ 4013200 w 8804275"/>
                  <a:gd name="connsiteY60" fmla="*/ 642938 h 4305300"/>
                  <a:gd name="connsiteX61" fmla="*/ 4034632 w 8804275"/>
                  <a:gd name="connsiteY61" fmla="*/ 588169 h 4305300"/>
                  <a:gd name="connsiteX62" fmla="*/ 4003675 w 8804275"/>
                  <a:gd name="connsiteY62" fmla="*/ 561975 h 4305300"/>
                  <a:gd name="connsiteX63" fmla="*/ 4020344 w 8804275"/>
                  <a:gd name="connsiteY63" fmla="*/ 519113 h 4305300"/>
                  <a:gd name="connsiteX64" fmla="*/ 3994150 w 8804275"/>
                  <a:gd name="connsiteY64" fmla="*/ 476250 h 4305300"/>
                  <a:gd name="connsiteX65" fmla="*/ 3989388 w 8804275"/>
                  <a:gd name="connsiteY65" fmla="*/ 414338 h 4305300"/>
                  <a:gd name="connsiteX66" fmla="*/ 4013200 w 8804275"/>
                  <a:gd name="connsiteY66" fmla="*/ 350043 h 4305300"/>
                  <a:gd name="connsiteX67" fmla="*/ 3975100 w 8804275"/>
                  <a:gd name="connsiteY67" fmla="*/ 352425 h 4305300"/>
                  <a:gd name="connsiteX68" fmla="*/ 3856038 w 8804275"/>
                  <a:gd name="connsiteY68" fmla="*/ 295275 h 4305300"/>
                  <a:gd name="connsiteX69" fmla="*/ 3817937 w 8804275"/>
                  <a:gd name="connsiteY69" fmla="*/ 300037 h 4305300"/>
                  <a:gd name="connsiteX70" fmla="*/ 3613150 w 8804275"/>
                  <a:gd name="connsiteY70" fmla="*/ 190500 h 4305300"/>
                  <a:gd name="connsiteX71" fmla="*/ 3508375 w 8804275"/>
                  <a:gd name="connsiteY71" fmla="*/ 159544 h 4305300"/>
                  <a:gd name="connsiteX72" fmla="*/ 3444081 w 8804275"/>
                  <a:gd name="connsiteY72" fmla="*/ 169068 h 4305300"/>
                  <a:gd name="connsiteX73" fmla="*/ 3413125 w 8804275"/>
                  <a:gd name="connsiteY73" fmla="*/ 104775 h 4305300"/>
                  <a:gd name="connsiteX74" fmla="*/ 3355975 w 8804275"/>
                  <a:gd name="connsiteY74" fmla="*/ 104775 h 4305300"/>
                  <a:gd name="connsiteX75" fmla="*/ 3217862 w 8804275"/>
                  <a:gd name="connsiteY75" fmla="*/ 0 h 4305300"/>
                  <a:gd name="connsiteX76" fmla="*/ 3184525 w 8804275"/>
                  <a:gd name="connsiteY76" fmla="*/ 59532 h 4305300"/>
                  <a:gd name="connsiteX77" fmla="*/ 3129756 w 8804275"/>
                  <a:gd name="connsiteY77" fmla="*/ 128588 h 4305300"/>
                  <a:gd name="connsiteX78" fmla="*/ 3086894 w 8804275"/>
                  <a:gd name="connsiteY78" fmla="*/ 145256 h 4305300"/>
                  <a:gd name="connsiteX79" fmla="*/ 3055938 w 8804275"/>
                  <a:gd name="connsiteY79" fmla="*/ 138113 h 4305300"/>
                  <a:gd name="connsiteX80" fmla="*/ 3032125 w 8804275"/>
                  <a:gd name="connsiteY80" fmla="*/ 166688 h 4305300"/>
                  <a:gd name="connsiteX81" fmla="*/ 3005931 w 8804275"/>
                  <a:gd name="connsiteY81" fmla="*/ 245269 h 4305300"/>
                  <a:gd name="connsiteX82" fmla="*/ 2963069 w 8804275"/>
                  <a:gd name="connsiteY82" fmla="*/ 242888 h 4305300"/>
                  <a:gd name="connsiteX83" fmla="*/ 2932112 w 8804275"/>
                  <a:gd name="connsiteY83" fmla="*/ 304800 h 4305300"/>
                  <a:gd name="connsiteX84" fmla="*/ 2927350 w 8804275"/>
                  <a:gd name="connsiteY84" fmla="*/ 369094 h 4305300"/>
                  <a:gd name="connsiteX85" fmla="*/ 2901157 w 8804275"/>
                  <a:gd name="connsiteY85" fmla="*/ 407194 h 4305300"/>
                  <a:gd name="connsiteX86" fmla="*/ 2927350 w 8804275"/>
                  <a:gd name="connsiteY86" fmla="*/ 466725 h 4305300"/>
                  <a:gd name="connsiteX87" fmla="*/ 2929731 w 8804275"/>
                  <a:gd name="connsiteY87" fmla="*/ 535781 h 4305300"/>
                  <a:gd name="connsiteX88" fmla="*/ 2958306 w 8804275"/>
                  <a:gd name="connsiteY88" fmla="*/ 588169 h 4305300"/>
                  <a:gd name="connsiteX89" fmla="*/ 3005932 w 8804275"/>
                  <a:gd name="connsiteY89" fmla="*/ 642938 h 4305300"/>
                  <a:gd name="connsiteX90" fmla="*/ 2955925 w 8804275"/>
                  <a:gd name="connsiteY90" fmla="*/ 781050 h 4305300"/>
                  <a:gd name="connsiteX91" fmla="*/ 2886869 w 8804275"/>
                  <a:gd name="connsiteY91" fmla="*/ 847725 h 4305300"/>
                  <a:gd name="connsiteX92" fmla="*/ 2815431 w 8804275"/>
                  <a:gd name="connsiteY92" fmla="*/ 842963 h 4305300"/>
                  <a:gd name="connsiteX93" fmla="*/ 2777331 w 8804275"/>
                  <a:gd name="connsiteY93" fmla="*/ 900113 h 4305300"/>
                  <a:gd name="connsiteX94" fmla="*/ 2717800 w 8804275"/>
                  <a:gd name="connsiteY94" fmla="*/ 914400 h 4305300"/>
                  <a:gd name="connsiteX95" fmla="*/ 2648744 w 8804275"/>
                  <a:gd name="connsiteY95" fmla="*/ 854869 h 4305300"/>
                  <a:gd name="connsiteX96" fmla="*/ 2593975 w 8804275"/>
                  <a:gd name="connsiteY96" fmla="*/ 826294 h 4305300"/>
                  <a:gd name="connsiteX97" fmla="*/ 2551113 w 8804275"/>
                  <a:gd name="connsiteY97" fmla="*/ 840581 h 4305300"/>
                  <a:gd name="connsiteX98" fmla="*/ 2498725 w 8804275"/>
                  <a:gd name="connsiteY98" fmla="*/ 823913 h 4305300"/>
                  <a:gd name="connsiteX99" fmla="*/ 2432050 w 8804275"/>
                  <a:gd name="connsiteY99" fmla="*/ 769144 h 4305300"/>
                  <a:gd name="connsiteX100" fmla="*/ 2386806 w 8804275"/>
                  <a:gd name="connsiteY100" fmla="*/ 781050 h 4305300"/>
                  <a:gd name="connsiteX101" fmla="*/ 2365375 w 8804275"/>
                  <a:gd name="connsiteY101" fmla="*/ 750094 h 4305300"/>
                  <a:gd name="connsiteX102" fmla="*/ 2308225 w 8804275"/>
                  <a:gd name="connsiteY102" fmla="*/ 790575 h 4305300"/>
                  <a:gd name="connsiteX103" fmla="*/ 2191544 w 8804275"/>
                  <a:gd name="connsiteY103" fmla="*/ 769144 h 4305300"/>
                  <a:gd name="connsiteX104" fmla="*/ 2141538 w 8804275"/>
                  <a:gd name="connsiteY104" fmla="*/ 716756 h 4305300"/>
                  <a:gd name="connsiteX105" fmla="*/ 2098675 w 8804275"/>
                  <a:gd name="connsiteY105" fmla="*/ 702469 h 4305300"/>
                  <a:gd name="connsiteX106" fmla="*/ 2055813 w 8804275"/>
                  <a:gd name="connsiteY106" fmla="*/ 728663 h 4305300"/>
                  <a:gd name="connsiteX107" fmla="*/ 2003425 w 8804275"/>
                  <a:gd name="connsiteY107" fmla="*/ 638175 h 4305300"/>
                  <a:gd name="connsiteX108" fmla="*/ 1993900 w 8804275"/>
                  <a:gd name="connsiteY108" fmla="*/ 490537 h 4305300"/>
                  <a:gd name="connsiteX109" fmla="*/ 1941512 w 8804275"/>
                  <a:gd name="connsiteY109" fmla="*/ 483393 h 4305300"/>
                  <a:gd name="connsiteX110" fmla="*/ 1851025 w 8804275"/>
                  <a:gd name="connsiteY110" fmla="*/ 473869 h 4305300"/>
                  <a:gd name="connsiteX111" fmla="*/ 1796256 w 8804275"/>
                  <a:gd name="connsiteY111" fmla="*/ 435769 h 4305300"/>
                  <a:gd name="connsiteX112" fmla="*/ 1727200 w 8804275"/>
                  <a:gd name="connsiteY112" fmla="*/ 445294 h 4305300"/>
                  <a:gd name="connsiteX113" fmla="*/ 1681956 w 8804275"/>
                  <a:gd name="connsiteY113" fmla="*/ 419100 h 4305300"/>
                  <a:gd name="connsiteX114" fmla="*/ 1672432 w 8804275"/>
                  <a:gd name="connsiteY114" fmla="*/ 347663 h 4305300"/>
                  <a:gd name="connsiteX115" fmla="*/ 1648619 w 8804275"/>
                  <a:gd name="connsiteY115" fmla="*/ 333375 h 4305300"/>
                  <a:gd name="connsiteX116" fmla="*/ 1610519 w 8804275"/>
                  <a:gd name="connsiteY116" fmla="*/ 380999 h 4305300"/>
                  <a:gd name="connsiteX117" fmla="*/ 1531937 w 8804275"/>
                  <a:gd name="connsiteY117" fmla="*/ 307181 h 4305300"/>
                  <a:gd name="connsiteX118" fmla="*/ 1491456 w 8804275"/>
                  <a:gd name="connsiteY118" fmla="*/ 347663 h 4305300"/>
                  <a:gd name="connsiteX119" fmla="*/ 1415256 w 8804275"/>
                  <a:gd name="connsiteY119" fmla="*/ 333375 h 4305300"/>
                  <a:gd name="connsiteX120" fmla="*/ 1336675 w 8804275"/>
                  <a:gd name="connsiteY120" fmla="*/ 359569 h 4305300"/>
                  <a:gd name="connsiteX121" fmla="*/ 1277144 w 8804275"/>
                  <a:gd name="connsiteY121" fmla="*/ 407193 h 4305300"/>
                  <a:gd name="connsiteX122" fmla="*/ 1203325 w 8804275"/>
                  <a:gd name="connsiteY122" fmla="*/ 419100 h 4305300"/>
                  <a:gd name="connsiteX123" fmla="*/ 1167606 w 8804275"/>
                  <a:gd name="connsiteY123" fmla="*/ 411956 h 4305300"/>
                  <a:gd name="connsiteX124" fmla="*/ 1089026 w 8804275"/>
                  <a:gd name="connsiteY124" fmla="*/ 442913 h 4305300"/>
                  <a:gd name="connsiteX125" fmla="*/ 1067594 w 8804275"/>
                  <a:gd name="connsiteY125" fmla="*/ 471488 h 4305300"/>
                  <a:gd name="connsiteX126" fmla="*/ 1000919 w 8804275"/>
                  <a:gd name="connsiteY126" fmla="*/ 461963 h 4305300"/>
                  <a:gd name="connsiteX127" fmla="*/ 931863 w 8804275"/>
                  <a:gd name="connsiteY127" fmla="*/ 485775 h 4305300"/>
                  <a:gd name="connsiteX128" fmla="*/ 877094 w 8804275"/>
                  <a:gd name="connsiteY128" fmla="*/ 523875 h 4305300"/>
                  <a:gd name="connsiteX129" fmla="*/ 781844 w 8804275"/>
                  <a:gd name="connsiteY129" fmla="*/ 538162 h 4305300"/>
                  <a:gd name="connsiteX130" fmla="*/ 767556 w 8804275"/>
                  <a:gd name="connsiteY130" fmla="*/ 559594 h 4305300"/>
                  <a:gd name="connsiteX131" fmla="*/ 779462 w 8804275"/>
                  <a:gd name="connsiteY131" fmla="*/ 604838 h 4305300"/>
                  <a:gd name="connsiteX132" fmla="*/ 679451 w 8804275"/>
                  <a:gd name="connsiteY132" fmla="*/ 657225 h 4305300"/>
                  <a:gd name="connsiteX133" fmla="*/ 641350 w 8804275"/>
                  <a:gd name="connsiteY133" fmla="*/ 628649 h 4305300"/>
                  <a:gd name="connsiteX134" fmla="*/ 610394 w 8804275"/>
                  <a:gd name="connsiteY134" fmla="*/ 685800 h 4305300"/>
                  <a:gd name="connsiteX135" fmla="*/ 553244 w 8804275"/>
                  <a:gd name="connsiteY135" fmla="*/ 647700 h 4305300"/>
                  <a:gd name="connsiteX136" fmla="*/ 517525 w 8804275"/>
                  <a:gd name="connsiteY136" fmla="*/ 676275 h 4305300"/>
                  <a:gd name="connsiteX137" fmla="*/ 481806 w 8804275"/>
                  <a:gd name="connsiteY137" fmla="*/ 640556 h 4305300"/>
                  <a:gd name="connsiteX138" fmla="*/ 429419 w 8804275"/>
                  <a:gd name="connsiteY138" fmla="*/ 652463 h 4305300"/>
                  <a:gd name="connsiteX139" fmla="*/ 0 w 8804275"/>
                  <a:gd name="connsiteY139" fmla="*/ 448469 h 4305300"/>
                  <a:gd name="connsiteX140" fmla="*/ 265113 w 8804275"/>
                  <a:gd name="connsiteY140" fmla="*/ 740568 h 4305300"/>
                  <a:gd name="connsiteX141" fmla="*/ 231775 w 8804275"/>
                  <a:gd name="connsiteY141" fmla="*/ 769144 h 4305300"/>
                  <a:gd name="connsiteX142" fmla="*/ 236538 w 8804275"/>
                  <a:gd name="connsiteY142" fmla="*/ 812006 h 4305300"/>
                  <a:gd name="connsiteX143" fmla="*/ 203200 w 8804275"/>
                  <a:gd name="connsiteY143" fmla="*/ 816769 h 4305300"/>
                  <a:gd name="connsiteX144" fmla="*/ 207963 w 8804275"/>
                  <a:gd name="connsiteY144" fmla="*/ 840581 h 4305300"/>
                  <a:gd name="connsiteX145" fmla="*/ 265112 w 8804275"/>
                  <a:gd name="connsiteY145" fmla="*/ 914400 h 4305300"/>
                  <a:gd name="connsiteX146" fmla="*/ 227013 w 8804275"/>
                  <a:gd name="connsiteY146" fmla="*/ 962025 h 4305300"/>
                  <a:gd name="connsiteX147" fmla="*/ 281781 w 8804275"/>
                  <a:gd name="connsiteY147" fmla="*/ 997744 h 4305300"/>
                  <a:gd name="connsiteX148" fmla="*/ 372269 w 8804275"/>
                  <a:gd name="connsiteY148" fmla="*/ 1085850 h 4305300"/>
                  <a:gd name="connsiteX149" fmla="*/ 374650 w 8804275"/>
                  <a:gd name="connsiteY149" fmla="*/ 1145381 h 4305300"/>
                  <a:gd name="connsiteX150" fmla="*/ 510381 w 8804275"/>
                  <a:gd name="connsiteY150" fmla="*/ 1278732 h 4305300"/>
                  <a:gd name="connsiteX151" fmla="*/ 565150 w 8804275"/>
                  <a:gd name="connsiteY151" fmla="*/ 1254919 h 4305300"/>
                  <a:gd name="connsiteX152" fmla="*/ 603250 w 8804275"/>
                  <a:gd name="connsiteY152" fmla="*/ 1281112 h 4305300"/>
                  <a:gd name="connsiteX153" fmla="*/ 617538 w 8804275"/>
                  <a:gd name="connsiteY153" fmla="*/ 1331118 h 4305300"/>
                  <a:gd name="connsiteX154" fmla="*/ 660400 w 8804275"/>
                  <a:gd name="connsiteY154" fmla="*/ 1366838 h 4305300"/>
                  <a:gd name="connsiteX155" fmla="*/ 700881 w 8804275"/>
                  <a:gd name="connsiteY155" fmla="*/ 1354931 h 4305300"/>
                  <a:gd name="connsiteX156" fmla="*/ 719931 w 8804275"/>
                  <a:gd name="connsiteY156" fmla="*/ 1412081 h 4305300"/>
                  <a:gd name="connsiteX157" fmla="*/ 767556 w 8804275"/>
                  <a:gd name="connsiteY157" fmla="*/ 1454944 h 4305300"/>
                  <a:gd name="connsiteX158" fmla="*/ 791369 w 8804275"/>
                  <a:gd name="connsiteY158" fmla="*/ 1557338 h 4305300"/>
                  <a:gd name="connsiteX159" fmla="*/ 788988 w 8804275"/>
                  <a:gd name="connsiteY159" fmla="*/ 1604963 h 4305300"/>
                  <a:gd name="connsiteX160" fmla="*/ 824706 w 8804275"/>
                  <a:gd name="connsiteY160" fmla="*/ 1704975 h 4305300"/>
                  <a:gd name="connsiteX161" fmla="*/ 869950 w 8804275"/>
                  <a:gd name="connsiteY161" fmla="*/ 1762125 h 4305300"/>
                  <a:gd name="connsiteX162" fmla="*/ 886618 w 8804275"/>
                  <a:gd name="connsiteY162" fmla="*/ 1919287 h 4305300"/>
                  <a:gd name="connsiteX163" fmla="*/ 853281 w 8804275"/>
                  <a:gd name="connsiteY163" fmla="*/ 1981200 h 4305300"/>
                  <a:gd name="connsiteX164" fmla="*/ 822325 w 8804275"/>
                  <a:gd name="connsiteY164" fmla="*/ 2057400 h 4305300"/>
                  <a:gd name="connsiteX165" fmla="*/ 836613 w 8804275"/>
                  <a:gd name="connsiteY165" fmla="*/ 2114550 h 4305300"/>
                  <a:gd name="connsiteX166" fmla="*/ 738981 w 8804275"/>
                  <a:gd name="connsiteY166" fmla="*/ 2221707 h 4305300"/>
                  <a:gd name="connsiteX167" fmla="*/ 696119 w 8804275"/>
                  <a:gd name="connsiteY167" fmla="*/ 2336006 h 4305300"/>
                  <a:gd name="connsiteX168" fmla="*/ 729456 w 8804275"/>
                  <a:gd name="connsiteY168" fmla="*/ 2376488 h 4305300"/>
                  <a:gd name="connsiteX169" fmla="*/ 712788 w 8804275"/>
                  <a:gd name="connsiteY169" fmla="*/ 2405063 h 4305300"/>
                  <a:gd name="connsiteX170" fmla="*/ 743744 w 8804275"/>
                  <a:gd name="connsiteY170" fmla="*/ 2462213 h 4305300"/>
                  <a:gd name="connsiteX171" fmla="*/ 772319 w 8804275"/>
                  <a:gd name="connsiteY171" fmla="*/ 2462213 h 4305300"/>
                  <a:gd name="connsiteX172" fmla="*/ 934244 w 8804275"/>
                  <a:gd name="connsiteY172" fmla="*/ 2564606 h 4305300"/>
                  <a:gd name="connsiteX173" fmla="*/ 1039019 w 8804275"/>
                  <a:gd name="connsiteY173" fmla="*/ 2562225 h 4305300"/>
                  <a:gd name="connsiteX174" fmla="*/ 1117600 w 8804275"/>
                  <a:gd name="connsiteY174" fmla="*/ 2616994 h 4305300"/>
                  <a:gd name="connsiteX175" fmla="*/ 1248568 w 8804275"/>
                  <a:gd name="connsiteY175" fmla="*/ 2619375 h 4305300"/>
                  <a:gd name="connsiteX176" fmla="*/ 1439068 w 8804275"/>
                  <a:gd name="connsiteY176" fmla="*/ 2688431 h 4305300"/>
                  <a:gd name="connsiteX177" fmla="*/ 1641475 w 8804275"/>
                  <a:gd name="connsiteY177" fmla="*/ 2838450 h 4305300"/>
                  <a:gd name="connsiteX178" fmla="*/ 1674812 w 8804275"/>
                  <a:gd name="connsiteY178" fmla="*/ 2905125 h 4305300"/>
                  <a:gd name="connsiteX179" fmla="*/ 1841500 w 8804275"/>
                  <a:gd name="connsiteY179" fmla="*/ 3031331 h 4305300"/>
                  <a:gd name="connsiteX180" fmla="*/ 1912938 w 8804275"/>
                  <a:gd name="connsiteY180" fmla="*/ 3026569 h 4305300"/>
                  <a:gd name="connsiteX181" fmla="*/ 1948657 w 8804275"/>
                  <a:gd name="connsiteY181" fmla="*/ 3050381 h 4305300"/>
                  <a:gd name="connsiteX182" fmla="*/ 1920081 w 8804275"/>
                  <a:gd name="connsiteY182" fmla="*/ 3090863 h 4305300"/>
                  <a:gd name="connsiteX183" fmla="*/ 1927225 w 8804275"/>
                  <a:gd name="connsiteY183" fmla="*/ 3143250 h 4305300"/>
                  <a:gd name="connsiteX184" fmla="*/ 1979613 w 8804275"/>
                  <a:gd name="connsiteY184" fmla="*/ 3169444 h 4305300"/>
                  <a:gd name="connsiteX185" fmla="*/ 2041525 w 8804275"/>
                  <a:gd name="connsiteY185" fmla="*/ 3393282 h 4305300"/>
                  <a:gd name="connsiteX186" fmla="*/ 2032000 w 8804275"/>
                  <a:gd name="connsiteY186" fmla="*/ 3457575 h 4305300"/>
                  <a:gd name="connsiteX187" fmla="*/ 2167731 w 8804275"/>
                  <a:gd name="connsiteY187" fmla="*/ 3624263 h 4305300"/>
                  <a:gd name="connsiteX188" fmla="*/ 2186781 w 8804275"/>
                  <a:gd name="connsiteY188" fmla="*/ 3674269 h 4305300"/>
                  <a:gd name="connsiteX189" fmla="*/ 2160588 w 8804275"/>
                  <a:gd name="connsiteY189" fmla="*/ 3693319 h 4305300"/>
                  <a:gd name="connsiteX190" fmla="*/ 2262981 w 8804275"/>
                  <a:gd name="connsiteY190" fmla="*/ 3702844 h 4305300"/>
                  <a:gd name="connsiteX191" fmla="*/ 2374900 w 8804275"/>
                  <a:gd name="connsiteY191" fmla="*/ 3690938 h 4305300"/>
                  <a:gd name="connsiteX192" fmla="*/ 2653506 w 8804275"/>
                  <a:gd name="connsiteY192" fmla="*/ 3774281 h 4305300"/>
                  <a:gd name="connsiteX193" fmla="*/ 3060700 w 8804275"/>
                  <a:gd name="connsiteY193" fmla="*/ 3855244 h 4305300"/>
                  <a:gd name="connsiteX194" fmla="*/ 3258344 w 8804275"/>
                  <a:gd name="connsiteY194" fmla="*/ 3824287 h 4305300"/>
                  <a:gd name="connsiteX195" fmla="*/ 3303588 w 8804275"/>
                  <a:gd name="connsiteY195" fmla="*/ 3836193 h 4305300"/>
                  <a:gd name="connsiteX196" fmla="*/ 3358356 w 8804275"/>
                  <a:gd name="connsiteY196" fmla="*/ 3812382 h 4305300"/>
                  <a:gd name="connsiteX197" fmla="*/ 3751262 w 8804275"/>
                  <a:gd name="connsiteY197" fmla="*/ 3902869 h 4305300"/>
                  <a:gd name="connsiteX198" fmla="*/ 3834607 w 8804275"/>
                  <a:gd name="connsiteY198" fmla="*/ 4000500 h 4305300"/>
                  <a:gd name="connsiteX199" fmla="*/ 3953669 w 8804275"/>
                  <a:gd name="connsiteY199" fmla="*/ 4071938 h 4305300"/>
                  <a:gd name="connsiteX200" fmla="*/ 4013200 w 8804275"/>
                  <a:gd name="connsiteY200" fmla="*/ 4055269 h 4305300"/>
                  <a:gd name="connsiteX201" fmla="*/ 4363243 w 8804275"/>
                  <a:gd name="connsiteY201" fmla="*/ 4229100 h 4305300"/>
                  <a:gd name="connsiteX202" fmla="*/ 4589463 w 8804275"/>
                  <a:gd name="connsiteY202" fmla="*/ 4200525 h 4305300"/>
                  <a:gd name="connsiteX203" fmla="*/ 4598988 w 8804275"/>
                  <a:gd name="connsiteY203" fmla="*/ 4279106 h 4305300"/>
                  <a:gd name="connsiteX204" fmla="*/ 4684713 w 8804275"/>
                  <a:gd name="connsiteY204" fmla="*/ 4274343 h 4305300"/>
                  <a:gd name="connsiteX205" fmla="*/ 4763294 w 8804275"/>
                  <a:gd name="connsiteY205" fmla="*/ 4305300 h 4305300"/>
                  <a:gd name="connsiteX206" fmla="*/ 4806156 w 8804275"/>
                  <a:gd name="connsiteY206" fmla="*/ 4245769 h 4305300"/>
                  <a:gd name="connsiteX207" fmla="*/ 5477669 w 8804275"/>
                  <a:gd name="connsiteY207" fmla="*/ 3926681 h 4305300"/>
                  <a:gd name="connsiteX208" fmla="*/ 5565775 w 8804275"/>
                  <a:gd name="connsiteY208" fmla="*/ 3955257 h 4305300"/>
                  <a:gd name="connsiteX209" fmla="*/ 5696744 w 8804275"/>
                  <a:gd name="connsiteY209" fmla="*/ 3926681 h 4305300"/>
                  <a:gd name="connsiteX210" fmla="*/ 5875337 w 8804275"/>
                  <a:gd name="connsiteY210" fmla="*/ 3943350 h 4305300"/>
                  <a:gd name="connsiteX211" fmla="*/ 5932488 w 8804275"/>
                  <a:gd name="connsiteY211" fmla="*/ 3917157 h 4305300"/>
                  <a:gd name="connsiteX212" fmla="*/ 6065837 w 8804275"/>
                  <a:gd name="connsiteY212" fmla="*/ 3914775 h 4305300"/>
                  <a:gd name="connsiteX213" fmla="*/ 6199187 w 8804275"/>
                  <a:gd name="connsiteY213" fmla="*/ 3817144 h 4305300"/>
                  <a:gd name="connsiteX214" fmla="*/ 6265862 w 8804275"/>
                  <a:gd name="connsiteY214" fmla="*/ 3810000 h 4305300"/>
                  <a:gd name="connsiteX215" fmla="*/ 6363494 w 8804275"/>
                  <a:gd name="connsiteY215" fmla="*/ 3736181 h 4305300"/>
                  <a:gd name="connsiteX216" fmla="*/ 6437313 w 8804275"/>
                  <a:gd name="connsiteY216" fmla="*/ 3667125 h 4305300"/>
                  <a:gd name="connsiteX217" fmla="*/ 6446838 w 8804275"/>
                  <a:gd name="connsiteY217" fmla="*/ 3605213 h 4305300"/>
                  <a:gd name="connsiteX218" fmla="*/ 6480175 w 8804275"/>
                  <a:gd name="connsiteY218" fmla="*/ 3536156 h 4305300"/>
                  <a:gd name="connsiteX219" fmla="*/ 6632575 w 8804275"/>
                  <a:gd name="connsiteY219" fmla="*/ 3429000 h 4305300"/>
                  <a:gd name="connsiteX220" fmla="*/ 6665913 w 8804275"/>
                  <a:gd name="connsiteY220" fmla="*/ 3433763 h 4305300"/>
                  <a:gd name="connsiteX221" fmla="*/ 6718300 w 8804275"/>
                  <a:gd name="connsiteY221" fmla="*/ 3355181 h 4305300"/>
                  <a:gd name="connsiteX222" fmla="*/ 6765925 w 8804275"/>
                  <a:gd name="connsiteY222" fmla="*/ 3317081 h 4305300"/>
                  <a:gd name="connsiteX223" fmla="*/ 6751638 w 8804275"/>
                  <a:gd name="connsiteY223" fmla="*/ 3248025 h 4305300"/>
                  <a:gd name="connsiteX224" fmla="*/ 6701631 w 8804275"/>
                  <a:gd name="connsiteY224" fmla="*/ 3217068 h 4305300"/>
                  <a:gd name="connsiteX225" fmla="*/ 6642100 w 8804275"/>
                  <a:gd name="connsiteY225" fmla="*/ 3162300 h 4305300"/>
                  <a:gd name="connsiteX226" fmla="*/ 6623050 w 8804275"/>
                  <a:gd name="connsiteY226" fmla="*/ 3105150 h 4305300"/>
                  <a:gd name="connsiteX227" fmla="*/ 6587331 w 8804275"/>
                  <a:gd name="connsiteY227" fmla="*/ 3071813 h 4305300"/>
                  <a:gd name="connsiteX228" fmla="*/ 6613525 w 8804275"/>
                  <a:gd name="connsiteY228" fmla="*/ 3019425 h 4305300"/>
                  <a:gd name="connsiteX229" fmla="*/ 6654006 w 8804275"/>
                  <a:gd name="connsiteY229" fmla="*/ 2840831 h 4305300"/>
                  <a:gd name="connsiteX230" fmla="*/ 6694488 w 8804275"/>
                  <a:gd name="connsiteY230" fmla="*/ 2774156 h 4305300"/>
                  <a:gd name="connsiteX231" fmla="*/ 6839744 w 8804275"/>
                  <a:gd name="connsiteY231" fmla="*/ 2757487 h 4305300"/>
                  <a:gd name="connsiteX232" fmla="*/ 6908800 w 8804275"/>
                  <a:gd name="connsiteY232" fmla="*/ 2814638 h 4305300"/>
                  <a:gd name="connsiteX233" fmla="*/ 6985000 w 8804275"/>
                  <a:gd name="connsiteY233" fmla="*/ 2838450 h 4305300"/>
                  <a:gd name="connsiteX234" fmla="*/ 7189787 w 8804275"/>
                  <a:gd name="connsiteY234" fmla="*/ 2843213 h 4305300"/>
                  <a:gd name="connsiteX235" fmla="*/ 7366000 w 8804275"/>
                  <a:gd name="connsiteY235" fmla="*/ 2705100 h 4305300"/>
                  <a:gd name="connsiteX236" fmla="*/ 7423150 w 8804275"/>
                  <a:gd name="connsiteY236" fmla="*/ 2614612 h 4305300"/>
                  <a:gd name="connsiteX237" fmla="*/ 7449344 w 8804275"/>
                  <a:gd name="connsiteY237" fmla="*/ 2531269 h 4305300"/>
                  <a:gd name="connsiteX238" fmla="*/ 7580312 w 8804275"/>
                  <a:gd name="connsiteY238" fmla="*/ 2531269 h 4305300"/>
                  <a:gd name="connsiteX239" fmla="*/ 7754144 w 8804275"/>
                  <a:gd name="connsiteY239" fmla="*/ 2474118 h 4305300"/>
                  <a:gd name="connsiteX240" fmla="*/ 7813675 w 8804275"/>
                  <a:gd name="connsiteY240" fmla="*/ 2362200 h 4305300"/>
                  <a:gd name="connsiteX241" fmla="*/ 7877969 w 8804275"/>
                  <a:gd name="connsiteY241" fmla="*/ 2326481 h 4305300"/>
                  <a:gd name="connsiteX242" fmla="*/ 7856538 w 8804275"/>
                  <a:gd name="connsiteY242" fmla="*/ 2281238 h 4305300"/>
                  <a:gd name="connsiteX243" fmla="*/ 7935119 w 8804275"/>
                  <a:gd name="connsiteY243" fmla="*/ 2112168 h 4305300"/>
                  <a:gd name="connsiteX244" fmla="*/ 7989888 w 8804275"/>
                  <a:gd name="connsiteY244" fmla="*/ 2052638 h 4305300"/>
                  <a:gd name="connsiteX245" fmla="*/ 8027988 w 8804275"/>
                  <a:gd name="connsiteY245" fmla="*/ 2047875 h 4305300"/>
                  <a:gd name="connsiteX246" fmla="*/ 8073231 w 8804275"/>
                  <a:gd name="connsiteY246" fmla="*/ 2052638 h 4305300"/>
                  <a:gd name="connsiteX247" fmla="*/ 8137525 w 8804275"/>
                  <a:gd name="connsiteY247" fmla="*/ 2019300 h 4305300"/>
                  <a:gd name="connsiteX248" fmla="*/ 8147050 w 8804275"/>
                  <a:gd name="connsiteY248" fmla="*/ 1955006 h 4305300"/>
                  <a:gd name="connsiteX249" fmla="*/ 8187530 w 8804275"/>
                  <a:gd name="connsiteY249" fmla="*/ 1919288 h 4305300"/>
                  <a:gd name="connsiteX250" fmla="*/ 8247063 w 8804275"/>
                  <a:gd name="connsiteY250" fmla="*/ 1959768 h 4305300"/>
                  <a:gd name="connsiteX251" fmla="*/ 8273257 w 8804275"/>
                  <a:gd name="connsiteY251" fmla="*/ 1909762 h 4305300"/>
                  <a:gd name="connsiteX252" fmla="*/ 8368506 w 8804275"/>
                  <a:gd name="connsiteY252" fmla="*/ 1840706 h 4305300"/>
                  <a:gd name="connsiteX253" fmla="*/ 8430419 w 8804275"/>
                  <a:gd name="connsiteY253" fmla="*/ 1847850 h 4305300"/>
                  <a:gd name="connsiteX254" fmla="*/ 8480425 w 8804275"/>
                  <a:gd name="connsiteY254" fmla="*/ 1828800 h 4305300"/>
                  <a:gd name="connsiteX255" fmla="*/ 8518525 w 8804275"/>
                  <a:gd name="connsiteY255" fmla="*/ 1800225 h 4305300"/>
                  <a:gd name="connsiteX256" fmla="*/ 8551863 w 8804275"/>
                  <a:gd name="connsiteY256" fmla="*/ 1797844 h 4305300"/>
                  <a:gd name="connsiteX257" fmla="*/ 8587581 w 8804275"/>
                  <a:gd name="connsiteY257" fmla="*/ 1828800 h 4305300"/>
                  <a:gd name="connsiteX258" fmla="*/ 8647113 w 8804275"/>
                  <a:gd name="connsiteY258" fmla="*/ 1828800 h 4305300"/>
                  <a:gd name="connsiteX259" fmla="*/ 8685212 w 8804275"/>
                  <a:gd name="connsiteY259" fmla="*/ 1809750 h 4305300"/>
                  <a:gd name="connsiteX260" fmla="*/ 8768556 w 8804275"/>
                  <a:gd name="connsiteY260" fmla="*/ 1812132 h 4305300"/>
                  <a:gd name="connsiteX261" fmla="*/ 8799513 w 8804275"/>
                  <a:gd name="connsiteY261" fmla="*/ 1766888 h 4305300"/>
                  <a:gd name="connsiteX262" fmla="*/ 8804275 w 8804275"/>
                  <a:gd name="connsiteY262" fmla="*/ 1704975 h 4305300"/>
                  <a:gd name="connsiteX263" fmla="*/ 8754268 w 8804275"/>
                  <a:gd name="connsiteY263" fmla="*/ 1664494 h 4305300"/>
                  <a:gd name="connsiteX264" fmla="*/ 8737600 w 8804275"/>
                  <a:gd name="connsiteY264" fmla="*/ 1609725 h 4305300"/>
                  <a:gd name="connsiteX265" fmla="*/ 8647113 w 8804275"/>
                  <a:gd name="connsiteY265" fmla="*/ 1547813 h 4305300"/>
                  <a:gd name="connsiteX266" fmla="*/ 8606631 w 8804275"/>
                  <a:gd name="connsiteY266" fmla="*/ 1526381 h 4305300"/>
                  <a:gd name="connsiteX267" fmla="*/ 8568531 w 8804275"/>
                  <a:gd name="connsiteY267" fmla="*/ 1481138 h 4305300"/>
                  <a:gd name="connsiteX268" fmla="*/ 8537575 w 8804275"/>
                  <a:gd name="connsiteY268" fmla="*/ 1478756 h 4305300"/>
                  <a:gd name="connsiteX269" fmla="*/ 8520906 w 8804275"/>
                  <a:gd name="connsiteY269" fmla="*/ 1426369 h 4305300"/>
                  <a:gd name="connsiteX270" fmla="*/ 8480425 w 8804275"/>
                  <a:gd name="connsiteY270" fmla="*/ 1409700 h 4305300"/>
                  <a:gd name="connsiteX271" fmla="*/ 8480425 w 8804275"/>
                  <a:gd name="connsiteY271" fmla="*/ 1409700 h 4305300"/>
                  <a:gd name="connsiteX272" fmla="*/ 8439944 w 8804275"/>
                  <a:gd name="connsiteY272" fmla="*/ 1414463 h 4305300"/>
                  <a:gd name="connsiteX273" fmla="*/ 8354218 w 8804275"/>
                  <a:gd name="connsiteY273" fmla="*/ 1340644 h 4305300"/>
                  <a:gd name="connsiteX274" fmla="*/ 8173244 w 8804275"/>
                  <a:gd name="connsiteY274" fmla="*/ 1340643 h 4305300"/>
                  <a:gd name="connsiteX275" fmla="*/ 8120856 w 8804275"/>
                  <a:gd name="connsiteY275" fmla="*/ 1378744 h 4305300"/>
                  <a:gd name="connsiteX276" fmla="*/ 8070850 w 8804275"/>
                  <a:gd name="connsiteY276" fmla="*/ 1457325 h 4305300"/>
                  <a:gd name="connsiteX277" fmla="*/ 8087519 w 8804275"/>
                  <a:gd name="connsiteY277" fmla="*/ 1478756 h 4305300"/>
                  <a:gd name="connsiteX278" fmla="*/ 8042275 w 8804275"/>
                  <a:gd name="connsiteY278" fmla="*/ 1528762 h 4305300"/>
                  <a:gd name="connsiteX279" fmla="*/ 7892256 w 8804275"/>
                  <a:gd name="connsiteY279" fmla="*/ 1452562 h 4305300"/>
                  <a:gd name="connsiteX280" fmla="*/ 7801769 w 8804275"/>
                  <a:gd name="connsiteY280" fmla="*/ 1488281 h 4305300"/>
                  <a:gd name="connsiteX281" fmla="*/ 7727950 w 8804275"/>
                  <a:gd name="connsiteY281" fmla="*/ 1485900 h 4305300"/>
                  <a:gd name="connsiteX282" fmla="*/ 7670800 w 8804275"/>
                  <a:gd name="connsiteY282" fmla="*/ 1581150 h 4305300"/>
                  <a:gd name="connsiteX283" fmla="*/ 7532688 w 8804275"/>
                  <a:gd name="connsiteY283" fmla="*/ 1483519 h 4305300"/>
                  <a:gd name="connsiteX0" fmla="*/ 7532688 w 8804275"/>
                  <a:gd name="connsiteY0" fmla="*/ 1483519 h 4305300"/>
                  <a:gd name="connsiteX1" fmla="*/ 7525544 w 8804275"/>
                  <a:gd name="connsiteY1" fmla="*/ 1428750 h 4305300"/>
                  <a:gd name="connsiteX2" fmla="*/ 7592219 w 8804275"/>
                  <a:gd name="connsiteY2" fmla="*/ 1354931 h 4305300"/>
                  <a:gd name="connsiteX3" fmla="*/ 7575550 w 8804275"/>
                  <a:gd name="connsiteY3" fmla="*/ 1283494 h 4305300"/>
                  <a:gd name="connsiteX4" fmla="*/ 7589838 w 8804275"/>
                  <a:gd name="connsiteY4" fmla="*/ 1188244 h 4305300"/>
                  <a:gd name="connsiteX5" fmla="*/ 7627938 w 8804275"/>
                  <a:gd name="connsiteY5" fmla="*/ 1131094 h 4305300"/>
                  <a:gd name="connsiteX6" fmla="*/ 7608887 w 8804275"/>
                  <a:gd name="connsiteY6" fmla="*/ 1097756 h 4305300"/>
                  <a:gd name="connsiteX7" fmla="*/ 7706518 w 8804275"/>
                  <a:gd name="connsiteY7" fmla="*/ 697706 h 4305300"/>
                  <a:gd name="connsiteX8" fmla="*/ 7699375 w 8804275"/>
                  <a:gd name="connsiteY8" fmla="*/ 669131 h 4305300"/>
                  <a:gd name="connsiteX9" fmla="*/ 7570788 w 8804275"/>
                  <a:gd name="connsiteY9" fmla="*/ 647700 h 4305300"/>
                  <a:gd name="connsiteX10" fmla="*/ 7387432 w 8804275"/>
                  <a:gd name="connsiteY10" fmla="*/ 726281 h 4305300"/>
                  <a:gd name="connsiteX11" fmla="*/ 7230268 w 8804275"/>
                  <a:gd name="connsiteY11" fmla="*/ 611981 h 4305300"/>
                  <a:gd name="connsiteX12" fmla="*/ 7154069 w 8804275"/>
                  <a:gd name="connsiteY12" fmla="*/ 619125 h 4305300"/>
                  <a:gd name="connsiteX13" fmla="*/ 7080250 w 8804275"/>
                  <a:gd name="connsiteY13" fmla="*/ 614363 h 4305300"/>
                  <a:gd name="connsiteX14" fmla="*/ 6942138 w 8804275"/>
                  <a:gd name="connsiteY14" fmla="*/ 719138 h 4305300"/>
                  <a:gd name="connsiteX15" fmla="*/ 6834981 w 8804275"/>
                  <a:gd name="connsiteY15" fmla="*/ 826294 h 4305300"/>
                  <a:gd name="connsiteX16" fmla="*/ 6792119 w 8804275"/>
                  <a:gd name="connsiteY16" fmla="*/ 895350 h 4305300"/>
                  <a:gd name="connsiteX17" fmla="*/ 6799263 w 8804275"/>
                  <a:gd name="connsiteY17" fmla="*/ 931069 h 4305300"/>
                  <a:gd name="connsiteX18" fmla="*/ 6737350 w 8804275"/>
                  <a:gd name="connsiteY18" fmla="*/ 942975 h 4305300"/>
                  <a:gd name="connsiteX19" fmla="*/ 6756400 w 8804275"/>
                  <a:gd name="connsiteY19" fmla="*/ 942975 h 4305300"/>
                  <a:gd name="connsiteX20" fmla="*/ 6723063 w 8804275"/>
                  <a:gd name="connsiteY20" fmla="*/ 973931 h 4305300"/>
                  <a:gd name="connsiteX21" fmla="*/ 6623050 w 8804275"/>
                  <a:gd name="connsiteY21" fmla="*/ 973932 h 4305300"/>
                  <a:gd name="connsiteX22" fmla="*/ 6527800 w 8804275"/>
                  <a:gd name="connsiteY22" fmla="*/ 1028700 h 4305300"/>
                  <a:gd name="connsiteX23" fmla="*/ 6446838 w 8804275"/>
                  <a:gd name="connsiteY23" fmla="*/ 1038225 h 4305300"/>
                  <a:gd name="connsiteX24" fmla="*/ 6406356 w 8804275"/>
                  <a:gd name="connsiteY24" fmla="*/ 1071563 h 4305300"/>
                  <a:gd name="connsiteX25" fmla="*/ 6356350 w 8804275"/>
                  <a:gd name="connsiteY25" fmla="*/ 1076325 h 4305300"/>
                  <a:gd name="connsiteX26" fmla="*/ 6234907 w 8804275"/>
                  <a:gd name="connsiteY26" fmla="*/ 1169194 h 4305300"/>
                  <a:gd name="connsiteX27" fmla="*/ 6175375 w 8804275"/>
                  <a:gd name="connsiteY27" fmla="*/ 1173956 h 4305300"/>
                  <a:gd name="connsiteX28" fmla="*/ 6122988 w 8804275"/>
                  <a:gd name="connsiteY28" fmla="*/ 1138238 h 4305300"/>
                  <a:gd name="connsiteX29" fmla="*/ 6096794 w 8804275"/>
                  <a:gd name="connsiteY29" fmla="*/ 1173956 h 4305300"/>
                  <a:gd name="connsiteX30" fmla="*/ 5899150 w 8804275"/>
                  <a:gd name="connsiteY30" fmla="*/ 1166813 h 4305300"/>
                  <a:gd name="connsiteX31" fmla="*/ 5837238 w 8804275"/>
                  <a:gd name="connsiteY31" fmla="*/ 1121569 h 4305300"/>
                  <a:gd name="connsiteX32" fmla="*/ 5639594 w 8804275"/>
                  <a:gd name="connsiteY32" fmla="*/ 1138238 h 4305300"/>
                  <a:gd name="connsiteX33" fmla="*/ 5551488 w 8804275"/>
                  <a:gd name="connsiteY33" fmla="*/ 1054893 h 4305300"/>
                  <a:gd name="connsiteX34" fmla="*/ 5475288 w 8804275"/>
                  <a:gd name="connsiteY34" fmla="*/ 1009650 h 4305300"/>
                  <a:gd name="connsiteX35" fmla="*/ 5477668 w 8804275"/>
                  <a:gd name="connsiteY35" fmla="*/ 952500 h 4305300"/>
                  <a:gd name="connsiteX36" fmla="*/ 5458619 w 8804275"/>
                  <a:gd name="connsiteY36" fmla="*/ 909637 h 4305300"/>
                  <a:gd name="connsiteX37" fmla="*/ 5363369 w 8804275"/>
                  <a:gd name="connsiteY37" fmla="*/ 912019 h 4305300"/>
                  <a:gd name="connsiteX38" fmla="*/ 5268119 w 8804275"/>
                  <a:gd name="connsiteY38" fmla="*/ 890588 h 4305300"/>
                  <a:gd name="connsiteX39" fmla="*/ 5199062 w 8804275"/>
                  <a:gd name="connsiteY39" fmla="*/ 823912 h 4305300"/>
                  <a:gd name="connsiteX40" fmla="*/ 5163344 w 8804275"/>
                  <a:gd name="connsiteY40" fmla="*/ 781050 h 4305300"/>
                  <a:gd name="connsiteX41" fmla="*/ 5082381 w 8804275"/>
                  <a:gd name="connsiteY41" fmla="*/ 757237 h 4305300"/>
                  <a:gd name="connsiteX42" fmla="*/ 5008563 w 8804275"/>
                  <a:gd name="connsiteY42" fmla="*/ 769143 h 4305300"/>
                  <a:gd name="connsiteX43" fmla="*/ 4951412 w 8804275"/>
                  <a:gd name="connsiteY43" fmla="*/ 716756 h 4305300"/>
                  <a:gd name="connsiteX44" fmla="*/ 4856163 w 8804275"/>
                  <a:gd name="connsiteY44" fmla="*/ 728663 h 4305300"/>
                  <a:gd name="connsiteX45" fmla="*/ 4803775 w 8804275"/>
                  <a:gd name="connsiteY45" fmla="*/ 702469 h 4305300"/>
                  <a:gd name="connsiteX46" fmla="*/ 4722813 w 8804275"/>
                  <a:gd name="connsiteY46" fmla="*/ 745331 h 4305300"/>
                  <a:gd name="connsiteX47" fmla="*/ 4584700 w 8804275"/>
                  <a:gd name="connsiteY47" fmla="*/ 769144 h 4305300"/>
                  <a:gd name="connsiteX48" fmla="*/ 4456113 w 8804275"/>
                  <a:gd name="connsiteY48" fmla="*/ 862013 h 4305300"/>
                  <a:gd name="connsiteX49" fmla="*/ 4408487 w 8804275"/>
                  <a:gd name="connsiteY49" fmla="*/ 823913 h 4305300"/>
                  <a:gd name="connsiteX50" fmla="*/ 4387056 w 8804275"/>
                  <a:gd name="connsiteY50" fmla="*/ 854868 h 4305300"/>
                  <a:gd name="connsiteX51" fmla="*/ 4313238 w 8804275"/>
                  <a:gd name="connsiteY51" fmla="*/ 804863 h 4305300"/>
                  <a:gd name="connsiteX52" fmla="*/ 4275138 w 8804275"/>
                  <a:gd name="connsiteY52" fmla="*/ 812006 h 4305300"/>
                  <a:gd name="connsiteX53" fmla="*/ 4253706 w 8804275"/>
                  <a:gd name="connsiteY53" fmla="*/ 773906 h 4305300"/>
                  <a:gd name="connsiteX54" fmla="*/ 4194175 w 8804275"/>
                  <a:gd name="connsiteY54" fmla="*/ 778669 h 4305300"/>
                  <a:gd name="connsiteX55" fmla="*/ 4148931 w 8804275"/>
                  <a:gd name="connsiteY55" fmla="*/ 750094 h 4305300"/>
                  <a:gd name="connsiteX56" fmla="*/ 4110831 w 8804275"/>
                  <a:gd name="connsiteY56" fmla="*/ 747713 h 4305300"/>
                  <a:gd name="connsiteX57" fmla="*/ 4091781 w 8804275"/>
                  <a:gd name="connsiteY57" fmla="*/ 700087 h 4305300"/>
                  <a:gd name="connsiteX58" fmla="*/ 4077494 w 8804275"/>
                  <a:gd name="connsiteY58" fmla="*/ 669131 h 4305300"/>
                  <a:gd name="connsiteX59" fmla="*/ 4032250 w 8804275"/>
                  <a:gd name="connsiteY59" fmla="*/ 678656 h 4305300"/>
                  <a:gd name="connsiteX60" fmla="*/ 4013200 w 8804275"/>
                  <a:gd name="connsiteY60" fmla="*/ 642938 h 4305300"/>
                  <a:gd name="connsiteX61" fmla="*/ 4034632 w 8804275"/>
                  <a:gd name="connsiteY61" fmla="*/ 588169 h 4305300"/>
                  <a:gd name="connsiteX62" fmla="*/ 4003675 w 8804275"/>
                  <a:gd name="connsiteY62" fmla="*/ 561975 h 4305300"/>
                  <a:gd name="connsiteX63" fmla="*/ 4020344 w 8804275"/>
                  <a:gd name="connsiteY63" fmla="*/ 519113 h 4305300"/>
                  <a:gd name="connsiteX64" fmla="*/ 3994150 w 8804275"/>
                  <a:gd name="connsiteY64" fmla="*/ 476250 h 4305300"/>
                  <a:gd name="connsiteX65" fmla="*/ 3989388 w 8804275"/>
                  <a:gd name="connsiteY65" fmla="*/ 414338 h 4305300"/>
                  <a:gd name="connsiteX66" fmla="*/ 4013200 w 8804275"/>
                  <a:gd name="connsiteY66" fmla="*/ 350043 h 4305300"/>
                  <a:gd name="connsiteX67" fmla="*/ 3975100 w 8804275"/>
                  <a:gd name="connsiteY67" fmla="*/ 352425 h 4305300"/>
                  <a:gd name="connsiteX68" fmla="*/ 3856038 w 8804275"/>
                  <a:gd name="connsiteY68" fmla="*/ 295275 h 4305300"/>
                  <a:gd name="connsiteX69" fmla="*/ 3817937 w 8804275"/>
                  <a:gd name="connsiteY69" fmla="*/ 300037 h 4305300"/>
                  <a:gd name="connsiteX70" fmla="*/ 3613150 w 8804275"/>
                  <a:gd name="connsiteY70" fmla="*/ 190500 h 4305300"/>
                  <a:gd name="connsiteX71" fmla="*/ 3508375 w 8804275"/>
                  <a:gd name="connsiteY71" fmla="*/ 159544 h 4305300"/>
                  <a:gd name="connsiteX72" fmla="*/ 3444081 w 8804275"/>
                  <a:gd name="connsiteY72" fmla="*/ 169068 h 4305300"/>
                  <a:gd name="connsiteX73" fmla="*/ 3413125 w 8804275"/>
                  <a:gd name="connsiteY73" fmla="*/ 104775 h 4305300"/>
                  <a:gd name="connsiteX74" fmla="*/ 3355975 w 8804275"/>
                  <a:gd name="connsiteY74" fmla="*/ 104775 h 4305300"/>
                  <a:gd name="connsiteX75" fmla="*/ 3217862 w 8804275"/>
                  <a:gd name="connsiteY75" fmla="*/ 0 h 4305300"/>
                  <a:gd name="connsiteX76" fmla="*/ 3184525 w 8804275"/>
                  <a:gd name="connsiteY76" fmla="*/ 59532 h 4305300"/>
                  <a:gd name="connsiteX77" fmla="*/ 3129756 w 8804275"/>
                  <a:gd name="connsiteY77" fmla="*/ 128588 h 4305300"/>
                  <a:gd name="connsiteX78" fmla="*/ 3086894 w 8804275"/>
                  <a:gd name="connsiteY78" fmla="*/ 145256 h 4305300"/>
                  <a:gd name="connsiteX79" fmla="*/ 3055938 w 8804275"/>
                  <a:gd name="connsiteY79" fmla="*/ 138113 h 4305300"/>
                  <a:gd name="connsiteX80" fmla="*/ 3032125 w 8804275"/>
                  <a:gd name="connsiteY80" fmla="*/ 166688 h 4305300"/>
                  <a:gd name="connsiteX81" fmla="*/ 3005931 w 8804275"/>
                  <a:gd name="connsiteY81" fmla="*/ 245269 h 4305300"/>
                  <a:gd name="connsiteX82" fmla="*/ 2963069 w 8804275"/>
                  <a:gd name="connsiteY82" fmla="*/ 242888 h 4305300"/>
                  <a:gd name="connsiteX83" fmla="*/ 2932112 w 8804275"/>
                  <a:gd name="connsiteY83" fmla="*/ 304800 h 4305300"/>
                  <a:gd name="connsiteX84" fmla="*/ 2927350 w 8804275"/>
                  <a:gd name="connsiteY84" fmla="*/ 369094 h 4305300"/>
                  <a:gd name="connsiteX85" fmla="*/ 2901157 w 8804275"/>
                  <a:gd name="connsiteY85" fmla="*/ 407194 h 4305300"/>
                  <a:gd name="connsiteX86" fmla="*/ 2927350 w 8804275"/>
                  <a:gd name="connsiteY86" fmla="*/ 466725 h 4305300"/>
                  <a:gd name="connsiteX87" fmla="*/ 2929731 w 8804275"/>
                  <a:gd name="connsiteY87" fmla="*/ 535781 h 4305300"/>
                  <a:gd name="connsiteX88" fmla="*/ 2958306 w 8804275"/>
                  <a:gd name="connsiteY88" fmla="*/ 588169 h 4305300"/>
                  <a:gd name="connsiteX89" fmla="*/ 3005932 w 8804275"/>
                  <a:gd name="connsiteY89" fmla="*/ 642938 h 4305300"/>
                  <a:gd name="connsiteX90" fmla="*/ 2955925 w 8804275"/>
                  <a:gd name="connsiteY90" fmla="*/ 781050 h 4305300"/>
                  <a:gd name="connsiteX91" fmla="*/ 2886869 w 8804275"/>
                  <a:gd name="connsiteY91" fmla="*/ 847725 h 4305300"/>
                  <a:gd name="connsiteX92" fmla="*/ 2815431 w 8804275"/>
                  <a:gd name="connsiteY92" fmla="*/ 842963 h 4305300"/>
                  <a:gd name="connsiteX93" fmla="*/ 2777331 w 8804275"/>
                  <a:gd name="connsiteY93" fmla="*/ 900113 h 4305300"/>
                  <a:gd name="connsiteX94" fmla="*/ 2717800 w 8804275"/>
                  <a:gd name="connsiteY94" fmla="*/ 914400 h 4305300"/>
                  <a:gd name="connsiteX95" fmla="*/ 2648744 w 8804275"/>
                  <a:gd name="connsiteY95" fmla="*/ 854869 h 4305300"/>
                  <a:gd name="connsiteX96" fmla="*/ 2593975 w 8804275"/>
                  <a:gd name="connsiteY96" fmla="*/ 826294 h 4305300"/>
                  <a:gd name="connsiteX97" fmla="*/ 2551113 w 8804275"/>
                  <a:gd name="connsiteY97" fmla="*/ 840581 h 4305300"/>
                  <a:gd name="connsiteX98" fmla="*/ 2498725 w 8804275"/>
                  <a:gd name="connsiteY98" fmla="*/ 823913 h 4305300"/>
                  <a:gd name="connsiteX99" fmla="*/ 2432050 w 8804275"/>
                  <a:gd name="connsiteY99" fmla="*/ 769144 h 4305300"/>
                  <a:gd name="connsiteX100" fmla="*/ 2386806 w 8804275"/>
                  <a:gd name="connsiteY100" fmla="*/ 781050 h 4305300"/>
                  <a:gd name="connsiteX101" fmla="*/ 2365375 w 8804275"/>
                  <a:gd name="connsiteY101" fmla="*/ 750094 h 4305300"/>
                  <a:gd name="connsiteX102" fmla="*/ 2308225 w 8804275"/>
                  <a:gd name="connsiteY102" fmla="*/ 790575 h 4305300"/>
                  <a:gd name="connsiteX103" fmla="*/ 2191544 w 8804275"/>
                  <a:gd name="connsiteY103" fmla="*/ 769144 h 4305300"/>
                  <a:gd name="connsiteX104" fmla="*/ 2141538 w 8804275"/>
                  <a:gd name="connsiteY104" fmla="*/ 716756 h 4305300"/>
                  <a:gd name="connsiteX105" fmla="*/ 2098675 w 8804275"/>
                  <a:gd name="connsiteY105" fmla="*/ 702469 h 4305300"/>
                  <a:gd name="connsiteX106" fmla="*/ 2055813 w 8804275"/>
                  <a:gd name="connsiteY106" fmla="*/ 728663 h 4305300"/>
                  <a:gd name="connsiteX107" fmla="*/ 2003425 w 8804275"/>
                  <a:gd name="connsiteY107" fmla="*/ 638175 h 4305300"/>
                  <a:gd name="connsiteX108" fmla="*/ 1993900 w 8804275"/>
                  <a:gd name="connsiteY108" fmla="*/ 490537 h 4305300"/>
                  <a:gd name="connsiteX109" fmla="*/ 1941512 w 8804275"/>
                  <a:gd name="connsiteY109" fmla="*/ 483393 h 4305300"/>
                  <a:gd name="connsiteX110" fmla="*/ 1851025 w 8804275"/>
                  <a:gd name="connsiteY110" fmla="*/ 473869 h 4305300"/>
                  <a:gd name="connsiteX111" fmla="*/ 1796256 w 8804275"/>
                  <a:gd name="connsiteY111" fmla="*/ 435769 h 4305300"/>
                  <a:gd name="connsiteX112" fmla="*/ 1727200 w 8804275"/>
                  <a:gd name="connsiteY112" fmla="*/ 445294 h 4305300"/>
                  <a:gd name="connsiteX113" fmla="*/ 1681956 w 8804275"/>
                  <a:gd name="connsiteY113" fmla="*/ 419100 h 4305300"/>
                  <a:gd name="connsiteX114" fmla="*/ 1672432 w 8804275"/>
                  <a:gd name="connsiteY114" fmla="*/ 347663 h 4305300"/>
                  <a:gd name="connsiteX115" fmla="*/ 1648619 w 8804275"/>
                  <a:gd name="connsiteY115" fmla="*/ 333375 h 4305300"/>
                  <a:gd name="connsiteX116" fmla="*/ 1610519 w 8804275"/>
                  <a:gd name="connsiteY116" fmla="*/ 380999 h 4305300"/>
                  <a:gd name="connsiteX117" fmla="*/ 1531937 w 8804275"/>
                  <a:gd name="connsiteY117" fmla="*/ 307181 h 4305300"/>
                  <a:gd name="connsiteX118" fmla="*/ 1491456 w 8804275"/>
                  <a:gd name="connsiteY118" fmla="*/ 347663 h 4305300"/>
                  <a:gd name="connsiteX119" fmla="*/ 1415256 w 8804275"/>
                  <a:gd name="connsiteY119" fmla="*/ 333375 h 4305300"/>
                  <a:gd name="connsiteX120" fmla="*/ 1336675 w 8804275"/>
                  <a:gd name="connsiteY120" fmla="*/ 359569 h 4305300"/>
                  <a:gd name="connsiteX121" fmla="*/ 1277144 w 8804275"/>
                  <a:gd name="connsiteY121" fmla="*/ 407193 h 4305300"/>
                  <a:gd name="connsiteX122" fmla="*/ 1203325 w 8804275"/>
                  <a:gd name="connsiteY122" fmla="*/ 419100 h 4305300"/>
                  <a:gd name="connsiteX123" fmla="*/ 1167606 w 8804275"/>
                  <a:gd name="connsiteY123" fmla="*/ 411956 h 4305300"/>
                  <a:gd name="connsiteX124" fmla="*/ 1089026 w 8804275"/>
                  <a:gd name="connsiteY124" fmla="*/ 442913 h 4305300"/>
                  <a:gd name="connsiteX125" fmla="*/ 1067594 w 8804275"/>
                  <a:gd name="connsiteY125" fmla="*/ 471488 h 4305300"/>
                  <a:gd name="connsiteX126" fmla="*/ 1000919 w 8804275"/>
                  <a:gd name="connsiteY126" fmla="*/ 461963 h 4305300"/>
                  <a:gd name="connsiteX127" fmla="*/ 931863 w 8804275"/>
                  <a:gd name="connsiteY127" fmla="*/ 485775 h 4305300"/>
                  <a:gd name="connsiteX128" fmla="*/ 877094 w 8804275"/>
                  <a:gd name="connsiteY128" fmla="*/ 523875 h 4305300"/>
                  <a:gd name="connsiteX129" fmla="*/ 781844 w 8804275"/>
                  <a:gd name="connsiteY129" fmla="*/ 538162 h 4305300"/>
                  <a:gd name="connsiteX130" fmla="*/ 767556 w 8804275"/>
                  <a:gd name="connsiteY130" fmla="*/ 559594 h 4305300"/>
                  <a:gd name="connsiteX131" fmla="*/ 779462 w 8804275"/>
                  <a:gd name="connsiteY131" fmla="*/ 604838 h 4305300"/>
                  <a:gd name="connsiteX132" fmla="*/ 679451 w 8804275"/>
                  <a:gd name="connsiteY132" fmla="*/ 657225 h 4305300"/>
                  <a:gd name="connsiteX133" fmla="*/ 641350 w 8804275"/>
                  <a:gd name="connsiteY133" fmla="*/ 628649 h 4305300"/>
                  <a:gd name="connsiteX134" fmla="*/ 610394 w 8804275"/>
                  <a:gd name="connsiteY134" fmla="*/ 685800 h 4305300"/>
                  <a:gd name="connsiteX135" fmla="*/ 553244 w 8804275"/>
                  <a:gd name="connsiteY135" fmla="*/ 647700 h 4305300"/>
                  <a:gd name="connsiteX136" fmla="*/ 517525 w 8804275"/>
                  <a:gd name="connsiteY136" fmla="*/ 676275 h 4305300"/>
                  <a:gd name="connsiteX137" fmla="*/ 481806 w 8804275"/>
                  <a:gd name="connsiteY137" fmla="*/ 640556 h 4305300"/>
                  <a:gd name="connsiteX138" fmla="*/ 0 w 8804275"/>
                  <a:gd name="connsiteY138" fmla="*/ 448469 h 4305300"/>
                  <a:gd name="connsiteX139" fmla="*/ 265113 w 8804275"/>
                  <a:gd name="connsiteY139" fmla="*/ 740568 h 4305300"/>
                  <a:gd name="connsiteX140" fmla="*/ 231775 w 8804275"/>
                  <a:gd name="connsiteY140" fmla="*/ 769144 h 4305300"/>
                  <a:gd name="connsiteX141" fmla="*/ 236538 w 8804275"/>
                  <a:gd name="connsiteY141" fmla="*/ 812006 h 4305300"/>
                  <a:gd name="connsiteX142" fmla="*/ 203200 w 8804275"/>
                  <a:gd name="connsiteY142" fmla="*/ 816769 h 4305300"/>
                  <a:gd name="connsiteX143" fmla="*/ 207963 w 8804275"/>
                  <a:gd name="connsiteY143" fmla="*/ 840581 h 4305300"/>
                  <a:gd name="connsiteX144" fmla="*/ 265112 w 8804275"/>
                  <a:gd name="connsiteY144" fmla="*/ 914400 h 4305300"/>
                  <a:gd name="connsiteX145" fmla="*/ 227013 w 8804275"/>
                  <a:gd name="connsiteY145" fmla="*/ 962025 h 4305300"/>
                  <a:gd name="connsiteX146" fmla="*/ 281781 w 8804275"/>
                  <a:gd name="connsiteY146" fmla="*/ 997744 h 4305300"/>
                  <a:gd name="connsiteX147" fmla="*/ 372269 w 8804275"/>
                  <a:gd name="connsiteY147" fmla="*/ 1085850 h 4305300"/>
                  <a:gd name="connsiteX148" fmla="*/ 374650 w 8804275"/>
                  <a:gd name="connsiteY148" fmla="*/ 1145381 h 4305300"/>
                  <a:gd name="connsiteX149" fmla="*/ 510381 w 8804275"/>
                  <a:gd name="connsiteY149" fmla="*/ 1278732 h 4305300"/>
                  <a:gd name="connsiteX150" fmla="*/ 565150 w 8804275"/>
                  <a:gd name="connsiteY150" fmla="*/ 1254919 h 4305300"/>
                  <a:gd name="connsiteX151" fmla="*/ 603250 w 8804275"/>
                  <a:gd name="connsiteY151" fmla="*/ 1281112 h 4305300"/>
                  <a:gd name="connsiteX152" fmla="*/ 617538 w 8804275"/>
                  <a:gd name="connsiteY152" fmla="*/ 1331118 h 4305300"/>
                  <a:gd name="connsiteX153" fmla="*/ 660400 w 8804275"/>
                  <a:gd name="connsiteY153" fmla="*/ 1366838 h 4305300"/>
                  <a:gd name="connsiteX154" fmla="*/ 700881 w 8804275"/>
                  <a:gd name="connsiteY154" fmla="*/ 1354931 h 4305300"/>
                  <a:gd name="connsiteX155" fmla="*/ 719931 w 8804275"/>
                  <a:gd name="connsiteY155" fmla="*/ 1412081 h 4305300"/>
                  <a:gd name="connsiteX156" fmla="*/ 767556 w 8804275"/>
                  <a:gd name="connsiteY156" fmla="*/ 1454944 h 4305300"/>
                  <a:gd name="connsiteX157" fmla="*/ 791369 w 8804275"/>
                  <a:gd name="connsiteY157" fmla="*/ 1557338 h 4305300"/>
                  <a:gd name="connsiteX158" fmla="*/ 788988 w 8804275"/>
                  <a:gd name="connsiteY158" fmla="*/ 1604963 h 4305300"/>
                  <a:gd name="connsiteX159" fmla="*/ 824706 w 8804275"/>
                  <a:gd name="connsiteY159" fmla="*/ 1704975 h 4305300"/>
                  <a:gd name="connsiteX160" fmla="*/ 869950 w 8804275"/>
                  <a:gd name="connsiteY160" fmla="*/ 1762125 h 4305300"/>
                  <a:gd name="connsiteX161" fmla="*/ 886618 w 8804275"/>
                  <a:gd name="connsiteY161" fmla="*/ 1919287 h 4305300"/>
                  <a:gd name="connsiteX162" fmla="*/ 853281 w 8804275"/>
                  <a:gd name="connsiteY162" fmla="*/ 1981200 h 4305300"/>
                  <a:gd name="connsiteX163" fmla="*/ 822325 w 8804275"/>
                  <a:gd name="connsiteY163" fmla="*/ 2057400 h 4305300"/>
                  <a:gd name="connsiteX164" fmla="*/ 836613 w 8804275"/>
                  <a:gd name="connsiteY164" fmla="*/ 2114550 h 4305300"/>
                  <a:gd name="connsiteX165" fmla="*/ 738981 w 8804275"/>
                  <a:gd name="connsiteY165" fmla="*/ 2221707 h 4305300"/>
                  <a:gd name="connsiteX166" fmla="*/ 696119 w 8804275"/>
                  <a:gd name="connsiteY166" fmla="*/ 2336006 h 4305300"/>
                  <a:gd name="connsiteX167" fmla="*/ 729456 w 8804275"/>
                  <a:gd name="connsiteY167" fmla="*/ 2376488 h 4305300"/>
                  <a:gd name="connsiteX168" fmla="*/ 712788 w 8804275"/>
                  <a:gd name="connsiteY168" fmla="*/ 2405063 h 4305300"/>
                  <a:gd name="connsiteX169" fmla="*/ 743744 w 8804275"/>
                  <a:gd name="connsiteY169" fmla="*/ 2462213 h 4305300"/>
                  <a:gd name="connsiteX170" fmla="*/ 772319 w 8804275"/>
                  <a:gd name="connsiteY170" fmla="*/ 2462213 h 4305300"/>
                  <a:gd name="connsiteX171" fmla="*/ 934244 w 8804275"/>
                  <a:gd name="connsiteY171" fmla="*/ 2564606 h 4305300"/>
                  <a:gd name="connsiteX172" fmla="*/ 1039019 w 8804275"/>
                  <a:gd name="connsiteY172" fmla="*/ 2562225 h 4305300"/>
                  <a:gd name="connsiteX173" fmla="*/ 1117600 w 8804275"/>
                  <a:gd name="connsiteY173" fmla="*/ 2616994 h 4305300"/>
                  <a:gd name="connsiteX174" fmla="*/ 1248568 w 8804275"/>
                  <a:gd name="connsiteY174" fmla="*/ 2619375 h 4305300"/>
                  <a:gd name="connsiteX175" fmla="*/ 1439068 w 8804275"/>
                  <a:gd name="connsiteY175" fmla="*/ 2688431 h 4305300"/>
                  <a:gd name="connsiteX176" fmla="*/ 1641475 w 8804275"/>
                  <a:gd name="connsiteY176" fmla="*/ 2838450 h 4305300"/>
                  <a:gd name="connsiteX177" fmla="*/ 1674812 w 8804275"/>
                  <a:gd name="connsiteY177" fmla="*/ 2905125 h 4305300"/>
                  <a:gd name="connsiteX178" fmla="*/ 1841500 w 8804275"/>
                  <a:gd name="connsiteY178" fmla="*/ 3031331 h 4305300"/>
                  <a:gd name="connsiteX179" fmla="*/ 1912938 w 8804275"/>
                  <a:gd name="connsiteY179" fmla="*/ 3026569 h 4305300"/>
                  <a:gd name="connsiteX180" fmla="*/ 1948657 w 8804275"/>
                  <a:gd name="connsiteY180" fmla="*/ 3050381 h 4305300"/>
                  <a:gd name="connsiteX181" fmla="*/ 1920081 w 8804275"/>
                  <a:gd name="connsiteY181" fmla="*/ 3090863 h 4305300"/>
                  <a:gd name="connsiteX182" fmla="*/ 1927225 w 8804275"/>
                  <a:gd name="connsiteY182" fmla="*/ 3143250 h 4305300"/>
                  <a:gd name="connsiteX183" fmla="*/ 1979613 w 8804275"/>
                  <a:gd name="connsiteY183" fmla="*/ 3169444 h 4305300"/>
                  <a:gd name="connsiteX184" fmla="*/ 2041525 w 8804275"/>
                  <a:gd name="connsiteY184" fmla="*/ 3393282 h 4305300"/>
                  <a:gd name="connsiteX185" fmla="*/ 2032000 w 8804275"/>
                  <a:gd name="connsiteY185" fmla="*/ 3457575 h 4305300"/>
                  <a:gd name="connsiteX186" fmla="*/ 2167731 w 8804275"/>
                  <a:gd name="connsiteY186" fmla="*/ 3624263 h 4305300"/>
                  <a:gd name="connsiteX187" fmla="*/ 2186781 w 8804275"/>
                  <a:gd name="connsiteY187" fmla="*/ 3674269 h 4305300"/>
                  <a:gd name="connsiteX188" fmla="*/ 2160588 w 8804275"/>
                  <a:gd name="connsiteY188" fmla="*/ 3693319 h 4305300"/>
                  <a:gd name="connsiteX189" fmla="*/ 2262981 w 8804275"/>
                  <a:gd name="connsiteY189" fmla="*/ 3702844 h 4305300"/>
                  <a:gd name="connsiteX190" fmla="*/ 2374900 w 8804275"/>
                  <a:gd name="connsiteY190" fmla="*/ 3690938 h 4305300"/>
                  <a:gd name="connsiteX191" fmla="*/ 2653506 w 8804275"/>
                  <a:gd name="connsiteY191" fmla="*/ 3774281 h 4305300"/>
                  <a:gd name="connsiteX192" fmla="*/ 3060700 w 8804275"/>
                  <a:gd name="connsiteY192" fmla="*/ 3855244 h 4305300"/>
                  <a:gd name="connsiteX193" fmla="*/ 3258344 w 8804275"/>
                  <a:gd name="connsiteY193" fmla="*/ 3824287 h 4305300"/>
                  <a:gd name="connsiteX194" fmla="*/ 3303588 w 8804275"/>
                  <a:gd name="connsiteY194" fmla="*/ 3836193 h 4305300"/>
                  <a:gd name="connsiteX195" fmla="*/ 3358356 w 8804275"/>
                  <a:gd name="connsiteY195" fmla="*/ 3812382 h 4305300"/>
                  <a:gd name="connsiteX196" fmla="*/ 3751262 w 8804275"/>
                  <a:gd name="connsiteY196" fmla="*/ 3902869 h 4305300"/>
                  <a:gd name="connsiteX197" fmla="*/ 3834607 w 8804275"/>
                  <a:gd name="connsiteY197" fmla="*/ 4000500 h 4305300"/>
                  <a:gd name="connsiteX198" fmla="*/ 3953669 w 8804275"/>
                  <a:gd name="connsiteY198" fmla="*/ 4071938 h 4305300"/>
                  <a:gd name="connsiteX199" fmla="*/ 4013200 w 8804275"/>
                  <a:gd name="connsiteY199" fmla="*/ 4055269 h 4305300"/>
                  <a:gd name="connsiteX200" fmla="*/ 4363243 w 8804275"/>
                  <a:gd name="connsiteY200" fmla="*/ 4229100 h 4305300"/>
                  <a:gd name="connsiteX201" fmla="*/ 4589463 w 8804275"/>
                  <a:gd name="connsiteY201" fmla="*/ 4200525 h 4305300"/>
                  <a:gd name="connsiteX202" fmla="*/ 4598988 w 8804275"/>
                  <a:gd name="connsiteY202" fmla="*/ 4279106 h 4305300"/>
                  <a:gd name="connsiteX203" fmla="*/ 4684713 w 8804275"/>
                  <a:gd name="connsiteY203" fmla="*/ 4274343 h 4305300"/>
                  <a:gd name="connsiteX204" fmla="*/ 4763294 w 8804275"/>
                  <a:gd name="connsiteY204" fmla="*/ 4305300 h 4305300"/>
                  <a:gd name="connsiteX205" fmla="*/ 4806156 w 8804275"/>
                  <a:gd name="connsiteY205" fmla="*/ 4245769 h 4305300"/>
                  <a:gd name="connsiteX206" fmla="*/ 5477669 w 8804275"/>
                  <a:gd name="connsiteY206" fmla="*/ 3926681 h 4305300"/>
                  <a:gd name="connsiteX207" fmla="*/ 5565775 w 8804275"/>
                  <a:gd name="connsiteY207" fmla="*/ 3955257 h 4305300"/>
                  <a:gd name="connsiteX208" fmla="*/ 5696744 w 8804275"/>
                  <a:gd name="connsiteY208" fmla="*/ 3926681 h 4305300"/>
                  <a:gd name="connsiteX209" fmla="*/ 5875337 w 8804275"/>
                  <a:gd name="connsiteY209" fmla="*/ 3943350 h 4305300"/>
                  <a:gd name="connsiteX210" fmla="*/ 5932488 w 8804275"/>
                  <a:gd name="connsiteY210" fmla="*/ 3917157 h 4305300"/>
                  <a:gd name="connsiteX211" fmla="*/ 6065837 w 8804275"/>
                  <a:gd name="connsiteY211" fmla="*/ 3914775 h 4305300"/>
                  <a:gd name="connsiteX212" fmla="*/ 6199187 w 8804275"/>
                  <a:gd name="connsiteY212" fmla="*/ 3817144 h 4305300"/>
                  <a:gd name="connsiteX213" fmla="*/ 6265862 w 8804275"/>
                  <a:gd name="connsiteY213" fmla="*/ 3810000 h 4305300"/>
                  <a:gd name="connsiteX214" fmla="*/ 6363494 w 8804275"/>
                  <a:gd name="connsiteY214" fmla="*/ 3736181 h 4305300"/>
                  <a:gd name="connsiteX215" fmla="*/ 6437313 w 8804275"/>
                  <a:gd name="connsiteY215" fmla="*/ 3667125 h 4305300"/>
                  <a:gd name="connsiteX216" fmla="*/ 6446838 w 8804275"/>
                  <a:gd name="connsiteY216" fmla="*/ 3605213 h 4305300"/>
                  <a:gd name="connsiteX217" fmla="*/ 6480175 w 8804275"/>
                  <a:gd name="connsiteY217" fmla="*/ 3536156 h 4305300"/>
                  <a:gd name="connsiteX218" fmla="*/ 6632575 w 8804275"/>
                  <a:gd name="connsiteY218" fmla="*/ 3429000 h 4305300"/>
                  <a:gd name="connsiteX219" fmla="*/ 6665913 w 8804275"/>
                  <a:gd name="connsiteY219" fmla="*/ 3433763 h 4305300"/>
                  <a:gd name="connsiteX220" fmla="*/ 6718300 w 8804275"/>
                  <a:gd name="connsiteY220" fmla="*/ 3355181 h 4305300"/>
                  <a:gd name="connsiteX221" fmla="*/ 6765925 w 8804275"/>
                  <a:gd name="connsiteY221" fmla="*/ 3317081 h 4305300"/>
                  <a:gd name="connsiteX222" fmla="*/ 6751638 w 8804275"/>
                  <a:gd name="connsiteY222" fmla="*/ 3248025 h 4305300"/>
                  <a:gd name="connsiteX223" fmla="*/ 6701631 w 8804275"/>
                  <a:gd name="connsiteY223" fmla="*/ 3217068 h 4305300"/>
                  <a:gd name="connsiteX224" fmla="*/ 6642100 w 8804275"/>
                  <a:gd name="connsiteY224" fmla="*/ 3162300 h 4305300"/>
                  <a:gd name="connsiteX225" fmla="*/ 6623050 w 8804275"/>
                  <a:gd name="connsiteY225" fmla="*/ 3105150 h 4305300"/>
                  <a:gd name="connsiteX226" fmla="*/ 6587331 w 8804275"/>
                  <a:gd name="connsiteY226" fmla="*/ 3071813 h 4305300"/>
                  <a:gd name="connsiteX227" fmla="*/ 6613525 w 8804275"/>
                  <a:gd name="connsiteY227" fmla="*/ 3019425 h 4305300"/>
                  <a:gd name="connsiteX228" fmla="*/ 6654006 w 8804275"/>
                  <a:gd name="connsiteY228" fmla="*/ 2840831 h 4305300"/>
                  <a:gd name="connsiteX229" fmla="*/ 6694488 w 8804275"/>
                  <a:gd name="connsiteY229" fmla="*/ 2774156 h 4305300"/>
                  <a:gd name="connsiteX230" fmla="*/ 6839744 w 8804275"/>
                  <a:gd name="connsiteY230" fmla="*/ 2757487 h 4305300"/>
                  <a:gd name="connsiteX231" fmla="*/ 6908800 w 8804275"/>
                  <a:gd name="connsiteY231" fmla="*/ 2814638 h 4305300"/>
                  <a:gd name="connsiteX232" fmla="*/ 6985000 w 8804275"/>
                  <a:gd name="connsiteY232" fmla="*/ 2838450 h 4305300"/>
                  <a:gd name="connsiteX233" fmla="*/ 7189787 w 8804275"/>
                  <a:gd name="connsiteY233" fmla="*/ 2843213 h 4305300"/>
                  <a:gd name="connsiteX234" fmla="*/ 7366000 w 8804275"/>
                  <a:gd name="connsiteY234" fmla="*/ 2705100 h 4305300"/>
                  <a:gd name="connsiteX235" fmla="*/ 7423150 w 8804275"/>
                  <a:gd name="connsiteY235" fmla="*/ 2614612 h 4305300"/>
                  <a:gd name="connsiteX236" fmla="*/ 7449344 w 8804275"/>
                  <a:gd name="connsiteY236" fmla="*/ 2531269 h 4305300"/>
                  <a:gd name="connsiteX237" fmla="*/ 7580312 w 8804275"/>
                  <a:gd name="connsiteY237" fmla="*/ 2531269 h 4305300"/>
                  <a:gd name="connsiteX238" fmla="*/ 7754144 w 8804275"/>
                  <a:gd name="connsiteY238" fmla="*/ 2474118 h 4305300"/>
                  <a:gd name="connsiteX239" fmla="*/ 7813675 w 8804275"/>
                  <a:gd name="connsiteY239" fmla="*/ 2362200 h 4305300"/>
                  <a:gd name="connsiteX240" fmla="*/ 7877969 w 8804275"/>
                  <a:gd name="connsiteY240" fmla="*/ 2326481 h 4305300"/>
                  <a:gd name="connsiteX241" fmla="*/ 7856538 w 8804275"/>
                  <a:gd name="connsiteY241" fmla="*/ 2281238 h 4305300"/>
                  <a:gd name="connsiteX242" fmla="*/ 7935119 w 8804275"/>
                  <a:gd name="connsiteY242" fmla="*/ 2112168 h 4305300"/>
                  <a:gd name="connsiteX243" fmla="*/ 7989888 w 8804275"/>
                  <a:gd name="connsiteY243" fmla="*/ 2052638 h 4305300"/>
                  <a:gd name="connsiteX244" fmla="*/ 8027988 w 8804275"/>
                  <a:gd name="connsiteY244" fmla="*/ 2047875 h 4305300"/>
                  <a:gd name="connsiteX245" fmla="*/ 8073231 w 8804275"/>
                  <a:gd name="connsiteY245" fmla="*/ 2052638 h 4305300"/>
                  <a:gd name="connsiteX246" fmla="*/ 8137525 w 8804275"/>
                  <a:gd name="connsiteY246" fmla="*/ 2019300 h 4305300"/>
                  <a:gd name="connsiteX247" fmla="*/ 8147050 w 8804275"/>
                  <a:gd name="connsiteY247" fmla="*/ 1955006 h 4305300"/>
                  <a:gd name="connsiteX248" fmla="*/ 8187530 w 8804275"/>
                  <a:gd name="connsiteY248" fmla="*/ 1919288 h 4305300"/>
                  <a:gd name="connsiteX249" fmla="*/ 8247063 w 8804275"/>
                  <a:gd name="connsiteY249" fmla="*/ 1959768 h 4305300"/>
                  <a:gd name="connsiteX250" fmla="*/ 8273257 w 8804275"/>
                  <a:gd name="connsiteY250" fmla="*/ 1909762 h 4305300"/>
                  <a:gd name="connsiteX251" fmla="*/ 8368506 w 8804275"/>
                  <a:gd name="connsiteY251" fmla="*/ 1840706 h 4305300"/>
                  <a:gd name="connsiteX252" fmla="*/ 8430419 w 8804275"/>
                  <a:gd name="connsiteY252" fmla="*/ 1847850 h 4305300"/>
                  <a:gd name="connsiteX253" fmla="*/ 8480425 w 8804275"/>
                  <a:gd name="connsiteY253" fmla="*/ 1828800 h 4305300"/>
                  <a:gd name="connsiteX254" fmla="*/ 8518525 w 8804275"/>
                  <a:gd name="connsiteY254" fmla="*/ 1800225 h 4305300"/>
                  <a:gd name="connsiteX255" fmla="*/ 8551863 w 8804275"/>
                  <a:gd name="connsiteY255" fmla="*/ 1797844 h 4305300"/>
                  <a:gd name="connsiteX256" fmla="*/ 8587581 w 8804275"/>
                  <a:gd name="connsiteY256" fmla="*/ 1828800 h 4305300"/>
                  <a:gd name="connsiteX257" fmla="*/ 8647113 w 8804275"/>
                  <a:gd name="connsiteY257" fmla="*/ 1828800 h 4305300"/>
                  <a:gd name="connsiteX258" fmla="*/ 8685212 w 8804275"/>
                  <a:gd name="connsiteY258" fmla="*/ 1809750 h 4305300"/>
                  <a:gd name="connsiteX259" fmla="*/ 8768556 w 8804275"/>
                  <a:gd name="connsiteY259" fmla="*/ 1812132 h 4305300"/>
                  <a:gd name="connsiteX260" fmla="*/ 8799513 w 8804275"/>
                  <a:gd name="connsiteY260" fmla="*/ 1766888 h 4305300"/>
                  <a:gd name="connsiteX261" fmla="*/ 8804275 w 8804275"/>
                  <a:gd name="connsiteY261" fmla="*/ 1704975 h 4305300"/>
                  <a:gd name="connsiteX262" fmla="*/ 8754268 w 8804275"/>
                  <a:gd name="connsiteY262" fmla="*/ 1664494 h 4305300"/>
                  <a:gd name="connsiteX263" fmla="*/ 8737600 w 8804275"/>
                  <a:gd name="connsiteY263" fmla="*/ 1609725 h 4305300"/>
                  <a:gd name="connsiteX264" fmla="*/ 8647113 w 8804275"/>
                  <a:gd name="connsiteY264" fmla="*/ 1547813 h 4305300"/>
                  <a:gd name="connsiteX265" fmla="*/ 8606631 w 8804275"/>
                  <a:gd name="connsiteY265" fmla="*/ 1526381 h 4305300"/>
                  <a:gd name="connsiteX266" fmla="*/ 8568531 w 8804275"/>
                  <a:gd name="connsiteY266" fmla="*/ 1481138 h 4305300"/>
                  <a:gd name="connsiteX267" fmla="*/ 8537575 w 8804275"/>
                  <a:gd name="connsiteY267" fmla="*/ 1478756 h 4305300"/>
                  <a:gd name="connsiteX268" fmla="*/ 8520906 w 8804275"/>
                  <a:gd name="connsiteY268" fmla="*/ 1426369 h 4305300"/>
                  <a:gd name="connsiteX269" fmla="*/ 8480425 w 8804275"/>
                  <a:gd name="connsiteY269" fmla="*/ 1409700 h 4305300"/>
                  <a:gd name="connsiteX270" fmla="*/ 8480425 w 8804275"/>
                  <a:gd name="connsiteY270" fmla="*/ 1409700 h 4305300"/>
                  <a:gd name="connsiteX271" fmla="*/ 8439944 w 8804275"/>
                  <a:gd name="connsiteY271" fmla="*/ 1414463 h 4305300"/>
                  <a:gd name="connsiteX272" fmla="*/ 8354218 w 8804275"/>
                  <a:gd name="connsiteY272" fmla="*/ 1340644 h 4305300"/>
                  <a:gd name="connsiteX273" fmla="*/ 8173244 w 8804275"/>
                  <a:gd name="connsiteY273" fmla="*/ 1340643 h 4305300"/>
                  <a:gd name="connsiteX274" fmla="*/ 8120856 w 8804275"/>
                  <a:gd name="connsiteY274" fmla="*/ 1378744 h 4305300"/>
                  <a:gd name="connsiteX275" fmla="*/ 8070850 w 8804275"/>
                  <a:gd name="connsiteY275" fmla="*/ 1457325 h 4305300"/>
                  <a:gd name="connsiteX276" fmla="*/ 8087519 w 8804275"/>
                  <a:gd name="connsiteY276" fmla="*/ 1478756 h 4305300"/>
                  <a:gd name="connsiteX277" fmla="*/ 8042275 w 8804275"/>
                  <a:gd name="connsiteY277" fmla="*/ 1528762 h 4305300"/>
                  <a:gd name="connsiteX278" fmla="*/ 7892256 w 8804275"/>
                  <a:gd name="connsiteY278" fmla="*/ 1452562 h 4305300"/>
                  <a:gd name="connsiteX279" fmla="*/ 7801769 w 8804275"/>
                  <a:gd name="connsiteY279" fmla="*/ 1488281 h 4305300"/>
                  <a:gd name="connsiteX280" fmla="*/ 7727950 w 8804275"/>
                  <a:gd name="connsiteY280" fmla="*/ 1485900 h 4305300"/>
                  <a:gd name="connsiteX281" fmla="*/ 7670800 w 8804275"/>
                  <a:gd name="connsiteY281" fmla="*/ 1581150 h 4305300"/>
                  <a:gd name="connsiteX282" fmla="*/ 7532688 w 8804275"/>
                  <a:gd name="connsiteY282" fmla="*/ 1483519 h 4305300"/>
                  <a:gd name="connsiteX0" fmla="*/ 7532688 w 8804275"/>
                  <a:gd name="connsiteY0" fmla="*/ 1483519 h 4305300"/>
                  <a:gd name="connsiteX1" fmla="*/ 7525544 w 8804275"/>
                  <a:gd name="connsiteY1" fmla="*/ 1428750 h 4305300"/>
                  <a:gd name="connsiteX2" fmla="*/ 7592219 w 8804275"/>
                  <a:gd name="connsiteY2" fmla="*/ 1354931 h 4305300"/>
                  <a:gd name="connsiteX3" fmla="*/ 7575550 w 8804275"/>
                  <a:gd name="connsiteY3" fmla="*/ 1283494 h 4305300"/>
                  <a:gd name="connsiteX4" fmla="*/ 7589838 w 8804275"/>
                  <a:gd name="connsiteY4" fmla="*/ 1188244 h 4305300"/>
                  <a:gd name="connsiteX5" fmla="*/ 7627938 w 8804275"/>
                  <a:gd name="connsiteY5" fmla="*/ 1131094 h 4305300"/>
                  <a:gd name="connsiteX6" fmla="*/ 7608887 w 8804275"/>
                  <a:gd name="connsiteY6" fmla="*/ 1097756 h 4305300"/>
                  <a:gd name="connsiteX7" fmla="*/ 7706518 w 8804275"/>
                  <a:gd name="connsiteY7" fmla="*/ 697706 h 4305300"/>
                  <a:gd name="connsiteX8" fmla="*/ 7699375 w 8804275"/>
                  <a:gd name="connsiteY8" fmla="*/ 669131 h 4305300"/>
                  <a:gd name="connsiteX9" fmla="*/ 7570788 w 8804275"/>
                  <a:gd name="connsiteY9" fmla="*/ 647700 h 4305300"/>
                  <a:gd name="connsiteX10" fmla="*/ 7387432 w 8804275"/>
                  <a:gd name="connsiteY10" fmla="*/ 726281 h 4305300"/>
                  <a:gd name="connsiteX11" fmla="*/ 7230268 w 8804275"/>
                  <a:gd name="connsiteY11" fmla="*/ 611981 h 4305300"/>
                  <a:gd name="connsiteX12" fmla="*/ 7154069 w 8804275"/>
                  <a:gd name="connsiteY12" fmla="*/ 619125 h 4305300"/>
                  <a:gd name="connsiteX13" fmla="*/ 7080250 w 8804275"/>
                  <a:gd name="connsiteY13" fmla="*/ 614363 h 4305300"/>
                  <a:gd name="connsiteX14" fmla="*/ 6942138 w 8804275"/>
                  <a:gd name="connsiteY14" fmla="*/ 719138 h 4305300"/>
                  <a:gd name="connsiteX15" fmla="*/ 6834981 w 8804275"/>
                  <a:gd name="connsiteY15" fmla="*/ 826294 h 4305300"/>
                  <a:gd name="connsiteX16" fmla="*/ 6792119 w 8804275"/>
                  <a:gd name="connsiteY16" fmla="*/ 895350 h 4305300"/>
                  <a:gd name="connsiteX17" fmla="*/ 6799263 w 8804275"/>
                  <a:gd name="connsiteY17" fmla="*/ 931069 h 4305300"/>
                  <a:gd name="connsiteX18" fmla="*/ 6737350 w 8804275"/>
                  <a:gd name="connsiteY18" fmla="*/ 942975 h 4305300"/>
                  <a:gd name="connsiteX19" fmla="*/ 6756400 w 8804275"/>
                  <a:gd name="connsiteY19" fmla="*/ 942975 h 4305300"/>
                  <a:gd name="connsiteX20" fmla="*/ 6723063 w 8804275"/>
                  <a:gd name="connsiteY20" fmla="*/ 973931 h 4305300"/>
                  <a:gd name="connsiteX21" fmla="*/ 6623050 w 8804275"/>
                  <a:gd name="connsiteY21" fmla="*/ 973932 h 4305300"/>
                  <a:gd name="connsiteX22" fmla="*/ 6527800 w 8804275"/>
                  <a:gd name="connsiteY22" fmla="*/ 1028700 h 4305300"/>
                  <a:gd name="connsiteX23" fmla="*/ 6446838 w 8804275"/>
                  <a:gd name="connsiteY23" fmla="*/ 1038225 h 4305300"/>
                  <a:gd name="connsiteX24" fmla="*/ 6406356 w 8804275"/>
                  <a:gd name="connsiteY24" fmla="*/ 1071563 h 4305300"/>
                  <a:gd name="connsiteX25" fmla="*/ 6356350 w 8804275"/>
                  <a:gd name="connsiteY25" fmla="*/ 1076325 h 4305300"/>
                  <a:gd name="connsiteX26" fmla="*/ 6234907 w 8804275"/>
                  <a:gd name="connsiteY26" fmla="*/ 1169194 h 4305300"/>
                  <a:gd name="connsiteX27" fmla="*/ 6175375 w 8804275"/>
                  <a:gd name="connsiteY27" fmla="*/ 1173956 h 4305300"/>
                  <a:gd name="connsiteX28" fmla="*/ 6122988 w 8804275"/>
                  <a:gd name="connsiteY28" fmla="*/ 1138238 h 4305300"/>
                  <a:gd name="connsiteX29" fmla="*/ 6096794 w 8804275"/>
                  <a:gd name="connsiteY29" fmla="*/ 1173956 h 4305300"/>
                  <a:gd name="connsiteX30" fmla="*/ 5899150 w 8804275"/>
                  <a:gd name="connsiteY30" fmla="*/ 1166813 h 4305300"/>
                  <a:gd name="connsiteX31" fmla="*/ 5837238 w 8804275"/>
                  <a:gd name="connsiteY31" fmla="*/ 1121569 h 4305300"/>
                  <a:gd name="connsiteX32" fmla="*/ 5639594 w 8804275"/>
                  <a:gd name="connsiteY32" fmla="*/ 1138238 h 4305300"/>
                  <a:gd name="connsiteX33" fmla="*/ 5551488 w 8804275"/>
                  <a:gd name="connsiteY33" fmla="*/ 1054893 h 4305300"/>
                  <a:gd name="connsiteX34" fmla="*/ 5475288 w 8804275"/>
                  <a:gd name="connsiteY34" fmla="*/ 1009650 h 4305300"/>
                  <a:gd name="connsiteX35" fmla="*/ 5477668 w 8804275"/>
                  <a:gd name="connsiteY35" fmla="*/ 952500 h 4305300"/>
                  <a:gd name="connsiteX36" fmla="*/ 5458619 w 8804275"/>
                  <a:gd name="connsiteY36" fmla="*/ 909637 h 4305300"/>
                  <a:gd name="connsiteX37" fmla="*/ 5363369 w 8804275"/>
                  <a:gd name="connsiteY37" fmla="*/ 912019 h 4305300"/>
                  <a:gd name="connsiteX38" fmla="*/ 5268119 w 8804275"/>
                  <a:gd name="connsiteY38" fmla="*/ 890588 h 4305300"/>
                  <a:gd name="connsiteX39" fmla="*/ 5199062 w 8804275"/>
                  <a:gd name="connsiteY39" fmla="*/ 823912 h 4305300"/>
                  <a:gd name="connsiteX40" fmla="*/ 5163344 w 8804275"/>
                  <a:gd name="connsiteY40" fmla="*/ 781050 h 4305300"/>
                  <a:gd name="connsiteX41" fmla="*/ 5082381 w 8804275"/>
                  <a:gd name="connsiteY41" fmla="*/ 757237 h 4305300"/>
                  <a:gd name="connsiteX42" fmla="*/ 5008563 w 8804275"/>
                  <a:gd name="connsiteY42" fmla="*/ 769143 h 4305300"/>
                  <a:gd name="connsiteX43" fmla="*/ 4951412 w 8804275"/>
                  <a:gd name="connsiteY43" fmla="*/ 716756 h 4305300"/>
                  <a:gd name="connsiteX44" fmla="*/ 4856163 w 8804275"/>
                  <a:gd name="connsiteY44" fmla="*/ 728663 h 4305300"/>
                  <a:gd name="connsiteX45" fmla="*/ 4803775 w 8804275"/>
                  <a:gd name="connsiteY45" fmla="*/ 702469 h 4305300"/>
                  <a:gd name="connsiteX46" fmla="*/ 4722813 w 8804275"/>
                  <a:gd name="connsiteY46" fmla="*/ 745331 h 4305300"/>
                  <a:gd name="connsiteX47" fmla="*/ 4584700 w 8804275"/>
                  <a:gd name="connsiteY47" fmla="*/ 769144 h 4305300"/>
                  <a:gd name="connsiteX48" fmla="*/ 4456113 w 8804275"/>
                  <a:gd name="connsiteY48" fmla="*/ 862013 h 4305300"/>
                  <a:gd name="connsiteX49" fmla="*/ 4408487 w 8804275"/>
                  <a:gd name="connsiteY49" fmla="*/ 823913 h 4305300"/>
                  <a:gd name="connsiteX50" fmla="*/ 4387056 w 8804275"/>
                  <a:gd name="connsiteY50" fmla="*/ 854868 h 4305300"/>
                  <a:gd name="connsiteX51" fmla="*/ 4313238 w 8804275"/>
                  <a:gd name="connsiteY51" fmla="*/ 804863 h 4305300"/>
                  <a:gd name="connsiteX52" fmla="*/ 4275138 w 8804275"/>
                  <a:gd name="connsiteY52" fmla="*/ 812006 h 4305300"/>
                  <a:gd name="connsiteX53" fmla="*/ 4253706 w 8804275"/>
                  <a:gd name="connsiteY53" fmla="*/ 773906 h 4305300"/>
                  <a:gd name="connsiteX54" fmla="*/ 4194175 w 8804275"/>
                  <a:gd name="connsiteY54" fmla="*/ 778669 h 4305300"/>
                  <a:gd name="connsiteX55" fmla="*/ 4148931 w 8804275"/>
                  <a:gd name="connsiteY55" fmla="*/ 750094 h 4305300"/>
                  <a:gd name="connsiteX56" fmla="*/ 4110831 w 8804275"/>
                  <a:gd name="connsiteY56" fmla="*/ 747713 h 4305300"/>
                  <a:gd name="connsiteX57" fmla="*/ 4091781 w 8804275"/>
                  <a:gd name="connsiteY57" fmla="*/ 700087 h 4305300"/>
                  <a:gd name="connsiteX58" fmla="*/ 4077494 w 8804275"/>
                  <a:gd name="connsiteY58" fmla="*/ 669131 h 4305300"/>
                  <a:gd name="connsiteX59" fmla="*/ 4032250 w 8804275"/>
                  <a:gd name="connsiteY59" fmla="*/ 678656 h 4305300"/>
                  <a:gd name="connsiteX60" fmla="*/ 4013200 w 8804275"/>
                  <a:gd name="connsiteY60" fmla="*/ 642938 h 4305300"/>
                  <a:gd name="connsiteX61" fmla="*/ 4034632 w 8804275"/>
                  <a:gd name="connsiteY61" fmla="*/ 588169 h 4305300"/>
                  <a:gd name="connsiteX62" fmla="*/ 4003675 w 8804275"/>
                  <a:gd name="connsiteY62" fmla="*/ 561975 h 4305300"/>
                  <a:gd name="connsiteX63" fmla="*/ 4020344 w 8804275"/>
                  <a:gd name="connsiteY63" fmla="*/ 519113 h 4305300"/>
                  <a:gd name="connsiteX64" fmla="*/ 3994150 w 8804275"/>
                  <a:gd name="connsiteY64" fmla="*/ 476250 h 4305300"/>
                  <a:gd name="connsiteX65" fmla="*/ 3989388 w 8804275"/>
                  <a:gd name="connsiteY65" fmla="*/ 414338 h 4305300"/>
                  <a:gd name="connsiteX66" fmla="*/ 4013200 w 8804275"/>
                  <a:gd name="connsiteY66" fmla="*/ 350043 h 4305300"/>
                  <a:gd name="connsiteX67" fmla="*/ 3975100 w 8804275"/>
                  <a:gd name="connsiteY67" fmla="*/ 352425 h 4305300"/>
                  <a:gd name="connsiteX68" fmla="*/ 3856038 w 8804275"/>
                  <a:gd name="connsiteY68" fmla="*/ 295275 h 4305300"/>
                  <a:gd name="connsiteX69" fmla="*/ 3817937 w 8804275"/>
                  <a:gd name="connsiteY69" fmla="*/ 300037 h 4305300"/>
                  <a:gd name="connsiteX70" fmla="*/ 3613150 w 8804275"/>
                  <a:gd name="connsiteY70" fmla="*/ 190500 h 4305300"/>
                  <a:gd name="connsiteX71" fmla="*/ 3508375 w 8804275"/>
                  <a:gd name="connsiteY71" fmla="*/ 159544 h 4305300"/>
                  <a:gd name="connsiteX72" fmla="*/ 3444081 w 8804275"/>
                  <a:gd name="connsiteY72" fmla="*/ 169068 h 4305300"/>
                  <a:gd name="connsiteX73" fmla="*/ 3413125 w 8804275"/>
                  <a:gd name="connsiteY73" fmla="*/ 104775 h 4305300"/>
                  <a:gd name="connsiteX74" fmla="*/ 3355975 w 8804275"/>
                  <a:gd name="connsiteY74" fmla="*/ 104775 h 4305300"/>
                  <a:gd name="connsiteX75" fmla="*/ 3217862 w 8804275"/>
                  <a:gd name="connsiteY75" fmla="*/ 0 h 4305300"/>
                  <a:gd name="connsiteX76" fmla="*/ 3184525 w 8804275"/>
                  <a:gd name="connsiteY76" fmla="*/ 59532 h 4305300"/>
                  <a:gd name="connsiteX77" fmla="*/ 3129756 w 8804275"/>
                  <a:gd name="connsiteY77" fmla="*/ 128588 h 4305300"/>
                  <a:gd name="connsiteX78" fmla="*/ 3086894 w 8804275"/>
                  <a:gd name="connsiteY78" fmla="*/ 145256 h 4305300"/>
                  <a:gd name="connsiteX79" fmla="*/ 3055938 w 8804275"/>
                  <a:gd name="connsiteY79" fmla="*/ 138113 h 4305300"/>
                  <a:gd name="connsiteX80" fmla="*/ 3032125 w 8804275"/>
                  <a:gd name="connsiteY80" fmla="*/ 166688 h 4305300"/>
                  <a:gd name="connsiteX81" fmla="*/ 3005931 w 8804275"/>
                  <a:gd name="connsiteY81" fmla="*/ 245269 h 4305300"/>
                  <a:gd name="connsiteX82" fmla="*/ 2963069 w 8804275"/>
                  <a:gd name="connsiteY82" fmla="*/ 242888 h 4305300"/>
                  <a:gd name="connsiteX83" fmla="*/ 2932112 w 8804275"/>
                  <a:gd name="connsiteY83" fmla="*/ 304800 h 4305300"/>
                  <a:gd name="connsiteX84" fmla="*/ 2927350 w 8804275"/>
                  <a:gd name="connsiteY84" fmla="*/ 369094 h 4305300"/>
                  <a:gd name="connsiteX85" fmla="*/ 2901157 w 8804275"/>
                  <a:gd name="connsiteY85" fmla="*/ 407194 h 4305300"/>
                  <a:gd name="connsiteX86" fmla="*/ 2927350 w 8804275"/>
                  <a:gd name="connsiteY86" fmla="*/ 466725 h 4305300"/>
                  <a:gd name="connsiteX87" fmla="*/ 2929731 w 8804275"/>
                  <a:gd name="connsiteY87" fmla="*/ 535781 h 4305300"/>
                  <a:gd name="connsiteX88" fmla="*/ 2958306 w 8804275"/>
                  <a:gd name="connsiteY88" fmla="*/ 588169 h 4305300"/>
                  <a:gd name="connsiteX89" fmla="*/ 3005932 w 8804275"/>
                  <a:gd name="connsiteY89" fmla="*/ 642938 h 4305300"/>
                  <a:gd name="connsiteX90" fmla="*/ 2955925 w 8804275"/>
                  <a:gd name="connsiteY90" fmla="*/ 781050 h 4305300"/>
                  <a:gd name="connsiteX91" fmla="*/ 2886869 w 8804275"/>
                  <a:gd name="connsiteY91" fmla="*/ 847725 h 4305300"/>
                  <a:gd name="connsiteX92" fmla="*/ 2815431 w 8804275"/>
                  <a:gd name="connsiteY92" fmla="*/ 842963 h 4305300"/>
                  <a:gd name="connsiteX93" fmla="*/ 2777331 w 8804275"/>
                  <a:gd name="connsiteY93" fmla="*/ 900113 h 4305300"/>
                  <a:gd name="connsiteX94" fmla="*/ 2717800 w 8804275"/>
                  <a:gd name="connsiteY94" fmla="*/ 914400 h 4305300"/>
                  <a:gd name="connsiteX95" fmla="*/ 2648744 w 8804275"/>
                  <a:gd name="connsiteY95" fmla="*/ 854869 h 4305300"/>
                  <a:gd name="connsiteX96" fmla="*/ 2593975 w 8804275"/>
                  <a:gd name="connsiteY96" fmla="*/ 826294 h 4305300"/>
                  <a:gd name="connsiteX97" fmla="*/ 2551113 w 8804275"/>
                  <a:gd name="connsiteY97" fmla="*/ 840581 h 4305300"/>
                  <a:gd name="connsiteX98" fmla="*/ 2498725 w 8804275"/>
                  <a:gd name="connsiteY98" fmla="*/ 823913 h 4305300"/>
                  <a:gd name="connsiteX99" fmla="*/ 2432050 w 8804275"/>
                  <a:gd name="connsiteY99" fmla="*/ 769144 h 4305300"/>
                  <a:gd name="connsiteX100" fmla="*/ 2386806 w 8804275"/>
                  <a:gd name="connsiteY100" fmla="*/ 781050 h 4305300"/>
                  <a:gd name="connsiteX101" fmla="*/ 2365375 w 8804275"/>
                  <a:gd name="connsiteY101" fmla="*/ 750094 h 4305300"/>
                  <a:gd name="connsiteX102" fmla="*/ 2308225 w 8804275"/>
                  <a:gd name="connsiteY102" fmla="*/ 790575 h 4305300"/>
                  <a:gd name="connsiteX103" fmla="*/ 2191544 w 8804275"/>
                  <a:gd name="connsiteY103" fmla="*/ 769144 h 4305300"/>
                  <a:gd name="connsiteX104" fmla="*/ 2141538 w 8804275"/>
                  <a:gd name="connsiteY104" fmla="*/ 716756 h 4305300"/>
                  <a:gd name="connsiteX105" fmla="*/ 2098675 w 8804275"/>
                  <a:gd name="connsiteY105" fmla="*/ 702469 h 4305300"/>
                  <a:gd name="connsiteX106" fmla="*/ 2055813 w 8804275"/>
                  <a:gd name="connsiteY106" fmla="*/ 728663 h 4305300"/>
                  <a:gd name="connsiteX107" fmla="*/ 2003425 w 8804275"/>
                  <a:gd name="connsiteY107" fmla="*/ 638175 h 4305300"/>
                  <a:gd name="connsiteX108" fmla="*/ 1993900 w 8804275"/>
                  <a:gd name="connsiteY108" fmla="*/ 490537 h 4305300"/>
                  <a:gd name="connsiteX109" fmla="*/ 1941512 w 8804275"/>
                  <a:gd name="connsiteY109" fmla="*/ 483393 h 4305300"/>
                  <a:gd name="connsiteX110" fmla="*/ 1851025 w 8804275"/>
                  <a:gd name="connsiteY110" fmla="*/ 473869 h 4305300"/>
                  <a:gd name="connsiteX111" fmla="*/ 1796256 w 8804275"/>
                  <a:gd name="connsiteY111" fmla="*/ 435769 h 4305300"/>
                  <a:gd name="connsiteX112" fmla="*/ 1727200 w 8804275"/>
                  <a:gd name="connsiteY112" fmla="*/ 445294 h 4305300"/>
                  <a:gd name="connsiteX113" fmla="*/ 1681956 w 8804275"/>
                  <a:gd name="connsiteY113" fmla="*/ 419100 h 4305300"/>
                  <a:gd name="connsiteX114" fmla="*/ 1672432 w 8804275"/>
                  <a:gd name="connsiteY114" fmla="*/ 347663 h 4305300"/>
                  <a:gd name="connsiteX115" fmla="*/ 1648619 w 8804275"/>
                  <a:gd name="connsiteY115" fmla="*/ 333375 h 4305300"/>
                  <a:gd name="connsiteX116" fmla="*/ 1610519 w 8804275"/>
                  <a:gd name="connsiteY116" fmla="*/ 380999 h 4305300"/>
                  <a:gd name="connsiteX117" fmla="*/ 1531937 w 8804275"/>
                  <a:gd name="connsiteY117" fmla="*/ 307181 h 4305300"/>
                  <a:gd name="connsiteX118" fmla="*/ 1491456 w 8804275"/>
                  <a:gd name="connsiteY118" fmla="*/ 347663 h 4305300"/>
                  <a:gd name="connsiteX119" fmla="*/ 1415256 w 8804275"/>
                  <a:gd name="connsiteY119" fmla="*/ 333375 h 4305300"/>
                  <a:gd name="connsiteX120" fmla="*/ 1336675 w 8804275"/>
                  <a:gd name="connsiteY120" fmla="*/ 359569 h 4305300"/>
                  <a:gd name="connsiteX121" fmla="*/ 1277144 w 8804275"/>
                  <a:gd name="connsiteY121" fmla="*/ 407193 h 4305300"/>
                  <a:gd name="connsiteX122" fmla="*/ 1203325 w 8804275"/>
                  <a:gd name="connsiteY122" fmla="*/ 419100 h 4305300"/>
                  <a:gd name="connsiteX123" fmla="*/ 1167606 w 8804275"/>
                  <a:gd name="connsiteY123" fmla="*/ 411956 h 4305300"/>
                  <a:gd name="connsiteX124" fmla="*/ 1089026 w 8804275"/>
                  <a:gd name="connsiteY124" fmla="*/ 442913 h 4305300"/>
                  <a:gd name="connsiteX125" fmla="*/ 1067594 w 8804275"/>
                  <a:gd name="connsiteY125" fmla="*/ 471488 h 4305300"/>
                  <a:gd name="connsiteX126" fmla="*/ 1000919 w 8804275"/>
                  <a:gd name="connsiteY126" fmla="*/ 461963 h 4305300"/>
                  <a:gd name="connsiteX127" fmla="*/ 931863 w 8804275"/>
                  <a:gd name="connsiteY127" fmla="*/ 485775 h 4305300"/>
                  <a:gd name="connsiteX128" fmla="*/ 877094 w 8804275"/>
                  <a:gd name="connsiteY128" fmla="*/ 523875 h 4305300"/>
                  <a:gd name="connsiteX129" fmla="*/ 781844 w 8804275"/>
                  <a:gd name="connsiteY129" fmla="*/ 538162 h 4305300"/>
                  <a:gd name="connsiteX130" fmla="*/ 767556 w 8804275"/>
                  <a:gd name="connsiteY130" fmla="*/ 559594 h 4305300"/>
                  <a:gd name="connsiteX131" fmla="*/ 779462 w 8804275"/>
                  <a:gd name="connsiteY131" fmla="*/ 604838 h 4305300"/>
                  <a:gd name="connsiteX132" fmla="*/ 679451 w 8804275"/>
                  <a:gd name="connsiteY132" fmla="*/ 657225 h 4305300"/>
                  <a:gd name="connsiteX133" fmla="*/ 641350 w 8804275"/>
                  <a:gd name="connsiteY133" fmla="*/ 628649 h 4305300"/>
                  <a:gd name="connsiteX134" fmla="*/ 610394 w 8804275"/>
                  <a:gd name="connsiteY134" fmla="*/ 685800 h 4305300"/>
                  <a:gd name="connsiteX135" fmla="*/ 553244 w 8804275"/>
                  <a:gd name="connsiteY135" fmla="*/ 647700 h 4305300"/>
                  <a:gd name="connsiteX136" fmla="*/ 517525 w 8804275"/>
                  <a:gd name="connsiteY136" fmla="*/ 676275 h 4305300"/>
                  <a:gd name="connsiteX137" fmla="*/ 0 w 8804275"/>
                  <a:gd name="connsiteY137" fmla="*/ 448469 h 4305300"/>
                  <a:gd name="connsiteX138" fmla="*/ 265113 w 8804275"/>
                  <a:gd name="connsiteY138" fmla="*/ 740568 h 4305300"/>
                  <a:gd name="connsiteX139" fmla="*/ 231775 w 8804275"/>
                  <a:gd name="connsiteY139" fmla="*/ 769144 h 4305300"/>
                  <a:gd name="connsiteX140" fmla="*/ 236538 w 8804275"/>
                  <a:gd name="connsiteY140" fmla="*/ 812006 h 4305300"/>
                  <a:gd name="connsiteX141" fmla="*/ 203200 w 8804275"/>
                  <a:gd name="connsiteY141" fmla="*/ 816769 h 4305300"/>
                  <a:gd name="connsiteX142" fmla="*/ 207963 w 8804275"/>
                  <a:gd name="connsiteY142" fmla="*/ 840581 h 4305300"/>
                  <a:gd name="connsiteX143" fmla="*/ 265112 w 8804275"/>
                  <a:gd name="connsiteY143" fmla="*/ 914400 h 4305300"/>
                  <a:gd name="connsiteX144" fmla="*/ 227013 w 8804275"/>
                  <a:gd name="connsiteY144" fmla="*/ 962025 h 4305300"/>
                  <a:gd name="connsiteX145" fmla="*/ 281781 w 8804275"/>
                  <a:gd name="connsiteY145" fmla="*/ 997744 h 4305300"/>
                  <a:gd name="connsiteX146" fmla="*/ 372269 w 8804275"/>
                  <a:gd name="connsiteY146" fmla="*/ 1085850 h 4305300"/>
                  <a:gd name="connsiteX147" fmla="*/ 374650 w 8804275"/>
                  <a:gd name="connsiteY147" fmla="*/ 1145381 h 4305300"/>
                  <a:gd name="connsiteX148" fmla="*/ 510381 w 8804275"/>
                  <a:gd name="connsiteY148" fmla="*/ 1278732 h 4305300"/>
                  <a:gd name="connsiteX149" fmla="*/ 565150 w 8804275"/>
                  <a:gd name="connsiteY149" fmla="*/ 1254919 h 4305300"/>
                  <a:gd name="connsiteX150" fmla="*/ 603250 w 8804275"/>
                  <a:gd name="connsiteY150" fmla="*/ 1281112 h 4305300"/>
                  <a:gd name="connsiteX151" fmla="*/ 617538 w 8804275"/>
                  <a:gd name="connsiteY151" fmla="*/ 1331118 h 4305300"/>
                  <a:gd name="connsiteX152" fmla="*/ 660400 w 8804275"/>
                  <a:gd name="connsiteY152" fmla="*/ 1366838 h 4305300"/>
                  <a:gd name="connsiteX153" fmla="*/ 700881 w 8804275"/>
                  <a:gd name="connsiteY153" fmla="*/ 1354931 h 4305300"/>
                  <a:gd name="connsiteX154" fmla="*/ 719931 w 8804275"/>
                  <a:gd name="connsiteY154" fmla="*/ 1412081 h 4305300"/>
                  <a:gd name="connsiteX155" fmla="*/ 767556 w 8804275"/>
                  <a:gd name="connsiteY155" fmla="*/ 1454944 h 4305300"/>
                  <a:gd name="connsiteX156" fmla="*/ 791369 w 8804275"/>
                  <a:gd name="connsiteY156" fmla="*/ 1557338 h 4305300"/>
                  <a:gd name="connsiteX157" fmla="*/ 788988 w 8804275"/>
                  <a:gd name="connsiteY157" fmla="*/ 1604963 h 4305300"/>
                  <a:gd name="connsiteX158" fmla="*/ 824706 w 8804275"/>
                  <a:gd name="connsiteY158" fmla="*/ 1704975 h 4305300"/>
                  <a:gd name="connsiteX159" fmla="*/ 869950 w 8804275"/>
                  <a:gd name="connsiteY159" fmla="*/ 1762125 h 4305300"/>
                  <a:gd name="connsiteX160" fmla="*/ 886618 w 8804275"/>
                  <a:gd name="connsiteY160" fmla="*/ 1919287 h 4305300"/>
                  <a:gd name="connsiteX161" fmla="*/ 853281 w 8804275"/>
                  <a:gd name="connsiteY161" fmla="*/ 1981200 h 4305300"/>
                  <a:gd name="connsiteX162" fmla="*/ 822325 w 8804275"/>
                  <a:gd name="connsiteY162" fmla="*/ 2057400 h 4305300"/>
                  <a:gd name="connsiteX163" fmla="*/ 836613 w 8804275"/>
                  <a:gd name="connsiteY163" fmla="*/ 2114550 h 4305300"/>
                  <a:gd name="connsiteX164" fmla="*/ 738981 w 8804275"/>
                  <a:gd name="connsiteY164" fmla="*/ 2221707 h 4305300"/>
                  <a:gd name="connsiteX165" fmla="*/ 696119 w 8804275"/>
                  <a:gd name="connsiteY165" fmla="*/ 2336006 h 4305300"/>
                  <a:gd name="connsiteX166" fmla="*/ 729456 w 8804275"/>
                  <a:gd name="connsiteY166" fmla="*/ 2376488 h 4305300"/>
                  <a:gd name="connsiteX167" fmla="*/ 712788 w 8804275"/>
                  <a:gd name="connsiteY167" fmla="*/ 2405063 h 4305300"/>
                  <a:gd name="connsiteX168" fmla="*/ 743744 w 8804275"/>
                  <a:gd name="connsiteY168" fmla="*/ 2462213 h 4305300"/>
                  <a:gd name="connsiteX169" fmla="*/ 772319 w 8804275"/>
                  <a:gd name="connsiteY169" fmla="*/ 2462213 h 4305300"/>
                  <a:gd name="connsiteX170" fmla="*/ 934244 w 8804275"/>
                  <a:gd name="connsiteY170" fmla="*/ 2564606 h 4305300"/>
                  <a:gd name="connsiteX171" fmla="*/ 1039019 w 8804275"/>
                  <a:gd name="connsiteY171" fmla="*/ 2562225 h 4305300"/>
                  <a:gd name="connsiteX172" fmla="*/ 1117600 w 8804275"/>
                  <a:gd name="connsiteY172" fmla="*/ 2616994 h 4305300"/>
                  <a:gd name="connsiteX173" fmla="*/ 1248568 w 8804275"/>
                  <a:gd name="connsiteY173" fmla="*/ 2619375 h 4305300"/>
                  <a:gd name="connsiteX174" fmla="*/ 1439068 w 8804275"/>
                  <a:gd name="connsiteY174" fmla="*/ 2688431 h 4305300"/>
                  <a:gd name="connsiteX175" fmla="*/ 1641475 w 8804275"/>
                  <a:gd name="connsiteY175" fmla="*/ 2838450 h 4305300"/>
                  <a:gd name="connsiteX176" fmla="*/ 1674812 w 8804275"/>
                  <a:gd name="connsiteY176" fmla="*/ 2905125 h 4305300"/>
                  <a:gd name="connsiteX177" fmla="*/ 1841500 w 8804275"/>
                  <a:gd name="connsiteY177" fmla="*/ 3031331 h 4305300"/>
                  <a:gd name="connsiteX178" fmla="*/ 1912938 w 8804275"/>
                  <a:gd name="connsiteY178" fmla="*/ 3026569 h 4305300"/>
                  <a:gd name="connsiteX179" fmla="*/ 1948657 w 8804275"/>
                  <a:gd name="connsiteY179" fmla="*/ 3050381 h 4305300"/>
                  <a:gd name="connsiteX180" fmla="*/ 1920081 w 8804275"/>
                  <a:gd name="connsiteY180" fmla="*/ 3090863 h 4305300"/>
                  <a:gd name="connsiteX181" fmla="*/ 1927225 w 8804275"/>
                  <a:gd name="connsiteY181" fmla="*/ 3143250 h 4305300"/>
                  <a:gd name="connsiteX182" fmla="*/ 1979613 w 8804275"/>
                  <a:gd name="connsiteY182" fmla="*/ 3169444 h 4305300"/>
                  <a:gd name="connsiteX183" fmla="*/ 2041525 w 8804275"/>
                  <a:gd name="connsiteY183" fmla="*/ 3393282 h 4305300"/>
                  <a:gd name="connsiteX184" fmla="*/ 2032000 w 8804275"/>
                  <a:gd name="connsiteY184" fmla="*/ 3457575 h 4305300"/>
                  <a:gd name="connsiteX185" fmla="*/ 2167731 w 8804275"/>
                  <a:gd name="connsiteY185" fmla="*/ 3624263 h 4305300"/>
                  <a:gd name="connsiteX186" fmla="*/ 2186781 w 8804275"/>
                  <a:gd name="connsiteY186" fmla="*/ 3674269 h 4305300"/>
                  <a:gd name="connsiteX187" fmla="*/ 2160588 w 8804275"/>
                  <a:gd name="connsiteY187" fmla="*/ 3693319 h 4305300"/>
                  <a:gd name="connsiteX188" fmla="*/ 2262981 w 8804275"/>
                  <a:gd name="connsiteY188" fmla="*/ 3702844 h 4305300"/>
                  <a:gd name="connsiteX189" fmla="*/ 2374900 w 8804275"/>
                  <a:gd name="connsiteY189" fmla="*/ 3690938 h 4305300"/>
                  <a:gd name="connsiteX190" fmla="*/ 2653506 w 8804275"/>
                  <a:gd name="connsiteY190" fmla="*/ 3774281 h 4305300"/>
                  <a:gd name="connsiteX191" fmla="*/ 3060700 w 8804275"/>
                  <a:gd name="connsiteY191" fmla="*/ 3855244 h 4305300"/>
                  <a:gd name="connsiteX192" fmla="*/ 3258344 w 8804275"/>
                  <a:gd name="connsiteY192" fmla="*/ 3824287 h 4305300"/>
                  <a:gd name="connsiteX193" fmla="*/ 3303588 w 8804275"/>
                  <a:gd name="connsiteY193" fmla="*/ 3836193 h 4305300"/>
                  <a:gd name="connsiteX194" fmla="*/ 3358356 w 8804275"/>
                  <a:gd name="connsiteY194" fmla="*/ 3812382 h 4305300"/>
                  <a:gd name="connsiteX195" fmla="*/ 3751262 w 8804275"/>
                  <a:gd name="connsiteY195" fmla="*/ 3902869 h 4305300"/>
                  <a:gd name="connsiteX196" fmla="*/ 3834607 w 8804275"/>
                  <a:gd name="connsiteY196" fmla="*/ 4000500 h 4305300"/>
                  <a:gd name="connsiteX197" fmla="*/ 3953669 w 8804275"/>
                  <a:gd name="connsiteY197" fmla="*/ 4071938 h 4305300"/>
                  <a:gd name="connsiteX198" fmla="*/ 4013200 w 8804275"/>
                  <a:gd name="connsiteY198" fmla="*/ 4055269 h 4305300"/>
                  <a:gd name="connsiteX199" fmla="*/ 4363243 w 8804275"/>
                  <a:gd name="connsiteY199" fmla="*/ 4229100 h 4305300"/>
                  <a:gd name="connsiteX200" fmla="*/ 4589463 w 8804275"/>
                  <a:gd name="connsiteY200" fmla="*/ 4200525 h 4305300"/>
                  <a:gd name="connsiteX201" fmla="*/ 4598988 w 8804275"/>
                  <a:gd name="connsiteY201" fmla="*/ 4279106 h 4305300"/>
                  <a:gd name="connsiteX202" fmla="*/ 4684713 w 8804275"/>
                  <a:gd name="connsiteY202" fmla="*/ 4274343 h 4305300"/>
                  <a:gd name="connsiteX203" fmla="*/ 4763294 w 8804275"/>
                  <a:gd name="connsiteY203" fmla="*/ 4305300 h 4305300"/>
                  <a:gd name="connsiteX204" fmla="*/ 4806156 w 8804275"/>
                  <a:gd name="connsiteY204" fmla="*/ 4245769 h 4305300"/>
                  <a:gd name="connsiteX205" fmla="*/ 5477669 w 8804275"/>
                  <a:gd name="connsiteY205" fmla="*/ 3926681 h 4305300"/>
                  <a:gd name="connsiteX206" fmla="*/ 5565775 w 8804275"/>
                  <a:gd name="connsiteY206" fmla="*/ 3955257 h 4305300"/>
                  <a:gd name="connsiteX207" fmla="*/ 5696744 w 8804275"/>
                  <a:gd name="connsiteY207" fmla="*/ 3926681 h 4305300"/>
                  <a:gd name="connsiteX208" fmla="*/ 5875337 w 8804275"/>
                  <a:gd name="connsiteY208" fmla="*/ 3943350 h 4305300"/>
                  <a:gd name="connsiteX209" fmla="*/ 5932488 w 8804275"/>
                  <a:gd name="connsiteY209" fmla="*/ 3917157 h 4305300"/>
                  <a:gd name="connsiteX210" fmla="*/ 6065837 w 8804275"/>
                  <a:gd name="connsiteY210" fmla="*/ 3914775 h 4305300"/>
                  <a:gd name="connsiteX211" fmla="*/ 6199187 w 8804275"/>
                  <a:gd name="connsiteY211" fmla="*/ 3817144 h 4305300"/>
                  <a:gd name="connsiteX212" fmla="*/ 6265862 w 8804275"/>
                  <a:gd name="connsiteY212" fmla="*/ 3810000 h 4305300"/>
                  <a:gd name="connsiteX213" fmla="*/ 6363494 w 8804275"/>
                  <a:gd name="connsiteY213" fmla="*/ 3736181 h 4305300"/>
                  <a:gd name="connsiteX214" fmla="*/ 6437313 w 8804275"/>
                  <a:gd name="connsiteY214" fmla="*/ 3667125 h 4305300"/>
                  <a:gd name="connsiteX215" fmla="*/ 6446838 w 8804275"/>
                  <a:gd name="connsiteY215" fmla="*/ 3605213 h 4305300"/>
                  <a:gd name="connsiteX216" fmla="*/ 6480175 w 8804275"/>
                  <a:gd name="connsiteY216" fmla="*/ 3536156 h 4305300"/>
                  <a:gd name="connsiteX217" fmla="*/ 6632575 w 8804275"/>
                  <a:gd name="connsiteY217" fmla="*/ 3429000 h 4305300"/>
                  <a:gd name="connsiteX218" fmla="*/ 6665913 w 8804275"/>
                  <a:gd name="connsiteY218" fmla="*/ 3433763 h 4305300"/>
                  <a:gd name="connsiteX219" fmla="*/ 6718300 w 8804275"/>
                  <a:gd name="connsiteY219" fmla="*/ 3355181 h 4305300"/>
                  <a:gd name="connsiteX220" fmla="*/ 6765925 w 8804275"/>
                  <a:gd name="connsiteY220" fmla="*/ 3317081 h 4305300"/>
                  <a:gd name="connsiteX221" fmla="*/ 6751638 w 8804275"/>
                  <a:gd name="connsiteY221" fmla="*/ 3248025 h 4305300"/>
                  <a:gd name="connsiteX222" fmla="*/ 6701631 w 8804275"/>
                  <a:gd name="connsiteY222" fmla="*/ 3217068 h 4305300"/>
                  <a:gd name="connsiteX223" fmla="*/ 6642100 w 8804275"/>
                  <a:gd name="connsiteY223" fmla="*/ 3162300 h 4305300"/>
                  <a:gd name="connsiteX224" fmla="*/ 6623050 w 8804275"/>
                  <a:gd name="connsiteY224" fmla="*/ 3105150 h 4305300"/>
                  <a:gd name="connsiteX225" fmla="*/ 6587331 w 8804275"/>
                  <a:gd name="connsiteY225" fmla="*/ 3071813 h 4305300"/>
                  <a:gd name="connsiteX226" fmla="*/ 6613525 w 8804275"/>
                  <a:gd name="connsiteY226" fmla="*/ 3019425 h 4305300"/>
                  <a:gd name="connsiteX227" fmla="*/ 6654006 w 8804275"/>
                  <a:gd name="connsiteY227" fmla="*/ 2840831 h 4305300"/>
                  <a:gd name="connsiteX228" fmla="*/ 6694488 w 8804275"/>
                  <a:gd name="connsiteY228" fmla="*/ 2774156 h 4305300"/>
                  <a:gd name="connsiteX229" fmla="*/ 6839744 w 8804275"/>
                  <a:gd name="connsiteY229" fmla="*/ 2757487 h 4305300"/>
                  <a:gd name="connsiteX230" fmla="*/ 6908800 w 8804275"/>
                  <a:gd name="connsiteY230" fmla="*/ 2814638 h 4305300"/>
                  <a:gd name="connsiteX231" fmla="*/ 6985000 w 8804275"/>
                  <a:gd name="connsiteY231" fmla="*/ 2838450 h 4305300"/>
                  <a:gd name="connsiteX232" fmla="*/ 7189787 w 8804275"/>
                  <a:gd name="connsiteY232" fmla="*/ 2843213 h 4305300"/>
                  <a:gd name="connsiteX233" fmla="*/ 7366000 w 8804275"/>
                  <a:gd name="connsiteY233" fmla="*/ 2705100 h 4305300"/>
                  <a:gd name="connsiteX234" fmla="*/ 7423150 w 8804275"/>
                  <a:gd name="connsiteY234" fmla="*/ 2614612 h 4305300"/>
                  <a:gd name="connsiteX235" fmla="*/ 7449344 w 8804275"/>
                  <a:gd name="connsiteY235" fmla="*/ 2531269 h 4305300"/>
                  <a:gd name="connsiteX236" fmla="*/ 7580312 w 8804275"/>
                  <a:gd name="connsiteY236" fmla="*/ 2531269 h 4305300"/>
                  <a:gd name="connsiteX237" fmla="*/ 7754144 w 8804275"/>
                  <a:gd name="connsiteY237" fmla="*/ 2474118 h 4305300"/>
                  <a:gd name="connsiteX238" fmla="*/ 7813675 w 8804275"/>
                  <a:gd name="connsiteY238" fmla="*/ 2362200 h 4305300"/>
                  <a:gd name="connsiteX239" fmla="*/ 7877969 w 8804275"/>
                  <a:gd name="connsiteY239" fmla="*/ 2326481 h 4305300"/>
                  <a:gd name="connsiteX240" fmla="*/ 7856538 w 8804275"/>
                  <a:gd name="connsiteY240" fmla="*/ 2281238 h 4305300"/>
                  <a:gd name="connsiteX241" fmla="*/ 7935119 w 8804275"/>
                  <a:gd name="connsiteY241" fmla="*/ 2112168 h 4305300"/>
                  <a:gd name="connsiteX242" fmla="*/ 7989888 w 8804275"/>
                  <a:gd name="connsiteY242" fmla="*/ 2052638 h 4305300"/>
                  <a:gd name="connsiteX243" fmla="*/ 8027988 w 8804275"/>
                  <a:gd name="connsiteY243" fmla="*/ 2047875 h 4305300"/>
                  <a:gd name="connsiteX244" fmla="*/ 8073231 w 8804275"/>
                  <a:gd name="connsiteY244" fmla="*/ 2052638 h 4305300"/>
                  <a:gd name="connsiteX245" fmla="*/ 8137525 w 8804275"/>
                  <a:gd name="connsiteY245" fmla="*/ 2019300 h 4305300"/>
                  <a:gd name="connsiteX246" fmla="*/ 8147050 w 8804275"/>
                  <a:gd name="connsiteY246" fmla="*/ 1955006 h 4305300"/>
                  <a:gd name="connsiteX247" fmla="*/ 8187530 w 8804275"/>
                  <a:gd name="connsiteY247" fmla="*/ 1919288 h 4305300"/>
                  <a:gd name="connsiteX248" fmla="*/ 8247063 w 8804275"/>
                  <a:gd name="connsiteY248" fmla="*/ 1959768 h 4305300"/>
                  <a:gd name="connsiteX249" fmla="*/ 8273257 w 8804275"/>
                  <a:gd name="connsiteY249" fmla="*/ 1909762 h 4305300"/>
                  <a:gd name="connsiteX250" fmla="*/ 8368506 w 8804275"/>
                  <a:gd name="connsiteY250" fmla="*/ 1840706 h 4305300"/>
                  <a:gd name="connsiteX251" fmla="*/ 8430419 w 8804275"/>
                  <a:gd name="connsiteY251" fmla="*/ 1847850 h 4305300"/>
                  <a:gd name="connsiteX252" fmla="*/ 8480425 w 8804275"/>
                  <a:gd name="connsiteY252" fmla="*/ 1828800 h 4305300"/>
                  <a:gd name="connsiteX253" fmla="*/ 8518525 w 8804275"/>
                  <a:gd name="connsiteY253" fmla="*/ 1800225 h 4305300"/>
                  <a:gd name="connsiteX254" fmla="*/ 8551863 w 8804275"/>
                  <a:gd name="connsiteY254" fmla="*/ 1797844 h 4305300"/>
                  <a:gd name="connsiteX255" fmla="*/ 8587581 w 8804275"/>
                  <a:gd name="connsiteY255" fmla="*/ 1828800 h 4305300"/>
                  <a:gd name="connsiteX256" fmla="*/ 8647113 w 8804275"/>
                  <a:gd name="connsiteY256" fmla="*/ 1828800 h 4305300"/>
                  <a:gd name="connsiteX257" fmla="*/ 8685212 w 8804275"/>
                  <a:gd name="connsiteY257" fmla="*/ 1809750 h 4305300"/>
                  <a:gd name="connsiteX258" fmla="*/ 8768556 w 8804275"/>
                  <a:gd name="connsiteY258" fmla="*/ 1812132 h 4305300"/>
                  <a:gd name="connsiteX259" fmla="*/ 8799513 w 8804275"/>
                  <a:gd name="connsiteY259" fmla="*/ 1766888 h 4305300"/>
                  <a:gd name="connsiteX260" fmla="*/ 8804275 w 8804275"/>
                  <a:gd name="connsiteY260" fmla="*/ 1704975 h 4305300"/>
                  <a:gd name="connsiteX261" fmla="*/ 8754268 w 8804275"/>
                  <a:gd name="connsiteY261" fmla="*/ 1664494 h 4305300"/>
                  <a:gd name="connsiteX262" fmla="*/ 8737600 w 8804275"/>
                  <a:gd name="connsiteY262" fmla="*/ 1609725 h 4305300"/>
                  <a:gd name="connsiteX263" fmla="*/ 8647113 w 8804275"/>
                  <a:gd name="connsiteY263" fmla="*/ 1547813 h 4305300"/>
                  <a:gd name="connsiteX264" fmla="*/ 8606631 w 8804275"/>
                  <a:gd name="connsiteY264" fmla="*/ 1526381 h 4305300"/>
                  <a:gd name="connsiteX265" fmla="*/ 8568531 w 8804275"/>
                  <a:gd name="connsiteY265" fmla="*/ 1481138 h 4305300"/>
                  <a:gd name="connsiteX266" fmla="*/ 8537575 w 8804275"/>
                  <a:gd name="connsiteY266" fmla="*/ 1478756 h 4305300"/>
                  <a:gd name="connsiteX267" fmla="*/ 8520906 w 8804275"/>
                  <a:gd name="connsiteY267" fmla="*/ 1426369 h 4305300"/>
                  <a:gd name="connsiteX268" fmla="*/ 8480425 w 8804275"/>
                  <a:gd name="connsiteY268" fmla="*/ 1409700 h 4305300"/>
                  <a:gd name="connsiteX269" fmla="*/ 8480425 w 8804275"/>
                  <a:gd name="connsiteY269" fmla="*/ 1409700 h 4305300"/>
                  <a:gd name="connsiteX270" fmla="*/ 8439944 w 8804275"/>
                  <a:gd name="connsiteY270" fmla="*/ 1414463 h 4305300"/>
                  <a:gd name="connsiteX271" fmla="*/ 8354218 w 8804275"/>
                  <a:gd name="connsiteY271" fmla="*/ 1340644 h 4305300"/>
                  <a:gd name="connsiteX272" fmla="*/ 8173244 w 8804275"/>
                  <a:gd name="connsiteY272" fmla="*/ 1340643 h 4305300"/>
                  <a:gd name="connsiteX273" fmla="*/ 8120856 w 8804275"/>
                  <a:gd name="connsiteY273" fmla="*/ 1378744 h 4305300"/>
                  <a:gd name="connsiteX274" fmla="*/ 8070850 w 8804275"/>
                  <a:gd name="connsiteY274" fmla="*/ 1457325 h 4305300"/>
                  <a:gd name="connsiteX275" fmla="*/ 8087519 w 8804275"/>
                  <a:gd name="connsiteY275" fmla="*/ 1478756 h 4305300"/>
                  <a:gd name="connsiteX276" fmla="*/ 8042275 w 8804275"/>
                  <a:gd name="connsiteY276" fmla="*/ 1528762 h 4305300"/>
                  <a:gd name="connsiteX277" fmla="*/ 7892256 w 8804275"/>
                  <a:gd name="connsiteY277" fmla="*/ 1452562 h 4305300"/>
                  <a:gd name="connsiteX278" fmla="*/ 7801769 w 8804275"/>
                  <a:gd name="connsiteY278" fmla="*/ 1488281 h 4305300"/>
                  <a:gd name="connsiteX279" fmla="*/ 7727950 w 8804275"/>
                  <a:gd name="connsiteY279" fmla="*/ 1485900 h 4305300"/>
                  <a:gd name="connsiteX280" fmla="*/ 7670800 w 8804275"/>
                  <a:gd name="connsiteY280" fmla="*/ 1581150 h 4305300"/>
                  <a:gd name="connsiteX281" fmla="*/ 7532688 w 8804275"/>
                  <a:gd name="connsiteY281" fmla="*/ 1483519 h 4305300"/>
                  <a:gd name="connsiteX0" fmla="*/ 7329488 w 8601075"/>
                  <a:gd name="connsiteY0" fmla="*/ 1483519 h 4305300"/>
                  <a:gd name="connsiteX1" fmla="*/ 7322344 w 8601075"/>
                  <a:gd name="connsiteY1" fmla="*/ 1428750 h 4305300"/>
                  <a:gd name="connsiteX2" fmla="*/ 7389019 w 8601075"/>
                  <a:gd name="connsiteY2" fmla="*/ 1354931 h 4305300"/>
                  <a:gd name="connsiteX3" fmla="*/ 7372350 w 8601075"/>
                  <a:gd name="connsiteY3" fmla="*/ 1283494 h 4305300"/>
                  <a:gd name="connsiteX4" fmla="*/ 7386638 w 8601075"/>
                  <a:gd name="connsiteY4" fmla="*/ 1188244 h 4305300"/>
                  <a:gd name="connsiteX5" fmla="*/ 7424738 w 8601075"/>
                  <a:gd name="connsiteY5" fmla="*/ 1131094 h 4305300"/>
                  <a:gd name="connsiteX6" fmla="*/ 7405687 w 8601075"/>
                  <a:gd name="connsiteY6" fmla="*/ 1097756 h 4305300"/>
                  <a:gd name="connsiteX7" fmla="*/ 7503318 w 8601075"/>
                  <a:gd name="connsiteY7" fmla="*/ 697706 h 4305300"/>
                  <a:gd name="connsiteX8" fmla="*/ 7496175 w 8601075"/>
                  <a:gd name="connsiteY8" fmla="*/ 669131 h 4305300"/>
                  <a:gd name="connsiteX9" fmla="*/ 7367588 w 8601075"/>
                  <a:gd name="connsiteY9" fmla="*/ 647700 h 4305300"/>
                  <a:gd name="connsiteX10" fmla="*/ 7184232 w 8601075"/>
                  <a:gd name="connsiteY10" fmla="*/ 726281 h 4305300"/>
                  <a:gd name="connsiteX11" fmla="*/ 7027068 w 8601075"/>
                  <a:gd name="connsiteY11" fmla="*/ 611981 h 4305300"/>
                  <a:gd name="connsiteX12" fmla="*/ 6950869 w 8601075"/>
                  <a:gd name="connsiteY12" fmla="*/ 619125 h 4305300"/>
                  <a:gd name="connsiteX13" fmla="*/ 6877050 w 8601075"/>
                  <a:gd name="connsiteY13" fmla="*/ 614363 h 4305300"/>
                  <a:gd name="connsiteX14" fmla="*/ 6738938 w 8601075"/>
                  <a:gd name="connsiteY14" fmla="*/ 719138 h 4305300"/>
                  <a:gd name="connsiteX15" fmla="*/ 6631781 w 8601075"/>
                  <a:gd name="connsiteY15" fmla="*/ 826294 h 4305300"/>
                  <a:gd name="connsiteX16" fmla="*/ 6588919 w 8601075"/>
                  <a:gd name="connsiteY16" fmla="*/ 895350 h 4305300"/>
                  <a:gd name="connsiteX17" fmla="*/ 6596063 w 8601075"/>
                  <a:gd name="connsiteY17" fmla="*/ 931069 h 4305300"/>
                  <a:gd name="connsiteX18" fmla="*/ 6534150 w 8601075"/>
                  <a:gd name="connsiteY18" fmla="*/ 942975 h 4305300"/>
                  <a:gd name="connsiteX19" fmla="*/ 6553200 w 8601075"/>
                  <a:gd name="connsiteY19" fmla="*/ 942975 h 4305300"/>
                  <a:gd name="connsiteX20" fmla="*/ 6519863 w 8601075"/>
                  <a:gd name="connsiteY20" fmla="*/ 973931 h 4305300"/>
                  <a:gd name="connsiteX21" fmla="*/ 6419850 w 8601075"/>
                  <a:gd name="connsiteY21" fmla="*/ 973932 h 4305300"/>
                  <a:gd name="connsiteX22" fmla="*/ 6324600 w 8601075"/>
                  <a:gd name="connsiteY22" fmla="*/ 1028700 h 4305300"/>
                  <a:gd name="connsiteX23" fmla="*/ 6243638 w 8601075"/>
                  <a:gd name="connsiteY23" fmla="*/ 1038225 h 4305300"/>
                  <a:gd name="connsiteX24" fmla="*/ 6203156 w 8601075"/>
                  <a:gd name="connsiteY24" fmla="*/ 1071563 h 4305300"/>
                  <a:gd name="connsiteX25" fmla="*/ 6153150 w 8601075"/>
                  <a:gd name="connsiteY25" fmla="*/ 1076325 h 4305300"/>
                  <a:gd name="connsiteX26" fmla="*/ 6031707 w 8601075"/>
                  <a:gd name="connsiteY26" fmla="*/ 1169194 h 4305300"/>
                  <a:gd name="connsiteX27" fmla="*/ 5972175 w 8601075"/>
                  <a:gd name="connsiteY27" fmla="*/ 1173956 h 4305300"/>
                  <a:gd name="connsiteX28" fmla="*/ 5919788 w 8601075"/>
                  <a:gd name="connsiteY28" fmla="*/ 1138238 h 4305300"/>
                  <a:gd name="connsiteX29" fmla="*/ 5893594 w 8601075"/>
                  <a:gd name="connsiteY29" fmla="*/ 1173956 h 4305300"/>
                  <a:gd name="connsiteX30" fmla="*/ 5695950 w 8601075"/>
                  <a:gd name="connsiteY30" fmla="*/ 1166813 h 4305300"/>
                  <a:gd name="connsiteX31" fmla="*/ 5634038 w 8601075"/>
                  <a:gd name="connsiteY31" fmla="*/ 1121569 h 4305300"/>
                  <a:gd name="connsiteX32" fmla="*/ 5436394 w 8601075"/>
                  <a:gd name="connsiteY32" fmla="*/ 1138238 h 4305300"/>
                  <a:gd name="connsiteX33" fmla="*/ 5348288 w 8601075"/>
                  <a:gd name="connsiteY33" fmla="*/ 1054893 h 4305300"/>
                  <a:gd name="connsiteX34" fmla="*/ 5272088 w 8601075"/>
                  <a:gd name="connsiteY34" fmla="*/ 1009650 h 4305300"/>
                  <a:gd name="connsiteX35" fmla="*/ 5274468 w 8601075"/>
                  <a:gd name="connsiteY35" fmla="*/ 952500 h 4305300"/>
                  <a:gd name="connsiteX36" fmla="*/ 5255419 w 8601075"/>
                  <a:gd name="connsiteY36" fmla="*/ 909637 h 4305300"/>
                  <a:gd name="connsiteX37" fmla="*/ 5160169 w 8601075"/>
                  <a:gd name="connsiteY37" fmla="*/ 912019 h 4305300"/>
                  <a:gd name="connsiteX38" fmla="*/ 5064919 w 8601075"/>
                  <a:gd name="connsiteY38" fmla="*/ 890588 h 4305300"/>
                  <a:gd name="connsiteX39" fmla="*/ 4995862 w 8601075"/>
                  <a:gd name="connsiteY39" fmla="*/ 823912 h 4305300"/>
                  <a:gd name="connsiteX40" fmla="*/ 4960144 w 8601075"/>
                  <a:gd name="connsiteY40" fmla="*/ 781050 h 4305300"/>
                  <a:gd name="connsiteX41" fmla="*/ 4879181 w 8601075"/>
                  <a:gd name="connsiteY41" fmla="*/ 757237 h 4305300"/>
                  <a:gd name="connsiteX42" fmla="*/ 4805363 w 8601075"/>
                  <a:gd name="connsiteY42" fmla="*/ 769143 h 4305300"/>
                  <a:gd name="connsiteX43" fmla="*/ 4748212 w 8601075"/>
                  <a:gd name="connsiteY43" fmla="*/ 716756 h 4305300"/>
                  <a:gd name="connsiteX44" fmla="*/ 4652963 w 8601075"/>
                  <a:gd name="connsiteY44" fmla="*/ 728663 h 4305300"/>
                  <a:gd name="connsiteX45" fmla="*/ 4600575 w 8601075"/>
                  <a:gd name="connsiteY45" fmla="*/ 702469 h 4305300"/>
                  <a:gd name="connsiteX46" fmla="*/ 4519613 w 8601075"/>
                  <a:gd name="connsiteY46" fmla="*/ 745331 h 4305300"/>
                  <a:gd name="connsiteX47" fmla="*/ 4381500 w 8601075"/>
                  <a:gd name="connsiteY47" fmla="*/ 769144 h 4305300"/>
                  <a:gd name="connsiteX48" fmla="*/ 4252913 w 8601075"/>
                  <a:gd name="connsiteY48" fmla="*/ 862013 h 4305300"/>
                  <a:gd name="connsiteX49" fmla="*/ 4205287 w 8601075"/>
                  <a:gd name="connsiteY49" fmla="*/ 823913 h 4305300"/>
                  <a:gd name="connsiteX50" fmla="*/ 4183856 w 8601075"/>
                  <a:gd name="connsiteY50" fmla="*/ 854868 h 4305300"/>
                  <a:gd name="connsiteX51" fmla="*/ 4110038 w 8601075"/>
                  <a:gd name="connsiteY51" fmla="*/ 804863 h 4305300"/>
                  <a:gd name="connsiteX52" fmla="*/ 4071938 w 8601075"/>
                  <a:gd name="connsiteY52" fmla="*/ 812006 h 4305300"/>
                  <a:gd name="connsiteX53" fmla="*/ 4050506 w 8601075"/>
                  <a:gd name="connsiteY53" fmla="*/ 773906 h 4305300"/>
                  <a:gd name="connsiteX54" fmla="*/ 3990975 w 8601075"/>
                  <a:gd name="connsiteY54" fmla="*/ 778669 h 4305300"/>
                  <a:gd name="connsiteX55" fmla="*/ 3945731 w 8601075"/>
                  <a:gd name="connsiteY55" fmla="*/ 750094 h 4305300"/>
                  <a:gd name="connsiteX56" fmla="*/ 3907631 w 8601075"/>
                  <a:gd name="connsiteY56" fmla="*/ 747713 h 4305300"/>
                  <a:gd name="connsiteX57" fmla="*/ 3888581 w 8601075"/>
                  <a:gd name="connsiteY57" fmla="*/ 700087 h 4305300"/>
                  <a:gd name="connsiteX58" fmla="*/ 3874294 w 8601075"/>
                  <a:gd name="connsiteY58" fmla="*/ 669131 h 4305300"/>
                  <a:gd name="connsiteX59" fmla="*/ 3829050 w 8601075"/>
                  <a:gd name="connsiteY59" fmla="*/ 678656 h 4305300"/>
                  <a:gd name="connsiteX60" fmla="*/ 3810000 w 8601075"/>
                  <a:gd name="connsiteY60" fmla="*/ 642938 h 4305300"/>
                  <a:gd name="connsiteX61" fmla="*/ 3831432 w 8601075"/>
                  <a:gd name="connsiteY61" fmla="*/ 588169 h 4305300"/>
                  <a:gd name="connsiteX62" fmla="*/ 3800475 w 8601075"/>
                  <a:gd name="connsiteY62" fmla="*/ 561975 h 4305300"/>
                  <a:gd name="connsiteX63" fmla="*/ 3817144 w 8601075"/>
                  <a:gd name="connsiteY63" fmla="*/ 519113 h 4305300"/>
                  <a:gd name="connsiteX64" fmla="*/ 3790950 w 8601075"/>
                  <a:gd name="connsiteY64" fmla="*/ 476250 h 4305300"/>
                  <a:gd name="connsiteX65" fmla="*/ 3786188 w 8601075"/>
                  <a:gd name="connsiteY65" fmla="*/ 414338 h 4305300"/>
                  <a:gd name="connsiteX66" fmla="*/ 3810000 w 8601075"/>
                  <a:gd name="connsiteY66" fmla="*/ 350043 h 4305300"/>
                  <a:gd name="connsiteX67" fmla="*/ 3771900 w 8601075"/>
                  <a:gd name="connsiteY67" fmla="*/ 352425 h 4305300"/>
                  <a:gd name="connsiteX68" fmla="*/ 3652838 w 8601075"/>
                  <a:gd name="connsiteY68" fmla="*/ 295275 h 4305300"/>
                  <a:gd name="connsiteX69" fmla="*/ 3614737 w 8601075"/>
                  <a:gd name="connsiteY69" fmla="*/ 300037 h 4305300"/>
                  <a:gd name="connsiteX70" fmla="*/ 3409950 w 8601075"/>
                  <a:gd name="connsiteY70" fmla="*/ 190500 h 4305300"/>
                  <a:gd name="connsiteX71" fmla="*/ 3305175 w 8601075"/>
                  <a:gd name="connsiteY71" fmla="*/ 159544 h 4305300"/>
                  <a:gd name="connsiteX72" fmla="*/ 3240881 w 8601075"/>
                  <a:gd name="connsiteY72" fmla="*/ 169068 h 4305300"/>
                  <a:gd name="connsiteX73" fmla="*/ 3209925 w 8601075"/>
                  <a:gd name="connsiteY73" fmla="*/ 104775 h 4305300"/>
                  <a:gd name="connsiteX74" fmla="*/ 3152775 w 8601075"/>
                  <a:gd name="connsiteY74" fmla="*/ 104775 h 4305300"/>
                  <a:gd name="connsiteX75" fmla="*/ 3014662 w 8601075"/>
                  <a:gd name="connsiteY75" fmla="*/ 0 h 4305300"/>
                  <a:gd name="connsiteX76" fmla="*/ 2981325 w 8601075"/>
                  <a:gd name="connsiteY76" fmla="*/ 59532 h 4305300"/>
                  <a:gd name="connsiteX77" fmla="*/ 2926556 w 8601075"/>
                  <a:gd name="connsiteY77" fmla="*/ 128588 h 4305300"/>
                  <a:gd name="connsiteX78" fmla="*/ 2883694 w 8601075"/>
                  <a:gd name="connsiteY78" fmla="*/ 145256 h 4305300"/>
                  <a:gd name="connsiteX79" fmla="*/ 2852738 w 8601075"/>
                  <a:gd name="connsiteY79" fmla="*/ 138113 h 4305300"/>
                  <a:gd name="connsiteX80" fmla="*/ 2828925 w 8601075"/>
                  <a:gd name="connsiteY80" fmla="*/ 166688 h 4305300"/>
                  <a:gd name="connsiteX81" fmla="*/ 2802731 w 8601075"/>
                  <a:gd name="connsiteY81" fmla="*/ 245269 h 4305300"/>
                  <a:gd name="connsiteX82" fmla="*/ 2759869 w 8601075"/>
                  <a:gd name="connsiteY82" fmla="*/ 242888 h 4305300"/>
                  <a:gd name="connsiteX83" fmla="*/ 2728912 w 8601075"/>
                  <a:gd name="connsiteY83" fmla="*/ 304800 h 4305300"/>
                  <a:gd name="connsiteX84" fmla="*/ 2724150 w 8601075"/>
                  <a:gd name="connsiteY84" fmla="*/ 369094 h 4305300"/>
                  <a:gd name="connsiteX85" fmla="*/ 2697957 w 8601075"/>
                  <a:gd name="connsiteY85" fmla="*/ 407194 h 4305300"/>
                  <a:gd name="connsiteX86" fmla="*/ 2724150 w 8601075"/>
                  <a:gd name="connsiteY86" fmla="*/ 466725 h 4305300"/>
                  <a:gd name="connsiteX87" fmla="*/ 2726531 w 8601075"/>
                  <a:gd name="connsiteY87" fmla="*/ 535781 h 4305300"/>
                  <a:gd name="connsiteX88" fmla="*/ 2755106 w 8601075"/>
                  <a:gd name="connsiteY88" fmla="*/ 588169 h 4305300"/>
                  <a:gd name="connsiteX89" fmla="*/ 2802732 w 8601075"/>
                  <a:gd name="connsiteY89" fmla="*/ 642938 h 4305300"/>
                  <a:gd name="connsiteX90" fmla="*/ 2752725 w 8601075"/>
                  <a:gd name="connsiteY90" fmla="*/ 781050 h 4305300"/>
                  <a:gd name="connsiteX91" fmla="*/ 2683669 w 8601075"/>
                  <a:gd name="connsiteY91" fmla="*/ 847725 h 4305300"/>
                  <a:gd name="connsiteX92" fmla="*/ 2612231 w 8601075"/>
                  <a:gd name="connsiteY92" fmla="*/ 842963 h 4305300"/>
                  <a:gd name="connsiteX93" fmla="*/ 2574131 w 8601075"/>
                  <a:gd name="connsiteY93" fmla="*/ 900113 h 4305300"/>
                  <a:gd name="connsiteX94" fmla="*/ 2514600 w 8601075"/>
                  <a:gd name="connsiteY94" fmla="*/ 914400 h 4305300"/>
                  <a:gd name="connsiteX95" fmla="*/ 2445544 w 8601075"/>
                  <a:gd name="connsiteY95" fmla="*/ 854869 h 4305300"/>
                  <a:gd name="connsiteX96" fmla="*/ 2390775 w 8601075"/>
                  <a:gd name="connsiteY96" fmla="*/ 826294 h 4305300"/>
                  <a:gd name="connsiteX97" fmla="*/ 2347913 w 8601075"/>
                  <a:gd name="connsiteY97" fmla="*/ 840581 h 4305300"/>
                  <a:gd name="connsiteX98" fmla="*/ 2295525 w 8601075"/>
                  <a:gd name="connsiteY98" fmla="*/ 823913 h 4305300"/>
                  <a:gd name="connsiteX99" fmla="*/ 2228850 w 8601075"/>
                  <a:gd name="connsiteY99" fmla="*/ 769144 h 4305300"/>
                  <a:gd name="connsiteX100" fmla="*/ 2183606 w 8601075"/>
                  <a:gd name="connsiteY100" fmla="*/ 781050 h 4305300"/>
                  <a:gd name="connsiteX101" fmla="*/ 2162175 w 8601075"/>
                  <a:gd name="connsiteY101" fmla="*/ 750094 h 4305300"/>
                  <a:gd name="connsiteX102" fmla="*/ 2105025 w 8601075"/>
                  <a:gd name="connsiteY102" fmla="*/ 790575 h 4305300"/>
                  <a:gd name="connsiteX103" fmla="*/ 1988344 w 8601075"/>
                  <a:gd name="connsiteY103" fmla="*/ 769144 h 4305300"/>
                  <a:gd name="connsiteX104" fmla="*/ 1938338 w 8601075"/>
                  <a:gd name="connsiteY104" fmla="*/ 716756 h 4305300"/>
                  <a:gd name="connsiteX105" fmla="*/ 1895475 w 8601075"/>
                  <a:gd name="connsiteY105" fmla="*/ 702469 h 4305300"/>
                  <a:gd name="connsiteX106" fmla="*/ 1852613 w 8601075"/>
                  <a:gd name="connsiteY106" fmla="*/ 728663 h 4305300"/>
                  <a:gd name="connsiteX107" fmla="*/ 1800225 w 8601075"/>
                  <a:gd name="connsiteY107" fmla="*/ 638175 h 4305300"/>
                  <a:gd name="connsiteX108" fmla="*/ 1790700 w 8601075"/>
                  <a:gd name="connsiteY108" fmla="*/ 490537 h 4305300"/>
                  <a:gd name="connsiteX109" fmla="*/ 1738312 w 8601075"/>
                  <a:gd name="connsiteY109" fmla="*/ 483393 h 4305300"/>
                  <a:gd name="connsiteX110" fmla="*/ 1647825 w 8601075"/>
                  <a:gd name="connsiteY110" fmla="*/ 473869 h 4305300"/>
                  <a:gd name="connsiteX111" fmla="*/ 1593056 w 8601075"/>
                  <a:gd name="connsiteY111" fmla="*/ 435769 h 4305300"/>
                  <a:gd name="connsiteX112" fmla="*/ 1524000 w 8601075"/>
                  <a:gd name="connsiteY112" fmla="*/ 445294 h 4305300"/>
                  <a:gd name="connsiteX113" fmla="*/ 1478756 w 8601075"/>
                  <a:gd name="connsiteY113" fmla="*/ 419100 h 4305300"/>
                  <a:gd name="connsiteX114" fmla="*/ 1469232 w 8601075"/>
                  <a:gd name="connsiteY114" fmla="*/ 347663 h 4305300"/>
                  <a:gd name="connsiteX115" fmla="*/ 1445419 w 8601075"/>
                  <a:gd name="connsiteY115" fmla="*/ 333375 h 4305300"/>
                  <a:gd name="connsiteX116" fmla="*/ 1407319 w 8601075"/>
                  <a:gd name="connsiteY116" fmla="*/ 380999 h 4305300"/>
                  <a:gd name="connsiteX117" fmla="*/ 1328737 w 8601075"/>
                  <a:gd name="connsiteY117" fmla="*/ 307181 h 4305300"/>
                  <a:gd name="connsiteX118" fmla="*/ 1288256 w 8601075"/>
                  <a:gd name="connsiteY118" fmla="*/ 347663 h 4305300"/>
                  <a:gd name="connsiteX119" fmla="*/ 1212056 w 8601075"/>
                  <a:gd name="connsiteY119" fmla="*/ 333375 h 4305300"/>
                  <a:gd name="connsiteX120" fmla="*/ 1133475 w 8601075"/>
                  <a:gd name="connsiteY120" fmla="*/ 359569 h 4305300"/>
                  <a:gd name="connsiteX121" fmla="*/ 1073944 w 8601075"/>
                  <a:gd name="connsiteY121" fmla="*/ 407193 h 4305300"/>
                  <a:gd name="connsiteX122" fmla="*/ 1000125 w 8601075"/>
                  <a:gd name="connsiteY122" fmla="*/ 419100 h 4305300"/>
                  <a:gd name="connsiteX123" fmla="*/ 964406 w 8601075"/>
                  <a:gd name="connsiteY123" fmla="*/ 411956 h 4305300"/>
                  <a:gd name="connsiteX124" fmla="*/ 885826 w 8601075"/>
                  <a:gd name="connsiteY124" fmla="*/ 442913 h 4305300"/>
                  <a:gd name="connsiteX125" fmla="*/ 864394 w 8601075"/>
                  <a:gd name="connsiteY125" fmla="*/ 471488 h 4305300"/>
                  <a:gd name="connsiteX126" fmla="*/ 797719 w 8601075"/>
                  <a:gd name="connsiteY126" fmla="*/ 461963 h 4305300"/>
                  <a:gd name="connsiteX127" fmla="*/ 728663 w 8601075"/>
                  <a:gd name="connsiteY127" fmla="*/ 485775 h 4305300"/>
                  <a:gd name="connsiteX128" fmla="*/ 673894 w 8601075"/>
                  <a:gd name="connsiteY128" fmla="*/ 523875 h 4305300"/>
                  <a:gd name="connsiteX129" fmla="*/ 578644 w 8601075"/>
                  <a:gd name="connsiteY129" fmla="*/ 538162 h 4305300"/>
                  <a:gd name="connsiteX130" fmla="*/ 564356 w 8601075"/>
                  <a:gd name="connsiteY130" fmla="*/ 559594 h 4305300"/>
                  <a:gd name="connsiteX131" fmla="*/ 576262 w 8601075"/>
                  <a:gd name="connsiteY131" fmla="*/ 604838 h 4305300"/>
                  <a:gd name="connsiteX132" fmla="*/ 476251 w 8601075"/>
                  <a:gd name="connsiteY132" fmla="*/ 657225 h 4305300"/>
                  <a:gd name="connsiteX133" fmla="*/ 438150 w 8601075"/>
                  <a:gd name="connsiteY133" fmla="*/ 628649 h 4305300"/>
                  <a:gd name="connsiteX134" fmla="*/ 407194 w 8601075"/>
                  <a:gd name="connsiteY134" fmla="*/ 685800 h 4305300"/>
                  <a:gd name="connsiteX135" fmla="*/ 350044 w 8601075"/>
                  <a:gd name="connsiteY135" fmla="*/ 647700 h 4305300"/>
                  <a:gd name="connsiteX136" fmla="*/ 314325 w 8601075"/>
                  <a:gd name="connsiteY136" fmla="*/ 676275 h 4305300"/>
                  <a:gd name="connsiteX137" fmla="*/ 15875 w 8601075"/>
                  <a:gd name="connsiteY137" fmla="*/ 712788 h 4305300"/>
                  <a:gd name="connsiteX138" fmla="*/ 61913 w 8601075"/>
                  <a:gd name="connsiteY138" fmla="*/ 740568 h 4305300"/>
                  <a:gd name="connsiteX139" fmla="*/ 28575 w 8601075"/>
                  <a:gd name="connsiteY139" fmla="*/ 769144 h 4305300"/>
                  <a:gd name="connsiteX140" fmla="*/ 33338 w 8601075"/>
                  <a:gd name="connsiteY140" fmla="*/ 812006 h 4305300"/>
                  <a:gd name="connsiteX141" fmla="*/ 0 w 8601075"/>
                  <a:gd name="connsiteY141" fmla="*/ 816769 h 4305300"/>
                  <a:gd name="connsiteX142" fmla="*/ 4763 w 8601075"/>
                  <a:gd name="connsiteY142" fmla="*/ 840581 h 4305300"/>
                  <a:gd name="connsiteX143" fmla="*/ 61912 w 8601075"/>
                  <a:gd name="connsiteY143" fmla="*/ 914400 h 4305300"/>
                  <a:gd name="connsiteX144" fmla="*/ 23813 w 8601075"/>
                  <a:gd name="connsiteY144" fmla="*/ 962025 h 4305300"/>
                  <a:gd name="connsiteX145" fmla="*/ 78581 w 8601075"/>
                  <a:gd name="connsiteY145" fmla="*/ 997744 h 4305300"/>
                  <a:gd name="connsiteX146" fmla="*/ 169069 w 8601075"/>
                  <a:gd name="connsiteY146" fmla="*/ 1085850 h 4305300"/>
                  <a:gd name="connsiteX147" fmla="*/ 171450 w 8601075"/>
                  <a:gd name="connsiteY147" fmla="*/ 1145381 h 4305300"/>
                  <a:gd name="connsiteX148" fmla="*/ 307181 w 8601075"/>
                  <a:gd name="connsiteY148" fmla="*/ 1278732 h 4305300"/>
                  <a:gd name="connsiteX149" fmla="*/ 361950 w 8601075"/>
                  <a:gd name="connsiteY149" fmla="*/ 1254919 h 4305300"/>
                  <a:gd name="connsiteX150" fmla="*/ 400050 w 8601075"/>
                  <a:gd name="connsiteY150" fmla="*/ 1281112 h 4305300"/>
                  <a:gd name="connsiteX151" fmla="*/ 414338 w 8601075"/>
                  <a:gd name="connsiteY151" fmla="*/ 1331118 h 4305300"/>
                  <a:gd name="connsiteX152" fmla="*/ 457200 w 8601075"/>
                  <a:gd name="connsiteY152" fmla="*/ 1366838 h 4305300"/>
                  <a:gd name="connsiteX153" fmla="*/ 497681 w 8601075"/>
                  <a:gd name="connsiteY153" fmla="*/ 1354931 h 4305300"/>
                  <a:gd name="connsiteX154" fmla="*/ 516731 w 8601075"/>
                  <a:gd name="connsiteY154" fmla="*/ 1412081 h 4305300"/>
                  <a:gd name="connsiteX155" fmla="*/ 564356 w 8601075"/>
                  <a:gd name="connsiteY155" fmla="*/ 1454944 h 4305300"/>
                  <a:gd name="connsiteX156" fmla="*/ 588169 w 8601075"/>
                  <a:gd name="connsiteY156" fmla="*/ 1557338 h 4305300"/>
                  <a:gd name="connsiteX157" fmla="*/ 585788 w 8601075"/>
                  <a:gd name="connsiteY157" fmla="*/ 1604963 h 4305300"/>
                  <a:gd name="connsiteX158" fmla="*/ 621506 w 8601075"/>
                  <a:gd name="connsiteY158" fmla="*/ 1704975 h 4305300"/>
                  <a:gd name="connsiteX159" fmla="*/ 666750 w 8601075"/>
                  <a:gd name="connsiteY159" fmla="*/ 1762125 h 4305300"/>
                  <a:gd name="connsiteX160" fmla="*/ 683418 w 8601075"/>
                  <a:gd name="connsiteY160" fmla="*/ 1919287 h 4305300"/>
                  <a:gd name="connsiteX161" fmla="*/ 650081 w 8601075"/>
                  <a:gd name="connsiteY161" fmla="*/ 1981200 h 4305300"/>
                  <a:gd name="connsiteX162" fmla="*/ 619125 w 8601075"/>
                  <a:gd name="connsiteY162" fmla="*/ 2057400 h 4305300"/>
                  <a:gd name="connsiteX163" fmla="*/ 633413 w 8601075"/>
                  <a:gd name="connsiteY163" fmla="*/ 2114550 h 4305300"/>
                  <a:gd name="connsiteX164" fmla="*/ 535781 w 8601075"/>
                  <a:gd name="connsiteY164" fmla="*/ 2221707 h 4305300"/>
                  <a:gd name="connsiteX165" fmla="*/ 492919 w 8601075"/>
                  <a:gd name="connsiteY165" fmla="*/ 2336006 h 4305300"/>
                  <a:gd name="connsiteX166" fmla="*/ 526256 w 8601075"/>
                  <a:gd name="connsiteY166" fmla="*/ 2376488 h 4305300"/>
                  <a:gd name="connsiteX167" fmla="*/ 509588 w 8601075"/>
                  <a:gd name="connsiteY167" fmla="*/ 2405063 h 4305300"/>
                  <a:gd name="connsiteX168" fmla="*/ 540544 w 8601075"/>
                  <a:gd name="connsiteY168" fmla="*/ 2462213 h 4305300"/>
                  <a:gd name="connsiteX169" fmla="*/ 569119 w 8601075"/>
                  <a:gd name="connsiteY169" fmla="*/ 2462213 h 4305300"/>
                  <a:gd name="connsiteX170" fmla="*/ 731044 w 8601075"/>
                  <a:gd name="connsiteY170" fmla="*/ 2564606 h 4305300"/>
                  <a:gd name="connsiteX171" fmla="*/ 835819 w 8601075"/>
                  <a:gd name="connsiteY171" fmla="*/ 2562225 h 4305300"/>
                  <a:gd name="connsiteX172" fmla="*/ 914400 w 8601075"/>
                  <a:gd name="connsiteY172" fmla="*/ 2616994 h 4305300"/>
                  <a:gd name="connsiteX173" fmla="*/ 1045368 w 8601075"/>
                  <a:gd name="connsiteY173" fmla="*/ 2619375 h 4305300"/>
                  <a:gd name="connsiteX174" fmla="*/ 1235868 w 8601075"/>
                  <a:gd name="connsiteY174" fmla="*/ 2688431 h 4305300"/>
                  <a:gd name="connsiteX175" fmla="*/ 1438275 w 8601075"/>
                  <a:gd name="connsiteY175" fmla="*/ 2838450 h 4305300"/>
                  <a:gd name="connsiteX176" fmla="*/ 1471612 w 8601075"/>
                  <a:gd name="connsiteY176" fmla="*/ 2905125 h 4305300"/>
                  <a:gd name="connsiteX177" fmla="*/ 1638300 w 8601075"/>
                  <a:gd name="connsiteY177" fmla="*/ 3031331 h 4305300"/>
                  <a:gd name="connsiteX178" fmla="*/ 1709738 w 8601075"/>
                  <a:gd name="connsiteY178" fmla="*/ 3026569 h 4305300"/>
                  <a:gd name="connsiteX179" fmla="*/ 1745457 w 8601075"/>
                  <a:gd name="connsiteY179" fmla="*/ 3050381 h 4305300"/>
                  <a:gd name="connsiteX180" fmla="*/ 1716881 w 8601075"/>
                  <a:gd name="connsiteY180" fmla="*/ 3090863 h 4305300"/>
                  <a:gd name="connsiteX181" fmla="*/ 1724025 w 8601075"/>
                  <a:gd name="connsiteY181" fmla="*/ 3143250 h 4305300"/>
                  <a:gd name="connsiteX182" fmla="*/ 1776413 w 8601075"/>
                  <a:gd name="connsiteY182" fmla="*/ 3169444 h 4305300"/>
                  <a:gd name="connsiteX183" fmla="*/ 1838325 w 8601075"/>
                  <a:gd name="connsiteY183" fmla="*/ 3393282 h 4305300"/>
                  <a:gd name="connsiteX184" fmla="*/ 1828800 w 8601075"/>
                  <a:gd name="connsiteY184" fmla="*/ 3457575 h 4305300"/>
                  <a:gd name="connsiteX185" fmla="*/ 1964531 w 8601075"/>
                  <a:gd name="connsiteY185" fmla="*/ 3624263 h 4305300"/>
                  <a:gd name="connsiteX186" fmla="*/ 1983581 w 8601075"/>
                  <a:gd name="connsiteY186" fmla="*/ 3674269 h 4305300"/>
                  <a:gd name="connsiteX187" fmla="*/ 1957388 w 8601075"/>
                  <a:gd name="connsiteY187" fmla="*/ 3693319 h 4305300"/>
                  <a:gd name="connsiteX188" fmla="*/ 2059781 w 8601075"/>
                  <a:gd name="connsiteY188" fmla="*/ 3702844 h 4305300"/>
                  <a:gd name="connsiteX189" fmla="*/ 2171700 w 8601075"/>
                  <a:gd name="connsiteY189" fmla="*/ 3690938 h 4305300"/>
                  <a:gd name="connsiteX190" fmla="*/ 2450306 w 8601075"/>
                  <a:gd name="connsiteY190" fmla="*/ 3774281 h 4305300"/>
                  <a:gd name="connsiteX191" fmla="*/ 2857500 w 8601075"/>
                  <a:gd name="connsiteY191" fmla="*/ 3855244 h 4305300"/>
                  <a:gd name="connsiteX192" fmla="*/ 3055144 w 8601075"/>
                  <a:gd name="connsiteY192" fmla="*/ 3824287 h 4305300"/>
                  <a:gd name="connsiteX193" fmla="*/ 3100388 w 8601075"/>
                  <a:gd name="connsiteY193" fmla="*/ 3836193 h 4305300"/>
                  <a:gd name="connsiteX194" fmla="*/ 3155156 w 8601075"/>
                  <a:gd name="connsiteY194" fmla="*/ 3812382 h 4305300"/>
                  <a:gd name="connsiteX195" fmla="*/ 3548062 w 8601075"/>
                  <a:gd name="connsiteY195" fmla="*/ 3902869 h 4305300"/>
                  <a:gd name="connsiteX196" fmla="*/ 3631407 w 8601075"/>
                  <a:gd name="connsiteY196" fmla="*/ 4000500 h 4305300"/>
                  <a:gd name="connsiteX197" fmla="*/ 3750469 w 8601075"/>
                  <a:gd name="connsiteY197" fmla="*/ 4071938 h 4305300"/>
                  <a:gd name="connsiteX198" fmla="*/ 3810000 w 8601075"/>
                  <a:gd name="connsiteY198" fmla="*/ 4055269 h 4305300"/>
                  <a:gd name="connsiteX199" fmla="*/ 4160043 w 8601075"/>
                  <a:gd name="connsiteY199" fmla="*/ 4229100 h 4305300"/>
                  <a:gd name="connsiteX200" fmla="*/ 4386263 w 8601075"/>
                  <a:gd name="connsiteY200" fmla="*/ 4200525 h 4305300"/>
                  <a:gd name="connsiteX201" fmla="*/ 4395788 w 8601075"/>
                  <a:gd name="connsiteY201" fmla="*/ 4279106 h 4305300"/>
                  <a:gd name="connsiteX202" fmla="*/ 4481513 w 8601075"/>
                  <a:gd name="connsiteY202" fmla="*/ 4274343 h 4305300"/>
                  <a:gd name="connsiteX203" fmla="*/ 4560094 w 8601075"/>
                  <a:gd name="connsiteY203" fmla="*/ 4305300 h 4305300"/>
                  <a:gd name="connsiteX204" fmla="*/ 4602956 w 8601075"/>
                  <a:gd name="connsiteY204" fmla="*/ 4245769 h 4305300"/>
                  <a:gd name="connsiteX205" fmla="*/ 5274469 w 8601075"/>
                  <a:gd name="connsiteY205" fmla="*/ 3926681 h 4305300"/>
                  <a:gd name="connsiteX206" fmla="*/ 5362575 w 8601075"/>
                  <a:gd name="connsiteY206" fmla="*/ 3955257 h 4305300"/>
                  <a:gd name="connsiteX207" fmla="*/ 5493544 w 8601075"/>
                  <a:gd name="connsiteY207" fmla="*/ 3926681 h 4305300"/>
                  <a:gd name="connsiteX208" fmla="*/ 5672137 w 8601075"/>
                  <a:gd name="connsiteY208" fmla="*/ 3943350 h 4305300"/>
                  <a:gd name="connsiteX209" fmla="*/ 5729288 w 8601075"/>
                  <a:gd name="connsiteY209" fmla="*/ 3917157 h 4305300"/>
                  <a:gd name="connsiteX210" fmla="*/ 5862637 w 8601075"/>
                  <a:gd name="connsiteY210" fmla="*/ 3914775 h 4305300"/>
                  <a:gd name="connsiteX211" fmla="*/ 5995987 w 8601075"/>
                  <a:gd name="connsiteY211" fmla="*/ 3817144 h 4305300"/>
                  <a:gd name="connsiteX212" fmla="*/ 6062662 w 8601075"/>
                  <a:gd name="connsiteY212" fmla="*/ 3810000 h 4305300"/>
                  <a:gd name="connsiteX213" fmla="*/ 6160294 w 8601075"/>
                  <a:gd name="connsiteY213" fmla="*/ 3736181 h 4305300"/>
                  <a:gd name="connsiteX214" fmla="*/ 6234113 w 8601075"/>
                  <a:gd name="connsiteY214" fmla="*/ 3667125 h 4305300"/>
                  <a:gd name="connsiteX215" fmla="*/ 6243638 w 8601075"/>
                  <a:gd name="connsiteY215" fmla="*/ 3605213 h 4305300"/>
                  <a:gd name="connsiteX216" fmla="*/ 6276975 w 8601075"/>
                  <a:gd name="connsiteY216" fmla="*/ 3536156 h 4305300"/>
                  <a:gd name="connsiteX217" fmla="*/ 6429375 w 8601075"/>
                  <a:gd name="connsiteY217" fmla="*/ 3429000 h 4305300"/>
                  <a:gd name="connsiteX218" fmla="*/ 6462713 w 8601075"/>
                  <a:gd name="connsiteY218" fmla="*/ 3433763 h 4305300"/>
                  <a:gd name="connsiteX219" fmla="*/ 6515100 w 8601075"/>
                  <a:gd name="connsiteY219" fmla="*/ 3355181 h 4305300"/>
                  <a:gd name="connsiteX220" fmla="*/ 6562725 w 8601075"/>
                  <a:gd name="connsiteY220" fmla="*/ 3317081 h 4305300"/>
                  <a:gd name="connsiteX221" fmla="*/ 6548438 w 8601075"/>
                  <a:gd name="connsiteY221" fmla="*/ 3248025 h 4305300"/>
                  <a:gd name="connsiteX222" fmla="*/ 6498431 w 8601075"/>
                  <a:gd name="connsiteY222" fmla="*/ 3217068 h 4305300"/>
                  <a:gd name="connsiteX223" fmla="*/ 6438900 w 8601075"/>
                  <a:gd name="connsiteY223" fmla="*/ 3162300 h 4305300"/>
                  <a:gd name="connsiteX224" fmla="*/ 6419850 w 8601075"/>
                  <a:gd name="connsiteY224" fmla="*/ 3105150 h 4305300"/>
                  <a:gd name="connsiteX225" fmla="*/ 6384131 w 8601075"/>
                  <a:gd name="connsiteY225" fmla="*/ 3071813 h 4305300"/>
                  <a:gd name="connsiteX226" fmla="*/ 6410325 w 8601075"/>
                  <a:gd name="connsiteY226" fmla="*/ 3019425 h 4305300"/>
                  <a:gd name="connsiteX227" fmla="*/ 6450806 w 8601075"/>
                  <a:gd name="connsiteY227" fmla="*/ 2840831 h 4305300"/>
                  <a:gd name="connsiteX228" fmla="*/ 6491288 w 8601075"/>
                  <a:gd name="connsiteY228" fmla="*/ 2774156 h 4305300"/>
                  <a:gd name="connsiteX229" fmla="*/ 6636544 w 8601075"/>
                  <a:gd name="connsiteY229" fmla="*/ 2757487 h 4305300"/>
                  <a:gd name="connsiteX230" fmla="*/ 6705600 w 8601075"/>
                  <a:gd name="connsiteY230" fmla="*/ 2814638 h 4305300"/>
                  <a:gd name="connsiteX231" fmla="*/ 6781800 w 8601075"/>
                  <a:gd name="connsiteY231" fmla="*/ 2838450 h 4305300"/>
                  <a:gd name="connsiteX232" fmla="*/ 6986587 w 8601075"/>
                  <a:gd name="connsiteY232" fmla="*/ 2843213 h 4305300"/>
                  <a:gd name="connsiteX233" fmla="*/ 7162800 w 8601075"/>
                  <a:gd name="connsiteY233" fmla="*/ 2705100 h 4305300"/>
                  <a:gd name="connsiteX234" fmla="*/ 7219950 w 8601075"/>
                  <a:gd name="connsiteY234" fmla="*/ 2614612 h 4305300"/>
                  <a:gd name="connsiteX235" fmla="*/ 7246144 w 8601075"/>
                  <a:gd name="connsiteY235" fmla="*/ 2531269 h 4305300"/>
                  <a:gd name="connsiteX236" fmla="*/ 7377112 w 8601075"/>
                  <a:gd name="connsiteY236" fmla="*/ 2531269 h 4305300"/>
                  <a:gd name="connsiteX237" fmla="*/ 7550944 w 8601075"/>
                  <a:gd name="connsiteY237" fmla="*/ 2474118 h 4305300"/>
                  <a:gd name="connsiteX238" fmla="*/ 7610475 w 8601075"/>
                  <a:gd name="connsiteY238" fmla="*/ 2362200 h 4305300"/>
                  <a:gd name="connsiteX239" fmla="*/ 7674769 w 8601075"/>
                  <a:gd name="connsiteY239" fmla="*/ 2326481 h 4305300"/>
                  <a:gd name="connsiteX240" fmla="*/ 7653338 w 8601075"/>
                  <a:gd name="connsiteY240" fmla="*/ 2281238 h 4305300"/>
                  <a:gd name="connsiteX241" fmla="*/ 7731919 w 8601075"/>
                  <a:gd name="connsiteY241" fmla="*/ 2112168 h 4305300"/>
                  <a:gd name="connsiteX242" fmla="*/ 7786688 w 8601075"/>
                  <a:gd name="connsiteY242" fmla="*/ 2052638 h 4305300"/>
                  <a:gd name="connsiteX243" fmla="*/ 7824788 w 8601075"/>
                  <a:gd name="connsiteY243" fmla="*/ 2047875 h 4305300"/>
                  <a:gd name="connsiteX244" fmla="*/ 7870031 w 8601075"/>
                  <a:gd name="connsiteY244" fmla="*/ 2052638 h 4305300"/>
                  <a:gd name="connsiteX245" fmla="*/ 7934325 w 8601075"/>
                  <a:gd name="connsiteY245" fmla="*/ 2019300 h 4305300"/>
                  <a:gd name="connsiteX246" fmla="*/ 7943850 w 8601075"/>
                  <a:gd name="connsiteY246" fmla="*/ 1955006 h 4305300"/>
                  <a:gd name="connsiteX247" fmla="*/ 7984330 w 8601075"/>
                  <a:gd name="connsiteY247" fmla="*/ 1919288 h 4305300"/>
                  <a:gd name="connsiteX248" fmla="*/ 8043863 w 8601075"/>
                  <a:gd name="connsiteY248" fmla="*/ 1959768 h 4305300"/>
                  <a:gd name="connsiteX249" fmla="*/ 8070057 w 8601075"/>
                  <a:gd name="connsiteY249" fmla="*/ 1909762 h 4305300"/>
                  <a:gd name="connsiteX250" fmla="*/ 8165306 w 8601075"/>
                  <a:gd name="connsiteY250" fmla="*/ 1840706 h 4305300"/>
                  <a:gd name="connsiteX251" fmla="*/ 8227219 w 8601075"/>
                  <a:gd name="connsiteY251" fmla="*/ 1847850 h 4305300"/>
                  <a:gd name="connsiteX252" fmla="*/ 8277225 w 8601075"/>
                  <a:gd name="connsiteY252" fmla="*/ 1828800 h 4305300"/>
                  <a:gd name="connsiteX253" fmla="*/ 8315325 w 8601075"/>
                  <a:gd name="connsiteY253" fmla="*/ 1800225 h 4305300"/>
                  <a:gd name="connsiteX254" fmla="*/ 8348663 w 8601075"/>
                  <a:gd name="connsiteY254" fmla="*/ 1797844 h 4305300"/>
                  <a:gd name="connsiteX255" fmla="*/ 8384381 w 8601075"/>
                  <a:gd name="connsiteY255" fmla="*/ 1828800 h 4305300"/>
                  <a:gd name="connsiteX256" fmla="*/ 8443913 w 8601075"/>
                  <a:gd name="connsiteY256" fmla="*/ 1828800 h 4305300"/>
                  <a:gd name="connsiteX257" fmla="*/ 8482012 w 8601075"/>
                  <a:gd name="connsiteY257" fmla="*/ 1809750 h 4305300"/>
                  <a:gd name="connsiteX258" fmla="*/ 8565356 w 8601075"/>
                  <a:gd name="connsiteY258" fmla="*/ 1812132 h 4305300"/>
                  <a:gd name="connsiteX259" fmla="*/ 8596313 w 8601075"/>
                  <a:gd name="connsiteY259" fmla="*/ 1766888 h 4305300"/>
                  <a:gd name="connsiteX260" fmla="*/ 8601075 w 8601075"/>
                  <a:gd name="connsiteY260" fmla="*/ 1704975 h 4305300"/>
                  <a:gd name="connsiteX261" fmla="*/ 8551068 w 8601075"/>
                  <a:gd name="connsiteY261" fmla="*/ 1664494 h 4305300"/>
                  <a:gd name="connsiteX262" fmla="*/ 8534400 w 8601075"/>
                  <a:gd name="connsiteY262" fmla="*/ 1609725 h 4305300"/>
                  <a:gd name="connsiteX263" fmla="*/ 8443913 w 8601075"/>
                  <a:gd name="connsiteY263" fmla="*/ 1547813 h 4305300"/>
                  <a:gd name="connsiteX264" fmla="*/ 8403431 w 8601075"/>
                  <a:gd name="connsiteY264" fmla="*/ 1526381 h 4305300"/>
                  <a:gd name="connsiteX265" fmla="*/ 8365331 w 8601075"/>
                  <a:gd name="connsiteY265" fmla="*/ 1481138 h 4305300"/>
                  <a:gd name="connsiteX266" fmla="*/ 8334375 w 8601075"/>
                  <a:gd name="connsiteY266" fmla="*/ 1478756 h 4305300"/>
                  <a:gd name="connsiteX267" fmla="*/ 8317706 w 8601075"/>
                  <a:gd name="connsiteY267" fmla="*/ 1426369 h 4305300"/>
                  <a:gd name="connsiteX268" fmla="*/ 8277225 w 8601075"/>
                  <a:gd name="connsiteY268" fmla="*/ 1409700 h 4305300"/>
                  <a:gd name="connsiteX269" fmla="*/ 8277225 w 8601075"/>
                  <a:gd name="connsiteY269" fmla="*/ 1409700 h 4305300"/>
                  <a:gd name="connsiteX270" fmla="*/ 8236744 w 8601075"/>
                  <a:gd name="connsiteY270" fmla="*/ 1414463 h 4305300"/>
                  <a:gd name="connsiteX271" fmla="*/ 8151018 w 8601075"/>
                  <a:gd name="connsiteY271" fmla="*/ 1340644 h 4305300"/>
                  <a:gd name="connsiteX272" fmla="*/ 7970044 w 8601075"/>
                  <a:gd name="connsiteY272" fmla="*/ 1340643 h 4305300"/>
                  <a:gd name="connsiteX273" fmla="*/ 7917656 w 8601075"/>
                  <a:gd name="connsiteY273" fmla="*/ 1378744 h 4305300"/>
                  <a:gd name="connsiteX274" fmla="*/ 7867650 w 8601075"/>
                  <a:gd name="connsiteY274" fmla="*/ 1457325 h 4305300"/>
                  <a:gd name="connsiteX275" fmla="*/ 7884319 w 8601075"/>
                  <a:gd name="connsiteY275" fmla="*/ 1478756 h 4305300"/>
                  <a:gd name="connsiteX276" fmla="*/ 7839075 w 8601075"/>
                  <a:gd name="connsiteY276" fmla="*/ 1528762 h 4305300"/>
                  <a:gd name="connsiteX277" fmla="*/ 7689056 w 8601075"/>
                  <a:gd name="connsiteY277" fmla="*/ 1452562 h 4305300"/>
                  <a:gd name="connsiteX278" fmla="*/ 7598569 w 8601075"/>
                  <a:gd name="connsiteY278" fmla="*/ 1488281 h 4305300"/>
                  <a:gd name="connsiteX279" fmla="*/ 7524750 w 8601075"/>
                  <a:gd name="connsiteY279" fmla="*/ 1485900 h 4305300"/>
                  <a:gd name="connsiteX280" fmla="*/ 7467600 w 8601075"/>
                  <a:gd name="connsiteY280" fmla="*/ 1581150 h 4305300"/>
                  <a:gd name="connsiteX281" fmla="*/ 7329488 w 8601075"/>
                  <a:gd name="connsiteY281" fmla="*/ 1483519 h 4305300"/>
                  <a:gd name="connsiteX0" fmla="*/ 7410450 w 8682037"/>
                  <a:gd name="connsiteY0" fmla="*/ 1483519 h 4305300"/>
                  <a:gd name="connsiteX1" fmla="*/ 7403306 w 8682037"/>
                  <a:gd name="connsiteY1" fmla="*/ 1428750 h 4305300"/>
                  <a:gd name="connsiteX2" fmla="*/ 7469981 w 8682037"/>
                  <a:gd name="connsiteY2" fmla="*/ 1354931 h 4305300"/>
                  <a:gd name="connsiteX3" fmla="*/ 7453312 w 8682037"/>
                  <a:gd name="connsiteY3" fmla="*/ 1283494 h 4305300"/>
                  <a:gd name="connsiteX4" fmla="*/ 7467600 w 8682037"/>
                  <a:gd name="connsiteY4" fmla="*/ 1188244 h 4305300"/>
                  <a:gd name="connsiteX5" fmla="*/ 7505700 w 8682037"/>
                  <a:gd name="connsiteY5" fmla="*/ 1131094 h 4305300"/>
                  <a:gd name="connsiteX6" fmla="*/ 7486649 w 8682037"/>
                  <a:gd name="connsiteY6" fmla="*/ 1097756 h 4305300"/>
                  <a:gd name="connsiteX7" fmla="*/ 7584280 w 8682037"/>
                  <a:gd name="connsiteY7" fmla="*/ 697706 h 4305300"/>
                  <a:gd name="connsiteX8" fmla="*/ 7577137 w 8682037"/>
                  <a:gd name="connsiteY8" fmla="*/ 669131 h 4305300"/>
                  <a:gd name="connsiteX9" fmla="*/ 7448550 w 8682037"/>
                  <a:gd name="connsiteY9" fmla="*/ 647700 h 4305300"/>
                  <a:gd name="connsiteX10" fmla="*/ 7265194 w 8682037"/>
                  <a:gd name="connsiteY10" fmla="*/ 726281 h 4305300"/>
                  <a:gd name="connsiteX11" fmla="*/ 7108030 w 8682037"/>
                  <a:gd name="connsiteY11" fmla="*/ 611981 h 4305300"/>
                  <a:gd name="connsiteX12" fmla="*/ 7031831 w 8682037"/>
                  <a:gd name="connsiteY12" fmla="*/ 619125 h 4305300"/>
                  <a:gd name="connsiteX13" fmla="*/ 6958012 w 8682037"/>
                  <a:gd name="connsiteY13" fmla="*/ 614363 h 4305300"/>
                  <a:gd name="connsiteX14" fmla="*/ 6819900 w 8682037"/>
                  <a:gd name="connsiteY14" fmla="*/ 719138 h 4305300"/>
                  <a:gd name="connsiteX15" fmla="*/ 6712743 w 8682037"/>
                  <a:gd name="connsiteY15" fmla="*/ 826294 h 4305300"/>
                  <a:gd name="connsiteX16" fmla="*/ 6669881 w 8682037"/>
                  <a:gd name="connsiteY16" fmla="*/ 895350 h 4305300"/>
                  <a:gd name="connsiteX17" fmla="*/ 6677025 w 8682037"/>
                  <a:gd name="connsiteY17" fmla="*/ 931069 h 4305300"/>
                  <a:gd name="connsiteX18" fmla="*/ 6615112 w 8682037"/>
                  <a:gd name="connsiteY18" fmla="*/ 942975 h 4305300"/>
                  <a:gd name="connsiteX19" fmla="*/ 6634162 w 8682037"/>
                  <a:gd name="connsiteY19" fmla="*/ 942975 h 4305300"/>
                  <a:gd name="connsiteX20" fmla="*/ 6600825 w 8682037"/>
                  <a:gd name="connsiteY20" fmla="*/ 973931 h 4305300"/>
                  <a:gd name="connsiteX21" fmla="*/ 6500812 w 8682037"/>
                  <a:gd name="connsiteY21" fmla="*/ 973932 h 4305300"/>
                  <a:gd name="connsiteX22" fmla="*/ 6405562 w 8682037"/>
                  <a:gd name="connsiteY22" fmla="*/ 1028700 h 4305300"/>
                  <a:gd name="connsiteX23" fmla="*/ 6324600 w 8682037"/>
                  <a:gd name="connsiteY23" fmla="*/ 1038225 h 4305300"/>
                  <a:gd name="connsiteX24" fmla="*/ 6284118 w 8682037"/>
                  <a:gd name="connsiteY24" fmla="*/ 1071563 h 4305300"/>
                  <a:gd name="connsiteX25" fmla="*/ 6234112 w 8682037"/>
                  <a:gd name="connsiteY25" fmla="*/ 1076325 h 4305300"/>
                  <a:gd name="connsiteX26" fmla="*/ 6112669 w 8682037"/>
                  <a:gd name="connsiteY26" fmla="*/ 1169194 h 4305300"/>
                  <a:gd name="connsiteX27" fmla="*/ 6053137 w 8682037"/>
                  <a:gd name="connsiteY27" fmla="*/ 1173956 h 4305300"/>
                  <a:gd name="connsiteX28" fmla="*/ 6000750 w 8682037"/>
                  <a:gd name="connsiteY28" fmla="*/ 1138238 h 4305300"/>
                  <a:gd name="connsiteX29" fmla="*/ 5974556 w 8682037"/>
                  <a:gd name="connsiteY29" fmla="*/ 1173956 h 4305300"/>
                  <a:gd name="connsiteX30" fmla="*/ 5776912 w 8682037"/>
                  <a:gd name="connsiteY30" fmla="*/ 1166813 h 4305300"/>
                  <a:gd name="connsiteX31" fmla="*/ 5715000 w 8682037"/>
                  <a:gd name="connsiteY31" fmla="*/ 1121569 h 4305300"/>
                  <a:gd name="connsiteX32" fmla="*/ 5517356 w 8682037"/>
                  <a:gd name="connsiteY32" fmla="*/ 1138238 h 4305300"/>
                  <a:gd name="connsiteX33" fmla="*/ 5429250 w 8682037"/>
                  <a:gd name="connsiteY33" fmla="*/ 1054893 h 4305300"/>
                  <a:gd name="connsiteX34" fmla="*/ 5353050 w 8682037"/>
                  <a:gd name="connsiteY34" fmla="*/ 1009650 h 4305300"/>
                  <a:gd name="connsiteX35" fmla="*/ 5355430 w 8682037"/>
                  <a:gd name="connsiteY35" fmla="*/ 952500 h 4305300"/>
                  <a:gd name="connsiteX36" fmla="*/ 5336381 w 8682037"/>
                  <a:gd name="connsiteY36" fmla="*/ 909637 h 4305300"/>
                  <a:gd name="connsiteX37" fmla="*/ 5241131 w 8682037"/>
                  <a:gd name="connsiteY37" fmla="*/ 912019 h 4305300"/>
                  <a:gd name="connsiteX38" fmla="*/ 5145881 w 8682037"/>
                  <a:gd name="connsiteY38" fmla="*/ 890588 h 4305300"/>
                  <a:gd name="connsiteX39" fmla="*/ 5076824 w 8682037"/>
                  <a:gd name="connsiteY39" fmla="*/ 823912 h 4305300"/>
                  <a:gd name="connsiteX40" fmla="*/ 5041106 w 8682037"/>
                  <a:gd name="connsiteY40" fmla="*/ 781050 h 4305300"/>
                  <a:gd name="connsiteX41" fmla="*/ 4960143 w 8682037"/>
                  <a:gd name="connsiteY41" fmla="*/ 757237 h 4305300"/>
                  <a:gd name="connsiteX42" fmla="*/ 4886325 w 8682037"/>
                  <a:gd name="connsiteY42" fmla="*/ 769143 h 4305300"/>
                  <a:gd name="connsiteX43" fmla="*/ 4829174 w 8682037"/>
                  <a:gd name="connsiteY43" fmla="*/ 716756 h 4305300"/>
                  <a:gd name="connsiteX44" fmla="*/ 4733925 w 8682037"/>
                  <a:gd name="connsiteY44" fmla="*/ 728663 h 4305300"/>
                  <a:gd name="connsiteX45" fmla="*/ 4681537 w 8682037"/>
                  <a:gd name="connsiteY45" fmla="*/ 702469 h 4305300"/>
                  <a:gd name="connsiteX46" fmla="*/ 4600575 w 8682037"/>
                  <a:gd name="connsiteY46" fmla="*/ 745331 h 4305300"/>
                  <a:gd name="connsiteX47" fmla="*/ 4462462 w 8682037"/>
                  <a:gd name="connsiteY47" fmla="*/ 769144 h 4305300"/>
                  <a:gd name="connsiteX48" fmla="*/ 4333875 w 8682037"/>
                  <a:gd name="connsiteY48" fmla="*/ 862013 h 4305300"/>
                  <a:gd name="connsiteX49" fmla="*/ 4286249 w 8682037"/>
                  <a:gd name="connsiteY49" fmla="*/ 823913 h 4305300"/>
                  <a:gd name="connsiteX50" fmla="*/ 4264818 w 8682037"/>
                  <a:gd name="connsiteY50" fmla="*/ 854868 h 4305300"/>
                  <a:gd name="connsiteX51" fmla="*/ 4191000 w 8682037"/>
                  <a:gd name="connsiteY51" fmla="*/ 804863 h 4305300"/>
                  <a:gd name="connsiteX52" fmla="*/ 4152900 w 8682037"/>
                  <a:gd name="connsiteY52" fmla="*/ 812006 h 4305300"/>
                  <a:gd name="connsiteX53" fmla="*/ 4131468 w 8682037"/>
                  <a:gd name="connsiteY53" fmla="*/ 773906 h 4305300"/>
                  <a:gd name="connsiteX54" fmla="*/ 4071937 w 8682037"/>
                  <a:gd name="connsiteY54" fmla="*/ 778669 h 4305300"/>
                  <a:gd name="connsiteX55" fmla="*/ 4026693 w 8682037"/>
                  <a:gd name="connsiteY55" fmla="*/ 750094 h 4305300"/>
                  <a:gd name="connsiteX56" fmla="*/ 3988593 w 8682037"/>
                  <a:gd name="connsiteY56" fmla="*/ 747713 h 4305300"/>
                  <a:gd name="connsiteX57" fmla="*/ 3969543 w 8682037"/>
                  <a:gd name="connsiteY57" fmla="*/ 700087 h 4305300"/>
                  <a:gd name="connsiteX58" fmla="*/ 3955256 w 8682037"/>
                  <a:gd name="connsiteY58" fmla="*/ 669131 h 4305300"/>
                  <a:gd name="connsiteX59" fmla="*/ 3910012 w 8682037"/>
                  <a:gd name="connsiteY59" fmla="*/ 678656 h 4305300"/>
                  <a:gd name="connsiteX60" fmla="*/ 3890962 w 8682037"/>
                  <a:gd name="connsiteY60" fmla="*/ 642938 h 4305300"/>
                  <a:gd name="connsiteX61" fmla="*/ 3912394 w 8682037"/>
                  <a:gd name="connsiteY61" fmla="*/ 588169 h 4305300"/>
                  <a:gd name="connsiteX62" fmla="*/ 3881437 w 8682037"/>
                  <a:gd name="connsiteY62" fmla="*/ 561975 h 4305300"/>
                  <a:gd name="connsiteX63" fmla="*/ 3898106 w 8682037"/>
                  <a:gd name="connsiteY63" fmla="*/ 519113 h 4305300"/>
                  <a:gd name="connsiteX64" fmla="*/ 3871912 w 8682037"/>
                  <a:gd name="connsiteY64" fmla="*/ 476250 h 4305300"/>
                  <a:gd name="connsiteX65" fmla="*/ 3867150 w 8682037"/>
                  <a:gd name="connsiteY65" fmla="*/ 414338 h 4305300"/>
                  <a:gd name="connsiteX66" fmla="*/ 3890962 w 8682037"/>
                  <a:gd name="connsiteY66" fmla="*/ 350043 h 4305300"/>
                  <a:gd name="connsiteX67" fmla="*/ 3852862 w 8682037"/>
                  <a:gd name="connsiteY67" fmla="*/ 352425 h 4305300"/>
                  <a:gd name="connsiteX68" fmla="*/ 3733800 w 8682037"/>
                  <a:gd name="connsiteY68" fmla="*/ 295275 h 4305300"/>
                  <a:gd name="connsiteX69" fmla="*/ 3695699 w 8682037"/>
                  <a:gd name="connsiteY69" fmla="*/ 300037 h 4305300"/>
                  <a:gd name="connsiteX70" fmla="*/ 3490912 w 8682037"/>
                  <a:gd name="connsiteY70" fmla="*/ 190500 h 4305300"/>
                  <a:gd name="connsiteX71" fmla="*/ 3386137 w 8682037"/>
                  <a:gd name="connsiteY71" fmla="*/ 159544 h 4305300"/>
                  <a:gd name="connsiteX72" fmla="*/ 3321843 w 8682037"/>
                  <a:gd name="connsiteY72" fmla="*/ 169068 h 4305300"/>
                  <a:gd name="connsiteX73" fmla="*/ 3290887 w 8682037"/>
                  <a:gd name="connsiteY73" fmla="*/ 104775 h 4305300"/>
                  <a:gd name="connsiteX74" fmla="*/ 3233737 w 8682037"/>
                  <a:gd name="connsiteY74" fmla="*/ 104775 h 4305300"/>
                  <a:gd name="connsiteX75" fmla="*/ 3095624 w 8682037"/>
                  <a:gd name="connsiteY75" fmla="*/ 0 h 4305300"/>
                  <a:gd name="connsiteX76" fmla="*/ 3062287 w 8682037"/>
                  <a:gd name="connsiteY76" fmla="*/ 59532 h 4305300"/>
                  <a:gd name="connsiteX77" fmla="*/ 3007518 w 8682037"/>
                  <a:gd name="connsiteY77" fmla="*/ 128588 h 4305300"/>
                  <a:gd name="connsiteX78" fmla="*/ 2964656 w 8682037"/>
                  <a:gd name="connsiteY78" fmla="*/ 145256 h 4305300"/>
                  <a:gd name="connsiteX79" fmla="*/ 2933700 w 8682037"/>
                  <a:gd name="connsiteY79" fmla="*/ 138113 h 4305300"/>
                  <a:gd name="connsiteX80" fmla="*/ 2909887 w 8682037"/>
                  <a:gd name="connsiteY80" fmla="*/ 166688 h 4305300"/>
                  <a:gd name="connsiteX81" fmla="*/ 2883693 w 8682037"/>
                  <a:gd name="connsiteY81" fmla="*/ 245269 h 4305300"/>
                  <a:gd name="connsiteX82" fmla="*/ 2840831 w 8682037"/>
                  <a:gd name="connsiteY82" fmla="*/ 242888 h 4305300"/>
                  <a:gd name="connsiteX83" fmla="*/ 2809874 w 8682037"/>
                  <a:gd name="connsiteY83" fmla="*/ 304800 h 4305300"/>
                  <a:gd name="connsiteX84" fmla="*/ 2805112 w 8682037"/>
                  <a:gd name="connsiteY84" fmla="*/ 369094 h 4305300"/>
                  <a:gd name="connsiteX85" fmla="*/ 2778919 w 8682037"/>
                  <a:gd name="connsiteY85" fmla="*/ 407194 h 4305300"/>
                  <a:gd name="connsiteX86" fmla="*/ 2805112 w 8682037"/>
                  <a:gd name="connsiteY86" fmla="*/ 466725 h 4305300"/>
                  <a:gd name="connsiteX87" fmla="*/ 2807493 w 8682037"/>
                  <a:gd name="connsiteY87" fmla="*/ 535781 h 4305300"/>
                  <a:gd name="connsiteX88" fmla="*/ 2836068 w 8682037"/>
                  <a:gd name="connsiteY88" fmla="*/ 588169 h 4305300"/>
                  <a:gd name="connsiteX89" fmla="*/ 2883694 w 8682037"/>
                  <a:gd name="connsiteY89" fmla="*/ 642938 h 4305300"/>
                  <a:gd name="connsiteX90" fmla="*/ 2833687 w 8682037"/>
                  <a:gd name="connsiteY90" fmla="*/ 781050 h 4305300"/>
                  <a:gd name="connsiteX91" fmla="*/ 2764631 w 8682037"/>
                  <a:gd name="connsiteY91" fmla="*/ 847725 h 4305300"/>
                  <a:gd name="connsiteX92" fmla="*/ 2693193 w 8682037"/>
                  <a:gd name="connsiteY92" fmla="*/ 842963 h 4305300"/>
                  <a:gd name="connsiteX93" fmla="*/ 2655093 w 8682037"/>
                  <a:gd name="connsiteY93" fmla="*/ 900113 h 4305300"/>
                  <a:gd name="connsiteX94" fmla="*/ 2595562 w 8682037"/>
                  <a:gd name="connsiteY94" fmla="*/ 914400 h 4305300"/>
                  <a:gd name="connsiteX95" fmla="*/ 2526506 w 8682037"/>
                  <a:gd name="connsiteY95" fmla="*/ 854869 h 4305300"/>
                  <a:gd name="connsiteX96" fmla="*/ 2471737 w 8682037"/>
                  <a:gd name="connsiteY96" fmla="*/ 826294 h 4305300"/>
                  <a:gd name="connsiteX97" fmla="*/ 2428875 w 8682037"/>
                  <a:gd name="connsiteY97" fmla="*/ 840581 h 4305300"/>
                  <a:gd name="connsiteX98" fmla="*/ 2376487 w 8682037"/>
                  <a:gd name="connsiteY98" fmla="*/ 823913 h 4305300"/>
                  <a:gd name="connsiteX99" fmla="*/ 2309812 w 8682037"/>
                  <a:gd name="connsiteY99" fmla="*/ 769144 h 4305300"/>
                  <a:gd name="connsiteX100" fmla="*/ 2264568 w 8682037"/>
                  <a:gd name="connsiteY100" fmla="*/ 781050 h 4305300"/>
                  <a:gd name="connsiteX101" fmla="*/ 2243137 w 8682037"/>
                  <a:gd name="connsiteY101" fmla="*/ 750094 h 4305300"/>
                  <a:gd name="connsiteX102" fmla="*/ 2185987 w 8682037"/>
                  <a:gd name="connsiteY102" fmla="*/ 790575 h 4305300"/>
                  <a:gd name="connsiteX103" fmla="*/ 2069306 w 8682037"/>
                  <a:gd name="connsiteY103" fmla="*/ 769144 h 4305300"/>
                  <a:gd name="connsiteX104" fmla="*/ 2019300 w 8682037"/>
                  <a:gd name="connsiteY104" fmla="*/ 716756 h 4305300"/>
                  <a:gd name="connsiteX105" fmla="*/ 1976437 w 8682037"/>
                  <a:gd name="connsiteY105" fmla="*/ 702469 h 4305300"/>
                  <a:gd name="connsiteX106" fmla="*/ 1933575 w 8682037"/>
                  <a:gd name="connsiteY106" fmla="*/ 728663 h 4305300"/>
                  <a:gd name="connsiteX107" fmla="*/ 1881187 w 8682037"/>
                  <a:gd name="connsiteY107" fmla="*/ 638175 h 4305300"/>
                  <a:gd name="connsiteX108" fmla="*/ 1871662 w 8682037"/>
                  <a:gd name="connsiteY108" fmla="*/ 490537 h 4305300"/>
                  <a:gd name="connsiteX109" fmla="*/ 1819274 w 8682037"/>
                  <a:gd name="connsiteY109" fmla="*/ 483393 h 4305300"/>
                  <a:gd name="connsiteX110" fmla="*/ 1728787 w 8682037"/>
                  <a:gd name="connsiteY110" fmla="*/ 473869 h 4305300"/>
                  <a:gd name="connsiteX111" fmla="*/ 1674018 w 8682037"/>
                  <a:gd name="connsiteY111" fmla="*/ 435769 h 4305300"/>
                  <a:gd name="connsiteX112" fmla="*/ 1604962 w 8682037"/>
                  <a:gd name="connsiteY112" fmla="*/ 445294 h 4305300"/>
                  <a:gd name="connsiteX113" fmla="*/ 1559718 w 8682037"/>
                  <a:gd name="connsiteY113" fmla="*/ 419100 h 4305300"/>
                  <a:gd name="connsiteX114" fmla="*/ 1550194 w 8682037"/>
                  <a:gd name="connsiteY114" fmla="*/ 347663 h 4305300"/>
                  <a:gd name="connsiteX115" fmla="*/ 1526381 w 8682037"/>
                  <a:gd name="connsiteY115" fmla="*/ 333375 h 4305300"/>
                  <a:gd name="connsiteX116" fmla="*/ 1488281 w 8682037"/>
                  <a:gd name="connsiteY116" fmla="*/ 380999 h 4305300"/>
                  <a:gd name="connsiteX117" fmla="*/ 1409699 w 8682037"/>
                  <a:gd name="connsiteY117" fmla="*/ 307181 h 4305300"/>
                  <a:gd name="connsiteX118" fmla="*/ 1369218 w 8682037"/>
                  <a:gd name="connsiteY118" fmla="*/ 347663 h 4305300"/>
                  <a:gd name="connsiteX119" fmla="*/ 1293018 w 8682037"/>
                  <a:gd name="connsiteY119" fmla="*/ 333375 h 4305300"/>
                  <a:gd name="connsiteX120" fmla="*/ 1214437 w 8682037"/>
                  <a:gd name="connsiteY120" fmla="*/ 359569 h 4305300"/>
                  <a:gd name="connsiteX121" fmla="*/ 1154906 w 8682037"/>
                  <a:gd name="connsiteY121" fmla="*/ 407193 h 4305300"/>
                  <a:gd name="connsiteX122" fmla="*/ 1081087 w 8682037"/>
                  <a:gd name="connsiteY122" fmla="*/ 419100 h 4305300"/>
                  <a:gd name="connsiteX123" fmla="*/ 1045368 w 8682037"/>
                  <a:gd name="connsiteY123" fmla="*/ 411956 h 4305300"/>
                  <a:gd name="connsiteX124" fmla="*/ 966788 w 8682037"/>
                  <a:gd name="connsiteY124" fmla="*/ 442913 h 4305300"/>
                  <a:gd name="connsiteX125" fmla="*/ 945356 w 8682037"/>
                  <a:gd name="connsiteY125" fmla="*/ 471488 h 4305300"/>
                  <a:gd name="connsiteX126" fmla="*/ 878681 w 8682037"/>
                  <a:gd name="connsiteY126" fmla="*/ 461963 h 4305300"/>
                  <a:gd name="connsiteX127" fmla="*/ 809625 w 8682037"/>
                  <a:gd name="connsiteY127" fmla="*/ 485775 h 4305300"/>
                  <a:gd name="connsiteX128" fmla="*/ 754856 w 8682037"/>
                  <a:gd name="connsiteY128" fmla="*/ 523875 h 4305300"/>
                  <a:gd name="connsiteX129" fmla="*/ 659606 w 8682037"/>
                  <a:gd name="connsiteY129" fmla="*/ 538162 h 4305300"/>
                  <a:gd name="connsiteX130" fmla="*/ 645318 w 8682037"/>
                  <a:gd name="connsiteY130" fmla="*/ 559594 h 4305300"/>
                  <a:gd name="connsiteX131" fmla="*/ 657224 w 8682037"/>
                  <a:gd name="connsiteY131" fmla="*/ 604838 h 4305300"/>
                  <a:gd name="connsiteX132" fmla="*/ 557213 w 8682037"/>
                  <a:gd name="connsiteY132" fmla="*/ 657225 h 4305300"/>
                  <a:gd name="connsiteX133" fmla="*/ 519112 w 8682037"/>
                  <a:gd name="connsiteY133" fmla="*/ 628649 h 4305300"/>
                  <a:gd name="connsiteX134" fmla="*/ 488156 w 8682037"/>
                  <a:gd name="connsiteY134" fmla="*/ 685800 h 4305300"/>
                  <a:gd name="connsiteX135" fmla="*/ 431006 w 8682037"/>
                  <a:gd name="connsiteY135" fmla="*/ 647700 h 4305300"/>
                  <a:gd name="connsiteX136" fmla="*/ 0 w 8682037"/>
                  <a:gd name="connsiteY136" fmla="*/ 721519 h 4305300"/>
                  <a:gd name="connsiteX137" fmla="*/ 96837 w 8682037"/>
                  <a:gd name="connsiteY137" fmla="*/ 712788 h 4305300"/>
                  <a:gd name="connsiteX138" fmla="*/ 142875 w 8682037"/>
                  <a:gd name="connsiteY138" fmla="*/ 740568 h 4305300"/>
                  <a:gd name="connsiteX139" fmla="*/ 109537 w 8682037"/>
                  <a:gd name="connsiteY139" fmla="*/ 769144 h 4305300"/>
                  <a:gd name="connsiteX140" fmla="*/ 114300 w 8682037"/>
                  <a:gd name="connsiteY140" fmla="*/ 812006 h 4305300"/>
                  <a:gd name="connsiteX141" fmla="*/ 80962 w 8682037"/>
                  <a:gd name="connsiteY141" fmla="*/ 816769 h 4305300"/>
                  <a:gd name="connsiteX142" fmla="*/ 85725 w 8682037"/>
                  <a:gd name="connsiteY142" fmla="*/ 840581 h 4305300"/>
                  <a:gd name="connsiteX143" fmla="*/ 142874 w 8682037"/>
                  <a:gd name="connsiteY143" fmla="*/ 914400 h 4305300"/>
                  <a:gd name="connsiteX144" fmla="*/ 104775 w 8682037"/>
                  <a:gd name="connsiteY144" fmla="*/ 962025 h 4305300"/>
                  <a:gd name="connsiteX145" fmla="*/ 159543 w 8682037"/>
                  <a:gd name="connsiteY145" fmla="*/ 997744 h 4305300"/>
                  <a:gd name="connsiteX146" fmla="*/ 250031 w 8682037"/>
                  <a:gd name="connsiteY146" fmla="*/ 1085850 h 4305300"/>
                  <a:gd name="connsiteX147" fmla="*/ 252412 w 8682037"/>
                  <a:gd name="connsiteY147" fmla="*/ 1145381 h 4305300"/>
                  <a:gd name="connsiteX148" fmla="*/ 388143 w 8682037"/>
                  <a:gd name="connsiteY148" fmla="*/ 1278732 h 4305300"/>
                  <a:gd name="connsiteX149" fmla="*/ 442912 w 8682037"/>
                  <a:gd name="connsiteY149" fmla="*/ 1254919 h 4305300"/>
                  <a:gd name="connsiteX150" fmla="*/ 481012 w 8682037"/>
                  <a:gd name="connsiteY150" fmla="*/ 1281112 h 4305300"/>
                  <a:gd name="connsiteX151" fmla="*/ 495300 w 8682037"/>
                  <a:gd name="connsiteY151" fmla="*/ 1331118 h 4305300"/>
                  <a:gd name="connsiteX152" fmla="*/ 538162 w 8682037"/>
                  <a:gd name="connsiteY152" fmla="*/ 1366838 h 4305300"/>
                  <a:gd name="connsiteX153" fmla="*/ 578643 w 8682037"/>
                  <a:gd name="connsiteY153" fmla="*/ 1354931 h 4305300"/>
                  <a:gd name="connsiteX154" fmla="*/ 597693 w 8682037"/>
                  <a:gd name="connsiteY154" fmla="*/ 1412081 h 4305300"/>
                  <a:gd name="connsiteX155" fmla="*/ 645318 w 8682037"/>
                  <a:gd name="connsiteY155" fmla="*/ 1454944 h 4305300"/>
                  <a:gd name="connsiteX156" fmla="*/ 669131 w 8682037"/>
                  <a:gd name="connsiteY156" fmla="*/ 1557338 h 4305300"/>
                  <a:gd name="connsiteX157" fmla="*/ 666750 w 8682037"/>
                  <a:gd name="connsiteY157" fmla="*/ 1604963 h 4305300"/>
                  <a:gd name="connsiteX158" fmla="*/ 702468 w 8682037"/>
                  <a:gd name="connsiteY158" fmla="*/ 1704975 h 4305300"/>
                  <a:gd name="connsiteX159" fmla="*/ 747712 w 8682037"/>
                  <a:gd name="connsiteY159" fmla="*/ 1762125 h 4305300"/>
                  <a:gd name="connsiteX160" fmla="*/ 764380 w 8682037"/>
                  <a:gd name="connsiteY160" fmla="*/ 1919287 h 4305300"/>
                  <a:gd name="connsiteX161" fmla="*/ 731043 w 8682037"/>
                  <a:gd name="connsiteY161" fmla="*/ 1981200 h 4305300"/>
                  <a:gd name="connsiteX162" fmla="*/ 700087 w 8682037"/>
                  <a:gd name="connsiteY162" fmla="*/ 2057400 h 4305300"/>
                  <a:gd name="connsiteX163" fmla="*/ 714375 w 8682037"/>
                  <a:gd name="connsiteY163" fmla="*/ 2114550 h 4305300"/>
                  <a:gd name="connsiteX164" fmla="*/ 616743 w 8682037"/>
                  <a:gd name="connsiteY164" fmla="*/ 2221707 h 4305300"/>
                  <a:gd name="connsiteX165" fmla="*/ 573881 w 8682037"/>
                  <a:gd name="connsiteY165" fmla="*/ 2336006 h 4305300"/>
                  <a:gd name="connsiteX166" fmla="*/ 607218 w 8682037"/>
                  <a:gd name="connsiteY166" fmla="*/ 2376488 h 4305300"/>
                  <a:gd name="connsiteX167" fmla="*/ 590550 w 8682037"/>
                  <a:gd name="connsiteY167" fmla="*/ 2405063 h 4305300"/>
                  <a:gd name="connsiteX168" fmla="*/ 621506 w 8682037"/>
                  <a:gd name="connsiteY168" fmla="*/ 2462213 h 4305300"/>
                  <a:gd name="connsiteX169" fmla="*/ 650081 w 8682037"/>
                  <a:gd name="connsiteY169" fmla="*/ 2462213 h 4305300"/>
                  <a:gd name="connsiteX170" fmla="*/ 812006 w 8682037"/>
                  <a:gd name="connsiteY170" fmla="*/ 2564606 h 4305300"/>
                  <a:gd name="connsiteX171" fmla="*/ 916781 w 8682037"/>
                  <a:gd name="connsiteY171" fmla="*/ 2562225 h 4305300"/>
                  <a:gd name="connsiteX172" fmla="*/ 995362 w 8682037"/>
                  <a:gd name="connsiteY172" fmla="*/ 2616994 h 4305300"/>
                  <a:gd name="connsiteX173" fmla="*/ 1126330 w 8682037"/>
                  <a:gd name="connsiteY173" fmla="*/ 2619375 h 4305300"/>
                  <a:gd name="connsiteX174" fmla="*/ 1316830 w 8682037"/>
                  <a:gd name="connsiteY174" fmla="*/ 2688431 h 4305300"/>
                  <a:gd name="connsiteX175" fmla="*/ 1519237 w 8682037"/>
                  <a:gd name="connsiteY175" fmla="*/ 2838450 h 4305300"/>
                  <a:gd name="connsiteX176" fmla="*/ 1552574 w 8682037"/>
                  <a:gd name="connsiteY176" fmla="*/ 2905125 h 4305300"/>
                  <a:gd name="connsiteX177" fmla="*/ 1719262 w 8682037"/>
                  <a:gd name="connsiteY177" fmla="*/ 3031331 h 4305300"/>
                  <a:gd name="connsiteX178" fmla="*/ 1790700 w 8682037"/>
                  <a:gd name="connsiteY178" fmla="*/ 3026569 h 4305300"/>
                  <a:gd name="connsiteX179" fmla="*/ 1826419 w 8682037"/>
                  <a:gd name="connsiteY179" fmla="*/ 3050381 h 4305300"/>
                  <a:gd name="connsiteX180" fmla="*/ 1797843 w 8682037"/>
                  <a:gd name="connsiteY180" fmla="*/ 3090863 h 4305300"/>
                  <a:gd name="connsiteX181" fmla="*/ 1804987 w 8682037"/>
                  <a:gd name="connsiteY181" fmla="*/ 3143250 h 4305300"/>
                  <a:gd name="connsiteX182" fmla="*/ 1857375 w 8682037"/>
                  <a:gd name="connsiteY182" fmla="*/ 3169444 h 4305300"/>
                  <a:gd name="connsiteX183" fmla="*/ 1919287 w 8682037"/>
                  <a:gd name="connsiteY183" fmla="*/ 3393282 h 4305300"/>
                  <a:gd name="connsiteX184" fmla="*/ 1909762 w 8682037"/>
                  <a:gd name="connsiteY184" fmla="*/ 3457575 h 4305300"/>
                  <a:gd name="connsiteX185" fmla="*/ 2045493 w 8682037"/>
                  <a:gd name="connsiteY185" fmla="*/ 3624263 h 4305300"/>
                  <a:gd name="connsiteX186" fmla="*/ 2064543 w 8682037"/>
                  <a:gd name="connsiteY186" fmla="*/ 3674269 h 4305300"/>
                  <a:gd name="connsiteX187" fmla="*/ 2038350 w 8682037"/>
                  <a:gd name="connsiteY187" fmla="*/ 3693319 h 4305300"/>
                  <a:gd name="connsiteX188" fmla="*/ 2140743 w 8682037"/>
                  <a:gd name="connsiteY188" fmla="*/ 3702844 h 4305300"/>
                  <a:gd name="connsiteX189" fmla="*/ 2252662 w 8682037"/>
                  <a:gd name="connsiteY189" fmla="*/ 3690938 h 4305300"/>
                  <a:gd name="connsiteX190" fmla="*/ 2531268 w 8682037"/>
                  <a:gd name="connsiteY190" fmla="*/ 3774281 h 4305300"/>
                  <a:gd name="connsiteX191" fmla="*/ 2938462 w 8682037"/>
                  <a:gd name="connsiteY191" fmla="*/ 3855244 h 4305300"/>
                  <a:gd name="connsiteX192" fmla="*/ 3136106 w 8682037"/>
                  <a:gd name="connsiteY192" fmla="*/ 3824287 h 4305300"/>
                  <a:gd name="connsiteX193" fmla="*/ 3181350 w 8682037"/>
                  <a:gd name="connsiteY193" fmla="*/ 3836193 h 4305300"/>
                  <a:gd name="connsiteX194" fmla="*/ 3236118 w 8682037"/>
                  <a:gd name="connsiteY194" fmla="*/ 3812382 h 4305300"/>
                  <a:gd name="connsiteX195" fmla="*/ 3629024 w 8682037"/>
                  <a:gd name="connsiteY195" fmla="*/ 3902869 h 4305300"/>
                  <a:gd name="connsiteX196" fmla="*/ 3712369 w 8682037"/>
                  <a:gd name="connsiteY196" fmla="*/ 4000500 h 4305300"/>
                  <a:gd name="connsiteX197" fmla="*/ 3831431 w 8682037"/>
                  <a:gd name="connsiteY197" fmla="*/ 4071938 h 4305300"/>
                  <a:gd name="connsiteX198" fmla="*/ 3890962 w 8682037"/>
                  <a:gd name="connsiteY198" fmla="*/ 4055269 h 4305300"/>
                  <a:gd name="connsiteX199" fmla="*/ 4241005 w 8682037"/>
                  <a:gd name="connsiteY199" fmla="*/ 4229100 h 4305300"/>
                  <a:gd name="connsiteX200" fmla="*/ 4467225 w 8682037"/>
                  <a:gd name="connsiteY200" fmla="*/ 4200525 h 4305300"/>
                  <a:gd name="connsiteX201" fmla="*/ 4476750 w 8682037"/>
                  <a:gd name="connsiteY201" fmla="*/ 4279106 h 4305300"/>
                  <a:gd name="connsiteX202" fmla="*/ 4562475 w 8682037"/>
                  <a:gd name="connsiteY202" fmla="*/ 4274343 h 4305300"/>
                  <a:gd name="connsiteX203" fmla="*/ 4641056 w 8682037"/>
                  <a:gd name="connsiteY203" fmla="*/ 4305300 h 4305300"/>
                  <a:gd name="connsiteX204" fmla="*/ 4683918 w 8682037"/>
                  <a:gd name="connsiteY204" fmla="*/ 4245769 h 4305300"/>
                  <a:gd name="connsiteX205" fmla="*/ 5355431 w 8682037"/>
                  <a:gd name="connsiteY205" fmla="*/ 3926681 h 4305300"/>
                  <a:gd name="connsiteX206" fmla="*/ 5443537 w 8682037"/>
                  <a:gd name="connsiteY206" fmla="*/ 3955257 h 4305300"/>
                  <a:gd name="connsiteX207" fmla="*/ 5574506 w 8682037"/>
                  <a:gd name="connsiteY207" fmla="*/ 3926681 h 4305300"/>
                  <a:gd name="connsiteX208" fmla="*/ 5753099 w 8682037"/>
                  <a:gd name="connsiteY208" fmla="*/ 3943350 h 4305300"/>
                  <a:gd name="connsiteX209" fmla="*/ 5810250 w 8682037"/>
                  <a:gd name="connsiteY209" fmla="*/ 3917157 h 4305300"/>
                  <a:gd name="connsiteX210" fmla="*/ 5943599 w 8682037"/>
                  <a:gd name="connsiteY210" fmla="*/ 3914775 h 4305300"/>
                  <a:gd name="connsiteX211" fmla="*/ 6076949 w 8682037"/>
                  <a:gd name="connsiteY211" fmla="*/ 3817144 h 4305300"/>
                  <a:gd name="connsiteX212" fmla="*/ 6143624 w 8682037"/>
                  <a:gd name="connsiteY212" fmla="*/ 3810000 h 4305300"/>
                  <a:gd name="connsiteX213" fmla="*/ 6241256 w 8682037"/>
                  <a:gd name="connsiteY213" fmla="*/ 3736181 h 4305300"/>
                  <a:gd name="connsiteX214" fmla="*/ 6315075 w 8682037"/>
                  <a:gd name="connsiteY214" fmla="*/ 3667125 h 4305300"/>
                  <a:gd name="connsiteX215" fmla="*/ 6324600 w 8682037"/>
                  <a:gd name="connsiteY215" fmla="*/ 3605213 h 4305300"/>
                  <a:gd name="connsiteX216" fmla="*/ 6357937 w 8682037"/>
                  <a:gd name="connsiteY216" fmla="*/ 3536156 h 4305300"/>
                  <a:gd name="connsiteX217" fmla="*/ 6510337 w 8682037"/>
                  <a:gd name="connsiteY217" fmla="*/ 3429000 h 4305300"/>
                  <a:gd name="connsiteX218" fmla="*/ 6543675 w 8682037"/>
                  <a:gd name="connsiteY218" fmla="*/ 3433763 h 4305300"/>
                  <a:gd name="connsiteX219" fmla="*/ 6596062 w 8682037"/>
                  <a:gd name="connsiteY219" fmla="*/ 3355181 h 4305300"/>
                  <a:gd name="connsiteX220" fmla="*/ 6643687 w 8682037"/>
                  <a:gd name="connsiteY220" fmla="*/ 3317081 h 4305300"/>
                  <a:gd name="connsiteX221" fmla="*/ 6629400 w 8682037"/>
                  <a:gd name="connsiteY221" fmla="*/ 3248025 h 4305300"/>
                  <a:gd name="connsiteX222" fmla="*/ 6579393 w 8682037"/>
                  <a:gd name="connsiteY222" fmla="*/ 3217068 h 4305300"/>
                  <a:gd name="connsiteX223" fmla="*/ 6519862 w 8682037"/>
                  <a:gd name="connsiteY223" fmla="*/ 3162300 h 4305300"/>
                  <a:gd name="connsiteX224" fmla="*/ 6500812 w 8682037"/>
                  <a:gd name="connsiteY224" fmla="*/ 3105150 h 4305300"/>
                  <a:gd name="connsiteX225" fmla="*/ 6465093 w 8682037"/>
                  <a:gd name="connsiteY225" fmla="*/ 3071813 h 4305300"/>
                  <a:gd name="connsiteX226" fmla="*/ 6491287 w 8682037"/>
                  <a:gd name="connsiteY226" fmla="*/ 3019425 h 4305300"/>
                  <a:gd name="connsiteX227" fmla="*/ 6531768 w 8682037"/>
                  <a:gd name="connsiteY227" fmla="*/ 2840831 h 4305300"/>
                  <a:gd name="connsiteX228" fmla="*/ 6572250 w 8682037"/>
                  <a:gd name="connsiteY228" fmla="*/ 2774156 h 4305300"/>
                  <a:gd name="connsiteX229" fmla="*/ 6717506 w 8682037"/>
                  <a:gd name="connsiteY229" fmla="*/ 2757487 h 4305300"/>
                  <a:gd name="connsiteX230" fmla="*/ 6786562 w 8682037"/>
                  <a:gd name="connsiteY230" fmla="*/ 2814638 h 4305300"/>
                  <a:gd name="connsiteX231" fmla="*/ 6862762 w 8682037"/>
                  <a:gd name="connsiteY231" fmla="*/ 2838450 h 4305300"/>
                  <a:gd name="connsiteX232" fmla="*/ 7067549 w 8682037"/>
                  <a:gd name="connsiteY232" fmla="*/ 2843213 h 4305300"/>
                  <a:gd name="connsiteX233" fmla="*/ 7243762 w 8682037"/>
                  <a:gd name="connsiteY233" fmla="*/ 2705100 h 4305300"/>
                  <a:gd name="connsiteX234" fmla="*/ 7300912 w 8682037"/>
                  <a:gd name="connsiteY234" fmla="*/ 2614612 h 4305300"/>
                  <a:gd name="connsiteX235" fmla="*/ 7327106 w 8682037"/>
                  <a:gd name="connsiteY235" fmla="*/ 2531269 h 4305300"/>
                  <a:gd name="connsiteX236" fmla="*/ 7458074 w 8682037"/>
                  <a:gd name="connsiteY236" fmla="*/ 2531269 h 4305300"/>
                  <a:gd name="connsiteX237" fmla="*/ 7631906 w 8682037"/>
                  <a:gd name="connsiteY237" fmla="*/ 2474118 h 4305300"/>
                  <a:gd name="connsiteX238" fmla="*/ 7691437 w 8682037"/>
                  <a:gd name="connsiteY238" fmla="*/ 2362200 h 4305300"/>
                  <a:gd name="connsiteX239" fmla="*/ 7755731 w 8682037"/>
                  <a:gd name="connsiteY239" fmla="*/ 2326481 h 4305300"/>
                  <a:gd name="connsiteX240" fmla="*/ 7734300 w 8682037"/>
                  <a:gd name="connsiteY240" fmla="*/ 2281238 h 4305300"/>
                  <a:gd name="connsiteX241" fmla="*/ 7812881 w 8682037"/>
                  <a:gd name="connsiteY241" fmla="*/ 2112168 h 4305300"/>
                  <a:gd name="connsiteX242" fmla="*/ 7867650 w 8682037"/>
                  <a:gd name="connsiteY242" fmla="*/ 2052638 h 4305300"/>
                  <a:gd name="connsiteX243" fmla="*/ 7905750 w 8682037"/>
                  <a:gd name="connsiteY243" fmla="*/ 2047875 h 4305300"/>
                  <a:gd name="connsiteX244" fmla="*/ 7950993 w 8682037"/>
                  <a:gd name="connsiteY244" fmla="*/ 2052638 h 4305300"/>
                  <a:gd name="connsiteX245" fmla="*/ 8015287 w 8682037"/>
                  <a:gd name="connsiteY245" fmla="*/ 2019300 h 4305300"/>
                  <a:gd name="connsiteX246" fmla="*/ 8024812 w 8682037"/>
                  <a:gd name="connsiteY246" fmla="*/ 1955006 h 4305300"/>
                  <a:gd name="connsiteX247" fmla="*/ 8065292 w 8682037"/>
                  <a:gd name="connsiteY247" fmla="*/ 1919288 h 4305300"/>
                  <a:gd name="connsiteX248" fmla="*/ 8124825 w 8682037"/>
                  <a:gd name="connsiteY248" fmla="*/ 1959768 h 4305300"/>
                  <a:gd name="connsiteX249" fmla="*/ 8151019 w 8682037"/>
                  <a:gd name="connsiteY249" fmla="*/ 1909762 h 4305300"/>
                  <a:gd name="connsiteX250" fmla="*/ 8246268 w 8682037"/>
                  <a:gd name="connsiteY250" fmla="*/ 1840706 h 4305300"/>
                  <a:gd name="connsiteX251" fmla="*/ 8308181 w 8682037"/>
                  <a:gd name="connsiteY251" fmla="*/ 1847850 h 4305300"/>
                  <a:gd name="connsiteX252" fmla="*/ 8358187 w 8682037"/>
                  <a:gd name="connsiteY252" fmla="*/ 1828800 h 4305300"/>
                  <a:gd name="connsiteX253" fmla="*/ 8396287 w 8682037"/>
                  <a:gd name="connsiteY253" fmla="*/ 1800225 h 4305300"/>
                  <a:gd name="connsiteX254" fmla="*/ 8429625 w 8682037"/>
                  <a:gd name="connsiteY254" fmla="*/ 1797844 h 4305300"/>
                  <a:gd name="connsiteX255" fmla="*/ 8465343 w 8682037"/>
                  <a:gd name="connsiteY255" fmla="*/ 1828800 h 4305300"/>
                  <a:gd name="connsiteX256" fmla="*/ 8524875 w 8682037"/>
                  <a:gd name="connsiteY256" fmla="*/ 1828800 h 4305300"/>
                  <a:gd name="connsiteX257" fmla="*/ 8562974 w 8682037"/>
                  <a:gd name="connsiteY257" fmla="*/ 1809750 h 4305300"/>
                  <a:gd name="connsiteX258" fmla="*/ 8646318 w 8682037"/>
                  <a:gd name="connsiteY258" fmla="*/ 1812132 h 4305300"/>
                  <a:gd name="connsiteX259" fmla="*/ 8677275 w 8682037"/>
                  <a:gd name="connsiteY259" fmla="*/ 1766888 h 4305300"/>
                  <a:gd name="connsiteX260" fmla="*/ 8682037 w 8682037"/>
                  <a:gd name="connsiteY260" fmla="*/ 1704975 h 4305300"/>
                  <a:gd name="connsiteX261" fmla="*/ 8632030 w 8682037"/>
                  <a:gd name="connsiteY261" fmla="*/ 1664494 h 4305300"/>
                  <a:gd name="connsiteX262" fmla="*/ 8615362 w 8682037"/>
                  <a:gd name="connsiteY262" fmla="*/ 1609725 h 4305300"/>
                  <a:gd name="connsiteX263" fmla="*/ 8524875 w 8682037"/>
                  <a:gd name="connsiteY263" fmla="*/ 1547813 h 4305300"/>
                  <a:gd name="connsiteX264" fmla="*/ 8484393 w 8682037"/>
                  <a:gd name="connsiteY264" fmla="*/ 1526381 h 4305300"/>
                  <a:gd name="connsiteX265" fmla="*/ 8446293 w 8682037"/>
                  <a:gd name="connsiteY265" fmla="*/ 1481138 h 4305300"/>
                  <a:gd name="connsiteX266" fmla="*/ 8415337 w 8682037"/>
                  <a:gd name="connsiteY266" fmla="*/ 1478756 h 4305300"/>
                  <a:gd name="connsiteX267" fmla="*/ 8398668 w 8682037"/>
                  <a:gd name="connsiteY267" fmla="*/ 1426369 h 4305300"/>
                  <a:gd name="connsiteX268" fmla="*/ 8358187 w 8682037"/>
                  <a:gd name="connsiteY268" fmla="*/ 1409700 h 4305300"/>
                  <a:gd name="connsiteX269" fmla="*/ 8358187 w 8682037"/>
                  <a:gd name="connsiteY269" fmla="*/ 1409700 h 4305300"/>
                  <a:gd name="connsiteX270" fmla="*/ 8317706 w 8682037"/>
                  <a:gd name="connsiteY270" fmla="*/ 1414463 h 4305300"/>
                  <a:gd name="connsiteX271" fmla="*/ 8231980 w 8682037"/>
                  <a:gd name="connsiteY271" fmla="*/ 1340644 h 4305300"/>
                  <a:gd name="connsiteX272" fmla="*/ 8051006 w 8682037"/>
                  <a:gd name="connsiteY272" fmla="*/ 1340643 h 4305300"/>
                  <a:gd name="connsiteX273" fmla="*/ 7998618 w 8682037"/>
                  <a:gd name="connsiteY273" fmla="*/ 1378744 h 4305300"/>
                  <a:gd name="connsiteX274" fmla="*/ 7948612 w 8682037"/>
                  <a:gd name="connsiteY274" fmla="*/ 1457325 h 4305300"/>
                  <a:gd name="connsiteX275" fmla="*/ 7965281 w 8682037"/>
                  <a:gd name="connsiteY275" fmla="*/ 1478756 h 4305300"/>
                  <a:gd name="connsiteX276" fmla="*/ 7920037 w 8682037"/>
                  <a:gd name="connsiteY276" fmla="*/ 1528762 h 4305300"/>
                  <a:gd name="connsiteX277" fmla="*/ 7770018 w 8682037"/>
                  <a:gd name="connsiteY277" fmla="*/ 1452562 h 4305300"/>
                  <a:gd name="connsiteX278" fmla="*/ 7679531 w 8682037"/>
                  <a:gd name="connsiteY278" fmla="*/ 1488281 h 4305300"/>
                  <a:gd name="connsiteX279" fmla="*/ 7605712 w 8682037"/>
                  <a:gd name="connsiteY279" fmla="*/ 1485900 h 4305300"/>
                  <a:gd name="connsiteX280" fmla="*/ 7548562 w 8682037"/>
                  <a:gd name="connsiteY280" fmla="*/ 1581150 h 4305300"/>
                  <a:gd name="connsiteX281" fmla="*/ 7410450 w 8682037"/>
                  <a:gd name="connsiteY281" fmla="*/ 1483519 h 4305300"/>
                  <a:gd name="connsiteX0" fmla="*/ 7453313 w 8724900"/>
                  <a:gd name="connsiteY0" fmla="*/ 1483519 h 4305300"/>
                  <a:gd name="connsiteX1" fmla="*/ 7446169 w 8724900"/>
                  <a:gd name="connsiteY1" fmla="*/ 1428750 h 4305300"/>
                  <a:gd name="connsiteX2" fmla="*/ 7512844 w 8724900"/>
                  <a:gd name="connsiteY2" fmla="*/ 1354931 h 4305300"/>
                  <a:gd name="connsiteX3" fmla="*/ 7496175 w 8724900"/>
                  <a:gd name="connsiteY3" fmla="*/ 1283494 h 4305300"/>
                  <a:gd name="connsiteX4" fmla="*/ 7510463 w 8724900"/>
                  <a:gd name="connsiteY4" fmla="*/ 1188244 h 4305300"/>
                  <a:gd name="connsiteX5" fmla="*/ 7548563 w 8724900"/>
                  <a:gd name="connsiteY5" fmla="*/ 1131094 h 4305300"/>
                  <a:gd name="connsiteX6" fmla="*/ 7529512 w 8724900"/>
                  <a:gd name="connsiteY6" fmla="*/ 1097756 h 4305300"/>
                  <a:gd name="connsiteX7" fmla="*/ 7627143 w 8724900"/>
                  <a:gd name="connsiteY7" fmla="*/ 697706 h 4305300"/>
                  <a:gd name="connsiteX8" fmla="*/ 7620000 w 8724900"/>
                  <a:gd name="connsiteY8" fmla="*/ 669131 h 4305300"/>
                  <a:gd name="connsiteX9" fmla="*/ 7491413 w 8724900"/>
                  <a:gd name="connsiteY9" fmla="*/ 647700 h 4305300"/>
                  <a:gd name="connsiteX10" fmla="*/ 7308057 w 8724900"/>
                  <a:gd name="connsiteY10" fmla="*/ 726281 h 4305300"/>
                  <a:gd name="connsiteX11" fmla="*/ 7150893 w 8724900"/>
                  <a:gd name="connsiteY11" fmla="*/ 611981 h 4305300"/>
                  <a:gd name="connsiteX12" fmla="*/ 7074694 w 8724900"/>
                  <a:gd name="connsiteY12" fmla="*/ 619125 h 4305300"/>
                  <a:gd name="connsiteX13" fmla="*/ 7000875 w 8724900"/>
                  <a:gd name="connsiteY13" fmla="*/ 614363 h 4305300"/>
                  <a:gd name="connsiteX14" fmla="*/ 6862763 w 8724900"/>
                  <a:gd name="connsiteY14" fmla="*/ 719138 h 4305300"/>
                  <a:gd name="connsiteX15" fmla="*/ 6755606 w 8724900"/>
                  <a:gd name="connsiteY15" fmla="*/ 826294 h 4305300"/>
                  <a:gd name="connsiteX16" fmla="*/ 6712744 w 8724900"/>
                  <a:gd name="connsiteY16" fmla="*/ 895350 h 4305300"/>
                  <a:gd name="connsiteX17" fmla="*/ 6719888 w 8724900"/>
                  <a:gd name="connsiteY17" fmla="*/ 931069 h 4305300"/>
                  <a:gd name="connsiteX18" fmla="*/ 6657975 w 8724900"/>
                  <a:gd name="connsiteY18" fmla="*/ 942975 h 4305300"/>
                  <a:gd name="connsiteX19" fmla="*/ 6677025 w 8724900"/>
                  <a:gd name="connsiteY19" fmla="*/ 942975 h 4305300"/>
                  <a:gd name="connsiteX20" fmla="*/ 6643688 w 8724900"/>
                  <a:gd name="connsiteY20" fmla="*/ 973931 h 4305300"/>
                  <a:gd name="connsiteX21" fmla="*/ 6543675 w 8724900"/>
                  <a:gd name="connsiteY21" fmla="*/ 973932 h 4305300"/>
                  <a:gd name="connsiteX22" fmla="*/ 6448425 w 8724900"/>
                  <a:gd name="connsiteY22" fmla="*/ 1028700 h 4305300"/>
                  <a:gd name="connsiteX23" fmla="*/ 6367463 w 8724900"/>
                  <a:gd name="connsiteY23" fmla="*/ 1038225 h 4305300"/>
                  <a:gd name="connsiteX24" fmla="*/ 6326981 w 8724900"/>
                  <a:gd name="connsiteY24" fmla="*/ 1071563 h 4305300"/>
                  <a:gd name="connsiteX25" fmla="*/ 6276975 w 8724900"/>
                  <a:gd name="connsiteY25" fmla="*/ 1076325 h 4305300"/>
                  <a:gd name="connsiteX26" fmla="*/ 6155532 w 8724900"/>
                  <a:gd name="connsiteY26" fmla="*/ 1169194 h 4305300"/>
                  <a:gd name="connsiteX27" fmla="*/ 6096000 w 8724900"/>
                  <a:gd name="connsiteY27" fmla="*/ 1173956 h 4305300"/>
                  <a:gd name="connsiteX28" fmla="*/ 6043613 w 8724900"/>
                  <a:gd name="connsiteY28" fmla="*/ 1138238 h 4305300"/>
                  <a:gd name="connsiteX29" fmla="*/ 6017419 w 8724900"/>
                  <a:gd name="connsiteY29" fmla="*/ 1173956 h 4305300"/>
                  <a:gd name="connsiteX30" fmla="*/ 5819775 w 8724900"/>
                  <a:gd name="connsiteY30" fmla="*/ 1166813 h 4305300"/>
                  <a:gd name="connsiteX31" fmla="*/ 5757863 w 8724900"/>
                  <a:gd name="connsiteY31" fmla="*/ 1121569 h 4305300"/>
                  <a:gd name="connsiteX32" fmla="*/ 5560219 w 8724900"/>
                  <a:gd name="connsiteY32" fmla="*/ 1138238 h 4305300"/>
                  <a:gd name="connsiteX33" fmla="*/ 5472113 w 8724900"/>
                  <a:gd name="connsiteY33" fmla="*/ 1054893 h 4305300"/>
                  <a:gd name="connsiteX34" fmla="*/ 5395913 w 8724900"/>
                  <a:gd name="connsiteY34" fmla="*/ 1009650 h 4305300"/>
                  <a:gd name="connsiteX35" fmla="*/ 5398293 w 8724900"/>
                  <a:gd name="connsiteY35" fmla="*/ 952500 h 4305300"/>
                  <a:gd name="connsiteX36" fmla="*/ 5379244 w 8724900"/>
                  <a:gd name="connsiteY36" fmla="*/ 909637 h 4305300"/>
                  <a:gd name="connsiteX37" fmla="*/ 5283994 w 8724900"/>
                  <a:gd name="connsiteY37" fmla="*/ 912019 h 4305300"/>
                  <a:gd name="connsiteX38" fmla="*/ 5188744 w 8724900"/>
                  <a:gd name="connsiteY38" fmla="*/ 890588 h 4305300"/>
                  <a:gd name="connsiteX39" fmla="*/ 5119687 w 8724900"/>
                  <a:gd name="connsiteY39" fmla="*/ 823912 h 4305300"/>
                  <a:gd name="connsiteX40" fmla="*/ 5083969 w 8724900"/>
                  <a:gd name="connsiteY40" fmla="*/ 781050 h 4305300"/>
                  <a:gd name="connsiteX41" fmla="*/ 5003006 w 8724900"/>
                  <a:gd name="connsiteY41" fmla="*/ 757237 h 4305300"/>
                  <a:gd name="connsiteX42" fmla="*/ 4929188 w 8724900"/>
                  <a:gd name="connsiteY42" fmla="*/ 769143 h 4305300"/>
                  <a:gd name="connsiteX43" fmla="*/ 4872037 w 8724900"/>
                  <a:gd name="connsiteY43" fmla="*/ 716756 h 4305300"/>
                  <a:gd name="connsiteX44" fmla="*/ 4776788 w 8724900"/>
                  <a:gd name="connsiteY44" fmla="*/ 728663 h 4305300"/>
                  <a:gd name="connsiteX45" fmla="*/ 4724400 w 8724900"/>
                  <a:gd name="connsiteY45" fmla="*/ 702469 h 4305300"/>
                  <a:gd name="connsiteX46" fmla="*/ 4643438 w 8724900"/>
                  <a:gd name="connsiteY46" fmla="*/ 745331 h 4305300"/>
                  <a:gd name="connsiteX47" fmla="*/ 4505325 w 8724900"/>
                  <a:gd name="connsiteY47" fmla="*/ 769144 h 4305300"/>
                  <a:gd name="connsiteX48" fmla="*/ 4376738 w 8724900"/>
                  <a:gd name="connsiteY48" fmla="*/ 862013 h 4305300"/>
                  <a:gd name="connsiteX49" fmla="*/ 4329112 w 8724900"/>
                  <a:gd name="connsiteY49" fmla="*/ 823913 h 4305300"/>
                  <a:gd name="connsiteX50" fmla="*/ 4307681 w 8724900"/>
                  <a:gd name="connsiteY50" fmla="*/ 854868 h 4305300"/>
                  <a:gd name="connsiteX51" fmla="*/ 4233863 w 8724900"/>
                  <a:gd name="connsiteY51" fmla="*/ 804863 h 4305300"/>
                  <a:gd name="connsiteX52" fmla="*/ 4195763 w 8724900"/>
                  <a:gd name="connsiteY52" fmla="*/ 812006 h 4305300"/>
                  <a:gd name="connsiteX53" fmla="*/ 4174331 w 8724900"/>
                  <a:gd name="connsiteY53" fmla="*/ 773906 h 4305300"/>
                  <a:gd name="connsiteX54" fmla="*/ 4114800 w 8724900"/>
                  <a:gd name="connsiteY54" fmla="*/ 778669 h 4305300"/>
                  <a:gd name="connsiteX55" fmla="*/ 4069556 w 8724900"/>
                  <a:gd name="connsiteY55" fmla="*/ 750094 h 4305300"/>
                  <a:gd name="connsiteX56" fmla="*/ 4031456 w 8724900"/>
                  <a:gd name="connsiteY56" fmla="*/ 747713 h 4305300"/>
                  <a:gd name="connsiteX57" fmla="*/ 4012406 w 8724900"/>
                  <a:gd name="connsiteY57" fmla="*/ 700087 h 4305300"/>
                  <a:gd name="connsiteX58" fmla="*/ 3998119 w 8724900"/>
                  <a:gd name="connsiteY58" fmla="*/ 669131 h 4305300"/>
                  <a:gd name="connsiteX59" fmla="*/ 3952875 w 8724900"/>
                  <a:gd name="connsiteY59" fmla="*/ 678656 h 4305300"/>
                  <a:gd name="connsiteX60" fmla="*/ 3933825 w 8724900"/>
                  <a:gd name="connsiteY60" fmla="*/ 642938 h 4305300"/>
                  <a:gd name="connsiteX61" fmla="*/ 3955257 w 8724900"/>
                  <a:gd name="connsiteY61" fmla="*/ 588169 h 4305300"/>
                  <a:gd name="connsiteX62" fmla="*/ 3924300 w 8724900"/>
                  <a:gd name="connsiteY62" fmla="*/ 561975 h 4305300"/>
                  <a:gd name="connsiteX63" fmla="*/ 3940969 w 8724900"/>
                  <a:gd name="connsiteY63" fmla="*/ 519113 h 4305300"/>
                  <a:gd name="connsiteX64" fmla="*/ 3914775 w 8724900"/>
                  <a:gd name="connsiteY64" fmla="*/ 476250 h 4305300"/>
                  <a:gd name="connsiteX65" fmla="*/ 3910013 w 8724900"/>
                  <a:gd name="connsiteY65" fmla="*/ 414338 h 4305300"/>
                  <a:gd name="connsiteX66" fmla="*/ 3933825 w 8724900"/>
                  <a:gd name="connsiteY66" fmla="*/ 350043 h 4305300"/>
                  <a:gd name="connsiteX67" fmla="*/ 3895725 w 8724900"/>
                  <a:gd name="connsiteY67" fmla="*/ 352425 h 4305300"/>
                  <a:gd name="connsiteX68" fmla="*/ 3776663 w 8724900"/>
                  <a:gd name="connsiteY68" fmla="*/ 295275 h 4305300"/>
                  <a:gd name="connsiteX69" fmla="*/ 3738562 w 8724900"/>
                  <a:gd name="connsiteY69" fmla="*/ 300037 h 4305300"/>
                  <a:gd name="connsiteX70" fmla="*/ 3533775 w 8724900"/>
                  <a:gd name="connsiteY70" fmla="*/ 190500 h 4305300"/>
                  <a:gd name="connsiteX71" fmla="*/ 3429000 w 8724900"/>
                  <a:gd name="connsiteY71" fmla="*/ 159544 h 4305300"/>
                  <a:gd name="connsiteX72" fmla="*/ 3364706 w 8724900"/>
                  <a:gd name="connsiteY72" fmla="*/ 169068 h 4305300"/>
                  <a:gd name="connsiteX73" fmla="*/ 3333750 w 8724900"/>
                  <a:gd name="connsiteY73" fmla="*/ 104775 h 4305300"/>
                  <a:gd name="connsiteX74" fmla="*/ 3276600 w 8724900"/>
                  <a:gd name="connsiteY74" fmla="*/ 104775 h 4305300"/>
                  <a:gd name="connsiteX75" fmla="*/ 3138487 w 8724900"/>
                  <a:gd name="connsiteY75" fmla="*/ 0 h 4305300"/>
                  <a:gd name="connsiteX76" fmla="*/ 3105150 w 8724900"/>
                  <a:gd name="connsiteY76" fmla="*/ 59532 h 4305300"/>
                  <a:gd name="connsiteX77" fmla="*/ 3050381 w 8724900"/>
                  <a:gd name="connsiteY77" fmla="*/ 128588 h 4305300"/>
                  <a:gd name="connsiteX78" fmla="*/ 3007519 w 8724900"/>
                  <a:gd name="connsiteY78" fmla="*/ 145256 h 4305300"/>
                  <a:gd name="connsiteX79" fmla="*/ 2976563 w 8724900"/>
                  <a:gd name="connsiteY79" fmla="*/ 138113 h 4305300"/>
                  <a:gd name="connsiteX80" fmla="*/ 2952750 w 8724900"/>
                  <a:gd name="connsiteY80" fmla="*/ 166688 h 4305300"/>
                  <a:gd name="connsiteX81" fmla="*/ 2926556 w 8724900"/>
                  <a:gd name="connsiteY81" fmla="*/ 245269 h 4305300"/>
                  <a:gd name="connsiteX82" fmla="*/ 2883694 w 8724900"/>
                  <a:gd name="connsiteY82" fmla="*/ 242888 h 4305300"/>
                  <a:gd name="connsiteX83" fmla="*/ 2852737 w 8724900"/>
                  <a:gd name="connsiteY83" fmla="*/ 304800 h 4305300"/>
                  <a:gd name="connsiteX84" fmla="*/ 2847975 w 8724900"/>
                  <a:gd name="connsiteY84" fmla="*/ 369094 h 4305300"/>
                  <a:gd name="connsiteX85" fmla="*/ 2821782 w 8724900"/>
                  <a:gd name="connsiteY85" fmla="*/ 407194 h 4305300"/>
                  <a:gd name="connsiteX86" fmla="*/ 2847975 w 8724900"/>
                  <a:gd name="connsiteY86" fmla="*/ 466725 h 4305300"/>
                  <a:gd name="connsiteX87" fmla="*/ 2850356 w 8724900"/>
                  <a:gd name="connsiteY87" fmla="*/ 535781 h 4305300"/>
                  <a:gd name="connsiteX88" fmla="*/ 2878931 w 8724900"/>
                  <a:gd name="connsiteY88" fmla="*/ 588169 h 4305300"/>
                  <a:gd name="connsiteX89" fmla="*/ 2926557 w 8724900"/>
                  <a:gd name="connsiteY89" fmla="*/ 642938 h 4305300"/>
                  <a:gd name="connsiteX90" fmla="*/ 2876550 w 8724900"/>
                  <a:gd name="connsiteY90" fmla="*/ 781050 h 4305300"/>
                  <a:gd name="connsiteX91" fmla="*/ 2807494 w 8724900"/>
                  <a:gd name="connsiteY91" fmla="*/ 847725 h 4305300"/>
                  <a:gd name="connsiteX92" fmla="*/ 2736056 w 8724900"/>
                  <a:gd name="connsiteY92" fmla="*/ 842963 h 4305300"/>
                  <a:gd name="connsiteX93" fmla="*/ 2697956 w 8724900"/>
                  <a:gd name="connsiteY93" fmla="*/ 900113 h 4305300"/>
                  <a:gd name="connsiteX94" fmla="*/ 2638425 w 8724900"/>
                  <a:gd name="connsiteY94" fmla="*/ 914400 h 4305300"/>
                  <a:gd name="connsiteX95" fmla="*/ 2569369 w 8724900"/>
                  <a:gd name="connsiteY95" fmla="*/ 854869 h 4305300"/>
                  <a:gd name="connsiteX96" fmla="*/ 2514600 w 8724900"/>
                  <a:gd name="connsiteY96" fmla="*/ 826294 h 4305300"/>
                  <a:gd name="connsiteX97" fmla="*/ 2471738 w 8724900"/>
                  <a:gd name="connsiteY97" fmla="*/ 840581 h 4305300"/>
                  <a:gd name="connsiteX98" fmla="*/ 2419350 w 8724900"/>
                  <a:gd name="connsiteY98" fmla="*/ 823913 h 4305300"/>
                  <a:gd name="connsiteX99" fmla="*/ 2352675 w 8724900"/>
                  <a:gd name="connsiteY99" fmla="*/ 769144 h 4305300"/>
                  <a:gd name="connsiteX100" fmla="*/ 2307431 w 8724900"/>
                  <a:gd name="connsiteY100" fmla="*/ 781050 h 4305300"/>
                  <a:gd name="connsiteX101" fmla="*/ 2286000 w 8724900"/>
                  <a:gd name="connsiteY101" fmla="*/ 750094 h 4305300"/>
                  <a:gd name="connsiteX102" fmla="*/ 2228850 w 8724900"/>
                  <a:gd name="connsiteY102" fmla="*/ 790575 h 4305300"/>
                  <a:gd name="connsiteX103" fmla="*/ 2112169 w 8724900"/>
                  <a:gd name="connsiteY103" fmla="*/ 769144 h 4305300"/>
                  <a:gd name="connsiteX104" fmla="*/ 2062163 w 8724900"/>
                  <a:gd name="connsiteY104" fmla="*/ 716756 h 4305300"/>
                  <a:gd name="connsiteX105" fmla="*/ 2019300 w 8724900"/>
                  <a:gd name="connsiteY105" fmla="*/ 702469 h 4305300"/>
                  <a:gd name="connsiteX106" fmla="*/ 1976438 w 8724900"/>
                  <a:gd name="connsiteY106" fmla="*/ 728663 h 4305300"/>
                  <a:gd name="connsiteX107" fmla="*/ 1924050 w 8724900"/>
                  <a:gd name="connsiteY107" fmla="*/ 638175 h 4305300"/>
                  <a:gd name="connsiteX108" fmla="*/ 1914525 w 8724900"/>
                  <a:gd name="connsiteY108" fmla="*/ 490537 h 4305300"/>
                  <a:gd name="connsiteX109" fmla="*/ 1862137 w 8724900"/>
                  <a:gd name="connsiteY109" fmla="*/ 483393 h 4305300"/>
                  <a:gd name="connsiteX110" fmla="*/ 1771650 w 8724900"/>
                  <a:gd name="connsiteY110" fmla="*/ 473869 h 4305300"/>
                  <a:gd name="connsiteX111" fmla="*/ 1716881 w 8724900"/>
                  <a:gd name="connsiteY111" fmla="*/ 435769 h 4305300"/>
                  <a:gd name="connsiteX112" fmla="*/ 1647825 w 8724900"/>
                  <a:gd name="connsiteY112" fmla="*/ 445294 h 4305300"/>
                  <a:gd name="connsiteX113" fmla="*/ 1602581 w 8724900"/>
                  <a:gd name="connsiteY113" fmla="*/ 419100 h 4305300"/>
                  <a:gd name="connsiteX114" fmla="*/ 1593057 w 8724900"/>
                  <a:gd name="connsiteY114" fmla="*/ 347663 h 4305300"/>
                  <a:gd name="connsiteX115" fmla="*/ 1569244 w 8724900"/>
                  <a:gd name="connsiteY115" fmla="*/ 333375 h 4305300"/>
                  <a:gd name="connsiteX116" fmla="*/ 1531144 w 8724900"/>
                  <a:gd name="connsiteY116" fmla="*/ 380999 h 4305300"/>
                  <a:gd name="connsiteX117" fmla="*/ 1452562 w 8724900"/>
                  <a:gd name="connsiteY117" fmla="*/ 307181 h 4305300"/>
                  <a:gd name="connsiteX118" fmla="*/ 1412081 w 8724900"/>
                  <a:gd name="connsiteY118" fmla="*/ 347663 h 4305300"/>
                  <a:gd name="connsiteX119" fmla="*/ 1335881 w 8724900"/>
                  <a:gd name="connsiteY119" fmla="*/ 333375 h 4305300"/>
                  <a:gd name="connsiteX120" fmla="*/ 1257300 w 8724900"/>
                  <a:gd name="connsiteY120" fmla="*/ 359569 h 4305300"/>
                  <a:gd name="connsiteX121" fmla="*/ 1197769 w 8724900"/>
                  <a:gd name="connsiteY121" fmla="*/ 407193 h 4305300"/>
                  <a:gd name="connsiteX122" fmla="*/ 1123950 w 8724900"/>
                  <a:gd name="connsiteY122" fmla="*/ 419100 h 4305300"/>
                  <a:gd name="connsiteX123" fmla="*/ 1088231 w 8724900"/>
                  <a:gd name="connsiteY123" fmla="*/ 411956 h 4305300"/>
                  <a:gd name="connsiteX124" fmla="*/ 1009651 w 8724900"/>
                  <a:gd name="connsiteY124" fmla="*/ 442913 h 4305300"/>
                  <a:gd name="connsiteX125" fmla="*/ 988219 w 8724900"/>
                  <a:gd name="connsiteY125" fmla="*/ 471488 h 4305300"/>
                  <a:gd name="connsiteX126" fmla="*/ 921544 w 8724900"/>
                  <a:gd name="connsiteY126" fmla="*/ 461963 h 4305300"/>
                  <a:gd name="connsiteX127" fmla="*/ 852488 w 8724900"/>
                  <a:gd name="connsiteY127" fmla="*/ 485775 h 4305300"/>
                  <a:gd name="connsiteX128" fmla="*/ 797719 w 8724900"/>
                  <a:gd name="connsiteY128" fmla="*/ 523875 h 4305300"/>
                  <a:gd name="connsiteX129" fmla="*/ 702469 w 8724900"/>
                  <a:gd name="connsiteY129" fmla="*/ 538162 h 4305300"/>
                  <a:gd name="connsiteX130" fmla="*/ 688181 w 8724900"/>
                  <a:gd name="connsiteY130" fmla="*/ 559594 h 4305300"/>
                  <a:gd name="connsiteX131" fmla="*/ 700087 w 8724900"/>
                  <a:gd name="connsiteY131" fmla="*/ 604838 h 4305300"/>
                  <a:gd name="connsiteX132" fmla="*/ 600076 w 8724900"/>
                  <a:gd name="connsiteY132" fmla="*/ 657225 h 4305300"/>
                  <a:gd name="connsiteX133" fmla="*/ 561975 w 8724900"/>
                  <a:gd name="connsiteY133" fmla="*/ 628649 h 4305300"/>
                  <a:gd name="connsiteX134" fmla="*/ 531019 w 8724900"/>
                  <a:gd name="connsiteY134" fmla="*/ 685800 h 4305300"/>
                  <a:gd name="connsiteX135" fmla="*/ 0 w 8724900"/>
                  <a:gd name="connsiteY135" fmla="*/ 692944 h 4305300"/>
                  <a:gd name="connsiteX136" fmla="*/ 42863 w 8724900"/>
                  <a:gd name="connsiteY136" fmla="*/ 721519 h 4305300"/>
                  <a:gd name="connsiteX137" fmla="*/ 139700 w 8724900"/>
                  <a:gd name="connsiteY137" fmla="*/ 712788 h 4305300"/>
                  <a:gd name="connsiteX138" fmla="*/ 185738 w 8724900"/>
                  <a:gd name="connsiteY138" fmla="*/ 740568 h 4305300"/>
                  <a:gd name="connsiteX139" fmla="*/ 152400 w 8724900"/>
                  <a:gd name="connsiteY139" fmla="*/ 769144 h 4305300"/>
                  <a:gd name="connsiteX140" fmla="*/ 157163 w 8724900"/>
                  <a:gd name="connsiteY140" fmla="*/ 812006 h 4305300"/>
                  <a:gd name="connsiteX141" fmla="*/ 123825 w 8724900"/>
                  <a:gd name="connsiteY141" fmla="*/ 816769 h 4305300"/>
                  <a:gd name="connsiteX142" fmla="*/ 128588 w 8724900"/>
                  <a:gd name="connsiteY142" fmla="*/ 840581 h 4305300"/>
                  <a:gd name="connsiteX143" fmla="*/ 185737 w 8724900"/>
                  <a:gd name="connsiteY143" fmla="*/ 914400 h 4305300"/>
                  <a:gd name="connsiteX144" fmla="*/ 147638 w 8724900"/>
                  <a:gd name="connsiteY144" fmla="*/ 962025 h 4305300"/>
                  <a:gd name="connsiteX145" fmla="*/ 202406 w 8724900"/>
                  <a:gd name="connsiteY145" fmla="*/ 997744 h 4305300"/>
                  <a:gd name="connsiteX146" fmla="*/ 292894 w 8724900"/>
                  <a:gd name="connsiteY146" fmla="*/ 1085850 h 4305300"/>
                  <a:gd name="connsiteX147" fmla="*/ 295275 w 8724900"/>
                  <a:gd name="connsiteY147" fmla="*/ 1145381 h 4305300"/>
                  <a:gd name="connsiteX148" fmla="*/ 431006 w 8724900"/>
                  <a:gd name="connsiteY148" fmla="*/ 1278732 h 4305300"/>
                  <a:gd name="connsiteX149" fmla="*/ 485775 w 8724900"/>
                  <a:gd name="connsiteY149" fmla="*/ 1254919 h 4305300"/>
                  <a:gd name="connsiteX150" fmla="*/ 523875 w 8724900"/>
                  <a:gd name="connsiteY150" fmla="*/ 1281112 h 4305300"/>
                  <a:gd name="connsiteX151" fmla="*/ 538163 w 8724900"/>
                  <a:gd name="connsiteY151" fmla="*/ 1331118 h 4305300"/>
                  <a:gd name="connsiteX152" fmla="*/ 581025 w 8724900"/>
                  <a:gd name="connsiteY152" fmla="*/ 1366838 h 4305300"/>
                  <a:gd name="connsiteX153" fmla="*/ 621506 w 8724900"/>
                  <a:gd name="connsiteY153" fmla="*/ 1354931 h 4305300"/>
                  <a:gd name="connsiteX154" fmla="*/ 640556 w 8724900"/>
                  <a:gd name="connsiteY154" fmla="*/ 1412081 h 4305300"/>
                  <a:gd name="connsiteX155" fmla="*/ 688181 w 8724900"/>
                  <a:gd name="connsiteY155" fmla="*/ 1454944 h 4305300"/>
                  <a:gd name="connsiteX156" fmla="*/ 711994 w 8724900"/>
                  <a:gd name="connsiteY156" fmla="*/ 1557338 h 4305300"/>
                  <a:gd name="connsiteX157" fmla="*/ 709613 w 8724900"/>
                  <a:gd name="connsiteY157" fmla="*/ 1604963 h 4305300"/>
                  <a:gd name="connsiteX158" fmla="*/ 745331 w 8724900"/>
                  <a:gd name="connsiteY158" fmla="*/ 1704975 h 4305300"/>
                  <a:gd name="connsiteX159" fmla="*/ 790575 w 8724900"/>
                  <a:gd name="connsiteY159" fmla="*/ 1762125 h 4305300"/>
                  <a:gd name="connsiteX160" fmla="*/ 807243 w 8724900"/>
                  <a:gd name="connsiteY160" fmla="*/ 1919287 h 4305300"/>
                  <a:gd name="connsiteX161" fmla="*/ 773906 w 8724900"/>
                  <a:gd name="connsiteY161" fmla="*/ 1981200 h 4305300"/>
                  <a:gd name="connsiteX162" fmla="*/ 742950 w 8724900"/>
                  <a:gd name="connsiteY162" fmla="*/ 2057400 h 4305300"/>
                  <a:gd name="connsiteX163" fmla="*/ 757238 w 8724900"/>
                  <a:gd name="connsiteY163" fmla="*/ 2114550 h 4305300"/>
                  <a:gd name="connsiteX164" fmla="*/ 659606 w 8724900"/>
                  <a:gd name="connsiteY164" fmla="*/ 2221707 h 4305300"/>
                  <a:gd name="connsiteX165" fmla="*/ 616744 w 8724900"/>
                  <a:gd name="connsiteY165" fmla="*/ 2336006 h 4305300"/>
                  <a:gd name="connsiteX166" fmla="*/ 650081 w 8724900"/>
                  <a:gd name="connsiteY166" fmla="*/ 2376488 h 4305300"/>
                  <a:gd name="connsiteX167" fmla="*/ 633413 w 8724900"/>
                  <a:gd name="connsiteY167" fmla="*/ 2405063 h 4305300"/>
                  <a:gd name="connsiteX168" fmla="*/ 664369 w 8724900"/>
                  <a:gd name="connsiteY168" fmla="*/ 2462213 h 4305300"/>
                  <a:gd name="connsiteX169" fmla="*/ 692944 w 8724900"/>
                  <a:gd name="connsiteY169" fmla="*/ 2462213 h 4305300"/>
                  <a:gd name="connsiteX170" fmla="*/ 854869 w 8724900"/>
                  <a:gd name="connsiteY170" fmla="*/ 2564606 h 4305300"/>
                  <a:gd name="connsiteX171" fmla="*/ 959644 w 8724900"/>
                  <a:gd name="connsiteY171" fmla="*/ 2562225 h 4305300"/>
                  <a:gd name="connsiteX172" fmla="*/ 1038225 w 8724900"/>
                  <a:gd name="connsiteY172" fmla="*/ 2616994 h 4305300"/>
                  <a:gd name="connsiteX173" fmla="*/ 1169193 w 8724900"/>
                  <a:gd name="connsiteY173" fmla="*/ 2619375 h 4305300"/>
                  <a:gd name="connsiteX174" fmla="*/ 1359693 w 8724900"/>
                  <a:gd name="connsiteY174" fmla="*/ 2688431 h 4305300"/>
                  <a:gd name="connsiteX175" fmla="*/ 1562100 w 8724900"/>
                  <a:gd name="connsiteY175" fmla="*/ 2838450 h 4305300"/>
                  <a:gd name="connsiteX176" fmla="*/ 1595437 w 8724900"/>
                  <a:gd name="connsiteY176" fmla="*/ 2905125 h 4305300"/>
                  <a:gd name="connsiteX177" fmla="*/ 1762125 w 8724900"/>
                  <a:gd name="connsiteY177" fmla="*/ 3031331 h 4305300"/>
                  <a:gd name="connsiteX178" fmla="*/ 1833563 w 8724900"/>
                  <a:gd name="connsiteY178" fmla="*/ 3026569 h 4305300"/>
                  <a:gd name="connsiteX179" fmla="*/ 1869282 w 8724900"/>
                  <a:gd name="connsiteY179" fmla="*/ 3050381 h 4305300"/>
                  <a:gd name="connsiteX180" fmla="*/ 1840706 w 8724900"/>
                  <a:gd name="connsiteY180" fmla="*/ 3090863 h 4305300"/>
                  <a:gd name="connsiteX181" fmla="*/ 1847850 w 8724900"/>
                  <a:gd name="connsiteY181" fmla="*/ 3143250 h 4305300"/>
                  <a:gd name="connsiteX182" fmla="*/ 1900238 w 8724900"/>
                  <a:gd name="connsiteY182" fmla="*/ 3169444 h 4305300"/>
                  <a:gd name="connsiteX183" fmla="*/ 1962150 w 8724900"/>
                  <a:gd name="connsiteY183" fmla="*/ 3393282 h 4305300"/>
                  <a:gd name="connsiteX184" fmla="*/ 1952625 w 8724900"/>
                  <a:gd name="connsiteY184" fmla="*/ 3457575 h 4305300"/>
                  <a:gd name="connsiteX185" fmla="*/ 2088356 w 8724900"/>
                  <a:gd name="connsiteY185" fmla="*/ 3624263 h 4305300"/>
                  <a:gd name="connsiteX186" fmla="*/ 2107406 w 8724900"/>
                  <a:gd name="connsiteY186" fmla="*/ 3674269 h 4305300"/>
                  <a:gd name="connsiteX187" fmla="*/ 2081213 w 8724900"/>
                  <a:gd name="connsiteY187" fmla="*/ 3693319 h 4305300"/>
                  <a:gd name="connsiteX188" fmla="*/ 2183606 w 8724900"/>
                  <a:gd name="connsiteY188" fmla="*/ 3702844 h 4305300"/>
                  <a:gd name="connsiteX189" fmla="*/ 2295525 w 8724900"/>
                  <a:gd name="connsiteY189" fmla="*/ 3690938 h 4305300"/>
                  <a:gd name="connsiteX190" fmla="*/ 2574131 w 8724900"/>
                  <a:gd name="connsiteY190" fmla="*/ 3774281 h 4305300"/>
                  <a:gd name="connsiteX191" fmla="*/ 2981325 w 8724900"/>
                  <a:gd name="connsiteY191" fmla="*/ 3855244 h 4305300"/>
                  <a:gd name="connsiteX192" fmla="*/ 3178969 w 8724900"/>
                  <a:gd name="connsiteY192" fmla="*/ 3824287 h 4305300"/>
                  <a:gd name="connsiteX193" fmla="*/ 3224213 w 8724900"/>
                  <a:gd name="connsiteY193" fmla="*/ 3836193 h 4305300"/>
                  <a:gd name="connsiteX194" fmla="*/ 3278981 w 8724900"/>
                  <a:gd name="connsiteY194" fmla="*/ 3812382 h 4305300"/>
                  <a:gd name="connsiteX195" fmla="*/ 3671887 w 8724900"/>
                  <a:gd name="connsiteY195" fmla="*/ 3902869 h 4305300"/>
                  <a:gd name="connsiteX196" fmla="*/ 3755232 w 8724900"/>
                  <a:gd name="connsiteY196" fmla="*/ 4000500 h 4305300"/>
                  <a:gd name="connsiteX197" fmla="*/ 3874294 w 8724900"/>
                  <a:gd name="connsiteY197" fmla="*/ 4071938 h 4305300"/>
                  <a:gd name="connsiteX198" fmla="*/ 3933825 w 8724900"/>
                  <a:gd name="connsiteY198" fmla="*/ 4055269 h 4305300"/>
                  <a:gd name="connsiteX199" fmla="*/ 4283868 w 8724900"/>
                  <a:gd name="connsiteY199" fmla="*/ 4229100 h 4305300"/>
                  <a:gd name="connsiteX200" fmla="*/ 4510088 w 8724900"/>
                  <a:gd name="connsiteY200" fmla="*/ 4200525 h 4305300"/>
                  <a:gd name="connsiteX201" fmla="*/ 4519613 w 8724900"/>
                  <a:gd name="connsiteY201" fmla="*/ 4279106 h 4305300"/>
                  <a:gd name="connsiteX202" fmla="*/ 4605338 w 8724900"/>
                  <a:gd name="connsiteY202" fmla="*/ 4274343 h 4305300"/>
                  <a:gd name="connsiteX203" fmla="*/ 4683919 w 8724900"/>
                  <a:gd name="connsiteY203" fmla="*/ 4305300 h 4305300"/>
                  <a:gd name="connsiteX204" fmla="*/ 4726781 w 8724900"/>
                  <a:gd name="connsiteY204" fmla="*/ 4245769 h 4305300"/>
                  <a:gd name="connsiteX205" fmla="*/ 5398294 w 8724900"/>
                  <a:gd name="connsiteY205" fmla="*/ 3926681 h 4305300"/>
                  <a:gd name="connsiteX206" fmla="*/ 5486400 w 8724900"/>
                  <a:gd name="connsiteY206" fmla="*/ 3955257 h 4305300"/>
                  <a:gd name="connsiteX207" fmla="*/ 5617369 w 8724900"/>
                  <a:gd name="connsiteY207" fmla="*/ 3926681 h 4305300"/>
                  <a:gd name="connsiteX208" fmla="*/ 5795962 w 8724900"/>
                  <a:gd name="connsiteY208" fmla="*/ 3943350 h 4305300"/>
                  <a:gd name="connsiteX209" fmla="*/ 5853113 w 8724900"/>
                  <a:gd name="connsiteY209" fmla="*/ 3917157 h 4305300"/>
                  <a:gd name="connsiteX210" fmla="*/ 5986462 w 8724900"/>
                  <a:gd name="connsiteY210" fmla="*/ 3914775 h 4305300"/>
                  <a:gd name="connsiteX211" fmla="*/ 6119812 w 8724900"/>
                  <a:gd name="connsiteY211" fmla="*/ 3817144 h 4305300"/>
                  <a:gd name="connsiteX212" fmla="*/ 6186487 w 8724900"/>
                  <a:gd name="connsiteY212" fmla="*/ 3810000 h 4305300"/>
                  <a:gd name="connsiteX213" fmla="*/ 6284119 w 8724900"/>
                  <a:gd name="connsiteY213" fmla="*/ 3736181 h 4305300"/>
                  <a:gd name="connsiteX214" fmla="*/ 6357938 w 8724900"/>
                  <a:gd name="connsiteY214" fmla="*/ 3667125 h 4305300"/>
                  <a:gd name="connsiteX215" fmla="*/ 6367463 w 8724900"/>
                  <a:gd name="connsiteY215" fmla="*/ 3605213 h 4305300"/>
                  <a:gd name="connsiteX216" fmla="*/ 6400800 w 8724900"/>
                  <a:gd name="connsiteY216" fmla="*/ 3536156 h 4305300"/>
                  <a:gd name="connsiteX217" fmla="*/ 6553200 w 8724900"/>
                  <a:gd name="connsiteY217" fmla="*/ 3429000 h 4305300"/>
                  <a:gd name="connsiteX218" fmla="*/ 6586538 w 8724900"/>
                  <a:gd name="connsiteY218" fmla="*/ 3433763 h 4305300"/>
                  <a:gd name="connsiteX219" fmla="*/ 6638925 w 8724900"/>
                  <a:gd name="connsiteY219" fmla="*/ 3355181 h 4305300"/>
                  <a:gd name="connsiteX220" fmla="*/ 6686550 w 8724900"/>
                  <a:gd name="connsiteY220" fmla="*/ 3317081 h 4305300"/>
                  <a:gd name="connsiteX221" fmla="*/ 6672263 w 8724900"/>
                  <a:gd name="connsiteY221" fmla="*/ 3248025 h 4305300"/>
                  <a:gd name="connsiteX222" fmla="*/ 6622256 w 8724900"/>
                  <a:gd name="connsiteY222" fmla="*/ 3217068 h 4305300"/>
                  <a:gd name="connsiteX223" fmla="*/ 6562725 w 8724900"/>
                  <a:gd name="connsiteY223" fmla="*/ 3162300 h 4305300"/>
                  <a:gd name="connsiteX224" fmla="*/ 6543675 w 8724900"/>
                  <a:gd name="connsiteY224" fmla="*/ 3105150 h 4305300"/>
                  <a:gd name="connsiteX225" fmla="*/ 6507956 w 8724900"/>
                  <a:gd name="connsiteY225" fmla="*/ 3071813 h 4305300"/>
                  <a:gd name="connsiteX226" fmla="*/ 6534150 w 8724900"/>
                  <a:gd name="connsiteY226" fmla="*/ 3019425 h 4305300"/>
                  <a:gd name="connsiteX227" fmla="*/ 6574631 w 8724900"/>
                  <a:gd name="connsiteY227" fmla="*/ 2840831 h 4305300"/>
                  <a:gd name="connsiteX228" fmla="*/ 6615113 w 8724900"/>
                  <a:gd name="connsiteY228" fmla="*/ 2774156 h 4305300"/>
                  <a:gd name="connsiteX229" fmla="*/ 6760369 w 8724900"/>
                  <a:gd name="connsiteY229" fmla="*/ 2757487 h 4305300"/>
                  <a:gd name="connsiteX230" fmla="*/ 6829425 w 8724900"/>
                  <a:gd name="connsiteY230" fmla="*/ 2814638 h 4305300"/>
                  <a:gd name="connsiteX231" fmla="*/ 6905625 w 8724900"/>
                  <a:gd name="connsiteY231" fmla="*/ 2838450 h 4305300"/>
                  <a:gd name="connsiteX232" fmla="*/ 7110412 w 8724900"/>
                  <a:gd name="connsiteY232" fmla="*/ 2843213 h 4305300"/>
                  <a:gd name="connsiteX233" fmla="*/ 7286625 w 8724900"/>
                  <a:gd name="connsiteY233" fmla="*/ 2705100 h 4305300"/>
                  <a:gd name="connsiteX234" fmla="*/ 7343775 w 8724900"/>
                  <a:gd name="connsiteY234" fmla="*/ 2614612 h 4305300"/>
                  <a:gd name="connsiteX235" fmla="*/ 7369969 w 8724900"/>
                  <a:gd name="connsiteY235" fmla="*/ 2531269 h 4305300"/>
                  <a:gd name="connsiteX236" fmla="*/ 7500937 w 8724900"/>
                  <a:gd name="connsiteY236" fmla="*/ 2531269 h 4305300"/>
                  <a:gd name="connsiteX237" fmla="*/ 7674769 w 8724900"/>
                  <a:gd name="connsiteY237" fmla="*/ 2474118 h 4305300"/>
                  <a:gd name="connsiteX238" fmla="*/ 7734300 w 8724900"/>
                  <a:gd name="connsiteY238" fmla="*/ 2362200 h 4305300"/>
                  <a:gd name="connsiteX239" fmla="*/ 7798594 w 8724900"/>
                  <a:gd name="connsiteY239" fmla="*/ 2326481 h 4305300"/>
                  <a:gd name="connsiteX240" fmla="*/ 7777163 w 8724900"/>
                  <a:gd name="connsiteY240" fmla="*/ 2281238 h 4305300"/>
                  <a:gd name="connsiteX241" fmla="*/ 7855744 w 8724900"/>
                  <a:gd name="connsiteY241" fmla="*/ 2112168 h 4305300"/>
                  <a:gd name="connsiteX242" fmla="*/ 7910513 w 8724900"/>
                  <a:gd name="connsiteY242" fmla="*/ 2052638 h 4305300"/>
                  <a:gd name="connsiteX243" fmla="*/ 7948613 w 8724900"/>
                  <a:gd name="connsiteY243" fmla="*/ 2047875 h 4305300"/>
                  <a:gd name="connsiteX244" fmla="*/ 7993856 w 8724900"/>
                  <a:gd name="connsiteY244" fmla="*/ 2052638 h 4305300"/>
                  <a:gd name="connsiteX245" fmla="*/ 8058150 w 8724900"/>
                  <a:gd name="connsiteY245" fmla="*/ 2019300 h 4305300"/>
                  <a:gd name="connsiteX246" fmla="*/ 8067675 w 8724900"/>
                  <a:gd name="connsiteY246" fmla="*/ 1955006 h 4305300"/>
                  <a:gd name="connsiteX247" fmla="*/ 8108155 w 8724900"/>
                  <a:gd name="connsiteY247" fmla="*/ 1919288 h 4305300"/>
                  <a:gd name="connsiteX248" fmla="*/ 8167688 w 8724900"/>
                  <a:gd name="connsiteY248" fmla="*/ 1959768 h 4305300"/>
                  <a:gd name="connsiteX249" fmla="*/ 8193882 w 8724900"/>
                  <a:gd name="connsiteY249" fmla="*/ 1909762 h 4305300"/>
                  <a:gd name="connsiteX250" fmla="*/ 8289131 w 8724900"/>
                  <a:gd name="connsiteY250" fmla="*/ 1840706 h 4305300"/>
                  <a:gd name="connsiteX251" fmla="*/ 8351044 w 8724900"/>
                  <a:gd name="connsiteY251" fmla="*/ 1847850 h 4305300"/>
                  <a:gd name="connsiteX252" fmla="*/ 8401050 w 8724900"/>
                  <a:gd name="connsiteY252" fmla="*/ 1828800 h 4305300"/>
                  <a:gd name="connsiteX253" fmla="*/ 8439150 w 8724900"/>
                  <a:gd name="connsiteY253" fmla="*/ 1800225 h 4305300"/>
                  <a:gd name="connsiteX254" fmla="*/ 8472488 w 8724900"/>
                  <a:gd name="connsiteY254" fmla="*/ 1797844 h 4305300"/>
                  <a:gd name="connsiteX255" fmla="*/ 8508206 w 8724900"/>
                  <a:gd name="connsiteY255" fmla="*/ 1828800 h 4305300"/>
                  <a:gd name="connsiteX256" fmla="*/ 8567738 w 8724900"/>
                  <a:gd name="connsiteY256" fmla="*/ 1828800 h 4305300"/>
                  <a:gd name="connsiteX257" fmla="*/ 8605837 w 8724900"/>
                  <a:gd name="connsiteY257" fmla="*/ 1809750 h 4305300"/>
                  <a:gd name="connsiteX258" fmla="*/ 8689181 w 8724900"/>
                  <a:gd name="connsiteY258" fmla="*/ 1812132 h 4305300"/>
                  <a:gd name="connsiteX259" fmla="*/ 8720138 w 8724900"/>
                  <a:gd name="connsiteY259" fmla="*/ 1766888 h 4305300"/>
                  <a:gd name="connsiteX260" fmla="*/ 8724900 w 8724900"/>
                  <a:gd name="connsiteY260" fmla="*/ 1704975 h 4305300"/>
                  <a:gd name="connsiteX261" fmla="*/ 8674893 w 8724900"/>
                  <a:gd name="connsiteY261" fmla="*/ 1664494 h 4305300"/>
                  <a:gd name="connsiteX262" fmla="*/ 8658225 w 8724900"/>
                  <a:gd name="connsiteY262" fmla="*/ 1609725 h 4305300"/>
                  <a:gd name="connsiteX263" fmla="*/ 8567738 w 8724900"/>
                  <a:gd name="connsiteY263" fmla="*/ 1547813 h 4305300"/>
                  <a:gd name="connsiteX264" fmla="*/ 8527256 w 8724900"/>
                  <a:gd name="connsiteY264" fmla="*/ 1526381 h 4305300"/>
                  <a:gd name="connsiteX265" fmla="*/ 8489156 w 8724900"/>
                  <a:gd name="connsiteY265" fmla="*/ 1481138 h 4305300"/>
                  <a:gd name="connsiteX266" fmla="*/ 8458200 w 8724900"/>
                  <a:gd name="connsiteY266" fmla="*/ 1478756 h 4305300"/>
                  <a:gd name="connsiteX267" fmla="*/ 8441531 w 8724900"/>
                  <a:gd name="connsiteY267" fmla="*/ 1426369 h 4305300"/>
                  <a:gd name="connsiteX268" fmla="*/ 8401050 w 8724900"/>
                  <a:gd name="connsiteY268" fmla="*/ 1409700 h 4305300"/>
                  <a:gd name="connsiteX269" fmla="*/ 8401050 w 8724900"/>
                  <a:gd name="connsiteY269" fmla="*/ 1409700 h 4305300"/>
                  <a:gd name="connsiteX270" fmla="*/ 8360569 w 8724900"/>
                  <a:gd name="connsiteY270" fmla="*/ 1414463 h 4305300"/>
                  <a:gd name="connsiteX271" fmla="*/ 8274843 w 8724900"/>
                  <a:gd name="connsiteY271" fmla="*/ 1340644 h 4305300"/>
                  <a:gd name="connsiteX272" fmla="*/ 8093869 w 8724900"/>
                  <a:gd name="connsiteY272" fmla="*/ 1340643 h 4305300"/>
                  <a:gd name="connsiteX273" fmla="*/ 8041481 w 8724900"/>
                  <a:gd name="connsiteY273" fmla="*/ 1378744 h 4305300"/>
                  <a:gd name="connsiteX274" fmla="*/ 7991475 w 8724900"/>
                  <a:gd name="connsiteY274" fmla="*/ 1457325 h 4305300"/>
                  <a:gd name="connsiteX275" fmla="*/ 8008144 w 8724900"/>
                  <a:gd name="connsiteY275" fmla="*/ 1478756 h 4305300"/>
                  <a:gd name="connsiteX276" fmla="*/ 7962900 w 8724900"/>
                  <a:gd name="connsiteY276" fmla="*/ 1528762 h 4305300"/>
                  <a:gd name="connsiteX277" fmla="*/ 7812881 w 8724900"/>
                  <a:gd name="connsiteY277" fmla="*/ 1452562 h 4305300"/>
                  <a:gd name="connsiteX278" fmla="*/ 7722394 w 8724900"/>
                  <a:gd name="connsiteY278" fmla="*/ 1488281 h 4305300"/>
                  <a:gd name="connsiteX279" fmla="*/ 7648575 w 8724900"/>
                  <a:gd name="connsiteY279" fmla="*/ 1485900 h 4305300"/>
                  <a:gd name="connsiteX280" fmla="*/ 7591425 w 8724900"/>
                  <a:gd name="connsiteY280" fmla="*/ 1581150 h 4305300"/>
                  <a:gd name="connsiteX281" fmla="*/ 7453313 w 8724900"/>
                  <a:gd name="connsiteY281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873919 w 8801100"/>
                  <a:gd name="connsiteY128" fmla="*/ 523875 h 4305300"/>
                  <a:gd name="connsiteX129" fmla="*/ 778669 w 8801100"/>
                  <a:gd name="connsiteY129" fmla="*/ 538162 h 4305300"/>
                  <a:gd name="connsiteX130" fmla="*/ 764381 w 8801100"/>
                  <a:gd name="connsiteY130" fmla="*/ 559594 h 4305300"/>
                  <a:gd name="connsiteX131" fmla="*/ 776287 w 8801100"/>
                  <a:gd name="connsiteY131" fmla="*/ 604838 h 4305300"/>
                  <a:gd name="connsiteX132" fmla="*/ 676276 w 8801100"/>
                  <a:gd name="connsiteY132" fmla="*/ 657225 h 4305300"/>
                  <a:gd name="connsiteX133" fmla="*/ 638175 w 8801100"/>
                  <a:gd name="connsiteY133" fmla="*/ 628649 h 4305300"/>
                  <a:gd name="connsiteX134" fmla="*/ 0 w 8801100"/>
                  <a:gd name="connsiteY134" fmla="*/ 709613 h 4305300"/>
                  <a:gd name="connsiteX135" fmla="*/ 76200 w 8801100"/>
                  <a:gd name="connsiteY135" fmla="*/ 692944 h 4305300"/>
                  <a:gd name="connsiteX136" fmla="*/ 119063 w 8801100"/>
                  <a:gd name="connsiteY136" fmla="*/ 721519 h 4305300"/>
                  <a:gd name="connsiteX137" fmla="*/ 215900 w 8801100"/>
                  <a:gd name="connsiteY137" fmla="*/ 712788 h 4305300"/>
                  <a:gd name="connsiteX138" fmla="*/ 261938 w 8801100"/>
                  <a:gd name="connsiteY138" fmla="*/ 740568 h 4305300"/>
                  <a:gd name="connsiteX139" fmla="*/ 228600 w 8801100"/>
                  <a:gd name="connsiteY139" fmla="*/ 769144 h 4305300"/>
                  <a:gd name="connsiteX140" fmla="*/ 233363 w 8801100"/>
                  <a:gd name="connsiteY140" fmla="*/ 812006 h 4305300"/>
                  <a:gd name="connsiteX141" fmla="*/ 200025 w 8801100"/>
                  <a:gd name="connsiteY141" fmla="*/ 816769 h 4305300"/>
                  <a:gd name="connsiteX142" fmla="*/ 204788 w 8801100"/>
                  <a:gd name="connsiteY142" fmla="*/ 840581 h 4305300"/>
                  <a:gd name="connsiteX143" fmla="*/ 261937 w 8801100"/>
                  <a:gd name="connsiteY143" fmla="*/ 914400 h 4305300"/>
                  <a:gd name="connsiteX144" fmla="*/ 223838 w 8801100"/>
                  <a:gd name="connsiteY144" fmla="*/ 962025 h 4305300"/>
                  <a:gd name="connsiteX145" fmla="*/ 278606 w 8801100"/>
                  <a:gd name="connsiteY145" fmla="*/ 997744 h 4305300"/>
                  <a:gd name="connsiteX146" fmla="*/ 369094 w 8801100"/>
                  <a:gd name="connsiteY146" fmla="*/ 1085850 h 4305300"/>
                  <a:gd name="connsiteX147" fmla="*/ 371475 w 8801100"/>
                  <a:gd name="connsiteY147" fmla="*/ 1145381 h 4305300"/>
                  <a:gd name="connsiteX148" fmla="*/ 507206 w 8801100"/>
                  <a:gd name="connsiteY148" fmla="*/ 1278732 h 4305300"/>
                  <a:gd name="connsiteX149" fmla="*/ 561975 w 8801100"/>
                  <a:gd name="connsiteY149" fmla="*/ 1254919 h 4305300"/>
                  <a:gd name="connsiteX150" fmla="*/ 600075 w 8801100"/>
                  <a:gd name="connsiteY150" fmla="*/ 1281112 h 4305300"/>
                  <a:gd name="connsiteX151" fmla="*/ 614363 w 8801100"/>
                  <a:gd name="connsiteY151" fmla="*/ 1331118 h 4305300"/>
                  <a:gd name="connsiteX152" fmla="*/ 657225 w 8801100"/>
                  <a:gd name="connsiteY152" fmla="*/ 1366838 h 4305300"/>
                  <a:gd name="connsiteX153" fmla="*/ 697706 w 8801100"/>
                  <a:gd name="connsiteY153" fmla="*/ 1354931 h 4305300"/>
                  <a:gd name="connsiteX154" fmla="*/ 716756 w 8801100"/>
                  <a:gd name="connsiteY154" fmla="*/ 1412081 h 4305300"/>
                  <a:gd name="connsiteX155" fmla="*/ 764381 w 8801100"/>
                  <a:gd name="connsiteY155" fmla="*/ 1454944 h 4305300"/>
                  <a:gd name="connsiteX156" fmla="*/ 788194 w 8801100"/>
                  <a:gd name="connsiteY156" fmla="*/ 1557338 h 4305300"/>
                  <a:gd name="connsiteX157" fmla="*/ 785813 w 8801100"/>
                  <a:gd name="connsiteY157" fmla="*/ 1604963 h 4305300"/>
                  <a:gd name="connsiteX158" fmla="*/ 821531 w 8801100"/>
                  <a:gd name="connsiteY158" fmla="*/ 1704975 h 4305300"/>
                  <a:gd name="connsiteX159" fmla="*/ 866775 w 8801100"/>
                  <a:gd name="connsiteY159" fmla="*/ 1762125 h 4305300"/>
                  <a:gd name="connsiteX160" fmla="*/ 883443 w 8801100"/>
                  <a:gd name="connsiteY160" fmla="*/ 1919287 h 4305300"/>
                  <a:gd name="connsiteX161" fmla="*/ 850106 w 8801100"/>
                  <a:gd name="connsiteY161" fmla="*/ 1981200 h 4305300"/>
                  <a:gd name="connsiteX162" fmla="*/ 819150 w 8801100"/>
                  <a:gd name="connsiteY162" fmla="*/ 2057400 h 4305300"/>
                  <a:gd name="connsiteX163" fmla="*/ 833438 w 8801100"/>
                  <a:gd name="connsiteY163" fmla="*/ 2114550 h 4305300"/>
                  <a:gd name="connsiteX164" fmla="*/ 735806 w 8801100"/>
                  <a:gd name="connsiteY164" fmla="*/ 2221707 h 4305300"/>
                  <a:gd name="connsiteX165" fmla="*/ 692944 w 8801100"/>
                  <a:gd name="connsiteY165" fmla="*/ 2336006 h 4305300"/>
                  <a:gd name="connsiteX166" fmla="*/ 726281 w 8801100"/>
                  <a:gd name="connsiteY166" fmla="*/ 2376488 h 4305300"/>
                  <a:gd name="connsiteX167" fmla="*/ 709613 w 8801100"/>
                  <a:gd name="connsiteY167" fmla="*/ 2405063 h 4305300"/>
                  <a:gd name="connsiteX168" fmla="*/ 740569 w 8801100"/>
                  <a:gd name="connsiteY168" fmla="*/ 2462213 h 4305300"/>
                  <a:gd name="connsiteX169" fmla="*/ 769144 w 8801100"/>
                  <a:gd name="connsiteY169" fmla="*/ 2462213 h 4305300"/>
                  <a:gd name="connsiteX170" fmla="*/ 931069 w 8801100"/>
                  <a:gd name="connsiteY170" fmla="*/ 2564606 h 4305300"/>
                  <a:gd name="connsiteX171" fmla="*/ 1035844 w 8801100"/>
                  <a:gd name="connsiteY171" fmla="*/ 2562225 h 4305300"/>
                  <a:gd name="connsiteX172" fmla="*/ 1114425 w 8801100"/>
                  <a:gd name="connsiteY172" fmla="*/ 2616994 h 4305300"/>
                  <a:gd name="connsiteX173" fmla="*/ 1245393 w 8801100"/>
                  <a:gd name="connsiteY173" fmla="*/ 2619375 h 4305300"/>
                  <a:gd name="connsiteX174" fmla="*/ 1435893 w 8801100"/>
                  <a:gd name="connsiteY174" fmla="*/ 2688431 h 4305300"/>
                  <a:gd name="connsiteX175" fmla="*/ 1638300 w 8801100"/>
                  <a:gd name="connsiteY175" fmla="*/ 2838450 h 4305300"/>
                  <a:gd name="connsiteX176" fmla="*/ 1671637 w 8801100"/>
                  <a:gd name="connsiteY176" fmla="*/ 2905125 h 4305300"/>
                  <a:gd name="connsiteX177" fmla="*/ 1838325 w 8801100"/>
                  <a:gd name="connsiteY177" fmla="*/ 3031331 h 4305300"/>
                  <a:gd name="connsiteX178" fmla="*/ 1909763 w 8801100"/>
                  <a:gd name="connsiteY178" fmla="*/ 3026569 h 4305300"/>
                  <a:gd name="connsiteX179" fmla="*/ 1945482 w 8801100"/>
                  <a:gd name="connsiteY179" fmla="*/ 3050381 h 4305300"/>
                  <a:gd name="connsiteX180" fmla="*/ 1916906 w 8801100"/>
                  <a:gd name="connsiteY180" fmla="*/ 3090863 h 4305300"/>
                  <a:gd name="connsiteX181" fmla="*/ 1924050 w 8801100"/>
                  <a:gd name="connsiteY181" fmla="*/ 3143250 h 4305300"/>
                  <a:gd name="connsiteX182" fmla="*/ 1976438 w 8801100"/>
                  <a:gd name="connsiteY182" fmla="*/ 3169444 h 4305300"/>
                  <a:gd name="connsiteX183" fmla="*/ 2038350 w 8801100"/>
                  <a:gd name="connsiteY183" fmla="*/ 3393282 h 4305300"/>
                  <a:gd name="connsiteX184" fmla="*/ 2028825 w 8801100"/>
                  <a:gd name="connsiteY184" fmla="*/ 3457575 h 4305300"/>
                  <a:gd name="connsiteX185" fmla="*/ 2164556 w 8801100"/>
                  <a:gd name="connsiteY185" fmla="*/ 3624263 h 4305300"/>
                  <a:gd name="connsiteX186" fmla="*/ 2183606 w 8801100"/>
                  <a:gd name="connsiteY186" fmla="*/ 3674269 h 4305300"/>
                  <a:gd name="connsiteX187" fmla="*/ 2157413 w 8801100"/>
                  <a:gd name="connsiteY187" fmla="*/ 3693319 h 4305300"/>
                  <a:gd name="connsiteX188" fmla="*/ 2259806 w 8801100"/>
                  <a:gd name="connsiteY188" fmla="*/ 3702844 h 4305300"/>
                  <a:gd name="connsiteX189" fmla="*/ 2371725 w 8801100"/>
                  <a:gd name="connsiteY189" fmla="*/ 3690938 h 4305300"/>
                  <a:gd name="connsiteX190" fmla="*/ 2650331 w 8801100"/>
                  <a:gd name="connsiteY190" fmla="*/ 3774281 h 4305300"/>
                  <a:gd name="connsiteX191" fmla="*/ 3057525 w 8801100"/>
                  <a:gd name="connsiteY191" fmla="*/ 3855244 h 4305300"/>
                  <a:gd name="connsiteX192" fmla="*/ 3255169 w 8801100"/>
                  <a:gd name="connsiteY192" fmla="*/ 3824287 h 4305300"/>
                  <a:gd name="connsiteX193" fmla="*/ 3300413 w 8801100"/>
                  <a:gd name="connsiteY193" fmla="*/ 3836193 h 4305300"/>
                  <a:gd name="connsiteX194" fmla="*/ 3355181 w 8801100"/>
                  <a:gd name="connsiteY194" fmla="*/ 3812382 h 4305300"/>
                  <a:gd name="connsiteX195" fmla="*/ 3748087 w 8801100"/>
                  <a:gd name="connsiteY195" fmla="*/ 3902869 h 4305300"/>
                  <a:gd name="connsiteX196" fmla="*/ 3831432 w 8801100"/>
                  <a:gd name="connsiteY196" fmla="*/ 4000500 h 4305300"/>
                  <a:gd name="connsiteX197" fmla="*/ 3950494 w 8801100"/>
                  <a:gd name="connsiteY197" fmla="*/ 4071938 h 4305300"/>
                  <a:gd name="connsiteX198" fmla="*/ 4010025 w 8801100"/>
                  <a:gd name="connsiteY198" fmla="*/ 4055269 h 4305300"/>
                  <a:gd name="connsiteX199" fmla="*/ 4360068 w 8801100"/>
                  <a:gd name="connsiteY199" fmla="*/ 4229100 h 4305300"/>
                  <a:gd name="connsiteX200" fmla="*/ 4586288 w 8801100"/>
                  <a:gd name="connsiteY200" fmla="*/ 4200525 h 4305300"/>
                  <a:gd name="connsiteX201" fmla="*/ 4595813 w 8801100"/>
                  <a:gd name="connsiteY201" fmla="*/ 4279106 h 4305300"/>
                  <a:gd name="connsiteX202" fmla="*/ 4681538 w 8801100"/>
                  <a:gd name="connsiteY202" fmla="*/ 4274343 h 4305300"/>
                  <a:gd name="connsiteX203" fmla="*/ 4760119 w 8801100"/>
                  <a:gd name="connsiteY203" fmla="*/ 4305300 h 4305300"/>
                  <a:gd name="connsiteX204" fmla="*/ 4802981 w 8801100"/>
                  <a:gd name="connsiteY204" fmla="*/ 4245769 h 4305300"/>
                  <a:gd name="connsiteX205" fmla="*/ 5474494 w 8801100"/>
                  <a:gd name="connsiteY205" fmla="*/ 3926681 h 4305300"/>
                  <a:gd name="connsiteX206" fmla="*/ 5562600 w 8801100"/>
                  <a:gd name="connsiteY206" fmla="*/ 3955257 h 4305300"/>
                  <a:gd name="connsiteX207" fmla="*/ 5693569 w 8801100"/>
                  <a:gd name="connsiteY207" fmla="*/ 3926681 h 4305300"/>
                  <a:gd name="connsiteX208" fmla="*/ 5872162 w 8801100"/>
                  <a:gd name="connsiteY208" fmla="*/ 3943350 h 4305300"/>
                  <a:gd name="connsiteX209" fmla="*/ 5929313 w 8801100"/>
                  <a:gd name="connsiteY209" fmla="*/ 3917157 h 4305300"/>
                  <a:gd name="connsiteX210" fmla="*/ 6062662 w 8801100"/>
                  <a:gd name="connsiteY210" fmla="*/ 3914775 h 4305300"/>
                  <a:gd name="connsiteX211" fmla="*/ 6196012 w 8801100"/>
                  <a:gd name="connsiteY211" fmla="*/ 3817144 h 4305300"/>
                  <a:gd name="connsiteX212" fmla="*/ 6262687 w 8801100"/>
                  <a:gd name="connsiteY212" fmla="*/ 3810000 h 4305300"/>
                  <a:gd name="connsiteX213" fmla="*/ 6360319 w 8801100"/>
                  <a:gd name="connsiteY213" fmla="*/ 3736181 h 4305300"/>
                  <a:gd name="connsiteX214" fmla="*/ 6434138 w 8801100"/>
                  <a:gd name="connsiteY214" fmla="*/ 3667125 h 4305300"/>
                  <a:gd name="connsiteX215" fmla="*/ 6443663 w 8801100"/>
                  <a:gd name="connsiteY215" fmla="*/ 3605213 h 4305300"/>
                  <a:gd name="connsiteX216" fmla="*/ 6477000 w 8801100"/>
                  <a:gd name="connsiteY216" fmla="*/ 3536156 h 4305300"/>
                  <a:gd name="connsiteX217" fmla="*/ 6629400 w 8801100"/>
                  <a:gd name="connsiteY217" fmla="*/ 3429000 h 4305300"/>
                  <a:gd name="connsiteX218" fmla="*/ 6662738 w 8801100"/>
                  <a:gd name="connsiteY218" fmla="*/ 3433763 h 4305300"/>
                  <a:gd name="connsiteX219" fmla="*/ 6715125 w 8801100"/>
                  <a:gd name="connsiteY219" fmla="*/ 3355181 h 4305300"/>
                  <a:gd name="connsiteX220" fmla="*/ 6762750 w 8801100"/>
                  <a:gd name="connsiteY220" fmla="*/ 3317081 h 4305300"/>
                  <a:gd name="connsiteX221" fmla="*/ 6748463 w 8801100"/>
                  <a:gd name="connsiteY221" fmla="*/ 3248025 h 4305300"/>
                  <a:gd name="connsiteX222" fmla="*/ 6698456 w 8801100"/>
                  <a:gd name="connsiteY222" fmla="*/ 3217068 h 4305300"/>
                  <a:gd name="connsiteX223" fmla="*/ 6638925 w 8801100"/>
                  <a:gd name="connsiteY223" fmla="*/ 3162300 h 4305300"/>
                  <a:gd name="connsiteX224" fmla="*/ 6619875 w 8801100"/>
                  <a:gd name="connsiteY224" fmla="*/ 3105150 h 4305300"/>
                  <a:gd name="connsiteX225" fmla="*/ 6584156 w 8801100"/>
                  <a:gd name="connsiteY225" fmla="*/ 3071813 h 4305300"/>
                  <a:gd name="connsiteX226" fmla="*/ 6610350 w 8801100"/>
                  <a:gd name="connsiteY226" fmla="*/ 3019425 h 4305300"/>
                  <a:gd name="connsiteX227" fmla="*/ 6650831 w 8801100"/>
                  <a:gd name="connsiteY227" fmla="*/ 2840831 h 4305300"/>
                  <a:gd name="connsiteX228" fmla="*/ 6691313 w 8801100"/>
                  <a:gd name="connsiteY228" fmla="*/ 2774156 h 4305300"/>
                  <a:gd name="connsiteX229" fmla="*/ 6836569 w 8801100"/>
                  <a:gd name="connsiteY229" fmla="*/ 2757487 h 4305300"/>
                  <a:gd name="connsiteX230" fmla="*/ 6905625 w 8801100"/>
                  <a:gd name="connsiteY230" fmla="*/ 2814638 h 4305300"/>
                  <a:gd name="connsiteX231" fmla="*/ 6981825 w 8801100"/>
                  <a:gd name="connsiteY231" fmla="*/ 2838450 h 4305300"/>
                  <a:gd name="connsiteX232" fmla="*/ 7186612 w 8801100"/>
                  <a:gd name="connsiteY232" fmla="*/ 2843213 h 4305300"/>
                  <a:gd name="connsiteX233" fmla="*/ 7362825 w 8801100"/>
                  <a:gd name="connsiteY233" fmla="*/ 2705100 h 4305300"/>
                  <a:gd name="connsiteX234" fmla="*/ 7419975 w 8801100"/>
                  <a:gd name="connsiteY234" fmla="*/ 2614612 h 4305300"/>
                  <a:gd name="connsiteX235" fmla="*/ 7446169 w 8801100"/>
                  <a:gd name="connsiteY235" fmla="*/ 2531269 h 4305300"/>
                  <a:gd name="connsiteX236" fmla="*/ 7577137 w 8801100"/>
                  <a:gd name="connsiteY236" fmla="*/ 2531269 h 4305300"/>
                  <a:gd name="connsiteX237" fmla="*/ 7750969 w 8801100"/>
                  <a:gd name="connsiteY237" fmla="*/ 2474118 h 4305300"/>
                  <a:gd name="connsiteX238" fmla="*/ 7810500 w 8801100"/>
                  <a:gd name="connsiteY238" fmla="*/ 2362200 h 4305300"/>
                  <a:gd name="connsiteX239" fmla="*/ 7874794 w 8801100"/>
                  <a:gd name="connsiteY239" fmla="*/ 2326481 h 4305300"/>
                  <a:gd name="connsiteX240" fmla="*/ 7853363 w 8801100"/>
                  <a:gd name="connsiteY240" fmla="*/ 2281238 h 4305300"/>
                  <a:gd name="connsiteX241" fmla="*/ 7931944 w 8801100"/>
                  <a:gd name="connsiteY241" fmla="*/ 2112168 h 4305300"/>
                  <a:gd name="connsiteX242" fmla="*/ 7986713 w 8801100"/>
                  <a:gd name="connsiteY242" fmla="*/ 2052638 h 4305300"/>
                  <a:gd name="connsiteX243" fmla="*/ 8024813 w 8801100"/>
                  <a:gd name="connsiteY243" fmla="*/ 2047875 h 4305300"/>
                  <a:gd name="connsiteX244" fmla="*/ 8070056 w 8801100"/>
                  <a:gd name="connsiteY244" fmla="*/ 2052638 h 4305300"/>
                  <a:gd name="connsiteX245" fmla="*/ 8134350 w 8801100"/>
                  <a:gd name="connsiteY245" fmla="*/ 2019300 h 4305300"/>
                  <a:gd name="connsiteX246" fmla="*/ 8143875 w 8801100"/>
                  <a:gd name="connsiteY246" fmla="*/ 1955006 h 4305300"/>
                  <a:gd name="connsiteX247" fmla="*/ 8184355 w 8801100"/>
                  <a:gd name="connsiteY247" fmla="*/ 1919288 h 4305300"/>
                  <a:gd name="connsiteX248" fmla="*/ 8243888 w 8801100"/>
                  <a:gd name="connsiteY248" fmla="*/ 1959768 h 4305300"/>
                  <a:gd name="connsiteX249" fmla="*/ 8270082 w 8801100"/>
                  <a:gd name="connsiteY249" fmla="*/ 1909762 h 4305300"/>
                  <a:gd name="connsiteX250" fmla="*/ 8365331 w 8801100"/>
                  <a:gd name="connsiteY250" fmla="*/ 1840706 h 4305300"/>
                  <a:gd name="connsiteX251" fmla="*/ 8427244 w 8801100"/>
                  <a:gd name="connsiteY251" fmla="*/ 1847850 h 4305300"/>
                  <a:gd name="connsiteX252" fmla="*/ 8477250 w 8801100"/>
                  <a:gd name="connsiteY252" fmla="*/ 1828800 h 4305300"/>
                  <a:gd name="connsiteX253" fmla="*/ 8515350 w 8801100"/>
                  <a:gd name="connsiteY253" fmla="*/ 1800225 h 4305300"/>
                  <a:gd name="connsiteX254" fmla="*/ 8548688 w 8801100"/>
                  <a:gd name="connsiteY254" fmla="*/ 1797844 h 4305300"/>
                  <a:gd name="connsiteX255" fmla="*/ 8584406 w 8801100"/>
                  <a:gd name="connsiteY255" fmla="*/ 1828800 h 4305300"/>
                  <a:gd name="connsiteX256" fmla="*/ 8643938 w 8801100"/>
                  <a:gd name="connsiteY256" fmla="*/ 1828800 h 4305300"/>
                  <a:gd name="connsiteX257" fmla="*/ 8682037 w 8801100"/>
                  <a:gd name="connsiteY257" fmla="*/ 1809750 h 4305300"/>
                  <a:gd name="connsiteX258" fmla="*/ 8765381 w 8801100"/>
                  <a:gd name="connsiteY258" fmla="*/ 1812132 h 4305300"/>
                  <a:gd name="connsiteX259" fmla="*/ 8796338 w 8801100"/>
                  <a:gd name="connsiteY259" fmla="*/ 1766888 h 4305300"/>
                  <a:gd name="connsiteX260" fmla="*/ 8801100 w 8801100"/>
                  <a:gd name="connsiteY260" fmla="*/ 1704975 h 4305300"/>
                  <a:gd name="connsiteX261" fmla="*/ 8751093 w 8801100"/>
                  <a:gd name="connsiteY261" fmla="*/ 1664494 h 4305300"/>
                  <a:gd name="connsiteX262" fmla="*/ 8734425 w 8801100"/>
                  <a:gd name="connsiteY262" fmla="*/ 1609725 h 4305300"/>
                  <a:gd name="connsiteX263" fmla="*/ 8643938 w 8801100"/>
                  <a:gd name="connsiteY263" fmla="*/ 1547813 h 4305300"/>
                  <a:gd name="connsiteX264" fmla="*/ 8603456 w 8801100"/>
                  <a:gd name="connsiteY264" fmla="*/ 1526381 h 4305300"/>
                  <a:gd name="connsiteX265" fmla="*/ 8565356 w 8801100"/>
                  <a:gd name="connsiteY265" fmla="*/ 1481138 h 4305300"/>
                  <a:gd name="connsiteX266" fmla="*/ 8534400 w 8801100"/>
                  <a:gd name="connsiteY266" fmla="*/ 1478756 h 4305300"/>
                  <a:gd name="connsiteX267" fmla="*/ 8517731 w 8801100"/>
                  <a:gd name="connsiteY267" fmla="*/ 1426369 h 4305300"/>
                  <a:gd name="connsiteX268" fmla="*/ 8477250 w 8801100"/>
                  <a:gd name="connsiteY268" fmla="*/ 1409700 h 4305300"/>
                  <a:gd name="connsiteX269" fmla="*/ 8477250 w 8801100"/>
                  <a:gd name="connsiteY269" fmla="*/ 1409700 h 4305300"/>
                  <a:gd name="connsiteX270" fmla="*/ 8436769 w 8801100"/>
                  <a:gd name="connsiteY270" fmla="*/ 1414463 h 4305300"/>
                  <a:gd name="connsiteX271" fmla="*/ 8351043 w 8801100"/>
                  <a:gd name="connsiteY271" fmla="*/ 1340644 h 4305300"/>
                  <a:gd name="connsiteX272" fmla="*/ 8170069 w 8801100"/>
                  <a:gd name="connsiteY272" fmla="*/ 1340643 h 4305300"/>
                  <a:gd name="connsiteX273" fmla="*/ 8117681 w 8801100"/>
                  <a:gd name="connsiteY273" fmla="*/ 1378744 h 4305300"/>
                  <a:gd name="connsiteX274" fmla="*/ 8067675 w 8801100"/>
                  <a:gd name="connsiteY274" fmla="*/ 1457325 h 4305300"/>
                  <a:gd name="connsiteX275" fmla="*/ 8084344 w 8801100"/>
                  <a:gd name="connsiteY275" fmla="*/ 1478756 h 4305300"/>
                  <a:gd name="connsiteX276" fmla="*/ 8039100 w 8801100"/>
                  <a:gd name="connsiteY276" fmla="*/ 1528762 h 4305300"/>
                  <a:gd name="connsiteX277" fmla="*/ 7889081 w 8801100"/>
                  <a:gd name="connsiteY277" fmla="*/ 1452562 h 4305300"/>
                  <a:gd name="connsiteX278" fmla="*/ 7798594 w 8801100"/>
                  <a:gd name="connsiteY278" fmla="*/ 1488281 h 4305300"/>
                  <a:gd name="connsiteX279" fmla="*/ 7724775 w 8801100"/>
                  <a:gd name="connsiteY279" fmla="*/ 1485900 h 4305300"/>
                  <a:gd name="connsiteX280" fmla="*/ 7667625 w 8801100"/>
                  <a:gd name="connsiteY280" fmla="*/ 1581150 h 4305300"/>
                  <a:gd name="connsiteX281" fmla="*/ 7529513 w 8801100"/>
                  <a:gd name="connsiteY281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873919 w 8801100"/>
                  <a:gd name="connsiteY128" fmla="*/ 523875 h 4305300"/>
                  <a:gd name="connsiteX129" fmla="*/ 778669 w 8801100"/>
                  <a:gd name="connsiteY129" fmla="*/ 538162 h 4305300"/>
                  <a:gd name="connsiteX130" fmla="*/ 764381 w 8801100"/>
                  <a:gd name="connsiteY130" fmla="*/ 559594 h 4305300"/>
                  <a:gd name="connsiteX131" fmla="*/ 776287 w 8801100"/>
                  <a:gd name="connsiteY131" fmla="*/ 604838 h 4305300"/>
                  <a:gd name="connsiteX132" fmla="*/ 676276 w 8801100"/>
                  <a:gd name="connsiteY132" fmla="*/ 657225 h 4305300"/>
                  <a:gd name="connsiteX133" fmla="*/ 2381 w 8801100"/>
                  <a:gd name="connsiteY133" fmla="*/ 1490661 h 4305300"/>
                  <a:gd name="connsiteX134" fmla="*/ 0 w 8801100"/>
                  <a:gd name="connsiteY134" fmla="*/ 709613 h 4305300"/>
                  <a:gd name="connsiteX135" fmla="*/ 76200 w 8801100"/>
                  <a:gd name="connsiteY135" fmla="*/ 692944 h 4305300"/>
                  <a:gd name="connsiteX136" fmla="*/ 119063 w 8801100"/>
                  <a:gd name="connsiteY136" fmla="*/ 721519 h 4305300"/>
                  <a:gd name="connsiteX137" fmla="*/ 215900 w 8801100"/>
                  <a:gd name="connsiteY137" fmla="*/ 712788 h 4305300"/>
                  <a:gd name="connsiteX138" fmla="*/ 261938 w 8801100"/>
                  <a:gd name="connsiteY138" fmla="*/ 740568 h 4305300"/>
                  <a:gd name="connsiteX139" fmla="*/ 228600 w 8801100"/>
                  <a:gd name="connsiteY139" fmla="*/ 769144 h 4305300"/>
                  <a:gd name="connsiteX140" fmla="*/ 233363 w 8801100"/>
                  <a:gd name="connsiteY140" fmla="*/ 812006 h 4305300"/>
                  <a:gd name="connsiteX141" fmla="*/ 200025 w 8801100"/>
                  <a:gd name="connsiteY141" fmla="*/ 816769 h 4305300"/>
                  <a:gd name="connsiteX142" fmla="*/ 204788 w 8801100"/>
                  <a:gd name="connsiteY142" fmla="*/ 840581 h 4305300"/>
                  <a:gd name="connsiteX143" fmla="*/ 261937 w 8801100"/>
                  <a:gd name="connsiteY143" fmla="*/ 914400 h 4305300"/>
                  <a:gd name="connsiteX144" fmla="*/ 223838 w 8801100"/>
                  <a:gd name="connsiteY144" fmla="*/ 962025 h 4305300"/>
                  <a:gd name="connsiteX145" fmla="*/ 278606 w 8801100"/>
                  <a:gd name="connsiteY145" fmla="*/ 997744 h 4305300"/>
                  <a:gd name="connsiteX146" fmla="*/ 369094 w 8801100"/>
                  <a:gd name="connsiteY146" fmla="*/ 1085850 h 4305300"/>
                  <a:gd name="connsiteX147" fmla="*/ 371475 w 8801100"/>
                  <a:gd name="connsiteY147" fmla="*/ 1145381 h 4305300"/>
                  <a:gd name="connsiteX148" fmla="*/ 507206 w 8801100"/>
                  <a:gd name="connsiteY148" fmla="*/ 1278732 h 4305300"/>
                  <a:gd name="connsiteX149" fmla="*/ 561975 w 8801100"/>
                  <a:gd name="connsiteY149" fmla="*/ 1254919 h 4305300"/>
                  <a:gd name="connsiteX150" fmla="*/ 600075 w 8801100"/>
                  <a:gd name="connsiteY150" fmla="*/ 1281112 h 4305300"/>
                  <a:gd name="connsiteX151" fmla="*/ 614363 w 8801100"/>
                  <a:gd name="connsiteY151" fmla="*/ 1331118 h 4305300"/>
                  <a:gd name="connsiteX152" fmla="*/ 657225 w 8801100"/>
                  <a:gd name="connsiteY152" fmla="*/ 1366838 h 4305300"/>
                  <a:gd name="connsiteX153" fmla="*/ 697706 w 8801100"/>
                  <a:gd name="connsiteY153" fmla="*/ 1354931 h 4305300"/>
                  <a:gd name="connsiteX154" fmla="*/ 716756 w 8801100"/>
                  <a:gd name="connsiteY154" fmla="*/ 1412081 h 4305300"/>
                  <a:gd name="connsiteX155" fmla="*/ 764381 w 8801100"/>
                  <a:gd name="connsiteY155" fmla="*/ 1454944 h 4305300"/>
                  <a:gd name="connsiteX156" fmla="*/ 788194 w 8801100"/>
                  <a:gd name="connsiteY156" fmla="*/ 1557338 h 4305300"/>
                  <a:gd name="connsiteX157" fmla="*/ 785813 w 8801100"/>
                  <a:gd name="connsiteY157" fmla="*/ 1604963 h 4305300"/>
                  <a:gd name="connsiteX158" fmla="*/ 821531 w 8801100"/>
                  <a:gd name="connsiteY158" fmla="*/ 1704975 h 4305300"/>
                  <a:gd name="connsiteX159" fmla="*/ 866775 w 8801100"/>
                  <a:gd name="connsiteY159" fmla="*/ 1762125 h 4305300"/>
                  <a:gd name="connsiteX160" fmla="*/ 883443 w 8801100"/>
                  <a:gd name="connsiteY160" fmla="*/ 1919287 h 4305300"/>
                  <a:gd name="connsiteX161" fmla="*/ 850106 w 8801100"/>
                  <a:gd name="connsiteY161" fmla="*/ 1981200 h 4305300"/>
                  <a:gd name="connsiteX162" fmla="*/ 819150 w 8801100"/>
                  <a:gd name="connsiteY162" fmla="*/ 2057400 h 4305300"/>
                  <a:gd name="connsiteX163" fmla="*/ 833438 w 8801100"/>
                  <a:gd name="connsiteY163" fmla="*/ 2114550 h 4305300"/>
                  <a:gd name="connsiteX164" fmla="*/ 735806 w 8801100"/>
                  <a:gd name="connsiteY164" fmla="*/ 2221707 h 4305300"/>
                  <a:gd name="connsiteX165" fmla="*/ 692944 w 8801100"/>
                  <a:gd name="connsiteY165" fmla="*/ 2336006 h 4305300"/>
                  <a:gd name="connsiteX166" fmla="*/ 726281 w 8801100"/>
                  <a:gd name="connsiteY166" fmla="*/ 2376488 h 4305300"/>
                  <a:gd name="connsiteX167" fmla="*/ 709613 w 8801100"/>
                  <a:gd name="connsiteY167" fmla="*/ 2405063 h 4305300"/>
                  <a:gd name="connsiteX168" fmla="*/ 740569 w 8801100"/>
                  <a:gd name="connsiteY168" fmla="*/ 2462213 h 4305300"/>
                  <a:gd name="connsiteX169" fmla="*/ 769144 w 8801100"/>
                  <a:gd name="connsiteY169" fmla="*/ 2462213 h 4305300"/>
                  <a:gd name="connsiteX170" fmla="*/ 931069 w 8801100"/>
                  <a:gd name="connsiteY170" fmla="*/ 2564606 h 4305300"/>
                  <a:gd name="connsiteX171" fmla="*/ 1035844 w 8801100"/>
                  <a:gd name="connsiteY171" fmla="*/ 2562225 h 4305300"/>
                  <a:gd name="connsiteX172" fmla="*/ 1114425 w 8801100"/>
                  <a:gd name="connsiteY172" fmla="*/ 2616994 h 4305300"/>
                  <a:gd name="connsiteX173" fmla="*/ 1245393 w 8801100"/>
                  <a:gd name="connsiteY173" fmla="*/ 2619375 h 4305300"/>
                  <a:gd name="connsiteX174" fmla="*/ 1435893 w 8801100"/>
                  <a:gd name="connsiteY174" fmla="*/ 2688431 h 4305300"/>
                  <a:gd name="connsiteX175" fmla="*/ 1638300 w 8801100"/>
                  <a:gd name="connsiteY175" fmla="*/ 2838450 h 4305300"/>
                  <a:gd name="connsiteX176" fmla="*/ 1671637 w 8801100"/>
                  <a:gd name="connsiteY176" fmla="*/ 2905125 h 4305300"/>
                  <a:gd name="connsiteX177" fmla="*/ 1838325 w 8801100"/>
                  <a:gd name="connsiteY177" fmla="*/ 3031331 h 4305300"/>
                  <a:gd name="connsiteX178" fmla="*/ 1909763 w 8801100"/>
                  <a:gd name="connsiteY178" fmla="*/ 3026569 h 4305300"/>
                  <a:gd name="connsiteX179" fmla="*/ 1945482 w 8801100"/>
                  <a:gd name="connsiteY179" fmla="*/ 3050381 h 4305300"/>
                  <a:gd name="connsiteX180" fmla="*/ 1916906 w 8801100"/>
                  <a:gd name="connsiteY180" fmla="*/ 3090863 h 4305300"/>
                  <a:gd name="connsiteX181" fmla="*/ 1924050 w 8801100"/>
                  <a:gd name="connsiteY181" fmla="*/ 3143250 h 4305300"/>
                  <a:gd name="connsiteX182" fmla="*/ 1976438 w 8801100"/>
                  <a:gd name="connsiteY182" fmla="*/ 3169444 h 4305300"/>
                  <a:gd name="connsiteX183" fmla="*/ 2038350 w 8801100"/>
                  <a:gd name="connsiteY183" fmla="*/ 3393282 h 4305300"/>
                  <a:gd name="connsiteX184" fmla="*/ 2028825 w 8801100"/>
                  <a:gd name="connsiteY184" fmla="*/ 3457575 h 4305300"/>
                  <a:gd name="connsiteX185" fmla="*/ 2164556 w 8801100"/>
                  <a:gd name="connsiteY185" fmla="*/ 3624263 h 4305300"/>
                  <a:gd name="connsiteX186" fmla="*/ 2183606 w 8801100"/>
                  <a:gd name="connsiteY186" fmla="*/ 3674269 h 4305300"/>
                  <a:gd name="connsiteX187" fmla="*/ 2157413 w 8801100"/>
                  <a:gd name="connsiteY187" fmla="*/ 3693319 h 4305300"/>
                  <a:gd name="connsiteX188" fmla="*/ 2259806 w 8801100"/>
                  <a:gd name="connsiteY188" fmla="*/ 3702844 h 4305300"/>
                  <a:gd name="connsiteX189" fmla="*/ 2371725 w 8801100"/>
                  <a:gd name="connsiteY189" fmla="*/ 3690938 h 4305300"/>
                  <a:gd name="connsiteX190" fmla="*/ 2650331 w 8801100"/>
                  <a:gd name="connsiteY190" fmla="*/ 3774281 h 4305300"/>
                  <a:gd name="connsiteX191" fmla="*/ 3057525 w 8801100"/>
                  <a:gd name="connsiteY191" fmla="*/ 3855244 h 4305300"/>
                  <a:gd name="connsiteX192" fmla="*/ 3255169 w 8801100"/>
                  <a:gd name="connsiteY192" fmla="*/ 3824287 h 4305300"/>
                  <a:gd name="connsiteX193" fmla="*/ 3300413 w 8801100"/>
                  <a:gd name="connsiteY193" fmla="*/ 3836193 h 4305300"/>
                  <a:gd name="connsiteX194" fmla="*/ 3355181 w 8801100"/>
                  <a:gd name="connsiteY194" fmla="*/ 3812382 h 4305300"/>
                  <a:gd name="connsiteX195" fmla="*/ 3748087 w 8801100"/>
                  <a:gd name="connsiteY195" fmla="*/ 3902869 h 4305300"/>
                  <a:gd name="connsiteX196" fmla="*/ 3831432 w 8801100"/>
                  <a:gd name="connsiteY196" fmla="*/ 4000500 h 4305300"/>
                  <a:gd name="connsiteX197" fmla="*/ 3950494 w 8801100"/>
                  <a:gd name="connsiteY197" fmla="*/ 4071938 h 4305300"/>
                  <a:gd name="connsiteX198" fmla="*/ 4010025 w 8801100"/>
                  <a:gd name="connsiteY198" fmla="*/ 4055269 h 4305300"/>
                  <a:gd name="connsiteX199" fmla="*/ 4360068 w 8801100"/>
                  <a:gd name="connsiteY199" fmla="*/ 4229100 h 4305300"/>
                  <a:gd name="connsiteX200" fmla="*/ 4586288 w 8801100"/>
                  <a:gd name="connsiteY200" fmla="*/ 4200525 h 4305300"/>
                  <a:gd name="connsiteX201" fmla="*/ 4595813 w 8801100"/>
                  <a:gd name="connsiteY201" fmla="*/ 4279106 h 4305300"/>
                  <a:gd name="connsiteX202" fmla="*/ 4681538 w 8801100"/>
                  <a:gd name="connsiteY202" fmla="*/ 4274343 h 4305300"/>
                  <a:gd name="connsiteX203" fmla="*/ 4760119 w 8801100"/>
                  <a:gd name="connsiteY203" fmla="*/ 4305300 h 4305300"/>
                  <a:gd name="connsiteX204" fmla="*/ 4802981 w 8801100"/>
                  <a:gd name="connsiteY204" fmla="*/ 4245769 h 4305300"/>
                  <a:gd name="connsiteX205" fmla="*/ 5474494 w 8801100"/>
                  <a:gd name="connsiteY205" fmla="*/ 3926681 h 4305300"/>
                  <a:gd name="connsiteX206" fmla="*/ 5562600 w 8801100"/>
                  <a:gd name="connsiteY206" fmla="*/ 3955257 h 4305300"/>
                  <a:gd name="connsiteX207" fmla="*/ 5693569 w 8801100"/>
                  <a:gd name="connsiteY207" fmla="*/ 3926681 h 4305300"/>
                  <a:gd name="connsiteX208" fmla="*/ 5872162 w 8801100"/>
                  <a:gd name="connsiteY208" fmla="*/ 3943350 h 4305300"/>
                  <a:gd name="connsiteX209" fmla="*/ 5929313 w 8801100"/>
                  <a:gd name="connsiteY209" fmla="*/ 3917157 h 4305300"/>
                  <a:gd name="connsiteX210" fmla="*/ 6062662 w 8801100"/>
                  <a:gd name="connsiteY210" fmla="*/ 3914775 h 4305300"/>
                  <a:gd name="connsiteX211" fmla="*/ 6196012 w 8801100"/>
                  <a:gd name="connsiteY211" fmla="*/ 3817144 h 4305300"/>
                  <a:gd name="connsiteX212" fmla="*/ 6262687 w 8801100"/>
                  <a:gd name="connsiteY212" fmla="*/ 3810000 h 4305300"/>
                  <a:gd name="connsiteX213" fmla="*/ 6360319 w 8801100"/>
                  <a:gd name="connsiteY213" fmla="*/ 3736181 h 4305300"/>
                  <a:gd name="connsiteX214" fmla="*/ 6434138 w 8801100"/>
                  <a:gd name="connsiteY214" fmla="*/ 3667125 h 4305300"/>
                  <a:gd name="connsiteX215" fmla="*/ 6443663 w 8801100"/>
                  <a:gd name="connsiteY215" fmla="*/ 3605213 h 4305300"/>
                  <a:gd name="connsiteX216" fmla="*/ 6477000 w 8801100"/>
                  <a:gd name="connsiteY216" fmla="*/ 3536156 h 4305300"/>
                  <a:gd name="connsiteX217" fmla="*/ 6629400 w 8801100"/>
                  <a:gd name="connsiteY217" fmla="*/ 3429000 h 4305300"/>
                  <a:gd name="connsiteX218" fmla="*/ 6662738 w 8801100"/>
                  <a:gd name="connsiteY218" fmla="*/ 3433763 h 4305300"/>
                  <a:gd name="connsiteX219" fmla="*/ 6715125 w 8801100"/>
                  <a:gd name="connsiteY219" fmla="*/ 3355181 h 4305300"/>
                  <a:gd name="connsiteX220" fmla="*/ 6762750 w 8801100"/>
                  <a:gd name="connsiteY220" fmla="*/ 3317081 h 4305300"/>
                  <a:gd name="connsiteX221" fmla="*/ 6748463 w 8801100"/>
                  <a:gd name="connsiteY221" fmla="*/ 3248025 h 4305300"/>
                  <a:gd name="connsiteX222" fmla="*/ 6698456 w 8801100"/>
                  <a:gd name="connsiteY222" fmla="*/ 3217068 h 4305300"/>
                  <a:gd name="connsiteX223" fmla="*/ 6638925 w 8801100"/>
                  <a:gd name="connsiteY223" fmla="*/ 3162300 h 4305300"/>
                  <a:gd name="connsiteX224" fmla="*/ 6619875 w 8801100"/>
                  <a:gd name="connsiteY224" fmla="*/ 3105150 h 4305300"/>
                  <a:gd name="connsiteX225" fmla="*/ 6584156 w 8801100"/>
                  <a:gd name="connsiteY225" fmla="*/ 3071813 h 4305300"/>
                  <a:gd name="connsiteX226" fmla="*/ 6610350 w 8801100"/>
                  <a:gd name="connsiteY226" fmla="*/ 3019425 h 4305300"/>
                  <a:gd name="connsiteX227" fmla="*/ 6650831 w 8801100"/>
                  <a:gd name="connsiteY227" fmla="*/ 2840831 h 4305300"/>
                  <a:gd name="connsiteX228" fmla="*/ 6691313 w 8801100"/>
                  <a:gd name="connsiteY228" fmla="*/ 2774156 h 4305300"/>
                  <a:gd name="connsiteX229" fmla="*/ 6836569 w 8801100"/>
                  <a:gd name="connsiteY229" fmla="*/ 2757487 h 4305300"/>
                  <a:gd name="connsiteX230" fmla="*/ 6905625 w 8801100"/>
                  <a:gd name="connsiteY230" fmla="*/ 2814638 h 4305300"/>
                  <a:gd name="connsiteX231" fmla="*/ 6981825 w 8801100"/>
                  <a:gd name="connsiteY231" fmla="*/ 2838450 h 4305300"/>
                  <a:gd name="connsiteX232" fmla="*/ 7186612 w 8801100"/>
                  <a:gd name="connsiteY232" fmla="*/ 2843213 h 4305300"/>
                  <a:gd name="connsiteX233" fmla="*/ 7362825 w 8801100"/>
                  <a:gd name="connsiteY233" fmla="*/ 2705100 h 4305300"/>
                  <a:gd name="connsiteX234" fmla="*/ 7419975 w 8801100"/>
                  <a:gd name="connsiteY234" fmla="*/ 2614612 h 4305300"/>
                  <a:gd name="connsiteX235" fmla="*/ 7446169 w 8801100"/>
                  <a:gd name="connsiteY235" fmla="*/ 2531269 h 4305300"/>
                  <a:gd name="connsiteX236" fmla="*/ 7577137 w 8801100"/>
                  <a:gd name="connsiteY236" fmla="*/ 2531269 h 4305300"/>
                  <a:gd name="connsiteX237" fmla="*/ 7750969 w 8801100"/>
                  <a:gd name="connsiteY237" fmla="*/ 2474118 h 4305300"/>
                  <a:gd name="connsiteX238" fmla="*/ 7810500 w 8801100"/>
                  <a:gd name="connsiteY238" fmla="*/ 2362200 h 4305300"/>
                  <a:gd name="connsiteX239" fmla="*/ 7874794 w 8801100"/>
                  <a:gd name="connsiteY239" fmla="*/ 2326481 h 4305300"/>
                  <a:gd name="connsiteX240" fmla="*/ 7853363 w 8801100"/>
                  <a:gd name="connsiteY240" fmla="*/ 2281238 h 4305300"/>
                  <a:gd name="connsiteX241" fmla="*/ 7931944 w 8801100"/>
                  <a:gd name="connsiteY241" fmla="*/ 2112168 h 4305300"/>
                  <a:gd name="connsiteX242" fmla="*/ 7986713 w 8801100"/>
                  <a:gd name="connsiteY242" fmla="*/ 2052638 h 4305300"/>
                  <a:gd name="connsiteX243" fmla="*/ 8024813 w 8801100"/>
                  <a:gd name="connsiteY243" fmla="*/ 2047875 h 4305300"/>
                  <a:gd name="connsiteX244" fmla="*/ 8070056 w 8801100"/>
                  <a:gd name="connsiteY244" fmla="*/ 2052638 h 4305300"/>
                  <a:gd name="connsiteX245" fmla="*/ 8134350 w 8801100"/>
                  <a:gd name="connsiteY245" fmla="*/ 2019300 h 4305300"/>
                  <a:gd name="connsiteX246" fmla="*/ 8143875 w 8801100"/>
                  <a:gd name="connsiteY246" fmla="*/ 1955006 h 4305300"/>
                  <a:gd name="connsiteX247" fmla="*/ 8184355 w 8801100"/>
                  <a:gd name="connsiteY247" fmla="*/ 1919288 h 4305300"/>
                  <a:gd name="connsiteX248" fmla="*/ 8243888 w 8801100"/>
                  <a:gd name="connsiteY248" fmla="*/ 1959768 h 4305300"/>
                  <a:gd name="connsiteX249" fmla="*/ 8270082 w 8801100"/>
                  <a:gd name="connsiteY249" fmla="*/ 1909762 h 4305300"/>
                  <a:gd name="connsiteX250" fmla="*/ 8365331 w 8801100"/>
                  <a:gd name="connsiteY250" fmla="*/ 1840706 h 4305300"/>
                  <a:gd name="connsiteX251" fmla="*/ 8427244 w 8801100"/>
                  <a:gd name="connsiteY251" fmla="*/ 1847850 h 4305300"/>
                  <a:gd name="connsiteX252" fmla="*/ 8477250 w 8801100"/>
                  <a:gd name="connsiteY252" fmla="*/ 1828800 h 4305300"/>
                  <a:gd name="connsiteX253" fmla="*/ 8515350 w 8801100"/>
                  <a:gd name="connsiteY253" fmla="*/ 1800225 h 4305300"/>
                  <a:gd name="connsiteX254" fmla="*/ 8548688 w 8801100"/>
                  <a:gd name="connsiteY254" fmla="*/ 1797844 h 4305300"/>
                  <a:gd name="connsiteX255" fmla="*/ 8584406 w 8801100"/>
                  <a:gd name="connsiteY255" fmla="*/ 1828800 h 4305300"/>
                  <a:gd name="connsiteX256" fmla="*/ 8643938 w 8801100"/>
                  <a:gd name="connsiteY256" fmla="*/ 1828800 h 4305300"/>
                  <a:gd name="connsiteX257" fmla="*/ 8682037 w 8801100"/>
                  <a:gd name="connsiteY257" fmla="*/ 1809750 h 4305300"/>
                  <a:gd name="connsiteX258" fmla="*/ 8765381 w 8801100"/>
                  <a:gd name="connsiteY258" fmla="*/ 1812132 h 4305300"/>
                  <a:gd name="connsiteX259" fmla="*/ 8796338 w 8801100"/>
                  <a:gd name="connsiteY259" fmla="*/ 1766888 h 4305300"/>
                  <a:gd name="connsiteX260" fmla="*/ 8801100 w 8801100"/>
                  <a:gd name="connsiteY260" fmla="*/ 1704975 h 4305300"/>
                  <a:gd name="connsiteX261" fmla="*/ 8751093 w 8801100"/>
                  <a:gd name="connsiteY261" fmla="*/ 1664494 h 4305300"/>
                  <a:gd name="connsiteX262" fmla="*/ 8734425 w 8801100"/>
                  <a:gd name="connsiteY262" fmla="*/ 1609725 h 4305300"/>
                  <a:gd name="connsiteX263" fmla="*/ 8643938 w 8801100"/>
                  <a:gd name="connsiteY263" fmla="*/ 1547813 h 4305300"/>
                  <a:gd name="connsiteX264" fmla="*/ 8603456 w 8801100"/>
                  <a:gd name="connsiteY264" fmla="*/ 1526381 h 4305300"/>
                  <a:gd name="connsiteX265" fmla="*/ 8565356 w 8801100"/>
                  <a:gd name="connsiteY265" fmla="*/ 1481138 h 4305300"/>
                  <a:gd name="connsiteX266" fmla="*/ 8534400 w 8801100"/>
                  <a:gd name="connsiteY266" fmla="*/ 1478756 h 4305300"/>
                  <a:gd name="connsiteX267" fmla="*/ 8517731 w 8801100"/>
                  <a:gd name="connsiteY267" fmla="*/ 1426369 h 4305300"/>
                  <a:gd name="connsiteX268" fmla="*/ 8477250 w 8801100"/>
                  <a:gd name="connsiteY268" fmla="*/ 1409700 h 4305300"/>
                  <a:gd name="connsiteX269" fmla="*/ 8477250 w 8801100"/>
                  <a:gd name="connsiteY269" fmla="*/ 1409700 h 4305300"/>
                  <a:gd name="connsiteX270" fmla="*/ 8436769 w 8801100"/>
                  <a:gd name="connsiteY270" fmla="*/ 1414463 h 4305300"/>
                  <a:gd name="connsiteX271" fmla="*/ 8351043 w 8801100"/>
                  <a:gd name="connsiteY271" fmla="*/ 1340644 h 4305300"/>
                  <a:gd name="connsiteX272" fmla="*/ 8170069 w 8801100"/>
                  <a:gd name="connsiteY272" fmla="*/ 1340643 h 4305300"/>
                  <a:gd name="connsiteX273" fmla="*/ 8117681 w 8801100"/>
                  <a:gd name="connsiteY273" fmla="*/ 1378744 h 4305300"/>
                  <a:gd name="connsiteX274" fmla="*/ 8067675 w 8801100"/>
                  <a:gd name="connsiteY274" fmla="*/ 1457325 h 4305300"/>
                  <a:gd name="connsiteX275" fmla="*/ 8084344 w 8801100"/>
                  <a:gd name="connsiteY275" fmla="*/ 1478756 h 4305300"/>
                  <a:gd name="connsiteX276" fmla="*/ 8039100 w 8801100"/>
                  <a:gd name="connsiteY276" fmla="*/ 1528762 h 4305300"/>
                  <a:gd name="connsiteX277" fmla="*/ 7889081 w 8801100"/>
                  <a:gd name="connsiteY277" fmla="*/ 1452562 h 4305300"/>
                  <a:gd name="connsiteX278" fmla="*/ 7798594 w 8801100"/>
                  <a:gd name="connsiteY278" fmla="*/ 1488281 h 4305300"/>
                  <a:gd name="connsiteX279" fmla="*/ 7724775 w 8801100"/>
                  <a:gd name="connsiteY279" fmla="*/ 1485900 h 4305300"/>
                  <a:gd name="connsiteX280" fmla="*/ 7667625 w 8801100"/>
                  <a:gd name="connsiteY280" fmla="*/ 1581150 h 4305300"/>
                  <a:gd name="connsiteX281" fmla="*/ 7529513 w 8801100"/>
                  <a:gd name="connsiteY281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873919 w 8801100"/>
                  <a:gd name="connsiteY128" fmla="*/ 523875 h 4305300"/>
                  <a:gd name="connsiteX129" fmla="*/ 778669 w 8801100"/>
                  <a:gd name="connsiteY129" fmla="*/ 538162 h 4305300"/>
                  <a:gd name="connsiteX130" fmla="*/ 764381 w 8801100"/>
                  <a:gd name="connsiteY130" fmla="*/ 559594 h 4305300"/>
                  <a:gd name="connsiteX131" fmla="*/ 776287 w 8801100"/>
                  <a:gd name="connsiteY131" fmla="*/ 604838 h 4305300"/>
                  <a:gd name="connsiteX132" fmla="*/ 2381 w 8801100"/>
                  <a:gd name="connsiteY132" fmla="*/ 1490661 h 4305300"/>
                  <a:gd name="connsiteX133" fmla="*/ 0 w 8801100"/>
                  <a:gd name="connsiteY133" fmla="*/ 709613 h 4305300"/>
                  <a:gd name="connsiteX134" fmla="*/ 76200 w 8801100"/>
                  <a:gd name="connsiteY134" fmla="*/ 692944 h 4305300"/>
                  <a:gd name="connsiteX135" fmla="*/ 119063 w 8801100"/>
                  <a:gd name="connsiteY135" fmla="*/ 721519 h 4305300"/>
                  <a:gd name="connsiteX136" fmla="*/ 215900 w 8801100"/>
                  <a:gd name="connsiteY136" fmla="*/ 712788 h 4305300"/>
                  <a:gd name="connsiteX137" fmla="*/ 261938 w 8801100"/>
                  <a:gd name="connsiteY137" fmla="*/ 740568 h 4305300"/>
                  <a:gd name="connsiteX138" fmla="*/ 228600 w 8801100"/>
                  <a:gd name="connsiteY138" fmla="*/ 769144 h 4305300"/>
                  <a:gd name="connsiteX139" fmla="*/ 233363 w 8801100"/>
                  <a:gd name="connsiteY139" fmla="*/ 812006 h 4305300"/>
                  <a:gd name="connsiteX140" fmla="*/ 200025 w 8801100"/>
                  <a:gd name="connsiteY140" fmla="*/ 816769 h 4305300"/>
                  <a:gd name="connsiteX141" fmla="*/ 204788 w 8801100"/>
                  <a:gd name="connsiteY141" fmla="*/ 840581 h 4305300"/>
                  <a:gd name="connsiteX142" fmla="*/ 261937 w 8801100"/>
                  <a:gd name="connsiteY142" fmla="*/ 914400 h 4305300"/>
                  <a:gd name="connsiteX143" fmla="*/ 223838 w 8801100"/>
                  <a:gd name="connsiteY143" fmla="*/ 962025 h 4305300"/>
                  <a:gd name="connsiteX144" fmla="*/ 278606 w 8801100"/>
                  <a:gd name="connsiteY144" fmla="*/ 997744 h 4305300"/>
                  <a:gd name="connsiteX145" fmla="*/ 369094 w 8801100"/>
                  <a:gd name="connsiteY145" fmla="*/ 1085850 h 4305300"/>
                  <a:gd name="connsiteX146" fmla="*/ 371475 w 8801100"/>
                  <a:gd name="connsiteY146" fmla="*/ 1145381 h 4305300"/>
                  <a:gd name="connsiteX147" fmla="*/ 507206 w 8801100"/>
                  <a:gd name="connsiteY147" fmla="*/ 1278732 h 4305300"/>
                  <a:gd name="connsiteX148" fmla="*/ 561975 w 8801100"/>
                  <a:gd name="connsiteY148" fmla="*/ 1254919 h 4305300"/>
                  <a:gd name="connsiteX149" fmla="*/ 600075 w 8801100"/>
                  <a:gd name="connsiteY149" fmla="*/ 1281112 h 4305300"/>
                  <a:gd name="connsiteX150" fmla="*/ 614363 w 8801100"/>
                  <a:gd name="connsiteY150" fmla="*/ 1331118 h 4305300"/>
                  <a:gd name="connsiteX151" fmla="*/ 657225 w 8801100"/>
                  <a:gd name="connsiteY151" fmla="*/ 1366838 h 4305300"/>
                  <a:gd name="connsiteX152" fmla="*/ 697706 w 8801100"/>
                  <a:gd name="connsiteY152" fmla="*/ 1354931 h 4305300"/>
                  <a:gd name="connsiteX153" fmla="*/ 716756 w 8801100"/>
                  <a:gd name="connsiteY153" fmla="*/ 1412081 h 4305300"/>
                  <a:gd name="connsiteX154" fmla="*/ 764381 w 8801100"/>
                  <a:gd name="connsiteY154" fmla="*/ 1454944 h 4305300"/>
                  <a:gd name="connsiteX155" fmla="*/ 788194 w 8801100"/>
                  <a:gd name="connsiteY155" fmla="*/ 1557338 h 4305300"/>
                  <a:gd name="connsiteX156" fmla="*/ 785813 w 8801100"/>
                  <a:gd name="connsiteY156" fmla="*/ 1604963 h 4305300"/>
                  <a:gd name="connsiteX157" fmla="*/ 821531 w 8801100"/>
                  <a:gd name="connsiteY157" fmla="*/ 1704975 h 4305300"/>
                  <a:gd name="connsiteX158" fmla="*/ 866775 w 8801100"/>
                  <a:gd name="connsiteY158" fmla="*/ 1762125 h 4305300"/>
                  <a:gd name="connsiteX159" fmla="*/ 883443 w 8801100"/>
                  <a:gd name="connsiteY159" fmla="*/ 1919287 h 4305300"/>
                  <a:gd name="connsiteX160" fmla="*/ 850106 w 8801100"/>
                  <a:gd name="connsiteY160" fmla="*/ 1981200 h 4305300"/>
                  <a:gd name="connsiteX161" fmla="*/ 819150 w 8801100"/>
                  <a:gd name="connsiteY161" fmla="*/ 2057400 h 4305300"/>
                  <a:gd name="connsiteX162" fmla="*/ 833438 w 8801100"/>
                  <a:gd name="connsiteY162" fmla="*/ 2114550 h 4305300"/>
                  <a:gd name="connsiteX163" fmla="*/ 735806 w 8801100"/>
                  <a:gd name="connsiteY163" fmla="*/ 2221707 h 4305300"/>
                  <a:gd name="connsiteX164" fmla="*/ 692944 w 8801100"/>
                  <a:gd name="connsiteY164" fmla="*/ 2336006 h 4305300"/>
                  <a:gd name="connsiteX165" fmla="*/ 726281 w 8801100"/>
                  <a:gd name="connsiteY165" fmla="*/ 2376488 h 4305300"/>
                  <a:gd name="connsiteX166" fmla="*/ 709613 w 8801100"/>
                  <a:gd name="connsiteY166" fmla="*/ 2405063 h 4305300"/>
                  <a:gd name="connsiteX167" fmla="*/ 740569 w 8801100"/>
                  <a:gd name="connsiteY167" fmla="*/ 2462213 h 4305300"/>
                  <a:gd name="connsiteX168" fmla="*/ 769144 w 8801100"/>
                  <a:gd name="connsiteY168" fmla="*/ 2462213 h 4305300"/>
                  <a:gd name="connsiteX169" fmla="*/ 931069 w 8801100"/>
                  <a:gd name="connsiteY169" fmla="*/ 2564606 h 4305300"/>
                  <a:gd name="connsiteX170" fmla="*/ 1035844 w 8801100"/>
                  <a:gd name="connsiteY170" fmla="*/ 2562225 h 4305300"/>
                  <a:gd name="connsiteX171" fmla="*/ 1114425 w 8801100"/>
                  <a:gd name="connsiteY171" fmla="*/ 2616994 h 4305300"/>
                  <a:gd name="connsiteX172" fmla="*/ 1245393 w 8801100"/>
                  <a:gd name="connsiteY172" fmla="*/ 2619375 h 4305300"/>
                  <a:gd name="connsiteX173" fmla="*/ 1435893 w 8801100"/>
                  <a:gd name="connsiteY173" fmla="*/ 2688431 h 4305300"/>
                  <a:gd name="connsiteX174" fmla="*/ 1638300 w 8801100"/>
                  <a:gd name="connsiteY174" fmla="*/ 2838450 h 4305300"/>
                  <a:gd name="connsiteX175" fmla="*/ 1671637 w 8801100"/>
                  <a:gd name="connsiteY175" fmla="*/ 2905125 h 4305300"/>
                  <a:gd name="connsiteX176" fmla="*/ 1838325 w 8801100"/>
                  <a:gd name="connsiteY176" fmla="*/ 3031331 h 4305300"/>
                  <a:gd name="connsiteX177" fmla="*/ 1909763 w 8801100"/>
                  <a:gd name="connsiteY177" fmla="*/ 3026569 h 4305300"/>
                  <a:gd name="connsiteX178" fmla="*/ 1945482 w 8801100"/>
                  <a:gd name="connsiteY178" fmla="*/ 3050381 h 4305300"/>
                  <a:gd name="connsiteX179" fmla="*/ 1916906 w 8801100"/>
                  <a:gd name="connsiteY179" fmla="*/ 3090863 h 4305300"/>
                  <a:gd name="connsiteX180" fmla="*/ 1924050 w 8801100"/>
                  <a:gd name="connsiteY180" fmla="*/ 3143250 h 4305300"/>
                  <a:gd name="connsiteX181" fmla="*/ 1976438 w 8801100"/>
                  <a:gd name="connsiteY181" fmla="*/ 3169444 h 4305300"/>
                  <a:gd name="connsiteX182" fmla="*/ 2038350 w 8801100"/>
                  <a:gd name="connsiteY182" fmla="*/ 3393282 h 4305300"/>
                  <a:gd name="connsiteX183" fmla="*/ 2028825 w 8801100"/>
                  <a:gd name="connsiteY183" fmla="*/ 3457575 h 4305300"/>
                  <a:gd name="connsiteX184" fmla="*/ 2164556 w 8801100"/>
                  <a:gd name="connsiteY184" fmla="*/ 3624263 h 4305300"/>
                  <a:gd name="connsiteX185" fmla="*/ 2183606 w 8801100"/>
                  <a:gd name="connsiteY185" fmla="*/ 3674269 h 4305300"/>
                  <a:gd name="connsiteX186" fmla="*/ 2157413 w 8801100"/>
                  <a:gd name="connsiteY186" fmla="*/ 3693319 h 4305300"/>
                  <a:gd name="connsiteX187" fmla="*/ 2259806 w 8801100"/>
                  <a:gd name="connsiteY187" fmla="*/ 3702844 h 4305300"/>
                  <a:gd name="connsiteX188" fmla="*/ 2371725 w 8801100"/>
                  <a:gd name="connsiteY188" fmla="*/ 3690938 h 4305300"/>
                  <a:gd name="connsiteX189" fmla="*/ 2650331 w 8801100"/>
                  <a:gd name="connsiteY189" fmla="*/ 3774281 h 4305300"/>
                  <a:gd name="connsiteX190" fmla="*/ 3057525 w 8801100"/>
                  <a:gd name="connsiteY190" fmla="*/ 3855244 h 4305300"/>
                  <a:gd name="connsiteX191" fmla="*/ 3255169 w 8801100"/>
                  <a:gd name="connsiteY191" fmla="*/ 3824287 h 4305300"/>
                  <a:gd name="connsiteX192" fmla="*/ 3300413 w 8801100"/>
                  <a:gd name="connsiteY192" fmla="*/ 3836193 h 4305300"/>
                  <a:gd name="connsiteX193" fmla="*/ 3355181 w 8801100"/>
                  <a:gd name="connsiteY193" fmla="*/ 3812382 h 4305300"/>
                  <a:gd name="connsiteX194" fmla="*/ 3748087 w 8801100"/>
                  <a:gd name="connsiteY194" fmla="*/ 3902869 h 4305300"/>
                  <a:gd name="connsiteX195" fmla="*/ 3831432 w 8801100"/>
                  <a:gd name="connsiteY195" fmla="*/ 4000500 h 4305300"/>
                  <a:gd name="connsiteX196" fmla="*/ 3950494 w 8801100"/>
                  <a:gd name="connsiteY196" fmla="*/ 4071938 h 4305300"/>
                  <a:gd name="connsiteX197" fmla="*/ 4010025 w 8801100"/>
                  <a:gd name="connsiteY197" fmla="*/ 4055269 h 4305300"/>
                  <a:gd name="connsiteX198" fmla="*/ 4360068 w 8801100"/>
                  <a:gd name="connsiteY198" fmla="*/ 4229100 h 4305300"/>
                  <a:gd name="connsiteX199" fmla="*/ 4586288 w 8801100"/>
                  <a:gd name="connsiteY199" fmla="*/ 4200525 h 4305300"/>
                  <a:gd name="connsiteX200" fmla="*/ 4595813 w 8801100"/>
                  <a:gd name="connsiteY200" fmla="*/ 4279106 h 4305300"/>
                  <a:gd name="connsiteX201" fmla="*/ 4681538 w 8801100"/>
                  <a:gd name="connsiteY201" fmla="*/ 4274343 h 4305300"/>
                  <a:gd name="connsiteX202" fmla="*/ 4760119 w 8801100"/>
                  <a:gd name="connsiteY202" fmla="*/ 4305300 h 4305300"/>
                  <a:gd name="connsiteX203" fmla="*/ 4802981 w 8801100"/>
                  <a:gd name="connsiteY203" fmla="*/ 4245769 h 4305300"/>
                  <a:gd name="connsiteX204" fmla="*/ 5474494 w 8801100"/>
                  <a:gd name="connsiteY204" fmla="*/ 3926681 h 4305300"/>
                  <a:gd name="connsiteX205" fmla="*/ 5562600 w 8801100"/>
                  <a:gd name="connsiteY205" fmla="*/ 3955257 h 4305300"/>
                  <a:gd name="connsiteX206" fmla="*/ 5693569 w 8801100"/>
                  <a:gd name="connsiteY206" fmla="*/ 3926681 h 4305300"/>
                  <a:gd name="connsiteX207" fmla="*/ 5872162 w 8801100"/>
                  <a:gd name="connsiteY207" fmla="*/ 3943350 h 4305300"/>
                  <a:gd name="connsiteX208" fmla="*/ 5929313 w 8801100"/>
                  <a:gd name="connsiteY208" fmla="*/ 3917157 h 4305300"/>
                  <a:gd name="connsiteX209" fmla="*/ 6062662 w 8801100"/>
                  <a:gd name="connsiteY209" fmla="*/ 3914775 h 4305300"/>
                  <a:gd name="connsiteX210" fmla="*/ 6196012 w 8801100"/>
                  <a:gd name="connsiteY210" fmla="*/ 3817144 h 4305300"/>
                  <a:gd name="connsiteX211" fmla="*/ 6262687 w 8801100"/>
                  <a:gd name="connsiteY211" fmla="*/ 3810000 h 4305300"/>
                  <a:gd name="connsiteX212" fmla="*/ 6360319 w 8801100"/>
                  <a:gd name="connsiteY212" fmla="*/ 3736181 h 4305300"/>
                  <a:gd name="connsiteX213" fmla="*/ 6434138 w 8801100"/>
                  <a:gd name="connsiteY213" fmla="*/ 3667125 h 4305300"/>
                  <a:gd name="connsiteX214" fmla="*/ 6443663 w 8801100"/>
                  <a:gd name="connsiteY214" fmla="*/ 3605213 h 4305300"/>
                  <a:gd name="connsiteX215" fmla="*/ 6477000 w 8801100"/>
                  <a:gd name="connsiteY215" fmla="*/ 3536156 h 4305300"/>
                  <a:gd name="connsiteX216" fmla="*/ 6629400 w 8801100"/>
                  <a:gd name="connsiteY216" fmla="*/ 3429000 h 4305300"/>
                  <a:gd name="connsiteX217" fmla="*/ 6662738 w 8801100"/>
                  <a:gd name="connsiteY217" fmla="*/ 3433763 h 4305300"/>
                  <a:gd name="connsiteX218" fmla="*/ 6715125 w 8801100"/>
                  <a:gd name="connsiteY218" fmla="*/ 3355181 h 4305300"/>
                  <a:gd name="connsiteX219" fmla="*/ 6762750 w 8801100"/>
                  <a:gd name="connsiteY219" fmla="*/ 3317081 h 4305300"/>
                  <a:gd name="connsiteX220" fmla="*/ 6748463 w 8801100"/>
                  <a:gd name="connsiteY220" fmla="*/ 3248025 h 4305300"/>
                  <a:gd name="connsiteX221" fmla="*/ 6698456 w 8801100"/>
                  <a:gd name="connsiteY221" fmla="*/ 3217068 h 4305300"/>
                  <a:gd name="connsiteX222" fmla="*/ 6638925 w 8801100"/>
                  <a:gd name="connsiteY222" fmla="*/ 3162300 h 4305300"/>
                  <a:gd name="connsiteX223" fmla="*/ 6619875 w 8801100"/>
                  <a:gd name="connsiteY223" fmla="*/ 3105150 h 4305300"/>
                  <a:gd name="connsiteX224" fmla="*/ 6584156 w 8801100"/>
                  <a:gd name="connsiteY224" fmla="*/ 3071813 h 4305300"/>
                  <a:gd name="connsiteX225" fmla="*/ 6610350 w 8801100"/>
                  <a:gd name="connsiteY225" fmla="*/ 3019425 h 4305300"/>
                  <a:gd name="connsiteX226" fmla="*/ 6650831 w 8801100"/>
                  <a:gd name="connsiteY226" fmla="*/ 2840831 h 4305300"/>
                  <a:gd name="connsiteX227" fmla="*/ 6691313 w 8801100"/>
                  <a:gd name="connsiteY227" fmla="*/ 2774156 h 4305300"/>
                  <a:gd name="connsiteX228" fmla="*/ 6836569 w 8801100"/>
                  <a:gd name="connsiteY228" fmla="*/ 2757487 h 4305300"/>
                  <a:gd name="connsiteX229" fmla="*/ 6905625 w 8801100"/>
                  <a:gd name="connsiteY229" fmla="*/ 2814638 h 4305300"/>
                  <a:gd name="connsiteX230" fmla="*/ 6981825 w 8801100"/>
                  <a:gd name="connsiteY230" fmla="*/ 2838450 h 4305300"/>
                  <a:gd name="connsiteX231" fmla="*/ 7186612 w 8801100"/>
                  <a:gd name="connsiteY231" fmla="*/ 2843213 h 4305300"/>
                  <a:gd name="connsiteX232" fmla="*/ 7362825 w 8801100"/>
                  <a:gd name="connsiteY232" fmla="*/ 2705100 h 4305300"/>
                  <a:gd name="connsiteX233" fmla="*/ 7419975 w 8801100"/>
                  <a:gd name="connsiteY233" fmla="*/ 2614612 h 4305300"/>
                  <a:gd name="connsiteX234" fmla="*/ 7446169 w 8801100"/>
                  <a:gd name="connsiteY234" fmla="*/ 2531269 h 4305300"/>
                  <a:gd name="connsiteX235" fmla="*/ 7577137 w 8801100"/>
                  <a:gd name="connsiteY235" fmla="*/ 2531269 h 4305300"/>
                  <a:gd name="connsiteX236" fmla="*/ 7750969 w 8801100"/>
                  <a:gd name="connsiteY236" fmla="*/ 2474118 h 4305300"/>
                  <a:gd name="connsiteX237" fmla="*/ 7810500 w 8801100"/>
                  <a:gd name="connsiteY237" fmla="*/ 2362200 h 4305300"/>
                  <a:gd name="connsiteX238" fmla="*/ 7874794 w 8801100"/>
                  <a:gd name="connsiteY238" fmla="*/ 2326481 h 4305300"/>
                  <a:gd name="connsiteX239" fmla="*/ 7853363 w 8801100"/>
                  <a:gd name="connsiteY239" fmla="*/ 2281238 h 4305300"/>
                  <a:gd name="connsiteX240" fmla="*/ 7931944 w 8801100"/>
                  <a:gd name="connsiteY240" fmla="*/ 2112168 h 4305300"/>
                  <a:gd name="connsiteX241" fmla="*/ 7986713 w 8801100"/>
                  <a:gd name="connsiteY241" fmla="*/ 2052638 h 4305300"/>
                  <a:gd name="connsiteX242" fmla="*/ 8024813 w 8801100"/>
                  <a:gd name="connsiteY242" fmla="*/ 2047875 h 4305300"/>
                  <a:gd name="connsiteX243" fmla="*/ 8070056 w 8801100"/>
                  <a:gd name="connsiteY243" fmla="*/ 2052638 h 4305300"/>
                  <a:gd name="connsiteX244" fmla="*/ 8134350 w 8801100"/>
                  <a:gd name="connsiteY244" fmla="*/ 2019300 h 4305300"/>
                  <a:gd name="connsiteX245" fmla="*/ 8143875 w 8801100"/>
                  <a:gd name="connsiteY245" fmla="*/ 1955006 h 4305300"/>
                  <a:gd name="connsiteX246" fmla="*/ 8184355 w 8801100"/>
                  <a:gd name="connsiteY246" fmla="*/ 1919288 h 4305300"/>
                  <a:gd name="connsiteX247" fmla="*/ 8243888 w 8801100"/>
                  <a:gd name="connsiteY247" fmla="*/ 1959768 h 4305300"/>
                  <a:gd name="connsiteX248" fmla="*/ 8270082 w 8801100"/>
                  <a:gd name="connsiteY248" fmla="*/ 1909762 h 4305300"/>
                  <a:gd name="connsiteX249" fmla="*/ 8365331 w 8801100"/>
                  <a:gd name="connsiteY249" fmla="*/ 1840706 h 4305300"/>
                  <a:gd name="connsiteX250" fmla="*/ 8427244 w 8801100"/>
                  <a:gd name="connsiteY250" fmla="*/ 1847850 h 4305300"/>
                  <a:gd name="connsiteX251" fmla="*/ 8477250 w 8801100"/>
                  <a:gd name="connsiteY251" fmla="*/ 1828800 h 4305300"/>
                  <a:gd name="connsiteX252" fmla="*/ 8515350 w 8801100"/>
                  <a:gd name="connsiteY252" fmla="*/ 1800225 h 4305300"/>
                  <a:gd name="connsiteX253" fmla="*/ 8548688 w 8801100"/>
                  <a:gd name="connsiteY253" fmla="*/ 1797844 h 4305300"/>
                  <a:gd name="connsiteX254" fmla="*/ 8584406 w 8801100"/>
                  <a:gd name="connsiteY254" fmla="*/ 1828800 h 4305300"/>
                  <a:gd name="connsiteX255" fmla="*/ 8643938 w 8801100"/>
                  <a:gd name="connsiteY255" fmla="*/ 1828800 h 4305300"/>
                  <a:gd name="connsiteX256" fmla="*/ 8682037 w 8801100"/>
                  <a:gd name="connsiteY256" fmla="*/ 1809750 h 4305300"/>
                  <a:gd name="connsiteX257" fmla="*/ 8765381 w 8801100"/>
                  <a:gd name="connsiteY257" fmla="*/ 1812132 h 4305300"/>
                  <a:gd name="connsiteX258" fmla="*/ 8796338 w 8801100"/>
                  <a:gd name="connsiteY258" fmla="*/ 1766888 h 4305300"/>
                  <a:gd name="connsiteX259" fmla="*/ 8801100 w 8801100"/>
                  <a:gd name="connsiteY259" fmla="*/ 1704975 h 4305300"/>
                  <a:gd name="connsiteX260" fmla="*/ 8751093 w 8801100"/>
                  <a:gd name="connsiteY260" fmla="*/ 1664494 h 4305300"/>
                  <a:gd name="connsiteX261" fmla="*/ 8734425 w 8801100"/>
                  <a:gd name="connsiteY261" fmla="*/ 1609725 h 4305300"/>
                  <a:gd name="connsiteX262" fmla="*/ 8643938 w 8801100"/>
                  <a:gd name="connsiteY262" fmla="*/ 1547813 h 4305300"/>
                  <a:gd name="connsiteX263" fmla="*/ 8603456 w 8801100"/>
                  <a:gd name="connsiteY263" fmla="*/ 1526381 h 4305300"/>
                  <a:gd name="connsiteX264" fmla="*/ 8565356 w 8801100"/>
                  <a:gd name="connsiteY264" fmla="*/ 1481138 h 4305300"/>
                  <a:gd name="connsiteX265" fmla="*/ 8534400 w 8801100"/>
                  <a:gd name="connsiteY265" fmla="*/ 1478756 h 4305300"/>
                  <a:gd name="connsiteX266" fmla="*/ 8517731 w 8801100"/>
                  <a:gd name="connsiteY266" fmla="*/ 1426369 h 4305300"/>
                  <a:gd name="connsiteX267" fmla="*/ 8477250 w 8801100"/>
                  <a:gd name="connsiteY267" fmla="*/ 1409700 h 4305300"/>
                  <a:gd name="connsiteX268" fmla="*/ 8477250 w 8801100"/>
                  <a:gd name="connsiteY268" fmla="*/ 1409700 h 4305300"/>
                  <a:gd name="connsiteX269" fmla="*/ 8436769 w 8801100"/>
                  <a:gd name="connsiteY269" fmla="*/ 1414463 h 4305300"/>
                  <a:gd name="connsiteX270" fmla="*/ 8351043 w 8801100"/>
                  <a:gd name="connsiteY270" fmla="*/ 1340644 h 4305300"/>
                  <a:gd name="connsiteX271" fmla="*/ 8170069 w 8801100"/>
                  <a:gd name="connsiteY271" fmla="*/ 1340643 h 4305300"/>
                  <a:gd name="connsiteX272" fmla="*/ 8117681 w 8801100"/>
                  <a:gd name="connsiteY272" fmla="*/ 1378744 h 4305300"/>
                  <a:gd name="connsiteX273" fmla="*/ 8067675 w 8801100"/>
                  <a:gd name="connsiteY273" fmla="*/ 1457325 h 4305300"/>
                  <a:gd name="connsiteX274" fmla="*/ 8084344 w 8801100"/>
                  <a:gd name="connsiteY274" fmla="*/ 1478756 h 4305300"/>
                  <a:gd name="connsiteX275" fmla="*/ 8039100 w 8801100"/>
                  <a:gd name="connsiteY275" fmla="*/ 1528762 h 4305300"/>
                  <a:gd name="connsiteX276" fmla="*/ 7889081 w 8801100"/>
                  <a:gd name="connsiteY276" fmla="*/ 1452562 h 4305300"/>
                  <a:gd name="connsiteX277" fmla="*/ 7798594 w 8801100"/>
                  <a:gd name="connsiteY277" fmla="*/ 1488281 h 4305300"/>
                  <a:gd name="connsiteX278" fmla="*/ 7724775 w 8801100"/>
                  <a:gd name="connsiteY278" fmla="*/ 1485900 h 4305300"/>
                  <a:gd name="connsiteX279" fmla="*/ 7667625 w 8801100"/>
                  <a:gd name="connsiteY279" fmla="*/ 1581150 h 4305300"/>
                  <a:gd name="connsiteX280" fmla="*/ 7529513 w 8801100"/>
                  <a:gd name="connsiteY280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873919 w 8801100"/>
                  <a:gd name="connsiteY128" fmla="*/ 523875 h 4305300"/>
                  <a:gd name="connsiteX129" fmla="*/ 778669 w 8801100"/>
                  <a:gd name="connsiteY129" fmla="*/ 538162 h 4305300"/>
                  <a:gd name="connsiteX130" fmla="*/ 764381 w 8801100"/>
                  <a:gd name="connsiteY130" fmla="*/ 559594 h 4305300"/>
                  <a:gd name="connsiteX131" fmla="*/ 2381 w 8801100"/>
                  <a:gd name="connsiteY131" fmla="*/ 1490661 h 4305300"/>
                  <a:gd name="connsiteX132" fmla="*/ 0 w 8801100"/>
                  <a:gd name="connsiteY132" fmla="*/ 709613 h 4305300"/>
                  <a:gd name="connsiteX133" fmla="*/ 76200 w 8801100"/>
                  <a:gd name="connsiteY133" fmla="*/ 692944 h 4305300"/>
                  <a:gd name="connsiteX134" fmla="*/ 119063 w 8801100"/>
                  <a:gd name="connsiteY134" fmla="*/ 721519 h 4305300"/>
                  <a:gd name="connsiteX135" fmla="*/ 215900 w 8801100"/>
                  <a:gd name="connsiteY135" fmla="*/ 712788 h 4305300"/>
                  <a:gd name="connsiteX136" fmla="*/ 261938 w 8801100"/>
                  <a:gd name="connsiteY136" fmla="*/ 740568 h 4305300"/>
                  <a:gd name="connsiteX137" fmla="*/ 228600 w 8801100"/>
                  <a:gd name="connsiteY137" fmla="*/ 769144 h 4305300"/>
                  <a:gd name="connsiteX138" fmla="*/ 233363 w 8801100"/>
                  <a:gd name="connsiteY138" fmla="*/ 812006 h 4305300"/>
                  <a:gd name="connsiteX139" fmla="*/ 200025 w 8801100"/>
                  <a:gd name="connsiteY139" fmla="*/ 816769 h 4305300"/>
                  <a:gd name="connsiteX140" fmla="*/ 204788 w 8801100"/>
                  <a:gd name="connsiteY140" fmla="*/ 840581 h 4305300"/>
                  <a:gd name="connsiteX141" fmla="*/ 261937 w 8801100"/>
                  <a:gd name="connsiteY141" fmla="*/ 914400 h 4305300"/>
                  <a:gd name="connsiteX142" fmla="*/ 223838 w 8801100"/>
                  <a:gd name="connsiteY142" fmla="*/ 962025 h 4305300"/>
                  <a:gd name="connsiteX143" fmla="*/ 278606 w 8801100"/>
                  <a:gd name="connsiteY143" fmla="*/ 997744 h 4305300"/>
                  <a:gd name="connsiteX144" fmla="*/ 369094 w 8801100"/>
                  <a:gd name="connsiteY144" fmla="*/ 1085850 h 4305300"/>
                  <a:gd name="connsiteX145" fmla="*/ 371475 w 8801100"/>
                  <a:gd name="connsiteY145" fmla="*/ 1145381 h 4305300"/>
                  <a:gd name="connsiteX146" fmla="*/ 507206 w 8801100"/>
                  <a:gd name="connsiteY146" fmla="*/ 1278732 h 4305300"/>
                  <a:gd name="connsiteX147" fmla="*/ 561975 w 8801100"/>
                  <a:gd name="connsiteY147" fmla="*/ 1254919 h 4305300"/>
                  <a:gd name="connsiteX148" fmla="*/ 600075 w 8801100"/>
                  <a:gd name="connsiteY148" fmla="*/ 1281112 h 4305300"/>
                  <a:gd name="connsiteX149" fmla="*/ 614363 w 8801100"/>
                  <a:gd name="connsiteY149" fmla="*/ 1331118 h 4305300"/>
                  <a:gd name="connsiteX150" fmla="*/ 657225 w 8801100"/>
                  <a:gd name="connsiteY150" fmla="*/ 1366838 h 4305300"/>
                  <a:gd name="connsiteX151" fmla="*/ 697706 w 8801100"/>
                  <a:gd name="connsiteY151" fmla="*/ 1354931 h 4305300"/>
                  <a:gd name="connsiteX152" fmla="*/ 716756 w 8801100"/>
                  <a:gd name="connsiteY152" fmla="*/ 1412081 h 4305300"/>
                  <a:gd name="connsiteX153" fmla="*/ 764381 w 8801100"/>
                  <a:gd name="connsiteY153" fmla="*/ 1454944 h 4305300"/>
                  <a:gd name="connsiteX154" fmla="*/ 788194 w 8801100"/>
                  <a:gd name="connsiteY154" fmla="*/ 1557338 h 4305300"/>
                  <a:gd name="connsiteX155" fmla="*/ 785813 w 8801100"/>
                  <a:gd name="connsiteY155" fmla="*/ 1604963 h 4305300"/>
                  <a:gd name="connsiteX156" fmla="*/ 821531 w 8801100"/>
                  <a:gd name="connsiteY156" fmla="*/ 1704975 h 4305300"/>
                  <a:gd name="connsiteX157" fmla="*/ 866775 w 8801100"/>
                  <a:gd name="connsiteY157" fmla="*/ 1762125 h 4305300"/>
                  <a:gd name="connsiteX158" fmla="*/ 883443 w 8801100"/>
                  <a:gd name="connsiteY158" fmla="*/ 1919287 h 4305300"/>
                  <a:gd name="connsiteX159" fmla="*/ 850106 w 8801100"/>
                  <a:gd name="connsiteY159" fmla="*/ 1981200 h 4305300"/>
                  <a:gd name="connsiteX160" fmla="*/ 819150 w 8801100"/>
                  <a:gd name="connsiteY160" fmla="*/ 2057400 h 4305300"/>
                  <a:gd name="connsiteX161" fmla="*/ 833438 w 8801100"/>
                  <a:gd name="connsiteY161" fmla="*/ 2114550 h 4305300"/>
                  <a:gd name="connsiteX162" fmla="*/ 735806 w 8801100"/>
                  <a:gd name="connsiteY162" fmla="*/ 2221707 h 4305300"/>
                  <a:gd name="connsiteX163" fmla="*/ 692944 w 8801100"/>
                  <a:gd name="connsiteY163" fmla="*/ 2336006 h 4305300"/>
                  <a:gd name="connsiteX164" fmla="*/ 726281 w 8801100"/>
                  <a:gd name="connsiteY164" fmla="*/ 2376488 h 4305300"/>
                  <a:gd name="connsiteX165" fmla="*/ 709613 w 8801100"/>
                  <a:gd name="connsiteY165" fmla="*/ 2405063 h 4305300"/>
                  <a:gd name="connsiteX166" fmla="*/ 740569 w 8801100"/>
                  <a:gd name="connsiteY166" fmla="*/ 2462213 h 4305300"/>
                  <a:gd name="connsiteX167" fmla="*/ 769144 w 8801100"/>
                  <a:gd name="connsiteY167" fmla="*/ 2462213 h 4305300"/>
                  <a:gd name="connsiteX168" fmla="*/ 931069 w 8801100"/>
                  <a:gd name="connsiteY168" fmla="*/ 2564606 h 4305300"/>
                  <a:gd name="connsiteX169" fmla="*/ 1035844 w 8801100"/>
                  <a:gd name="connsiteY169" fmla="*/ 2562225 h 4305300"/>
                  <a:gd name="connsiteX170" fmla="*/ 1114425 w 8801100"/>
                  <a:gd name="connsiteY170" fmla="*/ 2616994 h 4305300"/>
                  <a:gd name="connsiteX171" fmla="*/ 1245393 w 8801100"/>
                  <a:gd name="connsiteY171" fmla="*/ 2619375 h 4305300"/>
                  <a:gd name="connsiteX172" fmla="*/ 1435893 w 8801100"/>
                  <a:gd name="connsiteY172" fmla="*/ 2688431 h 4305300"/>
                  <a:gd name="connsiteX173" fmla="*/ 1638300 w 8801100"/>
                  <a:gd name="connsiteY173" fmla="*/ 2838450 h 4305300"/>
                  <a:gd name="connsiteX174" fmla="*/ 1671637 w 8801100"/>
                  <a:gd name="connsiteY174" fmla="*/ 2905125 h 4305300"/>
                  <a:gd name="connsiteX175" fmla="*/ 1838325 w 8801100"/>
                  <a:gd name="connsiteY175" fmla="*/ 3031331 h 4305300"/>
                  <a:gd name="connsiteX176" fmla="*/ 1909763 w 8801100"/>
                  <a:gd name="connsiteY176" fmla="*/ 3026569 h 4305300"/>
                  <a:gd name="connsiteX177" fmla="*/ 1945482 w 8801100"/>
                  <a:gd name="connsiteY177" fmla="*/ 3050381 h 4305300"/>
                  <a:gd name="connsiteX178" fmla="*/ 1916906 w 8801100"/>
                  <a:gd name="connsiteY178" fmla="*/ 3090863 h 4305300"/>
                  <a:gd name="connsiteX179" fmla="*/ 1924050 w 8801100"/>
                  <a:gd name="connsiteY179" fmla="*/ 3143250 h 4305300"/>
                  <a:gd name="connsiteX180" fmla="*/ 1976438 w 8801100"/>
                  <a:gd name="connsiteY180" fmla="*/ 3169444 h 4305300"/>
                  <a:gd name="connsiteX181" fmla="*/ 2038350 w 8801100"/>
                  <a:gd name="connsiteY181" fmla="*/ 3393282 h 4305300"/>
                  <a:gd name="connsiteX182" fmla="*/ 2028825 w 8801100"/>
                  <a:gd name="connsiteY182" fmla="*/ 3457575 h 4305300"/>
                  <a:gd name="connsiteX183" fmla="*/ 2164556 w 8801100"/>
                  <a:gd name="connsiteY183" fmla="*/ 3624263 h 4305300"/>
                  <a:gd name="connsiteX184" fmla="*/ 2183606 w 8801100"/>
                  <a:gd name="connsiteY184" fmla="*/ 3674269 h 4305300"/>
                  <a:gd name="connsiteX185" fmla="*/ 2157413 w 8801100"/>
                  <a:gd name="connsiteY185" fmla="*/ 3693319 h 4305300"/>
                  <a:gd name="connsiteX186" fmla="*/ 2259806 w 8801100"/>
                  <a:gd name="connsiteY186" fmla="*/ 3702844 h 4305300"/>
                  <a:gd name="connsiteX187" fmla="*/ 2371725 w 8801100"/>
                  <a:gd name="connsiteY187" fmla="*/ 3690938 h 4305300"/>
                  <a:gd name="connsiteX188" fmla="*/ 2650331 w 8801100"/>
                  <a:gd name="connsiteY188" fmla="*/ 3774281 h 4305300"/>
                  <a:gd name="connsiteX189" fmla="*/ 3057525 w 8801100"/>
                  <a:gd name="connsiteY189" fmla="*/ 3855244 h 4305300"/>
                  <a:gd name="connsiteX190" fmla="*/ 3255169 w 8801100"/>
                  <a:gd name="connsiteY190" fmla="*/ 3824287 h 4305300"/>
                  <a:gd name="connsiteX191" fmla="*/ 3300413 w 8801100"/>
                  <a:gd name="connsiteY191" fmla="*/ 3836193 h 4305300"/>
                  <a:gd name="connsiteX192" fmla="*/ 3355181 w 8801100"/>
                  <a:gd name="connsiteY192" fmla="*/ 3812382 h 4305300"/>
                  <a:gd name="connsiteX193" fmla="*/ 3748087 w 8801100"/>
                  <a:gd name="connsiteY193" fmla="*/ 3902869 h 4305300"/>
                  <a:gd name="connsiteX194" fmla="*/ 3831432 w 8801100"/>
                  <a:gd name="connsiteY194" fmla="*/ 4000500 h 4305300"/>
                  <a:gd name="connsiteX195" fmla="*/ 3950494 w 8801100"/>
                  <a:gd name="connsiteY195" fmla="*/ 4071938 h 4305300"/>
                  <a:gd name="connsiteX196" fmla="*/ 4010025 w 8801100"/>
                  <a:gd name="connsiteY196" fmla="*/ 4055269 h 4305300"/>
                  <a:gd name="connsiteX197" fmla="*/ 4360068 w 8801100"/>
                  <a:gd name="connsiteY197" fmla="*/ 4229100 h 4305300"/>
                  <a:gd name="connsiteX198" fmla="*/ 4586288 w 8801100"/>
                  <a:gd name="connsiteY198" fmla="*/ 4200525 h 4305300"/>
                  <a:gd name="connsiteX199" fmla="*/ 4595813 w 8801100"/>
                  <a:gd name="connsiteY199" fmla="*/ 4279106 h 4305300"/>
                  <a:gd name="connsiteX200" fmla="*/ 4681538 w 8801100"/>
                  <a:gd name="connsiteY200" fmla="*/ 4274343 h 4305300"/>
                  <a:gd name="connsiteX201" fmla="*/ 4760119 w 8801100"/>
                  <a:gd name="connsiteY201" fmla="*/ 4305300 h 4305300"/>
                  <a:gd name="connsiteX202" fmla="*/ 4802981 w 8801100"/>
                  <a:gd name="connsiteY202" fmla="*/ 4245769 h 4305300"/>
                  <a:gd name="connsiteX203" fmla="*/ 5474494 w 8801100"/>
                  <a:gd name="connsiteY203" fmla="*/ 3926681 h 4305300"/>
                  <a:gd name="connsiteX204" fmla="*/ 5562600 w 8801100"/>
                  <a:gd name="connsiteY204" fmla="*/ 3955257 h 4305300"/>
                  <a:gd name="connsiteX205" fmla="*/ 5693569 w 8801100"/>
                  <a:gd name="connsiteY205" fmla="*/ 3926681 h 4305300"/>
                  <a:gd name="connsiteX206" fmla="*/ 5872162 w 8801100"/>
                  <a:gd name="connsiteY206" fmla="*/ 3943350 h 4305300"/>
                  <a:gd name="connsiteX207" fmla="*/ 5929313 w 8801100"/>
                  <a:gd name="connsiteY207" fmla="*/ 3917157 h 4305300"/>
                  <a:gd name="connsiteX208" fmla="*/ 6062662 w 8801100"/>
                  <a:gd name="connsiteY208" fmla="*/ 3914775 h 4305300"/>
                  <a:gd name="connsiteX209" fmla="*/ 6196012 w 8801100"/>
                  <a:gd name="connsiteY209" fmla="*/ 3817144 h 4305300"/>
                  <a:gd name="connsiteX210" fmla="*/ 6262687 w 8801100"/>
                  <a:gd name="connsiteY210" fmla="*/ 3810000 h 4305300"/>
                  <a:gd name="connsiteX211" fmla="*/ 6360319 w 8801100"/>
                  <a:gd name="connsiteY211" fmla="*/ 3736181 h 4305300"/>
                  <a:gd name="connsiteX212" fmla="*/ 6434138 w 8801100"/>
                  <a:gd name="connsiteY212" fmla="*/ 3667125 h 4305300"/>
                  <a:gd name="connsiteX213" fmla="*/ 6443663 w 8801100"/>
                  <a:gd name="connsiteY213" fmla="*/ 3605213 h 4305300"/>
                  <a:gd name="connsiteX214" fmla="*/ 6477000 w 8801100"/>
                  <a:gd name="connsiteY214" fmla="*/ 3536156 h 4305300"/>
                  <a:gd name="connsiteX215" fmla="*/ 6629400 w 8801100"/>
                  <a:gd name="connsiteY215" fmla="*/ 3429000 h 4305300"/>
                  <a:gd name="connsiteX216" fmla="*/ 6662738 w 8801100"/>
                  <a:gd name="connsiteY216" fmla="*/ 3433763 h 4305300"/>
                  <a:gd name="connsiteX217" fmla="*/ 6715125 w 8801100"/>
                  <a:gd name="connsiteY217" fmla="*/ 3355181 h 4305300"/>
                  <a:gd name="connsiteX218" fmla="*/ 6762750 w 8801100"/>
                  <a:gd name="connsiteY218" fmla="*/ 3317081 h 4305300"/>
                  <a:gd name="connsiteX219" fmla="*/ 6748463 w 8801100"/>
                  <a:gd name="connsiteY219" fmla="*/ 3248025 h 4305300"/>
                  <a:gd name="connsiteX220" fmla="*/ 6698456 w 8801100"/>
                  <a:gd name="connsiteY220" fmla="*/ 3217068 h 4305300"/>
                  <a:gd name="connsiteX221" fmla="*/ 6638925 w 8801100"/>
                  <a:gd name="connsiteY221" fmla="*/ 3162300 h 4305300"/>
                  <a:gd name="connsiteX222" fmla="*/ 6619875 w 8801100"/>
                  <a:gd name="connsiteY222" fmla="*/ 3105150 h 4305300"/>
                  <a:gd name="connsiteX223" fmla="*/ 6584156 w 8801100"/>
                  <a:gd name="connsiteY223" fmla="*/ 3071813 h 4305300"/>
                  <a:gd name="connsiteX224" fmla="*/ 6610350 w 8801100"/>
                  <a:gd name="connsiteY224" fmla="*/ 3019425 h 4305300"/>
                  <a:gd name="connsiteX225" fmla="*/ 6650831 w 8801100"/>
                  <a:gd name="connsiteY225" fmla="*/ 2840831 h 4305300"/>
                  <a:gd name="connsiteX226" fmla="*/ 6691313 w 8801100"/>
                  <a:gd name="connsiteY226" fmla="*/ 2774156 h 4305300"/>
                  <a:gd name="connsiteX227" fmla="*/ 6836569 w 8801100"/>
                  <a:gd name="connsiteY227" fmla="*/ 2757487 h 4305300"/>
                  <a:gd name="connsiteX228" fmla="*/ 6905625 w 8801100"/>
                  <a:gd name="connsiteY228" fmla="*/ 2814638 h 4305300"/>
                  <a:gd name="connsiteX229" fmla="*/ 6981825 w 8801100"/>
                  <a:gd name="connsiteY229" fmla="*/ 2838450 h 4305300"/>
                  <a:gd name="connsiteX230" fmla="*/ 7186612 w 8801100"/>
                  <a:gd name="connsiteY230" fmla="*/ 2843213 h 4305300"/>
                  <a:gd name="connsiteX231" fmla="*/ 7362825 w 8801100"/>
                  <a:gd name="connsiteY231" fmla="*/ 2705100 h 4305300"/>
                  <a:gd name="connsiteX232" fmla="*/ 7419975 w 8801100"/>
                  <a:gd name="connsiteY232" fmla="*/ 2614612 h 4305300"/>
                  <a:gd name="connsiteX233" fmla="*/ 7446169 w 8801100"/>
                  <a:gd name="connsiteY233" fmla="*/ 2531269 h 4305300"/>
                  <a:gd name="connsiteX234" fmla="*/ 7577137 w 8801100"/>
                  <a:gd name="connsiteY234" fmla="*/ 2531269 h 4305300"/>
                  <a:gd name="connsiteX235" fmla="*/ 7750969 w 8801100"/>
                  <a:gd name="connsiteY235" fmla="*/ 2474118 h 4305300"/>
                  <a:gd name="connsiteX236" fmla="*/ 7810500 w 8801100"/>
                  <a:gd name="connsiteY236" fmla="*/ 2362200 h 4305300"/>
                  <a:gd name="connsiteX237" fmla="*/ 7874794 w 8801100"/>
                  <a:gd name="connsiteY237" fmla="*/ 2326481 h 4305300"/>
                  <a:gd name="connsiteX238" fmla="*/ 7853363 w 8801100"/>
                  <a:gd name="connsiteY238" fmla="*/ 2281238 h 4305300"/>
                  <a:gd name="connsiteX239" fmla="*/ 7931944 w 8801100"/>
                  <a:gd name="connsiteY239" fmla="*/ 2112168 h 4305300"/>
                  <a:gd name="connsiteX240" fmla="*/ 7986713 w 8801100"/>
                  <a:gd name="connsiteY240" fmla="*/ 2052638 h 4305300"/>
                  <a:gd name="connsiteX241" fmla="*/ 8024813 w 8801100"/>
                  <a:gd name="connsiteY241" fmla="*/ 2047875 h 4305300"/>
                  <a:gd name="connsiteX242" fmla="*/ 8070056 w 8801100"/>
                  <a:gd name="connsiteY242" fmla="*/ 2052638 h 4305300"/>
                  <a:gd name="connsiteX243" fmla="*/ 8134350 w 8801100"/>
                  <a:gd name="connsiteY243" fmla="*/ 2019300 h 4305300"/>
                  <a:gd name="connsiteX244" fmla="*/ 8143875 w 8801100"/>
                  <a:gd name="connsiteY244" fmla="*/ 1955006 h 4305300"/>
                  <a:gd name="connsiteX245" fmla="*/ 8184355 w 8801100"/>
                  <a:gd name="connsiteY245" fmla="*/ 1919288 h 4305300"/>
                  <a:gd name="connsiteX246" fmla="*/ 8243888 w 8801100"/>
                  <a:gd name="connsiteY246" fmla="*/ 1959768 h 4305300"/>
                  <a:gd name="connsiteX247" fmla="*/ 8270082 w 8801100"/>
                  <a:gd name="connsiteY247" fmla="*/ 1909762 h 4305300"/>
                  <a:gd name="connsiteX248" fmla="*/ 8365331 w 8801100"/>
                  <a:gd name="connsiteY248" fmla="*/ 1840706 h 4305300"/>
                  <a:gd name="connsiteX249" fmla="*/ 8427244 w 8801100"/>
                  <a:gd name="connsiteY249" fmla="*/ 1847850 h 4305300"/>
                  <a:gd name="connsiteX250" fmla="*/ 8477250 w 8801100"/>
                  <a:gd name="connsiteY250" fmla="*/ 1828800 h 4305300"/>
                  <a:gd name="connsiteX251" fmla="*/ 8515350 w 8801100"/>
                  <a:gd name="connsiteY251" fmla="*/ 1800225 h 4305300"/>
                  <a:gd name="connsiteX252" fmla="*/ 8548688 w 8801100"/>
                  <a:gd name="connsiteY252" fmla="*/ 1797844 h 4305300"/>
                  <a:gd name="connsiteX253" fmla="*/ 8584406 w 8801100"/>
                  <a:gd name="connsiteY253" fmla="*/ 1828800 h 4305300"/>
                  <a:gd name="connsiteX254" fmla="*/ 8643938 w 8801100"/>
                  <a:gd name="connsiteY254" fmla="*/ 1828800 h 4305300"/>
                  <a:gd name="connsiteX255" fmla="*/ 8682037 w 8801100"/>
                  <a:gd name="connsiteY255" fmla="*/ 1809750 h 4305300"/>
                  <a:gd name="connsiteX256" fmla="*/ 8765381 w 8801100"/>
                  <a:gd name="connsiteY256" fmla="*/ 1812132 h 4305300"/>
                  <a:gd name="connsiteX257" fmla="*/ 8796338 w 8801100"/>
                  <a:gd name="connsiteY257" fmla="*/ 1766888 h 4305300"/>
                  <a:gd name="connsiteX258" fmla="*/ 8801100 w 8801100"/>
                  <a:gd name="connsiteY258" fmla="*/ 1704975 h 4305300"/>
                  <a:gd name="connsiteX259" fmla="*/ 8751093 w 8801100"/>
                  <a:gd name="connsiteY259" fmla="*/ 1664494 h 4305300"/>
                  <a:gd name="connsiteX260" fmla="*/ 8734425 w 8801100"/>
                  <a:gd name="connsiteY260" fmla="*/ 1609725 h 4305300"/>
                  <a:gd name="connsiteX261" fmla="*/ 8643938 w 8801100"/>
                  <a:gd name="connsiteY261" fmla="*/ 1547813 h 4305300"/>
                  <a:gd name="connsiteX262" fmla="*/ 8603456 w 8801100"/>
                  <a:gd name="connsiteY262" fmla="*/ 1526381 h 4305300"/>
                  <a:gd name="connsiteX263" fmla="*/ 8565356 w 8801100"/>
                  <a:gd name="connsiteY263" fmla="*/ 1481138 h 4305300"/>
                  <a:gd name="connsiteX264" fmla="*/ 8534400 w 8801100"/>
                  <a:gd name="connsiteY264" fmla="*/ 1478756 h 4305300"/>
                  <a:gd name="connsiteX265" fmla="*/ 8517731 w 8801100"/>
                  <a:gd name="connsiteY265" fmla="*/ 1426369 h 4305300"/>
                  <a:gd name="connsiteX266" fmla="*/ 8477250 w 8801100"/>
                  <a:gd name="connsiteY266" fmla="*/ 1409700 h 4305300"/>
                  <a:gd name="connsiteX267" fmla="*/ 8477250 w 8801100"/>
                  <a:gd name="connsiteY267" fmla="*/ 1409700 h 4305300"/>
                  <a:gd name="connsiteX268" fmla="*/ 8436769 w 8801100"/>
                  <a:gd name="connsiteY268" fmla="*/ 1414463 h 4305300"/>
                  <a:gd name="connsiteX269" fmla="*/ 8351043 w 8801100"/>
                  <a:gd name="connsiteY269" fmla="*/ 1340644 h 4305300"/>
                  <a:gd name="connsiteX270" fmla="*/ 8170069 w 8801100"/>
                  <a:gd name="connsiteY270" fmla="*/ 1340643 h 4305300"/>
                  <a:gd name="connsiteX271" fmla="*/ 8117681 w 8801100"/>
                  <a:gd name="connsiteY271" fmla="*/ 1378744 h 4305300"/>
                  <a:gd name="connsiteX272" fmla="*/ 8067675 w 8801100"/>
                  <a:gd name="connsiteY272" fmla="*/ 1457325 h 4305300"/>
                  <a:gd name="connsiteX273" fmla="*/ 8084344 w 8801100"/>
                  <a:gd name="connsiteY273" fmla="*/ 1478756 h 4305300"/>
                  <a:gd name="connsiteX274" fmla="*/ 8039100 w 8801100"/>
                  <a:gd name="connsiteY274" fmla="*/ 1528762 h 4305300"/>
                  <a:gd name="connsiteX275" fmla="*/ 7889081 w 8801100"/>
                  <a:gd name="connsiteY275" fmla="*/ 1452562 h 4305300"/>
                  <a:gd name="connsiteX276" fmla="*/ 7798594 w 8801100"/>
                  <a:gd name="connsiteY276" fmla="*/ 1488281 h 4305300"/>
                  <a:gd name="connsiteX277" fmla="*/ 7724775 w 8801100"/>
                  <a:gd name="connsiteY277" fmla="*/ 1485900 h 4305300"/>
                  <a:gd name="connsiteX278" fmla="*/ 7667625 w 8801100"/>
                  <a:gd name="connsiteY278" fmla="*/ 1581150 h 4305300"/>
                  <a:gd name="connsiteX279" fmla="*/ 7529513 w 8801100"/>
                  <a:gd name="connsiteY279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873919 w 8801100"/>
                  <a:gd name="connsiteY128" fmla="*/ 523875 h 4305300"/>
                  <a:gd name="connsiteX129" fmla="*/ 778669 w 8801100"/>
                  <a:gd name="connsiteY129" fmla="*/ 538162 h 4305300"/>
                  <a:gd name="connsiteX130" fmla="*/ 2381 w 8801100"/>
                  <a:gd name="connsiteY130" fmla="*/ 1490661 h 4305300"/>
                  <a:gd name="connsiteX131" fmla="*/ 0 w 8801100"/>
                  <a:gd name="connsiteY131" fmla="*/ 709613 h 4305300"/>
                  <a:gd name="connsiteX132" fmla="*/ 76200 w 8801100"/>
                  <a:gd name="connsiteY132" fmla="*/ 692944 h 4305300"/>
                  <a:gd name="connsiteX133" fmla="*/ 119063 w 8801100"/>
                  <a:gd name="connsiteY133" fmla="*/ 721519 h 4305300"/>
                  <a:gd name="connsiteX134" fmla="*/ 215900 w 8801100"/>
                  <a:gd name="connsiteY134" fmla="*/ 712788 h 4305300"/>
                  <a:gd name="connsiteX135" fmla="*/ 261938 w 8801100"/>
                  <a:gd name="connsiteY135" fmla="*/ 740568 h 4305300"/>
                  <a:gd name="connsiteX136" fmla="*/ 228600 w 8801100"/>
                  <a:gd name="connsiteY136" fmla="*/ 769144 h 4305300"/>
                  <a:gd name="connsiteX137" fmla="*/ 233363 w 8801100"/>
                  <a:gd name="connsiteY137" fmla="*/ 812006 h 4305300"/>
                  <a:gd name="connsiteX138" fmla="*/ 200025 w 8801100"/>
                  <a:gd name="connsiteY138" fmla="*/ 816769 h 4305300"/>
                  <a:gd name="connsiteX139" fmla="*/ 204788 w 8801100"/>
                  <a:gd name="connsiteY139" fmla="*/ 840581 h 4305300"/>
                  <a:gd name="connsiteX140" fmla="*/ 261937 w 8801100"/>
                  <a:gd name="connsiteY140" fmla="*/ 914400 h 4305300"/>
                  <a:gd name="connsiteX141" fmla="*/ 223838 w 8801100"/>
                  <a:gd name="connsiteY141" fmla="*/ 962025 h 4305300"/>
                  <a:gd name="connsiteX142" fmla="*/ 278606 w 8801100"/>
                  <a:gd name="connsiteY142" fmla="*/ 997744 h 4305300"/>
                  <a:gd name="connsiteX143" fmla="*/ 369094 w 8801100"/>
                  <a:gd name="connsiteY143" fmla="*/ 1085850 h 4305300"/>
                  <a:gd name="connsiteX144" fmla="*/ 371475 w 8801100"/>
                  <a:gd name="connsiteY144" fmla="*/ 1145381 h 4305300"/>
                  <a:gd name="connsiteX145" fmla="*/ 507206 w 8801100"/>
                  <a:gd name="connsiteY145" fmla="*/ 1278732 h 4305300"/>
                  <a:gd name="connsiteX146" fmla="*/ 561975 w 8801100"/>
                  <a:gd name="connsiteY146" fmla="*/ 1254919 h 4305300"/>
                  <a:gd name="connsiteX147" fmla="*/ 600075 w 8801100"/>
                  <a:gd name="connsiteY147" fmla="*/ 1281112 h 4305300"/>
                  <a:gd name="connsiteX148" fmla="*/ 614363 w 8801100"/>
                  <a:gd name="connsiteY148" fmla="*/ 1331118 h 4305300"/>
                  <a:gd name="connsiteX149" fmla="*/ 657225 w 8801100"/>
                  <a:gd name="connsiteY149" fmla="*/ 1366838 h 4305300"/>
                  <a:gd name="connsiteX150" fmla="*/ 697706 w 8801100"/>
                  <a:gd name="connsiteY150" fmla="*/ 1354931 h 4305300"/>
                  <a:gd name="connsiteX151" fmla="*/ 716756 w 8801100"/>
                  <a:gd name="connsiteY151" fmla="*/ 1412081 h 4305300"/>
                  <a:gd name="connsiteX152" fmla="*/ 764381 w 8801100"/>
                  <a:gd name="connsiteY152" fmla="*/ 1454944 h 4305300"/>
                  <a:gd name="connsiteX153" fmla="*/ 788194 w 8801100"/>
                  <a:gd name="connsiteY153" fmla="*/ 1557338 h 4305300"/>
                  <a:gd name="connsiteX154" fmla="*/ 785813 w 8801100"/>
                  <a:gd name="connsiteY154" fmla="*/ 1604963 h 4305300"/>
                  <a:gd name="connsiteX155" fmla="*/ 821531 w 8801100"/>
                  <a:gd name="connsiteY155" fmla="*/ 1704975 h 4305300"/>
                  <a:gd name="connsiteX156" fmla="*/ 866775 w 8801100"/>
                  <a:gd name="connsiteY156" fmla="*/ 1762125 h 4305300"/>
                  <a:gd name="connsiteX157" fmla="*/ 883443 w 8801100"/>
                  <a:gd name="connsiteY157" fmla="*/ 1919287 h 4305300"/>
                  <a:gd name="connsiteX158" fmla="*/ 850106 w 8801100"/>
                  <a:gd name="connsiteY158" fmla="*/ 1981200 h 4305300"/>
                  <a:gd name="connsiteX159" fmla="*/ 819150 w 8801100"/>
                  <a:gd name="connsiteY159" fmla="*/ 2057400 h 4305300"/>
                  <a:gd name="connsiteX160" fmla="*/ 833438 w 8801100"/>
                  <a:gd name="connsiteY160" fmla="*/ 2114550 h 4305300"/>
                  <a:gd name="connsiteX161" fmla="*/ 735806 w 8801100"/>
                  <a:gd name="connsiteY161" fmla="*/ 2221707 h 4305300"/>
                  <a:gd name="connsiteX162" fmla="*/ 692944 w 8801100"/>
                  <a:gd name="connsiteY162" fmla="*/ 2336006 h 4305300"/>
                  <a:gd name="connsiteX163" fmla="*/ 726281 w 8801100"/>
                  <a:gd name="connsiteY163" fmla="*/ 2376488 h 4305300"/>
                  <a:gd name="connsiteX164" fmla="*/ 709613 w 8801100"/>
                  <a:gd name="connsiteY164" fmla="*/ 2405063 h 4305300"/>
                  <a:gd name="connsiteX165" fmla="*/ 740569 w 8801100"/>
                  <a:gd name="connsiteY165" fmla="*/ 2462213 h 4305300"/>
                  <a:gd name="connsiteX166" fmla="*/ 769144 w 8801100"/>
                  <a:gd name="connsiteY166" fmla="*/ 2462213 h 4305300"/>
                  <a:gd name="connsiteX167" fmla="*/ 931069 w 8801100"/>
                  <a:gd name="connsiteY167" fmla="*/ 2564606 h 4305300"/>
                  <a:gd name="connsiteX168" fmla="*/ 1035844 w 8801100"/>
                  <a:gd name="connsiteY168" fmla="*/ 2562225 h 4305300"/>
                  <a:gd name="connsiteX169" fmla="*/ 1114425 w 8801100"/>
                  <a:gd name="connsiteY169" fmla="*/ 2616994 h 4305300"/>
                  <a:gd name="connsiteX170" fmla="*/ 1245393 w 8801100"/>
                  <a:gd name="connsiteY170" fmla="*/ 2619375 h 4305300"/>
                  <a:gd name="connsiteX171" fmla="*/ 1435893 w 8801100"/>
                  <a:gd name="connsiteY171" fmla="*/ 2688431 h 4305300"/>
                  <a:gd name="connsiteX172" fmla="*/ 1638300 w 8801100"/>
                  <a:gd name="connsiteY172" fmla="*/ 2838450 h 4305300"/>
                  <a:gd name="connsiteX173" fmla="*/ 1671637 w 8801100"/>
                  <a:gd name="connsiteY173" fmla="*/ 2905125 h 4305300"/>
                  <a:gd name="connsiteX174" fmla="*/ 1838325 w 8801100"/>
                  <a:gd name="connsiteY174" fmla="*/ 3031331 h 4305300"/>
                  <a:gd name="connsiteX175" fmla="*/ 1909763 w 8801100"/>
                  <a:gd name="connsiteY175" fmla="*/ 3026569 h 4305300"/>
                  <a:gd name="connsiteX176" fmla="*/ 1945482 w 8801100"/>
                  <a:gd name="connsiteY176" fmla="*/ 3050381 h 4305300"/>
                  <a:gd name="connsiteX177" fmla="*/ 1916906 w 8801100"/>
                  <a:gd name="connsiteY177" fmla="*/ 3090863 h 4305300"/>
                  <a:gd name="connsiteX178" fmla="*/ 1924050 w 8801100"/>
                  <a:gd name="connsiteY178" fmla="*/ 3143250 h 4305300"/>
                  <a:gd name="connsiteX179" fmla="*/ 1976438 w 8801100"/>
                  <a:gd name="connsiteY179" fmla="*/ 3169444 h 4305300"/>
                  <a:gd name="connsiteX180" fmla="*/ 2038350 w 8801100"/>
                  <a:gd name="connsiteY180" fmla="*/ 3393282 h 4305300"/>
                  <a:gd name="connsiteX181" fmla="*/ 2028825 w 8801100"/>
                  <a:gd name="connsiteY181" fmla="*/ 3457575 h 4305300"/>
                  <a:gd name="connsiteX182" fmla="*/ 2164556 w 8801100"/>
                  <a:gd name="connsiteY182" fmla="*/ 3624263 h 4305300"/>
                  <a:gd name="connsiteX183" fmla="*/ 2183606 w 8801100"/>
                  <a:gd name="connsiteY183" fmla="*/ 3674269 h 4305300"/>
                  <a:gd name="connsiteX184" fmla="*/ 2157413 w 8801100"/>
                  <a:gd name="connsiteY184" fmla="*/ 3693319 h 4305300"/>
                  <a:gd name="connsiteX185" fmla="*/ 2259806 w 8801100"/>
                  <a:gd name="connsiteY185" fmla="*/ 3702844 h 4305300"/>
                  <a:gd name="connsiteX186" fmla="*/ 2371725 w 8801100"/>
                  <a:gd name="connsiteY186" fmla="*/ 3690938 h 4305300"/>
                  <a:gd name="connsiteX187" fmla="*/ 2650331 w 8801100"/>
                  <a:gd name="connsiteY187" fmla="*/ 3774281 h 4305300"/>
                  <a:gd name="connsiteX188" fmla="*/ 3057525 w 8801100"/>
                  <a:gd name="connsiteY188" fmla="*/ 3855244 h 4305300"/>
                  <a:gd name="connsiteX189" fmla="*/ 3255169 w 8801100"/>
                  <a:gd name="connsiteY189" fmla="*/ 3824287 h 4305300"/>
                  <a:gd name="connsiteX190" fmla="*/ 3300413 w 8801100"/>
                  <a:gd name="connsiteY190" fmla="*/ 3836193 h 4305300"/>
                  <a:gd name="connsiteX191" fmla="*/ 3355181 w 8801100"/>
                  <a:gd name="connsiteY191" fmla="*/ 3812382 h 4305300"/>
                  <a:gd name="connsiteX192" fmla="*/ 3748087 w 8801100"/>
                  <a:gd name="connsiteY192" fmla="*/ 3902869 h 4305300"/>
                  <a:gd name="connsiteX193" fmla="*/ 3831432 w 8801100"/>
                  <a:gd name="connsiteY193" fmla="*/ 4000500 h 4305300"/>
                  <a:gd name="connsiteX194" fmla="*/ 3950494 w 8801100"/>
                  <a:gd name="connsiteY194" fmla="*/ 4071938 h 4305300"/>
                  <a:gd name="connsiteX195" fmla="*/ 4010025 w 8801100"/>
                  <a:gd name="connsiteY195" fmla="*/ 4055269 h 4305300"/>
                  <a:gd name="connsiteX196" fmla="*/ 4360068 w 8801100"/>
                  <a:gd name="connsiteY196" fmla="*/ 4229100 h 4305300"/>
                  <a:gd name="connsiteX197" fmla="*/ 4586288 w 8801100"/>
                  <a:gd name="connsiteY197" fmla="*/ 4200525 h 4305300"/>
                  <a:gd name="connsiteX198" fmla="*/ 4595813 w 8801100"/>
                  <a:gd name="connsiteY198" fmla="*/ 4279106 h 4305300"/>
                  <a:gd name="connsiteX199" fmla="*/ 4681538 w 8801100"/>
                  <a:gd name="connsiteY199" fmla="*/ 4274343 h 4305300"/>
                  <a:gd name="connsiteX200" fmla="*/ 4760119 w 8801100"/>
                  <a:gd name="connsiteY200" fmla="*/ 4305300 h 4305300"/>
                  <a:gd name="connsiteX201" fmla="*/ 4802981 w 8801100"/>
                  <a:gd name="connsiteY201" fmla="*/ 4245769 h 4305300"/>
                  <a:gd name="connsiteX202" fmla="*/ 5474494 w 8801100"/>
                  <a:gd name="connsiteY202" fmla="*/ 3926681 h 4305300"/>
                  <a:gd name="connsiteX203" fmla="*/ 5562600 w 8801100"/>
                  <a:gd name="connsiteY203" fmla="*/ 3955257 h 4305300"/>
                  <a:gd name="connsiteX204" fmla="*/ 5693569 w 8801100"/>
                  <a:gd name="connsiteY204" fmla="*/ 3926681 h 4305300"/>
                  <a:gd name="connsiteX205" fmla="*/ 5872162 w 8801100"/>
                  <a:gd name="connsiteY205" fmla="*/ 3943350 h 4305300"/>
                  <a:gd name="connsiteX206" fmla="*/ 5929313 w 8801100"/>
                  <a:gd name="connsiteY206" fmla="*/ 3917157 h 4305300"/>
                  <a:gd name="connsiteX207" fmla="*/ 6062662 w 8801100"/>
                  <a:gd name="connsiteY207" fmla="*/ 3914775 h 4305300"/>
                  <a:gd name="connsiteX208" fmla="*/ 6196012 w 8801100"/>
                  <a:gd name="connsiteY208" fmla="*/ 3817144 h 4305300"/>
                  <a:gd name="connsiteX209" fmla="*/ 6262687 w 8801100"/>
                  <a:gd name="connsiteY209" fmla="*/ 3810000 h 4305300"/>
                  <a:gd name="connsiteX210" fmla="*/ 6360319 w 8801100"/>
                  <a:gd name="connsiteY210" fmla="*/ 3736181 h 4305300"/>
                  <a:gd name="connsiteX211" fmla="*/ 6434138 w 8801100"/>
                  <a:gd name="connsiteY211" fmla="*/ 3667125 h 4305300"/>
                  <a:gd name="connsiteX212" fmla="*/ 6443663 w 8801100"/>
                  <a:gd name="connsiteY212" fmla="*/ 3605213 h 4305300"/>
                  <a:gd name="connsiteX213" fmla="*/ 6477000 w 8801100"/>
                  <a:gd name="connsiteY213" fmla="*/ 3536156 h 4305300"/>
                  <a:gd name="connsiteX214" fmla="*/ 6629400 w 8801100"/>
                  <a:gd name="connsiteY214" fmla="*/ 3429000 h 4305300"/>
                  <a:gd name="connsiteX215" fmla="*/ 6662738 w 8801100"/>
                  <a:gd name="connsiteY215" fmla="*/ 3433763 h 4305300"/>
                  <a:gd name="connsiteX216" fmla="*/ 6715125 w 8801100"/>
                  <a:gd name="connsiteY216" fmla="*/ 3355181 h 4305300"/>
                  <a:gd name="connsiteX217" fmla="*/ 6762750 w 8801100"/>
                  <a:gd name="connsiteY217" fmla="*/ 3317081 h 4305300"/>
                  <a:gd name="connsiteX218" fmla="*/ 6748463 w 8801100"/>
                  <a:gd name="connsiteY218" fmla="*/ 3248025 h 4305300"/>
                  <a:gd name="connsiteX219" fmla="*/ 6698456 w 8801100"/>
                  <a:gd name="connsiteY219" fmla="*/ 3217068 h 4305300"/>
                  <a:gd name="connsiteX220" fmla="*/ 6638925 w 8801100"/>
                  <a:gd name="connsiteY220" fmla="*/ 3162300 h 4305300"/>
                  <a:gd name="connsiteX221" fmla="*/ 6619875 w 8801100"/>
                  <a:gd name="connsiteY221" fmla="*/ 3105150 h 4305300"/>
                  <a:gd name="connsiteX222" fmla="*/ 6584156 w 8801100"/>
                  <a:gd name="connsiteY222" fmla="*/ 3071813 h 4305300"/>
                  <a:gd name="connsiteX223" fmla="*/ 6610350 w 8801100"/>
                  <a:gd name="connsiteY223" fmla="*/ 3019425 h 4305300"/>
                  <a:gd name="connsiteX224" fmla="*/ 6650831 w 8801100"/>
                  <a:gd name="connsiteY224" fmla="*/ 2840831 h 4305300"/>
                  <a:gd name="connsiteX225" fmla="*/ 6691313 w 8801100"/>
                  <a:gd name="connsiteY225" fmla="*/ 2774156 h 4305300"/>
                  <a:gd name="connsiteX226" fmla="*/ 6836569 w 8801100"/>
                  <a:gd name="connsiteY226" fmla="*/ 2757487 h 4305300"/>
                  <a:gd name="connsiteX227" fmla="*/ 6905625 w 8801100"/>
                  <a:gd name="connsiteY227" fmla="*/ 2814638 h 4305300"/>
                  <a:gd name="connsiteX228" fmla="*/ 6981825 w 8801100"/>
                  <a:gd name="connsiteY228" fmla="*/ 2838450 h 4305300"/>
                  <a:gd name="connsiteX229" fmla="*/ 7186612 w 8801100"/>
                  <a:gd name="connsiteY229" fmla="*/ 2843213 h 4305300"/>
                  <a:gd name="connsiteX230" fmla="*/ 7362825 w 8801100"/>
                  <a:gd name="connsiteY230" fmla="*/ 2705100 h 4305300"/>
                  <a:gd name="connsiteX231" fmla="*/ 7419975 w 8801100"/>
                  <a:gd name="connsiteY231" fmla="*/ 2614612 h 4305300"/>
                  <a:gd name="connsiteX232" fmla="*/ 7446169 w 8801100"/>
                  <a:gd name="connsiteY232" fmla="*/ 2531269 h 4305300"/>
                  <a:gd name="connsiteX233" fmla="*/ 7577137 w 8801100"/>
                  <a:gd name="connsiteY233" fmla="*/ 2531269 h 4305300"/>
                  <a:gd name="connsiteX234" fmla="*/ 7750969 w 8801100"/>
                  <a:gd name="connsiteY234" fmla="*/ 2474118 h 4305300"/>
                  <a:gd name="connsiteX235" fmla="*/ 7810500 w 8801100"/>
                  <a:gd name="connsiteY235" fmla="*/ 2362200 h 4305300"/>
                  <a:gd name="connsiteX236" fmla="*/ 7874794 w 8801100"/>
                  <a:gd name="connsiteY236" fmla="*/ 2326481 h 4305300"/>
                  <a:gd name="connsiteX237" fmla="*/ 7853363 w 8801100"/>
                  <a:gd name="connsiteY237" fmla="*/ 2281238 h 4305300"/>
                  <a:gd name="connsiteX238" fmla="*/ 7931944 w 8801100"/>
                  <a:gd name="connsiteY238" fmla="*/ 2112168 h 4305300"/>
                  <a:gd name="connsiteX239" fmla="*/ 7986713 w 8801100"/>
                  <a:gd name="connsiteY239" fmla="*/ 2052638 h 4305300"/>
                  <a:gd name="connsiteX240" fmla="*/ 8024813 w 8801100"/>
                  <a:gd name="connsiteY240" fmla="*/ 2047875 h 4305300"/>
                  <a:gd name="connsiteX241" fmla="*/ 8070056 w 8801100"/>
                  <a:gd name="connsiteY241" fmla="*/ 2052638 h 4305300"/>
                  <a:gd name="connsiteX242" fmla="*/ 8134350 w 8801100"/>
                  <a:gd name="connsiteY242" fmla="*/ 2019300 h 4305300"/>
                  <a:gd name="connsiteX243" fmla="*/ 8143875 w 8801100"/>
                  <a:gd name="connsiteY243" fmla="*/ 1955006 h 4305300"/>
                  <a:gd name="connsiteX244" fmla="*/ 8184355 w 8801100"/>
                  <a:gd name="connsiteY244" fmla="*/ 1919288 h 4305300"/>
                  <a:gd name="connsiteX245" fmla="*/ 8243888 w 8801100"/>
                  <a:gd name="connsiteY245" fmla="*/ 1959768 h 4305300"/>
                  <a:gd name="connsiteX246" fmla="*/ 8270082 w 8801100"/>
                  <a:gd name="connsiteY246" fmla="*/ 1909762 h 4305300"/>
                  <a:gd name="connsiteX247" fmla="*/ 8365331 w 8801100"/>
                  <a:gd name="connsiteY247" fmla="*/ 1840706 h 4305300"/>
                  <a:gd name="connsiteX248" fmla="*/ 8427244 w 8801100"/>
                  <a:gd name="connsiteY248" fmla="*/ 1847850 h 4305300"/>
                  <a:gd name="connsiteX249" fmla="*/ 8477250 w 8801100"/>
                  <a:gd name="connsiteY249" fmla="*/ 1828800 h 4305300"/>
                  <a:gd name="connsiteX250" fmla="*/ 8515350 w 8801100"/>
                  <a:gd name="connsiteY250" fmla="*/ 1800225 h 4305300"/>
                  <a:gd name="connsiteX251" fmla="*/ 8548688 w 8801100"/>
                  <a:gd name="connsiteY251" fmla="*/ 1797844 h 4305300"/>
                  <a:gd name="connsiteX252" fmla="*/ 8584406 w 8801100"/>
                  <a:gd name="connsiteY252" fmla="*/ 1828800 h 4305300"/>
                  <a:gd name="connsiteX253" fmla="*/ 8643938 w 8801100"/>
                  <a:gd name="connsiteY253" fmla="*/ 1828800 h 4305300"/>
                  <a:gd name="connsiteX254" fmla="*/ 8682037 w 8801100"/>
                  <a:gd name="connsiteY254" fmla="*/ 1809750 h 4305300"/>
                  <a:gd name="connsiteX255" fmla="*/ 8765381 w 8801100"/>
                  <a:gd name="connsiteY255" fmla="*/ 1812132 h 4305300"/>
                  <a:gd name="connsiteX256" fmla="*/ 8796338 w 8801100"/>
                  <a:gd name="connsiteY256" fmla="*/ 1766888 h 4305300"/>
                  <a:gd name="connsiteX257" fmla="*/ 8801100 w 8801100"/>
                  <a:gd name="connsiteY257" fmla="*/ 1704975 h 4305300"/>
                  <a:gd name="connsiteX258" fmla="*/ 8751093 w 8801100"/>
                  <a:gd name="connsiteY258" fmla="*/ 1664494 h 4305300"/>
                  <a:gd name="connsiteX259" fmla="*/ 8734425 w 8801100"/>
                  <a:gd name="connsiteY259" fmla="*/ 1609725 h 4305300"/>
                  <a:gd name="connsiteX260" fmla="*/ 8643938 w 8801100"/>
                  <a:gd name="connsiteY260" fmla="*/ 1547813 h 4305300"/>
                  <a:gd name="connsiteX261" fmla="*/ 8603456 w 8801100"/>
                  <a:gd name="connsiteY261" fmla="*/ 1526381 h 4305300"/>
                  <a:gd name="connsiteX262" fmla="*/ 8565356 w 8801100"/>
                  <a:gd name="connsiteY262" fmla="*/ 1481138 h 4305300"/>
                  <a:gd name="connsiteX263" fmla="*/ 8534400 w 8801100"/>
                  <a:gd name="connsiteY263" fmla="*/ 1478756 h 4305300"/>
                  <a:gd name="connsiteX264" fmla="*/ 8517731 w 8801100"/>
                  <a:gd name="connsiteY264" fmla="*/ 1426369 h 4305300"/>
                  <a:gd name="connsiteX265" fmla="*/ 8477250 w 8801100"/>
                  <a:gd name="connsiteY265" fmla="*/ 1409700 h 4305300"/>
                  <a:gd name="connsiteX266" fmla="*/ 8477250 w 8801100"/>
                  <a:gd name="connsiteY266" fmla="*/ 1409700 h 4305300"/>
                  <a:gd name="connsiteX267" fmla="*/ 8436769 w 8801100"/>
                  <a:gd name="connsiteY267" fmla="*/ 1414463 h 4305300"/>
                  <a:gd name="connsiteX268" fmla="*/ 8351043 w 8801100"/>
                  <a:gd name="connsiteY268" fmla="*/ 1340644 h 4305300"/>
                  <a:gd name="connsiteX269" fmla="*/ 8170069 w 8801100"/>
                  <a:gd name="connsiteY269" fmla="*/ 1340643 h 4305300"/>
                  <a:gd name="connsiteX270" fmla="*/ 8117681 w 8801100"/>
                  <a:gd name="connsiteY270" fmla="*/ 1378744 h 4305300"/>
                  <a:gd name="connsiteX271" fmla="*/ 8067675 w 8801100"/>
                  <a:gd name="connsiteY271" fmla="*/ 1457325 h 4305300"/>
                  <a:gd name="connsiteX272" fmla="*/ 8084344 w 8801100"/>
                  <a:gd name="connsiteY272" fmla="*/ 1478756 h 4305300"/>
                  <a:gd name="connsiteX273" fmla="*/ 8039100 w 8801100"/>
                  <a:gd name="connsiteY273" fmla="*/ 1528762 h 4305300"/>
                  <a:gd name="connsiteX274" fmla="*/ 7889081 w 8801100"/>
                  <a:gd name="connsiteY274" fmla="*/ 1452562 h 4305300"/>
                  <a:gd name="connsiteX275" fmla="*/ 7798594 w 8801100"/>
                  <a:gd name="connsiteY275" fmla="*/ 1488281 h 4305300"/>
                  <a:gd name="connsiteX276" fmla="*/ 7724775 w 8801100"/>
                  <a:gd name="connsiteY276" fmla="*/ 1485900 h 4305300"/>
                  <a:gd name="connsiteX277" fmla="*/ 7667625 w 8801100"/>
                  <a:gd name="connsiteY277" fmla="*/ 1581150 h 4305300"/>
                  <a:gd name="connsiteX278" fmla="*/ 7529513 w 8801100"/>
                  <a:gd name="connsiteY278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873919 w 8801100"/>
                  <a:gd name="connsiteY128" fmla="*/ 523875 h 4305300"/>
                  <a:gd name="connsiteX129" fmla="*/ 2381 w 8801100"/>
                  <a:gd name="connsiteY129" fmla="*/ 1490661 h 4305300"/>
                  <a:gd name="connsiteX130" fmla="*/ 0 w 8801100"/>
                  <a:gd name="connsiteY130" fmla="*/ 709613 h 4305300"/>
                  <a:gd name="connsiteX131" fmla="*/ 76200 w 8801100"/>
                  <a:gd name="connsiteY131" fmla="*/ 692944 h 4305300"/>
                  <a:gd name="connsiteX132" fmla="*/ 119063 w 8801100"/>
                  <a:gd name="connsiteY132" fmla="*/ 721519 h 4305300"/>
                  <a:gd name="connsiteX133" fmla="*/ 215900 w 8801100"/>
                  <a:gd name="connsiteY133" fmla="*/ 712788 h 4305300"/>
                  <a:gd name="connsiteX134" fmla="*/ 261938 w 8801100"/>
                  <a:gd name="connsiteY134" fmla="*/ 740568 h 4305300"/>
                  <a:gd name="connsiteX135" fmla="*/ 228600 w 8801100"/>
                  <a:gd name="connsiteY135" fmla="*/ 769144 h 4305300"/>
                  <a:gd name="connsiteX136" fmla="*/ 233363 w 8801100"/>
                  <a:gd name="connsiteY136" fmla="*/ 812006 h 4305300"/>
                  <a:gd name="connsiteX137" fmla="*/ 200025 w 8801100"/>
                  <a:gd name="connsiteY137" fmla="*/ 816769 h 4305300"/>
                  <a:gd name="connsiteX138" fmla="*/ 204788 w 8801100"/>
                  <a:gd name="connsiteY138" fmla="*/ 840581 h 4305300"/>
                  <a:gd name="connsiteX139" fmla="*/ 261937 w 8801100"/>
                  <a:gd name="connsiteY139" fmla="*/ 914400 h 4305300"/>
                  <a:gd name="connsiteX140" fmla="*/ 223838 w 8801100"/>
                  <a:gd name="connsiteY140" fmla="*/ 962025 h 4305300"/>
                  <a:gd name="connsiteX141" fmla="*/ 278606 w 8801100"/>
                  <a:gd name="connsiteY141" fmla="*/ 997744 h 4305300"/>
                  <a:gd name="connsiteX142" fmla="*/ 369094 w 8801100"/>
                  <a:gd name="connsiteY142" fmla="*/ 1085850 h 4305300"/>
                  <a:gd name="connsiteX143" fmla="*/ 371475 w 8801100"/>
                  <a:gd name="connsiteY143" fmla="*/ 1145381 h 4305300"/>
                  <a:gd name="connsiteX144" fmla="*/ 507206 w 8801100"/>
                  <a:gd name="connsiteY144" fmla="*/ 1278732 h 4305300"/>
                  <a:gd name="connsiteX145" fmla="*/ 561975 w 8801100"/>
                  <a:gd name="connsiteY145" fmla="*/ 1254919 h 4305300"/>
                  <a:gd name="connsiteX146" fmla="*/ 600075 w 8801100"/>
                  <a:gd name="connsiteY146" fmla="*/ 1281112 h 4305300"/>
                  <a:gd name="connsiteX147" fmla="*/ 614363 w 8801100"/>
                  <a:gd name="connsiteY147" fmla="*/ 1331118 h 4305300"/>
                  <a:gd name="connsiteX148" fmla="*/ 657225 w 8801100"/>
                  <a:gd name="connsiteY148" fmla="*/ 1366838 h 4305300"/>
                  <a:gd name="connsiteX149" fmla="*/ 697706 w 8801100"/>
                  <a:gd name="connsiteY149" fmla="*/ 1354931 h 4305300"/>
                  <a:gd name="connsiteX150" fmla="*/ 716756 w 8801100"/>
                  <a:gd name="connsiteY150" fmla="*/ 1412081 h 4305300"/>
                  <a:gd name="connsiteX151" fmla="*/ 764381 w 8801100"/>
                  <a:gd name="connsiteY151" fmla="*/ 1454944 h 4305300"/>
                  <a:gd name="connsiteX152" fmla="*/ 788194 w 8801100"/>
                  <a:gd name="connsiteY152" fmla="*/ 1557338 h 4305300"/>
                  <a:gd name="connsiteX153" fmla="*/ 785813 w 8801100"/>
                  <a:gd name="connsiteY153" fmla="*/ 1604963 h 4305300"/>
                  <a:gd name="connsiteX154" fmla="*/ 821531 w 8801100"/>
                  <a:gd name="connsiteY154" fmla="*/ 1704975 h 4305300"/>
                  <a:gd name="connsiteX155" fmla="*/ 866775 w 8801100"/>
                  <a:gd name="connsiteY155" fmla="*/ 1762125 h 4305300"/>
                  <a:gd name="connsiteX156" fmla="*/ 883443 w 8801100"/>
                  <a:gd name="connsiteY156" fmla="*/ 1919287 h 4305300"/>
                  <a:gd name="connsiteX157" fmla="*/ 850106 w 8801100"/>
                  <a:gd name="connsiteY157" fmla="*/ 1981200 h 4305300"/>
                  <a:gd name="connsiteX158" fmla="*/ 819150 w 8801100"/>
                  <a:gd name="connsiteY158" fmla="*/ 2057400 h 4305300"/>
                  <a:gd name="connsiteX159" fmla="*/ 833438 w 8801100"/>
                  <a:gd name="connsiteY159" fmla="*/ 2114550 h 4305300"/>
                  <a:gd name="connsiteX160" fmla="*/ 735806 w 8801100"/>
                  <a:gd name="connsiteY160" fmla="*/ 2221707 h 4305300"/>
                  <a:gd name="connsiteX161" fmla="*/ 692944 w 8801100"/>
                  <a:gd name="connsiteY161" fmla="*/ 2336006 h 4305300"/>
                  <a:gd name="connsiteX162" fmla="*/ 726281 w 8801100"/>
                  <a:gd name="connsiteY162" fmla="*/ 2376488 h 4305300"/>
                  <a:gd name="connsiteX163" fmla="*/ 709613 w 8801100"/>
                  <a:gd name="connsiteY163" fmla="*/ 2405063 h 4305300"/>
                  <a:gd name="connsiteX164" fmla="*/ 740569 w 8801100"/>
                  <a:gd name="connsiteY164" fmla="*/ 2462213 h 4305300"/>
                  <a:gd name="connsiteX165" fmla="*/ 769144 w 8801100"/>
                  <a:gd name="connsiteY165" fmla="*/ 2462213 h 4305300"/>
                  <a:gd name="connsiteX166" fmla="*/ 931069 w 8801100"/>
                  <a:gd name="connsiteY166" fmla="*/ 2564606 h 4305300"/>
                  <a:gd name="connsiteX167" fmla="*/ 1035844 w 8801100"/>
                  <a:gd name="connsiteY167" fmla="*/ 2562225 h 4305300"/>
                  <a:gd name="connsiteX168" fmla="*/ 1114425 w 8801100"/>
                  <a:gd name="connsiteY168" fmla="*/ 2616994 h 4305300"/>
                  <a:gd name="connsiteX169" fmla="*/ 1245393 w 8801100"/>
                  <a:gd name="connsiteY169" fmla="*/ 2619375 h 4305300"/>
                  <a:gd name="connsiteX170" fmla="*/ 1435893 w 8801100"/>
                  <a:gd name="connsiteY170" fmla="*/ 2688431 h 4305300"/>
                  <a:gd name="connsiteX171" fmla="*/ 1638300 w 8801100"/>
                  <a:gd name="connsiteY171" fmla="*/ 2838450 h 4305300"/>
                  <a:gd name="connsiteX172" fmla="*/ 1671637 w 8801100"/>
                  <a:gd name="connsiteY172" fmla="*/ 2905125 h 4305300"/>
                  <a:gd name="connsiteX173" fmla="*/ 1838325 w 8801100"/>
                  <a:gd name="connsiteY173" fmla="*/ 3031331 h 4305300"/>
                  <a:gd name="connsiteX174" fmla="*/ 1909763 w 8801100"/>
                  <a:gd name="connsiteY174" fmla="*/ 3026569 h 4305300"/>
                  <a:gd name="connsiteX175" fmla="*/ 1945482 w 8801100"/>
                  <a:gd name="connsiteY175" fmla="*/ 3050381 h 4305300"/>
                  <a:gd name="connsiteX176" fmla="*/ 1916906 w 8801100"/>
                  <a:gd name="connsiteY176" fmla="*/ 3090863 h 4305300"/>
                  <a:gd name="connsiteX177" fmla="*/ 1924050 w 8801100"/>
                  <a:gd name="connsiteY177" fmla="*/ 3143250 h 4305300"/>
                  <a:gd name="connsiteX178" fmla="*/ 1976438 w 8801100"/>
                  <a:gd name="connsiteY178" fmla="*/ 3169444 h 4305300"/>
                  <a:gd name="connsiteX179" fmla="*/ 2038350 w 8801100"/>
                  <a:gd name="connsiteY179" fmla="*/ 3393282 h 4305300"/>
                  <a:gd name="connsiteX180" fmla="*/ 2028825 w 8801100"/>
                  <a:gd name="connsiteY180" fmla="*/ 3457575 h 4305300"/>
                  <a:gd name="connsiteX181" fmla="*/ 2164556 w 8801100"/>
                  <a:gd name="connsiteY181" fmla="*/ 3624263 h 4305300"/>
                  <a:gd name="connsiteX182" fmla="*/ 2183606 w 8801100"/>
                  <a:gd name="connsiteY182" fmla="*/ 3674269 h 4305300"/>
                  <a:gd name="connsiteX183" fmla="*/ 2157413 w 8801100"/>
                  <a:gd name="connsiteY183" fmla="*/ 3693319 h 4305300"/>
                  <a:gd name="connsiteX184" fmla="*/ 2259806 w 8801100"/>
                  <a:gd name="connsiteY184" fmla="*/ 3702844 h 4305300"/>
                  <a:gd name="connsiteX185" fmla="*/ 2371725 w 8801100"/>
                  <a:gd name="connsiteY185" fmla="*/ 3690938 h 4305300"/>
                  <a:gd name="connsiteX186" fmla="*/ 2650331 w 8801100"/>
                  <a:gd name="connsiteY186" fmla="*/ 3774281 h 4305300"/>
                  <a:gd name="connsiteX187" fmla="*/ 3057525 w 8801100"/>
                  <a:gd name="connsiteY187" fmla="*/ 3855244 h 4305300"/>
                  <a:gd name="connsiteX188" fmla="*/ 3255169 w 8801100"/>
                  <a:gd name="connsiteY188" fmla="*/ 3824287 h 4305300"/>
                  <a:gd name="connsiteX189" fmla="*/ 3300413 w 8801100"/>
                  <a:gd name="connsiteY189" fmla="*/ 3836193 h 4305300"/>
                  <a:gd name="connsiteX190" fmla="*/ 3355181 w 8801100"/>
                  <a:gd name="connsiteY190" fmla="*/ 3812382 h 4305300"/>
                  <a:gd name="connsiteX191" fmla="*/ 3748087 w 8801100"/>
                  <a:gd name="connsiteY191" fmla="*/ 3902869 h 4305300"/>
                  <a:gd name="connsiteX192" fmla="*/ 3831432 w 8801100"/>
                  <a:gd name="connsiteY192" fmla="*/ 4000500 h 4305300"/>
                  <a:gd name="connsiteX193" fmla="*/ 3950494 w 8801100"/>
                  <a:gd name="connsiteY193" fmla="*/ 4071938 h 4305300"/>
                  <a:gd name="connsiteX194" fmla="*/ 4010025 w 8801100"/>
                  <a:gd name="connsiteY194" fmla="*/ 4055269 h 4305300"/>
                  <a:gd name="connsiteX195" fmla="*/ 4360068 w 8801100"/>
                  <a:gd name="connsiteY195" fmla="*/ 4229100 h 4305300"/>
                  <a:gd name="connsiteX196" fmla="*/ 4586288 w 8801100"/>
                  <a:gd name="connsiteY196" fmla="*/ 4200525 h 4305300"/>
                  <a:gd name="connsiteX197" fmla="*/ 4595813 w 8801100"/>
                  <a:gd name="connsiteY197" fmla="*/ 4279106 h 4305300"/>
                  <a:gd name="connsiteX198" fmla="*/ 4681538 w 8801100"/>
                  <a:gd name="connsiteY198" fmla="*/ 4274343 h 4305300"/>
                  <a:gd name="connsiteX199" fmla="*/ 4760119 w 8801100"/>
                  <a:gd name="connsiteY199" fmla="*/ 4305300 h 4305300"/>
                  <a:gd name="connsiteX200" fmla="*/ 4802981 w 8801100"/>
                  <a:gd name="connsiteY200" fmla="*/ 4245769 h 4305300"/>
                  <a:gd name="connsiteX201" fmla="*/ 5474494 w 8801100"/>
                  <a:gd name="connsiteY201" fmla="*/ 3926681 h 4305300"/>
                  <a:gd name="connsiteX202" fmla="*/ 5562600 w 8801100"/>
                  <a:gd name="connsiteY202" fmla="*/ 3955257 h 4305300"/>
                  <a:gd name="connsiteX203" fmla="*/ 5693569 w 8801100"/>
                  <a:gd name="connsiteY203" fmla="*/ 3926681 h 4305300"/>
                  <a:gd name="connsiteX204" fmla="*/ 5872162 w 8801100"/>
                  <a:gd name="connsiteY204" fmla="*/ 3943350 h 4305300"/>
                  <a:gd name="connsiteX205" fmla="*/ 5929313 w 8801100"/>
                  <a:gd name="connsiteY205" fmla="*/ 3917157 h 4305300"/>
                  <a:gd name="connsiteX206" fmla="*/ 6062662 w 8801100"/>
                  <a:gd name="connsiteY206" fmla="*/ 3914775 h 4305300"/>
                  <a:gd name="connsiteX207" fmla="*/ 6196012 w 8801100"/>
                  <a:gd name="connsiteY207" fmla="*/ 3817144 h 4305300"/>
                  <a:gd name="connsiteX208" fmla="*/ 6262687 w 8801100"/>
                  <a:gd name="connsiteY208" fmla="*/ 3810000 h 4305300"/>
                  <a:gd name="connsiteX209" fmla="*/ 6360319 w 8801100"/>
                  <a:gd name="connsiteY209" fmla="*/ 3736181 h 4305300"/>
                  <a:gd name="connsiteX210" fmla="*/ 6434138 w 8801100"/>
                  <a:gd name="connsiteY210" fmla="*/ 3667125 h 4305300"/>
                  <a:gd name="connsiteX211" fmla="*/ 6443663 w 8801100"/>
                  <a:gd name="connsiteY211" fmla="*/ 3605213 h 4305300"/>
                  <a:gd name="connsiteX212" fmla="*/ 6477000 w 8801100"/>
                  <a:gd name="connsiteY212" fmla="*/ 3536156 h 4305300"/>
                  <a:gd name="connsiteX213" fmla="*/ 6629400 w 8801100"/>
                  <a:gd name="connsiteY213" fmla="*/ 3429000 h 4305300"/>
                  <a:gd name="connsiteX214" fmla="*/ 6662738 w 8801100"/>
                  <a:gd name="connsiteY214" fmla="*/ 3433763 h 4305300"/>
                  <a:gd name="connsiteX215" fmla="*/ 6715125 w 8801100"/>
                  <a:gd name="connsiteY215" fmla="*/ 3355181 h 4305300"/>
                  <a:gd name="connsiteX216" fmla="*/ 6762750 w 8801100"/>
                  <a:gd name="connsiteY216" fmla="*/ 3317081 h 4305300"/>
                  <a:gd name="connsiteX217" fmla="*/ 6748463 w 8801100"/>
                  <a:gd name="connsiteY217" fmla="*/ 3248025 h 4305300"/>
                  <a:gd name="connsiteX218" fmla="*/ 6698456 w 8801100"/>
                  <a:gd name="connsiteY218" fmla="*/ 3217068 h 4305300"/>
                  <a:gd name="connsiteX219" fmla="*/ 6638925 w 8801100"/>
                  <a:gd name="connsiteY219" fmla="*/ 3162300 h 4305300"/>
                  <a:gd name="connsiteX220" fmla="*/ 6619875 w 8801100"/>
                  <a:gd name="connsiteY220" fmla="*/ 3105150 h 4305300"/>
                  <a:gd name="connsiteX221" fmla="*/ 6584156 w 8801100"/>
                  <a:gd name="connsiteY221" fmla="*/ 3071813 h 4305300"/>
                  <a:gd name="connsiteX222" fmla="*/ 6610350 w 8801100"/>
                  <a:gd name="connsiteY222" fmla="*/ 3019425 h 4305300"/>
                  <a:gd name="connsiteX223" fmla="*/ 6650831 w 8801100"/>
                  <a:gd name="connsiteY223" fmla="*/ 2840831 h 4305300"/>
                  <a:gd name="connsiteX224" fmla="*/ 6691313 w 8801100"/>
                  <a:gd name="connsiteY224" fmla="*/ 2774156 h 4305300"/>
                  <a:gd name="connsiteX225" fmla="*/ 6836569 w 8801100"/>
                  <a:gd name="connsiteY225" fmla="*/ 2757487 h 4305300"/>
                  <a:gd name="connsiteX226" fmla="*/ 6905625 w 8801100"/>
                  <a:gd name="connsiteY226" fmla="*/ 2814638 h 4305300"/>
                  <a:gd name="connsiteX227" fmla="*/ 6981825 w 8801100"/>
                  <a:gd name="connsiteY227" fmla="*/ 2838450 h 4305300"/>
                  <a:gd name="connsiteX228" fmla="*/ 7186612 w 8801100"/>
                  <a:gd name="connsiteY228" fmla="*/ 2843213 h 4305300"/>
                  <a:gd name="connsiteX229" fmla="*/ 7362825 w 8801100"/>
                  <a:gd name="connsiteY229" fmla="*/ 2705100 h 4305300"/>
                  <a:gd name="connsiteX230" fmla="*/ 7419975 w 8801100"/>
                  <a:gd name="connsiteY230" fmla="*/ 2614612 h 4305300"/>
                  <a:gd name="connsiteX231" fmla="*/ 7446169 w 8801100"/>
                  <a:gd name="connsiteY231" fmla="*/ 2531269 h 4305300"/>
                  <a:gd name="connsiteX232" fmla="*/ 7577137 w 8801100"/>
                  <a:gd name="connsiteY232" fmla="*/ 2531269 h 4305300"/>
                  <a:gd name="connsiteX233" fmla="*/ 7750969 w 8801100"/>
                  <a:gd name="connsiteY233" fmla="*/ 2474118 h 4305300"/>
                  <a:gd name="connsiteX234" fmla="*/ 7810500 w 8801100"/>
                  <a:gd name="connsiteY234" fmla="*/ 2362200 h 4305300"/>
                  <a:gd name="connsiteX235" fmla="*/ 7874794 w 8801100"/>
                  <a:gd name="connsiteY235" fmla="*/ 2326481 h 4305300"/>
                  <a:gd name="connsiteX236" fmla="*/ 7853363 w 8801100"/>
                  <a:gd name="connsiteY236" fmla="*/ 2281238 h 4305300"/>
                  <a:gd name="connsiteX237" fmla="*/ 7931944 w 8801100"/>
                  <a:gd name="connsiteY237" fmla="*/ 2112168 h 4305300"/>
                  <a:gd name="connsiteX238" fmla="*/ 7986713 w 8801100"/>
                  <a:gd name="connsiteY238" fmla="*/ 2052638 h 4305300"/>
                  <a:gd name="connsiteX239" fmla="*/ 8024813 w 8801100"/>
                  <a:gd name="connsiteY239" fmla="*/ 2047875 h 4305300"/>
                  <a:gd name="connsiteX240" fmla="*/ 8070056 w 8801100"/>
                  <a:gd name="connsiteY240" fmla="*/ 2052638 h 4305300"/>
                  <a:gd name="connsiteX241" fmla="*/ 8134350 w 8801100"/>
                  <a:gd name="connsiteY241" fmla="*/ 2019300 h 4305300"/>
                  <a:gd name="connsiteX242" fmla="*/ 8143875 w 8801100"/>
                  <a:gd name="connsiteY242" fmla="*/ 1955006 h 4305300"/>
                  <a:gd name="connsiteX243" fmla="*/ 8184355 w 8801100"/>
                  <a:gd name="connsiteY243" fmla="*/ 1919288 h 4305300"/>
                  <a:gd name="connsiteX244" fmla="*/ 8243888 w 8801100"/>
                  <a:gd name="connsiteY244" fmla="*/ 1959768 h 4305300"/>
                  <a:gd name="connsiteX245" fmla="*/ 8270082 w 8801100"/>
                  <a:gd name="connsiteY245" fmla="*/ 1909762 h 4305300"/>
                  <a:gd name="connsiteX246" fmla="*/ 8365331 w 8801100"/>
                  <a:gd name="connsiteY246" fmla="*/ 1840706 h 4305300"/>
                  <a:gd name="connsiteX247" fmla="*/ 8427244 w 8801100"/>
                  <a:gd name="connsiteY247" fmla="*/ 1847850 h 4305300"/>
                  <a:gd name="connsiteX248" fmla="*/ 8477250 w 8801100"/>
                  <a:gd name="connsiteY248" fmla="*/ 1828800 h 4305300"/>
                  <a:gd name="connsiteX249" fmla="*/ 8515350 w 8801100"/>
                  <a:gd name="connsiteY249" fmla="*/ 1800225 h 4305300"/>
                  <a:gd name="connsiteX250" fmla="*/ 8548688 w 8801100"/>
                  <a:gd name="connsiteY250" fmla="*/ 1797844 h 4305300"/>
                  <a:gd name="connsiteX251" fmla="*/ 8584406 w 8801100"/>
                  <a:gd name="connsiteY251" fmla="*/ 1828800 h 4305300"/>
                  <a:gd name="connsiteX252" fmla="*/ 8643938 w 8801100"/>
                  <a:gd name="connsiteY252" fmla="*/ 1828800 h 4305300"/>
                  <a:gd name="connsiteX253" fmla="*/ 8682037 w 8801100"/>
                  <a:gd name="connsiteY253" fmla="*/ 1809750 h 4305300"/>
                  <a:gd name="connsiteX254" fmla="*/ 8765381 w 8801100"/>
                  <a:gd name="connsiteY254" fmla="*/ 1812132 h 4305300"/>
                  <a:gd name="connsiteX255" fmla="*/ 8796338 w 8801100"/>
                  <a:gd name="connsiteY255" fmla="*/ 1766888 h 4305300"/>
                  <a:gd name="connsiteX256" fmla="*/ 8801100 w 8801100"/>
                  <a:gd name="connsiteY256" fmla="*/ 1704975 h 4305300"/>
                  <a:gd name="connsiteX257" fmla="*/ 8751093 w 8801100"/>
                  <a:gd name="connsiteY257" fmla="*/ 1664494 h 4305300"/>
                  <a:gd name="connsiteX258" fmla="*/ 8734425 w 8801100"/>
                  <a:gd name="connsiteY258" fmla="*/ 1609725 h 4305300"/>
                  <a:gd name="connsiteX259" fmla="*/ 8643938 w 8801100"/>
                  <a:gd name="connsiteY259" fmla="*/ 1547813 h 4305300"/>
                  <a:gd name="connsiteX260" fmla="*/ 8603456 w 8801100"/>
                  <a:gd name="connsiteY260" fmla="*/ 1526381 h 4305300"/>
                  <a:gd name="connsiteX261" fmla="*/ 8565356 w 8801100"/>
                  <a:gd name="connsiteY261" fmla="*/ 1481138 h 4305300"/>
                  <a:gd name="connsiteX262" fmla="*/ 8534400 w 8801100"/>
                  <a:gd name="connsiteY262" fmla="*/ 1478756 h 4305300"/>
                  <a:gd name="connsiteX263" fmla="*/ 8517731 w 8801100"/>
                  <a:gd name="connsiteY263" fmla="*/ 1426369 h 4305300"/>
                  <a:gd name="connsiteX264" fmla="*/ 8477250 w 8801100"/>
                  <a:gd name="connsiteY264" fmla="*/ 1409700 h 4305300"/>
                  <a:gd name="connsiteX265" fmla="*/ 8477250 w 8801100"/>
                  <a:gd name="connsiteY265" fmla="*/ 1409700 h 4305300"/>
                  <a:gd name="connsiteX266" fmla="*/ 8436769 w 8801100"/>
                  <a:gd name="connsiteY266" fmla="*/ 1414463 h 4305300"/>
                  <a:gd name="connsiteX267" fmla="*/ 8351043 w 8801100"/>
                  <a:gd name="connsiteY267" fmla="*/ 1340644 h 4305300"/>
                  <a:gd name="connsiteX268" fmla="*/ 8170069 w 8801100"/>
                  <a:gd name="connsiteY268" fmla="*/ 1340643 h 4305300"/>
                  <a:gd name="connsiteX269" fmla="*/ 8117681 w 8801100"/>
                  <a:gd name="connsiteY269" fmla="*/ 1378744 h 4305300"/>
                  <a:gd name="connsiteX270" fmla="*/ 8067675 w 8801100"/>
                  <a:gd name="connsiteY270" fmla="*/ 1457325 h 4305300"/>
                  <a:gd name="connsiteX271" fmla="*/ 8084344 w 8801100"/>
                  <a:gd name="connsiteY271" fmla="*/ 1478756 h 4305300"/>
                  <a:gd name="connsiteX272" fmla="*/ 8039100 w 8801100"/>
                  <a:gd name="connsiteY272" fmla="*/ 1528762 h 4305300"/>
                  <a:gd name="connsiteX273" fmla="*/ 7889081 w 8801100"/>
                  <a:gd name="connsiteY273" fmla="*/ 1452562 h 4305300"/>
                  <a:gd name="connsiteX274" fmla="*/ 7798594 w 8801100"/>
                  <a:gd name="connsiteY274" fmla="*/ 1488281 h 4305300"/>
                  <a:gd name="connsiteX275" fmla="*/ 7724775 w 8801100"/>
                  <a:gd name="connsiteY275" fmla="*/ 1485900 h 4305300"/>
                  <a:gd name="connsiteX276" fmla="*/ 7667625 w 8801100"/>
                  <a:gd name="connsiteY276" fmla="*/ 1581150 h 4305300"/>
                  <a:gd name="connsiteX277" fmla="*/ 7529513 w 8801100"/>
                  <a:gd name="connsiteY277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928688 w 8801100"/>
                  <a:gd name="connsiteY127" fmla="*/ 485775 h 4305300"/>
                  <a:gd name="connsiteX128" fmla="*/ 2381 w 8801100"/>
                  <a:gd name="connsiteY128" fmla="*/ 1490661 h 4305300"/>
                  <a:gd name="connsiteX129" fmla="*/ 0 w 8801100"/>
                  <a:gd name="connsiteY129" fmla="*/ 709613 h 4305300"/>
                  <a:gd name="connsiteX130" fmla="*/ 76200 w 8801100"/>
                  <a:gd name="connsiteY130" fmla="*/ 692944 h 4305300"/>
                  <a:gd name="connsiteX131" fmla="*/ 119063 w 8801100"/>
                  <a:gd name="connsiteY131" fmla="*/ 721519 h 4305300"/>
                  <a:gd name="connsiteX132" fmla="*/ 215900 w 8801100"/>
                  <a:gd name="connsiteY132" fmla="*/ 712788 h 4305300"/>
                  <a:gd name="connsiteX133" fmla="*/ 261938 w 8801100"/>
                  <a:gd name="connsiteY133" fmla="*/ 740568 h 4305300"/>
                  <a:gd name="connsiteX134" fmla="*/ 228600 w 8801100"/>
                  <a:gd name="connsiteY134" fmla="*/ 769144 h 4305300"/>
                  <a:gd name="connsiteX135" fmla="*/ 233363 w 8801100"/>
                  <a:gd name="connsiteY135" fmla="*/ 812006 h 4305300"/>
                  <a:gd name="connsiteX136" fmla="*/ 200025 w 8801100"/>
                  <a:gd name="connsiteY136" fmla="*/ 816769 h 4305300"/>
                  <a:gd name="connsiteX137" fmla="*/ 204788 w 8801100"/>
                  <a:gd name="connsiteY137" fmla="*/ 840581 h 4305300"/>
                  <a:gd name="connsiteX138" fmla="*/ 261937 w 8801100"/>
                  <a:gd name="connsiteY138" fmla="*/ 914400 h 4305300"/>
                  <a:gd name="connsiteX139" fmla="*/ 223838 w 8801100"/>
                  <a:gd name="connsiteY139" fmla="*/ 962025 h 4305300"/>
                  <a:gd name="connsiteX140" fmla="*/ 278606 w 8801100"/>
                  <a:gd name="connsiteY140" fmla="*/ 997744 h 4305300"/>
                  <a:gd name="connsiteX141" fmla="*/ 369094 w 8801100"/>
                  <a:gd name="connsiteY141" fmla="*/ 1085850 h 4305300"/>
                  <a:gd name="connsiteX142" fmla="*/ 371475 w 8801100"/>
                  <a:gd name="connsiteY142" fmla="*/ 1145381 h 4305300"/>
                  <a:gd name="connsiteX143" fmla="*/ 507206 w 8801100"/>
                  <a:gd name="connsiteY143" fmla="*/ 1278732 h 4305300"/>
                  <a:gd name="connsiteX144" fmla="*/ 561975 w 8801100"/>
                  <a:gd name="connsiteY144" fmla="*/ 1254919 h 4305300"/>
                  <a:gd name="connsiteX145" fmla="*/ 600075 w 8801100"/>
                  <a:gd name="connsiteY145" fmla="*/ 1281112 h 4305300"/>
                  <a:gd name="connsiteX146" fmla="*/ 614363 w 8801100"/>
                  <a:gd name="connsiteY146" fmla="*/ 1331118 h 4305300"/>
                  <a:gd name="connsiteX147" fmla="*/ 657225 w 8801100"/>
                  <a:gd name="connsiteY147" fmla="*/ 1366838 h 4305300"/>
                  <a:gd name="connsiteX148" fmla="*/ 697706 w 8801100"/>
                  <a:gd name="connsiteY148" fmla="*/ 1354931 h 4305300"/>
                  <a:gd name="connsiteX149" fmla="*/ 716756 w 8801100"/>
                  <a:gd name="connsiteY149" fmla="*/ 1412081 h 4305300"/>
                  <a:gd name="connsiteX150" fmla="*/ 764381 w 8801100"/>
                  <a:gd name="connsiteY150" fmla="*/ 1454944 h 4305300"/>
                  <a:gd name="connsiteX151" fmla="*/ 788194 w 8801100"/>
                  <a:gd name="connsiteY151" fmla="*/ 1557338 h 4305300"/>
                  <a:gd name="connsiteX152" fmla="*/ 785813 w 8801100"/>
                  <a:gd name="connsiteY152" fmla="*/ 1604963 h 4305300"/>
                  <a:gd name="connsiteX153" fmla="*/ 821531 w 8801100"/>
                  <a:gd name="connsiteY153" fmla="*/ 1704975 h 4305300"/>
                  <a:gd name="connsiteX154" fmla="*/ 866775 w 8801100"/>
                  <a:gd name="connsiteY154" fmla="*/ 1762125 h 4305300"/>
                  <a:gd name="connsiteX155" fmla="*/ 883443 w 8801100"/>
                  <a:gd name="connsiteY155" fmla="*/ 1919287 h 4305300"/>
                  <a:gd name="connsiteX156" fmla="*/ 850106 w 8801100"/>
                  <a:gd name="connsiteY156" fmla="*/ 1981200 h 4305300"/>
                  <a:gd name="connsiteX157" fmla="*/ 819150 w 8801100"/>
                  <a:gd name="connsiteY157" fmla="*/ 2057400 h 4305300"/>
                  <a:gd name="connsiteX158" fmla="*/ 833438 w 8801100"/>
                  <a:gd name="connsiteY158" fmla="*/ 2114550 h 4305300"/>
                  <a:gd name="connsiteX159" fmla="*/ 735806 w 8801100"/>
                  <a:gd name="connsiteY159" fmla="*/ 2221707 h 4305300"/>
                  <a:gd name="connsiteX160" fmla="*/ 692944 w 8801100"/>
                  <a:gd name="connsiteY160" fmla="*/ 2336006 h 4305300"/>
                  <a:gd name="connsiteX161" fmla="*/ 726281 w 8801100"/>
                  <a:gd name="connsiteY161" fmla="*/ 2376488 h 4305300"/>
                  <a:gd name="connsiteX162" fmla="*/ 709613 w 8801100"/>
                  <a:gd name="connsiteY162" fmla="*/ 2405063 h 4305300"/>
                  <a:gd name="connsiteX163" fmla="*/ 740569 w 8801100"/>
                  <a:gd name="connsiteY163" fmla="*/ 2462213 h 4305300"/>
                  <a:gd name="connsiteX164" fmla="*/ 769144 w 8801100"/>
                  <a:gd name="connsiteY164" fmla="*/ 2462213 h 4305300"/>
                  <a:gd name="connsiteX165" fmla="*/ 931069 w 8801100"/>
                  <a:gd name="connsiteY165" fmla="*/ 2564606 h 4305300"/>
                  <a:gd name="connsiteX166" fmla="*/ 1035844 w 8801100"/>
                  <a:gd name="connsiteY166" fmla="*/ 2562225 h 4305300"/>
                  <a:gd name="connsiteX167" fmla="*/ 1114425 w 8801100"/>
                  <a:gd name="connsiteY167" fmla="*/ 2616994 h 4305300"/>
                  <a:gd name="connsiteX168" fmla="*/ 1245393 w 8801100"/>
                  <a:gd name="connsiteY168" fmla="*/ 2619375 h 4305300"/>
                  <a:gd name="connsiteX169" fmla="*/ 1435893 w 8801100"/>
                  <a:gd name="connsiteY169" fmla="*/ 2688431 h 4305300"/>
                  <a:gd name="connsiteX170" fmla="*/ 1638300 w 8801100"/>
                  <a:gd name="connsiteY170" fmla="*/ 2838450 h 4305300"/>
                  <a:gd name="connsiteX171" fmla="*/ 1671637 w 8801100"/>
                  <a:gd name="connsiteY171" fmla="*/ 2905125 h 4305300"/>
                  <a:gd name="connsiteX172" fmla="*/ 1838325 w 8801100"/>
                  <a:gd name="connsiteY172" fmla="*/ 3031331 h 4305300"/>
                  <a:gd name="connsiteX173" fmla="*/ 1909763 w 8801100"/>
                  <a:gd name="connsiteY173" fmla="*/ 3026569 h 4305300"/>
                  <a:gd name="connsiteX174" fmla="*/ 1945482 w 8801100"/>
                  <a:gd name="connsiteY174" fmla="*/ 3050381 h 4305300"/>
                  <a:gd name="connsiteX175" fmla="*/ 1916906 w 8801100"/>
                  <a:gd name="connsiteY175" fmla="*/ 3090863 h 4305300"/>
                  <a:gd name="connsiteX176" fmla="*/ 1924050 w 8801100"/>
                  <a:gd name="connsiteY176" fmla="*/ 3143250 h 4305300"/>
                  <a:gd name="connsiteX177" fmla="*/ 1976438 w 8801100"/>
                  <a:gd name="connsiteY177" fmla="*/ 3169444 h 4305300"/>
                  <a:gd name="connsiteX178" fmla="*/ 2038350 w 8801100"/>
                  <a:gd name="connsiteY178" fmla="*/ 3393282 h 4305300"/>
                  <a:gd name="connsiteX179" fmla="*/ 2028825 w 8801100"/>
                  <a:gd name="connsiteY179" fmla="*/ 3457575 h 4305300"/>
                  <a:gd name="connsiteX180" fmla="*/ 2164556 w 8801100"/>
                  <a:gd name="connsiteY180" fmla="*/ 3624263 h 4305300"/>
                  <a:gd name="connsiteX181" fmla="*/ 2183606 w 8801100"/>
                  <a:gd name="connsiteY181" fmla="*/ 3674269 h 4305300"/>
                  <a:gd name="connsiteX182" fmla="*/ 2157413 w 8801100"/>
                  <a:gd name="connsiteY182" fmla="*/ 3693319 h 4305300"/>
                  <a:gd name="connsiteX183" fmla="*/ 2259806 w 8801100"/>
                  <a:gd name="connsiteY183" fmla="*/ 3702844 h 4305300"/>
                  <a:gd name="connsiteX184" fmla="*/ 2371725 w 8801100"/>
                  <a:gd name="connsiteY184" fmla="*/ 3690938 h 4305300"/>
                  <a:gd name="connsiteX185" fmla="*/ 2650331 w 8801100"/>
                  <a:gd name="connsiteY185" fmla="*/ 3774281 h 4305300"/>
                  <a:gd name="connsiteX186" fmla="*/ 3057525 w 8801100"/>
                  <a:gd name="connsiteY186" fmla="*/ 3855244 h 4305300"/>
                  <a:gd name="connsiteX187" fmla="*/ 3255169 w 8801100"/>
                  <a:gd name="connsiteY187" fmla="*/ 3824287 h 4305300"/>
                  <a:gd name="connsiteX188" fmla="*/ 3300413 w 8801100"/>
                  <a:gd name="connsiteY188" fmla="*/ 3836193 h 4305300"/>
                  <a:gd name="connsiteX189" fmla="*/ 3355181 w 8801100"/>
                  <a:gd name="connsiteY189" fmla="*/ 3812382 h 4305300"/>
                  <a:gd name="connsiteX190" fmla="*/ 3748087 w 8801100"/>
                  <a:gd name="connsiteY190" fmla="*/ 3902869 h 4305300"/>
                  <a:gd name="connsiteX191" fmla="*/ 3831432 w 8801100"/>
                  <a:gd name="connsiteY191" fmla="*/ 4000500 h 4305300"/>
                  <a:gd name="connsiteX192" fmla="*/ 3950494 w 8801100"/>
                  <a:gd name="connsiteY192" fmla="*/ 4071938 h 4305300"/>
                  <a:gd name="connsiteX193" fmla="*/ 4010025 w 8801100"/>
                  <a:gd name="connsiteY193" fmla="*/ 4055269 h 4305300"/>
                  <a:gd name="connsiteX194" fmla="*/ 4360068 w 8801100"/>
                  <a:gd name="connsiteY194" fmla="*/ 4229100 h 4305300"/>
                  <a:gd name="connsiteX195" fmla="*/ 4586288 w 8801100"/>
                  <a:gd name="connsiteY195" fmla="*/ 4200525 h 4305300"/>
                  <a:gd name="connsiteX196" fmla="*/ 4595813 w 8801100"/>
                  <a:gd name="connsiteY196" fmla="*/ 4279106 h 4305300"/>
                  <a:gd name="connsiteX197" fmla="*/ 4681538 w 8801100"/>
                  <a:gd name="connsiteY197" fmla="*/ 4274343 h 4305300"/>
                  <a:gd name="connsiteX198" fmla="*/ 4760119 w 8801100"/>
                  <a:gd name="connsiteY198" fmla="*/ 4305300 h 4305300"/>
                  <a:gd name="connsiteX199" fmla="*/ 4802981 w 8801100"/>
                  <a:gd name="connsiteY199" fmla="*/ 4245769 h 4305300"/>
                  <a:gd name="connsiteX200" fmla="*/ 5474494 w 8801100"/>
                  <a:gd name="connsiteY200" fmla="*/ 3926681 h 4305300"/>
                  <a:gd name="connsiteX201" fmla="*/ 5562600 w 8801100"/>
                  <a:gd name="connsiteY201" fmla="*/ 3955257 h 4305300"/>
                  <a:gd name="connsiteX202" fmla="*/ 5693569 w 8801100"/>
                  <a:gd name="connsiteY202" fmla="*/ 3926681 h 4305300"/>
                  <a:gd name="connsiteX203" fmla="*/ 5872162 w 8801100"/>
                  <a:gd name="connsiteY203" fmla="*/ 3943350 h 4305300"/>
                  <a:gd name="connsiteX204" fmla="*/ 5929313 w 8801100"/>
                  <a:gd name="connsiteY204" fmla="*/ 3917157 h 4305300"/>
                  <a:gd name="connsiteX205" fmla="*/ 6062662 w 8801100"/>
                  <a:gd name="connsiteY205" fmla="*/ 3914775 h 4305300"/>
                  <a:gd name="connsiteX206" fmla="*/ 6196012 w 8801100"/>
                  <a:gd name="connsiteY206" fmla="*/ 3817144 h 4305300"/>
                  <a:gd name="connsiteX207" fmla="*/ 6262687 w 8801100"/>
                  <a:gd name="connsiteY207" fmla="*/ 3810000 h 4305300"/>
                  <a:gd name="connsiteX208" fmla="*/ 6360319 w 8801100"/>
                  <a:gd name="connsiteY208" fmla="*/ 3736181 h 4305300"/>
                  <a:gd name="connsiteX209" fmla="*/ 6434138 w 8801100"/>
                  <a:gd name="connsiteY209" fmla="*/ 3667125 h 4305300"/>
                  <a:gd name="connsiteX210" fmla="*/ 6443663 w 8801100"/>
                  <a:gd name="connsiteY210" fmla="*/ 3605213 h 4305300"/>
                  <a:gd name="connsiteX211" fmla="*/ 6477000 w 8801100"/>
                  <a:gd name="connsiteY211" fmla="*/ 3536156 h 4305300"/>
                  <a:gd name="connsiteX212" fmla="*/ 6629400 w 8801100"/>
                  <a:gd name="connsiteY212" fmla="*/ 3429000 h 4305300"/>
                  <a:gd name="connsiteX213" fmla="*/ 6662738 w 8801100"/>
                  <a:gd name="connsiteY213" fmla="*/ 3433763 h 4305300"/>
                  <a:gd name="connsiteX214" fmla="*/ 6715125 w 8801100"/>
                  <a:gd name="connsiteY214" fmla="*/ 3355181 h 4305300"/>
                  <a:gd name="connsiteX215" fmla="*/ 6762750 w 8801100"/>
                  <a:gd name="connsiteY215" fmla="*/ 3317081 h 4305300"/>
                  <a:gd name="connsiteX216" fmla="*/ 6748463 w 8801100"/>
                  <a:gd name="connsiteY216" fmla="*/ 3248025 h 4305300"/>
                  <a:gd name="connsiteX217" fmla="*/ 6698456 w 8801100"/>
                  <a:gd name="connsiteY217" fmla="*/ 3217068 h 4305300"/>
                  <a:gd name="connsiteX218" fmla="*/ 6638925 w 8801100"/>
                  <a:gd name="connsiteY218" fmla="*/ 3162300 h 4305300"/>
                  <a:gd name="connsiteX219" fmla="*/ 6619875 w 8801100"/>
                  <a:gd name="connsiteY219" fmla="*/ 3105150 h 4305300"/>
                  <a:gd name="connsiteX220" fmla="*/ 6584156 w 8801100"/>
                  <a:gd name="connsiteY220" fmla="*/ 3071813 h 4305300"/>
                  <a:gd name="connsiteX221" fmla="*/ 6610350 w 8801100"/>
                  <a:gd name="connsiteY221" fmla="*/ 3019425 h 4305300"/>
                  <a:gd name="connsiteX222" fmla="*/ 6650831 w 8801100"/>
                  <a:gd name="connsiteY222" fmla="*/ 2840831 h 4305300"/>
                  <a:gd name="connsiteX223" fmla="*/ 6691313 w 8801100"/>
                  <a:gd name="connsiteY223" fmla="*/ 2774156 h 4305300"/>
                  <a:gd name="connsiteX224" fmla="*/ 6836569 w 8801100"/>
                  <a:gd name="connsiteY224" fmla="*/ 2757487 h 4305300"/>
                  <a:gd name="connsiteX225" fmla="*/ 6905625 w 8801100"/>
                  <a:gd name="connsiteY225" fmla="*/ 2814638 h 4305300"/>
                  <a:gd name="connsiteX226" fmla="*/ 6981825 w 8801100"/>
                  <a:gd name="connsiteY226" fmla="*/ 2838450 h 4305300"/>
                  <a:gd name="connsiteX227" fmla="*/ 7186612 w 8801100"/>
                  <a:gd name="connsiteY227" fmla="*/ 2843213 h 4305300"/>
                  <a:gd name="connsiteX228" fmla="*/ 7362825 w 8801100"/>
                  <a:gd name="connsiteY228" fmla="*/ 2705100 h 4305300"/>
                  <a:gd name="connsiteX229" fmla="*/ 7419975 w 8801100"/>
                  <a:gd name="connsiteY229" fmla="*/ 2614612 h 4305300"/>
                  <a:gd name="connsiteX230" fmla="*/ 7446169 w 8801100"/>
                  <a:gd name="connsiteY230" fmla="*/ 2531269 h 4305300"/>
                  <a:gd name="connsiteX231" fmla="*/ 7577137 w 8801100"/>
                  <a:gd name="connsiteY231" fmla="*/ 2531269 h 4305300"/>
                  <a:gd name="connsiteX232" fmla="*/ 7750969 w 8801100"/>
                  <a:gd name="connsiteY232" fmla="*/ 2474118 h 4305300"/>
                  <a:gd name="connsiteX233" fmla="*/ 7810500 w 8801100"/>
                  <a:gd name="connsiteY233" fmla="*/ 2362200 h 4305300"/>
                  <a:gd name="connsiteX234" fmla="*/ 7874794 w 8801100"/>
                  <a:gd name="connsiteY234" fmla="*/ 2326481 h 4305300"/>
                  <a:gd name="connsiteX235" fmla="*/ 7853363 w 8801100"/>
                  <a:gd name="connsiteY235" fmla="*/ 2281238 h 4305300"/>
                  <a:gd name="connsiteX236" fmla="*/ 7931944 w 8801100"/>
                  <a:gd name="connsiteY236" fmla="*/ 2112168 h 4305300"/>
                  <a:gd name="connsiteX237" fmla="*/ 7986713 w 8801100"/>
                  <a:gd name="connsiteY237" fmla="*/ 2052638 h 4305300"/>
                  <a:gd name="connsiteX238" fmla="*/ 8024813 w 8801100"/>
                  <a:gd name="connsiteY238" fmla="*/ 2047875 h 4305300"/>
                  <a:gd name="connsiteX239" fmla="*/ 8070056 w 8801100"/>
                  <a:gd name="connsiteY239" fmla="*/ 2052638 h 4305300"/>
                  <a:gd name="connsiteX240" fmla="*/ 8134350 w 8801100"/>
                  <a:gd name="connsiteY240" fmla="*/ 2019300 h 4305300"/>
                  <a:gd name="connsiteX241" fmla="*/ 8143875 w 8801100"/>
                  <a:gd name="connsiteY241" fmla="*/ 1955006 h 4305300"/>
                  <a:gd name="connsiteX242" fmla="*/ 8184355 w 8801100"/>
                  <a:gd name="connsiteY242" fmla="*/ 1919288 h 4305300"/>
                  <a:gd name="connsiteX243" fmla="*/ 8243888 w 8801100"/>
                  <a:gd name="connsiteY243" fmla="*/ 1959768 h 4305300"/>
                  <a:gd name="connsiteX244" fmla="*/ 8270082 w 8801100"/>
                  <a:gd name="connsiteY244" fmla="*/ 1909762 h 4305300"/>
                  <a:gd name="connsiteX245" fmla="*/ 8365331 w 8801100"/>
                  <a:gd name="connsiteY245" fmla="*/ 1840706 h 4305300"/>
                  <a:gd name="connsiteX246" fmla="*/ 8427244 w 8801100"/>
                  <a:gd name="connsiteY246" fmla="*/ 1847850 h 4305300"/>
                  <a:gd name="connsiteX247" fmla="*/ 8477250 w 8801100"/>
                  <a:gd name="connsiteY247" fmla="*/ 1828800 h 4305300"/>
                  <a:gd name="connsiteX248" fmla="*/ 8515350 w 8801100"/>
                  <a:gd name="connsiteY248" fmla="*/ 1800225 h 4305300"/>
                  <a:gd name="connsiteX249" fmla="*/ 8548688 w 8801100"/>
                  <a:gd name="connsiteY249" fmla="*/ 1797844 h 4305300"/>
                  <a:gd name="connsiteX250" fmla="*/ 8584406 w 8801100"/>
                  <a:gd name="connsiteY250" fmla="*/ 1828800 h 4305300"/>
                  <a:gd name="connsiteX251" fmla="*/ 8643938 w 8801100"/>
                  <a:gd name="connsiteY251" fmla="*/ 1828800 h 4305300"/>
                  <a:gd name="connsiteX252" fmla="*/ 8682037 w 8801100"/>
                  <a:gd name="connsiteY252" fmla="*/ 1809750 h 4305300"/>
                  <a:gd name="connsiteX253" fmla="*/ 8765381 w 8801100"/>
                  <a:gd name="connsiteY253" fmla="*/ 1812132 h 4305300"/>
                  <a:gd name="connsiteX254" fmla="*/ 8796338 w 8801100"/>
                  <a:gd name="connsiteY254" fmla="*/ 1766888 h 4305300"/>
                  <a:gd name="connsiteX255" fmla="*/ 8801100 w 8801100"/>
                  <a:gd name="connsiteY255" fmla="*/ 1704975 h 4305300"/>
                  <a:gd name="connsiteX256" fmla="*/ 8751093 w 8801100"/>
                  <a:gd name="connsiteY256" fmla="*/ 1664494 h 4305300"/>
                  <a:gd name="connsiteX257" fmla="*/ 8734425 w 8801100"/>
                  <a:gd name="connsiteY257" fmla="*/ 1609725 h 4305300"/>
                  <a:gd name="connsiteX258" fmla="*/ 8643938 w 8801100"/>
                  <a:gd name="connsiteY258" fmla="*/ 1547813 h 4305300"/>
                  <a:gd name="connsiteX259" fmla="*/ 8603456 w 8801100"/>
                  <a:gd name="connsiteY259" fmla="*/ 1526381 h 4305300"/>
                  <a:gd name="connsiteX260" fmla="*/ 8565356 w 8801100"/>
                  <a:gd name="connsiteY260" fmla="*/ 1481138 h 4305300"/>
                  <a:gd name="connsiteX261" fmla="*/ 8534400 w 8801100"/>
                  <a:gd name="connsiteY261" fmla="*/ 1478756 h 4305300"/>
                  <a:gd name="connsiteX262" fmla="*/ 8517731 w 8801100"/>
                  <a:gd name="connsiteY262" fmla="*/ 1426369 h 4305300"/>
                  <a:gd name="connsiteX263" fmla="*/ 8477250 w 8801100"/>
                  <a:gd name="connsiteY263" fmla="*/ 1409700 h 4305300"/>
                  <a:gd name="connsiteX264" fmla="*/ 8477250 w 8801100"/>
                  <a:gd name="connsiteY264" fmla="*/ 1409700 h 4305300"/>
                  <a:gd name="connsiteX265" fmla="*/ 8436769 w 8801100"/>
                  <a:gd name="connsiteY265" fmla="*/ 1414463 h 4305300"/>
                  <a:gd name="connsiteX266" fmla="*/ 8351043 w 8801100"/>
                  <a:gd name="connsiteY266" fmla="*/ 1340644 h 4305300"/>
                  <a:gd name="connsiteX267" fmla="*/ 8170069 w 8801100"/>
                  <a:gd name="connsiteY267" fmla="*/ 1340643 h 4305300"/>
                  <a:gd name="connsiteX268" fmla="*/ 8117681 w 8801100"/>
                  <a:gd name="connsiteY268" fmla="*/ 1378744 h 4305300"/>
                  <a:gd name="connsiteX269" fmla="*/ 8067675 w 8801100"/>
                  <a:gd name="connsiteY269" fmla="*/ 1457325 h 4305300"/>
                  <a:gd name="connsiteX270" fmla="*/ 8084344 w 8801100"/>
                  <a:gd name="connsiteY270" fmla="*/ 1478756 h 4305300"/>
                  <a:gd name="connsiteX271" fmla="*/ 8039100 w 8801100"/>
                  <a:gd name="connsiteY271" fmla="*/ 1528762 h 4305300"/>
                  <a:gd name="connsiteX272" fmla="*/ 7889081 w 8801100"/>
                  <a:gd name="connsiteY272" fmla="*/ 1452562 h 4305300"/>
                  <a:gd name="connsiteX273" fmla="*/ 7798594 w 8801100"/>
                  <a:gd name="connsiteY273" fmla="*/ 1488281 h 4305300"/>
                  <a:gd name="connsiteX274" fmla="*/ 7724775 w 8801100"/>
                  <a:gd name="connsiteY274" fmla="*/ 1485900 h 4305300"/>
                  <a:gd name="connsiteX275" fmla="*/ 7667625 w 8801100"/>
                  <a:gd name="connsiteY275" fmla="*/ 1581150 h 4305300"/>
                  <a:gd name="connsiteX276" fmla="*/ 7529513 w 8801100"/>
                  <a:gd name="connsiteY276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997744 w 8801100"/>
                  <a:gd name="connsiteY126" fmla="*/ 461963 h 4305300"/>
                  <a:gd name="connsiteX127" fmla="*/ 2381 w 8801100"/>
                  <a:gd name="connsiteY127" fmla="*/ 1490661 h 4305300"/>
                  <a:gd name="connsiteX128" fmla="*/ 0 w 8801100"/>
                  <a:gd name="connsiteY128" fmla="*/ 709613 h 4305300"/>
                  <a:gd name="connsiteX129" fmla="*/ 76200 w 8801100"/>
                  <a:gd name="connsiteY129" fmla="*/ 692944 h 4305300"/>
                  <a:gd name="connsiteX130" fmla="*/ 119063 w 8801100"/>
                  <a:gd name="connsiteY130" fmla="*/ 721519 h 4305300"/>
                  <a:gd name="connsiteX131" fmla="*/ 215900 w 8801100"/>
                  <a:gd name="connsiteY131" fmla="*/ 712788 h 4305300"/>
                  <a:gd name="connsiteX132" fmla="*/ 261938 w 8801100"/>
                  <a:gd name="connsiteY132" fmla="*/ 740568 h 4305300"/>
                  <a:gd name="connsiteX133" fmla="*/ 228600 w 8801100"/>
                  <a:gd name="connsiteY133" fmla="*/ 769144 h 4305300"/>
                  <a:gd name="connsiteX134" fmla="*/ 233363 w 8801100"/>
                  <a:gd name="connsiteY134" fmla="*/ 812006 h 4305300"/>
                  <a:gd name="connsiteX135" fmla="*/ 200025 w 8801100"/>
                  <a:gd name="connsiteY135" fmla="*/ 816769 h 4305300"/>
                  <a:gd name="connsiteX136" fmla="*/ 204788 w 8801100"/>
                  <a:gd name="connsiteY136" fmla="*/ 840581 h 4305300"/>
                  <a:gd name="connsiteX137" fmla="*/ 261937 w 8801100"/>
                  <a:gd name="connsiteY137" fmla="*/ 914400 h 4305300"/>
                  <a:gd name="connsiteX138" fmla="*/ 223838 w 8801100"/>
                  <a:gd name="connsiteY138" fmla="*/ 962025 h 4305300"/>
                  <a:gd name="connsiteX139" fmla="*/ 278606 w 8801100"/>
                  <a:gd name="connsiteY139" fmla="*/ 997744 h 4305300"/>
                  <a:gd name="connsiteX140" fmla="*/ 369094 w 8801100"/>
                  <a:gd name="connsiteY140" fmla="*/ 1085850 h 4305300"/>
                  <a:gd name="connsiteX141" fmla="*/ 371475 w 8801100"/>
                  <a:gd name="connsiteY141" fmla="*/ 1145381 h 4305300"/>
                  <a:gd name="connsiteX142" fmla="*/ 507206 w 8801100"/>
                  <a:gd name="connsiteY142" fmla="*/ 1278732 h 4305300"/>
                  <a:gd name="connsiteX143" fmla="*/ 561975 w 8801100"/>
                  <a:gd name="connsiteY143" fmla="*/ 1254919 h 4305300"/>
                  <a:gd name="connsiteX144" fmla="*/ 600075 w 8801100"/>
                  <a:gd name="connsiteY144" fmla="*/ 1281112 h 4305300"/>
                  <a:gd name="connsiteX145" fmla="*/ 614363 w 8801100"/>
                  <a:gd name="connsiteY145" fmla="*/ 1331118 h 4305300"/>
                  <a:gd name="connsiteX146" fmla="*/ 657225 w 8801100"/>
                  <a:gd name="connsiteY146" fmla="*/ 1366838 h 4305300"/>
                  <a:gd name="connsiteX147" fmla="*/ 697706 w 8801100"/>
                  <a:gd name="connsiteY147" fmla="*/ 1354931 h 4305300"/>
                  <a:gd name="connsiteX148" fmla="*/ 716756 w 8801100"/>
                  <a:gd name="connsiteY148" fmla="*/ 1412081 h 4305300"/>
                  <a:gd name="connsiteX149" fmla="*/ 764381 w 8801100"/>
                  <a:gd name="connsiteY149" fmla="*/ 1454944 h 4305300"/>
                  <a:gd name="connsiteX150" fmla="*/ 788194 w 8801100"/>
                  <a:gd name="connsiteY150" fmla="*/ 1557338 h 4305300"/>
                  <a:gd name="connsiteX151" fmla="*/ 785813 w 8801100"/>
                  <a:gd name="connsiteY151" fmla="*/ 1604963 h 4305300"/>
                  <a:gd name="connsiteX152" fmla="*/ 821531 w 8801100"/>
                  <a:gd name="connsiteY152" fmla="*/ 1704975 h 4305300"/>
                  <a:gd name="connsiteX153" fmla="*/ 866775 w 8801100"/>
                  <a:gd name="connsiteY153" fmla="*/ 1762125 h 4305300"/>
                  <a:gd name="connsiteX154" fmla="*/ 883443 w 8801100"/>
                  <a:gd name="connsiteY154" fmla="*/ 1919287 h 4305300"/>
                  <a:gd name="connsiteX155" fmla="*/ 850106 w 8801100"/>
                  <a:gd name="connsiteY155" fmla="*/ 1981200 h 4305300"/>
                  <a:gd name="connsiteX156" fmla="*/ 819150 w 8801100"/>
                  <a:gd name="connsiteY156" fmla="*/ 2057400 h 4305300"/>
                  <a:gd name="connsiteX157" fmla="*/ 833438 w 8801100"/>
                  <a:gd name="connsiteY157" fmla="*/ 2114550 h 4305300"/>
                  <a:gd name="connsiteX158" fmla="*/ 735806 w 8801100"/>
                  <a:gd name="connsiteY158" fmla="*/ 2221707 h 4305300"/>
                  <a:gd name="connsiteX159" fmla="*/ 692944 w 8801100"/>
                  <a:gd name="connsiteY159" fmla="*/ 2336006 h 4305300"/>
                  <a:gd name="connsiteX160" fmla="*/ 726281 w 8801100"/>
                  <a:gd name="connsiteY160" fmla="*/ 2376488 h 4305300"/>
                  <a:gd name="connsiteX161" fmla="*/ 709613 w 8801100"/>
                  <a:gd name="connsiteY161" fmla="*/ 2405063 h 4305300"/>
                  <a:gd name="connsiteX162" fmla="*/ 740569 w 8801100"/>
                  <a:gd name="connsiteY162" fmla="*/ 2462213 h 4305300"/>
                  <a:gd name="connsiteX163" fmla="*/ 769144 w 8801100"/>
                  <a:gd name="connsiteY163" fmla="*/ 2462213 h 4305300"/>
                  <a:gd name="connsiteX164" fmla="*/ 931069 w 8801100"/>
                  <a:gd name="connsiteY164" fmla="*/ 2564606 h 4305300"/>
                  <a:gd name="connsiteX165" fmla="*/ 1035844 w 8801100"/>
                  <a:gd name="connsiteY165" fmla="*/ 2562225 h 4305300"/>
                  <a:gd name="connsiteX166" fmla="*/ 1114425 w 8801100"/>
                  <a:gd name="connsiteY166" fmla="*/ 2616994 h 4305300"/>
                  <a:gd name="connsiteX167" fmla="*/ 1245393 w 8801100"/>
                  <a:gd name="connsiteY167" fmla="*/ 2619375 h 4305300"/>
                  <a:gd name="connsiteX168" fmla="*/ 1435893 w 8801100"/>
                  <a:gd name="connsiteY168" fmla="*/ 2688431 h 4305300"/>
                  <a:gd name="connsiteX169" fmla="*/ 1638300 w 8801100"/>
                  <a:gd name="connsiteY169" fmla="*/ 2838450 h 4305300"/>
                  <a:gd name="connsiteX170" fmla="*/ 1671637 w 8801100"/>
                  <a:gd name="connsiteY170" fmla="*/ 2905125 h 4305300"/>
                  <a:gd name="connsiteX171" fmla="*/ 1838325 w 8801100"/>
                  <a:gd name="connsiteY171" fmla="*/ 3031331 h 4305300"/>
                  <a:gd name="connsiteX172" fmla="*/ 1909763 w 8801100"/>
                  <a:gd name="connsiteY172" fmla="*/ 3026569 h 4305300"/>
                  <a:gd name="connsiteX173" fmla="*/ 1945482 w 8801100"/>
                  <a:gd name="connsiteY173" fmla="*/ 3050381 h 4305300"/>
                  <a:gd name="connsiteX174" fmla="*/ 1916906 w 8801100"/>
                  <a:gd name="connsiteY174" fmla="*/ 3090863 h 4305300"/>
                  <a:gd name="connsiteX175" fmla="*/ 1924050 w 8801100"/>
                  <a:gd name="connsiteY175" fmla="*/ 3143250 h 4305300"/>
                  <a:gd name="connsiteX176" fmla="*/ 1976438 w 8801100"/>
                  <a:gd name="connsiteY176" fmla="*/ 3169444 h 4305300"/>
                  <a:gd name="connsiteX177" fmla="*/ 2038350 w 8801100"/>
                  <a:gd name="connsiteY177" fmla="*/ 3393282 h 4305300"/>
                  <a:gd name="connsiteX178" fmla="*/ 2028825 w 8801100"/>
                  <a:gd name="connsiteY178" fmla="*/ 3457575 h 4305300"/>
                  <a:gd name="connsiteX179" fmla="*/ 2164556 w 8801100"/>
                  <a:gd name="connsiteY179" fmla="*/ 3624263 h 4305300"/>
                  <a:gd name="connsiteX180" fmla="*/ 2183606 w 8801100"/>
                  <a:gd name="connsiteY180" fmla="*/ 3674269 h 4305300"/>
                  <a:gd name="connsiteX181" fmla="*/ 2157413 w 8801100"/>
                  <a:gd name="connsiteY181" fmla="*/ 3693319 h 4305300"/>
                  <a:gd name="connsiteX182" fmla="*/ 2259806 w 8801100"/>
                  <a:gd name="connsiteY182" fmla="*/ 3702844 h 4305300"/>
                  <a:gd name="connsiteX183" fmla="*/ 2371725 w 8801100"/>
                  <a:gd name="connsiteY183" fmla="*/ 3690938 h 4305300"/>
                  <a:gd name="connsiteX184" fmla="*/ 2650331 w 8801100"/>
                  <a:gd name="connsiteY184" fmla="*/ 3774281 h 4305300"/>
                  <a:gd name="connsiteX185" fmla="*/ 3057525 w 8801100"/>
                  <a:gd name="connsiteY185" fmla="*/ 3855244 h 4305300"/>
                  <a:gd name="connsiteX186" fmla="*/ 3255169 w 8801100"/>
                  <a:gd name="connsiteY186" fmla="*/ 3824287 h 4305300"/>
                  <a:gd name="connsiteX187" fmla="*/ 3300413 w 8801100"/>
                  <a:gd name="connsiteY187" fmla="*/ 3836193 h 4305300"/>
                  <a:gd name="connsiteX188" fmla="*/ 3355181 w 8801100"/>
                  <a:gd name="connsiteY188" fmla="*/ 3812382 h 4305300"/>
                  <a:gd name="connsiteX189" fmla="*/ 3748087 w 8801100"/>
                  <a:gd name="connsiteY189" fmla="*/ 3902869 h 4305300"/>
                  <a:gd name="connsiteX190" fmla="*/ 3831432 w 8801100"/>
                  <a:gd name="connsiteY190" fmla="*/ 4000500 h 4305300"/>
                  <a:gd name="connsiteX191" fmla="*/ 3950494 w 8801100"/>
                  <a:gd name="connsiteY191" fmla="*/ 4071938 h 4305300"/>
                  <a:gd name="connsiteX192" fmla="*/ 4010025 w 8801100"/>
                  <a:gd name="connsiteY192" fmla="*/ 4055269 h 4305300"/>
                  <a:gd name="connsiteX193" fmla="*/ 4360068 w 8801100"/>
                  <a:gd name="connsiteY193" fmla="*/ 4229100 h 4305300"/>
                  <a:gd name="connsiteX194" fmla="*/ 4586288 w 8801100"/>
                  <a:gd name="connsiteY194" fmla="*/ 4200525 h 4305300"/>
                  <a:gd name="connsiteX195" fmla="*/ 4595813 w 8801100"/>
                  <a:gd name="connsiteY195" fmla="*/ 4279106 h 4305300"/>
                  <a:gd name="connsiteX196" fmla="*/ 4681538 w 8801100"/>
                  <a:gd name="connsiteY196" fmla="*/ 4274343 h 4305300"/>
                  <a:gd name="connsiteX197" fmla="*/ 4760119 w 8801100"/>
                  <a:gd name="connsiteY197" fmla="*/ 4305300 h 4305300"/>
                  <a:gd name="connsiteX198" fmla="*/ 4802981 w 8801100"/>
                  <a:gd name="connsiteY198" fmla="*/ 4245769 h 4305300"/>
                  <a:gd name="connsiteX199" fmla="*/ 5474494 w 8801100"/>
                  <a:gd name="connsiteY199" fmla="*/ 3926681 h 4305300"/>
                  <a:gd name="connsiteX200" fmla="*/ 5562600 w 8801100"/>
                  <a:gd name="connsiteY200" fmla="*/ 3955257 h 4305300"/>
                  <a:gd name="connsiteX201" fmla="*/ 5693569 w 8801100"/>
                  <a:gd name="connsiteY201" fmla="*/ 3926681 h 4305300"/>
                  <a:gd name="connsiteX202" fmla="*/ 5872162 w 8801100"/>
                  <a:gd name="connsiteY202" fmla="*/ 3943350 h 4305300"/>
                  <a:gd name="connsiteX203" fmla="*/ 5929313 w 8801100"/>
                  <a:gd name="connsiteY203" fmla="*/ 3917157 h 4305300"/>
                  <a:gd name="connsiteX204" fmla="*/ 6062662 w 8801100"/>
                  <a:gd name="connsiteY204" fmla="*/ 3914775 h 4305300"/>
                  <a:gd name="connsiteX205" fmla="*/ 6196012 w 8801100"/>
                  <a:gd name="connsiteY205" fmla="*/ 3817144 h 4305300"/>
                  <a:gd name="connsiteX206" fmla="*/ 6262687 w 8801100"/>
                  <a:gd name="connsiteY206" fmla="*/ 3810000 h 4305300"/>
                  <a:gd name="connsiteX207" fmla="*/ 6360319 w 8801100"/>
                  <a:gd name="connsiteY207" fmla="*/ 3736181 h 4305300"/>
                  <a:gd name="connsiteX208" fmla="*/ 6434138 w 8801100"/>
                  <a:gd name="connsiteY208" fmla="*/ 3667125 h 4305300"/>
                  <a:gd name="connsiteX209" fmla="*/ 6443663 w 8801100"/>
                  <a:gd name="connsiteY209" fmla="*/ 3605213 h 4305300"/>
                  <a:gd name="connsiteX210" fmla="*/ 6477000 w 8801100"/>
                  <a:gd name="connsiteY210" fmla="*/ 3536156 h 4305300"/>
                  <a:gd name="connsiteX211" fmla="*/ 6629400 w 8801100"/>
                  <a:gd name="connsiteY211" fmla="*/ 3429000 h 4305300"/>
                  <a:gd name="connsiteX212" fmla="*/ 6662738 w 8801100"/>
                  <a:gd name="connsiteY212" fmla="*/ 3433763 h 4305300"/>
                  <a:gd name="connsiteX213" fmla="*/ 6715125 w 8801100"/>
                  <a:gd name="connsiteY213" fmla="*/ 3355181 h 4305300"/>
                  <a:gd name="connsiteX214" fmla="*/ 6762750 w 8801100"/>
                  <a:gd name="connsiteY214" fmla="*/ 3317081 h 4305300"/>
                  <a:gd name="connsiteX215" fmla="*/ 6748463 w 8801100"/>
                  <a:gd name="connsiteY215" fmla="*/ 3248025 h 4305300"/>
                  <a:gd name="connsiteX216" fmla="*/ 6698456 w 8801100"/>
                  <a:gd name="connsiteY216" fmla="*/ 3217068 h 4305300"/>
                  <a:gd name="connsiteX217" fmla="*/ 6638925 w 8801100"/>
                  <a:gd name="connsiteY217" fmla="*/ 3162300 h 4305300"/>
                  <a:gd name="connsiteX218" fmla="*/ 6619875 w 8801100"/>
                  <a:gd name="connsiteY218" fmla="*/ 3105150 h 4305300"/>
                  <a:gd name="connsiteX219" fmla="*/ 6584156 w 8801100"/>
                  <a:gd name="connsiteY219" fmla="*/ 3071813 h 4305300"/>
                  <a:gd name="connsiteX220" fmla="*/ 6610350 w 8801100"/>
                  <a:gd name="connsiteY220" fmla="*/ 3019425 h 4305300"/>
                  <a:gd name="connsiteX221" fmla="*/ 6650831 w 8801100"/>
                  <a:gd name="connsiteY221" fmla="*/ 2840831 h 4305300"/>
                  <a:gd name="connsiteX222" fmla="*/ 6691313 w 8801100"/>
                  <a:gd name="connsiteY222" fmla="*/ 2774156 h 4305300"/>
                  <a:gd name="connsiteX223" fmla="*/ 6836569 w 8801100"/>
                  <a:gd name="connsiteY223" fmla="*/ 2757487 h 4305300"/>
                  <a:gd name="connsiteX224" fmla="*/ 6905625 w 8801100"/>
                  <a:gd name="connsiteY224" fmla="*/ 2814638 h 4305300"/>
                  <a:gd name="connsiteX225" fmla="*/ 6981825 w 8801100"/>
                  <a:gd name="connsiteY225" fmla="*/ 2838450 h 4305300"/>
                  <a:gd name="connsiteX226" fmla="*/ 7186612 w 8801100"/>
                  <a:gd name="connsiteY226" fmla="*/ 2843213 h 4305300"/>
                  <a:gd name="connsiteX227" fmla="*/ 7362825 w 8801100"/>
                  <a:gd name="connsiteY227" fmla="*/ 2705100 h 4305300"/>
                  <a:gd name="connsiteX228" fmla="*/ 7419975 w 8801100"/>
                  <a:gd name="connsiteY228" fmla="*/ 2614612 h 4305300"/>
                  <a:gd name="connsiteX229" fmla="*/ 7446169 w 8801100"/>
                  <a:gd name="connsiteY229" fmla="*/ 2531269 h 4305300"/>
                  <a:gd name="connsiteX230" fmla="*/ 7577137 w 8801100"/>
                  <a:gd name="connsiteY230" fmla="*/ 2531269 h 4305300"/>
                  <a:gd name="connsiteX231" fmla="*/ 7750969 w 8801100"/>
                  <a:gd name="connsiteY231" fmla="*/ 2474118 h 4305300"/>
                  <a:gd name="connsiteX232" fmla="*/ 7810500 w 8801100"/>
                  <a:gd name="connsiteY232" fmla="*/ 2362200 h 4305300"/>
                  <a:gd name="connsiteX233" fmla="*/ 7874794 w 8801100"/>
                  <a:gd name="connsiteY233" fmla="*/ 2326481 h 4305300"/>
                  <a:gd name="connsiteX234" fmla="*/ 7853363 w 8801100"/>
                  <a:gd name="connsiteY234" fmla="*/ 2281238 h 4305300"/>
                  <a:gd name="connsiteX235" fmla="*/ 7931944 w 8801100"/>
                  <a:gd name="connsiteY235" fmla="*/ 2112168 h 4305300"/>
                  <a:gd name="connsiteX236" fmla="*/ 7986713 w 8801100"/>
                  <a:gd name="connsiteY236" fmla="*/ 2052638 h 4305300"/>
                  <a:gd name="connsiteX237" fmla="*/ 8024813 w 8801100"/>
                  <a:gd name="connsiteY237" fmla="*/ 2047875 h 4305300"/>
                  <a:gd name="connsiteX238" fmla="*/ 8070056 w 8801100"/>
                  <a:gd name="connsiteY238" fmla="*/ 2052638 h 4305300"/>
                  <a:gd name="connsiteX239" fmla="*/ 8134350 w 8801100"/>
                  <a:gd name="connsiteY239" fmla="*/ 2019300 h 4305300"/>
                  <a:gd name="connsiteX240" fmla="*/ 8143875 w 8801100"/>
                  <a:gd name="connsiteY240" fmla="*/ 1955006 h 4305300"/>
                  <a:gd name="connsiteX241" fmla="*/ 8184355 w 8801100"/>
                  <a:gd name="connsiteY241" fmla="*/ 1919288 h 4305300"/>
                  <a:gd name="connsiteX242" fmla="*/ 8243888 w 8801100"/>
                  <a:gd name="connsiteY242" fmla="*/ 1959768 h 4305300"/>
                  <a:gd name="connsiteX243" fmla="*/ 8270082 w 8801100"/>
                  <a:gd name="connsiteY243" fmla="*/ 1909762 h 4305300"/>
                  <a:gd name="connsiteX244" fmla="*/ 8365331 w 8801100"/>
                  <a:gd name="connsiteY244" fmla="*/ 1840706 h 4305300"/>
                  <a:gd name="connsiteX245" fmla="*/ 8427244 w 8801100"/>
                  <a:gd name="connsiteY245" fmla="*/ 1847850 h 4305300"/>
                  <a:gd name="connsiteX246" fmla="*/ 8477250 w 8801100"/>
                  <a:gd name="connsiteY246" fmla="*/ 1828800 h 4305300"/>
                  <a:gd name="connsiteX247" fmla="*/ 8515350 w 8801100"/>
                  <a:gd name="connsiteY247" fmla="*/ 1800225 h 4305300"/>
                  <a:gd name="connsiteX248" fmla="*/ 8548688 w 8801100"/>
                  <a:gd name="connsiteY248" fmla="*/ 1797844 h 4305300"/>
                  <a:gd name="connsiteX249" fmla="*/ 8584406 w 8801100"/>
                  <a:gd name="connsiteY249" fmla="*/ 1828800 h 4305300"/>
                  <a:gd name="connsiteX250" fmla="*/ 8643938 w 8801100"/>
                  <a:gd name="connsiteY250" fmla="*/ 1828800 h 4305300"/>
                  <a:gd name="connsiteX251" fmla="*/ 8682037 w 8801100"/>
                  <a:gd name="connsiteY251" fmla="*/ 1809750 h 4305300"/>
                  <a:gd name="connsiteX252" fmla="*/ 8765381 w 8801100"/>
                  <a:gd name="connsiteY252" fmla="*/ 1812132 h 4305300"/>
                  <a:gd name="connsiteX253" fmla="*/ 8796338 w 8801100"/>
                  <a:gd name="connsiteY253" fmla="*/ 1766888 h 4305300"/>
                  <a:gd name="connsiteX254" fmla="*/ 8801100 w 8801100"/>
                  <a:gd name="connsiteY254" fmla="*/ 1704975 h 4305300"/>
                  <a:gd name="connsiteX255" fmla="*/ 8751093 w 8801100"/>
                  <a:gd name="connsiteY255" fmla="*/ 1664494 h 4305300"/>
                  <a:gd name="connsiteX256" fmla="*/ 8734425 w 8801100"/>
                  <a:gd name="connsiteY256" fmla="*/ 1609725 h 4305300"/>
                  <a:gd name="connsiteX257" fmla="*/ 8643938 w 8801100"/>
                  <a:gd name="connsiteY257" fmla="*/ 1547813 h 4305300"/>
                  <a:gd name="connsiteX258" fmla="*/ 8603456 w 8801100"/>
                  <a:gd name="connsiteY258" fmla="*/ 1526381 h 4305300"/>
                  <a:gd name="connsiteX259" fmla="*/ 8565356 w 8801100"/>
                  <a:gd name="connsiteY259" fmla="*/ 1481138 h 4305300"/>
                  <a:gd name="connsiteX260" fmla="*/ 8534400 w 8801100"/>
                  <a:gd name="connsiteY260" fmla="*/ 1478756 h 4305300"/>
                  <a:gd name="connsiteX261" fmla="*/ 8517731 w 8801100"/>
                  <a:gd name="connsiteY261" fmla="*/ 1426369 h 4305300"/>
                  <a:gd name="connsiteX262" fmla="*/ 8477250 w 8801100"/>
                  <a:gd name="connsiteY262" fmla="*/ 1409700 h 4305300"/>
                  <a:gd name="connsiteX263" fmla="*/ 8477250 w 8801100"/>
                  <a:gd name="connsiteY263" fmla="*/ 1409700 h 4305300"/>
                  <a:gd name="connsiteX264" fmla="*/ 8436769 w 8801100"/>
                  <a:gd name="connsiteY264" fmla="*/ 1414463 h 4305300"/>
                  <a:gd name="connsiteX265" fmla="*/ 8351043 w 8801100"/>
                  <a:gd name="connsiteY265" fmla="*/ 1340644 h 4305300"/>
                  <a:gd name="connsiteX266" fmla="*/ 8170069 w 8801100"/>
                  <a:gd name="connsiteY266" fmla="*/ 1340643 h 4305300"/>
                  <a:gd name="connsiteX267" fmla="*/ 8117681 w 8801100"/>
                  <a:gd name="connsiteY267" fmla="*/ 1378744 h 4305300"/>
                  <a:gd name="connsiteX268" fmla="*/ 8067675 w 8801100"/>
                  <a:gd name="connsiteY268" fmla="*/ 1457325 h 4305300"/>
                  <a:gd name="connsiteX269" fmla="*/ 8084344 w 8801100"/>
                  <a:gd name="connsiteY269" fmla="*/ 1478756 h 4305300"/>
                  <a:gd name="connsiteX270" fmla="*/ 8039100 w 8801100"/>
                  <a:gd name="connsiteY270" fmla="*/ 1528762 h 4305300"/>
                  <a:gd name="connsiteX271" fmla="*/ 7889081 w 8801100"/>
                  <a:gd name="connsiteY271" fmla="*/ 1452562 h 4305300"/>
                  <a:gd name="connsiteX272" fmla="*/ 7798594 w 8801100"/>
                  <a:gd name="connsiteY272" fmla="*/ 1488281 h 4305300"/>
                  <a:gd name="connsiteX273" fmla="*/ 7724775 w 8801100"/>
                  <a:gd name="connsiteY273" fmla="*/ 1485900 h 4305300"/>
                  <a:gd name="connsiteX274" fmla="*/ 7667625 w 8801100"/>
                  <a:gd name="connsiteY274" fmla="*/ 1581150 h 4305300"/>
                  <a:gd name="connsiteX275" fmla="*/ 7529513 w 8801100"/>
                  <a:gd name="connsiteY275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1064419 w 8801100"/>
                  <a:gd name="connsiteY125" fmla="*/ 471488 h 4305300"/>
                  <a:gd name="connsiteX126" fmla="*/ 2381 w 8801100"/>
                  <a:gd name="connsiteY126" fmla="*/ 1490661 h 4305300"/>
                  <a:gd name="connsiteX127" fmla="*/ 0 w 8801100"/>
                  <a:gd name="connsiteY127" fmla="*/ 709613 h 4305300"/>
                  <a:gd name="connsiteX128" fmla="*/ 76200 w 8801100"/>
                  <a:gd name="connsiteY128" fmla="*/ 692944 h 4305300"/>
                  <a:gd name="connsiteX129" fmla="*/ 119063 w 8801100"/>
                  <a:gd name="connsiteY129" fmla="*/ 721519 h 4305300"/>
                  <a:gd name="connsiteX130" fmla="*/ 215900 w 8801100"/>
                  <a:gd name="connsiteY130" fmla="*/ 712788 h 4305300"/>
                  <a:gd name="connsiteX131" fmla="*/ 261938 w 8801100"/>
                  <a:gd name="connsiteY131" fmla="*/ 740568 h 4305300"/>
                  <a:gd name="connsiteX132" fmla="*/ 228600 w 8801100"/>
                  <a:gd name="connsiteY132" fmla="*/ 769144 h 4305300"/>
                  <a:gd name="connsiteX133" fmla="*/ 233363 w 8801100"/>
                  <a:gd name="connsiteY133" fmla="*/ 812006 h 4305300"/>
                  <a:gd name="connsiteX134" fmla="*/ 200025 w 8801100"/>
                  <a:gd name="connsiteY134" fmla="*/ 816769 h 4305300"/>
                  <a:gd name="connsiteX135" fmla="*/ 204788 w 8801100"/>
                  <a:gd name="connsiteY135" fmla="*/ 840581 h 4305300"/>
                  <a:gd name="connsiteX136" fmla="*/ 261937 w 8801100"/>
                  <a:gd name="connsiteY136" fmla="*/ 914400 h 4305300"/>
                  <a:gd name="connsiteX137" fmla="*/ 223838 w 8801100"/>
                  <a:gd name="connsiteY137" fmla="*/ 962025 h 4305300"/>
                  <a:gd name="connsiteX138" fmla="*/ 278606 w 8801100"/>
                  <a:gd name="connsiteY138" fmla="*/ 997744 h 4305300"/>
                  <a:gd name="connsiteX139" fmla="*/ 369094 w 8801100"/>
                  <a:gd name="connsiteY139" fmla="*/ 1085850 h 4305300"/>
                  <a:gd name="connsiteX140" fmla="*/ 371475 w 8801100"/>
                  <a:gd name="connsiteY140" fmla="*/ 1145381 h 4305300"/>
                  <a:gd name="connsiteX141" fmla="*/ 507206 w 8801100"/>
                  <a:gd name="connsiteY141" fmla="*/ 1278732 h 4305300"/>
                  <a:gd name="connsiteX142" fmla="*/ 561975 w 8801100"/>
                  <a:gd name="connsiteY142" fmla="*/ 1254919 h 4305300"/>
                  <a:gd name="connsiteX143" fmla="*/ 600075 w 8801100"/>
                  <a:gd name="connsiteY143" fmla="*/ 1281112 h 4305300"/>
                  <a:gd name="connsiteX144" fmla="*/ 614363 w 8801100"/>
                  <a:gd name="connsiteY144" fmla="*/ 1331118 h 4305300"/>
                  <a:gd name="connsiteX145" fmla="*/ 657225 w 8801100"/>
                  <a:gd name="connsiteY145" fmla="*/ 1366838 h 4305300"/>
                  <a:gd name="connsiteX146" fmla="*/ 697706 w 8801100"/>
                  <a:gd name="connsiteY146" fmla="*/ 1354931 h 4305300"/>
                  <a:gd name="connsiteX147" fmla="*/ 716756 w 8801100"/>
                  <a:gd name="connsiteY147" fmla="*/ 1412081 h 4305300"/>
                  <a:gd name="connsiteX148" fmla="*/ 764381 w 8801100"/>
                  <a:gd name="connsiteY148" fmla="*/ 1454944 h 4305300"/>
                  <a:gd name="connsiteX149" fmla="*/ 788194 w 8801100"/>
                  <a:gd name="connsiteY149" fmla="*/ 1557338 h 4305300"/>
                  <a:gd name="connsiteX150" fmla="*/ 785813 w 8801100"/>
                  <a:gd name="connsiteY150" fmla="*/ 1604963 h 4305300"/>
                  <a:gd name="connsiteX151" fmla="*/ 821531 w 8801100"/>
                  <a:gd name="connsiteY151" fmla="*/ 1704975 h 4305300"/>
                  <a:gd name="connsiteX152" fmla="*/ 866775 w 8801100"/>
                  <a:gd name="connsiteY152" fmla="*/ 1762125 h 4305300"/>
                  <a:gd name="connsiteX153" fmla="*/ 883443 w 8801100"/>
                  <a:gd name="connsiteY153" fmla="*/ 1919287 h 4305300"/>
                  <a:gd name="connsiteX154" fmla="*/ 850106 w 8801100"/>
                  <a:gd name="connsiteY154" fmla="*/ 1981200 h 4305300"/>
                  <a:gd name="connsiteX155" fmla="*/ 819150 w 8801100"/>
                  <a:gd name="connsiteY155" fmla="*/ 2057400 h 4305300"/>
                  <a:gd name="connsiteX156" fmla="*/ 833438 w 8801100"/>
                  <a:gd name="connsiteY156" fmla="*/ 2114550 h 4305300"/>
                  <a:gd name="connsiteX157" fmla="*/ 735806 w 8801100"/>
                  <a:gd name="connsiteY157" fmla="*/ 2221707 h 4305300"/>
                  <a:gd name="connsiteX158" fmla="*/ 692944 w 8801100"/>
                  <a:gd name="connsiteY158" fmla="*/ 2336006 h 4305300"/>
                  <a:gd name="connsiteX159" fmla="*/ 726281 w 8801100"/>
                  <a:gd name="connsiteY159" fmla="*/ 2376488 h 4305300"/>
                  <a:gd name="connsiteX160" fmla="*/ 709613 w 8801100"/>
                  <a:gd name="connsiteY160" fmla="*/ 2405063 h 4305300"/>
                  <a:gd name="connsiteX161" fmla="*/ 740569 w 8801100"/>
                  <a:gd name="connsiteY161" fmla="*/ 2462213 h 4305300"/>
                  <a:gd name="connsiteX162" fmla="*/ 769144 w 8801100"/>
                  <a:gd name="connsiteY162" fmla="*/ 2462213 h 4305300"/>
                  <a:gd name="connsiteX163" fmla="*/ 931069 w 8801100"/>
                  <a:gd name="connsiteY163" fmla="*/ 2564606 h 4305300"/>
                  <a:gd name="connsiteX164" fmla="*/ 1035844 w 8801100"/>
                  <a:gd name="connsiteY164" fmla="*/ 2562225 h 4305300"/>
                  <a:gd name="connsiteX165" fmla="*/ 1114425 w 8801100"/>
                  <a:gd name="connsiteY165" fmla="*/ 2616994 h 4305300"/>
                  <a:gd name="connsiteX166" fmla="*/ 1245393 w 8801100"/>
                  <a:gd name="connsiteY166" fmla="*/ 2619375 h 4305300"/>
                  <a:gd name="connsiteX167" fmla="*/ 1435893 w 8801100"/>
                  <a:gd name="connsiteY167" fmla="*/ 2688431 h 4305300"/>
                  <a:gd name="connsiteX168" fmla="*/ 1638300 w 8801100"/>
                  <a:gd name="connsiteY168" fmla="*/ 2838450 h 4305300"/>
                  <a:gd name="connsiteX169" fmla="*/ 1671637 w 8801100"/>
                  <a:gd name="connsiteY169" fmla="*/ 2905125 h 4305300"/>
                  <a:gd name="connsiteX170" fmla="*/ 1838325 w 8801100"/>
                  <a:gd name="connsiteY170" fmla="*/ 3031331 h 4305300"/>
                  <a:gd name="connsiteX171" fmla="*/ 1909763 w 8801100"/>
                  <a:gd name="connsiteY171" fmla="*/ 3026569 h 4305300"/>
                  <a:gd name="connsiteX172" fmla="*/ 1945482 w 8801100"/>
                  <a:gd name="connsiteY172" fmla="*/ 3050381 h 4305300"/>
                  <a:gd name="connsiteX173" fmla="*/ 1916906 w 8801100"/>
                  <a:gd name="connsiteY173" fmla="*/ 3090863 h 4305300"/>
                  <a:gd name="connsiteX174" fmla="*/ 1924050 w 8801100"/>
                  <a:gd name="connsiteY174" fmla="*/ 3143250 h 4305300"/>
                  <a:gd name="connsiteX175" fmla="*/ 1976438 w 8801100"/>
                  <a:gd name="connsiteY175" fmla="*/ 3169444 h 4305300"/>
                  <a:gd name="connsiteX176" fmla="*/ 2038350 w 8801100"/>
                  <a:gd name="connsiteY176" fmla="*/ 3393282 h 4305300"/>
                  <a:gd name="connsiteX177" fmla="*/ 2028825 w 8801100"/>
                  <a:gd name="connsiteY177" fmla="*/ 3457575 h 4305300"/>
                  <a:gd name="connsiteX178" fmla="*/ 2164556 w 8801100"/>
                  <a:gd name="connsiteY178" fmla="*/ 3624263 h 4305300"/>
                  <a:gd name="connsiteX179" fmla="*/ 2183606 w 8801100"/>
                  <a:gd name="connsiteY179" fmla="*/ 3674269 h 4305300"/>
                  <a:gd name="connsiteX180" fmla="*/ 2157413 w 8801100"/>
                  <a:gd name="connsiteY180" fmla="*/ 3693319 h 4305300"/>
                  <a:gd name="connsiteX181" fmla="*/ 2259806 w 8801100"/>
                  <a:gd name="connsiteY181" fmla="*/ 3702844 h 4305300"/>
                  <a:gd name="connsiteX182" fmla="*/ 2371725 w 8801100"/>
                  <a:gd name="connsiteY182" fmla="*/ 3690938 h 4305300"/>
                  <a:gd name="connsiteX183" fmla="*/ 2650331 w 8801100"/>
                  <a:gd name="connsiteY183" fmla="*/ 3774281 h 4305300"/>
                  <a:gd name="connsiteX184" fmla="*/ 3057525 w 8801100"/>
                  <a:gd name="connsiteY184" fmla="*/ 3855244 h 4305300"/>
                  <a:gd name="connsiteX185" fmla="*/ 3255169 w 8801100"/>
                  <a:gd name="connsiteY185" fmla="*/ 3824287 h 4305300"/>
                  <a:gd name="connsiteX186" fmla="*/ 3300413 w 8801100"/>
                  <a:gd name="connsiteY186" fmla="*/ 3836193 h 4305300"/>
                  <a:gd name="connsiteX187" fmla="*/ 3355181 w 8801100"/>
                  <a:gd name="connsiteY187" fmla="*/ 3812382 h 4305300"/>
                  <a:gd name="connsiteX188" fmla="*/ 3748087 w 8801100"/>
                  <a:gd name="connsiteY188" fmla="*/ 3902869 h 4305300"/>
                  <a:gd name="connsiteX189" fmla="*/ 3831432 w 8801100"/>
                  <a:gd name="connsiteY189" fmla="*/ 4000500 h 4305300"/>
                  <a:gd name="connsiteX190" fmla="*/ 3950494 w 8801100"/>
                  <a:gd name="connsiteY190" fmla="*/ 4071938 h 4305300"/>
                  <a:gd name="connsiteX191" fmla="*/ 4010025 w 8801100"/>
                  <a:gd name="connsiteY191" fmla="*/ 4055269 h 4305300"/>
                  <a:gd name="connsiteX192" fmla="*/ 4360068 w 8801100"/>
                  <a:gd name="connsiteY192" fmla="*/ 4229100 h 4305300"/>
                  <a:gd name="connsiteX193" fmla="*/ 4586288 w 8801100"/>
                  <a:gd name="connsiteY193" fmla="*/ 4200525 h 4305300"/>
                  <a:gd name="connsiteX194" fmla="*/ 4595813 w 8801100"/>
                  <a:gd name="connsiteY194" fmla="*/ 4279106 h 4305300"/>
                  <a:gd name="connsiteX195" fmla="*/ 4681538 w 8801100"/>
                  <a:gd name="connsiteY195" fmla="*/ 4274343 h 4305300"/>
                  <a:gd name="connsiteX196" fmla="*/ 4760119 w 8801100"/>
                  <a:gd name="connsiteY196" fmla="*/ 4305300 h 4305300"/>
                  <a:gd name="connsiteX197" fmla="*/ 4802981 w 8801100"/>
                  <a:gd name="connsiteY197" fmla="*/ 4245769 h 4305300"/>
                  <a:gd name="connsiteX198" fmla="*/ 5474494 w 8801100"/>
                  <a:gd name="connsiteY198" fmla="*/ 3926681 h 4305300"/>
                  <a:gd name="connsiteX199" fmla="*/ 5562600 w 8801100"/>
                  <a:gd name="connsiteY199" fmla="*/ 3955257 h 4305300"/>
                  <a:gd name="connsiteX200" fmla="*/ 5693569 w 8801100"/>
                  <a:gd name="connsiteY200" fmla="*/ 3926681 h 4305300"/>
                  <a:gd name="connsiteX201" fmla="*/ 5872162 w 8801100"/>
                  <a:gd name="connsiteY201" fmla="*/ 3943350 h 4305300"/>
                  <a:gd name="connsiteX202" fmla="*/ 5929313 w 8801100"/>
                  <a:gd name="connsiteY202" fmla="*/ 3917157 h 4305300"/>
                  <a:gd name="connsiteX203" fmla="*/ 6062662 w 8801100"/>
                  <a:gd name="connsiteY203" fmla="*/ 3914775 h 4305300"/>
                  <a:gd name="connsiteX204" fmla="*/ 6196012 w 8801100"/>
                  <a:gd name="connsiteY204" fmla="*/ 3817144 h 4305300"/>
                  <a:gd name="connsiteX205" fmla="*/ 6262687 w 8801100"/>
                  <a:gd name="connsiteY205" fmla="*/ 3810000 h 4305300"/>
                  <a:gd name="connsiteX206" fmla="*/ 6360319 w 8801100"/>
                  <a:gd name="connsiteY206" fmla="*/ 3736181 h 4305300"/>
                  <a:gd name="connsiteX207" fmla="*/ 6434138 w 8801100"/>
                  <a:gd name="connsiteY207" fmla="*/ 3667125 h 4305300"/>
                  <a:gd name="connsiteX208" fmla="*/ 6443663 w 8801100"/>
                  <a:gd name="connsiteY208" fmla="*/ 3605213 h 4305300"/>
                  <a:gd name="connsiteX209" fmla="*/ 6477000 w 8801100"/>
                  <a:gd name="connsiteY209" fmla="*/ 3536156 h 4305300"/>
                  <a:gd name="connsiteX210" fmla="*/ 6629400 w 8801100"/>
                  <a:gd name="connsiteY210" fmla="*/ 3429000 h 4305300"/>
                  <a:gd name="connsiteX211" fmla="*/ 6662738 w 8801100"/>
                  <a:gd name="connsiteY211" fmla="*/ 3433763 h 4305300"/>
                  <a:gd name="connsiteX212" fmla="*/ 6715125 w 8801100"/>
                  <a:gd name="connsiteY212" fmla="*/ 3355181 h 4305300"/>
                  <a:gd name="connsiteX213" fmla="*/ 6762750 w 8801100"/>
                  <a:gd name="connsiteY213" fmla="*/ 3317081 h 4305300"/>
                  <a:gd name="connsiteX214" fmla="*/ 6748463 w 8801100"/>
                  <a:gd name="connsiteY214" fmla="*/ 3248025 h 4305300"/>
                  <a:gd name="connsiteX215" fmla="*/ 6698456 w 8801100"/>
                  <a:gd name="connsiteY215" fmla="*/ 3217068 h 4305300"/>
                  <a:gd name="connsiteX216" fmla="*/ 6638925 w 8801100"/>
                  <a:gd name="connsiteY216" fmla="*/ 3162300 h 4305300"/>
                  <a:gd name="connsiteX217" fmla="*/ 6619875 w 8801100"/>
                  <a:gd name="connsiteY217" fmla="*/ 3105150 h 4305300"/>
                  <a:gd name="connsiteX218" fmla="*/ 6584156 w 8801100"/>
                  <a:gd name="connsiteY218" fmla="*/ 3071813 h 4305300"/>
                  <a:gd name="connsiteX219" fmla="*/ 6610350 w 8801100"/>
                  <a:gd name="connsiteY219" fmla="*/ 3019425 h 4305300"/>
                  <a:gd name="connsiteX220" fmla="*/ 6650831 w 8801100"/>
                  <a:gd name="connsiteY220" fmla="*/ 2840831 h 4305300"/>
                  <a:gd name="connsiteX221" fmla="*/ 6691313 w 8801100"/>
                  <a:gd name="connsiteY221" fmla="*/ 2774156 h 4305300"/>
                  <a:gd name="connsiteX222" fmla="*/ 6836569 w 8801100"/>
                  <a:gd name="connsiteY222" fmla="*/ 2757487 h 4305300"/>
                  <a:gd name="connsiteX223" fmla="*/ 6905625 w 8801100"/>
                  <a:gd name="connsiteY223" fmla="*/ 2814638 h 4305300"/>
                  <a:gd name="connsiteX224" fmla="*/ 6981825 w 8801100"/>
                  <a:gd name="connsiteY224" fmla="*/ 2838450 h 4305300"/>
                  <a:gd name="connsiteX225" fmla="*/ 7186612 w 8801100"/>
                  <a:gd name="connsiteY225" fmla="*/ 2843213 h 4305300"/>
                  <a:gd name="connsiteX226" fmla="*/ 7362825 w 8801100"/>
                  <a:gd name="connsiteY226" fmla="*/ 2705100 h 4305300"/>
                  <a:gd name="connsiteX227" fmla="*/ 7419975 w 8801100"/>
                  <a:gd name="connsiteY227" fmla="*/ 2614612 h 4305300"/>
                  <a:gd name="connsiteX228" fmla="*/ 7446169 w 8801100"/>
                  <a:gd name="connsiteY228" fmla="*/ 2531269 h 4305300"/>
                  <a:gd name="connsiteX229" fmla="*/ 7577137 w 8801100"/>
                  <a:gd name="connsiteY229" fmla="*/ 2531269 h 4305300"/>
                  <a:gd name="connsiteX230" fmla="*/ 7750969 w 8801100"/>
                  <a:gd name="connsiteY230" fmla="*/ 2474118 h 4305300"/>
                  <a:gd name="connsiteX231" fmla="*/ 7810500 w 8801100"/>
                  <a:gd name="connsiteY231" fmla="*/ 2362200 h 4305300"/>
                  <a:gd name="connsiteX232" fmla="*/ 7874794 w 8801100"/>
                  <a:gd name="connsiteY232" fmla="*/ 2326481 h 4305300"/>
                  <a:gd name="connsiteX233" fmla="*/ 7853363 w 8801100"/>
                  <a:gd name="connsiteY233" fmla="*/ 2281238 h 4305300"/>
                  <a:gd name="connsiteX234" fmla="*/ 7931944 w 8801100"/>
                  <a:gd name="connsiteY234" fmla="*/ 2112168 h 4305300"/>
                  <a:gd name="connsiteX235" fmla="*/ 7986713 w 8801100"/>
                  <a:gd name="connsiteY235" fmla="*/ 2052638 h 4305300"/>
                  <a:gd name="connsiteX236" fmla="*/ 8024813 w 8801100"/>
                  <a:gd name="connsiteY236" fmla="*/ 2047875 h 4305300"/>
                  <a:gd name="connsiteX237" fmla="*/ 8070056 w 8801100"/>
                  <a:gd name="connsiteY237" fmla="*/ 2052638 h 4305300"/>
                  <a:gd name="connsiteX238" fmla="*/ 8134350 w 8801100"/>
                  <a:gd name="connsiteY238" fmla="*/ 2019300 h 4305300"/>
                  <a:gd name="connsiteX239" fmla="*/ 8143875 w 8801100"/>
                  <a:gd name="connsiteY239" fmla="*/ 1955006 h 4305300"/>
                  <a:gd name="connsiteX240" fmla="*/ 8184355 w 8801100"/>
                  <a:gd name="connsiteY240" fmla="*/ 1919288 h 4305300"/>
                  <a:gd name="connsiteX241" fmla="*/ 8243888 w 8801100"/>
                  <a:gd name="connsiteY241" fmla="*/ 1959768 h 4305300"/>
                  <a:gd name="connsiteX242" fmla="*/ 8270082 w 8801100"/>
                  <a:gd name="connsiteY242" fmla="*/ 1909762 h 4305300"/>
                  <a:gd name="connsiteX243" fmla="*/ 8365331 w 8801100"/>
                  <a:gd name="connsiteY243" fmla="*/ 1840706 h 4305300"/>
                  <a:gd name="connsiteX244" fmla="*/ 8427244 w 8801100"/>
                  <a:gd name="connsiteY244" fmla="*/ 1847850 h 4305300"/>
                  <a:gd name="connsiteX245" fmla="*/ 8477250 w 8801100"/>
                  <a:gd name="connsiteY245" fmla="*/ 1828800 h 4305300"/>
                  <a:gd name="connsiteX246" fmla="*/ 8515350 w 8801100"/>
                  <a:gd name="connsiteY246" fmla="*/ 1800225 h 4305300"/>
                  <a:gd name="connsiteX247" fmla="*/ 8548688 w 8801100"/>
                  <a:gd name="connsiteY247" fmla="*/ 1797844 h 4305300"/>
                  <a:gd name="connsiteX248" fmla="*/ 8584406 w 8801100"/>
                  <a:gd name="connsiteY248" fmla="*/ 1828800 h 4305300"/>
                  <a:gd name="connsiteX249" fmla="*/ 8643938 w 8801100"/>
                  <a:gd name="connsiteY249" fmla="*/ 1828800 h 4305300"/>
                  <a:gd name="connsiteX250" fmla="*/ 8682037 w 8801100"/>
                  <a:gd name="connsiteY250" fmla="*/ 1809750 h 4305300"/>
                  <a:gd name="connsiteX251" fmla="*/ 8765381 w 8801100"/>
                  <a:gd name="connsiteY251" fmla="*/ 1812132 h 4305300"/>
                  <a:gd name="connsiteX252" fmla="*/ 8796338 w 8801100"/>
                  <a:gd name="connsiteY252" fmla="*/ 1766888 h 4305300"/>
                  <a:gd name="connsiteX253" fmla="*/ 8801100 w 8801100"/>
                  <a:gd name="connsiteY253" fmla="*/ 1704975 h 4305300"/>
                  <a:gd name="connsiteX254" fmla="*/ 8751093 w 8801100"/>
                  <a:gd name="connsiteY254" fmla="*/ 1664494 h 4305300"/>
                  <a:gd name="connsiteX255" fmla="*/ 8734425 w 8801100"/>
                  <a:gd name="connsiteY255" fmla="*/ 1609725 h 4305300"/>
                  <a:gd name="connsiteX256" fmla="*/ 8643938 w 8801100"/>
                  <a:gd name="connsiteY256" fmla="*/ 1547813 h 4305300"/>
                  <a:gd name="connsiteX257" fmla="*/ 8603456 w 8801100"/>
                  <a:gd name="connsiteY257" fmla="*/ 1526381 h 4305300"/>
                  <a:gd name="connsiteX258" fmla="*/ 8565356 w 8801100"/>
                  <a:gd name="connsiteY258" fmla="*/ 1481138 h 4305300"/>
                  <a:gd name="connsiteX259" fmla="*/ 8534400 w 8801100"/>
                  <a:gd name="connsiteY259" fmla="*/ 1478756 h 4305300"/>
                  <a:gd name="connsiteX260" fmla="*/ 8517731 w 8801100"/>
                  <a:gd name="connsiteY260" fmla="*/ 1426369 h 4305300"/>
                  <a:gd name="connsiteX261" fmla="*/ 8477250 w 8801100"/>
                  <a:gd name="connsiteY261" fmla="*/ 1409700 h 4305300"/>
                  <a:gd name="connsiteX262" fmla="*/ 8477250 w 8801100"/>
                  <a:gd name="connsiteY262" fmla="*/ 1409700 h 4305300"/>
                  <a:gd name="connsiteX263" fmla="*/ 8436769 w 8801100"/>
                  <a:gd name="connsiteY263" fmla="*/ 1414463 h 4305300"/>
                  <a:gd name="connsiteX264" fmla="*/ 8351043 w 8801100"/>
                  <a:gd name="connsiteY264" fmla="*/ 1340644 h 4305300"/>
                  <a:gd name="connsiteX265" fmla="*/ 8170069 w 8801100"/>
                  <a:gd name="connsiteY265" fmla="*/ 1340643 h 4305300"/>
                  <a:gd name="connsiteX266" fmla="*/ 8117681 w 8801100"/>
                  <a:gd name="connsiteY266" fmla="*/ 1378744 h 4305300"/>
                  <a:gd name="connsiteX267" fmla="*/ 8067675 w 8801100"/>
                  <a:gd name="connsiteY267" fmla="*/ 1457325 h 4305300"/>
                  <a:gd name="connsiteX268" fmla="*/ 8084344 w 8801100"/>
                  <a:gd name="connsiteY268" fmla="*/ 1478756 h 4305300"/>
                  <a:gd name="connsiteX269" fmla="*/ 8039100 w 8801100"/>
                  <a:gd name="connsiteY269" fmla="*/ 1528762 h 4305300"/>
                  <a:gd name="connsiteX270" fmla="*/ 7889081 w 8801100"/>
                  <a:gd name="connsiteY270" fmla="*/ 1452562 h 4305300"/>
                  <a:gd name="connsiteX271" fmla="*/ 7798594 w 8801100"/>
                  <a:gd name="connsiteY271" fmla="*/ 1488281 h 4305300"/>
                  <a:gd name="connsiteX272" fmla="*/ 7724775 w 8801100"/>
                  <a:gd name="connsiteY272" fmla="*/ 1485900 h 4305300"/>
                  <a:gd name="connsiteX273" fmla="*/ 7667625 w 8801100"/>
                  <a:gd name="connsiteY273" fmla="*/ 1581150 h 4305300"/>
                  <a:gd name="connsiteX274" fmla="*/ 7529513 w 8801100"/>
                  <a:gd name="connsiteY274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1085851 w 8801100"/>
                  <a:gd name="connsiteY124" fmla="*/ 442913 h 4305300"/>
                  <a:gd name="connsiteX125" fmla="*/ 2381 w 8801100"/>
                  <a:gd name="connsiteY125" fmla="*/ 1490661 h 4305300"/>
                  <a:gd name="connsiteX126" fmla="*/ 0 w 8801100"/>
                  <a:gd name="connsiteY126" fmla="*/ 709613 h 4305300"/>
                  <a:gd name="connsiteX127" fmla="*/ 76200 w 8801100"/>
                  <a:gd name="connsiteY127" fmla="*/ 692944 h 4305300"/>
                  <a:gd name="connsiteX128" fmla="*/ 119063 w 8801100"/>
                  <a:gd name="connsiteY128" fmla="*/ 721519 h 4305300"/>
                  <a:gd name="connsiteX129" fmla="*/ 215900 w 8801100"/>
                  <a:gd name="connsiteY129" fmla="*/ 712788 h 4305300"/>
                  <a:gd name="connsiteX130" fmla="*/ 261938 w 8801100"/>
                  <a:gd name="connsiteY130" fmla="*/ 740568 h 4305300"/>
                  <a:gd name="connsiteX131" fmla="*/ 228600 w 8801100"/>
                  <a:gd name="connsiteY131" fmla="*/ 769144 h 4305300"/>
                  <a:gd name="connsiteX132" fmla="*/ 233363 w 8801100"/>
                  <a:gd name="connsiteY132" fmla="*/ 812006 h 4305300"/>
                  <a:gd name="connsiteX133" fmla="*/ 200025 w 8801100"/>
                  <a:gd name="connsiteY133" fmla="*/ 816769 h 4305300"/>
                  <a:gd name="connsiteX134" fmla="*/ 204788 w 8801100"/>
                  <a:gd name="connsiteY134" fmla="*/ 840581 h 4305300"/>
                  <a:gd name="connsiteX135" fmla="*/ 261937 w 8801100"/>
                  <a:gd name="connsiteY135" fmla="*/ 914400 h 4305300"/>
                  <a:gd name="connsiteX136" fmla="*/ 223838 w 8801100"/>
                  <a:gd name="connsiteY136" fmla="*/ 962025 h 4305300"/>
                  <a:gd name="connsiteX137" fmla="*/ 278606 w 8801100"/>
                  <a:gd name="connsiteY137" fmla="*/ 997744 h 4305300"/>
                  <a:gd name="connsiteX138" fmla="*/ 369094 w 8801100"/>
                  <a:gd name="connsiteY138" fmla="*/ 1085850 h 4305300"/>
                  <a:gd name="connsiteX139" fmla="*/ 371475 w 8801100"/>
                  <a:gd name="connsiteY139" fmla="*/ 1145381 h 4305300"/>
                  <a:gd name="connsiteX140" fmla="*/ 507206 w 8801100"/>
                  <a:gd name="connsiteY140" fmla="*/ 1278732 h 4305300"/>
                  <a:gd name="connsiteX141" fmla="*/ 561975 w 8801100"/>
                  <a:gd name="connsiteY141" fmla="*/ 1254919 h 4305300"/>
                  <a:gd name="connsiteX142" fmla="*/ 600075 w 8801100"/>
                  <a:gd name="connsiteY142" fmla="*/ 1281112 h 4305300"/>
                  <a:gd name="connsiteX143" fmla="*/ 614363 w 8801100"/>
                  <a:gd name="connsiteY143" fmla="*/ 1331118 h 4305300"/>
                  <a:gd name="connsiteX144" fmla="*/ 657225 w 8801100"/>
                  <a:gd name="connsiteY144" fmla="*/ 1366838 h 4305300"/>
                  <a:gd name="connsiteX145" fmla="*/ 697706 w 8801100"/>
                  <a:gd name="connsiteY145" fmla="*/ 1354931 h 4305300"/>
                  <a:gd name="connsiteX146" fmla="*/ 716756 w 8801100"/>
                  <a:gd name="connsiteY146" fmla="*/ 1412081 h 4305300"/>
                  <a:gd name="connsiteX147" fmla="*/ 764381 w 8801100"/>
                  <a:gd name="connsiteY147" fmla="*/ 1454944 h 4305300"/>
                  <a:gd name="connsiteX148" fmla="*/ 788194 w 8801100"/>
                  <a:gd name="connsiteY148" fmla="*/ 1557338 h 4305300"/>
                  <a:gd name="connsiteX149" fmla="*/ 785813 w 8801100"/>
                  <a:gd name="connsiteY149" fmla="*/ 1604963 h 4305300"/>
                  <a:gd name="connsiteX150" fmla="*/ 821531 w 8801100"/>
                  <a:gd name="connsiteY150" fmla="*/ 1704975 h 4305300"/>
                  <a:gd name="connsiteX151" fmla="*/ 866775 w 8801100"/>
                  <a:gd name="connsiteY151" fmla="*/ 1762125 h 4305300"/>
                  <a:gd name="connsiteX152" fmla="*/ 883443 w 8801100"/>
                  <a:gd name="connsiteY152" fmla="*/ 1919287 h 4305300"/>
                  <a:gd name="connsiteX153" fmla="*/ 850106 w 8801100"/>
                  <a:gd name="connsiteY153" fmla="*/ 1981200 h 4305300"/>
                  <a:gd name="connsiteX154" fmla="*/ 819150 w 8801100"/>
                  <a:gd name="connsiteY154" fmla="*/ 2057400 h 4305300"/>
                  <a:gd name="connsiteX155" fmla="*/ 833438 w 8801100"/>
                  <a:gd name="connsiteY155" fmla="*/ 2114550 h 4305300"/>
                  <a:gd name="connsiteX156" fmla="*/ 735806 w 8801100"/>
                  <a:gd name="connsiteY156" fmla="*/ 2221707 h 4305300"/>
                  <a:gd name="connsiteX157" fmla="*/ 692944 w 8801100"/>
                  <a:gd name="connsiteY157" fmla="*/ 2336006 h 4305300"/>
                  <a:gd name="connsiteX158" fmla="*/ 726281 w 8801100"/>
                  <a:gd name="connsiteY158" fmla="*/ 2376488 h 4305300"/>
                  <a:gd name="connsiteX159" fmla="*/ 709613 w 8801100"/>
                  <a:gd name="connsiteY159" fmla="*/ 2405063 h 4305300"/>
                  <a:gd name="connsiteX160" fmla="*/ 740569 w 8801100"/>
                  <a:gd name="connsiteY160" fmla="*/ 2462213 h 4305300"/>
                  <a:gd name="connsiteX161" fmla="*/ 769144 w 8801100"/>
                  <a:gd name="connsiteY161" fmla="*/ 2462213 h 4305300"/>
                  <a:gd name="connsiteX162" fmla="*/ 931069 w 8801100"/>
                  <a:gd name="connsiteY162" fmla="*/ 2564606 h 4305300"/>
                  <a:gd name="connsiteX163" fmla="*/ 1035844 w 8801100"/>
                  <a:gd name="connsiteY163" fmla="*/ 2562225 h 4305300"/>
                  <a:gd name="connsiteX164" fmla="*/ 1114425 w 8801100"/>
                  <a:gd name="connsiteY164" fmla="*/ 2616994 h 4305300"/>
                  <a:gd name="connsiteX165" fmla="*/ 1245393 w 8801100"/>
                  <a:gd name="connsiteY165" fmla="*/ 2619375 h 4305300"/>
                  <a:gd name="connsiteX166" fmla="*/ 1435893 w 8801100"/>
                  <a:gd name="connsiteY166" fmla="*/ 2688431 h 4305300"/>
                  <a:gd name="connsiteX167" fmla="*/ 1638300 w 8801100"/>
                  <a:gd name="connsiteY167" fmla="*/ 2838450 h 4305300"/>
                  <a:gd name="connsiteX168" fmla="*/ 1671637 w 8801100"/>
                  <a:gd name="connsiteY168" fmla="*/ 2905125 h 4305300"/>
                  <a:gd name="connsiteX169" fmla="*/ 1838325 w 8801100"/>
                  <a:gd name="connsiteY169" fmla="*/ 3031331 h 4305300"/>
                  <a:gd name="connsiteX170" fmla="*/ 1909763 w 8801100"/>
                  <a:gd name="connsiteY170" fmla="*/ 3026569 h 4305300"/>
                  <a:gd name="connsiteX171" fmla="*/ 1945482 w 8801100"/>
                  <a:gd name="connsiteY171" fmla="*/ 3050381 h 4305300"/>
                  <a:gd name="connsiteX172" fmla="*/ 1916906 w 8801100"/>
                  <a:gd name="connsiteY172" fmla="*/ 3090863 h 4305300"/>
                  <a:gd name="connsiteX173" fmla="*/ 1924050 w 8801100"/>
                  <a:gd name="connsiteY173" fmla="*/ 3143250 h 4305300"/>
                  <a:gd name="connsiteX174" fmla="*/ 1976438 w 8801100"/>
                  <a:gd name="connsiteY174" fmla="*/ 3169444 h 4305300"/>
                  <a:gd name="connsiteX175" fmla="*/ 2038350 w 8801100"/>
                  <a:gd name="connsiteY175" fmla="*/ 3393282 h 4305300"/>
                  <a:gd name="connsiteX176" fmla="*/ 2028825 w 8801100"/>
                  <a:gd name="connsiteY176" fmla="*/ 3457575 h 4305300"/>
                  <a:gd name="connsiteX177" fmla="*/ 2164556 w 8801100"/>
                  <a:gd name="connsiteY177" fmla="*/ 3624263 h 4305300"/>
                  <a:gd name="connsiteX178" fmla="*/ 2183606 w 8801100"/>
                  <a:gd name="connsiteY178" fmla="*/ 3674269 h 4305300"/>
                  <a:gd name="connsiteX179" fmla="*/ 2157413 w 8801100"/>
                  <a:gd name="connsiteY179" fmla="*/ 3693319 h 4305300"/>
                  <a:gd name="connsiteX180" fmla="*/ 2259806 w 8801100"/>
                  <a:gd name="connsiteY180" fmla="*/ 3702844 h 4305300"/>
                  <a:gd name="connsiteX181" fmla="*/ 2371725 w 8801100"/>
                  <a:gd name="connsiteY181" fmla="*/ 3690938 h 4305300"/>
                  <a:gd name="connsiteX182" fmla="*/ 2650331 w 8801100"/>
                  <a:gd name="connsiteY182" fmla="*/ 3774281 h 4305300"/>
                  <a:gd name="connsiteX183" fmla="*/ 3057525 w 8801100"/>
                  <a:gd name="connsiteY183" fmla="*/ 3855244 h 4305300"/>
                  <a:gd name="connsiteX184" fmla="*/ 3255169 w 8801100"/>
                  <a:gd name="connsiteY184" fmla="*/ 3824287 h 4305300"/>
                  <a:gd name="connsiteX185" fmla="*/ 3300413 w 8801100"/>
                  <a:gd name="connsiteY185" fmla="*/ 3836193 h 4305300"/>
                  <a:gd name="connsiteX186" fmla="*/ 3355181 w 8801100"/>
                  <a:gd name="connsiteY186" fmla="*/ 3812382 h 4305300"/>
                  <a:gd name="connsiteX187" fmla="*/ 3748087 w 8801100"/>
                  <a:gd name="connsiteY187" fmla="*/ 3902869 h 4305300"/>
                  <a:gd name="connsiteX188" fmla="*/ 3831432 w 8801100"/>
                  <a:gd name="connsiteY188" fmla="*/ 4000500 h 4305300"/>
                  <a:gd name="connsiteX189" fmla="*/ 3950494 w 8801100"/>
                  <a:gd name="connsiteY189" fmla="*/ 4071938 h 4305300"/>
                  <a:gd name="connsiteX190" fmla="*/ 4010025 w 8801100"/>
                  <a:gd name="connsiteY190" fmla="*/ 4055269 h 4305300"/>
                  <a:gd name="connsiteX191" fmla="*/ 4360068 w 8801100"/>
                  <a:gd name="connsiteY191" fmla="*/ 4229100 h 4305300"/>
                  <a:gd name="connsiteX192" fmla="*/ 4586288 w 8801100"/>
                  <a:gd name="connsiteY192" fmla="*/ 4200525 h 4305300"/>
                  <a:gd name="connsiteX193" fmla="*/ 4595813 w 8801100"/>
                  <a:gd name="connsiteY193" fmla="*/ 4279106 h 4305300"/>
                  <a:gd name="connsiteX194" fmla="*/ 4681538 w 8801100"/>
                  <a:gd name="connsiteY194" fmla="*/ 4274343 h 4305300"/>
                  <a:gd name="connsiteX195" fmla="*/ 4760119 w 8801100"/>
                  <a:gd name="connsiteY195" fmla="*/ 4305300 h 4305300"/>
                  <a:gd name="connsiteX196" fmla="*/ 4802981 w 8801100"/>
                  <a:gd name="connsiteY196" fmla="*/ 4245769 h 4305300"/>
                  <a:gd name="connsiteX197" fmla="*/ 5474494 w 8801100"/>
                  <a:gd name="connsiteY197" fmla="*/ 3926681 h 4305300"/>
                  <a:gd name="connsiteX198" fmla="*/ 5562600 w 8801100"/>
                  <a:gd name="connsiteY198" fmla="*/ 3955257 h 4305300"/>
                  <a:gd name="connsiteX199" fmla="*/ 5693569 w 8801100"/>
                  <a:gd name="connsiteY199" fmla="*/ 3926681 h 4305300"/>
                  <a:gd name="connsiteX200" fmla="*/ 5872162 w 8801100"/>
                  <a:gd name="connsiteY200" fmla="*/ 3943350 h 4305300"/>
                  <a:gd name="connsiteX201" fmla="*/ 5929313 w 8801100"/>
                  <a:gd name="connsiteY201" fmla="*/ 3917157 h 4305300"/>
                  <a:gd name="connsiteX202" fmla="*/ 6062662 w 8801100"/>
                  <a:gd name="connsiteY202" fmla="*/ 3914775 h 4305300"/>
                  <a:gd name="connsiteX203" fmla="*/ 6196012 w 8801100"/>
                  <a:gd name="connsiteY203" fmla="*/ 3817144 h 4305300"/>
                  <a:gd name="connsiteX204" fmla="*/ 6262687 w 8801100"/>
                  <a:gd name="connsiteY204" fmla="*/ 3810000 h 4305300"/>
                  <a:gd name="connsiteX205" fmla="*/ 6360319 w 8801100"/>
                  <a:gd name="connsiteY205" fmla="*/ 3736181 h 4305300"/>
                  <a:gd name="connsiteX206" fmla="*/ 6434138 w 8801100"/>
                  <a:gd name="connsiteY206" fmla="*/ 3667125 h 4305300"/>
                  <a:gd name="connsiteX207" fmla="*/ 6443663 w 8801100"/>
                  <a:gd name="connsiteY207" fmla="*/ 3605213 h 4305300"/>
                  <a:gd name="connsiteX208" fmla="*/ 6477000 w 8801100"/>
                  <a:gd name="connsiteY208" fmla="*/ 3536156 h 4305300"/>
                  <a:gd name="connsiteX209" fmla="*/ 6629400 w 8801100"/>
                  <a:gd name="connsiteY209" fmla="*/ 3429000 h 4305300"/>
                  <a:gd name="connsiteX210" fmla="*/ 6662738 w 8801100"/>
                  <a:gd name="connsiteY210" fmla="*/ 3433763 h 4305300"/>
                  <a:gd name="connsiteX211" fmla="*/ 6715125 w 8801100"/>
                  <a:gd name="connsiteY211" fmla="*/ 3355181 h 4305300"/>
                  <a:gd name="connsiteX212" fmla="*/ 6762750 w 8801100"/>
                  <a:gd name="connsiteY212" fmla="*/ 3317081 h 4305300"/>
                  <a:gd name="connsiteX213" fmla="*/ 6748463 w 8801100"/>
                  <a:gd name="connsiteY213" fmla="*/ 3248025 h 4305300"/>
                  <a:gd name="connsiteX214" fmla="*/ 6698456 w 8801100"/>
                  <a:gd name="connsiteY214" fmla="*/ 3217068 h 4305300"/>
                  <a:gd name="connsiteX215" fmla="*/ 6638925 w 8801100"/>
                  <a:gd name="connsiteY215" fmla="*/ 3162300 h 4305300"/>
                  <a:gd name="connsiteX216" fmla="*/ 6619875 w 8801100"/>
                  <a:gd name="connsiteY216" fmla="*/ 3105150 h 4305300"/>
                  <a:gd name="connsiteX217" fmla="*/ 6584156 w 8801100"/>
                  <a:gd name="connsiteY217" fmla="*/ 3071813 h 4305300"/>
                  <a:gd name="connsiteX218" fmla="*/ 6610350 w 8801100"/>
                  <a:gd name="connsiteY218" fmla="*/ 3019425 h 4305300"/>
                  <a:gd name="connsiteX219" fmla="*/ 6650831 w 8801100"/>
                  <a:gd name="connsiteY219" fmla="*/ 2840831 h 4305300"/>
                  <a:gd name="connsiteX220" fmla="*/ 6691313 w 8801100"/>
                  <a:gd name="connsiteY220" fmla="*/ 2774156 h 4305300"/>
                  <a:gd name="connsiteX221" fmla="*/ 6836569 w 8801100"/>
                  <a:gd name="connsiteY221" fmla="*/ 2757487 h 4305300"/>
                  <a:gd name="connsiteX222" fmla="*/ 6905625 w 8801100"/>
                  <a:gd name="connsiteY222" fmla="*/ 2814638 h 4305300"/>
                  <a:gd name="connsiteX223" fmla="*/ 6981825 w 8801100"/>
                  <a:gd name="connsiteY223" fmla="*/ 2838450 h 4305300"/>
                  <a:gd name="connsiteX224" fmla="*/ 7186612 w 8801100"/>
                  <a:gd name="connsiteY224" fmla="*/ 2843213 h 4305300"/>
                  <a:gd name="connsiteX225" fmla="*/ 7362825 w 8801100"/>
                  <a:gd name="connsiteY225" fmla="*/ 2705100 h 4305300"/>
                  <a:gd name="connsiteX226" fmla="*/ 7419975 w 8801100"/>
                  <a:gd name="connsiteY226" fmla="*/ 2614612 h 4305300"/>
                  <a:gd name="connsiteX227" fmla="*/ 7446169 w 8801100"/>
                  <a:gd name="connsiteY227" fmla="*/ 2531269 h 4305300"/>
                  <a:gd name="connsiteX228" fmla="*/ 7577137 w 8801100"/>
                  <a:gd name="connsiteY228" fmla="*/ 2531269 h 4305300"/>
                  <a:gd name="connsiteX229" fmla="*/ 7750969 w 8801100"/>
                  <a:gd name="connsiteY229" fmla="*/ 2474118 h 4305300"/>
                  <a:gd name="connsiteX230" fmla="*/ 7810500 w 8801100"/>
                  <a:gd name="connsiteY230" fmla="*/ 2362200 h 4305300"/>
                  <a:gd name="connsiteX231" fmla="*/ 7874794 w 8801100"/>
                  <a:gd name="connsiteY231" fmla="*/ 2326481 h 4305300"/>
                  <a:gd name="connsiteX232" fmla="*/ 7853363 w 8801100"/>
                  <a:gd name="connsiteY232" fmla="*/ 2281238 h 4305300"/>
                  <a:gd name="connsiteX233" fmla="*/ 7931944 w 8801100"/>
                  <a:gd name="connsiteY233" fmla="*/ 2112168 h 4305300"/>
                  <a:gd name="connsiteX234" fmla="*/ 7986713 w 8801100"/>
                  <a:gd name="connsiteY234" fmla="*/ 2052638 h 4305300"/>
                  <a:gd name="connsiteX235" fmla="*/ 8024813 w 8801100"/>
                  <a:gd name="connsiteY235" fmla="*/ 2047875 h 4305300"/>
                  <a:gd name="connsiteX236" fmla="*/ 8070056 w 8801100"/>
                  <a:gd name="connsiteY236" fmla="*/ 2052638 h 4305300"/>
                  <a:gd name="connsiteX237" fmla="*/ 8134350 w 8801100"/>
                  <a:gd name="connsiteY237" fmla="*/ 2019300 h 4305300"/>
                  <a:gd name="connsiteX238" fmla="*/ 8143875 w 8801100"/>
                  <a:gd name="connsiteY238" fmla="*/ 1955006 h 4305300"/>
                  <a:gd name="connsiteX239" fmla="*/ 8184355 w 8801100"/>
                  <a:gd name="connsiteY239" fmla="*/ 1919288 h 4305300"/>
                  <a:gd name="connsiteX240" fmla="*/ 8243888 w 8801100"/>
                  <a:gd name="connsiteY240" fmla="*/ 1959768 h 4305300"/>
                  <a:gd name="connsiteX241" fmla="*/ 8270082 w 8801100"/>
                  <a:gd name="connsiteY241" fmla="*/ 1909762 h 4305300"/>
                  <a:gd name="connsiteX242" fmla="*/ 8365331 w 8801100"/>
                  <a:gd name="connsiteY242" fmla="*/ 1840706 h 4305300"/>
                  <a:gd name="connsiteX243" fmla="*/ 8427244 w 8801100"/>
                  <a:gd name="connsiteY243" fmla="*/ 1847850 h 4305300"/>
                  <a:gd name="connsiteX244" fmla="*/ 8477250 w 8801100"/>
                  <a:gd name="connsiteY244" fmla="*/ 1828800 h 4305300"/>
                  <a:gd name="connsiteX245" fmla="*/ 8515350 w 8801100"/>
                  <a:gd name="connsiteY245" fmla="*/ 1800225 h 4305300"/>
                  <a:gd name="connsiteX246" fmla="*/ 8548688 w 8801100"/>
                  <a:gd name="connsiteY246" fmla="*/ 1797844 h 4305300"/>
                  <a:gd name="connsiteX247" fmla="*/ 8584406 w 8801100"/>
                  <a:gd name="connsiteY247" fmla="*/ 1828800 h 4305300"/>
                  <a:gd name="connsiteX248" fmla="*/ 8643938 w 8801100"/>
                  <a:gd name="connsiteY248" fmla="*/ 1828800 h 4305300"/>
                  <a:gd name="connsiteX249" fmla="*/ 8682037 w 8801100"/>
                  <a:gd name="connsiteY249" fmla="*/ 1809750 h 4305300"/>
                  <a:gd name="connsiteX250" fmla="*/ 8765381 w 8801100"/>
                  <a:gd name="connsiteY250" fmla="*/ 1812132 h 4305300"/>
                  <a:gd name="connsiteX251" fmla="*/ 8796338 w 8801100"/>
                  <a:gd name="connsiteY251" fmla="*/ 1766888 h 4305300"/>
                  <a:gd name="connsiteX252" fmla="*/ 8801100 w 8801100"/>
                  <a:gd name="connsiteY252" fmla="*/ 1704975 h 4305300"/>
                  <a:gd name="connsiteX253" fmla="*/ 8751093 w 8801100"/>
                  <a:gd name="connsiteY253" fmla="*/ 1664494 h 4305300"/>
                  <a:gd name="connsiteX254" fmla="*/ 8734425 w 8801100"/>
                  <a:gd name="connsiteY254" fmla="*/ 1609725 h 4305300"/>
                  <a:gd name="connsiteX255" fmla="*/ 8643938 w 8801100"/>
                  <a:gd name="connsiteY255" fmla="*/ 1547813 h 4305300"/>
                  <a:gd name="connsiteX256" fmla="*/ 8603456 w 8801100"/>
                  <a:gd name="connsiteY256" fmla="*/ 1526381 h 4305300"/>
                  <a:gd name="connsiteX257" fmla="*/ 8565356 w 8801100"/>
                  <a:gd name="connsiteY257" fmla="*/ 1481138 h 4305300"/>
                  <a:gd name="connsiteX258" fmla="*/ 8534400 w 8801100"/>
                  <a:gd name="connsiteY258" fmla="*/ 1478756 h 4305300"/>
                  <a:gd name="connsiteX259" fmla="*/ 8517731 w 8801100"/>
                  <a:gd name="connsiteY259" fmla="*/ 1426369 h 4305300"/>
                  <a:gd name="connsiteX260" fmla="*/ 8477250 w 8801100"/>
                  <a:gd name="connsiteY260" fmla="*/ 1409700 h 4305300"/>
                  <a:gd name="connsiteX261" fmla="*/ 8477250 w 8801100"/>
                  <a:gd name="connsiteY261" fmla="*/ 1409700 h 4305300"/>
                  <a:gd name="connsiteX262" fmla="*/ 8436769 w 8801100"/>
                  <a:gd name="connsiteY262" fmla="*/ 1414463 h 4305300"/>
                  <a:gd name="connsiteX263" fmla="*/ 8351043 w 8801100"/>
                  <a:gd name="connsiteY263" fmla="*/ 1340644 h 4305300"/>
                  <a:gd name="connsiteX264" fmla="*/ 8170069 w 8801100"/>
                  <a:gd name="connsiteY264" fmla="*/ 1340643 h 4305300"/>
                  <a:gd name="connsiteX265" fmla="*/ 8117681 w 8801100"/>
                  <a:gd name="connsiteY265" fmla="*/ 1378744 h 4305300"/>
                  <a:gd name="connsiteX266" fmla="*/ 8067675 w 8801100"/>
                  <a:gd name="connsiteY266" fmla="*/ 1457325 h 4305300"/>
                  <a:gd name="connsiteX267" fmla="*/ 8084344 w 8801100"/>
                  <a:gd name="connsiteY267" fmla="*/ 1478756 h 4305300"/>
                  <a:gd name="connsiteX268" fmla="*/ 8039100 w 8801100"/>
                  <a:gd name="connsiteY268" fmla="*/ 1528762 h 4305300"/>
                  <a:gd name="connsiteX269" fmla="*/ 7889081 w 8801100"/>
                  <a:gd name="connsiteY269" fmla="*/ 1452562 h 4305300"/>
                  <a:gd name="connsiteX270" fmla="*/ 7798594 w 8801100"/>
                  <a:gd name="connsiteY270" fmla="*/ 1488281 h 4305300"/>
                  <a:gd name="connsiteX271" fmla="*/ 7724775 w 8801100"/>
                  <a:gd name="connsiteY271" fmla="*/ 1485900 h 4305300"/>
                  <a:gd name="connsiteX272" fmla="*/ 7667625 w 8801100"/>
                  <a:gd name="connsiteY272" fmla="*/ 1581150 h 4305300"/>
                  <a:gd name="connsiteX273" fmla="*/ 7529513 w 8801100"/>
                  <a:gd name="connsiteY273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1164431 w 8801100"/>
                  <a:gd name="connsiteY123" fmla="*/ 411956 h 4305300"/>
                  <a:gd name="connsiteX124" fmla="*/ 2381 w 8801100"/>
                  <a:gd name="connsiteY124" fmla="*/ 1490661 h 4305300"/>
                  <a:gd name="connsiteX125" fmla="*/ 0 w 8801100"/>
                  <a:gd name="connsiteY125" fmla="*/ 709613 h 4305300"/>
                  <a:gd name="connsiteX126" fmla="*/ 76200 w 8801100"/>
                  <a:gd name="connsiteY126" fmla="*/ 692944 h 4305300"/>
                  <a:gd name="connsiteX127" fmla="*/ 119063 w 8801100"/>
                  <a:gd name="connsiteY127" fmla="*/ 721519 h 4305300"/>
                  <a:gd name="connsiteX128" fmla="*/ 215900 w 8801100"/>
                  <a:gd name="connsiteY128" fmla="*/ 712788 h 4305300"/>
                  <a:gd name="connsiteX129" fmla="*/ 261938 w 8801100"/>
                  <a:gd name="connsiteY129" fmla="*/ 740568 h 4305300"/>
                  <a:gd name="connsiteX130" fmla="*/ 228600 w 8801100"/>
                  <a:gd name="connsiteY130" fmla="*/ 769144 h 4305300"/>
                  <a:gd name="connsiteX131" fmla="*/ 233363 w 8801100"/>
                  <a:gd name="connsiteY131" fmla="*/ 812006 h 4305300"/>
                  <a:gd name="connsiteX132" fmla="*/ 200025 w 8801100"/>
                  <a:gd name="connsiteY132" fmla="*/ 816769 h 4305300"/>
                  <a:gd name="connsiteX133" fmla="*/ 204788 w 8801100"/>
                  <a:gd name="connsiteY133" fmla="*/ 840581 h 4305300"/>
                  <a:gd name="connsiteX134" fmla="*/ 261937 w 8801100"/>
                  <a:gd name="connsiteY134" fmla="*/ 914400 h 4305300"/>
                  <a:gd name="connsiteX135" fmla="*/ 223838 w 8801100"/>
                  <a:gd name="connsiteY135" fmla="*/ 962025 h 4305300"/>
                  <a:gd name="connsiteX136" fmla="*/ 278606 w 8801100"/>
                  <a:gd name="connsiteY136" fmla="*/ 997744 h 4305300"/>
                  <a:gd name="connsiteX137" fmla="*/ 369094 w 8801100"/>
                  <a:gd name="connsiteY137" fmla="*/ 1085850 h 4305300"/>
                  <a:gd name="connsiteX138" fmla="*/ 371475 w 8801100"/>
                  <a:gd name="connsiteY138" fmla="*/ 1145381 h 4305300"/>
                  <a:gd name="connsiteX139" fmla="*/ 507206 w 8801100"/>
                  <a:gd name="connsiteY139" fmla="*/ 1278732 h 4305300"/>
                  <a:gd name="connsiteX140" fmla="*/ 561975 w 8801100"/>
                  <a:gd name="connsiteY140" fmla="*/ 1254919 h 4305300"/>
                  <a:gd name="connsiteX141" fmla="*/ 600075 w 8801100"/>
                  <a:gd name="connsiteY141" fmla="*/ 1281112 h 4305300"/>
                  <a:gd name="connsiteX142" fmla="*/ 614363 w 8801100"/>
                  <a:gd name="connsiteY142" fmla="*/ 1331118 h 4305300"/>
                  <a:gd name="connsiteX143" fmla="*/ 657225 w 8801100"/>
                  <a:gd name="connsiteY143" fmla="*/ 1366838 h 4305300"/>
                  <a:gd name="connsiteX144" fmla="*/ 697706 w 8801100"/>
                  <a:gd name="connsiteY144" fmla="*/ 1354931 h 4305300"/>
                  <a:gd name="connsiteX145" fmla="*/ 716756 w 8801100"/>
                  <a:gd name="connsiteY145" fmla="*/ 1412081 h 4305300"/>
                  <a:gd name="connsiteX146" fmla="*/ 764381 w 8801100"/>
                  <a:gd name="connsiteY146" fmla="*/ 1454944 h 4305300"/>
                  <a:gd name="connsiteX147" fmla="*/ 788194 w 8801100"/>
                  <a:gd name="connsiteY147" fmla="*/ 1557338 h 4305300"/>
                  <a:gd name="connsiteX148" fmla="*/ 785813 w 8801100"/>
                  <a:gd name="connsiteY148" fmla="*/ 1604963 h 4305300"/>
                  <a:gd name="connsiteX149" fmla="*/ 821531 w 8801100"/>
                  <a:gd name="connsiteY149" fmla="*/ 1704975 h 4305300"/>
                  <a:gd name="connsiteX150" fmla="*/ 866775 w 8801100"/>
                  <a:gd name="connsiteY150" fmla="*/ 1762125 h 4305300"/>
                  <a:gd name="connsiteX151" fmla="*/ 883443 w 8801100"/>
                  <a:gd name="connsiteY151" fmla="*/ 1919287 h 4305300"/>
                  <a:gd name="connsiteX152" fmla="*/ 850106 w 8801100"/>
                  <a:gd name="connsiteY152" fmla="*/ 1981200 h 4305300"/>
                  <a:gd name="connsiteX153" fmla="*/ 819150 w 8801100"/>
                  <a:gd name="connsiteY153" fmla="*/ 2057400 h 4305300"/>
                  <a:gd name="connsiteX154" fmla="*/ 833438 w 8801100"/>
                  <a:gd name="connsiteY154" fmla="*/ 2114550 h 4305300"/>
                  <a:gd name="connsiteX155" fmla="*/ 735806 w 8801100"/>
                  <a:gd name="connsiteY155" fmla="*/ 2221707 h 4305300"/>
                  <a:gd name="connsiteX156" fmla="*/ 692944 w 8801100"/>
                  <a:gd name="connsiteY156" fmla="*/ 2336006 h 4305300"/>
                  <a:gd name="connsiteX157" fmla="*/ 726281 w 8801100"/>
                  <a:gd name="connsiteY157" fmla="*/ 2376488 h 4305300"/>
                  <a:gd name="connsiteX158" fmla="*/ 709613 w 8801100"/>
                  <a:gd name="connsiteY158" fmla="*/ 2405063 h 4305300"/>
                  <a:gd name="connsiteX159" fmla="*/ 740569 w 8801100"/>
                  <a:gd name="connsiteY159" fmla="*/ 2462213 h 4305300"/>
                  <a:gd name="connsiteX160" fmla="*/ 769144 w 8801100"/>
                  <a:gd name="connsiteY160" fmla="*/ 2462213 h 4305300"/>
                  <a:gd name="connsiteX161" fmla="*/ 931069 w 8801100"/>
                  <a:gd name="connsiteY161" fmla="*/ 2564606 h 4305300"/>
                  <a:gd name="connsiteX162" fmla="*/ 1035844 w 8801100"/>
                  <a:gd name="connsiteY162" fmla="*/ 2562225 h 4305300"/>
                  <a:gd name="connsiteX163" fmla="*/ 1114425 w 8801100"/>
                  <a:gd name="connsiteY163" fmla="*/ 2616994 h 4305300"/>
                  <a:gd name="connsiteX164" fmla="*/ 1245393 w 8801100"/>
                  <a:gd name="connsiteY164" fmla="*/ 2619375 h 4305300"/>
                  <a:gd name="connsiteX165" fmla="*/ 1435893 w 8801100"/>
                  <a:gd name="connsiteY165" fmla="*/ 2688431 h 4305300"/>
                  <a:gd name="connsiteX166" fmla="*/ 1638300 w 8801100"/>
                  <a:gd name="connsiteY166" fmla="*/ 2838450 h 4305300"/>
                  <a:gd name="connsiteX167" fmla="*/ 1671637 w 8801100"/>
                  <a:gd name="connsiteY167" fmla="*/ 2905125 h 4305300"/>
                  <a:gd name="connsiteX168" fmla="*/ 1838325 w 8801100"/>
                  <a:gd name="connsiteY168" fmla="*/ 3031331 h 4305300"/>
                  <a:gd name="connsiteX169" fmla="*/ 1909763 w 8801100"/>
                  <a:gd name="connsiteY169" fmla="*/ 3026569 h 4305300"/>
                  <a:gd name="connsiteX170" fmla="*/ 1945482 w 8801100"/>
                  <a:gd name="connsiteY170" fmla="*/ 3050381 h 4305300"/>
                  <a:gd name="connsiteX171" fmla="*/ 1916906 w 8801100"/>
                  <a:gd name="connsiteY171" fmla="*/ 3090863 h 4305300"/>
                  <a:gd name="connsiteX172" fmla="*/ 1924050 w 8801100"/>
                  <a:gd name="connsiteY172" fmla="*/ 3143250 h 4305300"/>
                  <a:gd name="connsiteX173" fmla="*/ 1976438 w 8801100"/>
                  <a:gd name="connsiteY173" fmla="*/ 3169444 h 4305300"/>
                  <a:gd name="connsiteX174" fmla="*/ 2038350 w 8801100"/>
                  <a:gd name="connsiteY174" fmla="*/ 3393282 h 4305300"/>
                  <a:gd name="connsiteX175" fmla="*/ 2028825 w 8801100"/>
                  <a:gd name="connsiteY175" fmla="*/ 3457575 h 4305300"/>
                  <a:gd name="connsiteX176" fmla="*/ 2164556 w 8801100"/>
                  <a:gd name="connsiteY176" fmla="*/ 3624263 h 4305300"/>
                  <a:gd name="connsiteX177" fmla="*/ 2183606 w 8801100"/>
                  <a:gd name="connsiteY177" fmla="*/ 3674269 h 4305300"/>
                  <a:gd name="connsiteX178" fmla="*/ 2157413 w 8801100"/>
                  <a:gd name="connsiteY178" fmla="*/ 3693319 h 4305300"/>
                  <a:gd name="connsiteX179" fmla="*/ 2259806 w 8801100"/>
                  <a:gd name="connsiteY179" fmla="*/ 3702844 h 4305300"/>
                  <a:gd name="connsiteX180" fmla="*/ 2371725 w 8801100"/>
                  <a:gd name="connsiteY180" fmla="*/ 3690938 h 4305300"/>
                  <a:gd name="connsiteX181" fmla="*/ 2650331 w 8801100"/>
                  <a:gd name="connsiteY181" fmla="*/ 3774281 h 4305300"/>
                  <a:gd name="connsiteX182" fmla="*/ 3057525 w 8801100"/>
                  <a:gd name="connsiteY182" fmla="*/ 3855244 h 4305300"/>
                  <a:gd name="connsiteX183" fmla="*/ 3255169 w 8801100"/>
                  <a:gd name="connsiteY183" fmla="*/ 3824287 h 4305300"/>
                  <a:gd name="connsiteX184" fmla="*/ 3300413 w 8801100"/>
                  <a:gd name="connsiteY184" fmla="*/ 3836193 h 4305300"/>
                  <a:gd name="connsiteX185" fmla="*/ 3355181 w 8801100"/>
                  <a:gd name="connsiteY185" fmla="*/ 3812382 h 4305300"/>
                  <a:gd name="connsiteX186" fmla="*/ 3748087 w 8801100"/>
                  <a:gd name="connsiteY186" fmla="*/ 3902869 h 4305300"/>
                  <a:gd name="connsiteX187" fmla="*/ 3831432 w 8801100"/>
                  <a:gd name="connsiteY187" fmla="*/ 4000500 h 4305300"/>
                  <a:gd name="connsiteX188" fmla="*/ 3950494 w 8801100"/>
                  <a:gd name="connsiteY188" fmla="*/ 4071938 h 4305300"/>
                  <a:gd name="connsiteX189" fmla="*/ 4010025 w 8801100"/>
                  <a:gd name="connsiteY189" fmla="*/ 4055269 h 4305300"/>
                  <a:gd name="connsiteX190" fmla="*/ 4360068 w 8801100"/>
                  <a:gd name="connsiteY190" fmla="*/ 4229100 h 4305300"/>
                  <a:gd name="connsiteX191" fmla="*/ 4586288 w 8801100"/>
                  <a:gd name="connsiteY191" fmla="*/ 4200525 h 4305300"/>
                  <a:gd name="connsiteX192" fmla="*/ 4595813 w 8801100"/>
                  <a:gd name="connsiteY192" fmla="*/ 4279106 h 4305300"/>
                  <a:gd name="connsiteX193" fmla="*/ 4681538 w 8801100"/>
                  <a:gd name="connsiteY193" fmla="*/ 4274343 h 4305300"/>
                  <a:gd name="connsiteX194" fmla="*/ 4760119 w 8801100"/>
                  <a:gd name="connsiteY194" fmla="*/ 4305300 h 4305300"/>
                  <a:gd name="connsiteX195" fmla="*/ 4802981 w 8801100"/>
                  <a:gd name="connsiteY195" fmla="*/ 4245769 h 4305300"/>
                  <a:gd name="connsiteX196" fmla="*/ 5474494 w 8801100"/>
                  <a:gd name="connsiteY196" fmla="*/ 3926681 h 4305300"/>
                  <a:gd name="connsiteX197" fmla="*/ 5562600 w 8801100"/>
                  <a:gd name="connsiteY197" fmla="*/ 3955257 h 4305300"/>
                  <a:gd name="connsiteX198" fmla="*/ 5693569 w 8801100"/>
                  <a:gd name="connsiteY198" fmla="*/ 3926681 h 4305300"/>
                  <a:gd name="connsiteX199" fmla="*/ 5872162 w 8801100"/>
                  <a:gd name="connsiteY199" fmla="*/ 3943350 h 4305300"/>
                  <a:gd name="connsiteX200" fmla="*/ 5929313 w 8801100"/>
                  <a:gd name="connsiteY200" fmla="*/ 3917157 h 4305300"/>
                  <a:gd name="connsiteX201" fmla="*/ 6062662 w 8801100"/>
                  <a:gd name="connsiteY201" fmla="*/ 3914775 h 4305300"/>
                  <a:gd name="connsiteX202" fmla="*/ 6196012 w 8801100"/>
                  <a:gd name="connsiteY202" fmla="*/ 3817144 h 4305300"/>
                  <a:gd name="connsiteX203" fmla="*/ 6262687 w 8801100"/>
                  <a:gd name="connsiteY203" fmla="*/ 3810000 h 4305300"/>
                  <a:gd name="connsiteX204" fmla="*/ 6360319 w 8801100"/>
                  <a:gd name="connsiteY204" fmla="*/ 3736181 h 4305300"/>
                  <a:gd name="connsiteX205" fmla="*/ 6434138 w 8801100"/>
                  <a:gd name="connsiteY205" fmla="*/ 3667125 h 4305300"/>
                  <a:gd name="connsiteX206" fmla="*/ 6443663 w 8801100"/>
                  <a:gd name="connsiteY206" fmla="*/ 3605213 h 4305300"/>
                  <a:gd name="connsiteX207" fmla="*/ 6477000 w 8801100"/>
                  <a:gd name="connsiteY207" fmla="*/ 3536156 h 4305300"/>
                  <a:gd name="connsiteX208" fmla="*/ 6629400 w 8801100"/>
                  <a:gd name="connsiteY208" fmla="*/ 3429000 h 4305300"/>
                  <a:gd name="connsiteX209" fmla="*/ 6662738 w 8801100"/>
                  <a:gd name="connsiteY209" fmla="*/ 3433763 h 4305300"/>
                  <a:gd name="connsiteX210" fmla="*/ 6715125 w 8801100"/>
                  <a:gd name="connsiteY210" fmla="*/ 3355181 h 4305300"/>
                  <a:gd name="connsiteX211" fmla="*/ 6762750 w 8801100"/>
                  <a:gd name="connsiteY211" fmla="*/ 3317081 h 4305300"/>
                  <a:gd name="connsiteX212" fmla="*/ 6748463 w 8801100"/>
                  <a:gd name="connsiteY212" fmla="*/ 3248025 h 4305300"/>
                  <a:gd name="connsiteX213" fmla="*/ 6698456 w 8801100"/>
                  <a:gd name="connsiteY213" fmla="*/ 3217068 h 4305300"/>
                  <a:gd name="connsiteX214" fmla="*/ 6638925 w 8801100"/>
                  <a:gd name="connsiteY214" fmla="*/ 3162300 h 4305300"/>
                  <a:gd name="connsiteX215" fmla="*/ 6619875 w 8801100"/>
                  <a:gd name="connsiteY215" fmla="*/ 3105150 h 4305300"/>
                  <a:gd name="connsiteX216" fmla="*/ 6584156 w 8801100"/>
                  <a:gd name="connsiteY216" fmla="*/ 3071813 h 4305300"/>
                  <a:gd name="connsiteX217" fmla="*/ 6610350 w 8801100"/>
                  <a:gd name="connsiteY217" fmla="*/ 3019425 h 4305300"/>
                  <a:gd name="connsiteX218" fmla="*/ 6650831 w 8801100"/>
                  <a:gd name="connsiteY218" fmla="*/ 2840831 h 4305300"/>
                  <a:gd name="connsiteX219" fmla="*/ 6691313 w 8801100"/>
                  <a:gd name="connsiteY219" fmla="*/ 2774156 h 4305300"/>
                  <a:gd name="connsiteX220" fmla="*/ 6836569 w 8801100"/>
                  <a:gd name="connsiteY220" fmla="*/ 2757487 h 4305300"/>
                  <a:gd name="connsiteX221" fmla="*/ 6905625 w 8801100"/>
                  <a:gd name="connsiteY221" fmla="*/ 2814638 h 4305300"/>
                  <a:gd name="connsiteX222" fmla="*/ 6981825 w 8801100"/>
                  <a:gd name="connsiteY222" fmla="*/ 2838450 h 4305300"/>
                  <a:gd name="connsiteX223" fmla="*/ 7186612 w 8801100"/>
                  <a:gd name="connsiteY223" fmla="*/ 2843213 h 4305300"/>
                  <a:gd name="connsiteX224" fmla="*/ 7362825 w 8801100"/>
                  <a:gd name="connsiteY224" fmla="*/ 2705100 h 4305300"/>
                  <a:gd name="connsiteX225" fmla="*/ 7419975 w 8801100"/>
                  <a:gd name="connsiteY225" fmla="*/ 2614612 h 4305300"/>
                  <a:gd name="connsiteX226" fmla="*/ 7446169 w 8801100"/>
                  <a:gd name="connsiteY226" fmla="*/ 2531269 h 4305300"/>
                  <a:gd name="connsiteX227" fmla="*/ 7577137 w 8801100"/>
                  <a:gd name="connsiteY227" fmla="*/ 2531269 h 4305300"/>
                  <a:gd name="connsiteX228" fmla="*/ 7750969 w 8801100"/>
                  <a:gd name="connsiteY228" fmla="*/ 2474118 h 4305300"/>
                  <a:gd name="connsiteX229" fmla="*/ 7810500 w 8801100"/>
                  <a:gd name="connsiteY229" fmla="*/ 2362200 h 4305300"/>
                  <a:gd name="connsiteX230" fmla="*/ 7874794 w 8801100"/>
                  <a:gd name="connsiteY230" fmla="*/ 2326481 h 4305300"/>
                  <a:gd name="connsiteX231" fmla="*/ 7853363 w 8801100"/>
                  <a:gd name="connsiteY231" fmla="*/ 2281238 h 4305300"/>
                  <a:gd name="connsiteX232" fmla="*/ 7931944 w 8801100"/>
                  <a:gd name="connsiteY232" fmla="*/ 2112168 h 4305300"/>
                  <a:gd name="connsiteX233" fmla="*/ 7986713 w 8801100"/>
                  <a:gd name="connsiteY233" fmla="*/ 2052638 h 4305300"/>
                  <a:gd name="connsiteX234" fmla="*/ 8024813 w 8801100"/>
                  <a:gd name="connsiteY234" fmla="*/ 2047875 h 4305300"/>
                  <a:gd name="connsiteX235" fmla="*/ 8070056 w 8801100"/>
                  <a:gd name="connsiteY235" fmla="*/ 2052638 h 4305300"/>
                  <a:gd name="connsiteX236" fmla="*/ 8134350 w 8801100"/>
                  <a:gd name="connsiteY236" fmla="*/ 2019300 h 4305300"/>
                  <a:gd name="connsiteX237" fmla="*/ 8143875 w 8801100"/>
                  <a:gd name="connsiteY237" fmla="*/ 1955006 h 4305300"/>
                  <a:gd name="connsiteX238" fmla="*/ 8184355 w 8801100"/>
                  <a:gd name="connsiteY238" fmla="*/ 1919288 h 4305300"/>
                  <a:gd name="connsiteX239" fmla="*/ 8243888 w 8801100"/>
                  <a:gd name="connsiteY239" fmla="*/ 1959768 h 4305300"/>
                  <a:gd name="connsiteX240" fmla="*/ 8270082 w 8801100"/>
                  <a:gd name="connsiteY240" fmla="*/ 1909762 h 4305300"/>
                  <a:gd name="connsiteX241" fmla="*/ 8365331 w 8801100"/>
                  <a:gd name="connsiteY241" fmla="*/ 1840706 h 4305300"/>
                  <a:gd name="connsiteX242" fmla="*/ 8427244 w 8801100"/>
                  <a:gd name="connsiteY242" fmla="*/ 1847850 h 4305300"/>
                  <a:gd name="connsiteX243" fmla="*/ 8477250 w 8801100"/>
                  <a:gd name="connsiteY243" fmla="*/ 1828800 h 4305300"/>
                  <a:gd name="connsiteX244" fmla="*/ 8515350 w 8801100"/>
                  <a:gd name="connsiteY244" fmla="*/ 1800225 h 4305300"/>
                  <a:gd name="connsiteX245" fmla="*/ 8548688 w 8801100"/>
                  <a:gd name="connsiteY245" fmla="*/ 1797844 h 4305300"/>
                  <a:gd name="connsiteX246" fmla="*/ 8584406 w 8801100"/>
                  <a:gd name="connsiteY246" fmla="*/ 1828800 h 4305300"/>
                  <a:gd name="connsiteX247" fmla="*/ 8643938 w 8801100"/>
                  <a:gd name="connsiteY247" fmla="*/ 1828800 h 4305300"/>
                  <a:gd name="connsiteX248" fmla="*/ 8682037 w 8801100"/>
                  <a:gd name="connsiteY248" fmla="*/ 1809750 h 4305300"/>
                  <a:gd name="connsiteX249" fmla="*/ 8765381 w 8801100"/>
                  <a:gd name="connsiteY249" fmla="*/ 1812132 h 4305300"/>
                  <a:gd name="connsiteX250" fmla="*/ 8796338 w 8801100"/>
                  <a:gd name="connsiteY250" fmla="*/ 1766888 h 4305300"/>
                  <a:gd name="connsiteX251" fmla="*/ 8801100 w 8801100"/>
                  <a:gd name="connsiteY251" fmla="*/ 1704975 h 4305300"/>
                  <a:gd name="connsiteX252" fmla="*/ 8751093 w 8801100"/>
                  <a:gd name="connsiteY252" fmla="*/ 1664494 h 4305300"/>
                  <a:gd name="connsiteX253" fmla="*/ 8734425 w 8801100"/>
                  <a:gd name="connsiteY253" fmla="*/ 1609725 h 4305300"/>
                  <a:gd name="connsiteX254" fmla="*/ 8643938 w 8801100"/>
                  <a:gd name="connsiteY254" fmla="*/ 1547813 h 4305300"/>
                  <a:gd name="connsiteX255" fmla="*/ 8603456 w 8801100"/>
                  <a:gd name="connsiteY255" fmla="*/ 1526381 h 4305300"/>
                  <a:gd name="connsiteX256" fmla="*/ 8565356 w 8801100"/>
                  <a:gd name="connsiteY256" fmla="*/ 1481138 h 4305300"/>
                  <a:gd name="connsiteX257" fmla="*/ 8534400 w 8801100"/>
                  <a:gd name="connsiteY257" fmla="*/ 1478756 h 4305300"/>
                  <a:gd name="connsiteX258" fmla="*/ 8517731 w 8801100"/>
                  <a:gd name="connsiteY258" fmla="*/ 1426369 h 4305300"/>
                  <a:gd name="connsiteX259" fmla="*/ 8477250 w 8801100"/>
                  <a:gd name="connsiteY259" fmla="*/ 1409700 h 4305300"/>
                  <a:gd name="connsiteX260" fmla="*/ 8477250 w 8801100"/>
                  <a:gd name="connsiteY260" fmla="*/ 1409700 h 4305300"/>
                  <a:gd name="connsiteX261" fmla="*/ 8436769 w 8801100"/>
                  <a:gd name="connsiteY261" fmla="*/ 1414463 h 4305300"/>
                  <a:gd name="connsiteX262" fmla="*/ 8351043 w 8801100"/>
                  <a:gd name="connsiteY262" fmla="*/ 1340644 h 4305300"/>
                  <a:gd name="connsiteX263" fmla="*/ 8170069 w 8801100"/>
                  <a:gd name="connsiteY263" fmla="*/ 1340643 h 4305300"/>
                  <a:gd name="connsiteX264" fmla="*/ 8117681 w 8801100"/>
                  <a:gd name="connsiteY264" fmla="*/ 1378744 h 4305300"/>
                  <a:gd name="connsiteX265" fmla="*/ 8067675 w 8801100"/>
                  <a:gd name="connsiteY265" fmla="*/ 1457325 h 4305300"/>
                  <a:gd name="connsiteX266" fmla="*/ 8084344 w 8801100"/>
                  <a:gd name="connsiteY266" fmla="*/ 1478756 h 4305300"/>
                  <a:gd name="connsiteX267" fmla="*/ 8039100 w 8801100"/>
                  <a:gd name="connsiteY267" fmla="*/ 1528762 h 4305300"/>
                  <a:gd name="connsiteX268" fmla="*/ 7889081 w 8801100"/>
                  <a:gd name="connsiteY268" fmla="*/ 1452562 h 4305300"/>
                  <a:gd name="connsiteX269" fmla="*/ 7798594 w 8801100"/>
                  <a:gd name="connsiteY269" fmla="*/ 1488281 h 4305300"/>
                  <a:gd name="connsiteX270" fmla="*/ 7724775 w 8801100"/>
                  <a:gd name="connsiteY270" fmla="*/ 1485900 h 4305300"/>
                  <a:gd name="connsiteX271" fmla="*/ 7667625 w 8801100"/>
                  <a:gd name="connsiteY271" fmla="*/ 1581150 h 4305300"/>
                  <a:gd name="connsiteX272" fmla="*/ 7529513 w 8801100"/>
                  <a:gd name="connsiteY272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1200150 w 8801100"/>
                  <a:gd name="connsiteY122" fmla="*/ 419100 h 4305300"/>
                  <a:gd name="connsiteX123" fmla="*/ 2381 w 8801100"/>
                  <a:gd name="connsiteY123" fmla="*/ 1490661 h 4305300"/>
                  <a:gd name="connsiteX124" fmla="*/ 0 w 8801100"/>
                  <a:gd name="connsiteY124" fmla="*/ 709613 h 4305300"/>
                  <a:gd name="connsiteX125" fmla="*/ 76200 w 8801100"/>
                  <a:gd name="connsiteY125" fmla="*/ 692944 h 4305300"/>
                  <a:gd name="connsiteX126" fmla="*/ 119063 w 8801100"/>
                  <a:gd name="connsiteY126" fmla="*/ 721519 h 4305300"/>
                  <a:gd name="connsiteX127" fmla="*/ 215900 w 8801100"/>
                  <a:gd name="connsiteY127" fmla="*/ 712788 h 4305300"/>
                  <a:gd name="connsiteX128" fmla="*/ 261938 w 8801100"/>
                  <a:gd name="connsiteY128" fmla="*/ 740568 h 4305300"/>
                  <a:gd name="connsiteX129" fmla="*/ 228600 w 8801100"/>
                  <a:gd name="connsiteY129" fmla="*/ 769144 h 4305300"/>
                  <a:gd name="connsiteX130" fmla="*/ 233363 w 8801100"/>
                  <a:gd name="connsiteY130" fmla="*/ 812006 h 4305300"/>
                  <a:gd name="connsiteX131" fmla="*/ 200025 w 8801100"/>
                  <a:gd name="connsiteY131" fmla="*/ 816769 h 4305300"/>
                  <a:gd name="connsiteX132" fmla="*/ 204788 w 8801100"/>
                  <a:gd name="connsiteY132" fmla="*/ 840581 h 4305300"/>
                  <a:gd name="connsiteX133" fmla="*/ 261937 w 8801100"/>
                  <a:gd name="connsiteY133" fmla="*/ 914400 h 4305300"/>
                  <a:gd name="connsiteX134" fmla="*/ 223838 w 8801100"/>
                  <a:gd name="connsiteY134" fmla="*/ 962025 h 4305300"/>
                  <a:gd name="connsiteX135" fmla="*/ 278606 w 8801100"/>
                  <a:gd name="connsiteY135" fmla="*/ 997744 h 4305300"/>
                  <a:gd name="connsiteX136" fmla="*/ 369094 w 8801100"/>
                  <a:gd name="connsiteY136" fmla="*/ 1085850 h 4305300"/>
                  <a:gd name="connsiteX137" fmla="*/ 371475 w 8801100"/>
                  <a:gd name="connsiteY137" fmla="*/ 1145381 h 4305300"/>
                  <a:gd name="connsiteX138" fmla="*/ 507206 w 8801100"/>
                  <a:gd name="connsiteY138" fmla="*/ 1278732 h 4305300"/>
                  <a:gd name="connsiteX139" fmla="*/ 561975 w 8801100"/>
                  <a:gd name="connsiteY139" fmla="*/ 1254919 h 4305300"/>
                  <a:gd name="connsiteX140" fmla="*/ 600075 w 8801100"/>
                  <a:gd name="connsiteY140" fmla="*/ 1281112 h 4305300"/>
                  <a:gd name="connsiteX141" fmla="*/ 614363 w 8801100"/>
                  <a:gd name="connsiteY141" fmla="*/ 1331118 h 4305300"/>
                  <a:gd name="connsiteX142" fmla="*/ 657225 w 8801100"/>
                  <a:gd name="connsiteY142" fmla="*/ 1366838 h 4305300"/>
                  <a:gd name="connsiteX143" fmla="*/ 697706 w 8801100"/>
                  <a:gd name="connsiteY143" fmla="*/ 1354931 h 4305300"/>
                  <a:gd name="connsiteX144" fmla="*/ 716756 w 8801100"/>
                  <a:gd name="connsiteY144" fmla="*/ 1412081 h 4305300"/>
                  <a:gd name="connsiteX145" fmla="*/ 764381 w 8801100"/>
                  <a:gd name="connsiteY145" fmla="*/ 1454944 h 4305300"/>
                  <a:gd name="connsiteX146" fmla="*/ 788194 w 8801100"/>
                  <a:gd name="connsiteY146" fmla="*/ 1557338 h 4305300"/>
                  <a:gd name="connsiteX147" fmla="*/ 785813 w 8801100"/>
                  <a:gd name="connsiteY147" fmla="*/ 1604963 h 4305300"/>
                  <a:gd name="connsiteX148" fmla="*/ 821531 w 8801100"/>
                  <a:gd name="connsiteY148" fmla="*/ 1704975 h 4305300"/>
                  <a:gd name="connsiteX149" fmla="*/ 866775 w 8801100"/>
                  <a:gd name="connsiteY149" fmla="*/ 1762125 h 4305300"/>
                  <a:gd name="connsiteX150" fmla="*/ 883443 w 8801100"/>
                  <a:gd name="connsiteY150" fmla="*/ 1919287 h 4305300"/>
                  <a:gd name="connsiteX151" fmla="*/ 850106 w 8801100"/>
                  <a:gd name="connsiteY151" fmla="*/ 1981200 h 4305300"/>
                  <a:gd name="connsiteX152" fmla="*/ 819150 w 8801100"/>
                  <a:gd name="connsiteY152" fmla="*/ 2057400 h 4305300"/>
                  <a:gd name="connsiteX153" fmla="*/ 833438 w 8801100"/>
                  <a:gd name="connsiteY153" fmla="*/ 2114550 h 4305300"/>
                  <a:gd name="connsiteX154" fmla="*/ 735806 w 8801100"/>
                  <a:gd name="connsiteY154" fmla="*/ 2221707 h 4305300"/>
                  <a:gd name="connsiteX155" fmla="*/ 692944 w 8801100"/>
                  <a:gd name="connsiteY155" fmla="*/ 2336006 h 4305300"/>
                  <a:gd name="connsiteX156" fmla="*/ 726281 w 8801100"/>
                  <a:gd name="connsiteY156" fmla="*/ 2376488 h 4305300"/>
                  <a:gd name="connsiteX157" fmla="*/ 709613 w 8801100"/>
                  <a:gd name="connsiteY157" fmla="*/ 2405063 h 4305300"/>
                  <a:gd name="connsiteX158" fmla="*/ 740569 w 8801100"/>
                  <a:gd name="connsiteY158" fmla="*/ 2462213 h 4305300"/>
                  <a:gd name="connsiteX159" fmla="*/ 769144 w 8801100"/>
                  <a:gd name="connsiteY159" fmla="*/ 2462213 h 4305300"/>
                  <a:gd name="connsiteX160" fmla="*/ 931069 w 8801100"/>
                  <a:gd name="connsiteY160" fmla="*/ 2564606 h 4305300"/>
                  <a:gd name="connsiteX161" fmla="*/ 1035844 w 8801100"/>
                  <a:gd name="connsiteY161" fmla="*/ 2562225 h 4305300"/>
                  <a:gd name="connsiteX162" fmla="*/ 1114425 w 8801100"/>
                  <a:gd name="connsiteY162" fmla="*/ 2616994 h 4305300"/>
                  <a:gd name="connsiteX163" fmla="*/ 1245393 w 8801100"/>
                  <a:gd name="connsiteY163" fmla="*/ 2619375 h 4305300"/>
                  <a:gd name="connsiteX164" fmla="*/ 1435893 w 8801100"/>
                  <a:gd name="connsiteY164" fmla="*/ 2688431 h 4305300"/>
                  <a:gd name="connsiteX165" fmla="*/ 1638300 w 8801100"/>
                  <a:gd name="connsiteY165" fmla="*/ 2838450 h 4305300"/>
                  <a:gd name="connsiteX166" fmla="*/ 1671637 w 8801100"/>
                  <a:gd name="connsiteY166" fmla="*/ 2905125 h 4305300"/>
                  <a:gd name="connsiteX167" fmla="*/ 1838325 w 8801100"/>
                  <a:gd name="connsiteY167" fmla="*/ 3031331 h 4305300"/>
                  <a:gd name="connsiteX168" fmla="*/ 1909763 w 8801100"/>
                  <a:gd name="connsiteY168" fmla="*/ 3026569 h 4305300"/>
                  <a:gd name="connsiteX169" fmla="*/ 1945482 w 8801100"/>
                  <a:gd name="connsiteY169" fmla="*/ 3050381 h 4305300"/>
                  <a:gd name="connsiteX170" fmla="*/ 1916906 w 8801100"/>
                  <a:gd name="connsiteY170" fmla="*/ 3090863 h 4305300"/>
                  <a:gd name="connsiteX171" fmla="*/ 1924050 w 8801100"/>
                  <a:gd name="connsiteY171" fmla="*/ 3143250 h 4305300"/>
                  <a:gd name="connsiteX172" fmla="*/ 1976438 w 8801100"/>
                  <a:gd name="connsiteY172" fmla="*/ 3169444 h 4305300"/>
                  <a:gd name="connsiteX173" fmla="*/ 2038350 w 8801100"/>
                  <a:gd name="connsiteY173" fmla="*/ 3393282 h 4305300"/>
                  <a:gd name="connsiteX174" fmla="*/ 2028825 w 8801100"/>
                  <a:gd name="connsiteY174" fmla="*/ 3457575 h 4305300"/>
                  <a:gd name="connsiteX175" fmla="*/ 2164556 w 8801100"/>
                  <a:gd name="connsiteY175" fmla="*/ 3624263 h 4305300"/>
                  <a:gd name="connsiteX176" fmla="*/ 2183606 w 8801100"/>
                  <a:gd name="connsiteY176" fmla="*/ 3674269 h 4305300"/>
                  <a:gd name="connsiteX177" fmla="*/ 2157413 w 8801100"/>
                  <a:gd name="connsiteY177" fmla="*/ 3693319 h 4305300"/>
                  <a:gd name="connsiteX178" fmla="*/ 2259806 w 8801100"/>
                  <a:gd name="connsiteY178" fmla="*/ 3702844 h 4305300"/>
                  <a:gd name="connsiteX179" fmla="*/ 2371725 w 8801100"/>
                  <a:gd name="connsiteY179" fmla="*/ 3690938 h 4305300"/>
                  <a:gd name="connsiteX180" fmla="*/ 2650331 w 8801100"/>
                  <a:gd name="connsiteY180" fmla="*/ 3774281 h 4305300"/>
                  <a:gd name="connsiteX181" fmla="*/ 3057525 w 8801100"/>
                  <a:gd name="connsiteY181" fmla="*/ 3855244 h 4305300"/>
                  <a:gd name="connsiteX182" fmla="*/ 3255169 w 8801100"/>
                  <a:gd name="connsiteY182" fmla="*/ 3824287 h 4305300"/>
                  <a:gd name="connsiteX183" fmla="*/ 3300413 w 8801100"/>
                  <a:gd name="connsiteY183" fmla="*/ 3836193 h 4305300"/>
                  <a:gd name="connsiteX184" fmla="*/ 3355181 w 8801100"/>
                  <a:gd name="connsiteY184" fmla="*/ 3812382 h 4305300"/>
                  <a:gd name="connsiteX185" fmla="*/ 3748087 w 8801100"/>
                  <a:gd name="connsiteY185" fmla="*/ 3902869 h 4305300"/>
                  <a:gd name="connsiteX186" fmla="*/ 3831432 w 8801100"/>
                  <a:gd name="connsiteY186" fmla="*/ 4000500 h 4305300"/>
                  <a:gd name="connsiteX187" fmla="*/ 3950494 w 8801100"/>
                  <a:gd name="connsiteY187" fmla="*/ 4071938 h 4305300"/>
                  <a:gd name="connsiteX188" fmla="*/ 4010025 w 8801100"/>
                  <a:gd name="connsiteY188" fmla="*/ 4055269 h 4305300"/>
                  <a:gd name="connsiteX189" fmla="*/ 4360068 w 8801100"/>
                  <a:gd name="connsiteY189" fmla="*/ 4229100 h 4305300"/>
                  <a:gd name="connsiteX190" fmla="*/ 4586288 w 8801100"/>
                  <a:gd name="connsiteY190" fmla="*/ 4200525 h 4305300"/>
                  <a:gd name="connsiteX191" fmla="*/ 4595813 w 8801100"/>
                  <a:gd name="connsiteY191" fmla="*/ 4279106 h 4305300"/>
                  <a:gd name="connsiteX192" fmla="*/ 4681538 w 8801100"/>
                  <a:gd name="connsiteY192" fmla="*/ 4274343 h 4305300"/>
                  <a:gd name="connsiteX193" fmla="*/ 4760119 w 8801100"/>
                  <a:gd name="connsiteY193" fmla="*/ 4305300 h 4305300"/>
                  <a:gd name="connsiteX194" fmla="*/ 4802981 w 8801100"/>
                  <a:gd name="connsiteY194" fmla="*/ 4245769 h 4305300"/>
                  <a:gd name="connsiteX195" fmla="*/ 5474494 w 8801100"/>
                  <a:gd name="connsiteY195" fmla="*/ 3926681 h 4305300"/>
                  <a:gd name="connsiteX196" fmla="*/ 5562600 w 8801100"/>
                  <a:gd name="connsiteY196" fmla="*/ 3955257 h 4305300"/>
                  <a:gd name="connsiteX197" fmla="*/ 5693569 w 8801100"/>
                  <a:gd name="connsiteY197" fmla="*/ 3926681 h 4305300"/>
                  <a:gd name="connsiteX198" fmla="*/ 5872162 w 8801100"/>
                  <a:gd name="connsiteY198" fmla="*/ 3943350 h 4305300"/>
                  <a:gd name="connsiteX199" fmla="*/ 5929313 w 8801100"/>
                  <a:gd name="connsiteY199" fmla="*/ 3917157 h 4305300"/>
                  <a:gd name="connsiteX200" fmla="*/ 6062662 w 8801100"/>
                  <a:gd name="connsiteY200" fmla="*/ 3914775 h 4305300"/>
                  <a:gd name="connsiteX201" fmla="*/ 6196012 w 8801100"/>
                  <a:gd name="connsiteY201" fmla="*/ 3817144 h 4305300"/>
                  <a:gd name="connsiteX202" fmla="*/ 6262687 w 8801100"/>
                  <a:gd name="connsiteY202" fmla="*/ 3810000 h 4305300"/>
                  <a:gd name="connsiteX203" fmla="*/ 6360319 w 8801100"/>
                  <a:gd name="connsiteY203" fmla="*/ 3736181 h 4305300"/>
                  <a:gd name="connsiteX204" fmla="*/ 6434138 w 8801100"/>
                  <a:gd name="connsiteY204" fmla="*/ 3667125 h 4305300"/>
                  <a:gd name="connsiteX205" fmla="*/ 6443663 w 8801100"/>
                  <a:gd name="connsiteY205" fmla="*/ 3605213 h 4305300"/>
                  <a:gd name="connsiteX206" fmla="*/ 6477000 w 8801100"/>
                  <a:gd name="connsiteY206" fmla="*/ 3536156 h 4305300"/>
                  <a:gd name="connsiteX207" fmla="*/ 6629400 w 8801100"/>
                  <a:gd name="connsiteY207" fmla="*/ 3429000 h 4305300"/>
                  <a:gd name="connsiteX208" fmla="*/ 6662738 w 8801100"/>
                  <a:gd name="connsiteY208" fmla="*/ 3433763 h 4305300"/>
                  <a:gd name="connsiteX209" fmla="*/ 6715125 w 8801100"/>
                  <a:gd name="connsiteY209" fmla="*/ 3355181 h 4305300"/>
                  <a:gd name="connsiteX210" fmla="*/ 6762750 w 8801100"/>
                  <a:gd name="connsiteY210" fmla="*/ 3317081 h 4305300"/>
                  <a:gd name="connsiteX211" fmla="*/ 6748463 w 8801100"/>
                  <a:gd name="connsiteY211" fmla="*/ 3248025 h 4305300"/>
                  <a:gd name="connsiteX212" fmla="*/ 6698456 w 8801100"/>
                  <a:gd name="connsiteY212" fmla="*/ 3217068 h 4305300"/>
                  <a:gd name="connsiteX213" fmla="*/ 6638925 w 8801100"/>
                  <a:gd name="connsiteY213" fmla="*/ 3162300 h 4305300"/>
                  <a:gd name="connsiteX214" fmla="*/ 6619875 w 8801100"/>
                  <a:gd name="connsiteY214" fmla="*/ 3105150 h 4305300"/>
                  <a:gd name="connsiteX215" fmla="*/ 6584156 w 8801100"/>
                  <a:gd name="connsiteY215" fmla="*/ 3071813 h 4305300"/>
                  <a:gd name="connsiteX216" fmla="*/ 6610350 w 8801100"/>
                  <a:gd name="connsiteY216" fmla="*/ 3019425 h 4305300"/>
                  <a:gd name="connsiteX217" fmla="*/ 6650831 w 8801100"/>
                  <a:gd name="connsiteY217" fmla="*/ 2840831 h 4305300"/>
                  <a:gd name="connsiteX218" fmla="*/ 6691313 w 8801100"/>
                  <a:gd name="connsiteY218" fmla="*/ 2774156 h 4305300"/>
                  <a:gd name="connsiteX219" fmla="*/ 6836569 w 8801100"/>
                  <a:gd name="connsiteY219" fmla="*/ 2757487 h 4305300"/>
                  <a:gd name="connsiteX220" fmla="*/ 6905625 w 8801100"/>
                  <a:gd name="connsiteY220" fmla="*/ 2814638 h 4305300"/>
                  <a:gd name="connsiteX221" fmla="*/ 6981825 w 8801100"/>
                  <a:gd name="connsiteY221" fmla="*/ 2838450 h 4305300"/>
                  <a:gd name="connsiteX222" fmla="*/ 7186612 w 8801100"/>
                  <a:gd name="connsiteY222" fmla="*/ 2843213 h 4305300"/>
                  <a:gd name="connsiteX223" fmla="*/ 7362825 w 8801100"/>
                  <a:gd name="connsiteY223" fmla="*/ 2705100 h 4305300"/>
                  <a:gd name="connsiteX224" fmla="*/ 7419975 w 8801100"/>
                  <a:gd name="connsiteY224" fmla="*/ 2614612 h 4305300"/>
                  <a:gd name="connsiteX225" fmla="*/ 7446169 w 8801100"/>
                  <a:gd name="connsiteY225" fmla="*/ 2531269 h 4305300"/>
                  <a:gd name="connsiteX226" fmla="*/ 7577137 w 8801100"/>
                  <a:gd name="connsiteY226" fmla="*/ 2531269 h 4305300"/>
                  <a:gd name="connsiteX227" fmla="*/ 7750969 w 8801100"/>
                  <a:gd name="connsiteY227" fmla="*/ 2474118 h 4305300"/>
                  <a:gd name="connsiteX228" fmla="*/ 7810500 w 8801100"/>
                  <a:gd name="connsiteY228" fmla="*/ 2362200 h 4305300"/>
                  <a:gd name="connsiteX229" fmla="*/ 7874794 w 8801100"/>
                  <a:gd name="connsiteY229" fmla="*/ 2326481 h 4305300"/>
                  <a:gd name="connsiteX230" fmla="*/ 7853363 w 8801100"/>
                  <a:gd name="connsiteY230" fmla="*/ 2281238 h 4305300"/>
                  <a:gd name="connsiteX231" fmla="*/ 7931944 w 8801100"/>
                  <a:gd name="connsiteY231" fmla="*/ 2112168 h 4305300"/>
                  <a:gd name="connsiteX232" fmla="*/ 7986713 w 8801100"/>
                  <a:gd name="connsiteY232" fmla="*/ 2052638 h 4305300"/>
                  <a:gd name="connsiteX233" fmla="*/ 8024813 w 8801100"/>
                  <a:gd name="connsiteY233" fmla="*/ 2047875 h 4305300"/>
                  <a:gd name="connsiteX234" fmla="*/ 8070056 w 8801100"/>
                  <a:gd name="connsiteY234" fmla="*/ 2052638 h 4305300"/>
                  <a:gd name="connsiteX235" fmla="*/ 8134350 w 8801100"/>
                  <a:gd name="connsiteY235" fmla="*/ 2019300 h 4305300"/>
                  <a:gd name="connsiteX236" fmla="*/ 8143875 w 8801100"/>
                  <a:gd name="connsiteY236" fmla="*/ 1955006 h 4305300"/>
                  <a:gd name="connsiteX237" fmla="*/ 8184355 w 8801100"/>
                  <a:gd name="connsiteY237" fmla="*/ 1919288 h 4305300"/>
                  <a:gd name="connsiteX238" fmla="*/ 8243888 w 8801100"/>
                  <a:gd name="connsiteY238" fmla="*/ 1959768 h 4305300"/>
                  <a:gd name="connsiteX239" fmla="*/ 8270082 w 8801100"/>
                  <a:gd name="connsiteY239" fmla="*/ 1909762 h 4305300"/>
                  <a:gd name="connsiteX240" fmla="*/ 8365331 w 8801100"/>
                  <a:gd name="connsiteY240" fmla="*/ 1840706 h 4305300"/>
                  <a:gd name="connsiteX241" fmla="*/ 8427244 w 8801100"/>
                  <a:gd name="connsiteY241" fmla="*/ 1847850 h 4305300"/>
                  <a:gd name="connsiteX242" fmla="*/ 8477250 w 8801100"/>
                  <a:gd name="connsiteY242" fmla="*/ 1828800 h 4305300"/>
                  <a:gd name="connsiteX243" fmla="*/ 8515350 w 8801100"/>
                  <a:gd name="connsiteY243" fmla="*/ 1800225 h 4305300"/>
                  <a:gd name="connsiteX244" fmla="*/ 8548688 w 8801100"/>
                  <a:gd name="connsiteY244" fmla="*/ 1797844 h 4305300"/>
                  <a:gd name="connsiteX245" fmla="*/ 8584406 w 8801100"/>
                  <a:gd name="connsiteY245" fmla="*/ 1828800 h 4305300"/>
                  <a:gd name="connsiteX246" fmla="*/ 8643938 w 8801100"/>
                  <a:gd name="connsiteY246" fmla="*/ 1828800 h 4305300"/>
                  <a:gd name="connsiteX247" fmla="*/ 8682037 w 8801100"/>
                  <a:gd name="connsiteY247" fmla="*/ 1809750 h 4305300"/>
                  <a:gd name="connsiteX248" fmla="*/ 8765381 w 8801100"/>
                  <a:gd name="connsiteY248" fmla="*/ 1812132 h 4305300"/>
                  <a:gd name="connsiteX249" fmla="*/ 8796338 w 8801100"/>
                  <a:gd name="connsiteY249" fmla="*/ 1766888 h 4305300"/>
                  <a:gd name="connsiteX250" fmla="*/ 8801100 w 8801100"/>
                  <a:gd name="connsiteY250" fmla="*/ 1704975 h 4305300"/>
                  <a:gd name="connsiteX251" fmla="*/ 8751093 w 8801100"/>
                  <a:gd name="connsiteY251" fmla="*/ 1664494 h 4305300"/>
                  <a:gd name="connsiteX252" fmla="*/ 8734425 w 8801100"/>
                  <a:gd name="connsiteY252" fmla="*/ 1609725 h 4305300"/>
                  <a:gd name="connsiteX253" fmla="*/ 8643938 w 8801100"/>
                  <a:gd name="connsiteY253" fmla="*/ 1547813 h 4305300"/>
                  <a:gd name="connsiteX254" fmla="*/ 8603456 w 8801100"/>
                  <a:gd name="connsiteY254" fmla="*/ 1526381 h 4305300"/>
                  <a:gd name="connsiteX255" fmla="*/ 8565356 w 8801100"/>
                  <a:gd name="connsiteY255" fmla="*/ 1481138 h 4305300"/>
                  <a:gd name="connsiteX256" fmla="*/ 8534400 w 8801100"/>
                  <a:gd name="connsiteY256" fmla="*/ 1478756 h 4305300"/>
                  <a:gd name="connsiteX257" fmla="*/ 8517731 w 8801100"/>
                  <a:gd name="connsiteY257" fmla="*/ 1426369 h 4305300"/>
                  <a:gd name="connsiteX258" fmla="*/ 8477250 w 8801100"/>
                  <a:gd name="connsiteY258" fmla="*/ 1409700 h 4305300"/>
                  <a:gd name="connsiteX259" fmla="*/ 8477250 w 8801100"/>
                  <a:gd name="connsiteY259" fmla="*/ 1409700 h 4305300"/>
                  <a:gd name="connsiteX260" fmla="*/ 8436769 w 8801100"/>
                  <a:gd name="connsiteY260" fmla="*/ 1414463 h 4305300"/>
                  <a:gd name="connsiteX261" fmla="*/ 8351043 w 8801100"/>
                  <a:gd name="connsiteY261" fmla="*/ 1340644 h 4305300"/>
                  <a:gd name="connsiteX262" fmla="*/ 8170069 w 8801100"/>
                  <a:gd name="connsiteY262" fmla="*/ 1340643 h 4305300"/>
                  <a:gd name="connsiteX263" fmla="*/ 8117681 w 8801100"/>
                  <a:gd name="connsiteY263" fmla="*/ 1378744 h 4305300"/>
                  <a:gd name="connsiteX264" fmla="*/ 8067675 w 8801100"/>
                  <a:gd name="connsiteY264" fmla="*/ 1457325 h 4305300"/>
                  <a:gd name="connsiteX265" fmla="*/ 8084344 w 8801100"/>
                  <a:gd name="connsiteY265" fmla="*/ 1478756 h 4305300"/>
                  <a:gd name="connsiteX266" fmla="*/ 8039100 w 8801100"/>
                  <a:gd name="connsiteY266" fmla="*/ 1528762 h 4305300"/>
                  <a:gd name="connsiteX267" fmla="*/ 7889081 w 8801100"/>
                  <a:gd name="connsiteY267" fmla="*/ 1452562 h 4305300"/>
                  <a:gd name="connsiteX268" fmla="*/ 7798594 w 8801100"/>
                  <a:gd name="connsiteY268" fmla="*/ 1488281 h 4305300"/>
                  <a:gd name="connsiteX269" fmla="*/ 7724775 w 8801100"/>
                  <a:gd name="connsiteY269" fmla="*/ 1485900 h 4305300"/>
                  <a:gd name="connsiteX270" fmla="*/ 7667625 w 8801100"/>
                  <a:gd name="connsiteY270" fmla="*/ 1581150 h 4305300"/>
                  <a:gd name="connsiteX271" fmla="*/ 7529513 w 8801100"/>
                  <a:gd name="connsiteY271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1273969 w 8801100"/>
                  <a:gd name="connsiteY121" fmla="*/ 407193 h 4305300"/>
                  <a:gd name="connsiteX122" fmla="*/ 2381 w 8801100"/>
                  <a:gd name="connsiteY122" fmla="*/ 1490661 h 4305300"/>
                  <a:gd name="connsiteX123" fmla="*/ 0 w 8801100"/>
                  <a:gd name="connsiteY123" fmla="*/ 709613 h 4305300"/>
                  <a:gd name="connsiteX124" fmla="*/ 76200 w 8801100"/>
                  <a:gd name="connsiteY124" fmla="*/ 692944 h 4305300"/>
                  <a:gd name="connsiteX125" fmla="*/ 119063 w 8801100"/>
                  <a:gd name="connsiteY125" fmla="*/ 721519 h 4305300"/>
                  <a:gd name="connsiteX126" fmla="*/ 215900 w 8801100"/>
                  <a:gd name="connsiteY126" fmla="*/ 712788 h 4305300"/>
                  <a:gd name="connsiteX127" fmla="*/ 261938 w 8801100"/>
                  <a:gd name="connsiteY127" fmla="*/ 740568 h 4305300"/>
                  <a:gd name="connsiteX128" fmla="*/ 228600 w 8801100"/>
                  <a:gd name="connsiteY128" fmla="*/ 769144 h 4305300"/>
                  <a:gd name="connsiteX129" fmla="*/ 233363 w 8801100"/>
                  <a:gd name="connsiteY129" fmla="*/ 812006 h 4305300"/>
                  <a:gd name="connsiteX130" fmla="*/ 200025 w 8801100"/>
                  <a:gd name="connsiteY130" fmla="*/ 816769 h 4305300"/>
                  <a:gd name="connsiteX131" fmla="*/ 204788 w 8801100"/>
                  <a:gd name="connsiteY131" fmla="*/ 840581 h 4305300"/>
                  <a:gd name="connsiteX132" fmla="*/ 261937 w 8801100"/>
                  <a:gd name="connsiteY132" fmla="*/ 914400 h 4305300"/>
                  <a:gd name="connsiteX133" fmla="*/ 223838 w 8801100"/>
                  <a:gd name="connsiteY133" fmla="*/ 962025 h 4305300"/>
                  <a:gd name="connsiteX134" fmla="*/ 278606 w 8801100"/>
                  <a:gd name="connsiteY134" fmla="*/ 997744 h 4305300"/>
                  <a:gd name="connsiteX135" fmla="*/ 369094 w 8801100"/>
                  <a:gd name="connsiteY135" fmla="*/ 1085850 h 4305300"/>
                  <a:gd name="connsiteX136" fmla="*/ 371475 w 8801100"/>
                  <a:gd name="connsiteY136" fmla="*/ 1145381 h 4305300"/>
                  <a:gd name="connsiteX137" fmla="*/ 507206 w 8801100"/>
                  <a:gd name="connsiteY137" fmla="*/ 1278732 h 4305300"/>
                  <a:gd name="connsiteX138" fmla="*/ 561975 w 8801100"/>
                  <a:gd name="connsiteY138" fmla="*/ 1254919 h 4305300"/>
                  <a:gd name="connsiteX139" fmla="*/ 600075 w 8801100"/>
                  <a:gd name="connsiteY139" fmla="*/ 1281112 h 4305300"/>
                  <a:gd name="connsiteX140" fmla="*/ 614363 w 8801100"/>
                  <a:gd name="connsiteY140" fmla="*/ 1331118 h 4305300"/>
                  <a:gd name="connsiteX141" fmla="*/ 657225 w 8801100"/>
                  <a:gd name="connsiteY141" fmla="*/ 1366838 h 4305300"/>
                  <a:gd name="connsiteX142" fmla="*/ 697706 w 8801100"/>
                  <a:gd name="connsiteY142" fmla="*/ 1354931 h 4305300"/>
                  <a:gd name="connsiteX143" fmla="*/ 716756 w 8801100"/>
                  <a:gd name="connsiteY143" fmla="*/ 1412081 h 4305300"/>
                  <a:gd name="connsiteX144" fmla="*/ 764381 w 8801100"/>
                  <a:gd name="connsiteY144" fmla="*/ 1454944 h 4305300"/>
                  <a:gd name="connsiteX145" fmla="*/ 788194 w 8801100"/>
                  <a:gd name="connsiteY145" fmla="*/ 1557338 h 4305300"/>
                  <a:gd name="connsiteX146" fmla="*/ 785813 w 8801100"/>
                  <a:gd name="connsiteY146" fmla="*/ 1604963 h 4305300"/>
                  <a:gd name="connsiteX147" fmla="*/ 821531 w 8801100"/>
                  <a:gd name="connsiteY147" fmla="*/ 1704975 h 4305300"/>
                  <a:gd name="connsiteX148" fmla="*/ 866775 w 8801100"/>
                  <a:gd name="connsiteY148" fmla="*/ 1762125 h 4305300"/>
                  <a:gd name="connsiteX149" fmla="*/ 883443 w 8801100"/>
                  <a:gd name="connsiteY149" fmla="*/ 1919287 h 4305300"/>
                  <a:gd name="connsiteX150" fmla="*/ 850106 w 8801100"/>
                  <a:gd name="connsiteY150" fmla="*/ 1981200 h 4305300"/>
                  <a:gd name="connsiteX151" fmla="*/ 819150 w 8801100"/>
                  <a:gd name="connsiteY151" fmla="*/ 2057400 h 4305300"/>
                  <a:gd name="connsiteX152" fmla="*/ 833438 w 8801100"/>
                  <a:gd name="connsiteY152" fmla="*/ 2114550 h 4305300"/>
                  <a:gd name="connsiteX153" fmla="*/ 735806 w 8801100"/>
                  <a:gd name="connsiteY153" fmla="*/ 2221707 h 4305300"/>
                  <a:gd name="connsiteX154" fmla="*/ 692944 w 8801100"/>
                  <a:gd name="connsiteY154" fmla="*/ 2336006 h 4305300"/>
                  <a:gd name="connsiteX155" fmla="*/ 726281 w 8801100"/>
                  <a:gd name="connsiteY155" fmla="*/ 2376488 h 4305300"/>
                  <a:gd name="connsiteX156" fmla="*/ 709613 w 8801100"/>
                  <a:gd name="connsiteY156" fmla="*/ 2405063 h 4305300"/>
                  <a:gd name="connsiteX157" fmla="*/ 740569 w 8801100"/>
                  <a:gd name="connsiteY157" fmla="*/ 2462213 h 4305300"/>
                  <a:gd name="connsiteX158" fmla="*/ 769144 w 8801100"/>
                  <a:gd name="connsiteY158" fmla="*/ 2462213 h 4305300"/>
                  <a:gd name="connsiteX159" fmla="*/ 931069 w 8801100"/>
                  <a:gd name="connsiteY159" fmla="*/ 2564606 h 4305300"/>
                  <a:gd name="connsiteX160" fmla="*/ 1035844 w 8801100"/>
                  <a:gd name="connsiteY160" fmla="*/ 2562225 h 4305300"/>
                  <a:gd name="connsiteX161" fmla="*/ 1114425 w 8801100"/>
                  <a:gd name="connsiteY161" fmla="*/ 2616994 h 4305300"/>
                  <a:gd name="connsiteX162" fmla="*/ 1245393 w 8801100"/>
                  <a:gd name="connsiteY162" fmla="*/ 2619375 h 4305300"/>
                  <a:gd name="connsiteX163" fmla="*/ 1435893 w 8801100"/>
                  <a:gd name="connsiteY163" fmla="*/ 2688431 h 4305300"/>
                  <a:gd name="connsiteX164" fmla="*/ 1638300 w 8801100"/>
                  <a:gd name="connsiteY164" fmla="*/ 2838450 h 4305300"/>
                  <a:gd name="connsiteX165" fmla="*/ 1671637 w 8801100"/>
                  <a:gd name="connsiteY165" fmla="*/ 2905125 h 4305300"/>
                  <a:gd name="connsiteX166" fmla="*/ 1838325 w 8801100"/>
                  <a:gd name="connsiteY166" fmla="*/ 3031331 h 4305300"/>
                  <a:gd name="connsiteX167" fmla="*/ 1909763 w 8801100"/>
                  <a:gd name="connsiteY167" fmla="*/ 3026569 h 4305300"/>
                  <a:gd name="connsiteX168" fmla="*/ 1945482 w 8801100"/>
                  <a:gd name="connsiteY168" fmla="*/ 3050381 h 4305300"/>
                  <a:gd name="connsiteX169" fmla="*/ 1916906 w 8801100"/>
                  <a:gd name="connsiteY169" fmla="*/ 3090863 h 4305300"/>
                  <a:gd name="connsiteX170" fmla="*/ 1924050 w 8801100"/>
                  <a:gd name="connsiteY170" fmla="*/ 3143250 h 4305300"/>
                  <a:gd name="connsiteX171" fmla="*/ 1976438 w 8801100"/>
                  <a:gd name="connsiteY171" fmla="*/ 3169444 h 4305300"/>
                  <a:gd name="connsiteX172" fmla="*/ 2038350 w 8801100"/>
                  <a:gd name="connsiteY172" fmla="*/ 3393282 h 4305300"/>
                  <a:gd name="connsiteX173" fmla="*/ 2028825 w 8801100"/>
                  <a:gd name="connsiteY173" fmla="*/ 3457575 h 4305300"/>
                  <a:gd name="connsiteX174" fmla="*/ 2164556 w 8801100"/>
                  <a:gd name="connsiteY174" fmla="*/ 3624263 h 4305300"/>
                  <a:gd name="connsiteX175" fmla="*/ 2183606 w 8801100"/>
                  <a:gd name="connsiteY175" fmla="*/ 3674269 h 4305300"/>
                  <a:gd name="connsiteX176" fmla="*/ 2157413 w 8801100"/>
                  <a:gd name="connsiteY176" fmla="*/ 3693319 h 4305300"/>
                  <a:gd name="connsiteX177" fmla="*/ 2259806 w 8801100"/>
                  <a:gd name="connsiteY177" fmla="*/ 3702844 h 4305300"/>
                  <a:gd name="connsiteX178" fmla="*/ 2371725 w 8801100"/>
                  <a:gd name="connsiteY178" fmla="*/ 3690938 h 4305300"/>
                  <a:gd name="connsiteX179" fmla="*/ 2650331 w 8801100"/>
                  <a:gd name="connsiteY179" fmla="*/ 3774281 h 4305300"/>
                  <a:gd name="connsiteX180" fmla="*/ 3057525 w 8801100"/>
                  <a:gd name="connsiteY180" fmla="*/ 3855244 h 4305300"/>
                  <a:gd name="connsiteX181" fmla="*/ 3255169 w 8801100"/>
                  <a:gd name="connsiteY181" fmla="*/ 3824287 h 4305300"/>
                  <a:gd name="connsiteX182" fmla="*/ 3300413 w 8801100"/>
                  <a:gd name="connsiteY182" fmla="*/ 3836193 h 4305300"/>
                  <a:gd name="connsiteX183" fmla="*/ 3355181 w 8801100"/>
                  <a:gd name="connsiteY183" fmla="*/ 3812382 h 4305300"/>
                  <a:gd name="connsiteX184" fmla="*/ 3748087 w 8801100"/>
                  <a:gd name="connsiteY184" fmla="*/ 3902869 h 4305300"/>
                  <a:gd name="connsiteX185" fmla="*/ 3831432 w 8801100"/>
                  <a:gd name="connsiteY185" fmla="*/ 4000500 h 4305300"/>
                  <a:gd name="connsiteX186" fmla="*/ 3950494 w 8801100"/>
                  <a:gd name="connsiteY186" fmla="*/ 4071938 h 4305300"/>
                  <a:gd name="connsiteX187" fmla="*/ 4010025 w 8801100"/>
                  <a:gd name="connsiteY187" fmla="*/ 4055269 h 4305300"/>
                  <a:gd name="connsiteX188" fmla="*/ 4360068 w 8801100"/>
                  <a:gd name="connsiteY188" fmla="*/ 4229100 h 4305300"/>
                  <a:gd name="connsiteX189" fmla="*/ 4586288 w 8801100"/>
                  <a:gd name="connsiteY189" fmla="*/ 4200525 h 4305300"/>
                  <a:gd name="connsiteX190" fmla="*/ 4595813 w 8801100"/>
                  <a:gd name="connsiteY190" fmla="*/ 4279106 h 4305300"/>
                  <a:gd name="connsiteX191" fmla="*/ 4681538 w 8801100"/>
                  <a:gd name="connsiteY191" fmla="*/ 4274343 h 4305300"/>
                  <a:gd name="connsiteX192" fmla="*/ 4760119 w 8801100"/>
                  <a:gd name="connsiteY192" fmla="*/ 4305300 h 4305300"/>
                  <a:gd name="connsiteX193" fmla="*/ 4802981 w 8801100"/>
                  <a:gd name="connsiteY193" fmla="*/ 4245769 h 4305300"/>
                  <a:gd name="connsiteX194" fmla="*/ 5474494 w 8801100"/>
                  <a:gd name="connsiteY194" fmla="*/ 3926681 h 4305300"/>
                  <a:gd name="connsiteX195" fmla="*/ 5562600 w 8801100"/>
                  <a:gd name="connsiteY195" fmla="*/ 3955257 h 4305300"/>
                  <a:gd name="connsiteX196" fmla="*/ 5693569 w 8801100"/>
                  <a:gd name="connsiteY196" fmla="*/ 3926681 h 4305300"/>
                  <a:gd name="connsiteX197" fmla="*/ 5872162 w 8801100"/>
                  <a:gd name="connsiteY197" fmla="*/ 3943350 h 4305300"/>
                  <a:gd name="connsiteX198" fmla="*/ 5929313 w 8801100"/>
                  <a:gd name="connsiteY198" fmla="*/ 3917157 h 4305300"/>
                  <a:gd name="connsiteX199" fmla="*/ 6062662 w 8801100"/>
                  <a:gd name="connsiteY199" fmla="*/ 3914775 h 4305300"/>
                  <a:gd name="connsiteX200" fmla="*/ 6196012 w 8801100"/>
                  <a:gd name="connsiteY200" fmla="*/ 3817144 h 4305300"/>
                  <a:gd name="connsiteX201" fmla="*/ 6262687 w 8801100"/>
                  <a:gd name="connsiteY201" fmla="*/ 3810000 h 4305300"/>
                  <a:gd name="connsiteX202" fmla="*/ 6360319 w 8801100"/>
                  <a:gd name="connsiteY202" fmla="*/ 3736181 h 4305300"/>
                  <a:gd name="connsiteX203" fmla="*/ 6434138 w 8801100"/>
                  <a:gd name="connsiteY203" fmla="*/ 3667125 h 4305300"/>
                  <a:gd name="connsiteX204" fmla="*/ 6443663 w 8801100"/>
                  <a:gd name="connsiteY204" fmla="*/ 3605213 h 4305300"/>
                  <a:gd name="connsiteX205" fmla="*/ 6477000 w 8801100"/>
                  <a:gd name="connsiteY205" fmla="*/ 3536156 h 4305300"/>
                  <a:gd name="connsiteX206" fmla="*/ 6629400 w 8801100"/>
                  <a:gd name="connsiteY206" fmla="*/ 3429000 h 4305300"/>
                  <a:gd name="connsiteX207" fmla="*/ 6662738 w 8801100"/>
                  <a:gd name="connsiteY207" fmla="*/ 3433763 h 4305300"/>
                  <a:gd name="connsiteX208" fmla="*/ 6715125 w 8801100"/>
                  <a:gd name="connsiteY208" fmla="*/ 3355181 h 4305300"/>
                  <a:gd name="connsiteX209" fmla="*/ 6762750 w 8801100"/>
                  <a:gd name="connsiteY209" fmla="*/ 3317081 h 4305300"/>
                  <a:gd name="connsiteX210" fmla="*/ 6748463 w 8801100"/>
                  <a:gd name="connsiteY210" fmla="*/ 3248025 h 4305300"/>
                  <a:gd name="connsiteX211" fmla="*/ 6698456 w 8801100"/>
                  <a:gd name="connsiteY211" fmla="*/ 3217068 h 4305300"/>
                  <a:gd name="connsiteX212" fmla="*/ 6638925 w 8801100"/>
                  <a:gd name="connsiteY212" fmla="*/ 3162300 h 4305300"/>
                  <a:gd name="connsiteX213" fmla="*/ 6619875 w 8801100"/>
                  <a:gd name="connsiteY213" fmla="*/ 3105150 h 4305300"/>
                  <a:gd name="connsiteX214" fmla="*/ 6584156 w 8801100"/>
                  <a:gd name="connsiteY214" fmla="*/ 3071813 h 4305300"/>
                  <a:gd name="connsiteX215" fmla="*/ 6610350 w 8801100"/>
                  <a:gd name="connsiteY215" fmla="*/ 3019425 h 4305300"/>
                  <a:gd name="connsiteX216" fmla="*/ 6650831 w 8801100"/>
                  <a:gd name="connsiteY216" fmla="*/ 2840831 h 4305300"/>
                  <a:gd name="connsiteX217" fmla="*/ 6691313 w 8801100"/>
                  <a:gd name="connsiteY217" fmla="*/ 2774156 h 4305300"/>
                  <a:gd name="connsiteX218" fmla="*/ 6836569 w 8801100"/>
                  <a:gd name="connsiteY218" fmla="*/ 2757487 h 4305300"/>
                  <a:gd name="connsiteX219" fmla="*/ 6905625 w 8801100"/>
                  <a:gd name="connsiteY219" fmla="*/ 2814638 h 4305300"/>
                  <a:gd name="connsiteX220" fmla="*/ 6981825 w 8801100"/>
                  <a:gd name="connsiteY220" fmla="*/ 2838450 h 4305300"/>
                  <a:gd name="connsiteX221" fmla="*/ 7186612 w 8801100"/>
                  <a:gd name="connsiteY221" fmla="*/ 2843213 h 4305300"/>
                  <a:gd name="connsiteX222" fmla="*/ 7362825 w 8801100"/>
                  <a:gd name="connsiteY222" fmla="*/ 2705100 h 4305300"/>
                  <a:gd name="connsiteX223" fmla="*/ 7419975 w 8801100"/>
                  <a:gd name="connsiteY223" fmla="*/ 2614612 h 4305300"/>
                  <a:gd name="connsiteX224" fmla="*/ 7446169 w 8801100"/>
                  <a:gd name="connsiteY224" fmla="*/ 2531269 h 4305300"/>
                  <a:gd name="connsiteX225" fmla="*/ 7577137 w 8801100"/>
                  <a:gd name="connsiteY225" fmla="*/ 2531269 h 4305300"/>
                  <a:gd name="connsiteX226" fmla="*/ 7750969 w 8801100"/>
                  <a:gd name="connsiteY226" fmla="*/ 2474118 h 4305300"/>
                  <a:gd name="connsiteX227" fmla="*/ 7810500 w 8801100"/>
                  <a:gd name="connsiteY227" fmla="*/ 2362200 h 4305300"/>
                  <a:gd name="connsiteX228" fmla="*/ 7874794 w 8801100"/>
                  <a:gd name="connsiteY228" fmla="*/ 2326481 h 4305300"/>
                  <a:gd name="connsiteX229" fmla="*/ 7853363 w 8801100"/>
                  <a:gd name="connsiteY229" fmla="*/ 2281238 h 4305300"/>
                  <a:gd name="connsiteX230" fmla="*/ 7931944 w 8801100"/>
                  <a:gd name="connsiteY230" fmla="*/ 2112168 h 4305300"/>
                  <a:gd name="connsiteX231" fmla="*/ 7986713 w 8801100"/>
                  <a:gd name="connsiteY231" fmla="*/ 2052638 h 4305300"/>
                  <a:gd name="connsiteX232" fmla="*/ 8024813 w 8801100"/>
                  <a:gd name="connsiteY232" fmla="*/ 2047875 h 4305300"/>
                  <a:gd name="connsiteX233" fmla="*/ 8070056 w 8801100"/>
                  <a:gd name="connsiteY233" fmla="*/ 2052638 h 4305300"/>
                  <a:gd name="connsiteX234" fmla="*/ 8134350 w 8801100"/>
                  <a:gd name="connsiteY234" fmla="*/ 2019300 h 4305300"/>
                  <a:gd name="connsiteX235" fmla="*/ 8143875 w 8801100"/>
                  <a:gd name="connsiteY235" fmla="*/ 1955006 h 4305300"/>
                  <a:gd name="connsiteX236" fmla="*/ 8184355 w 8801100"/>
                  <a:gd name="connsiteY236" fmla="*/ 1919288 h 4305300"/>
                  <a:gd name="connsiteX237" fmla="*/ 8243888 w 8801100"/>
                  <a:gd name="connsiteY237" fmla="*/ 1959768 h 4305300"/>
                  <a:gd name="connsiteX238" fmla="*/ 8270082 w 8801100"/>
                  <a:gd name="connsiteY238" fmla="*/ 1909762 h 4305300"/>
                  <a:gd name="connsiteX239" fmla="*/ 8365331 w 8801100"/>
                  <a:gd name="connsiteY239" fmla="*/ 1840706 h 4305300"/>
                  <a:gd name="connsiteX240" fmla="*/ 8427244 w 8801100"/>
                  <a:gd name="connsiteY240" fmla="*/ 1847850 h 4305300"/>
                  <a:gd name="connsiteX241" fmla="*/ 8477250 w 8801100"/>
                  <a:gd name="connsiteY241" fmla="*/ 1828800 h 4305300"/>
                  <a:gd name="connsiteX242" fmla="*/ 8515350 w 8801100"/>
                  <a:gd name="connsiteY242" fmla="*/ 1800225 h 4305300"/>
                  <a:gd name="connsiteX243" fmla="*/ 8548688 w 8801100"/>
                  <a:gd name="connsiteY243" fmla="*/ 1797844 h 4305300"/>
                  <a:gd name="connsiteX244" fmla="*/ 8584406 w 8801100"/>
                  <a:gd name="connsiteY244" fmla="*/ 1828800 h 4305300"/>
                  <a:gd name="connsiteX245" fmla="*/ 8643938 w 8801100"/>
                  <a:gd name="connsiteY245" fmla="*/ 1828800 h 4305300"/>
                  <a:gd name="connsiteX246" fmla="*/ 8682037 w 8801100"/>
                  <a:gd name="connsiteY246" fmla="*/ 1809750 h 4305300"/>
                  <a:gd name="connsiteX247" fmla="*/ 8765381 w 8801100"/>
                  <a:gd name="connsiteY247" fmla="*/ 1812132 h 4305300"/>
                  <a:gd name="connsiteX248" fmla="*/ 8796338 w 8801100"/>
                  <a:gd name="connsiteY248" fmla="*/ 1766888 h 4305300"/>
                  <a:gd name="connsiteX249" fmla="*/ 8801100 w 8801100"/>
                  <a:gd name="connsiteY249" fmla="*/ 1704975 h 4305300"/>
                  <a:gd name="connsiteX250" fmla="*/ 8751093 w 8801100"/>
                  <a:gd name="connsiteY250" fmla="*/ 1664494 h 4305300"/>
                  <a:gd name="connsiteX251" fmla="*/ 8734425 w 8801100"/>
                  <a:gd name="connsiteY251" fmla="*/ 1609725 h 4305300"/>
                  <a:gd name="connsiteX252" fmla="*/ 8643938 w 8801100"/>
                  <a:gd name="connsiteY252" fmla="*/ 1547813 h 4305300"/>
                  <a:gd name="connsiteX253" fmla="*/ 8603456 w 8801100"/>
                  <a:gd name="connsiteY253" fmla="*/ 1526381 h 4305300"/>
                  <a:gd name="connsiteX254" fmla="*/ 8565356 w 8801100"/>
                  <a:gd name="connsiteY254" fmla="*/ 1481138 h 4305300"/>
                  <a:gd name="connsiteX255" fmla="*/ 8534400 w 8801100"/>
                  <a:gd name="connsiteY255" fmla="*/ 1478756 h 4305300"/>
                  <a:gd name="connsiteX256" fmla="*/ 8517731 w 8801100"/>
                  <a:gd name="connsiteY256" fmla="*/ 1426369 h 4305300"/>
                  <a:gd name="connsiteX257" fmla="*/ 8477250 w 8801100"/>
                  <a:gd name="connsiteY257" fmla="*/ 1409700 h 4305300"/>
                  <a:gd name="connsiteX258" fmla="*/ 8477250 w 8801100"/>
                  <a:gd name="connsiteY258" fmla="*/ 1409700 h 4305300"/>
                  <a:gd name="connsiteX259" fmla="*/ 8436769 w 8801100"/>
                  <a:gd name="connsiteY259" fmla="*/ 1414463 h 4305300"/>
                  <a:gd name="connsiteX260" fmla="*/ 8351043 w 8801100"/>
                  <a:gd name="connsiteY260" fmla="*/ 1340644 h 4305300"/>
                  <a:gd name="connsiteX261" fmla="*/ 8170069 w 8801100"/>
                  <a:gd name="connsiteY261" fmla="*/ 1340643 h 4305300"/>
                  <a:gd name="connsiteX262" fmla="*/ 8117681 w 8801100"/>
                  <a:gd name="connsiteY262" fmla="*/ 1378744 h 4305300"/>
                  <a:gd name="connsiteX263" fmla="*/ 8067675 w 8801100"/>
                  <a:gd name="connsiteY263" fmla="*/ 1457325 h 4305300"/>
                  <a:gd name="connsiteX264" fmla="*/ 8084344 w 8801100"/>
                  <a:gd name="connsiteY264" fmla="*/ 1478756 h 4305300"/>
                  <a:gd name="connsiteX265" fmla="*/ 8039100 w 8801100"/>
                  <a:gd name="connsiteY265" fmla="*/ 1528762 h 4305300"/>
                  <a:gd name="connsiteX266" fmla="*/ 7889081 w 8801100"/>
                  <a:gd name="connsiteY266" fmla="*/ 1452562 h 4305300"/>
                  <a:gd name="connsiteX267" fmla="*/ 7798594 w 8801100"/>
                  <a:gd name="connsiteY267" fmla="*/ 1488281 h 4305300"/>
                  <a:gd name="connsiteX268" fmla="*/ 7724775 w 8801100"/>
                  <a:gd name="connsiteY268" fmla="*/ 1485900 h 4305300"/>
                  <a:gd name="connsiteX269" fmla="*/ 7667625 w 8801100"/>
                  <a:gd name="connsiteY269" fmla="*/ 1581150 h 4305300"/>
                  <a:gd name="connsiteX270" fmla="*/ 7529513 w 8801100"/>
                  <a:gd name="connsiteY270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1333500 w 8801100"/>
                  <a:gd name="connsiteY120" fmla="*/ 359569 h 4305300"/>
                  <a:gd name="connsiteX121" fmla="*/ 2381 w 8801100"/>
                  <a:gd name="connsiteY121" fmla="*/ 1490661 h 4305300"/>
                  <a:gd name="connsiteX122" fmla="*/ 0 w 8801100"/>
                  <a:gd name="connsiteY122" fmla="*/ 709613 h 4305300"/>
                  <a:gd name="connsiteX123" fmla="*/ 76200 w 8801100"/>
                  <a:gd name="connsiteY123" fmla="*/ 692944 h 4305300"/>
                  <a:gd name="connsiteX124" fmla="*/ 119063 w 8801100"/>
                  <a:gd name="connsiteY124" fmla="*/ 721519 h 4305300"/>
                  <a:gd name="connsiteX125" fmla="*/ 215900 w 8801100"/>
                  <a:gd name="connsiteY125" fmla="*/ 712788 h 4305300"/>
                  <a:gd name="connsiteX126" fmla="*/ 261938 w 8801100"/>
                  <a:gd name="connsiteY126" fmla="*/ 740568 h 4305300"/>
                  <a:gd name="connsiteX127" fmla="*/ 228600 w 8801100"/>
                  <a:gd name="connsiteY127" fmla="*/ 769144 h 4305300"/>
                  <a:gd name="connsiteX128" fmla="*/ 233363 w 8801100"/>
                  <a:gd name="connsiteY128" fmla="*/ 812006 h 4305300"/>
                  <a:gd name="connsiteX129" fmla="*/ 200025 w 8801100"/>
                  <a:gd name="connsiteY129" fmla="*/ 816769 h 4305300"/>
                  <a:gd name="connsiteX130" fmla="*/ 204788 w 8801100"/>
                  <a:gd name="connsiteY130" fmla="*/ 840581 h 4305300"/>
                  <a:gd name="connsiteX131" fmla="*/ 261937 w 8801100"/>
                  <a:gd name="connsiteY131" fmla="*/ 914400 h 4305300"/>
                  <a:gd name="connsiteX132" fmla="*/ 223838 w 8801100"/>
                  <a:gd name="connsiteY132" fmla="*/ 962025 h 4305300"/>
                  <a:gd name="connsiteX133" fmla="*/ 278606 w 8801100"/>
                  <a:gd name="connsiteY133" fmla="*/ 997744 h 4305300"/>
                  <a:gd name="connsiteX134" fmla="*/ 369094 w 8801100"/>
                  <a:gd name="connsiteY134" fmla="*/ 1085850 h 4305300"/>
                  <a:gd name="connsiteX135" fmla="*/ 371475 w 8801100"/>
                  <a:gd name="connsiteY135" fmla="*/ 1145381 h 4305300"/>
                  <a:gd name="connsiteX136" fmla="*/ 507206 w 8801100"/>
                  <a:gd name="connsiteY136" fmla="*/ 1278732 h 4305300"/>
                  <a:gd name="connsiteX137" fmla="*/ 561975 w 8801100"/>
                  <a:gd name="connsiteY137" fmla="*/ 1254919 h 4305300"/>
                  <a:gd name="connsiteX138" fmla="*/ 600075 w 8801100"/>
                  <a:gd name="connsiteY138" fmla="*/ 1281112 h 4305300"/>
                  <a:gd name="connsiteX139" fmla="*/ 614363 w 8801100"/>
                  <a:gd name="connsiteY139" fmla="*/ 1331118 h 4305300"/>
                  <a:gd name="connsiteX140" fmla="*/ 657225 w 8801100"/>
                  <a:gd name="connsiteY140" fmla="*/ 1366838 h 4305300"/>
                  <a:gd name="connsiteX141" fmla="*/ 697706 w 8801100"/>
                  <a:gd name="connsiteY141" fmla="*/ 1354931 h 4305300"/>
                  <a:gd name="connsiteX142" fmla="*/ 716756 w 8801100"/>
                  <a:gd name="connsiteY142" fmla="*/ 1412081 h 4305300"/>
                  <a:gd name="connsiteX143" fmla="*/ 764381 w 8801100"/>
                  <a:gd name="connsiteY143" fmla="*/ 1454944 h 4305300"/>
                  <a:gd name="connsiteX144" fmla="*/ 788194 w 8801100"/>
                  <a:gd name="connsiteY144" fmla="*/ 1557338 h 4305300"/>
                  <a:gd name="connsiteX145" fmla="*/ 785813 w 8801100"/>
                  <a:gd name="connsiteY145" fmla="*/ 1604963 h 4305300"/>
                  <a:gd name="connsiteX146" fmla="*/ 821531 w 8801100"/>
                  <a:gd name="connsiteY146" fmla="*/ 1704975 h 4305300"/>
                  <a:gd name="connsiteX147" fmla="*/ 866775 w 8801100"/>
                  <a:gd name="connsiteY147" fmla="*/ 1762125 h 4305300"/>
                  <a:gd name="connsiteX148" fmla="*/ 883443 w 8801100"/>
                  <a:gd name="connsiteY148" fmla="*/ 1919287 h 4305300"/>
                  <a:gd name="connsiteX149" fmla="*/ 850106 w 8801100"/>
                  <a:gd name="connsiteY149" fmla="*/ 1981200 h 4305300"/>
                  <a:gd name="connsiteX150" fmla="*/ 819150 w 8801100"/>
                  <a:gd name="connsiteY150" fmla="*/ 2057400 h 4305300"/>
                  <a:gd name="connsiteX151" fmla="*/ 833438 w 8801100"/>
                  <a:gd name="connsiteY151" fmla="*/ 2114550 h 4305300"/>
                  <a:gd name="connsiteX152" fmla="*/ 735806 w 8801100"/>
                  <a:gd name="connsiteY152" fmla="*/ 2221707 h 4305300"/>
                  <a:gd name="connsiteX153" fmla="*/ 692944 w 8801100"/>
                  <a:gd name="connsiteY153" fmla="*/ 2336006 h 4305300"/>
                  <a:gd name="connsiteX154" fmla="*/ 726281 w 8801100"/>
                  <a:gd name="connsiteY154" fmla="*/ 2376488 h 4305300"/>
                  <a:gd name="connsiteX155" fmla="*/ 709613 w 8801100"/>
                  <a:gd name="connsiteY155" fmla="*/ 2405063 h 4305300"/>
                  <a:gd name="connsiteX156" fmla="*/ 740569 w 8801100"/>
                  <a:gd name="connsiteY156" fmla="*/ 2462213 h 4305300"/>
                  <a:gd name="connsiteX157" fmla="*/ 769144 w 8801100"/>
                  <a:gd name="connsiteY157" fmla="*/ 2462213 h 4305300"/>
                  <a:gd name="connsiteX158" fmla="*/ 931069 w 8801100"/>
                  <a:gd name="connsiteY158" fmla="*/ 2564606 h 4305300"/>
                  <a:gd name="connsiteX159" fmla="*/ 1035844 w 8801100"/>
                  <a:gd name="connsiteY159" fmla="*/ 2562225 h 4305300"/>
                  <a:gd name="connsiteX160" fmla="*/ 1114425 w 8801100"/>
                  <a:gd name="connsiteY160" fmla="*/ 2616994 h 4305300"/>
                  <a:gd name="connsiteX161" fmla="*/ 1245393 w 8801100"/>
                  <a:gd name="connsiteY161" fmla="*/ 2619375 h 4305300"/>
                  <a:gd name="connsiteX162" fmla="*/ 1435893 w 8801100"/>
                  <a:gd name="connsiteY162" fmla="*/ 2688431 h 4305300"/>
                  <a:gd name="connsiteX163" fmla="*/ 1638300 w 8801100"/>
                  <a:gd name="connsiteY163" fmla="*/ 2838450 h 4305300"/>
                  <a:gd name="connsiteX164" fmla="*/ 1671637 w 8801100"/>
                  <a:gd name="connsiteY164" fmla="*/ 2905125 h 4305300"/>
                  <a:gd name="connsiteX165" fmla="*/ 1838325 w 8801100"/>
                  <a:gd name="connsiteY165" fmla="*/ 3031331 h 4305300"/>
                  <a:gd name="connsiteX166" fmla="*/ 1909763 w 8801100"/>
                  <a:gd name="connsiteY166" fmla="*/ 3026569 h 4305300"/>
                  <a:gd name="connsiteX167" fmla="*/ 1945482 w 8801100"/>
                  <a:gd name="connsiteY167" fmla="*/ 3050381 h 4305300"/>
                  <a:gd name="connsiteX168" fmla="*/ 1916906 w 8801100"/>
                  <a:gd name="connsiteY168" fmla="*/ 3090863 h 4305300"/>
                  <a:gd name="connsiteX169" fmla="*/ 1924050 w 8801100"/>
                  <a:gd name="connsiteY169" fmla="*/ 3143250 h 4305300"/>
                  <a:gd name="connsiteX170" fmla="*/ 1976438 w 8801100"/>
                  <a:gd name="connsiteY170" fmla="*/ 3169444 h 4305300"/>
                  <a:gd name="connsiteX171" fmla="*/ 2038350 w 8801100"/>
                  <a:gd name="connsiteY171" fmla="*/ 3393282 h 4305300"/>
                  <a:gd name="connsiteX172" fmla="*/ 2028825 w 8801100"/>
                  <a:gd name="connsiteY172" fmla="*/ 3457575 h 4305300"/>
                  <a:gd name="connsiteX173" fmla="*/ 2164556 w 8801100"/>
                  <a:gd name="connsiteY173" fmla="*/ 3624263 h 4305300"/>
                  <a:gd name="connsiteX174" fmla="*/ 2183606 w 8801100"/>
                  <a:gd name="connsiteY174" fmla="*/ 3674269 h 4305300"/>
                  <a:gd name="connsiteX175" fmla="*/ 2157413 w 8801100"/>
                  <a:gd name="connsiteY175" fmla="*/ 3693319 h 4305300"/>
                  <a:gd name="connsiteX176" fmla="*/ 2259806 w 8801100"/>
                  <a:gd name="connsiteY176" fmla="*/ 3702844 h 4305300"/>
                  <a:gd name="connsiteX177" fmla="*/ 2371725 w 8801100"/>
                  <a:gd name="connsiteY177" fmla="*/ 3690938 h 4305300"/>
                  <a:gd name="connsiteX178" fmla="*/ 2650331 w 8801100"/>
                  <a:gd name="connsiteY178" fmla="*/ 3774281 h 4305300"/>
                  <a:gd name="connsiteX179" fmla="*/ 3057525 w 8801100"/>
                  <a:gd name="connsiteY179" fmla="*/ 3855244 h 4305300"/>
                  <a:gd name="connsiteX180" fmla="*/ 3255169 w 8801100"/>
                  <a:gd name="connsiteY180" fmla="*/ 3824287 h 4305300"/>
                  <a:gd name="connsiteX181" fmla="*/ 3300413 w 8801100"/>
                  <a:gd name="connsiteY181" fmla="*/ 3836193 h 4305300"/>
                  <a:gd name="connsiteX182" fmla="*/ 3355181 w 8801100"/>
                  <a:gd name="connsiteY182" fmla="*/ 3812382 h 4305300"/>
                  <a:gd name="connsiteX183" fmla="*/ 3748087 w 8801100"/>
                  <a:gd name="connsiteY183" fmla="*/ 3902869 h 4305300"/>
                  <a:gd name="connsiteX184" fmla="*/ 3831432 w 8801100"/>
                  <a:gd name="connsiteY184" fmla="*/ 4000500 h 4305300"/>
                  <a:gd name="connsiteX185" fmla="*/ 3950494 w 8801100"/>
                  <a:gd name="connsiteY185" fmla="*/ 4071938 h 4305300"/>
                  <a:gd name="connsiteX186" fmla="*/ 4010025 w 8801100"/>
                  <a:gd name="connsiteY186" fmla="*/ 4055269 h 4305300"/>
                  <a:gd name="connsiteX187" fmla="*/ 4360068 w 8801100"/>
                  <a:gd name="connsiteY187" fmla="*/ 4229100 h 4305300"/>
                  <a:gd name="connsiteX188" fmla="*/ 4586288 w 8801100"/>
                  <a:gd name="connsiteY188" fmla="*/ 4200525 h 4305300"/>
                  <a:gd name="connsiteX189" fmla="*/ 4595813 w 8801100"/>
                  <a:gd name="connsiteY189" fmla="*/ 4279106 h 4305300"/>
                  <a:gd name="connsiteX190" fmla="*/ 4681538 w 8801100"/>
                  <a:gd name="connsiteY190" fmla="*/ 4274343 h 4305300"/>
                  <a:gd name="connsiteX191" fmla="*/ 4760119 w 8801100"/>
                  <a:gd name="connsiteY191" fmla="*/ 4305300 h 4305300"/>
                  <a:gd name="connsiteX192" fmla="*/ 4802981 w 8801100"/>
                  <a:gd name="connsiteY192" fmla="*/ 4245769 h 4305300"/>
                  <a:gd name="connsiteX193" fmla="*/ 5474494 w 8801100"/>
                  <a:gd name="connsiteY193" fmla="*/ 3926681 h 4305300"/>
                  <a:gd name="connsiteX194" fmla="*/ 5562600 w 8801100"/>
                  <a:gd name="connsiteY194" fmla="*/ 3955257 h 4305300"/>
                  <a:gd name="connsiteX195" fmla="*/ 5693569 w 8801100"/>
                  <a:gd name="connsiteY195" fmla="*/ 3926681 h 4305300"/>
                  <a:gd name="connsiteX196" fmla="*/ 5872162 w 8801100"/>
                  <a:gd name="connsiteY196" fmla="*/ 3943350 h 4305300"/>
                  <a:gd name="connsiteX197" fmla="*/ 5929313 w 8801100"/>
                  <a:gd name="connsiteY197" fmla="*/ 3917157 h 4305300"/>
                  <a:gd name="connsiteX198" fmla="*/ 6062662 w 8801100"/>
                  <a:gd name="connsiteY198" fmla="*/ 3914775 h 4305300"/>
                  <a:gd name="connsiteX199" fmla="*/ 6196012 w 8801100"/>
                  <a:gd name="connsiteY199" fmla="*/ 3817144 h 4305300"/>
                  <a:gd name="connsiteX200" fmla="*/ 6262687 w 8801100"/>
                  <a:gd name="connsiteY200" fmla="*/ 3810000 h 4305300"/>
                  <a:gd name="connsiteX201" fmla="*/ 6360319 w 8801100"/>
                  <a:gd name="connsiteY201" fmla="*/ 3736181 h 4305300"/>
                  <a:gd name="connsiteX202" fmla="*/ 6434138 w 8801100"/>
                  <a:gd name="connsiteY202" fmla="*/ 3667125 h 4305300"/>
                  <a:gd name="connsiteX203" fmla="*/ 6443663 w 8801100"/>
                  <a:gd name="connsiteY203" fmla="*/ 3605213 h 4305300"/>
                  <a:gd name="connsiteX204" fmla="*/ 6477000 w 8801100"/>
                  <a:gd name="connsiteY204" fmla="*/ 3536156 h 4305300"/>
                  <a:gd name="connsiteX205" fmla="*/ 6629400 w 8801100"/>
                  <a:gd name="connsiteY205" fmla="*/ 3429000 h 4305300"/>
                  <a:gd name="connsiteX206" fmla="*/ 6662738 w 8801100"/>
                  <a:gd name="connsiteY206" fmla="*/ 3433763 h 4305300"/>
                  <a:gd name="connsiteX207" fmla="*/ 6715125 w 8801100"/>
                  <a:gd name="connsiteY207" fmla="*/ 3355181 h 4305300"/>
                  <a:gd name="connsiteX208" fmla="*/ 6762750 w 8801100"/>
                  <a:gd name="connsiteY208" fmla="*/ 3317081 h 4305300"/>
                  <a:gd name="connsiteX209" fmla="*/ 6748463 w 8801100"/>
                  <a:gd name="connsiteY209" fmla="*/ 3248025 h 4305300"/>
                  <a:gd name="connsiteX210" fmla="*/ 6698456 w 8801100"/>
                  <a:gd name="connsiteY210" fmla="*/ 3217068 h 4305300"/>
                  <a:gd name="connsiteX211" fmla="*/ 6638925 w 8801100"/>
                  <a:gd name="connsiteY211" fmla="*/ 3162300 h 4305300"/>
                  <a:gd name="connsiteX212" fmla="*/ 6619875 w 8801100"/>
                  <a:gd name="connsiteY212" fmla="*/ 3105150 h 4305300"/>
                  <a:gd name="connsiteX213" fmla="*/ 6584156 w 8801100"/>
                  <a:gd name="connsiteY213" fmla="*/ 3071813 h 4305300"/>
                  <a:gd name="connsiteX214" fmla="*/ 6610350 w 8801100"/>
                  <a:gd name="connsiteY214" fmla="*/ 3019425 h 4305300"/>
                  <a:gd name="connsiteX215" fmla="*/ 6650831 w 8801100"/>
                  <a:gd name="connsiteY215" fmla="*/ 2840831 h 4305300"/>
                  <a:gd name="connsiteX216" fmla="*/ 6691313 w 8801100"/>
                  <a:gd name="connsiteY216" fmla="*/ 2774156 h 4305300"/>
                  <a:gd name="connsiteX217" fmla="*/ 6836569 w 8801100"/>
                  <a:gd name="connsiteY217" fmla="*/ 2757487 h 4305300"/>
                  <a:gd name="connsiteX218" fmla="*/ 6905625 w 8801100"/>
                  <a:gd name="connsiteY218" fmla="*/ 2814638 h 4305300"/>
                  <a:gd name="connsiteX219" fmla="*/ 6981825 w 8801100"/>
                  <a:gd name="connsiteY219" fmla="*/ 2838450 h 4305300"/>
                  <a:gd name="connsiteX220" fmla="*/ 7186612 w 8801100"/>
                  <a:gd name="connsiteY220" fmla="*/ 2843213 h 4305300"/>
                  <a:gd name="connsiteX221" fmla="*/ 7362825 w 8801100"/>
                  <a:gd name="connsiteY221" fmla="*/ 2705100 h 4305300"/>
                  <a:gd name="connsiteX222" fmla="*/ 7419975 w 8801100"/>
                  <a:gd name="connsiteY222" fmla="*/ 2614612 h 4305300"/>
                  <a:gd name="connsiteX223" fmla="*/ 7446169 w 8801100"/>
                  <a:gd name="connsiteY223" fmla="*/ 2531269 h 4305300"/>
                  <a:gd name="connsiteX224" fmla="*/ 7577137 w 8801100"/>
                  <a:gd name="connsiteY224" fmla="*/ 2531269 h 4305300"/>
                  <a:gd name="connsiteX225" fmla="*/ 7750969 w 8801100"/>
                  <a:gd name="connsiteY225" fmla="*/ 2474118 h 4305300"/>
                  <a:gd name="connsiteX226" fmla="*/ 7810500 w 8801100"/>
                  <a:gd name="connsiteY226" fmla="*/ 2362200 h 4305300"/>
                  <a:gd name="connsiteX227" fmla="*/ 7874794 w 8801100"/>
                  <a:gd name="connsiteY227" fmla="*/ 2326481 h 4305300"/>
                  <a:gd name="connsiteX228" fmla="*/ 7853363 w 8801100"/>
                  <a:gd name="connsiteY228" fmla="*/ 2281238 h 4305300"/>
                  <a:gd name="connsiteX229" fmla="*/ 7931944 w 8801100"/>
                  <a:gd name="connsiteY229" fmla="*/ 2112168 h 4305300"/>
                  <a:gd name="connsiteX230" fmla="*/ 7986713 w 8801100"/>
                  <a:gd name="connsiteY230" fmla="*/ 2052638 h 4305300"/>
                  <a:gd name="connsiteX231" fmla="*/ 8024813 w 8801100"/>
                  <a:gd name="connsiteY231" fmla="*/ 2047875 h 4305300"/>
                  <a:gd name="connsiteX232" fmla="*/ 8070056 w 8801100"/>
                  <a:gd name="connsiteY232" fmla="*/ 2052638 h 4305300"/>
                  <a:gd name="connsiteX233" fmla="*/ 8134350 w 8801100"/>
                  <a:gd name="connsiteY233" fmla="*/ 2019300 h 4305300"/>
                  <a:gd name="connsiteX234" fmla="*/ 8143875 w 8801100"/>
                  <a:gd name="connsiteY234" fmla="*/ 1955006 h 4305300"/>
                  <a:gd name="connsiteX235" fmla="*/ 8184355 w 8801100"/>
                  <a:gd name="connsiteY235" fmla="*/ 1919288 h 4305300"/>
                  <a:gd name="connsiteX236" fmla="*/ 8243888 w 8801100"/>
                  <a:gd name="connsiteY236" fmla="*/ 1959768 h 4305300"/>
                  <a:gd name="connsiteX237" fmla="*/ 8270082 w 8801100"/>
                  <a:gd name="connsiteY237" fmla="*/ 1909762 h 4305300"/>
                  <a:gd name="connsiteX238" fmla="*/ 8365331 w 8801100"/>
                  <a:gd name="connsiteY238" fmla="*/ 1840706 h 4305300"/>
                  <a:gd name="connsiteX239" fmla="*/ 8427244 w 8801100"/>
                  <a:gd name="connsiteY239" fmla="*/ 1847850 h 4305300"/>
                  <a:gd name="connsiteX240" fmla="*/ 8477250 w 8801100"/>
                  <a:gd name="connsiteY240" fmla="*/ 1828800 h 4305300"/>
                  <a:gd name="connsiteX241" fmla="*/ 8515350 w 8801100"/>
                  <a:gd name="connsiteY241" fmla="*/ 1800225 h 4305300"/>
                  <a:gd name="connsiteX242" fmla="*/ 8548688 w 8801100"/>
                  <a:gd name="connsiteY242" fmla="*/ 1797844 h 4305300"/>
                  <a:gd name="connsiteX243" fmla="*/ 8584406 w 8801100"/>
                  <a:gd name="connsiteY243" fmla="*/ 1828800 h 4305300"/>
                  <a:gd name="connsiteX244" fmla="*/ 8643938 w 8801100"/>
                  <a:gd name="connsiteY244" fmla="*/ 1828800 h 4305300"/>
                  <a:gd name="connsiteX245" fmla="*/ 8682037 w 8801100"/>
                  <a:gd name="connsiteY245" fmla="*/ 1809750 h 4305300"/>
                  <a:gd name="connsiteX246" fmla="*/ 8765381 w 8801100"/>
                  <a:gd name="connsiteY246" fmla="*/ 1812132 h 4305300"/>
                  <a:gd name="connsiteX247" fmla="*/ 8796338 w 8801100"/>
                  <a:gd name="connsiteY247" fmla="*/ 1766888 h 4305300"/>
                  <a:gd name="connsiteX248" fmla="*/ 8801100 w 8801100"/>
                  <a:gd name="connsiteY248" fmla="*/ 1704975 h 4305300"/>
                  <a:gd name="connsiteX249" fmla="*/ 8751093 w 8801100"/>
                  <a:gd name="connsiteY249" fmla="*/ 1664494 h 4305300"/>
                  <a:gd name="connsiteX250" fmla="*/ 8734425 w 8801100"/>
                  <a:gd name="connsiteY250" fmla="*/ 1609725 h 4305300"/>
                  <a:gd name="connsiteX251" fmla="*/ 8643938 w 8801100"/>
                  <a:gd name="connsiteY251" fmla="*/ 1547813 h 4305300"/>
                  <a:gd name="connsiteX252" fmla="*/ 8603456 w 8801100"/>
                  <a:gd name="connsiteY252" fmla="*/ 1526381 h 4305300"/>
                  <a:gd name="connsiteX253" fmla="*/ 8565356 w 8801100"/>
                  <a:gd name="connsiteY253" fmla="*/ 1481138 h 4305300"/>
                  <a:gd name="connsiteX254" fmla="*/ 8534400 w 8801100"/>
                  <a:gd name="connsiteY254" fmla="*/ 1478756 h 4305300"/>
                  <a:gd name="connsiteX255" fmla="*/ 8517731 w 8801100"/>
                  <a:gd name="connsiteY255" fmla="*/ 1426369 h 4305300"/>
                  <a:gd name="connsiteX256" fmla="*/ 8477250 w 8801100"/>
                  <a:gd name="connsiteY256" fmla="*/ 1409700 h 4305300"/>
                  <a:gd name="connsiteX257" fmla="*/ 8477250 w 8801100"/>
                  <a:gd name="connsiteY257" fmla="*/ 1409700 h 4305300"/>
                  <a:gd name="connsiteX258" fmla="*/ 8436769 w 8801100"/>
                  <a:gd name="connsiteY258" fmla="*/ 1414463 h 4305300"/>
                  <a:gd name="connsiteX259" fmla="*/ 8351043 w 8801100"/>
                  <a:gd name="connsiteY259" fmla="*/ 1340644 h 4305300"/>
                  <a:gd name="connsiteX260" fmla="*/ 8170069 w 8801100"/>
                  <a:gd name="connsiteY260" fmla="*/ 1340643 h 4305300"/>
                  <a:gd name="connsiteX261" fmla="*/ 8117681 w 8801100"/>
                  <a:gd name="connsiteY261" fmla="*/ 1378744 h 4305300"/>
                  <a:gd name="connsiteX262" fmla="*/ 8067675 w 8801100"/>
                  <a:gd name="connsiteY262" fmla="*/ 1457325 h 4305300"/>
                  <a:gd name="connsiteX263" fmla="*/ 8084344 w 8801100"/>
                  <a:gd name="connsiteY263" fmla="*/ 1478756 h 4305300"/>
                  <a:gd name="connsiteX264" fmla="*/ 8039100 w 8801100"/>
                  <a:gd name="connsiteY264" fmla="*/ 1528762 h 4305300"/>
                  <a:gd name="connsiteX265" fmla="*/ 7889081 w 8801100"/>
                  <a:gd name="connsiteY265" fmla="*/ 1452562 h 4305300"/>
                  <a:gd name="connsiteX266" fmla="*/ 7798594 w 8801100"/>
                  <a:gd name="connsiteY266" fmla="*/ 1488281 h 4305300"/>
                  <a:gd name="connsiteX267" fmla="*/ 7724775 w 8801100"/>
                  <a:gd name="connsiteY267" fmla="*/ 1485900 h 4305300"/>
                  <a:gd name="connsiteX268" fmla="*/ 7667625 w 8801100"/>
                  <a:gd name="connsiteY268" fmla="*/ 1581150 h 4305300"/>
                  <a:gd name="connsiteX269" fmla="*/ 7529513 w 8801100"/>
                  <a:gd name="connsiteY269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1412081 w 8801100"/>
                  <a:gd name="connsiteY119" fmla="*/ 333375 h 4305300"/>
                  <a:gd name="connsiteX120" fmla="*/ 2381 w 8801100"/>
                  <a:gd name="connsiteY120" fmla="*/ 1490661 h 4305300"/>
                  <a:gd name="connsiteX121" fmla="*/ 0 w 8801100"/>
                  <a:gd name="connsiteY121" fmla="*/ 709613 h 4305300"/>
                  <a:gd name="connsiteX122" fmla="*/ 76200 w 8801100"/>
                  <a:gd name="connsiteY122" fmla="*/ 692944 h 4305300"/>
                  <a:gd name="connsiteX123" fmla="*/ 119063 w 8801100"/>
                  <a:gd name="connsiteY123" fmla="*/ 721519 h 4305300"/>
                  <a:gd name="connsiteX124" fmla="*/ 215900 w 8801100"/>
                  <a:gd name="connsiteY124" fmla="*/ 712788 h 4305300"/>
                  <a:gd name="connsiteX125" fmla="*/ 261938 w 8801100"/>
                  <a:gd name="connsiteY125" fmla="*/ 740568 h 4305300"/>
                  <a:gd name="connsiteX126" fmla="*/ 228600 w 8801100"/>
                  <a:gd name="connsiteY126" fmla="*/ 769144 h 4305300"/>
                  <a:gd name="connsiteX127" fmla="*/ 233363 w 8801100"/>
                  <a:gd name="connsiteY127" fmla="*/ 812006 h 4305300"/>
                  <a:gd name="connsiteX128" fmla="*/ 200025 w 8801100"/>
                  <a:gd name="connsiteY128" fmla="*/ 816769 h 4305300"/>
                  <a:gd name="connsiteX129" fmla="*/ 204788 w 8801100"/>
                  <a:gd name="connsiteY129" fmla="*/ 840581 h 4305300"/>
                  <a:gd name="connsiteX130" fmla="*/ 261937 w 8801100"/>
                  <a:gd name="connsiteY130" fmla="*/ 914400 h 4305300"/>
                  <a:gd name="connsiteX131" fmla="*/ 223838 w 8801100"/>
                  <a:gd name="connsiteY131" fmla="*/ 962025 h 4305300"/>
                  <a:gd name="connsiteX132" fmla="*/ 278606 w 8801100"/>
                  <a:gd name="connsiteY132" fmla="*/ 997744 h 4305300"/>
                  <a:gd name="connsiteX133" fmla="*/ 369094 w 8801100"/>
                  <a:gd name="connsiteY133" fmla="*/ 1085850 h 4305300"/>
                  <a:gd name="connsiteX134" fmla="*/ 371475 w 8801100"/>
                  <a:gd name="connsiteY134" fmla="*/ 1145381 h 4305300"/>
                  <a:gd name="connsiteX135" fmla="*/ 507206 w 8801100"/>
                  <a:gd name="connsiteY135" fmla="*/ 1278732 h 4305300"/>
                  <a:gd name="connsiteX136" fmla="*/ 561975 w 8801100"/>
                  <a:gd name="connsiteY136" fmla="*/ 1254919 h 4305300"/>
                  <a:gd name="connsiteX137" fmla="*/ 600075 w 8801100"/>
                  <a:gd name="connsiteY137" fmla="*/ 1281112 h 4305300"/>
                  <a:gd name="connsiteX138" fmla="*/ 614363 w 8801100"/>
                  <a:gd name="connsiteY138" fmla="*/ 1331118 h 4305300"/>
                  <a:gd name="connsiteX139" fmla="*/ 657225 w 8801100"/>
                  <a:gd name="connsiteY139" fmla="*/ 1366838 h 4305300"/>
                  <a:gd name="connsiteX140" fmla="*/ 697706 w 8801100"/>
                  <a:gd name="connsiteY140" fmla="*/ 1354931 h 4305300"/>
                  <a:gd name="connsiteX141" fmla="*/ 716756 w 8801100"/>
                  <a:gd name="connsiteY141" fmla="*/ 1412081 h 4305300"/>
                  <a:gd name="connsiteX142" fmla="*/ 764381 w 8801100"/>
                  <a:gd name="connsiteY142" fmla="*/ 1454944 h 4305300"/>
                  <a:gd name="connsiteX143" fmla="*/ 788194 w 8801100"/>
                  <a:gd name="connsiteY143" fmla="*/ 1557338 h 4305300"/>
                  <a:gd name="connsiteX144" fmla="*/ 785813 w 8801100"/>
                  <a:gd name="connsiteY144" fmla="*/ 1604963 h 4305300"/>
                  <a:gd name="connsiteX145" fmla="*/ 821531 w 8801100"/>
                  <a:gd name="connsiteY145" fmla="*/ 1704975 h 4305300"/>
                  <a:gd name="connsiteX146" fmla="*/ 866775 w 8801100"/>
                  <a:gd name="connsiteY146" fmla="*/ 1762125 h 4305300"/>
                  <a:gd name="connsiteX147" fmla="*/ 883443 w 8801100"/>
                  <a:gd name="connsiteY147" fmla="*/ 1919287 h 4305300"/>
                  <a:gd name="connsiteX148" fmla="*/ 850106 w 8801100"/>
                  <a:gd name="connsiteY148" fmla="*/ 1981200 h 4305300"/>
                  <a:gd name="connsiteX149" fmla="*/ 819150 w 8801100"/>
                  <a:gd name="connsiteY149" fmla="*/ 2057400 h 4305300"/>
                  <a:gd name="connsiteX150" fmla="*/ 833438 w 8801100"/>
                  <a:gd name="connsiteY150" fmla="*/ 2114550 h 4305300"/>
                  <a:gd name="connsiteX151" fmla="*/ 735806 w 8801100"/>
                  <a:gd name="connsiteY151" fmla="*/ 2221707 h 4305300"/>
                  <a:gd name="connsiteX152" fmla="*/ 692944 w 8801100"/>
                  <a:gd name="connsiteY152" fmla="*/ 2336006 h 4305300"/>
                  <a:gd name="connsiteX153" fmla="*/ 726281 w 8801100"/>
                  <a:gd name="connsiteY153" fmla="*/ 2376488 h 4305300"/>
                  <a:gd name="connsiteX154" fmla="*/ 709613 w 8801100"/>
                  <a:gd name="connsiteY154" fmla="*/ 2405063 h 4305300"/>
                  <a:gd name="connsiteX155" fmla="*/ 740569 w 8801100"/>
                  <a:gd name="connsiteY155" fmla="*/ 2462213 h 4305300"/>
                  <a:gd name="connsiteX156" fmla="*/ 769144 w 8801100"/>
                  <a:gd name="connsiteY156" fmla="*/ 2462213 h 4305300"/>
                  <a:gd name="connsiteX157" fmla="*/ 931069 w 8801100"/>
                  <a:gd name="connsiteY157" fmla="*/ 2564606 h 4305300"/>
                  <a:gd name="connsiteX158" fmla="*/ 1035844 w 8801100"/>
                  <a:gd name="connsiteY158" fmla="*/ 2562225 h 4305300"/>
                  <a:gd name="connsiteX159" fmla="*/ 1114425 w 8801100"/>
                  <a:gd name="connsiteY159" fmla="*/ 2616994 h 4305300"/>
                  <a:gd name="connsiteX160" fmla="*/ 1245393 w 8801100"/>
                  <a:gd name="connsiteY160" fmla="*/ 2619375 h 4305300"/>
                  <a:gd name="connsiteX161" fmla="*/ 1435893 w 8801100"/>
                  <a:gd name="connsiteY161" fmla="*/ 2688431 h 4305300"/>
                  <a:gd name="connsiteX162" fmla="*/ 1638300 w 8801100"/>
                  <a:gd name="connsiteY162" fmla="*/ 2838450 h 4305300"/>
                  <a:gd name="connsiteX163" fmla="*/ 1671637 w 8801100"/>
                  <a:gd name="connsiteY163" fmla="*/ 2905125 h 4305300"/>
                  <a:gd name="connsiteX164" fmla="*/ 1838325 w 8801100"/>
                  <a:gd name="connsiteY164" fmla="*/ 3031331 h 4305300"/>
                  <a:gd name="connsiteX165" fmla="*/ 1909763 w 8801100"/>
                  <a:gd name="connsiteY165" fmla="*/ 3026569 h 4305300"/>
                  <a:gd name="connsiteX166" fmla="*/ 1945482 w 8801100"/>
                  <a:gd name="connsiteY166" fmla="*/ 3050381 h 4305300"/>
                  <a:gd name="connsiteX167" fmla="*/ 1916906 w 8801100"/>
                  <a:gd name="connsiteY167" fmla="*/ 3090863 h 4305300"/>
                  <a:gd name="connsiteX168" fmla="*/ 1924050 w 8801100"/>
                  <a:gd name="connsiteY168" fmla="*/ 3143250 h 4305300"/>
                  <a:gd name="connsiteX169" fmla="*/ 1976438 w 8801100"/>
                  <a:gd name="connsiteY169" fmla="*/ 3169444 h 4305300"/>
                  <a:gd name="connsiteX170" fmla="*/ 2038350 w 8801100"/>
                  <a:gd name="connsiteY170" fmla="*/ 3393282 h 4305300"/>
                  <a:gd name="connsiteX171" fmla="*/ 2028825 w 8801100"/>
                  <a:gd name="connsiteY171" fmla="*/ 3457575 h 4305300"/>
                  <a:gd name="connsiteX172" fmla="*/ 2164556 w 8801100"/>
                  <a:gd name="connsiteY172" fmla="*/ 3624263 h 4305300"/>
                  <a:gd name="connsiteX173" fmla="*/ 2183606 w 8801100"/>
                  <a:gd name="connsiteY173" fmla="*/ 3674269 h 4305300"/>
                  <a:gd name="connsiteX174" fmla="*/ 2157413 w 8801100"/>
                  <a:gd name="connsiteY174" fmla="*/ 3693319 h 4305300"/>
                  <a:gd name="connsiteX175" fmla="*/ 2259806 w 8801100"/>
                  <a:gd name="connsiteY175" fmla="*/ 3702844 h 4305300"/>
                  <a:gd name="connsiteX176" fmla="*/ 2371725 w 8801100"/>
                  <a:gd name="connsiteY176" fmla="*/ 3690938 h 4305300"/>
                  <a:gd name="connsiteX177" fmla="*/ 2650331 w 8801100"/>
                  <a:gd name="connsiteY177" fmla="*/ 3774281 h 4305300"/>
                  <a:gd name="connsiteX178" fmla="*/ 3057525 w 8801100"/>
                  <a:gd name="connsiteY178" fmla="*/ 3855244 h 4305300"/>
                  <a:gd name="connsiteX179" fmla="*/ 3255169 w 8801100"/>
                  <a:gd name="connsiteY179" fmla="*/ 3824287 h 4305300"/>
                  <a:gd name="connsiteX180" fmla="*/ 3300413 w 8801100"/>
                  <a:gd name="connsiteY180" fmla="*/ 3836193 h 4305300"/>
                  <a:gd name="connsiteX181" fmla="*/ 3355181 w 8801100"/>
                  <a:gd name="connsiteY181" fmla="*/ 3812382 h 4305300"/>
                  <a:gd name="connsiteX182" fmla="*/ 3748087 w 8801100"/>
                  <a:gd name="connsiteY182" fmla="*/ 3902869 h 4305300"/>
                  <a:gd name="connsiteX183" fmla="*/ 3831432 w 8801100"/>
                  <a:gd name="connsiteY183" fmla="*/ 4000500 h 4305300"/>
                  <a:gd name="connsiteX184" fmla="*/ 3950494 w 8801100"/>
                  <a:gd name="connsiteY184" fmla="*/ 4071938 h 4305300"/>
                  <a:gd name="connsiteX185" fmla="*/ 4010025 w 8801100"/>
                  <a:gd name="connsiteY185" fmla="*/ 4055269 h 4305300"/>
                  <a:gd name="connsiteX186" fmla="*/ 4360068 w 8801100"/>
                  <a:gd name="connsiteY186" fmla="*/ 4229100 h 4305300"/>
                  <a:gd name="connsiteX187" fmla="*/ 4586288 w 8801100"/>
                  <a:gd name="connsiteY187" fmla="*/ 4200525 h 4305300"/>
                  <a:gd name="connsiteX188" fmla="*/ 4595813 w 8801100"/>
                  <a:gd name="connsiteY188" fmla="*/ 4279106 h 4305300"/>
                  <a:gd name="connsiteX189" fmla="*/ 4681538 w 8801100"/>
                  <a:gd name="connsiteY189" fmla="*/ 4274343 h 4305300"/>
                  <a:gd name="connsiteX190" fmla="*/ 4760119 w 8801100"/>
                  <a:gd name="connsiteY190" fmla="*/ 4305300 h 4305300"/>
                  <a:gd name="connsiteX191" fmla="*/ 4802981 w 8801100"/>
                  <a:gd name="connsiteY191" fmla="*/ 4245769 h 4305300"/>
                  <a:gd name="connsiteX192" fmla="*/ 5474494 w 8801100"/>
                  <a:gd name="connsiteY192" fmla="*/ 3926681 h 4305300"/>
                  <a:gd name="connsiteX193" fmla="*/ 5562600 w 8801100"/>
                  <a:gd name="connsiteY193" fmla="*/ 3955257 h 4305300"/>
                  <a:gd name="connsiteX194" fmla="*/ 5693569 w 8801100"/>
                  <a:gd name="connsiteY194" fmla="*/ 3926681 h 4305300"/>
                  <a:gd name="connsiteX195" fmla="*/ 5872162 w 8801100"/>
                  <a:gd name="connsiteY195" fmla="*/ 3943350 h 4305300"/>
                  <a:gd name="connsiteX196" fmla="*/ 5929313 w 8801100"/>
                  <a:gd name="connsiteY196" fmla="*/ 3917157 h 4305300"/>
                  <a:gd name="connsiteX197" fmla="*/ 6062662 w 8801100"/>
                  <a:gd name="connsiteY197" fmla="*/ 3914775 h 4305300"/>
                  <a:gd name="connsiteX198" fmla="*/ 6196012 w 8801100"/>
                  <a:gd name="connsiteY198" fmla="*/ 3817144 h 4305300"/>
                  <a:gd name="connsiteX199" fmla="*/ 6262687 w 8801100"/>
                  <a:gd name="connsiteY199" fmla="*/ 3810000 h 4305300"/>
                  <a:gd name="connsiteX200" fmla="*/ 6360319 w 8801100"/>
                  <a:gd name="connsiteY200" fmla="*/ 3736181 h 4305300"/>
                  <a:gd name="connsiteX201" fmla="*/ 6434138 w 8801100"/>
                  <a:gd name="connsiteY201" fmla="*/ 3667125 h 4305300"/>
                  <a:gd name="connsiteX202" fmla="*/ 6443663 w 8801100"/>
                  <a:gd name="connsiteY202" fmla="*/ 3605213 h 4305300"/>
                  <a:gd name="connsiteX203" fmla="*/ 6477000 w 8801100"/>
                  <a:gd name="connsiteY203" fmla="*/ 3536156 h 4305300"/>
                  <a:gd name="connsiteX204" fmla="*/ 6629400 w 8801100"/>
                  <a:gd name="connsiteY204" fmla="*/ 3429000 h 4305300"/>
                  <a:gd name="connsiteX205" fmla="*/ 6662738 w 8801100"/>
                  <a:gd name="connsiteY205" fmla="*/ 3433763 h 4305300"/>
                  <a:gd name="connsiteX206" fmla="*/ 6715125 w 8801100"/>
                  <a:gd name="connsiteY206" fmla="*/ 3355181 h 4305300"/>
                  <a:gd name="connsiteX207" fmla="*/ 6762750 w 8801100"/>
                  <a:gd name="connsiteY207" fmla="*/ 3317081 h 4305300"/>
                  <a:gd name="connsiteX208" fmla="*/ 6748463 w 8801100"/>
                  <a:gd name="connsiteY208" fmla="*/ 3248025 h 4305300"/>
                  <a:gd name="connsiteX209" fmla="*/ 6698456 w 8801100"/>
                  <a:gd name="connsiteY209" fmla="*/ 3217068 h 4305300"/>
                  <a:gd name="connsiteX210" fmla="*/ 6638925 w 8801100"/>
                  <a:gd name="connsiteY210" fmla="*/ 3162300 h 4305300"/>
                  <a:gd name="connsiteX211" fmla="*/ 6619875 w 8801100"/>
                  <a:gd name="connsiteY211" fmla="*/ 3105150 h 4305300"/>
                  <a:gd name="connsiteX212" fmla="*/ 6584156 w 8801100"/>
                  <a:gd name="connsiteY212" fmla="*/ 3071813 h 4305300"/>
                  <a:gd name="connsiteX213" fmla="*/ 6610350 w 8801100"/>
                  <a:gd name="connsiteY213" fmla="*/ 3019425 h 4305300"/>
                  <a:gd name="connsiteX214" fmla="*/ 6650831 w 8801100"/>
                  <a:gd name="connsiteY214" fmla="*/ 2840831 h 4305300"/>
                  <a:gd name="connsiteX215" fmla="*/ 6691313 w 8801100"/>
                  <a:gd name="connsiteY215" fmla="*/ 2774156 h 4305300"/>
                  <a:gd name="connsiteX216" fmla="*/ 6836569 w 8801100"/>
                  <a:gd name="connsiteY216" fmla="*/ 2757487 h 4305300"/>
                  <a:gd name="connsiteX217" fmla="*/ 6905625 w 8801100"/>
                  <a:gd name="connsiteY217" fmla="*/ 2814638 h 4305300"/>
                  <a:gd name="connsiteX218" fmla="*/ 6981825 w 8801100"/>
                  <a:gd name="connsiteY218" fmla="*/ 2838450 h 4305300"/>
                  <a:gd name="connsiteX219" fmla="*/ 7186612 w 8801100"/>
                  <a:gd name="connsiteY219" fmla="*/ 2843213 h 4305300"/>
                  <a:gd name="connsiteX220" fmla="*/ 7362825 w 8801100"/>
                  <a:gd name="connsiteY220" fmla="*/ 2705100 h 4305300"/>
                  <a:gd name="connsiteX221" fmla="*/ 7419975 w 8801100"/>
                  <a:gd name="connsiteY221" fmla="*/ 2614612 h 4305300"/>
                  <a:gd name="connsiteX222" fmla="*/ 7446169 w 8801100"/>
                  <a:gd name="connsiteY222" fmla="*/ 2531269 h 4305300"/>
                  <a:gd name="connsiteX223" fmla="*/ 7577137 w 8801100"/>
                  <a:gd name="connsiteY223" fmla="*/ 2531269 h 4305300"/>
                  <a:gd name="connsiteX224" fmla="*/ 7750969 w 8801100"/>
                  <a:gd name="connsiteY224" fmla="*/ 2474118 h 4305300"/>
                  <a:gd name="connsiteX225" fmla="*/ 7810500 w 8801100"/>
                  <a:gd name="connsiteY225" fmla="*/ 2362200 h 4305300"/>
                  <a:gd name="connsiteX226" fmla="*/ 7874794 w 8801100"/>
                  <a:gd name="connsiteY226" fmla="*/ 2326481 h 4305300"/>
                  <a:gd name="connsiteX227" fmla="*/ 7853363 w 8801100"/>
                  <a:gd name="connsiteY227" fmla="*/ 2281238 h 4305300"/>
                  <a:gd name="connsiteX228" fmla="*/ 7931944 w 8801100"/>
                  <a:gd name="connsiteY228" fmla="*/ 2112168 h 4305300"/>
                  <a:gd name="connsiteX229" fmla="*/ 7986713 w 8801100"/>
                  <a:gd name="connsiteY229" fmla="*/ 2052638 h 4305300"/>
                  <a:gd name="connsiteX230" fmla="*/ 8024813 w 8801100"/>
                  <a:gd name="connsiteY230" fmla="*/ 2047875 h 4305300"/>
                  <a:gd name="connsiteX231" fmla="*/ 8070056 w 8801100"/>
                  <a:gd name="connsiteY231" fmla="*/ 2052638 h 4305300"/>
                  <a:gd name="connsiteX232" fmla="*/ 8134350 w 8801100"/>
                  <a:gd name="connsiteY232" fmla="*/ 2019300 h 4305300"/>
                  <a:gd name="connsiteX233" fmla="*/ 8143875 w 8801100"/>
                  <a:gd name="connsiteY233" fmla="*/ 1955006 h 4305300"/>
                  <a:gd name="connsiteX234" fmla="*/ 8184355 w 8801100"/>
                  <a:gd name="connsiteY234" fmla="*/ 1919288 h 4305300"/>
                  <a:gd name="connsiteX235" fmla="*/ 8243888 w 8801100"/>
                  <a:gd name="connsiteY235" fmla="*/ 1959768 h 4305300"/>
                  <a:gd name="connsiteX236" fmla="*/ 8270082 w 8801100"/>
                  <a:gd name="connsiteY236" fmla="*/ 1909762 h 4305300"/>
                  <a:gd name="connsiteX237" fmla="*/ 8365331 w 8801100"/>
                  <a:gd name="connsiteY237" fmla="*/ 1840706 h 4305300"/>
                  <a:gd name="connsiteX238" fmla="*/ 8427244 w 8801100"/>
                  <a:gd name="connsiteY238" fmla="*/ 1847850 h 4305300"/>
                  <a:gd name="connsiteX239" fmla="*/ 8477250 w 8801100"/>
                  <a:gd name="connsiteY239" fmla="*/ 1828800 h 4305300"/>
                  <a:gd name="connsiteX240" fmla="*/ 8515350 w 8801100"/>
                  <a:gd name="connsiteY240" fmla="*/ 1800225 h 4305300"/>
                  <a:gd name="connsiteX241" fmla="*/ 8548688 w 8801100"/>
                  <a:gd name="connsiteY241" fmla="*/ 1797844 h 4305300"/>
                  <a:gd name="connsiteX242" fmla="*/ 8584406 w 8801100"/>
                  <a:gd name="connsiteY242" fmla="*/ 1828800 h 4305300"/>
                  <a:gd name="connsiteX243" fmla="*/ 8643938 w 8801100"/>
                  <a:gd name="connsiteY243" fmla="*/ 1828800 h 4305300"/>
                  <a:gd name="connsiteX244" fmla="*/ 8682037 w 8801100"/>
                  <a:gd name="connsiteY244" fmla="*/ 1809750 h 4305300"/>
                  <a:gd name="connsiteX245" fmla="*/ 8765381 w 8801100"/>
                  <a:gd name="connsiteY245" fmla="*/ 1812132 h 4305300"/>
                  <a:gd name="connsiteX246" fmla="*/ 8796338 w 8801100"/>
                  <a:gd name="connsiteY246" fmla="*/ 1766888 h 4305300"/>
                  <a:gd name="connsiteX247" fmla="*/ 8801100 w 8801100"/>
                  <a:gd name="connsiteY247" fmla="*/ 1704975 h 4305300"/>
                  <a:gd name="connsiteX248" fmla="*/ 8751093 w 8801100"/>
                  <a:gd name="connsiteY248" fmla="*/ 1664494 h 4305300"/>
                  <a:gd name="connsiteX249" fmla="*/ 8734425 w 8801100"/>
                  <a:gd name="connsiteY249" fmla="*/ 1609725 h 4305300"/>
                  <a:gd name="connsiteX250" fmla="*/ 8643938 w 8801100"/>
                  <a:gd name="connsiteY250" fmla="*/ 1547813 h 4305300"/>
                  <a:gd name="connsiteX251" fmla="*/ 8603456 w 8801100"/>
                  <a:gd name="connsiteY251" fmla="*/ 1526381 h 4305300"/>
                  <a:gd name="connsiteX252" fmla="*/ 8565356 w 8801100"/>
                  <a:gd name="connsiteY252" fmla="*/ 1481138 h 4305300"/>
                  <a:gd name="connsiteX253" fmla="*/ 8534400 w 8801100"/>
                  <a:gd name="connsiteY253" fmla="*/ 1478756 h 4305300"/>
                  <a:gd name="connsiteX254" fmla="*/ 8517731 w 8801100"/>
                  <a:gd name="connsiteY254" fmla="*/ 1426369 h 4305300"/>
                  <a:gd name="connsiteX255" fmla="*/ 8477250 w 8801100"/>
                  <a:gd name="connsiteY255" fmla="*/ 1409700 h 4305300"/>
                  <a:gd name="connsiteX256" fmla="*/ 8477250 w 8801100"/>
                  <a:gd name="connsiteY256" fmla="*/ 1409700 h 4305300"/>
                  <a:gd name="connsiteX257" fmla="*/ 8436769 w 8801100"/>
                  <a:gd name="connsiteY257" fmla="*/ 1414463 h 4305300"/>
                  <a:gd name="connsiteX258" fmla="*/ 8351043 w 8801100"/>
                  <a:gd name="connsiteY258" fmla="*/ 1340644 h 4305300"/>
                  <a:gd name="connsiteX259" fmla="*/ 8170069 w 8801100"/>
                  <a:gd name="connsiteY259" fmla="*/ 1340643 h 4305300"/>
                  <a:gd name="connsiteX260" fmla="*/ 8117681 w 8801100"/>
                  <a:gd name="connsiteY260" fmla="*/ 1378744 h 4305300"/>
                  <a:gd name="connsiteX261" fmla="*/ 8067675 w 8801100"/>
                  <a:gd name="connsiteY261" fmla="*/ 1457325 h 4305300"/>
                  <a:gd name="connsiteX262" fmla="*/ 8084344 w 8801100"/>
                  <a:gd name="connsiteY262" fmla="*/ 1478756 h 4305300"/>
                  <a:gd name="connsiteX263" fmla="*/ 8039100 w 8801100"/>
                  <a:gd name="connsiteY263" fmla="*/ 1528762 h 4305300"/>
                  <a:gd name="connsiteX264" fmla="*/ 7889081 w 8801100"/>
                  <a:gd name="connsiteY264" fmla="*/ 1452562 h 4305300"/>
                  <a:gd name="connsiteX265" fmla="*/ 7798594 w 8801100"/>
                  <a:gd name="connsiteY265" fmla="*/ 1488281 h 4305300"/>
                  <a:gd name="connsiteX266" fmla="*/ 7724775 w 8801100"/>
                  <a:gd name="connsiteY266" fmla="*/ 1485900 h 4305300"/>
                  <a:gd name="connsiteX267" fmla="*/ 7667625 w 8801100"/>
                  <a:gd name="connsiteY267" fmla="*/ 1581150 h 4305300"/>
                  <a:gd name="connsiteX268" fmla="*/ 7529513 w 8801100"/>
                  <a:gd name="connsiteY268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1488281 w 8801100"/>
                  <a:gd name="connsiteY118" fmla="*/ 347663 h 4305300"/>
                  <a:gd name="connsiteX119" fmla="*/ 2381 w 8801100"/>
                  <a:gd name="connsiteY119" fmla="*/ 1490661 h 4305300"/>
                  <a:gd name="connsiteX120" fmla="*/ 0 w 8801100"/>
                  <a:gd name="connsiteY120" fmla="*/ 709613 h 4305300"/>
                  <a:gd name="connsiteX121" fmla="*/ 76200 w 8801100"/>
                  <a:gd name="connsiteY121" fmla="*/ 692944 h 4305300"/>
                  <a:gd name="connsiteX122" fmla="*/ 119063 w 8801100"/>
                  <a:gd name="connsiteY122" fmla="*/ 721519 h 4305300"/>
                  <a:gd name="connsiteX123" fmla="*/ 215900 w 8801100"/>
                  <a:gd name="connsiteY123" fmla="*/ 712788 h 4305300"/>
                  <a:gd name="connsiteX124" fmla="*/ 261938 w 8801100"/>
                  <a:gd name="connsiteY124" fmla="*/ 740568 h 4305300"/>
                  <a:gd name="connsiteX125" fmla="*/ 228600 w 8801100"/>
                  <a:gd name="connsiteY125" fmla="*/ 769144 h 4305300"/>
                  <a:gd name="connsiteX126" fmla="*/ 233363 w 8801100"/>
                  <a:gd name="connsiteY126" fmla="*/ 812006 h 4305300"/>
                  <a:gd name="connsiteX127" fmla="*/ 200025 w 8801100"/>
                  <a:gd name="connsiteY127" fmla="*/ 816769 h 4305300"/>
                  <a:gd name="connsiteX128" fmla="*/ 204788 w 8801100"/>
                  <a:gd name="connsiteY128" fmla="*/ 840581 h 4305300"/>
                  <a:gd name="connsiteX129" fmla="*/ 261937 w 8801100"/>
                  <a:gd name="connsiteY129" fmla="*/ 914400 h 4305300"/>
                  <a:gd name="connsiteX130" fmla="*/ 223838 w 8801100"/>
                  <a:gd name="connsiteY130" fmla="*/ 962025 h 4305300"/>
                  <a:gd name="connsiteX131" fmla="*/ 278606 w 8801100"/>
                  <a:gd name="connsiteY131" fmla="*/ 997744 h 4305300"/>
                  <a:gd name="connsiteX132" fmla="*/ 369094 w 8801100"/>
                  <a:gd name="connsiteY132" fmla="*/ 1085850 h 4305300"/>
                  <a:gd name="connsiteX133" fmla="*/ 371475 w 8801100"/>
                  <a:gd name="connsiteY133" fmla="*/ 1145381 h 4305300"/>
                  <a:gd name="connsiteX134" fmla="*/ 507206 w 8801100"/>
                  <a:gd name="connsiteY134" fmla="*/ 1278732 h 4305300"/>
                  <a:gd name="connsiteX135" fmla="*/ 561975 w 8801100"/>
                  <a:gd name="connsiteY135" fmla="*/ 1254919 h 4305300"/>
                  <a:gd name="connsiteX136" fmla="*/ 600075 w 8801100"/>
                  <a:gd name="connsiteY136" fmla="*/ 1281112 h 4305300"/>
                  <a:gd name="connsiteX137" fmla="*/ 614363 w 8801100"/>
                  <a:gd name="connsiteY137" fmla="*/ 1331118 h 4305300"/>
                  <a:gd name="connsiteX138" fmla="*/ 657225 w 8801100"/>
                  <a:gd name="connsiteY138" fmla="*/ 1366838 h 4305300"/>
                  <a:gd name="connsiteX139" fmla="*/ 697706 w 8801100"/>
                  <a:gd name="connsiteY139" fmla="*/ 1354931 h 4305300"/>
                  <a:gd name="connsiteX140" fmla="*/ 716756 w 8801100"/>
                  <a:gd name="connsiteY140" fmla="*/ 1412081 h 4305300"/>
                  <a:gd name="connsiteX141" fmla="*/ 764381 w 8801100"/>
                  <a:gd name="connsiteY141" fmla="*/ 1454944 h 4305300"/>
                  <a:gd name="connsiteX142" fmla="*/ 788194 w 8801100"/>
                  <a:gd name="connsiteY142" fmla="*/ 1557338 h 4305300"/>
                  <a:gd name="connsiteX143" fmla="*/ 785813 w 8801100"/>
                  <a:gd name="connsiteY143" fmla="*/ 1604963 h 4305300"/>
                  <a:gd name="connsiteX144" fmla="*/ 821531 w 8801100"/>
                  <a:gd name="connsiteY144" fmla="*/ 1704975 h 4305300"/>
                  <a:gd name="connsiteX145" fmla="*/ 866775 w 8801100"/>
                  <a:gd name="connsiteY145" fmla="*/ 1762125 h 4305300"/>
                  <a:gd name="connsiteX146" fmla="*/ 883443 w 8801100"/>
                  <a:gd name="connsiteY146" fmla="*/ 1919287 h 4305300"/>
                  <a:gd name="connsiteX147" fmla="*/ 850106 w 8801100"/>
                  <a:gd name="connsiteY147" fmla="*/ 1981200 h 4305300"/>
                  <a:gd name="connsiteX148" fmla="*/ 819150 w 8801100"/>
                  <a:gd name="connsiteY148" fmla="*/ 2057400 h 4305300"/>
                  <a:gd name="connsiteX149" fmla="*/ 833438 w 8801100"/>
                  <a:gd name="connsiteY149" fmla="*/ 2114550 h 4305300"/>
                  <a:gd name="connsiteX150" fmla="*/ 735806 w 8801100"/>
                  <a:gd name="connsiteY150" fmla="*/ 2221707 h 4305300"/>
                  <a:gd name="connsiteX151" fmla="*/ 692944 w 8801100"/>
                  <a:gd name="connsiteY151" fmla="*/ 2336006 h 4305300"/>
                  <a:gd name="connsiteX152" fmla="*/ 726281 w 8801100"/>
                  <a:gd name="connsiteY152" fmla="*/ 2376488 h 4305300"/>
                  <a:gd name="connsiteX153" fmla="*/ 709613 w 8801100"/>
                  <a:gd name="connsiteY153" fmla="*/ 2405063 h 4305300"/>
                  <a:gd name="connsiteX154" fmla="*/ 740569 w 8801100"/>
                  <a:gd name="connsiteY154" fmla="*/ 2462213 h 4305300"/>
                  <a:gd name="connsiteX155" fmla="*/ 769144 w 8801100"/>
                  <a:gd name="connsiteY155" fmla="*/ 2462213 h 4305300"/>
                  <a:gd name="connsiteX156" fmla="*/ 931069 w 8801100"/>
                  <a:gd name="connsiteY156" fmla="*/ 2564606 h 4305300"/>
                  <a:gd name="connsiteX157" fmla="*/ 1035844 w 8801100"/>
                  <a:gd name="connsiteY157" fmla="*/ 2562225 h 4305300"/>
                  <a:gd name="connsiteX158" fmla="*/ 1114425 w 8801100"/>
                  <a:gd name="connsiteY158" fmla="*/ 2616994 h 4305300"/>
                  <a:gd name="connsiteX159" fmla="*/ 1245393 w 8801100"/>
                  <a:gd name="connsiteY159" fmla="*/ 2619375 h 4305300"/>
                  <a:gd name="connsiteX160" fmla="*/ 1435893 w 8801100"/>
                  <a:gd name="connsiteY160" fmla="*/ 2688431 h 4305300"/>
                  <a:gd name="connsiteX161" fmla="*/ 1638300 w 8801100"/>
                  <a:gd name="connsiteY161" fmla="*/ 2838450 h 4305300"/>
                  <a:gd name="connsiteX162" fmla="*/ 1671637 w 8801100"/>
                  <a:gd name="connsiteY162" fmla="*/ 2905125 h 4305300"/>
                  <a:gd name="connsiteX163" fmla="*/ 1838325 w 8801100"/>
                  <a:gd name="connsiteY163" fmla="*/ 3031331 h 4305300"/>
                  <a:gd name="connsiteX164" fmla="*/ 1909763 w 8801100"/>
                  <a:gd name="connsiteY164" fmla="*/ 3026569 h 4305300"/>
                  <a:gd name="connsiteX165" fmla="*/ 1945482 w 8801100"/>
                  <a:gd name="connsiteY165" fmla="*/ 3050381 h 4305300"/>
                  <a:gd name="connsiteX166" fmla="*/ 1916906 w 8801100"/>
                  <a:gd name="connsiteY166" fmla="*/ 3090863 h 4305300"/>
                  <a:gd name="connsiteX167" fmla="*/ 1924050 w 8801100"/>
                  <a:gd name="connsiteY167" fmla="*/ 3143250 h 4305300"/>
                  <a:gd name="connsiteX168" fmla="*/ 1976438 w 8801100"/>
                  <a:gd name="connsiteY168" fmla="*/ 3169444 h 4305300"/>
                  <a:gd name="connsiteX169" fmla="*/ 2038350 w 8801100"/>
                  <a:gd name="connsiteY169" fmla="*/ 3393282 h 4305300"/>
                  <a:gd name="connsiteX170" fmla="*/ 2028825 w 8801100"/>
                  <a:gd name="connsiteY170" fmla="*/ 3457575 h 4305300"/>
                  <a:gd name="connsiteX171" fmla="*/ 2164556 w 8801100"/>
                  <a:gd name="connsiteY171" fmla="*/ 3624263 h 4305300"/>
                  <a:gd name="connsiteX172" fmla="*/ 2183606 w 8801100"/>
                  <a:gd name="connsiteY172" fmla="*/ 3674269 h 4305300"/>
                  <a:gd name="connsiteX173" fmla="*/ 2157413 w 8801100"/>
                  <a:gd name="connsiteY173" fmla="*/ 3693319 h 4305300"/>
                  <a:gd name="connsiteX174" fmla="*/ 2259806 w 8801100"/>
                  <a:gd name="connsiteY174" fmla="*/ 3702844 h 4305300"/>
                  <a:gd name="connsiteX175" fmla="*/ 2371725 w 8801100"/>
                  <a:gd name="connsiteY175" fmla="*/ 3690938 h 4305300"/>
                  <a:gd name="connsiteX176" fmla="*/ 2650331 w 8801100"/>
                  <a:gd name="connsiteY176" fmla="*/ 3774281 h 4305300"/>
                  <a:gd name="connsiteX177" fmla="*/ 3057525 w 8801100"/>
                  <a:gd name="connsiteY177" fmla="*/ 3855244 h 4305300"/>
                  <a:gd name="connsiteX178" fmla="*/ 3255169 w 8801100"/>
                  <a:gd name="connsiteY178" fmla="*/ 3824287 h 4305300"/>
                  <a:gd name="connsiteX179" fmla="*/ 3300413 w 8801100"/>
                  <a:gd name="connsiteY179" fmla="*/ 3836193 h 4305300"/>
                  <a:gd name="connsiteX180" fmla="*/ 3355181 w 8801100"/>
                  <a:gd name="connsiteY180" fmla="*/ 3812382 h 4305300"/>
                  <a:gd name="connsiteX181" fmla="*/ 3748087 w 8801100"/>
                  <a:gd name="connsiteY181" fmla="*/ 3902869 h 4305300"/>
                  <a:gd name="connsiteX182" fmla="*/ 3831432 w 8801100"/>
                  <a:gd name="connsiteY182" fmla="*/ 4000500 h 4305300"/>
                  <a:gd name="connsiteX183" fmla="*/ 3950494 w 8801100"/>
                  <a:gd name="connsiteY183" fmla="*/ 4071938 h 4305300"/>
                  <a:gd name="connsiteX184" fmla="*/ 4010025 w 8801100"/>
                  <a:gd name="connsiteY184" fmla="*/ 4055269 h 4305300"/>
                  <a:gd name="connsiteX185" fmla="*/ 4360068 w 8801100"/>
                  <a:gd name="connsiteY185" fmla="*/ 4229100 h 4305300"/>
                  <a:gd name="connsiteX186" fmla="*/ 4586288 w 8801100"/>
                  <a:gd name="connsiteY186" fmla="*/ 4200525 h 4305300"/>
                  <a:gd name="connsiteX187" fmla="*/ 4595813 w 8801100"/>
                  <a:gd name="connsiteY187" fmla="*/ 4279106 h 4305300"/>
                  <a:gd name="connsiteX188" fmla="*/ 4681538 w 8801100"/>
                  <a:gd name="connsiteY188" fmla="*/ 4274343 h 4305300"/>
                  <a:gd name="connsiteX189" fmla="*/ 4760119 w 8801100"/>
                  <a:gd name="connsiteY189" fmla="*/ 4305300 h 4305300"/>
                  <a:gd name="connsiteX190" fmla="*/ 4802981 w 8801100"/>
                  <a:gd name="connsiteY190" fmla="*/ 4245769 h 4305300"/>
                  <a:gd name="connsiteX191" fmla="*/ 5474494 w 8801100"/>
                  <a:gd name="connsiteY191" fmla="*/ 3926681 h 4305300"/>
                  <a:gd name="connsiteX192" fmla="*/ 5562600 w 8801100"/>
                  <a:gd name="connsiteY192" fmla="*/ 3955257 h 4305300"/>
                  <a:gd name="connsiteX193" fmla="*/ 5693569 w 8801100"/>
                  <a:gd name="connsiteY193" fmla="*/ 3926681 h 4305300"/>
                  <a:gd name="connsiteX194" fmla="*/ 5872162 w 8801100"/>
                  <a:gd name="connsiteY194" fmla="*/ 3943350 h 4305300"/>
                  <a:gd name="connsiteX195" fmla="*/ 5929313 w 8801100"/>
                  <a:gd name="connsiteY195" fmla="*/ 3917157 h 4305300"/>
                  <a:gd name="connsiteX196" fmla="*/ 6062662 w 8801100"/>
                  <a:gd name="connsiteY196" fmla="*/ 3914775 h 4305300"/>
                  <a:gd name="connsiteX197" fmla="*/ 6196012 w 8801100"/>
                  <a:gd name="connsiteY197" fmla="*/ 3817144 h 4305300"/>
                  <a:gd name="connsiteX198" fmla="*/ 6262687 w 8801100"/>
                  <a:gd name="connsiteY198" fmla="*/ 3810000 h 4305300"/>
                  <a:gd name="connsiteX199" fmla="*/ 6360319 w 8801100"/>
                  <a:gd name="connsiteY199" fmla="*/ 3736181 h 4305300"/>
                  <a:gd name="connsiteX200" fmla="*/ 6434138 w 8801100"/>
                  <a:gd name="connsiteY200" fmla="*/ 3667125 h 4305300"/>
                  <a:gd name="connsiteX201" fmla="*/ 6443663 w 8801100"/>
                  <a:gd name="connsiteY201" fmla="*/ 3605213 h 4305300"/>
                  <a:gd name="connsiteX202" fmla="*/ 6477000 w 8801100"/>
                  <a:gd name="connsiteY202" fmla="*/ 3536156 h 4305300"/>
                  <a:gd name="connsiteX203" fmla="*/ 6629400 w 8801100"/>
                  <a:gd name="connsiteY203" fmla="*/ 3429000 h 4305300"/>
                  <a:gd name="connsiteX204" fmla="*/ 6662738 w 8801100"/>
                  <a:gd name="connsiteY204" fmla="*/ 3433763 h 4305300"/>
                  <a:gd name="connsiteX205" fmla="*/ 6715125 w 8801100"/>
                  <a:gd name="connsiteY205" fmla="*/ 3355181 h 4305300"/>
                  <a:gd name="connsiteX206" fmla="*/ 6762750 w 8801100"/>
                  <a:gd name="connsiteY206" fmla="*/ 3317081 h 4305300"/>
                  <a:gd name="connsiteX207" fmla="*/ 6748463 w 8801100"/>
                  <a:gd name="connsiteY207" fmla="*/ 3248025 h 4305300"/>
                  <a:gd name="connsiteX208" fmla="*/ 6698456 w 8801100"/>
                  <a:gd name="connsiteY208" fmla="*/ 3217068 h 4305300"/>
                  <a:gd name="connsiteX209" fmla="*/ 6638925 w 8801100"/>
                  <a:gd name="connsiteY209" fmla="*/ 3162300 h 4305300"/>
                  <a:gd name="connsiteX210" fmla="*/ 6619875 w 8801100"/>
                  <a:gd name="connsiteY210" fmla="*/ 3105150 h 4305300"/>
                  <a:gd name="connsiteX211" fmla="*/ 6584156 w 8801100"/>
                  <a:gd name="connsiteY211" fmla="*/ 3071813 h 4305300"/>
                  <a:gd name="connsiteX212" fmla="*/ 6610350 w 8801100"/>
                  <a:gd name="connsiteY212" fmla="*/ 3019425 h 4305300"/>
                  <a:gd name="connsiteX213" fmla="*/ 6650831 w 8801100"/>
                  <a:gd name="connsiteY213" fmla="*/ 2840831 h 4305300"/>
                  <a:gd name="connsiteX214" fmla="*/ 6691313 w 8801100"/>
                  <a:gd name="connsiteY214" fmla="*/ 2774156 h 4305300"/>
                  <a:gd name="connsiteX215" fmla="*/ 6836569 w 8801100"/>
                  <a:gd name="connsiteY215" fmla="*/ 2757487 h 4305300"/>
                  <a:gd name="connsiteX216" fmla="*/ 6905625 w 8801100"/>
                  <a:gd name="connsiteY216" fmla="*/ 2814638 h 4305300"/>
                  <a:gd name="connsiteX217" fmla="*/ 6981825 w 8801100"/>
                  <a:gd name="connsiteY217" fmla="*/ 2838450 h 4305300"/>
                  <a:gd name="connsiteX218" fmla="*/ 7186612 w 8801100"/>
                  <a:gd name="connsiteY218" fmla="*/ 2843213 h 4305300"/>
                  <a:gd name="connsiteX219" fmla="*/ 7362825 w 8801100"/>
                  <a:gd name="connsiteY219" fmla="*/ 2705100 h 4305300"/>
                  <a:gd name="connsiteX220" fmla="*/ 7419975 w 8801100"/>
                  <a:gd name="connsiteY220" fmla="*/ 2614612 h 4305300"/>
                  <a:gd name="connsiteX221" fmla="*/ 7446169 w 8801100"/>
                  <a:gd name="connsiteY221" fmla="*/ 2531269 h 4305300"/>
                  <a:gd name="connsiteX222" fmla="*/ 7577137 w 8801100"/>
                  <a:gd name="connsiteY222" fmla="*/ 2531269 h 4305300"/>
                  <a:gd name="connsiteX223" fmla="*/ 7750969 w 8801100"/>
                  <a:gd name="connsiteY223" fmla="*/ 2474118 h 4305300"/>
                  <a:gd name="connsiteX224" fmla="*/ 7810500 w 8801100"/>
                  <a:gd name="connsiteY224" fmla="*/ 2362200 h 4305300"/>
                  <a:gd name="connsiteX225" fmla="*/ 7874794 w 8801100"/>
                  <a:gd name="connsiteY225" fmla="*/ 2326481 h 4305300"/>
                  <a:gd name="connsiteX226" fmla="*/ 7853363 w 8801100"/>
                  <a:gd name="connsiteY226" fmla="*/ 2281238 h 4305300"/>
                  <a:gd name="connsiteX227" fmla="*/ 7931944 w 8801100"/>
                  <a:gd name="connsiteY227" fmla="*/ 2112168 h 4305300"/>
                  <a:gd name="connsiteX228" fmla="*/ 7986713 w 8801100"/>
                  <a:gd name="connsiteY228" fmla="*/ 2052638 h 4305300"/>
                  <a:gd name="connsiteX229" fmla="*/ 8024813 w 8801100"/>
                  <a:gd name="connsiteY229" fmla="*/ 2047875 h 4305300"/>
                  <a:gd name="connsiteX230" fmla="*/ 8070056 w 8801100"/>
                  <a:gd name="connsiteY230" fmla="*/ 2052638 h 4305300"/>
                  <a:gd name="connsiteX231" fmla="*/ 8134350 w 8801100"/>
                  <a:gd name="connsiteY231" fmla="*/ 2019300 h 4305300"/>
                  <a:gd name="connsiteX232" fmla="*/ 8143875 w 8801100"/>
                  <a:gd name="connsiteY232" fmla="*/ 1955006 h 4305300"/>
                  <a:gd name="connsiteX233" fmla="*/ 8184355 w 8801100"/>
                  <a:gd name="connsiteY233" fmla="*/ 1919288 h 4305300"/>
                  <a:gd name="connsiteX234" fmla="*/ 8243888 w 8801100"/>
                  <a:gd name="connsiteY234" fmla="*/ 1959768 h 4305300"/>
                  <a:gd name="connsiteX235" fmla="*/ 8270082 w 8801100"/>
                  <a:gd name="connsiteY235" fmla="*/ 1909762 h 4305300"/>
                  <a:gd name="connsiteX236" fmla="*/ 8365331 w 8801100"/>
                  <a:gd name="connsiteY236" fmla="*/ 1840706 h 4305300"/>
                  <a:gd name="connsiteX237" fmla="*/ 8427244 w 8801100"/>
                  <a:gd name="connsiteY237" fmla="*/ 1847850 h 4305300"/>
                  <a:gd name="connsiteX238" fmla="*/ 8477250 w 8801100"/>
                  <a:gd name="connsiteY238" fmla="*/ 1828800 h 4305300"/>
                  <a:gd name="connsiteX239" fmla="*/ 8515350 w 8801100"/>
                  <a:gd name="connsiteY239" fmla="*/ 1800225 h 4305300"/>
                  <a:gd name="connsiteX240" fmla="*/ 8548688 w 8801100"/>
                  <a:gd name="connsiteY240" fmla="*/ 1797844 h 4305300"/>
                  <a:gd name="connsiteX241" fmla="*/ 8584406 w 8801100"/>
                  <a:gd name="connsiteY241" fmla="*/ 1828800 h 4305300"/>
                  <a:gd name="connsiteX242" fmla="*/ 8643938 w 8801100"/>
                  <a:gd name="connsiteY242" fmla="*/ 1828800 h 4305300"/>
                  <a:gd name="connsiteX243" fmla="*/ 8682037 w 8801100"/>
                  <a:gd name="connsiteY243" fmla="*/ 1809750 h 4305300"/>
                  <a:gd name="connsiteX244" fmla="*/ 8765381 w 8801100"/>
                  <a:gd name="connsiteY244" fmla="*/ 1812132 h 4305300"/>
                  <a:gd name="connsiteX245" fmla="*/ 8796338 w 8801100"/>
                  <a:gd name="connsiteY245" fmla="*/ 1766888 h 4305300"/>
                  <a:gd name="connsiteX246" fmla="*/ 8801100 w 8801100"/>
                  <a:gd name="connsiteY246" fmla="*/ 1704975 h 4305300"/>
                  <a:gd name="connsiteX247" fmla="*/ 8751093 w 8801100"/>
                  <a:gd name="connsiteY247" fmla="*/ 1664494 h 4305300"/>
                  <a:gd name="connsiteX248" fmla="*/ 8734425 w 8801100"/>
                  <a:gd name="connsiteY248" fmla="*/ 1609725 h 4305300"/>
                  <a:gd name="connsiteX249" fmla="*/ 8643938 w 8801100"/>
                  <a:gd name="connsiteY249" fmla="*/ 1547813 h 4305300"/>
                  <a:gd name="connsiteX250" fmla="*/ 8603456 w 8801100"/>
                  <a:gd name="connsiteY250" fmla="*/ 1526381 h 4305300"/>
                  <a:gd name="connsiteX251" fmla="*/ 8565356 w 8801100"/>
                  <a:gd name="connsiteY251" fmla="*/ 1481138 h 4305300"/>
                  <a:gd name="connsiteX252" fmla="*/ 8534400 w 8801100"/>
                  <a:gd name="connsiteY252" fmla="*/ 1478756 h 4305300"/>
                  <a:gd name="connsiteX253" fmla="*/ 8517731 w 8801100"/>
                  <a:gd name="connsiteY253" fmla="*/ 1426369 h 4305300"/>
                  <a:gd name="connsiteX254" fmla="*/ 8477250 w 8801100"/>
                  <a:gd name="connsiteY254" fmla="*/ 1409700 h 4305300"/>
                  <a:gd name="connsiteX255" fmla="*/ 8477250 w 8801100"/>
                  <a:gd name="connsiteY255" fmla="*/ 1409700 h 4305300"/>
                  <a:gd name="connsiteX256" fmla="*/ 8436769 w 8801100"/>
                  <a:gd name="connsiteY256" fmla="*/ 1414463 h 4305300"/>
                  <a:gd name="connsiteX257" fmla="*/ 8351043 w 8801100"/>
                  <a:gd name="connsiteY257" fmla="*/ 1340644 h 4305300"/>
                  <a:gd name="connsiteX258" fmla="*/ 8170069 w 8801100"/>
                  <a:gd name="connsiteY258" fmla="*/ 1340643 h 4305300"/>
                  <a:gd name="connsiteX259" fmla="*/ 8117681 w 8801100"/>
                  <a:gd name="connsiteY259" fmla="*/ 1378744 h 4305300"/>
                  <a:gd name="connsiteX260" fmla="*/ 8067675 w 8801100"/>
                  <a:gd name="connsiteY260" fmla="*/ 1457325 h 4305300"/>
                  <a:gd name="connsiteX261" fmla="*/ 8084344 w 8801100"/>
                  <a:gd name="connsiteY261" fmla="*/ 1478756 h 4305300"/>
                  <a:gd name="connsiteX262" fmla="*/ 8039100 w 8801100"/>
                  <a:gd name="connsiteY262" fmla="*/ 1528762 h 4305300"/>
                  <a:gd name="connsiteX263" fmla="*/ 7889081 w 8801100"/>
                  <a:gd name="connsiteY263" fmla="*/ 1452562 h 4305300"/>
                  <a:gd name="connsiteX264" fmla="*/ 7798594 w 8801100"/>
                  <a:gd name="connsiteY264" fmla="*/ 1488281 h 4305300"/>
                  <a:gd name="connsiteX265" fmla="*/ 7724775 w 8801100"/>
                  <a:gd name="connsiteY265" fmla="*/ 1485900 h 4305300"/>
                  <a:gd name="connsiteX266" fmla="*/ 7667625 w 8801100"/>
                  <a:gd name="connsiteY266" fmla="*/ 1581150 h 4305300"/>
                  <a:gd name="connsiteX267" fmla="*/ 7529513 w 8801100"/>
                  <a:gd name="connsiteY267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1528762 w 8801100"/>
                  <a:gd name="connsiteY117" fmla="*/ 307181 h 4305300"/>
                  <a:gd name="connsiteX118" fmla="*/ 2381 w 8801100"/>
                  <a:gd name="connsiteY118" fmla="*/ 1490661 h 4305300"/>
                  <a:gd name="connsiteX119" fmla="*/ 0 w 8801100"/>
                  <a:gd name="connsiteY119" fmla="*/ 709613 h 4305300"/>
                  <a:gd name="connsiteX120" fmla="*/ 76200 w 8801100"/>
                  <a:gd name="connsiteY120" fmla="*/ 692944 h 4305300"/>
                  <a:gd name="connsiteX121" fmla="*/ 119063 w 8801100"/>
                  <a:gd name="connsiteY121" fmla="*/ 721519 h 4305300"/>
                  <a:gd name="connsiteX122" fmla="*/ 215900 w 8801100"/>
                  <a:gd name="connsiteY122" fmla="*/ 712788 h 4305300"/>
                  <a:gd name="connsiteX123" fmla="*/ 261938 w 8801100"/>
                  <a:gd name="connsiteY123" fmla="*/ 740568 h 4305300"/>
                  <a:gd name="connsiteX124" fmla="*/ 228600 w 8801100"/>
                  <a:gd name="connsiteY124" fmla="*/ 769144 h 4305300"/>
                  <a:gd name="connsiteX125" fmla="*/ 233363 w 8801100"/>
                  <a:gd name="connsiteY125" fmla="*/ 812006 h 4305300"/>
                  <a:gd name="connsiteX126" fmla="*/ 200025 w 8801100"/>
                  <a:gd name="connsiteY126" fmla="*/ 816769 h 4305300"/>
                  <a:gd name="connsiteX127" fmla="*/ 204788 w 8801100"/>
                  <a:gd name="connsiteY127" fmla="*/ 840581 h 4305300"/>
                  <a:gd name="connsiteX128" fmla="*/ 261937 w 8801100"/>
                  <a:gd name="connsiteY128" fmla="*/ 914400 h 4305300"/>
                  <a:gd name="connsiteX129" fmla="*/ 223838 w 8801100"/>
                  <a:gd name="connsiteY129" fmla="*/ 962025 h 4305300"/>
                  <a:gd name="connsiteX130" fmla="*/ 278606 w 8801100"/>
                  <a:gd name="connsiteY130" fmla="*/ 997744 h 4305300"/>
                  <a:gd name="connsiteX131" fmla="*/ 369094 w 8801100"/>
                  <a:gd name="connsiteY131" fmla="*/ 1085850 h 4305300"/>
                  <a:gd name="connsiteX132" fmla="*/ 371475 w 8801100"/>
                  <a:gd name="connsiteY132" fmla="*/ 1145381 h 4305300"/>
                  <a:gd name="connsiteX133" fmla="*/ 507206 w 8801100"/>
                  <a:gd name="connsiteY133" fmla="*/ 1278732 h 4305300"/>
                  <a:gd name="connsiteX134" fmla="*/ 561975 w 8801100"/>
                  <a:gd name="connsiteY134" fmla="*/ 1254919 h 4305300"/>
                  <a:gd name="connsiteX135" fmla="*/ 600075 w 8801100"/>
                  <a:gd name="connsiteY135" fmla="*/ 1281112 h 4305300"/>
                  <a:gd name="connsiteX136" fmla="*/ 614363 w 8801100"/>
                  <a:gd name="connsiteY136" fmla="*/ 1331118 h 4305300"/>
                  <a:gd name="connsiteX137" fmla="*/ 657225 w 8801100"/>
                  <a:gd name="connsiteY137" fmla="*/ 1366838 h 4305300"/>
                  <a:gd name="connsiteX138" fmla="*/ 697706 w 8801100"/>
                  <a:gd name="connsiteY138" fmla="*/ 1354931 h 4305300"/>
                  <a:gd name="connsiteX139" fmla="*/ 716756 w 8801100"/>
                  <a:gd name="connsiteY139" fmla="*/ 1412081 h 4305300"/>
                  <a:gd name="connsiteX140" fmla="*/ 764381 w 8801100"/>
                  <a:gd name="connsiteY140" fmla="*/ 1454944 h 4305300"/>
                  <a:gd name="connsiteX141" fmla="*/ 788194 w 8801100"/>
                  <a:gd name="connsiteY141" fmla="*/ 1557338 h 4305300"/>
                  <a:gd name="connsiteX142" fmla="*/ 785813 w 8801100"/>
                  <a:gd name="connsiteY142" fmla="*/ 1604963 h 4305300"/>
                  <a:gd name="connsiteX143" fmla="*/ 821531 w 8801100"/>
                  <a:gd name="connsiteY143" fmla="*/ 1704975 h 4305300"/>
                  <a:gd name="connsiteX144" fmla="*/ 866775 w 8801100"/>
                  <a:gd name="connsiteY144" fmla="*/ 1762125 h 4305300"/>
                  <a:gd name="connsiteX145" fmla="*/ 883443 w 8801100"/>
                  <a:gd name="connsiteY145" fmla="*/ 1919287 h 4305300"/>
                  <a:gd name="connsiteX146" fmla="*/ 850106 w 8801100"/>
                  <a:gd name="connsiteY146" fmla="*/ 1981200 h 4305300"/>
                  <a:gd name="connsiteX147" fmla="*/ 819150 w 8801100"/>
                  <a:gd name="connsiteY147" fmla="*/ 2057400 h 4305300"/>
                  <a:gd name="connsiteX148" fmla="*/ 833438 w 8801100"/>
                  <a:gd name="connsiteY148" fmla="*/ 2114550 h 4305300"/>
                  <a:gd name="connsiteX149" fmla="*/ 735806 w 8801100"/>
                  <a:gd name="connsiteY149" fmla="*/ 2221707 h 4305300"/>
                  <a:gd name="connsiteX150" fmla="*/ 692944 w 8801100"/>
                  <a:gd name="connsiteY150" fmla="*/ 2336006 h 4305300"/>
                  <a:gd name="connsiteX151" fmla="*/ 726281 w 8801100"/>
                  <a:gd name="connsiteY151" fmla="*/ 2376488 h 4305300"/>
                  <a:gd name="connsiteX152" fmla="*/ 709613 w 8801100"/>
                  <a:gd name="connsiteY152" fmla="*/ 2405063 h 4305300"/>
                  <a:gd name="connsiteX153" fmla="*/ 740569 w 8801100"/>
                  <a:gd name="connsiteY153" fmla="*/ 2462213 h 4305300"/>
                  <a:gd name="connsiteX154" fmla="*/ 769144 w 8801100"/>
                  <a:gd name="connsiteY154" fmla="*/ 2462213 h 4305300"/>
                  <a:gd name="connsiteX155" fmla="*/ 931069 w 8801100"/>
                  <a:gd name="connsiteY155" fmla="*/ 2564606 h 4305300"/>
                  <a:gd name="connsiteX156" fmla="*/ 1035844 w 8801100"/>
                  <a:gd name="connsiteY156" fmla="*/ 2562225 h 4305300"/>
                  <a:gd name="connsiteX157" fmla="*/ 1114425 w 8801100"/>
                  <a:gd name="connsiteY157" fmla="*/ 2616994 h 4305300"/>
                  <a:gd name="connsiteX158" fmla="*/ 1245393 w 8801100"/>
                  <a:gd name="connsiteY158" fmla="*/ 2619375 h 4305300"/>
                  <a:gd name="connsiteX159" fmla="*/ 1435893 w 8801100"/>
                  <a:gd name="connsiteY159" fmla="*/ 2688431 h 4305300"/>
                  <a:gd name="connsiteX160" fmla="*/ 1638300 w 8801100"/>
                  <a:gd name="connsiteY160" fmla="*/ 2838450 h 4305300"/>
                  <a:gd name="connsiteX161" fmla="*/ 1671637 w 8801100"/>
                  <a:gd name="connsiteY161" fmla="*/ 2905125 h 4305300"/>
                  <a:gd name="connsiteX162" fmla="*/ 1838325 w 8801100"/>
                  <a:gd name="connsiteY162" fmla="*/ 3031331 h 4305300"/>
                  <a:gd name="connsiteX163" fmla="*/ 1909763 w 8801100"/>
                  <a:gd name="connsiteY163" fmla="*/ 3026569 h 4305300"/>
                  <a:gd name="connsiteX164" fmla="*/ 1945482 w 8801100"/>
                  <a:gd name="connsiteY164" fmla="*/ 3050381 h 4305300"/>
                  <a:gd name="connsiteX165" fmla="*/ 1916906 w 8801100"/>
                  <a:gd name="connsiteY165" fmla="*/ 3090863 h 4305300"/>
                  <a:gd name="connsiteX166" fmla="*/ 1924050 w 8801100"/>
                  <a:gd name="connsiteY166" fmla="*/ 3143250 h 4305300"/>
                  <a:gd name="connsiteX167" fmla="*/ 1976438 w 8801100"/>
                  <a:gd name="connsiteY167" fmla="*/ 3169444 h 4305300"/>
                  <a:gd name="connsiteX168" fmla="*/ 2038350 w 8801100"/>
                  <a:gd name="connsiteY168" fmla="*/ 3393282 h 4305300"/>
                  <a:gd name="connsiteX169" fmla="*/ 2028825 w 8801100"/>
                  <a:gd name="connsiteY169" fmla="*/ 3457575 h 4305300"/>
                  <a:gd name="connsiteX170" fmla="*/ 2164556 w 8801100"/>
                  <a:gd name="connsiteY170" fmla="*/ 3624263 h 4305300"/>
                  <a:gd name="connsiteX171" fmla="*/ 2183606 w 8801100"/>
                  <a:gd name="connsiteY171" fmla="*/ 3674269 h 4305300"/>
                  <a:gd name="connsiteX172" fmla="*/ 2157413 w 8801100"/>
                  <a:gd name="connsiteY172" fmla="*/ 3693319 h 4305300"/>
                  <a:gd name="connsiteX173" fmla="*/ 2259806 w 8801100"/>
                  <a:gd name="connsiteY173" fmla="*/ 3702844 h 4305300"/>
                  <a:gd name="connsiteX174" fmla="*/ 2371725 w 8801100"/>
                  <a:gd name="connsiteY174" fmla="*/ 3690938 h 4305300"/>
                  <a:gd name="connsiteX175" fmla="*/ 2650331 w 8801100"/>
                  <a:gd name="connsiteY175" fmla="*/ 3774281 h 4305300"/>
                  <a:gd name="connsiteX176" fmla="*/ 3057525 w 8801100"/>
                  <a:gd name="connsiteY176" fmla="*/ 3855244 h 4305300"/>
                  <a:gd name="connsiteX177" fmla="*/ 3255169 w 8801100"/>
                  <a:gd name="connsiteY177" fmla="*/ 3824287 h 4305300"/>
                  <a:gd name="connsiteX178" fmla="*/ 3300413 w 8801100"/>
                  <a:gd name="connsiteY178" fmla="*/ 3836193 h 4305300"/>
                  <a:gd name="connsiteX179" fmla="*/ 3355181 w 8801100"/>
                  <a:gd name="connsiteY179" fmla="*/ 3812382 h 4305300"/>
                  <a:gd name="connsiteX180" fmla="*/ 3748087 w 8801100"/>
                  <a:gd name="connsiteY180" fmla="*/ 3902869 h 4305300"/>
                  <a:gd name="connsiteX181" fmla="*/ 3831432 w 8801100"/>
                  <a:gd name="connsiteY181" fmla="*/ 4000500 h 4305300"/>
                  <a:gd name="connsiteX182" fmla="*/ 3950494 w 8801100"/>
                  <a:gd name="connsiteY182" fmla="*/ 4071938 h 4305300"/>
                  <a:gd name="connsiteX183" fmla="*/ 4010025 w 8801100"/>
                  <a:gd name="connsiteY183" fmla="*/ 4055269 h 4305300"/>
                  <a:gd name="connsiteX184" fmla="*/ 4360068 w 8801100"/>
                  <a:gd name="connsiteY184" fmla="*/ 4229100 h 4305300"/>
                  <a:gd name="connsiteX185" fmla="*/ 4586288 w 8801100"/>
                  <a:gd name="connsiteY185" fmla="*/ 4200525 h 4305300"/>
                  <a:gd name="connsiteX186" fmla="*/ 4595813 w 8801100"/>
                  <a:gd name="connsiteY186" fmla="*/ 4279106 h 4305300"/>
                  <a:gd name="connsiteX187" fmla="*/ 4681538 w 8801100"/>
                  <a:gd name="connsiteY187" fmla="*/ 4274343 h 4305300"/>
                  <a:gd name="connsiteX188" fmla="*/ 4760119 w 8801100"/>
                  <a:gd name="connsiteY188" fmla="*/ 4305300 h 4305300"/>
                  <a:gd name="connsiteX189" fmla="*/ 4802981 w 8801100"/>
                  <a:gd name="connsiteY189" fmla="*/ 4245769 h 4305300"/>
                  <a:gd name="connsiteX190" fmla="*/ 5474494 w 8801100"/>
                  <a:gd name="connsiteY190" fmla="*/ 3926681 h 4305300"/>
                  <a:gd name="connsiteX191" fmla="*/ 5562600 w 8801100"/>
                  <a:gd name="connsiteY191" fmla="*/ 3955257 h 4305300"/>
                  <a:gd name="connsiteX192" fmla="*/ 5693569 w 8801100"/>
                  <a:gd name="connsiteY192" fmla="*/ 3926681 h 4305300"/>
                  <a:gd name="connsiteX193" fmla="*/ 5872162 w 8801100"/>
                  <a:gd name="connsiteY193" fmla="*/ 3943350 h 4305300"/>
                  <a:gd name="connsiteX194" fmla="*/ 5929313 w 8801100"/>
                  <a:gd name="connsiteY194" fmla="*/ 3917157 h 4305300"/>
                  <a:gd name="connsiteX195" fmla="*/ 6062662 w 8801100"/>
                  <a:gd name="connsiteY195" fmla="*/ 3914775 h 4305300"/>
                  <a:gd name="connsiteX196" fmla="*/ 6196012 w 8801100"/>
                  <a:gd name="connsiteY196" fmla="*/ 3817144 h 4305300"/>
                  <a:gd name="connsiteX197" fmla="*/ 6262687 w 8801100"/>
                  <a:gd name="connsiteY197" fmla="*/ 3810000 h 4305300"/>
                  <a:gd name="connsiteX198" fmla="*/ 6360319 w 8801100"/>
                  <a:gd name="connsiteY198" fmla="*/ 3736181 h 4305300"/>
                  <a:gd name="connsiteX199" fmla="*/ 6434138 w 8801100"/>
                  <a:gd name="connsiteY199" fmla="*/ 3667125 h 4305300"/>
                  <a:gd name="connsiteX200" fmla="*/ 6443663 w 8801100"/>
                  <a:gd name="connsiteY200" fmla="*/ 3605213 h 4305300"/>
                  <a:gd name="connsiteX201" fmla="*/ 6477000 w 8801100"/>
                  <a:gd name="connsiteY201" fmla="*/ 3536156 h 4305300"/>
                  <a:gd name="connsiteX202" fmla="*/ 6629400 w 8801100"/>
                  <a:gd name="connsiteY202" fmla="*/ 3429000 h 4305300"/>
                  <a:gd name="connsiteX203" fmla="*/ 6662738 w 8801100"/>
                  <a:gd name="connsiteY203" fmla="*/ 3433763 h 4305300"/>
                  <a:gd name="connsiteX204" fmla="*/ 6715125 w 8801100"/>
                  <a:gd name="connsiteY204" fmla="*/ 3355181 h 4305300"/>
                  <a:gd name="connsiteX205" fmla="*/ 6762750 w 8801100"/>
                  <a:gd name="connsiteY205" fmla="*/ 3317081 h 4305300"/>
                  <a:gd name="connsiteX206" fmla="*/ 6748463 w 8801100"/>
                  <a:gd name="connsiteY206" fmla="*/ 3248025 h 4305300"/>
                  <a:gd name="connsiteX207" fmla="*/ 6698456 w 8801100"/>
                  <a:gd name="connsiteY207" fmla="*/ 3217068 h 4305300"/>
                  <a:gd name="connsiteX208" fmla="*/ 6638925 w 8801100"/>
                  <a:gd name="connsiteY208" fmla="*/ 3162300 h 4305300"/>
                  <a:gd name="connsiteX209" fmla="*/ 6619875 w 8801100"/>
                  <a:gd name="connsiteY209" fmla="*/ 3105150 h 4305300"/>
                  <a:gd name="connsiteX210" fmla="*/ 6584156 w 8801100"/>
                  <a:gd name="connsiteY210" fmla="*/ 3071813 h 4305300"/>
                  <a:gd name="connsiteX211" fmla="*/ 6610350 w 8801100"/>
                  <a:gd name="connsiteY211" fmla="*/ 3019425 h 4305300"/>
                  <a:gd name="connsiteX212" fmla="*/ 6650831 w 8801100"/>
                  <a:gd name="connsiteY212" fmla="*/ 2840831 h 4305300"/>
                  <a:gd name="connsiteX213" fmla="*/ 6691313 w 8801100"/>
                  <a:gd name="connsiteY213" fmla="*/ 2774156 h 4305300"/>
                  <a:gd name="connsiteX214" fmla="*/ 6836569 w 8801100"/>
                  <a:gd name="connsiteY214" fmla="*/ 2757487 h 4305300"/>
                  <a:gd name="connsiteX215" fmla="*/ 6905625 w 8801100"/>
                  <a:gd name="connsiteY215" fmla="*/ 2814638 h 4305300"/>
                  <a:gd name="connsiteX216" fmla="*/ 6981825 w 8801100"/>
                  <a:gd name="connsiteY216" fmla="*/ 2838450 h 4305300"/>
                  <a:gd name="connsiteX217" fmla="*/ 7186612 w 8801100"/>
                  <a:gd name="connsiteY217" fmla="*/ 2843213 h 4305300"/>
                  <a:gd name="connsiteX218" fmla="*/ 7362825 w 8801100"/>
                  <a:gd name="connsiteY218" fmla="*/ 2705100 h 4305300"/>
                  <a:gd name="connsiteX219" fmla="*/ 7419975 w 8801100"/>
                  <a:gd name="connsiteY219" fmla="*/ 2614612 h 4305300"/>
                  <a:gd name="connsiteX220" fmla="*/ 7446169 w 8801100"/>
                  <a:gd name="connsiteY220" fmla="*/ 2531269 h 4305300"/>
                  <a:gd name="connsiteX221" fmla="*/ 7577137 w 8801100"/>
                  <a:gd name="connsiteY221" fmla="*/ 2531269 h 4305300"/>
                  <a:gd name="connsiteX222" fmla="*/ 7750969 w 8801100"/>
                  <a:gd name="connsiteY222" fmla="*/ 2474118 h 4305300"/>
                  <a:gd name="connsiteX223" fmla="*/ 7810500 w 8801100"/>
                  <a:gd name="connsiteY223" fmla="*/ 2362200 h 4305300"/>
                  <a:gd name="connsiteX224" fmla="*/ 7874794 w 8801100"/>
                  <a:gd name="connsiteY224" fmla="*/ 2326481 h 4305300"/>
                  <a:gd name="connsiteX225" fmla="*/ 7853363 w 8801100"/>
                  <a:gd name="connsiteY225" fmla="*/ 2281238 h 4305300"/>
                  <a:gd name="connsiteX226" fmla="*/ 7931944 w 8801100"/>
                  <a:gd name="connsiteY226" fmla="*/ 2112168 h 4305300"/>
                  <a:gd name="connsiteX227" fmla="*/ 7986713 w 8801100"/>
                  <a:gd name="connsiteY227" fmla="*/ 2052638 h 4305300"/>
                  <a:gd name="connsiteX228" fmla="*/ 8024813 w 8801100"/>
                  <a:gd name="connsiteY228" fmla="*/ 2047875 h 4305300"/>
                  <a:gd name="connsiteX229" fmla="*/ 8070056 w 8801100"/>
                  <a:gd name="connsiteY229" fmla="*/ 2052638 h 4305300"/>
                  <a:gd name="connsiteX230" fmla="*/ 8134350 w 8801100"/>
                  <a:gd name="connsiteY230" fmla="*/ 2019300 h 4305300"/>
                  <a:gd name="connsiteX231" fmla="*/ 8143875 w 8801100"/>
                  <a:gd name="connsiteY231" fmla="*/ 1955006 h 4305300"/>
                  <a:gd name="connsiteX232" fmla="*/ 8184355 w 8801100"/>
                  <a:gd name="connsiteY232" fmla="*/ 1919288 h 4305300"/>
                  <a:gd name="connsiteX233" fmla="*/ 8243888 w 8801100"/>
                  <a:gd name="connsiteY233" fmla="*/ 1959768 h 4305300"/>
                  <a:gd name="connsiteX234" fmla="*/ 8270082 w 8801100"/>
                  <a:gd name="connsiteY234" fmla="*/ 1909762 h 4305300"/>
                  <a:gd name="connsiteX235" fmla="*/ 8365331 w 8801100"/>
                  <a:gd name="connsiteY235" fmla="*/ 1840706 h 4305300"/>
                  <a:gd name="connsiteX236" fmla="*/ 8427244 w 8801100"/>
                  <a:gd name="connsiteY236" fmla="*/ 1847850 h 4305300"/>
                  <a:gd name="connsiteX237" fmla="*/ 8477250 w 8801100"/>
                  <a:gd name="connsiteY237" fmla="*/ 1828800 h 4305300"/>
                  <a:gd name="connsiteX238" fmla="*/ 8515350 w 8801100"/>
                  <a:gd name="connsiteY238" fmla="*/ 1800225 h 4305300"/>
                  <a:gd name="connsiteX239" fmla="*/ 8548688 w 8801100"/>
                  <a:gd name="connsiteY239" fmla="*/ 1797844 h 4305300"/>
                  <a:gd name="connsiteX240" fmla="*/ 8584406 w 8801100"/>
                  <a:gd name="connsiteY240" fmla="*/ 1828800 h 4305300"/>
                  <a:gd name="connsiteX241" fmla="*/ 8643938 w 8801100"/>
                  <a:gd name="connsiteY241" fmla="*/ 1828800 h 4305300"/>
                  <a:gd name="connsiteX242" fmla="*/ 8682037 w 8801100"/>
                  <a:gd name="connsiteY242" fmla="*/ 1809750 h 4305300"/>
                  <a:gd name="connsiteX243" fmla="*/ 8765381 w 8801100"/>
                  <a:gd name="connsiteY243" fmla="*/ 1812132 h 4305300"/>
                  <a:gd name="connsiteX244" fmla="*/ 8796338 w 8801100"/>
                  <a:gd name="connsiteY244" fmla="*/ 1766888 h 4305300"/>
                  <a:gd name="connsiteX245" fmla="*/ 8801100 w 8801100"/>
                  <a:gd name="connsiteY245" fmla="*/ 1704975 h 4305300"/>
                  <a:gd name="connsiteX246" fmla="*/ 8751093 w 8801100"/>
                  <a:gd name="connsiteY246" fmla="*/ 1664494 h 4305300"/>
                  <a:gd name="connsiteX247" fmla="*/ 8734425 w 8801100"/>
                  <a:gd name="connsiteY247" fmla="*/ 1609725 h 4305300"/>
                  <a:gd name="connsiteX248" fmla="*/ 8643938 w 8801100"/>
                  <a:gd name="connsiteY248" fmla="*/ 1547813 h 4305300"/>
                  <a:gd name="connsiteX249" fmla="*/ 8603456 w 8801100"/>
                  <a:gd name="connsiteY249" fmla="*/ 1526381 h 4305300"/>
                  <a:gd name="connsiteX250" fmla="*/ 8565356 w 8801100"/>
                  <a:gd name="connsiteY250" fmla="*/ 1481138 h 4305300"/>
                  <a:gd name="connsiteX251" fmla="*/ 8534400 w 8801100"/>
                  <a:gd name="connsiteY251" fmla="*/ 1478756 h 4305300"/>
                  <a:gd name="connsiteX252" fmla="*/ 8517731 w 8801100"/>
                  <a:gd name="connsiteY252" fmla="*/ 1426369 h 4305300"/>
                  <a:gd name="connsiteX253" fmla="*/ 8477250 w 8801100"/>
                  <a:gd name="connsiteY253" fmla="*/ 1409700 h 4305300"/>
                  <a:gd name="connsiteX254" fmla="*/ 8477250 w 8801100"/>
                  <a:gd name="connsiteY254" fmla="*/ 1409700 h 4305300"/>
                  <a:gd name="connsiteX255" fmla="*/ 8436769 w 8801100"/>
                  <a:gd name="connsiteY255" fmla="*/ 1414463 h 4305300"/>
                  <a:gd name="connsiteX256" fmla="*/ 8351043 w 8801100"/>
                  <a:gd name="connsiteY256" fmla="*/ 1340644 h 4305300"/>
                  <a:gd name="connsiteX257" fmla="*/ 8170069 w 8801100"/>
                  <a:gd name="connsiteY257" fmla="*/ 1340643 h 4305300"/>
                  <a:gd name="connsiteX258" fmla="*/ 8117681 w 8801100"/>
                  <a:gd name="connsiteY258" fmla="*/ 1378744 h 4305300"/>
                  <a:gd name="connsiteX259" fmla="*/ 8067675 w 8801100"/>
                  <a:gd name="connsiteY259" fmla="*/ 1457325 h 4305300"/>
                  <a:gd name="connsiteX260" fmla="*/ 8084344 w 8801100"/>
                  <a:gd name="connsiteY260" fmla="*/ 1478756 h 4305300"/>
                  <a:gd name="connsiteX261" fmla="*/ 8039100 w 8801100"/>
                  <a:gd name="connsiteY261" fmla="*/ 1528762 h 4305300"/>
                  <a:gd name="connsiteX262" fmla="*/ 7889081 w 8801100"/>
                  <a:gd name="connsiteY262" fmla="*/ 1452562 h 4305300"/>
                  <a:gd name="connsiteX263" fmla="*/ 7798594 w 8801100"/>
                  <a:gd name="connsiteY263" fmla="*/ 1488281 h 4305300"/>
                  <a:gd name="connsiteX264" fmla="*/ 7724775 w 8801100"/>
                  <a:gd name="connsiteY264" fmla="*/ 1485900 h 4305300"/>
                  <a:gd name="connsiteX265" fmla="*/ 7667625 w 8801100"/>
                  <a:gd name="connsiteY265" fmla="*/ 1581150 h 4305300"/>
                  <a:gd name="connsiteX266" fmla="*/ 7529513 w 8801100"/>
                  <a:gd name="connsiteY266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1607344 w 8801100"/>
                  <a:gd name="connsiteY116" fmla="*/ 380999 h 4305300"/>
                  <a:gd name="connsiteX117" fmla="*/ 2381 w 8801100"/>
                  <a:gd name="connsiteY117" fmla="*/ 1490661 h 4305300"/>
                  <a:gd name="connsiteX118" fmla="*/ 0 w 8801100"/>
                  <a:gd name="connsiteY118" fmla="*/ 709613 h 4305300"/>
                  <a:gd name="connsiteX119" fmla="*/ 76200 w 8801100"/>
                  <a:gd name="connsiteY119" fmla="*/ 692944 h 4305300"/>
                  <a:gd name="connsiteX120" fmla="*/ 119063 w 8801100"/>
                  <a:gd name="connsiteY120" fmla="*/ 721519 h 4305300"/>
                  <a:gd name="connsiteX121" fmla="*/ 215900 w 8801100"/>
                  <a:gd name="connsiteY121" fmla="*/ 712788 h 4305300"/>
                  <a:gd name="connsiteX122" fmla="*/ 261938 w 8801100"/>
                  <a:gd name="connsiteY122" fmla="*/ 740568 h 4305300"/>
                  <a:gd name="connsiteX123" fmla="*/ 228600 w 8801100"/>
                  <a:gd name="connsiteY123" fmla="*/ 769144 h 4305300"/>
                  <a:gd name="connsiteX124" fmla="*/ 233363 w 8801100"/>
                  <a:gd name="connsiteY124" fmla="*/ 812006 h 4305300"/>
                  <a:gd name="connsiteX125" fmla="*/ 200025 w 8801100"/>
                  <a:gd name="connsiteY125" fmla="*/ 816769 h 4305300"/>
                  <a:gd name="connsiteX126" fmla="*/ 204788 w 8801100"/>
                  <a:gd name="connsiteY126" fmla="*/ 840581 h 4305300"/>
                  <a:gd name="connsiteX127" fmla="*/ 261937 w 8801100"/>
                  <a:gd name="connsiteY127" fmla="*/ 914400 h 4305300"/>
                  <a:gd name="connsiteX128" fmla="*/ 223838 w 8801100"/>
                  <a:gd name="connsiteY128" fmla="*/ 962025 h 4305300"/>
                  <a:gd name="connsiteX129" fmla="*/ 278606 w 8801100"/>
                  <a:gd name="connsiteY129" fmla="*/ 997744 h 4305300"/>
                  <a:gd name="connsiteX130" fmla="*/ 369094 w 8801100"/>
                  <a:gd name="connsiteY130" fmla="*/ 1085850 h 4305300"/>
                  <a:gd name="connsiteX131" fmla="*/ 371475 w 8801100"/>
                  <a:gd name="connsiteY131" fmla="*/ 1145381 h 4305300"/>
                  <a:gd name="connsiteX132" fmla="*/ 507206 w 8801100"/>
                  <a:gd name="connsiteY132" fmla="*/ 1278732 h 4305300"/>
                  <a:gd name="connsiteX133" fmla="*/ 561975 w 8801100"/>
                  <a:gd name="connsiteY133" fmla="*/ 1254919 h 4305300"/>
                  <a:gd name="connsiteX134" fmla="*/ 600075 w 8801100"/>
                  <a:gd name="connsiteY134" fmla="*/ 1281112 h 4305300"/>
                  <a:gd name="connsiteX135" fmla="*/ 614363 w 8801100"/>
                  <a:gd name="connsiteY135" fmla="*/ 1331118 h 4305300"/>
                  <a:gd name="connsiteX136" fmla="*/ 657225 w 8801100"/>
                  <a:gd name="connsiteY136" fmla="*/ 1366838 h 4305300"/>
                  <a:gd name="connsiteX137" fmla="*/ 697706 w 8801100"/>
                  <a:gd name="connsiteY137" fmla="*/ 1354931 h 4305300"/>
                  <a:gd name="connsiteX138" fmla="*/ 716756 w 8801100"/>
                  <a:gd name="connsiteY138" fmla="*/ 1412081 h 4305300"/>
                  <a:gd name="connsiteX139" fmla="*/ 764381 w 8801100"/>
                  <a:gd name="connsiteY139" fmla="*/ 1454944 h 4305300"/>
                  <a:gd name="connsiteX140" fmla="*/ 788194 w 8801100"/>
                  <a:gd name="connsiteY140" fmla="*/ 1557338 h 4305300"/>
                  <a:gd name="connsiteX141" fmla="*/ 785813 w 8801100"/>
                  <a:gd name="connsiteY141" fmla="*/ 1604963 h 4305300"/>
                  <a:gd name="connsiteX142" fmla="*/ 821531 w 8801100"/>
                  <a:gd name="connsiteY142" fmla="*/ 1704975 h 4305300"/>
                  <a:gd name="connsiteX143" fmla="*/ 866775 w 8801100"/>
                  <a:gd name="connsiteY143" fmla="*/ 1762125 h 4305300"/>
                  <a:gd name="connsiteX144" fmla="*/ 883443 w 8801100"/>
                  <a:gd name="connsiteY144" fmla="*/ 1919287 h 4305300"/>
                  <a:gd name="connsiteX145" fmla="*/ 850106 w 8801100"/>
                  <a:gd name="connsiteY145" fmla="*/ 1981200 h 4305300"/>
                  <a:gd name="connsiteX146" fmla="*/ 819150 w 8801100"/>
                  <a:gd name="connsiteY146" fmla="*/ 2057400 h 4305300"/>
                  <a:gd name="connsiteX147" fmla="*/ 833438 w 8801100"/>
                  <a:gd name="connsiteY147" fmla="*/ 2114550 h 4305300"/>
                  <a:gd name="connsiteX148" fmla="*/ 735806 w 8801100"/>
                  <a:gd name="connsiteY148" fmla="*/ 2221707 h 4305300"/>
                  <a:gd name="connsiteX149" fmla="*/ 692944 w 8801100"/>
                  <a:gd name="connsiteY149" fmla="*/ 2336006 h 4305300"/>
                  <a:gd name="connsiteX150" fmla="*/ 726281 w 8801100"/>
                  <a:gd name="connsiteY150" fmla="*/ 2376488 h 4305300"/>
                  <a:gd name="connsiteX151" fmla="*/ 709613 w 8801100"/>
                  <a:gd name="connsiteY151" fmla="*/ 2405063 h 4305300"/>
                  <a:gd name="connsiteX152" fmla="*/ 740569 w 8801100"/>
                  <a:gd name="connsiteY152" fmla="*/ 2462213 h 4305300"/>
                  <a:gd name="connsiteX153" fmla="*/ 769144 w 8801100"/>
                  <a:gd name="connsiteY153" fmla="*/ 2462213 h 4305300"/>
                  <a:gd name="connsiteX154" fmla="*/ 931069 w 8801100"/>
                  <a:gd name="connsiteY154" fmla="*/ 2564606 h 4305300"/>
                  <a:gd name="connsiteX155" fmla="*/ 1035844 w 8801100"/>
                  <a:gd name="connsiteY155" fmla="*/ 2562225 h 4305300"/>
                  <a:gd name="connsiteX156" fmla="*/ 1114425 w 8801100"/>
                  <a:gd name="connsiteY156" fmla="*/ 2616994 h 4305300"/>
                  <a:gd name="connsiteX157" fmla="*/ 1245393 w 8801100"/>
                  <a:gd name="connsiteY157" fmla="*/ 2619375 h 4305300"/>
                  <a:gd name="connsiteX158" fmla="*/ 1435893 w 8801100"/>
                  <a:gd name="connsiteY158" fmla="*/ 2688431 h 4305300"/>
                  <a:gd name="connsiteX159" fmla="*/ 1638300 w 8801100"/>
                  <a:gd name="connsiteY159" fmla="*/ 2838450 h 4305300"/>
                  <a:gd name="connsiteX160" fmla="*/ 1671637 w 8801100"/>
                  <a:gd name="connsiteY160" fmla="*/ 2905125 h 4305300"/>
                  <a:gd name="connsiteX161" fmla="*/ 1838325 w 8801100"/>
                  <a:gd name="connsiteY161" fmla="*/ 3031331 h 4305300"/>
                  <a:gd name="connsiteX162" fmla="*/ 1909763 w 8801100"/>
                  <a:gd name="connsiteY162" fmla="*/ 3026569 h 4305300"/>
                  <a:gd name="connsiteX163" fmla="*/ 1945482 w 8801100"/>
                  <a:gd name="connsiteY163" fmla="*/ 3050381 h 4305300"/>
                  <a:gd name="connsiteX164" fmla="*/ 1916906 w 8801100"/>
                  <a:gd name="connsiteY164" fmla="*/ 3090863 h 4305300"/>
                  <a:gd name="connsiteX165" fmla="*/ 1924050 w 8801100"/>
                  <a:gd name="connsiteY165" fmla="*/ 3143250 h 4305300"/>
                  <a:gd name="connsiteX166" fmla="*/ 1976438 w 8801100"/>
                  <a:gd name="connsiteY166" fmla="*/ 3169444 h 4305300"/>
                  <a:gd name="connsiteX167" fmla="*/ 2038350 w 8801100"/>
                  <a:gd name="connsiteY167" fmla="*/ 3393282 h 4305300"/>
                  <a:gd name="connsiteX168" fmla="*/ 2028825 w 8801100"/>
                  <a:gd name="connsiteY168" fmla="*/ 3457575 h 4305300"/>
                  <a:gd name="connsiteX169" fmla="*/ 2164556 w 8801100"/>
                  <a:gd name="connsiteY169" fmla="*/ 3624263 h 4305300"/>
                  <a:gd name="connsiteX170" fmla="*/ 2183606 w 8801100"/>
                  <a:gd name="connsiteY170" fmla="*/ 3674269 h 4305300"/>
                  <a:gd name="connsiteX171" fmla="*/ 2157413 w 8801100"/>
                  <a:gd name="connsiteY171" fmla="*/ 3693319 h 4305300"/>
                  <a:gd name="connsiteX172" fmla="*/ 2259806 w 8801100"/>
                  <a:gd name="connsiteY172" fmla="*/ 3702844 h 4305300"/>
                  <a:gd name="connsiteX173" fmla="*/ 2371725 w 8801100"/>
                  <a:gd name="connsiteY173" fmla="*/ 3690938 h 4305300"/>
                  <a:gd name="connsiteX174" fmla="*/ 2650331 w 8801100"/>
                  <a:gd name="connsiteY174" fmla="*/ 3774281 h 4305300"/>
                  <a:gd name="connsiteX175" fmla="*/ 3057525 w 8801100"/>
                  <a:gd name="connsiteY175" fmla="*/ 3855244 h 4305300"/>
                  <a:gd name="connsiteX176" fmla="*/ 3255169 w 8801100"/>
                  <a:gd name="connsiteY176" fmla="*/ 3824287 h 4305300"/>
                  <a:gd name="connsiteX177" fmla="*/ 3300413 w 8801100"/>
                  <a:gd name="connsiteY177" fmla="*/ 3836193 h 4305300"/>
                  <a:gd name="connsiteX178" fmla="*/ 3355181 w 8801100"/>
                  <a:gd name="connsiteY178" fmla="*/ 3812382 h 4305300"/>
                  <a:gd name="connsiteX179" fmla="*/ 3748087 w 8801100"/>
                  <a:gd name="connsiteY179" fmla="*/ 3902869 h 4305300"/>
                  <a:gd name="connsiteX180" fmla="*/ 3831432 w 8801100"/>
                  <a:gd name="connsiteY180" fmla="*/ 4000500 h 4305300"/>
                  <a:gd name="connsiteX181" fmla="*/ 3950494 w 8801100"/>
                  <a:gd name="connsiteY181" fmla="*/ 4071938 h 4305300"/>
                  <a:gd name="connsiteX182" fmla="*/ 4010025 w 8801100"/>
                  <a:gd name="connsiteY182" fmla="*/ 4055269 h 4305300"/>
                  <a:gd name="connsiteX183" fmla="*/ 4360068 w 8801100"/>
                  <a:gd name="connsiteY183" fmla="*/ 4229100 h 4305300"/>
                  <a:gd name="connsiteX184" fmla="*/ 4586288 w 8801100"/>
                  <a:gd name="connsiteY184" fmla="*/ 4200525 h 4305300"/>
                  <a:gd name="connsiteX185" fmla="*/ 4595813 w 8801100"/>
                  <a:gd name="connsiteY185" fmla="*/ 4279106 h 4305300"/>
                  <a:gd name="connsiteX186" fmla="*/ 4681538 w 8801100"/>
                  <a:gd name="connsiteY186" fmla="*/ 4274343 h 4305300"/>
                  <a:gd name="connsiteX187" fmla="*/ 4760119 w 8801100"/>
                  <a:gd name="connsiteY187" fmla="*/ 4305300 h 4305300"/>
                  <a:gd name="connsiteX188" fmla="*/ 4802981 w 8801100"/>
                  <a:gd name="connsiteY188" fmla="*/ 4245769 h 4305300"/>
                  <a:gd name="connsiteX189" fmla="*/ 5474494 w 8801100"/>
                  <a:gd name="connsiteY189" fmla="*/ 3926681 h 4305300"/>
                  <a:gd name="connsiteX190" fmla="*/ 5562600 w 8801100"/>
                  <a:gd name="connsiteY190" fmla="*/ 3955257 h 4305300"/>
                  <a:gd name="connsiteX191" fmla="*/ 5693569 w 8801100"/>
                  <a:gd name="connsiteY191" fmla="*/ 3926681 h 4305300"/>
                  <a:gd name="connsiteX192" fmla="*/ 5872162 w 8801100"/>
                  <a:gd name="connsiteY192" fmla="*/ 3943350 h 4305300"/>
                  <a:gd name="connsiteX193" fmla="*/ 5929313 w 8801100"/>
                  <a:gd name="connsiteY193" fmla="*/ 3917157 h 4305300"/>
                  <a:gd name="connsiteX194" fmla="*/ 6062662 w 8801100"/>
                  <a:gd name="connsiteY194" fmla="*/ 3914775 h 4305300"/>
                  <a:gd name="connsiteX195" fmla="*/ 6196012 w 8801100"/>
                  <a:gd name="connsiteY195" fmla="*/ 3817144 h 4305300"/>
                  <a:gd name="connsiteX196" fmla="*/ 6262687 w 8801100"/>
                  <a:gd name="connsiteY196" fmla="*/ 3810000 h 4305300"/>
                  <a:gd name="connsiteX197" fmla="*/ 6360319 w 8801100"/>
                  <a:gd name="connsiteY197" fmla="*/ 3736181 h 4305300"/>
                  <a:gd name="connsiteX198" fmla="*/ 6434138 w 8801100"/>
                  <a:gd name="connsiteY198" fmla="*/ 3667125 h 4305300"/>
                  <a:gd name="connsiteX199" fmla="*/ 6443663 w 8801100"/>
                  <a:gd name="connsiteY199" fmla="*/ 3605213 h 4305300"/>
                  <a:gd name="connsiteX200" fmla="*/ 6477000 w 8801100"/>
                  <a:gd name="connsiteY200" fmla="*/ 3536156 h 4305300"/>
                  <a:gd name="connsiteX201" fmla="*/ 6629400 w 8801100"/>
                  <a:gd name="connsiteY201" fmla="*/ 3429000 h 4305300"/>
                  <a:gd name="connsiteX202" fmla="*/ 6662738 w 8801100"/>
                  <a:gd name="connsiteY202" fmla="*/ 3433763 h 4305300"/>
                  <a:gd name="connsiteX203" fmla="*/ 6715125 w 8801100"/>
                  <a:gd name="connsiteY203" fmla="*/ 3355181 h 4305300"/>
                  <a:gd name="connsiteX204" fmla="*/ 6762750 w 8801100"/>
                  <a:gd name="connsiteY204" fmla="*/ 3317081 h 4305300"/>
                  <a:gd name="connsiteX205" fmla="*/ 6748463 w 8801100"/>
                  <a:gd name="connsiteY205" fmla="*/ 3248025 h 4305300"/>
                  <a:gd name="connsiteX206" fmla="*/ 6698456 w 8801100"/>
                  <a:gd name="connsiteY206" fmla="*/ 3217068 h 4305300"/>
                  <a:gd name="connsiteX207" fmla="*/ 6638925 w 8801100"/>
                  <a:gd name="connsiteY207" fmla="*/ 3162300 h 4305300"/>
                  <a:gd name="connsiteX208" fmla="*/ 6619875 w 8801100"/>
                  <a:gd name="connsiteY208" fmla="*/ 3105150 h 4305300"/>
                  <a:gd name="connsiteX209" fmla="*/ 6584156 w 8801100"/>
                  <a:gd name="connsiteY209" fmla="*/ 3071813 h 4305300"/>
                  <a:gd name="connsiteX210" fmla="*/ 6610350 w 8801100"/>
                  <a:gd name="connsiteY210" fmla="*/ 3019425 h 4305300"/>
                  <a:gd name="connsiteX211" fmla="*/ 6650831 w 8801100"/>
                  <a:gd name="connsiteY211" fmla="*/ 2840831 h 4305300"/>
                  <a:gd name="connsiteX212" fmla="*/ 6691313 w 8801100"/>
                  <a:gd name="connsiteY212" fmla="*/ 2774156 h 4305300"/>
                  <a:gd name="connsiteX213" fmla="*/ 6836569 w 8801100"/>
                  <a:gd name="connsiteY213" fmla="*/ 2757487 h 4305300"/>
                  <a:gd name="connsiteX214" fmla="*/ 6905625 w 8801100"/>
                  <a:gd name="connsiteY214" fmla="*/ 2814638 h 4305300"/>
                  <a:gd name="connsiteX215" fmla="*/ 6981825 w 8801100"/>
                  <a:gd name="connsiteY215" fmla="*/ 2838450 h 4305300"/>
                  <a:gd name="connsiteX216" fmla="*/ 7186612 w 8801100"/>
                  <a:gd name="connsiteY216" fmla="*/ 2843213 h 4305300"/>
                  <a:gd name="connsiteX217" fmla="*/ 7362825 w 8801100"/>
                  <a:gd name="connsiteY217" fmla="*/ 2705100 h 4305300"/>
                  <a:gd name="connsiteX218" fmla="*/ 7419975 w 8801100"/>
                  <a:gd name="connsiteY218" fmla="*/ 2614612 h 4305300"/>
                  <a:gd name="connsiteX219" fmla="*/ 7446169 w 8801100"/>
                  <a:gd name="connsiteY219" fmla="*/ 2531269 h 4305300"/>
                  <a:gd name="connsiteX220" fmla="*/ 7577137 w 8801100"/>
                  <a:gd name="connsiteY220" fmla="*/ 2531269 h 4305300"/>
                  <a:gd name="connsiteX221" fmla="*/ 7750969 w 8801100"/>
                  <a:gd name="connsiteY221" fmla="*/ 2474118 h 4305300"/>
                  <a:gd name="connsiteX222" fmla="*/ 7810500 w 8801100"/>
                  <a:gd name="connsiteY222" fmla="*/ 2362200 h 4305300"/>
                  <a:gd name="connsiteX223" fmla="*/ 7874794 w 8801100"/>
                  <a:gd name="connsiteY223" fmla="*/ 2326481 h 4305300"/>
                  <a:gd name="connsiteX224" fmla="*/ 7853363 w 8801100"/>
                  <a:gd name="connsiteY224" fmla="*/ 2281238 h 4305300"/>
                  <a:gd name="connsiteX225" fmla="*/ 7931944 w 8801100"/>
                  <a:gd name="connsiteY225" fmla="*/ 2112168 h 4305300"/>
                  <a:gd name="connsiteX226" fmla="*/ 7986713 w 8801100"/>
                  <a:gd name="connsiteY226" fmla="*/ 2052638 h 4305300"/>
                  <a:gd name="connsiteX227" fmla="*/ 8024813 w 8801100"/>
                  <a:gd name="connsiteY227" fmla="*/ 2047875 h 4305300"/>
                  <a:gd name="connsiteX228" fmla="*/ 8070056 w 8801100"/>
                  <a:gd name="connsiteY228" fmla="*/ 2052638 h 4305300"/>
                  <a:gd name="connsiteX229" fmla="*/ 8134350 w 8801100"/>
                  <a:gd name="connsiteY229" fmla="*/ 2019300 h 4305300"/>
                  <a:gd name="connsiteX230" fmla="*/ 8143875 w 8801100"/>
                  <a:gd name="connsiteY230" fmla="*/ 1955006 h 4305300"/>
                  <a:gd name="connsiteX231" fmla="*/ 8184355 w 8801100"/>
                  <a:gd name="connsiteY231" fmla="*/ 1919288 h 4305300"/>
                  <a:gd name="connsiteX232" fmla="*/ 8243888 w 8801100"/>
                  <a:gd name="connsiteY232" fmla="*/ 1959768 h 4305300"/>
                  <a:gd name="connsiteX233" fmla="*/ 8270082 w 8801100"/>
                  <a:gd name="connsiteY233" fmla="*/ 1909762 h 4305300"/>
                  <a:gd name="connsiteX234" fmla="*/ 8365331 w 8801100"/>
                  <a:gd name="connsiteY234" fmla="*/ 1840706 h 4305300"/>
                  <a:gd name="connsiteX235" fmla="*/ 8427244 w 8801100"/>
                  <a:gd name="connsiteY235" fmla="*/ 1847850 h 4305300"/>
                  <a:gd name="connsiteX236" fmla="*/ 8477250 w 8801100"/>
                  <a:gd name="connsiteY236" fmla="*/ 1828800 h 4305300"/>
                  <a:gd name="connsiteX237" fmla="*/ 8515350 w 8801100"/>
                  <a:gd name="connsiteY237" fmla="*/ 1800225 h 4305300"/>
                  <a:gd name="connsiteX238" fmla="*/ 8548688 w 8801100"/>
                  <a:gd name="connsiteY238" fmla="*/ 1797844 h 4305300"/>
                  <a:gd name="connsiteX239" fmla="*/ 8584406 w 8801100"/>
                  <a:gd name="connsiteY239" fmla="*/ 1828800 h 4305300"/>
                  <a:gd name="connsiteX240" fmla="*/ 8643938 w 8801100"/>
                  <a:gd name="connsiteY240" fmla="*/ 1828800 h 4305300"/>
                  <a:gd name="connsiteX241" fmla="*/ 8682037 w 8801100"/>
                  <a:gd name="connsiteY241" fmla="*/ 1809750 h 4305300"/>
                  <a:gd name="connsiteX242" fmla="*/ 8765381 w 8801100"/>
                  <a:gd name="connsiteY242" fmla="*/ 1812132 h 4305300"/>
                  <a:gd name="connsiteX243" fmla="*/ 8796338 w 8801100"/>
                  <a:gd name="connsiteY243" fmla="*/ 1766888 h 4305300"/>
                  <a:gd name="connsiteX244" fmla="*/ 8801100 w 8801100"/>
                  <a:gd name="connsiteY244" fmla="*/ 1704975 h 4305300"/>
                  <a:gd name="connsiteX245" fmla="*/ 8751093 w 8801100"/>
                  <a:gd name="connsiteY245" fmla="*/ 1664494 h 4305300"/>
                  <a:gd name="connsiteX246" fmla="*/ 8734425 w 8801100"/>
                  <a:gd name="connsiteY246" fmla="*/ 1609725 h 4305300"/>
                  <a:gd name="connsiteX247" fmla="*/ 8643938 w 8801100"/>
                  <a:gd name="connsiteY247" fmla="*/ 1547813 h 4305300"/>
                  <a:gd name="connsiteX248" fmla="*/ 8603456 w 8801100"/>
                  <a:gd name="connsiteY248" fmla="*/ 1526381 h 4305300"/>
                  <a:gd name="connsiteX249" fmla="*/ 8565356 w 8801100"/>
                  <a:gd name="connsiteY249" fmla="*/ 1481138 h 4305300"/>
                  <a:gd name="connsiteX250" fmla="*/ 8534400 w 8801100"/>
                  <a:gd name="connsiteY250" fmla="*/ 1478756 h 4305300"/>
                  <a:gd name="connsiteX251" fmla="*/ 8517731 w 8801100"/>
                  <a:gd name="connsiteY251" fmla="*/ 1426369 h 4305300"/>
                  <a:gd name="connsiteX252" fmla="*/ 8477250 w 8801100"/>
                  <a:gd name="connsiteY252" fmla="*/ 1409700 h 4305300"/>
                  <a:gd name="connsiteX253" fmla="*/ 8477250 w 8801100"/>
                  <a:gd name="connsiteY253" fmla="*/ 1409700 h 4305300"/>
                  <a:gd name="connsiteX254" fmla="*/ 8436769 w 8801100"/>
                  <a:gd name="connsiteY254" fmla="*/ 1414463 h 4305300"/>
                  <a:gd name="connsiteX255" fmla="*/ 8351043 w 8801100"/>
                  <a:gd name="connsiteY255" fmla="*/ 1340644 h 4305300"/>
                  <a:gd name="connsiteX256" fmla="*/ 8170069 w 8801100"/>
                  <a:gd name="connsiteY256" fmla="*/ 1340643 h 4305300"/>
                  <a:gd name="connsiteX257" fmla="*/ 8117681 w 8801100"/>
                  <a:gd name="connsiteY257" fmla="*/ 1378744 h 4305300"/>
                  <a:gd name="connsiteX258" fmla="*/ 8067675 w 8801100"/>
                  <a:gd name="connsiteY258" fmla="*/ 1457325 h 4305300"/>
                  <a:gd name="connsiteX259" fmla="*/ 8084344 w 8801100"/>
                  <a:gd name="connsiteY259" fmla="*/ 1478756 h 4305300"/>
                  <a:gd name="connsiteX260" fmla="*/ 8039100 w 8801100"/>
                  <a:gd name="connsiteY260" fmla="*/ 1528762 h 4305300"/>
                  <a:gd name="connsiteX261" fmla="*/ 7889081 w 8801100"/>
                  <a:gd name="connsiteY261" fmla="*/ 1452562 h 4305300"/>
                  <a:gd name="connsiteX262" fmla="*/ 7798594 w 8801100"/>
                  <a:gd name="connsiteY262" fmla="*/ 1488281 h 4305300"/>
                  <a:gd name="connsiteX263" fmla="*/ 7724775 w 8801100"/>
                  <a:gd name="connsiteY263" fmla="*/ 1485900 h 4305300"/>
                  <a:gd name="connsiteX264" fmla="*/ 7667625 w 8801100"/>
                  <a:gd name="connsiteY264" fmla="*/ 1581150 h 4305300"/>
                  <a:gd name="connsiteX265" fmla="*/ 7529513 w 8801100"/>
                  <a:gd name="connsiteY265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1645444 w 8801100"/>
                  <a:gd name="connsiteY115" fmla="*/ 333375 h 4305300"/>
                  <a:gd name="connsiteX116" fmla="*/ 2381 w 8801100"/>
                  <a:gd name="connsiteY116" fmla="*/ 1490661 h 4305300"/>
                  <a:gd name="connsiteX117" fmla="*/ 0 w 8801100"/>
                  <a:gd name="connsiteY117" fmla="*/ 709613 h 4305300"/>
                  <a:gd name="connsiteX118" fmla="*/ 76200 w 8801100"/>
                  <a:gd name="connsiteY118" fmla="*/ 692944 h 4305300"/>
                  <a:gd name="connsiteX119" fmla="*/ 119063 w 8801100"/>
                  <a:gd name="connsiteY119" fmla="*/ 721519 h 4305300"/>
                  <a:gd name="connsiteX120" fmla="*/ 215900 w 8801100"/>
                  <a:gd name="connsiteY120" fmla="*/ 712788 h 4305300"/>
                  <a:gd name="connsiteX121" fmla="*/ 261938 w 8801100"/>
                  <a:gd name="connsiteY121" fmla="*/ 740568 h 4305300"/>
                  <a:gd name="connsiteX122" fmla="*/ 228600 w 8801100"/>
                  <a:gd name="connsiteY122" fmla="*/ 769144 h 4305300"/>
                  <a:gd name="connsiteX123" fmla="*/ 233363 w 8801100"/>
                  <a:gd name="connsiteY123" fmla="*/ 812006 h 4305300"/>
                  <a:gd name="connsiteX124" fmla="*/ 200025 w 8801100"/>
                  <a:gd name="connsiteY124" fmla="*/ 816769 h 4305300"/>
                  <a:gd name="connsiteX125" fmla="*/ 204788 w 8801100"/>
                  <a:gd name="connsiteY125" fmla="*/ 840581 h 4305300"/>
                  <a:gd name="connsiteX126" fmla="*/ 261937 w 8801100"/>
                  <a:gd name="connsiteY126" fmla="*/ 914400 h 4305300"/>
                  <a:gd name="connsiteX127" fmla="*/ 223838 w 8801100"/>
                  <a:gd name="connsiteY127" fmla="*/ 962025 h 4305300"/>
                  <a:gd name="connsiteX128" fmla="*/ 278606 w 8801100"/>
                  <a:gd name="connsiteY128" fmla="*/ 997744 h 4305300"/>
                  <a:gd name="connsiteX129" fmla="*/ 369094 w 8801100"/>
                  <a:gd name="connsiteY129" fmla="*/ 1085850 h 4305300"/>
                  <a:gd name="connsiteX130" fmla="*/ 371475 w 8801100"/>
                  <a:gd name="connsiteY130" fmla="*/ 1145381 h 4305300"/>
                  <a:gd name="connsiteX131" fmla="*/ 507206 w 8801100"/>
                  <a:gd name="connsiteY131" fmla="*/ 1278732 h 4305300"/>
                  <a:gd name="connsiteX132" fmla="*/ 561975 w 8801100"/>
                  <a:gd name="connsiteY132" fmla="*/ 1254919 h 4305300"/>
                  <a:gd name="connsiteX133" fmla="*/ 600075 w 8801100"/>
                  <a:gd name="connsiteY133" fmla="*/ 1281112 h 4305300"/>
                  <a:gd name="connsiteX134" fmla="*/ 614363 w 8801100"/>
                  <a:gd name="connsiteY134" fmla="*/ 1331118 h 4305300"/>
                  <a:gd name="connsiteX135" fmla="*/ 657225 w 8801100"/>
                  <a:gd name="connsiteY135" fmla="*/ 1366838 h 4305300"/>
                  <a:gd name="connsiteX136" fmla="*/ 697706 w 8801100"/>
                  <a:gd name="connsiteY136" fmla="*/ 1354931 h 4305300"/>
                  <a:gd name="connsiteX137" fmla="*/ 716756 w 8801100"/>
                  <a:gd name="connsiteY137" fmla="*/ 1412081 h 4305300"/>
                  <a:gd name="connsiteX138" fmla="*/ 764381 w 8801100"/>
                  <a:gd name="connsiteY138" fmla="*/ 1454944 h 4305300"/>
                  <a:gd name="connsiteX139" fmla="*/ 788194 w 8801100"/>
                  <a:gd name="connsiteY139" fmla="*/ 1557338 h 4305300"/>
                  <a:gd name="connsiteX140" fmla="*/ 785813 w 8801100"/>
                  <a:gd name="connsiteY140" fmla="*/ 1604963 h 4305300"/>
                  <a:gd name="connsiteX141" fmla="*/ 821531 w 8801100"/>
                  <a:gd name="connsiteY141" fmla="*/ 1704975 h 4305300"/>
                  <a:gd name="connsiteX142" fmla="*/ 866775 w 8801100"/>
                  <a:gd name="connsiteY142" fmla="*/ 1762125 h 4305300"/>
                  <a:gd name="connsiteX143" fmla="*/ 883443 w 8801100"/>
                  <a:gd name="connsiteY143" fmla="*/ 1919287 h 4305300"/>
                  <a:gd name="connsiteX144" fmla="*/ 850106 w 8801100"/>
                  <a:gd name="connsiteY144" fmla="*/ 1981200 h 4305300"/>
                  <a:gd name="connsiteX145" fmla="*/ 819150 w 8801100"/>
                  <a:gd name="connsiteY145" fmla="*/ 2057400 h 4305300"/>
                  <a:gd name="connsiteX146" fmla="*/ 833438 w 8801100"/>
                  <a:gd name="connsiteY146" fmla="*/ 2114550 h 4305300"/>
                  <a:gd name="connsiteX147" fmla="*/ 735806 w 8801100"/>
                  <a:gd name="connsiteY147" fmla="*/ 2221707 h 4305300"/>
                  <a:gd name="connsiteX148" fmla="*/ 692944 w 8801100"/>
                  <a:gd name="connsiteY148" fmla="*/ 2336006 h 4305300"/>
                  <a:gd name="connsiteX149" fmla="*/ 726281 w 8801100"/>
                  <a:gd name="connsiteY149" fmla="*/ 2376488 h 4305300"/>
                  <a:gd name="connsiteX150" fmla="*/ 709613 w 8801100"/>
                  <a:gd name="connsiteY150" fmla="*/ 2405063 h 4305300"/>
                  <a:gd name="connsiteX151" fmla="*/ 740569 w 8801100"/>
                  <a:gd name="connsiteY151" fmla="*/ 2462213 h 4305300"/>
                  <a:gd name="connsiteX152" fmla="*/ 769144 w 8801100"/>
                  <a:gd name="connsiteY152" fmla="*/ 2462213 h 4305300"/>
                  <a:gd name="connsiteX153" fmla="*/ 931069 w 8801100"/>
                  <a:gd name="connsiteY153" fmla="*/ 2564606 h 4305300"/>
                  <a:gd name="connsiteX154" fmla="*/ 1035844 w 8801100"/>
                  <a:gd name="connsiteY154" fmla="*/ 2562225 h 4305300"/>
                  <a:gd name="connsiteX155" fmla="*/ 1114425 w 8801100"/>
                  <a:gd name="connsiteY155" fmla="*/ 2616994 h 4305300"/>
                  <a:gd name="connsiteX156" fmla="*/ 1245393 w 8801100"/>
                  <a:gd name="connsiteY156" fmla="*/ 2619375 h 4305300"/>
                  <a:gd name="connsiteX157" fmla="*/ 1435893 w 8801100"/>
                  <a:gd name="connsiteY157" fmla="*/ 2688431 h 4305300"/>
                  <a:gd name="connsiteX158" fmla="*/ 1638300 w 8801100"/>
                  <a:gd name="connsiteY158" fmla="*/ 2838450 h 4305300"/>
                  <a:gd name="connsiteX159" fmla="*/ 1671637 w 8801100"/>
                  <a:gd name="connsiteY159" fmla="*/ 2905125 h 4305300"/>
                  <a:gd name="connsiteX160" fmla="*/ 1838325 w 8801100"/>
                  <a:gd name="connsiteY160" fmla="*/ 3031331 h 4305300"/>
                  <a:gd name="connsiteX161" fmla="*/ 1909763 w 8801100"/>
                  <a:gd name="connsiteY161" fmla="*/ 3026569 h 4305300"/>
                  <a:gd name="connsiteX162" fmla="*/ 1945482 w 8801100"/>
                  <a:gd name="connsiteY162" fmla="*/ 3050381 h 4305300"/>
                  <a:gd name="connsiteX163" fmla="*/ 1916906 w 8801100"/>
                  <a:gd name="connsiteY163" fmla="*/ 3090863 h 4305300"/>
                  <a:gd name="connsiteX164" fmla="*/ 1924050 w 8801100"/>
                  <a:gd name="connsiteY164" fmla="*/ 3143250 h 4305300"/>
                  <a:gd name="connsiteX165" fmla="*/ 1976438 w 8801100"/>
                  <a:gd name="connsiteY165" fmla="*/ 3169444 h 4305300"/>
                  <a:gd name="connsiteX166" fmla="*/ 2038350 w 8801100"/>
                  <a:gd name="connsiteY166" fmla="*/ 3393282 h 4305300"/>
                  <a:gd name="connsiteX167" fmla="*/ 2028825 w 8801100"/>
                  <a:gd name="connsiteY167" fmla="*/ 3457575 h 4305300"/>
                  <a:gd name="connsiteX168" fmla="*/ 2164556 w 8801100"/>
                  <a:gd name="connsiteY168" fmla="*/ 3624263 h 4305300"/>
                  <a:gd name="connsiteX169" fmla="*/ 2183606 w 8801100"/>
                  <a:gd name="connsiteY169" fmla="*/ 3674269 h 4305300"/>
                  <a:gd name="connsiteX170" fmla="*/ 2157413 w 8801100"/>
                  <a:gd name="connsiteY170" fmla="*/ 3693319 h 4305300"/>
                  <a:gd name="connsiteX171" fmla="*/ 2259806 w 8801100"/>
                  <a:gd name="connsiteY171" fmla="*/ 3702844 h 4305300"/>
                  <a:gd name="connsiteX172" fmla="*/ 2371725 w 8801100"/>
                  <a:gd name="connsiteY172" fmla="*/ 3690938 h 4305300"/>
                  <a:gd name="connsiteX173" fmla="*/ 2650331 w 8801100"/>
                  <a:gd name="connsiteY173" fmla="*/ 3774281 h 4305300"/>
                  <a:gd name="connsiteX174" fmla="*/ 3057525 w 8801100"/>
                  <a:gd name="connsiteY174" fmla="*/ 3855244 h 4305300"/>
                  <a:gd name="connsiteX175" fmla="*/ 3255169 w 8801100"/>
                  <a:gd name="connsiteY175" fmla="*/ 3824287 h 4305300"/>
                  <a:gd name="connsiteX176" fmla="*/ 3300413 w 8801100"/>
                  <a:gd name="connsiteY176" fmla="*/ 3836193 h 4305300"/>
                  <a:gd name="connsiteX177" fmla="*/ 3355181 w 8801100"/>
                  <a:gd name="connsiteY177" fmla="*/ 3812382 h 4305300"/>
                  <a:gd name="connsiteX178" fmla="*/ 3748087 w 8801100"/>
                  <a:gd name="connsiteY178" fmla="*/ 3902869 h 4305300"/>
                  <a:gd name="connsiteX179" fmla="*/ 3831432 w 8801100"/>
                  <a:gd name="connsiteY179" fmla="*/ 4000500 h 4305300"/>
                  <a:gd name="connsiteX180" fmla="*/ 3950494 w 8801100"/>
                  <a:gd name="connsiteY180" fmla="*/ 4071938 h 4305300"/>
                  <a:gd name="connsiteX181" fmla="*/ 4010025 w 8801100"/>
                  <a:gd name="connsiteY181" fmla="*/ 4055269 h 4305300"/>
                  <a:gd name="connsiteX182" fmla="*/ 4360068 w 8801100"/>
                  <a:gd name="connsiteY182" fmla="*/ 4229100 h 4305300"/>
                  <a:gd name="connsiteX183" fmla="*/ 4586288 w 8801100"/>
                  <a:gd name="connsiteY183" fmla="*/ 4200525 h 4305300"/>
                  <a:gd name="connsiteX184" fmla="*/ 4595813 w 8801100"/>
                  <a:gd name="connsiteY184" fmla="*/ 4279106 h 4305300"/>
                  <a:gd name="connsiteX185" fmla="*/ 4681538 w 8801100"/>
                  <a:gd name="connsiteY185" fmla="*/ 4274343 h 4305300"/>
                  <a:gd name="connsiteX186" fmla="*/ 4760119 w 8801100"/>
                  <a:gd name="connsiteY186" fmla="*/ 4305300 h 4305300"/>
                  <a:gd name="connsiteX187" fmla="*/ 4802981 w 8801100"/>
                  <a:gd name="connsiteY187" fmla="*/ 4245769 h 4305300"/>
                  <a:gd name="connsiteX188" fmla="*/ 5474494 w 8801100"/>
                  <a:gd name="connsiteY188" fmla="*/ 3926681 h 4305300"/>
                  <a:gd name="connsiteX189" fmla="*/ 5562600 w 8801100"/>
                  <a:gd name="connsiteY189" fmla="*/ 3955257 h 4305300"/>
                  <a:gd name="connsiteX190" fmla="*/ 5693569 w 8801100"/>
                  <a:gd name="connsiteY190" fmla="*/ 3926681 h 4305300"/>
                  <a:gd name="connsiteX191" fmla="*/ 5872162 w 8801100"/>
                  <a:gd name="connsiteY191" fmla="*/ 3943350 h 4305300"/>
                  <a:gd name="connsiteX192" fmla="*/ 5929313 w 8801100"/>
                  <a:gd name="connsiteY192" fmla="*/ 3917157 h 4305300"/>
                  <a:gd name="connsiteX193" fmla="*/ 6062662 w 8801100"/>
                  <a:gd name="connsiteY193" fmla="*/ 3914775 h 4305300"/>
                  <a:gd name="connsiteX194" fmla="*/ 6196012 w 8801100"/>
                  <a:gd name="connsiteY194" fmla="*/ 3817144 h 4305300"/>
                  <a:gd name="connsiteX195" fmla="*/ 6262687 w 8801100"/>
                  <a:gd name="connsiteY195" fmla="*/ 3810000 h 4305300"/>
                  <a:gd name="connsiteX196" fmla="*/ 6360319 w 8801100"/>
                  <a:gd name="connsiteY196" fmla="*/ 3736181 h 4305300"/>
                  <a:gd name="connsiteX197" fmla="*/ 6434138 w 8801100"/>
                  <a:gd name="connsiteY197" fmla="*/ 3667125 h 4305300"/>
                  <a:gd name="connsiteX198" fmla="*/ 6443663 w 8801100"/>
                  <a:gd name="connsiteY198" fmla="*/ 3605213 h 4305300"/>
                  <a:gd name="connsiteX199" fmla="*/ 6477000 w 8801100"/>
                  <a:gd name="connsiteY199" fmla="*/ 3536156 h 4305300"/>
                  <a:gd name="connsiteX200" fmla="*/ 6629400 w 8801100"/>
                  <a:gd name="connsiteY200" fmla="*/ 3429000 h 4305300"/>
                  <a:gd name="connsiteX201" fmla="*/ 6662738 w 8801100"/>
                  <a:gd name="connsiteY201" fmla="*/ 3433763 h 4305300"/>
                  <a:gd name="connsiteX202" fmla="*/ 6715125 w 8801100"/>
                  <a:gd name="connsiteY202" fmla="*/ 3355181 h 4305300"/>
                  <a:gd name="connsiteX203" fmla="*/ 6762750 w 8801100"/>
                  <a:gd name="connsiteY203" fmla="*/ 3317081 h 4305300"/>
                  <a:gd name="connsiteX204" fmla="*/ 6748463 w 8801100"/>
                  <a:gd name="connsiteY204" fmla="*/ 3248025 h 4305300"/>
                  <a:gd name="connsiteX205" fmla="*/ 6698456 w 8801100"/>
                  <a:gd name="connsiteY205" fmla="*/ 3217068 h 4305300"/>
                  <a:gd name="connsiteX206" fmla="*/ 6638925 w 8801100"/>
                  <a:gd name="connsiteY206" fmla="*/ 3162300 h 4305300"/>
                  <a:gd name="connsiteX207" fmla="*/ 6619875 w 8801100"/>
                  <a:gd name="connsiteY207" fmla="*/ 3105150 h 4305300"/>
                  <a:gd name="connsiteX208" fmla="*/ 6584156 w 8801100"/>
                  <a:gd name="connsiteY208" fmla="*/ 3071813 h 4305300"/>
                  <a:gd name="connsiteX209" fmla="*/ 6610350 w 8801100"/>
                  <a:gd name="connsiteY209" fmla="*/ 3019425 h 4305300"/>
                  <a:gd name="connsiteX210" fmla="*/ 6650831 w 8801100"/>
                  <a:gd name="connsiteY210" fmla="*/ 2840831 h 4305300"/>
                  <a:gd name="connsiteX211" fmla="*/ 6691313 w 8801100"/>
                  <a:gd name="connsiteY211" fmla="*/ 2774156 h 4305300"/>
                  <a:gd name="connsiteX212" fmla="*/ 6836569 w 8801100"/>
                  <a:gd name="connsiteY212" fmla="*/ 2757487 h 4305300"/>
                  <a:gd name="connsiteX213" fmla="*/ 6905625 w 8801100"/>
                  <a:gd name="connsiteY213" fmla="*/ 2814638 h 4305300"/>
                  <a:gd name="connsiteX214" fmla="*/ 6981825 w 8801100"/>
                  <a:gd name="connsiteY214" fmla="*/ 2838450 h 4305300"/>
                  <a:gd name="connsiteX215" fmla="*/ 7186612 w 8801100"/>
                  <a:gd name="connsiteY215" fmla="*/ 2843213 h 4305300"/>
                  <a:gd name="connsiteX216" fmla="*/ 7362825 w 8801100"/>
                  <a:gd name="connsiteY216" fmla="*/ 2705100 h 4305300"/>
                  <a:gd name="connsiteX217" fmla="*/ 7419975 w 8801100"/>
                  <a:gd name="connsiteY217" fmla="*/ 2614612 h 4305300"/>
                  <a:gd name="connsiteX218" fmla="*/ 7446169 w 8801100"/>
                  <a:gd name="connsiteY218" fmla="*/ 2531269 h 4305300"/>
                  <a:gd name="connsiteX219" fmla="*/ 7577137 w 8801100"/>
                  <a:gd name="connsiteY219" fmla="*/ 2531269 h 4305300"/>
                  <a:gd name="connsiteX220" fmla="*/ 7750969 w 8801100"/>
                  <a:gd name="connsiteY220" fmla="*/ 2474118 h 4305300"/>
                  <a:gd name="connsiteX221" fmla="*/ 7810500 w 8801100"/>
                  <a:gd name="connsiteY221" fmla="*/ 2362200 h 4305300"/>
                  <a:gd name="connsiteX222" fmla="*/ 7874794 w 8801100"/>
                  <a:gd name="connsiteY222" fmla="*/ 2326481 h 4305300"/>
                  <a:gd name="connsiteX223" fmla="*/ 7853363 w 8801100"/>
                  <a:gd name="connsiteY223" fmla="*/ 2281238 h 4305300"/>
                  <a:gd name="connsiteX224" fmla="*/ 7931944 w 8801100"/>
                  <a:gd name="connsiteY224" fmla="*/ 2112168 h 4305300"/>
                  <a:gd name="connsiteX225" fmla="*/ 7986713 w 8801100"/>
                  <a:gd name="connsiteY225" fmla="*/ 2052638 h 4305300"/>
                  <a:gd name="connsiteX226" fmla="*/ 8024813 w 8801100"/>
                  <a:gd name="connsiteY226" fmla="*/ 2047875 h 4305300"/>
                  <a:gd name="connsiteX227" fmla="*/ 8070056 w 8801100"/>
                  <a:gd name="connsiteY227" fmla="*/ 2052638 h 4305300"/>
                  <a:gd name="connsiteX228" fmla="*/ 8134350 w 8801100"/>
                  <a:gd name="connsiteY228" fmla="*/ 2019300 h 4305300"/>
                  <a:gd name="connsiteX229" fmla="*/ 8143875 w 8801100"/>
                  <a:gd name="connsiteY229" fmla="*/ 1955006 h 4305300"/>
                  <a:gd name="connsiteX230" fmla="*/ 8184355 w 8801100"/>
                  <a:gd name="connsiteY230" fmla="*/ 1919288 h 4305300"/>
                  <a:gd name="connsiteX231" fmla="*/ 8243888 w 8801100"/>
                  <a:gd name="connsiteY231" fmla="*/ 1959768 h 4305300"/>
                  <a:gd name="connsiteX232" fmla="*/ 8270082 w 8801100"/>
                  <a:gd name="connsiteY232" fmla="*/ 1909762 h 4305300"/>
                  <a:gd name="connsiteX233" fmla="*/ 8365331 w 8801100"/>
                  <a:gd name="connsiteY233" fmla="*/ 1840706 h 4305300"/>
                  <a:gd name="connsiteX234" fmla="*/ 8427244 w 8801100"/>
                  <a:gd name="connsiteY234" fmla="*/ 1847850 h 4305300"/>
                  <a:gd name="connsiteX235" fmla="*/ 8477250 w 8801100"/>
                  <a:gd name="connsiteY235" fmla="*/ 1828800 h 4305300"/>
                  <a:gd name="connsiteX236" fmla="*/ 8515350 w 8801100"/>
                  <a:gd name="connsiteY236" fmla="*/ 1800225 h 4305300"/>
                  <a:gd name="connsiteX237" fmla="*/ 8548688 w 8801100"/>
                  <a:gd name="connsiteY237" fmla="*/ 1797844 h 4305300"/>
                  <a:gd name="connsiteX238" fmla="*/ 8584406 w 8801100"/>
                  <a:gd name="connsiteY238" fmla="*/ 1828800 h 4305300"/>
                  <a:gd name="connsiteX239" fmla="*/ 8643938 w 8801100"/>
                  <a:gd name="connsiteY239" fmla="*/ 1828800 h 4305300"/>
                  <a:gd name="connsiteX240" fmla="*/ 8682037 w 8801100"/>
                  <a:gd name="connsiteY240" fmla="*/ 1809750 h 4305300"/>
                  <a:gd name="connsiteX241" fmla="*/ 8765381 w 8801100"/>
                  <a:gd name="connsiteY241" fmla="*/ 1812132 h 4305300"/>
                  <a:gd name="connsiteX242" fmla="*/ 8796338 w 8801100"/>
                  <a:gd name="connsiteY242" fmla="*/ 1766888 h 4305300"/>
                  <a:gd name="connsiteX243" fmla="*/ 8801100 w 8801100"/>
                  <a:gd name="connsiteY243" fmla="*/ 1704975 h 4305300"/>
                  <a:gd name="connsiteX244" fmla="*/ 8751093 w 8801100"/>
                  <a:gd name="connsiteY244" fmla="*/ 1664494 h 4305300"/>
                  <a:gd name="connsiteX245" fmla="*/ 8734425 w 8801100"/>
                  <a:gd name="connsiteY245" fmla="*/ 1609725 h 4305300"/>
                  <a:gd name="connsiteX246" fmla="*/ 8643938 w 8801100"/>
                  <a:gd name="connsiteY246" fmla="*/ 1547813 h 4305300"/>
                  <a:gd name="connsiteX247" fmla="*/ 8603456 w 8801100"/>
                  <a:gd name="connsiteY247" fmla="*/ 1526381 h 4305300"/>
                  <a:gd name="connsiteX248" fmla="*/ 8565356 w 8801100"/>
                  <a:gd name="connsiteY248" fmla="*/ 1481138 h 4305300"/>
                  <a:gd name="connsiteX249" fmla="*/ 8534400 w 8801100"/>
                  <a:gd name="connsiteY249" fmla="*/ 1478756 h 4305300"/>
                  <a:gd name="connsiteX250" fmla="*/ 8517731 w 8801100"/>
                  <a:gd name="connsiteY250" fmla="*/ 1426369 h 4305300"/>
                  <a:gd name="connsiteX251" fmla="*/ 8477250 w 8801100"/>
                  <a:gd name="connsiteY251" fmla="*/ 1409700 h 4305300"/>
                  <a:gd name="connsiteX252" fmla="*/ 8477250 w 8801100"/>
                  <a:gd name="connsiteY252" fmla="*/ 1409700 h 4305300"/>
                  <a:gd name="connsiteX253" fmla="*/ 8436769 w 8801100"/>
                  <a:gd name="connsiteY253" fmla="*/ 1414463 h 4305300"/>
                  <a:gd name="connsiteX254" fmla="*/ 8351043 w 8801100"/>
                  <a:gd name="connsiteY254" fmla="*/ 1340644 h 4305300"/>
                  <a:gd name="connsiteX255" fmla="*/ 8170069 w 8801100"/>
                  <a:gd name="connsiteY255" fmla="*/ 1340643 h 4305300"/>
                  <a:gd name="connsiteX256" fmla="*/ 8117681 w 8801100"/>
                  <a:gd name="connsiteY256" fmla="*/ 1378744 h 4305300"/>
                  <a:gd name="connsiteX257" fmla="*/ 8067675 w 8801100"/>
                  <a:gd name="connsiteY257" fmla="*/ 1457325 h 4305300"/>
                  <a:gd name="connsiteX258" fmla="*/ 8084344 w 8801100"/>
                  <a:gd name="connsiteY258" fmla="*/ 1478756 h 4305300"/>
                  <a:gd name="connsiteX259" fmla="*/ 8039100 w 8801100"/>
                  <a:gd name="connsiteY259" fmla="*/ 1528762 h 4305300"/>
                  <a:gd name="connsiteX260" fmla="*/ 7889081 w 8801100"/>
                  <a:gd name="connsiteY260" fmla="*/ 1452562 h 4305300"/>
                  <a:gd name="connsiteX261" fmla="*/ 7798594 w 8801100"/>
                  <a:gd name="connsiteY261" fmla="*/ 1488281 h 4305300"/>
                  <a:gd name="connsiteX262" fmla="*/ 7724775 w 8801100"/>
                  <a:gd name="connsiteY262" fmla="*/ 1485900 h 4305300"/>
                  <a:gd name="connsiteX263" fmla="*/ 7667625 w 8801100"/>
                  <a:gd name="connsiteY263" fmla="*/ 1581150 h 4305300"/>
                  <a:gd name="connsiteX264" fmla="*/ 7529513 w 8801100"/>
                  <a:gd name="connsiteY264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1669257 w 8801100"/>
                  <a:gd name="connsiteY114" fmla="*/ 347663 h 4305300"/>
                  <a:gd name="connsiteX115" fmla="*/ 2381 w 8801100"/>
                  <a:gd name="connsiteY115" fmla="*/ 1490661 h 4305300"/>
                  <a:gd name="connsiteX116" fmla="*/ 0 w 8801100"/>
                  <a:gd name="connsiteY116" fmla="*/ 709613 h 4305300"/>
                  <a:gd name="connsiteX117" fmla="*/ 76200 w 8801100"/>
                  <a:gd name="connsiteY117" fmla="*/ 692944 h 4305300"/>
                  <a:gd name="connsiteX118" fmla="*/ 119063 w 8801100"/>
                  <a:gd name="connsiteY118" fmla="*/ 721519 h 4305300"/>
                  <a:gd name="connsiteX119" fmla="*/ 215900 w 8801100"/>
                  <a:gd name="connsiteY119" fmla="*/ 712788 h 4305300"/>
                  <a:gd name="connsiteX120" fmla="*/ 261938 w 8801100"/>
                  <a:gd name="connsiteY120" fmla="*/ 740568 h 4305300"/>
                  <a:gd name="connsiteX121" fmla="*/ 228600 w 8801100"/>
                  <a:gd name="connsiteY121" fmla="*/ 769144 h 4305300"/>
                  <a:gd name="connsiteX122" fmla="*/ 233363 w 8801100"/>
                  <a:gd name="connsiteY122" fmla="*/ 812006 h 4305300"/>
                  <a:gd name="connsiteX123" fmla="*/ 200025 w 8801100"/>
                  <a:gd name="connsiteY123" fmla="*/ 816769 h 4305300"/>
                  <a:gd name="connsiteX124" fmla="*/ 204788 w 8801100"/>
                  <a:gd name="connsiteY124" fmla="*/ 840581 h 4305300"/>
                  <a:gd name="connsiteX125" fmla="*/ 261937 w 8801100"/>
                  <a:gd name="connsiteY125" fmla="*/ 914400 h 4305300"/>
                  <a:gd name="connsiteX126" fmla="*/ 223838 w 8801100"/>
                  <a:gd name="connsiteY126" fmla="*/ 962025 h 4305300"/>
                  <a:gd name="connsiteX127" fmla="*/ 278606 w 8801100"/>
                  <a:gd name="connsiteY127" fmla="*/ 997744 h 4305300"/>
                  <a:gd name="connsiteX128" fmla="*/ 369094 w 8801100"/>
                  <a:gd name="connsiteY128" fmla="*/ 1085850 h 4305300"/>
                  <a:gd name="connsiteX129" fmla="*/ 371475 w 8801100"/>
                  <a:gd name="connsiteY129" fmla="*/ 1145381 h 4305300"/>
                  <a:gd name="connsiteX130" fmla="*/ 507206 w 8801100"/>
                  <a:gd name="connsiteY130" fmla="*/ 1278732 h 4305300"/>
                  <a:gd name="connsiteX131" fmla="*/ 561975 w 8801100"/>
                  <a:gd name="connsiteY131" fmla="*/ 1254919 h 4305300"/>
                  <a:gd name="connsiteX132" fmla="*/ 600075 w 8801100"/>
                  <a:gd name="connsiteY132" fmla="*/ 1281112 h 4305300"/>
                  <a:gd name="connsiteX133" fmla="*/ 614363 w 8801100"/>
                  <a:gd name="connsiteY133" fmla="*/ 1331118 h 4305300"/>
                  <a:gd name="connsiteX134" fmla="*/ 657225 w 8801100"/>
                  <a:gd name="connsiteY134" fmla="*/ 1366838 h 4305300"/>
                  <a:gd name="connsiteX135" fmla="*/ 697706 w 8801100"/>
                  <a:gd name="connsiteY135" fmla="*/ 1354931 h 4305300"/>
                  <a:gd name="connsiteX136" fmla="*/ 716756 w 8801100"/>
                  <a:gd name="connsiteY136" fmla="*/ 1412081 h 4305300"/>
                  <a:gd name="connsiteX137" fmla="*/ 764381 w 8801100"/>
                  <a:gd name="connsiteY137" fmla="*/ 1454944 h 4305300"/>
                  <a:gd name="connsiteX138" fmla="*/ 788194 w 8801100"/>
                  <a:gd name="connsiteY138" fmla="*/ 1557338 h 4305300"/>
                  <a:gd name="connsiteX139" fmla="*/ 785813 w 8801100"/>
                  <a:gd name="connsiteY139" fmla="*/ 1604963 h 4305300"/>
                  <a:gd name="connsiteX140" fmla="*/ 821531 w 8801100"/>
                  <a:gd name="connsiteY140" fmla="*/ 1704975 h 4305300"/>
                  <a:gd name="connsiteX141" fmla="*/ 866775 w 8801100"/>
                  <a:gd name="connsiteY141" fmla="*/ 1762125 h 4305300"/>
                  <a:gd name="connsiteX142" fmla="*/ 883443 w 8801100"/>
                  <a:gd name="connsiteY142" fmla="*/ 1919287 h 4305300"/>
                  <a:gd name="connsiteX143" fmla="*/ 850106 w 8801100"/>
                  <a:gd name="connsiteY143" fmla="*/ 1981200 h 4305300"/>
                  <a:gd name="connsiteX144" fmla="*/ 819150 w 8801100"/>
                  <a:gd name="connsiteY144" fmla="*/ 2057400 h 4305300"/>
                  <a:gd name="connsiteX145" fmla="*/ 833438 w 8801100"/>
                  <a:gd name="connsiteY145" fmla="*/ 2114550 h 4305300"/>
                  <a:gd name="connsiteX146" fmla="*/ 735806 w 8801100"/>
                  <a:gd name="connsiteY146" fmla="*/ 2221707 h 4305300"/>
                  <a:gd name="connsiteX147" fmla="*/ 692944 w 8801100"/>
                  <a:gd name="connsiteY147" fmla="*/ 2336006 h 4305300"/>
                  <a:gd name="connsiteX148" fmla="*/ 726281 w 8801100"/>
                  <a:gd name="connsiteY148" fmla="*/ 2376488 h 4305300"/>
                  <a:gd name="connsiteX149" fmla="*/ 709613 w 8801100"/>
                  <a:gd name="connsiteY149" fmla="*/ 2405063 h 4305300"/>
                  <a:gd name="connsiteX150" fmla="*/ 740569 w 8801100"/>
                  <a:gd name="connsiteY150" fmla="*/ 2462213 h 4305300"/>
                  <a:gd name="connsiteX151" fmla="*/ 769144 w 8801100"/>
                  <a:gd name="connsiteY151" fmla="*/ 2462213 h 4305300"/>
                  <a:gd name="connsiteX152" fmla="*/ 931069 w 8801100"/>
                  <a:gd name="connsiteY152" fmla="*/ 2564606 h 4305300"/>
                  <a:gd name="connsiteX153" fmla="*/ 1035844 w 8801100"/>
                  <a:gd name="connsiteY153" fmla="*/ 2562225 h 4305300"/>
                  <a:gd name="connsiteX154" fmla="*/ 1114425 w 8801100"/>
                  <a:gd name="connsiteY154" fmla="*/ 2616994 h 4305300"/>
                  <a:gd name="connsiteX155" fmla="*/ 1245393 w 8801100"/>
                  <a:gd name="connsiteY155" fmla="*/ 2619375 h 4305300"/>
                  <a:gd name="connsiteX156" fmla="*/ 1435893 w 8801100"/>
                  <a:gd name="connsiteY156" fmla="*/ 2688431 h 4305300"/>
                  <a:gd name="connsiteX157" fmla="*/ 1638300 w 8801100"/>
                  <a:gd name="connsiteY157" fmla="*/ 2838450 h 4305300"/>
                  <a:gd name="connsiteX158" fmla="*/ 1671637 w 8801100"/>
                  <a:gd name="connsiteY158" fmla="*/ 2905125 h 4305300"/>
                  <a:gd name="connsiteX159" fmla="*/ 1838325 w 8801100"/>
                  <a:gd name="connsiteY159" fmla="*/ 3031331 h 4305300"/>
                  <a:gd name="connsiteX160" fmla="*/ 1909763 w 8801100"/>
                  <a:gd name="connsiteY160" fmla="*/ 3026569 h 4305300"/>
                  <a:gd name="connsiteX161" fmla="*/ 1945482 w 8801100"/>
                  <a:gd name="connsiteY161" fmla="*/ 3050381 h 4305300"/>
                  <a:gd name="connsiteX162" fmla="*/ 1916906 w 8801100"/>
                  <a:gd name="connsiteY162" fmla="*/ 3090863 h 4305300"/>
                  <a:gd name="connsiteX163" fmla="*/ 1924050 w 8801100"/>
                  <a:gd name="connsiteY163" fmla="*/ 3143250 h 4305300"/>
                  <a:gd name="connsiteX164" fmla="*/ 1976438 w 8801100"/>
                  <a:gd name="connsiteY164" fmla="*/ 3169444 h 4305300"/>
                  <a:gd name="connsiteX165" fmla="*/ 2038350 w 8801100"/>
                  <a:gd name="connsiteY165" fmla="*/ 3393282 h 4305300"/>
                  <a:gd name="connsiteX166" fmla="*/ 2028825 w 8801100"/>
                  <a:gd name="connsiteY166" fmla="*/ 3457575 h 4305300"/>
                  <a:gd name="connsiteX167" fmla="*/ 2164556 w 8801100"/>
                  <a:gd name="connsiteY167" fmla="*/ 3624263 h 4305300"/>
                  <a:gd name="connsiteX168" fmla="*/ 2183606 w 8801100"/>
                  <a:gd name="connsiteY168" fmla="*/ 3674269 h 4305300"/>
                  <a:gd name="connsiteX169" fmla="*/ 2157413 w 8801100"/>
                  <a:gd name="connsiteY169" fmla="*/ 3693319 h 4305300"/>
                  <a:gd name="connsiteX170" fmla="*/ 2259806 w 8801100"/>
                  <a:gd name="connsiteY170" fmla="*/ 3702844 h 4305300"/>
                  <a:gd name="connsiteX171" fmla="*/ 2371725 w 8801100"/>
                  <a:gd name="connsiteY171" fmla="*/ 3690938 h 4305300"/>
                  <a:gd name="connsiteX172" fmla="*/ 2650331 w 8801100"/>
                  <a:gd name="connsiteY172" fmla="*/ 3774281 h 4305300"/>
                  <a:gd name="connsiteX173" fmla="*/ 3057525 w 8801100"/>
                  <a:gd name="connsiteY173" fmla="*/ 3855244 h 4305300"/>
                  <a:gd name="connsiteX174" fmla="*/ 3255169 w 8801100"/>
                  <a:gd name="connsiteY174" fmla="*/ 3824287 h 4305300"/>
                  <a:gd name="connsiteX175" fmla="*/ 3300413 w 8801100"/>
                  <a:gd name="connsiteY175" fmla="*/ 3836193 h 4305300"/>
                  <a:gd name="connsiteX176" fmla="*/ 3355181 w 8801100"/>
                  <a:gd name="connsiteY176" fmla="*/ 3812382 h 4305300"/>
                  <a:gd name="connsiteX177" fmla="*/ 3748087 w 8801100"/>
                  <a:gd name="connsiteY177" fmla="*/ 3902869 h 4305300"/>
                  <a:gd name="connsiteX178" fmla="*/ 3831432 w 8801100"/>
                  <a:gd name="connsiteY178" fmla="*/ 4000500 h 4305300"/>
                  <a:gd name="connsiteX179" fmla="*/ 3950494 w 8801100"/>
                  <a:gd name="connsiteY179" fmla="*/ 4071938 h 4305300"/>
                  <a:gd name="connsiteX180" fmla="*/ 4010025 w 8801100"/>
                  <a:gd name="connsiteY180" fmla="*/ 4055269 h 4305300"/>
                  <a:gd name="connsiteX181" fmla="*/ 4360068 w 8801100"/>
                  <a:gd name="connsiteY181" fmla="*/ 4229100 h 4305300"/>
                  <a:gd name="connsiteX182" fmla="*/ 4586288 w 8801100"/>
                  <a:gd name="connsiteY182" fmla="*/ 4200525 h 4305300"/>
                  <a:gd name="connsiteX183" fmla="*/ 4595813 w 8801100"/>
                  <a:gd name="connsiteY183" fmla="*/ 4279106 h 4305300"/>
                  <a:gd name="connsiteX184" fmla="*/ 4681538 w 8801100"/>
                  <a:gd name="connsiteY184" fmla="*/ 4274343 h 4305300"/>
                  <a:gd name="connsiteX185" fmla="*/ 4760119 w 8801100"/>
                  <a:gd name="connsiteY185" fmla="*/ 4305300 h 4305300"/>
                  <a:gd name="connsiteX186" fmla="*/ 4802981 w 8801100"/>
                  <a:gd name="connsiteY186" fmla="*/ 4245769 h 4305300"/>
                  <a:gd name="connsiteX187" fmla="*/ 5474494 w 8801100"/>
                  <a:gd name="connsiteY187" fmla="*/ 3926681 h 4305300"/>
                  <a:gd name="connsiteX188" fmla="*/ 5562600 w 8801100"/>
                  <a:gd name="connsiteY188" fmla="*/ 3955257 h 4305300"/>
                  <a:gd name="connsiteX189" fmla="*/ 5693569 w 8801100"/>
                  <a:gd name="connsiteY189" fmla="*/ 3926681 h 4305300"/>
                  <a:gd name="connsiteX190" fmla="*/ 5872162 w 8801100"/>
                  <a:gd name="connsiteY190" fmla="*/ 3943350 h 4305300"/>
                  <a:gd name="connsiteX191" fmla="*/ 5929313 w 8801100"/>
                  <a:gd name="connsiteY191" fmla="*/ 3917157 h 4305300"/>
                  <a:gd name="connsiteX192" fmla="*/ 6062662 w 8801100"/>
                  <a:gd name="connsiteY192" fmla="*/ 3914775 h 4305300"/>
                  <a:gd name="connsiteX193" fmla="*/ 6196012 w 8801100"/>
                  <a:gd name="connsiteY193" fmla="*/ 3817144 h 4305300"/>
                  <a:gd name="connsiteX194" fmla="*/ 6262687 w 8801100"/>
                  <a:gd name="connsiteY194" fmla="*/ 3810000 h 4305300"/>
                  <a:gd name="connsiteX195" fmla="*/ 6360319 w 8801100"/>
                  <a:gd name="connsiteY195" fmla="*/ 3736181 h 4305300"/>
                  <a:gd name="connsiteX196" fmla="*/ 6434138 w 8801100"/>
                  <a:gd name="connsiteY196" fmla="*/ 3667125 h 4305300"/>
                  <a:gd name="connsiteX197" fmla="*/ 6443663 w 8801100"/>
                  <a:gd name="connsiteY197" fmla="*/ 3605213 h 4305300"/>
                  <a:gd name="connsiteX198" fmla="*/ 6477000 w 8801100"/>
                  <a:gd name="connsiteY198" fmla="*/ 3536156 h 4305300"/>
                  <a:gd name="connsiteX199" fmla="*/ 6629400 w 8801100"/>
                  <a:gd name="connsiteY199" fmla="*/ 3429000 h 4305300"/>
                  <a:gd name="connsiteX200" fmla="*/ 6662738 w 8801100"/>
                  <a:gd name="connsiteY200" fmla="*/ 3433763 h 4305300"/>
                  <a:gd name="connsiteX201" fmla="*/ 6715125 w 8801100"/>
                  <a:gd name="connsiteY201" fmla="*/ 3355181 h 4305300"/>
                  <a:gd name="connsiteX202" fmla="*/ 6762750 w 8801100"/>
                  <a:gd name="connsiteY202" fmla="*/ 3317081 h 4305300"/>
                  <a:gd name="connsiteX203" fmla="*/ 6748463 w 8801100"/>
                  <a:gd name="connsiteY203" fmla="*/ 3248025 h 4305300"/>
                  <a:gd name="connsiteX204" fmla="*/ 6698456 w 8801100"/>
                  <a:gd name="connsiteY204" fmla="*/ 3217068 h 4305300"/>
                  <a:gd name="connsiteX205" fmla="*/ 6638925 w 8801100"/>
                  <a:gd name="connsiteY205" fmla="*/ 3162300 h 4305300"/>
                  <a:gd name="connsiteX206" fmla="*/ 6619875 w 8801100"/>
                  <a:gd name="connsiteY206" fmla="*/ 3105150 h 4305300"/>
                  <a:gd name="connsiteX207" fmla="*/ 6584156 w 8801100"/>
                  <a:gd name="connsiteY207" fmla="*/ 3071813 h 4305300"/>
                  <a:gd name="connsiteX208" fmla="*/ 6610350 w 8801100"/>
                  <a:gd name="connsiteY208" fmla="*/ 3019425 h 4305300"/>
                  <a:gd name="connsiteX209" fmla="*/ 6650831 w 8801100"/>
                  <a:gd name="connsiteY209" fmla="*/ 2840831 h 4305300"/>
                  <a:gd name="connsiteX210" fmla="*/ 6691313 w 8801100"/>
                  <a:gd name="connsiteY210" fmla="*/ 2774156 h 4305300"/>
                  <a:gd name="connsiteX211" fmla="*/ 6836569 w 8801100"/>
                  <a:gd name="connsiteY211" fmla="*/ 2757487 h 4305300"/>
                  <a:gd name="connsiteX212" fmla="*/ 6905625 w 8801100"/>
                  <a:gd name="connsiteY212" fmla="*/ 2814638 h 4305300"/>
                  <a:gd name="connsiteX213" fmla="*/ 6981825 w 8801100"/>
                  <a:gd name="connsiteY213" fmla="*/ 2838450 h 4305300"/>
                  <a:gd name="connsiteX214" fmla="*/ 7186612 w 8801100"/>
                  <a:gd name="connsiteY214" fmla="*/ 2843213 h 4305300"/>
                  <a:gd name="connsiteX215" fmla="*/ 7362825 w 8801100"/>
                  <a:gd name="connsiteY215" fmla="*/ 2705100 h 4305300"/>
                  <a:gd name="connsiteX216" fmla="*/ 7419975 w 8801100"/>
                  <a:gd name="connsiteY216" fmla="*/ 2614612 h 4305300"/>
                  <a:gd name="connsiteX217" fmla="*/ 7446169 w 8801100"/>
                  <a:gd name="connsiteY217" fmla="*/ 2531269 h 4305300"/>
                  <a:gd name="connsiteX218" fmla="*/ 7577137 w 8801100"/>
                  <a:gd name="connsiteY218" fmla="*/ 2531269 h 4305300"/>
                  <a:gd name="connsiteX219" fmla="*/ 7750969 w 8801100"/>
                  <a:gd name="connsiteY219" fmla="*/ 2474118 h 4305300"/>
                  <a:gd name="connsiteX220" fmla="*/ 7810500 w 8801100"/>
                  <a:gd name="connsiteY220" fmla="*/ 2362200 h 4305300"/>
                  <a:gd name="connsiteX221" fmla="*/ 7874794 w 8801100"/>
                  <a:gd name="connsiteY221" fmla="*/ 2326481 h 4305300"/>
                  <a:gd name="connsiteX222" fmla="*/ 7853363 w 8801100"/>
                  <a:gd name="connsiteY222" fmla="*/ 2281238 h 4305300"/>
                  <a:gd name="connsiteX223" fmla="*/ 7931944 w 8801100"/>
                  <a:gd name="connsiteY223" fmla="*/ 2112168 h 4305300"/>
                  <a:gd name="connsiteX224" fmla="*/ 7986713 w 8801100"/>
                  <a:gd name="connsiteY224" fmla="*/ 2052638 h 4305300"/>
                  <a:gd name="connsiteX225" fmla="*/ 8024813 w 8801100"/>
                  <a:gd name="connsiteY225" fmla="*/ 2047875 h 4305300"/>
                  <a:gd name="connsiteX226" fmla="*/ 8070056 w 8801100"/>
                  <a:gd name="connsiteY226" fmla="*/ 2052638 h 4305300"/>
                  <a:gd name="connsiteX227" fmla="*/ 8134350 w 8801100"/>
                  <a:gd name="connsiteY227" fmla="*/ 2019300 h 4305300"/>
                  <a:gd name="connsiteX228" fmla="*/ 8143875 w 8801100"/>
                  <a:gd name="connsiteY228" fmla="*/ 1955006 h 4305300"/>
                  <a:gd name="connsiteX229" fmla="*/ 8184355 w 8801100"/>
                  <a:gd name="connsiteY229" fmla="*/ 1919288 h 4305300"/>
                  <a:gd name="connsiteX230" fmla="*/ 8243888 w 8801100"/>
                  <a:gd name="connsiteY230" fmla="*/ 1959768 h 4305300"/>
                  <a:gd name="connsiteX231" fmla="*/ 8270082 w 8801100"/>
                  <a:gd name="connsiteY231" fmla="*/ 1909762 h 4305300"/>
                  <a:gd name="connsiteX232" fmla="*/ 8365331 w 8801100"/>
                  <a:gd name="connsiteY232" fmla="*/ 1840706 h 4305300"/>
                  <a:gd name="connsiteX233" fmla="*/ 8427244 w 8801100"/>
                  <a:gd name="connsiteY233" fmla="*/ 1847850 h 4305300"/>
                  <a:gd name="connsiteX234" fmla="*/ 8477250 w 8801100"/>
                  <a:gd name="connsiteY234" fmla="*/ 1828800 h 4305300"/>
                  <a:gd name="connsiteX235" fmla="*/ 8515350 w 8801100"/>
                  <a:gd name="connsiteY235" fmla="*/ 1800225 h 4305300"/>
                  <a:gd name="connsiteX236" fmla="*/ 8548688 w 8801100"/>
                  <a:gd name="connsiteY236" fmla="*/ 1797844 h 4305300"/>
                  <a:gd name="connsiteX237" fmla="*/ 8584406 w 8801100"/>
                  <a:gd name="connsiteY237" fmla="*/ 1828800 h 4305300"/>
                  <a:gd name="connsiteX238" fmla="*/ 8643938 w 8801100"/>
                  <a:gd name="connsiteY238" fmla="*/ 1828800 h 4305300"/>
                  <a:gd name="connsiteX239" fmla="*/ 8682037 w 8801100"/>
                  <a:gd name="connsiteY239" fmla="*/ 1809750 h 4305300"/>
                  <a:gd name="connsiteX240" fmla="*/ 8765381 w 8801100"/>
                  <a:gd name="connsiteY240" fmla="*/ 1812132 h 4305300"/>
                  <a:gd name="connsiteX241" fmla="*/ 8796338 w 8801100"/>
                  <a:gd name="connsiteY241" fmla="*/ 1766888 h 4305300"/>
                  <a:gd name="connsiteX242" fmla="*/ 8801100 w 8801100"/>
                  <a:gd name="connsiteY242" fmla="*/ 1704975 h 4305300"/>
                  <a:gd name="connsiteX243" fmla="*/ 8751093 w 8801100"/>
                  <a:gd name="connsiteY243" fmla="*/ 1664494 h 4305300"/>
                  <a:gd name="connsiteX244" fmla="*/ 8734425 w 8801100"/>
                  <a:gd name="connsiteY244" fmla="*/ 1609725 h 4305300"/>
                  <a:gd name="connsiteX245" fmla="*/ 8643938 w 8801100"/>
                  <a:gd name="connsiteY245" fmla="*/ 1547813 h 4305300"/>
                  <a:gd name="connsiteX246" fmla="*/ 8603456 w 8801100"/>
                  <a:gd name="connsiteY246" fmla="*/ 1526381 h 4305300"/>
                  <a:gd name="connsiteX247" fmla="*/ 8565356 w 8801100"/>
                  <a:gd name="connsiteY247" fmla="*/ 1481138 h 4305300"/>
                  <a:gd name="connsiteX248" fmla="*/ 8534400 w 8801100"/>
                  <a:gd name="connsiteY248" fmla="*/ 1478756 h 4305300"/>
                  <a:gd name="connsiteX249" fmla="*/ 8517731 w 8801100"/>
                  <a:gd name="connsiteY249" fmla="*/ 1426369 h 4305300"/>
                  <a:gd name="connsiteX250" fmla="*/ 8477250 w 8801100"/>
                  <a:gd name="connsiteY250" fmla="*/ 1409700 h 4305300"/>
                  <a:gd name="connsiteX251" fmla="*/ 8477250 w 8801100"/>
                  <a:gd name="connsiteY251" fmla="*/ 1409700 h 4305300"/>
                  <a:gd name="connsiteX252" fmla="*/ 8436769 w 8801100"/>
                  <a:gd name="connsiteY252" fmla="*/ 1414463 h 4305300"/>
                  <a:gd name="connsiteX253" fmla="*/ 8351043 w 8801100"/>
                  <a:gd name="connsiteY253" fmla="*/ 1340644 h 4305300"/>
                  <a:gd name="connsiteX254" fmla="*/ 8170069 w 8801100"/>
                  <a:gd name="connsiteY254" fmla="*/ 1340643 h 4305300"/>
                  <a:gd name="connsiteX255" fmla="*/ 8117681 w 8801100"/>
                  <a:gd name="connsiteY255" fmla="*/ 1378744 h 4305300"/>
                  <a:gd name="connsiteX256" fmla="*/ 8067675 w 8801100"/>
                  <a:gd name="connsiteY256" fmla="*/ 1457325 h 4305300"/>
                  <a:gd name="connsiteX257" fmla="*/ 8084344 w 8801100"/>
                  <a:gd name="connsiteY257" fmla="*/ 1478756 h 4305300"/>
                  <a:gd name="connsiteX258" fmla="*/ 8039100 w 8801100"/>
                  <a:gd name="connsiteY258" fmla="*/ 1528762 h 4305300"/>
                  <a:gd name="connsiteX259" fmla="*/ 7889081 w 8801100"/>
                  <a:gd name="connsiteY259" fmla="*/ 1452562 h 4305300"/>
                  <a:gd name="connsiteX260" fmla="*/ 7798594 w 8801100"/>
                  <a:gd name="connsiteY260" fmla="*/ 1488281 h 4305300"/>
                  <a:gd name="connsiteX261" fmla="*/ 7724775 w 8801100"/>
                  <a:gd name="connsiteY261" fmla="*/ 1485900 h 4305300"/>
                  <a:gd name="connsiteX262" fmla="*/ 7667625 w 8801100"/>
                  <a:gd name="connsiteY262" fmla="*/ 1581150 h 4305300"/>
                  <a:gd name="connsiteX263" fmla="*/ 7529513 w 8801100"/>
                  <a:gd name="connsiteY263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1678781 w 8801100"/>
                  <a:gd name="connsiteY113" fmla="*/ 419100 h 4305300"/>
                  <a:gd name="connsiteX114" fmla="*/ 2381 w 8801100"/>
                  <a:gd name="connsiteY114" fmla="*/ 1490661 h 4305300"/>
                  <a:gd name="connsiteX115" fmla="*/ 0 w 8801100"/>
                  <a:gd name="connsiteY115" fmla="*/ 709613 h 4305300"/>
                  <a:gd name="connsiteX116" fmla="*/ 76200 w 8801100"/>
                  <a:gd name="connsiteY116" fmla="*/ 692944 h 4305300"/>
                  <a:gd name="connsiteX117" fmla="*/ 119063 w 8801100"/>
                  <a:gd name="connsiteY117" fmla="*/ 721519 h 4305300"/>
                  <a:gd name="connsiteX118" fmla="*/ 215900 w 8801100"/>
                  <a:gd name="connsiteY118" fmla="*/ 712788 h 4305300"/>
                  <a:gd name="connsiteX119" fmla="*/ 261938 w 8801100"/>
                  <a:gd name="connsiteY119" fmla="*/ 740568 h 4305300"/>
                  <a:gd name="connsiteX120" fmla="*/ 228600 w 8801100"/>
                  <a:gd name="connsiteY120" fmla="*/ 769144 h 4305300"/>
                  <a:gd name="connsiteX121" fmla="*/ 233363 w 8801100"/>
                  <a:gd name="connsiteY121" fmla="*/ 812006 h 4305300"/>
                  <a:gd name="connsiteX122" fmla="*/ 200025 w 8801100"/>
                  <a:gd name="connsiteY122" fmla="*/ 816769 h 4305300"/>
                  <a:gd name="connsiteX123" fmla="*/ 204788 w 8801100"/>
                  <a:gd name="connsiteY123" fmla="*/ 840581 h 4305300"/>
                  <a:gd name="connsiteX124" fmla="*/ 261937 w 8801100"/>
                  <a:gd name="connsiteY124" fmla="*/ 914400 h 4305300"/>
                  <a:gd name="connsiteX125" fmla="*/ 223838 w 8801100"/>
                  <a:gd name="connsiteY125" fmla="*/ 962025 h 4305300"/>
                  <a:gd name="connsiteX126" fmla="*/ 278606 w 8801100"/>
                  <a:gd name="connsiteY126" fmla="*/ 997744 h 4305300"/>
                  <a:gd name="connsiteX127" fmla="*/ 369094 w 8801100"/>
                  <a:gd name="connsiteY127" fmla="*/ 1085850 h 4305300"/>
                  <a:gd name="connsiteX128" fmla="*/ 371475 w 8801100"/>
                  <a:gd name="connsiteY128" fmla="*/ 1145381 h 4305300"/>
                  <a:gd name="connsiteX129" fmla="*/ 507206 w 8801100"/>
                  <a:gd name="connsiteY129" fmla="*/ 1278732 h 4305300"/>
                  <a:gd name="connsiteX130" fmla="*/ 561975 w 8801100"/>
                  <a:gd name="connsiteY130" fmla="*/ 1254919 h 4305300"/>
                  <a:gd name="connsiteX131" fmla="*/ 600075 w 8801100"/>
                  <a:gd name="connsiteY131" fmla="*/ 1281112 h 4305300"/>
                  <a:gd name="connsiteX132" fmla="*/ 614363 w 8801100"/>
                  <a:gd name="connsiteY132" fmla="*/ 1331118 h 4305300"/>
                  <a:gd name="connsiteX133" fmla="*/ 657225 w 8801100"/>
                  <a:gd name="connsiteY133" fmla="*/ 1366838 h 4305300"/>
                  <a:gd name="connsiteX134" fmla="*/ 697706 w 8801100"/>
                  <a:gd name="connsiteY134" fmla="*/ 1354931 h 4305300"/>
                  <a:gd name="connsiteX135" fmla="*/ 716756 w 8801100"/>
                  <a:gd name="connsiteY135" fmla="*/ 1412081 h 4305300"/>
                  <a:gd name="connsiteX136" fmla="*/ 764381 w 8801100"/>
                  <a:gd name="connsiteY136" fmla="*/ 1454944 h 4305300"/>
                  <a:gd name="connsiteX137" fmla="*/ 788194 w 8801100"/>
                  <a:gd name="connsiteY137" fmla="*/ 1557338 h 4305300"/>
                  <a:gd name="connsiteX138" fmla="*/ 785813 w 8801100"/>
                  <a:gd name="connsiteY138" fmla="*/ 1604963 h 4305300"/>
                  <a:gd name="connsiteX139" fmla="*/ 821531 w 8801100"/>
                  <a:gd name="connsiteY139" fmla="*/ 1704975 h 4305300"/>
                  <a:gd name="connsiteX140" fmla="*/ 866775 w 8801100"/>
                  <a:gd name="connsiteY140" fmla="*/ 1762125 h 4305300"/>
                  <a:gd name="connsiteX141" fmla="*/ 883443 w 8801100"/>
                  <a:gd name="connsiteY141" fmla="*/ 1919287 h 4305300"/>
                  <a:gd name="connsiteX142" fmla="*/ 850106 w 8801100"/>
                  <a:gd name="connsiteY142" fmla="*/ 1981200 h 4305300"/>
                  <a:gd name="connsiteX143" fmla="*/ 819150 w 8801100"/>
                  <a:gd name="connsiteY143" fmla="*/ 2057400 h 4305300"/>
                  <a:gd name="connsiteX144" fmla="*/ 833438 w 8801100"/>
                  <a:gd name="connsiteY144" fmla="*/ 2114550 h 4305300"/>
                  <a:gd name="connsiteX145" fmla="*/ 735806 w 8801100"/>
                  <a:gd name="connsiteY145" fmla="*/ 2221707 h 4305300"/>
                  <a:gd name="connsiteX146" fmla="*/ 692944 w 8801100"/>
                  <a:gd name="connsiteY146" fmla="*/ 2336006 h 4305300"/>
                  <a:gd name="connsiteX147" fmla="*/ 726281 w 8801100"/>
                  <a:gd name="connsiteY147" fmla="*/ 2376488 h 4305300"/>
                  <a:gd name="connsiteX148" fmla="*/ 709613 w 8801100"/>
                  <a:gd name="connsiteY148" fmla="*/ 2405063 h 4305300"/>
                  <a:gd name="connsiteX149" fmla="*/ 740569 w 8801100"/>
                  <a:gd name="connsiteY149" fmla="*/ 2462213 h 4305300"/>
                  <a:gd name="connsiteX150" fmla="*/ 769144 w 8801100"/>
                  <a:gd name="connsiteY150" fmla="*/ 2462213 h 4305300"/>
                  <a:gd name="connsiteX151" fmla="*/ 931069 w 8801100"/>
                  <a:gd name="connsiteY151" fmla="*/ 2564606 h 4305300"/>
                  <a:gd name="connsiteX152" fmla="*/ 1035844 w 8801100"/>
                  <a:gd name="connsiteY152" fmla="*/ 2562225 h 4305300"/>
                  <a:gd name="connsiteX153" fmla="*/ 1114425 w 8801100"/>
                  <a:gd name="connsiteY153" fmla="*/ 2616994 h 4305300"/>
                  <a:gd name="connsiteX154" fmla="*/ 1245393 w 8801100"/>
                  <a:gd name="connsiteY154" fmla="*/ 2619375 h 4305300"/>
                  <a:gd name="connsiteX155" fmla="*/ 1435893 w 8801100"/>
                  <a:gd name="connsiteY155" fmla="*/ 2688431 h 4305300"/>
                  <a:gd name="connsiteX156" fmla="*/ 1638300 w 8801100"/>
                  <a:gd name="connsiteY156" fmla="*/ 2838450 h 4305300"/>
                  <a:gd name="connsiteX157" fmla="*/ 1671637 w 8801100"/>
                  <a:gd name="connsiteY157" fmla="*/ 2905125 h 4305300"/>
                  <a:gd name="connsiteX158" fmla="*/ 1838325 w 8801100"/>
                  <a:gd name="connsiteY158" fmla="*/ 3031331 h 4305300"/>
                  <a:gd name="connsiteX159" fmla="*/ 1909763 w 8801100"/>
                  <a:gd name="connsiteY159" fmla="*/ 3026569 h 4305300"/>
                  <a:gd name="connsiteX160" fmla="*/ 1945482 w 8801100"/>
                  <a:gd name="connsiteY160" fmla="*/ 3050381 h 4305300"/>
                  <a:gd name="connsiteX161" fmla="*/ 1916906 w 8801100"/>
                  <a:gd name="connsiteY161" fmla="*/ 3090863 h 4305300"/>
                  <a:gd name="connsiteX162" fmla="*/ 1924050 w 8801100"/>
                  <a:gd name="connsiteY162" fmla="*/ 3143250 h 4305300"/>
                  <a:gd name="connsiteX163" fmla="*/ 1976438 w 8801100"/>
                  <a:gd name="connsiteY163" fmla="*/ 3169444 h 4305300"/>
                  <a:gd name="connsiteX164" fmla="*/ 2038350 w 8801100"/>
                  <a:gd name="connsiteY164" fmla="*/ 3393282 h 4305300"/>
                  <a:gd name="connsiteX165" fmla="*/ 2028825 w 8801100"/>
                  <a:gd name="connsiteY165" fmla="*/ 3457575 h 4305300"/>
                  <a:gd name="connsiteX166" fmla="*/ 2164556 w 8801100"/>
                  <a:gd name="connsiteY166" fmla="*/ 3624263 h 4305300"/>
                  <a:gd name="connsiteX167" fmla="*/ 2183606 w 8801100"/>
                  <a:gd name="connsiteY167" fmla="*/ 3674269 h 4305300"/>
                  <a:gd name="connsiteX168" fmla="*/ 2157413 w 8801100"/>
                  <a:gd name="connsiteY168" fmla="*/ 3693319 h 4305300"/>
                  <a:gd name="connsiteX169" fmla="*/ 2259806 w 8801100"/>
                  <a:gd name="connsiteY169" fmla="*/ 3702844 h 4305300"/>
                  <a:gd name="connsiteX170" fmla="*/ 2371725 w 8801100"/>
                  <a:gd name="connsiteY170" fmla="*/ 3690938 h 4305300"/>
                  <a:gd name="connsiteX171" fmla="*/ 2650331 w 8801100"/>
                  <a:gd name="connsiteY171" fmla="*/ 3774281 h 4305300"/>
                  <a:gd name="connsiteX172" fmla="*/ 3057525 w 8801100"/>
                  <a:gd name="connsiteY172" fmla="*/ 3855244 h 4305300"/>
                  <a:gd name="connsiteX173" fmla="*/ 3255169 w 8801100"/>
                  <a:gd name="connsiteY173" fmla="*/ 3824287 h 4305300"/>
                  <a:gd name="connsiteX174" fmla="*/ 3300413 w 8801100"/>
                  <a:gd name="connsiteY174" fmla="*/ 3836193 h 4305300"/>
                  <a:gd name="connsiteX175" fmla="*/ 3355181 w 8801100"/>
                  <a:gd name="connsiteY175" fmla="*/ 3812382 h 4305300"/>
                  <a:gd name="connsiteX176" fmla="*/ 3748087 w 8801100"/>
                  <a:gd name="connsiteY176" fmla="*/ 3902869 h 4305300"/>
                  <a:gd name="connsiteX177" fmla="*/ 3831432 w 8801100"/>
                  <a:gd name="connsiteY177" fmla="*/ 4000500 h 4305300"/>
                  <a:gd name="connsiteX178" fmla="*/ 3950494 w 8801100"/>
                  <a:gd name="connsiteY178" fmla="*/ 4071938 h 4305300"/>
                  <a:gd name="connsiteX179" fmla="*/ 4010025 w 8801100"/>
                  <a:gd name="connsiteY179" fmla="*/ 4055269 h 4305300"/>
                  <a:gd name="connsiteX180" fmla="*/ 4360068 w 8801100"/>
                  <a:gd name="connsiteY180" fmla="*/ 4229100 h 4305300"/>
                  <a:gd name="connsiteX181" fmla="*/ 4586288 w 8801100"/>
                  <a:gd name="connsiteY181" fmla="*/ 4200525 h 4305300"/>
                  <a:gd name="connsiteX182" fmla="*/ 4595813 w 8801100"/>
                  <a:gd name="connsiteY182" fmla="*/ 4279106 h 4305300"/>
                  <a:gd name="connsiteX183" fmla="*/ 4681538 w 8801100"/>
                  <a:gd name="connsiteY183" fmla="*/ 4274343 h 4305300"/>
                  <a:gd name="connsiteX184" fmla="*/ 4760119 w 8801100"/>
                  <a:gd name="connsiteY184" fmla="*/ 4305300 h 4305300"/>
                  <a:gd name="connsiteX185" fmla="*/ 4802981 w 8801100"/>
                  <a:gd name="connsiteY185" fmla="*/ 4245769 h 4305300"/>
                  <a:gd name="connsiteX186" fmla="*/ 5474494 w 8801100"/>
                  <a:gd name="connsiteY186" fmla="*/ 3926681 h 4305300"/>
                  <a:gd name="connsiteX187" fmla="*/ 5562600 w 8801100"/>
                  <a:gd name="connsiteY187" fmla="*/ 3955257 h 4305300"/>
                  <a:gd name="connsiteX188" fmla="*/ 5693569 w 8801100"/>
                  <a:gd name="connsiteY188" fmla="*/ 3926681 h 4305300"/>
                  <a:gd name="connsiteX189" fmla="*/ 5872162 w 8801100"/>
                  <a:gd name="connsiteY189" fmla="*/ 3943350 h 4305300"/>
                  <a:gd name="connsiteX190" fmla="*/ 5929313 w 8801100"/>
                  <a:gd name="connsiteY190" fmla="*/ 3917157 h 4305300"/>
                  <a:gd name="connsiteX191" fmla="*/ 6062662 w 8801100"/>
                  <a:gd name="connsiteY191" fmla="*/ 3914775 h 4305300"/>
                  <a:gd name="connsiteX192" fmla="*/ 6196012 w 8801100"/>
                  <a:gd name="connsiteY192" fmla="*/ 3817144 h 4305300"/>
                  <a:gd name="connsiteX193" fmla="*/ 6262687 w 8801100"/>
                  <a:gd name="connsiteY193" fmla="*/ 3810000 h 4305300"/>
                  <a:gd name="connsiteX194" fmla="*/ 6360319 w 8801100"/>
                  <a:gd name="connsiteY194" fmla="*/ 3736181 h 4305300"/>
                  <a:gd name="connsiteX195" fmla="*/ 6434138 w 8801100"/>
                  <a:gd name="connsiteY195" fmla="*/ 3667125 h 4305300"/>
                  <a:gd name="connsiteX196" fmla="*/ 6443663 w 8801100"/>
                  <a:gd name="connsiteY196" fmla="*/ 3605213 h 4305300"/>
                  <a:gd name="connsiteX197" fmla="*/ 6477000 w 8801100"/>
                  <a:gd name="connsiteY197" fmla="*/ 3536156 h 4305300"/>
                  <a:gd name="connsiteX198" fmla="*/ 6629400 w 8801100"/>
                  <a:gd name="connsiteY198" fmla="*/ 3429000 h 4305300"/>
                  <a:gd name="connsiteX199" fmla="*/ 6662738 w 8801100"/>
                  <a:gd name="connsiteY199" fmla="*/ 3433763 h 4305300"/>
                  <a:gd name="connsiteX200" fmla="*/ 6715125 w 8801100"/>
                  <a:gd name="connsiteY200" fmla="*/ 3355181 h 4305300"/>
                  <a:gd name="connsiteX201" fmla="*/ 6762750 w 8801100"/>
                  <a:gd name="connsiteY201" fmla="*/ 3317081 h 4305300"/>
                  <a:gd name="connsiteX202" fmla="*/ 6748463 w 8801100"/>
                  <a:gd name="connsiteY202" fmla="*/ 3248025 h 4305300"/>
                  <a:gd name="connsiteX203" fmla="*/ 6698456 w 8801100"/>
                  <a:gd name="connsiteY203" fmla="*/ 3217068 h 4305300"/>
                  <a:gd name="connsiteX204" fmla="*/ 6638925 w 8801100"/>
                  <a:gd name="connsiteY204" fmla="*/ 3162300 h 4305300"/>
                  <a:gd name="connsiteX205" fmla="*/ 6619875 w 8801100"/>
                  <a:gd name="connsiteY205" fmla="*/ 3105150 h 4305300"/>
                  <a:gd name="connsiteX206" fmla="*/ 6584156 w 8801100"/>
                  <a:gd name="connsiteY206" fmla="*/ 3071813 h 4305300"/>
                  <a:gd name="connsiteX207" fmla="*/ 6610350 w 8801100"/>
                  <a:gd name="connsiteY207" fmla="*/ 3019425 h 4305300"/>
                  <a:gd name="connsiteX208" fmla="*/ 6650831 w 8801100"/>
                  <a:gd name="connsiteY208" fmla="*/ 2840831 h 4305300"/>
                  <a:gd name="connsiteX209" fmla="*/ 6691313 w 8801100"/>
                  <a:gd name="connsiteY209" fmla="*/ 2774156 h 4305300"/>
                  <a:gd name="connsiteX210" fmla="*/ 6836569 w 8801100"/>
                  <a:gd name="connsiteY210" fmla="*/ 2757487 h 4305300"/>
                  <a:gd name="connsiteX211" fmla="*/ 6905625 w 8801100"/>
                  <a:gd name="connsiteY211" fmla="*/ 2814638 h 4305300"/>
                  <a:gd name="connsiteX212" fmla="*/ 6981825 w 8801100"/>
                  <a:gd name="connsiteY212" fmla="*/ 2838450 h 4305300"/>
                  <a:gd name="connsiteX213" fmla="*/ 7186612 w 8801100"/>
                  <a:gd name="connsiteY213" fmla="*/ 2843213 h 4305300"/>
                  <a:gd name="connsiteX214" fmla="*/ 7362825 w 8801100"/>
                  <a:gd name="connsiteY214" fmla="*/ 2705100 h 4305300"/>
                  <a:gd name="connsiteX215" fmla="*/ 7419975 w 8801100"/>
                  <a:gd name="connsiteY215" fmla="*/ 2614612 h 4305300"/>
                  <a:gd name="connsiteX216" fmla="*/ 7446169 w 8801100"/>
                  <a:gd name="connsiteY216" fmla="*/ 2531269 h 4305300"/>
                  <a:gd name="connsiteX217" fmla="*/ 7577137 w 8801100"/>
                  <a:gd name="connsiteY217" fmla="*/ 2531269 h 4305300"/>
                  <a:gd name="connsiteX218" fmla="*/ 7750969 w 8801100"/>
                  <a:gd name="connsiteY218" fmla="*/ 2474118 h 4305300"/>
                  <a:gd name="connsiteX219" fmla="*/ 7810500 w 8801100"/>
                  <a:gd name="connsiteY219" fmla="*/ 2362200 h 4305300"/>
                  <a:gd name="connsiteX220" fmla="*/ 7874794 w 8801100"/>
                  <a:gd name="connsiteY220" fmla="*/ 2326481 h 4305300"/>
                  <a:gd name="connsiteX221" fmla="*/ 7853363 w 8801100"/>
                  <a:gd name="connsiteY221" fmla="*/ 2281238 h 4305300"/>
                  <a:gd name="connsiteX222" fmla="*/ 7931944 w 8801100"/>
                  <a:gd name="connsiteY222" fmla="*/ 2112168 h 4305300"/>
                  <a:gd name="connsiteX223" fmla="*/ 7986713 w 8801100"/>
                  <a:gd name="connsiteY223" fmla="*/ 2052638 h 4305300"/>
                  <a:gd name="connsiteX224" fmla="*/ 8024813 w 8801100"/>
                  <a:gd name="connsiteY224" fmla="*/ 2047875 h 4305300"/>
                  <a:gd name="connsiteX225" fmla="*/ 8070056 w 8801100"/>
                  <a:gd name="connsiteY225" fmla="*/ 2052638 h 4305300"/>
                  <a:gd name="connsiteX226" fmla="*/ 8134350 w 8801100"/>
                  <a:gd name="connsiteY226" fmla="*/ 2019300 h 4305300"/>
                  <a:gd name="connsiteX227" fmla="*/ 8143875 w 8801100"/>
                  <a:gd name="connsiteY227" fmla="*/ 1955006 h 4305300"/>
                  <a:gd name="connsiteX228" fmla="*/ 8184355 w 8801100"/>
                  <a:gd name="connsiteY228" fmla="*/ 1919288 h 4305300"/>
                  <a:gd name="connsiteX229" fmla="*/ 8243888 w 8801100"/>
                  <a:gd name="connsiteY229" fmla="*/ 1959768 h 4305300"/>
                  <a:gd name="connsiteX230" fmla="*/ 8270082 w 8801100"/>
                  <a:gd name="connsiteY230" fmla="*/ 1909762 h 4305300"/>
                  <a:gd name="connsiteX231" fmla="*/ 8365331 w 8801100"/>
                  <a:gd name="connsiteY231" fmla="*/ 1840706 h 4305300"/>
                  <a:gd name="connsiteX232" fmla="*/ 8427244 w 8801100"/>
                  <a:gd name="connsiteY232" fmla="*/ 1847850 h 4305300"/>
                  <a:gd name="connsiteX233" fmla="*/ 8477250 w 8801100"/>
                  <a:gd name="connsiteY233" fmla="*/ 1828800 h 4305300"/>
                  <a:gd name="connsiteX234" fmla="*/ 8515350 w 8801100"/>
                  <a:gd name="connsiteY234" fmla="*/ 1800225 h 4305300"/>
                  <a:gd name="connsiteX235" fmla="*/ 8548688 w 8801100"/>
                  <a:gd name="connsiteY235" fmla="*/ 1797844 h 4305300"/>
                  <a:gd name="connsiteX236" fmla="*/ 8584406 w 8801100"/>
                  <a:gd name="connsiteY236" fmla="*/ 1828800 h 4305300"/>
                  <a:gd name="connsiteX237" fmla="*/ 8643938 w 8801100"/>
                  <a:gd name="connsiteY237" fmla="*/ 1828800 h 4305300"/>
                  <a:gd name="connsiteX238" fmla="*/ 8682037 w 8801100"/>
                  <a:gd name="connsiteY238" fmla="*/ 1809750 h 4305300"/>
                  <a:gd name="connsiteX239" fmla="*/ 8765381 w 8801100"/>
                  <a:gd name="connsiteY239" fmla="*/ 1812132 h 4305300"/>
                  <a:gd name="connsiteX240" fmla="*/ 8796338 w 8801100"/>
                  <a:gd name="connsiteY240" fmla="*/ 1766888 h 4305300"/>
                  <a:gd name="connsiteX241" fmla="*/ 8801100 w 8801100"/>
                  <a:gd name="connsiteY241" fmla="*/ 1704975 h 4305300"/>
                  <a:gd name="connsiteX242" fmla="*/ 8751093 w 8801100"/>
                  <a:gd name="connsiteY242" fmla="*/ 1664494 h 4305300"/>
                  <a:gd name="connsiteX243" fmla="*/ 8734425 w 8801100"/>
                  <a:gd name="connsiteY243" fmla="*/ 1609725 h 4305300"/>
                  <a:gd name="connsiteX244" fmla="*/ 8643938 w 8801100"/>
                  <a:gd name="connsiteY244" fmla="*/ 1547813 h 4305300"/>
                  <a:gd name="connsiteX245" fmla="*/ 8603456 w 8801100"/>
                  <a:gd name="connsiteY245" fmla="*/ 1526381 h 4305300"/>
                  <a:gd name="connsiteX246" fmla="*/ 8565356 w 8801100"/>
                  <a:gd name="connsiteY246" fmla="*/ 1481138 h 4305300"/>
                  <a:gd name="connsiteX247" fmla="*/ 8534400 w 8801100"/>
                  <a:gd name="connsiteY247" fmla="*/ 1478756 h 4305300"/>
                  <a:gd name="connsiteX248" fmla="*/ 8517731 w 8801100"/>
                  <a:gd name="connsiteY248" fmla="*/ 1426369 h 4305300"/>
                  <a:gd name="connsiteX249" fmla="*/ 8477250 w 8801100"/>
                  <a:gd name="connsiteY249" fmla="*/ 1409700 h 4305300"/>
                  <a:gd name="connsiteX250" fmla="*/ 8477250 w 8801100"/>
                  <a:gd name="connsiteY250" fmla="*/ 1409700 h 4305300"/>
                  <a:gd name="connsiteX251" fmla="*/ 8436769 w 8801100"/>
                  <a:gd name="connsiteY251" fmla="*/ 1414463 h 4305300"/>
                  <a:gd name="connsiteX252" fmla="*/ 8351043 w 8801100"/>
                  <a:gd name="connsiteY252" fmla="*/ 1340644 h 4305300"/>
                  <a:gd name="connsiteX253" fmla="*/ 8170069 w 8801100"/>
                  <a:gd name="connsiteY253" fmla="*/ 1340643 h 4305300"/>
                  <a:gd name="connsiteX254" fmla="*/ 8117681 w 8801100"/>
                  <a:gd name="connsiteY254" fmla="*/ 1378744 h 4305300"/>
                  <a:gd name="connsiteX255" fmla="*/ 8067675 w 8801100"/>
                  <a:gd name="connsiteY255" fmla="*/ 1457325 h 4305300"/>
                  <a:gd name="connsiteX256" fmla="*/ 8084344 w 8801100"/>
                  <a:gd name="connsiteY256" fmla="*/ 1478756 h 4305300"/>
                  <a:gd name="connsiteX257" fmla="*/ 8039100 w 8801100"/>
                  <a:gd name="connsiteY257" fmla="*/ 1528762 h 4305300"/>
                  <a:gd name="connsiteX258" fmla="*/ 7889081 w 8801100"/>
                  <a:gd name="connsiteY258" fmla="*/ 1452562 h 4305300"/>
                  <a:gd name="connsiteX259" fmla="*/ 7798594 w 8801100"/>
                  <a:gd name="connsiteY259" fmla="*/ 1488281 h 4305300"/>
                  <a:gd name="connsiteX260" fmla="*/ 7724775 w 8801100"/>
                  <a:gd name="connsiteY260" fmla="*/ 1485900 h 4305300"/>
                  <a:gd name="connsiteX261" fmla="*/ 7667625 w 8801100"/>
                  <a:gd name="connsiteY261" fmla="*/ 1581150 h 4305300"/>
                  <a:gd name="connsiteX262" fmla="*/ 7529513 w 8801100"/>
                  <a:gd name="connsiteY262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1724025 w 8801100"/>
                  <a:gd name="connsiteY112" fmla="*/ 445294 h 4305300"/>
                  <a:gd name="connsiteX113" fmla="*/ 2381 w 8801100"/>
                  <a:gd name="connsiteY113" fmla="*/ 1490661 h 4305300"/>
                  <a:gd name="connsiteX114" fmla="*/ 0 w 8801100"/>
                  <a:gd name="connsiteY114" fmla="*/ 709613 h 4305300"/>
                  <a:gd name="connsiteX115" fmla="*/ 76200 w 8801100"/>
                  <a:gd name="connsiteY115" fmla="*/ 692944 h 4305300"/>
                  <a:gd name="connsiteX116" fmla="*/ 119063 w 8801100"/>
                  <a:gd name="connsiteY116" fmla="*/ 721519 h 4305300"/>
                  <a:gd name="connsiteX117" fmla="*/ 215900 w 8801100"/>
                  <a:gd name="connsiteY117" fmla="*/ 712788 h 4305300"/>
                  <a:gd name="connsiteX118" fmla="*/ 261938 w 8801100"/>
                  <a:gd name="connsiteY118" fmla="*/ 740568 h 4305300"/>
                  <a:gd name="connsiteX119" fmla="*/ 228600 w 8801100"/>
                  <a:gd name="connsiteY119" fmla="*/ 769144 h 4305300"/>
                  <a:gd name="connsiteX120" fmla="*/ 233363 w 8801100"/>
                  <a:gd name="connsiteY120" fmla="*/ 812006 h 4305300"/>
                  <a:gd name="connsiteX121" fmla="*/ 200025 w 8801100"/>
                  <a:gd name="connsiteY121" fmla="*/ 816769 h 4305300"/>
                  <a:gd name="connsiteX122" fmla="*/ 204788 w 8801100"/>
                  <a:gd name="connsiteY122" fmla="*/ 840581 h 4305300"/>
                  <a:gd name="connsiteX123" fmla="*/ 261937 w 8801100"/>
                  <a:gd name="connsiteY123" fmla="*/ 914400 h 4305300"/>
                  <a:gd name="connsiteX124" fmla="*/ 223838 w 8801100"/>
                  <a:gd name="connsiteY124" fmla="*/ 962025 h 4305300"/>
                  <a:gd name="connsiteX125" fmla="*/ 278606 w 8801100"/>
                  <a:gd name="connsiteY125" fmla="*/ 997744 h 4305300"/>
                  <a:gd name="connsiteX126" fmla="*/ 369094 w 8801100"/>
                  <a:gd name="connsiteY126" fmla="*/ 1085850 h 4305300"/>
                  <a:gd name="connsiteX127" fmla="*/ 371475 w 8801100"/>
                  <a:gd name="connsiteY127" fmla="*/ 1145381 h 4305300"/>
                  <a:gd name="connsiteX128" fmla="*/ 507206 w 8801100"/>
                  <a:gd name="connsiteY128" fmla="*/ 1278732 h 4305300"/>
                  <a:gd name="connsiteX129" fmla="*/ 561975 w 8801100"/>
                  <a:gd name="connsiteY129" fmla="*/ 1254919 h 4305300"/>
                  <a:gd name="connsiteX130" fmla="*/ 600075 w 8801100"/>
                  <a:gd name="connsiteY130" fmla="*/ 1281112 h 4305300"/>
                  <a:gd name="connsiteX131" fmla="*/ 614363 w 8801100"/>
                  <a:gd name="connsiteY131" fmla="*/ 1331118 h 4305300"/>
                  <a:gd name="connsiteX132" fmla="*/ 657225 w 8801100"/>
                  <a:gd name="connsiteY132" fmla="*/ 1366838 h 4305300"/>
                  <a:gd name="connsiteX133" fmla="*/ 697706 w 8801100"/>
                  <a:gd name="connsiteY133" fmla="*/ 1354931 h 4305300"/>
                  <a:gd name="connsiteX134" fmla="*/ 716756 w 8801100"/>
                  <a:gd name="connsiteY134" fmla="*/ 1412081 h 4305300"/>
                  <a:gd name="connsiteX135" fmla="*/ 764381 w 8801100"/>
                  <a:gd name="connsiteY135" fmla="*/ 1454944 h 4305300"/>
                  <a:gd name="connsiteX136" fmla="*/ 788194 w 8801100"/>
                  <a:gd name="connsiteY136" fmla="*/ 1557338 h 4305300"/>
                  <a:gd name="connsiteX137" fmla="*/ 785813 w 8801100"/>
                  <a:gd name="connsiteY137" fmla="*/ 1604963 h 4305300"/>
                  <a:gd name="connsiteX138" fmla="*/ 821531 w 8801100"/>
                  <a:gd name="connsiteY138" fmla="*/ 1704975 h 4305300"/>
                  <a:gd name="connsiteX139" fmla="*/ 866775 w 8801100"/>
                  <a:gd name="connsiteY139" fmla="*/ 1762125 h 4305300"/>
                  <a:gd name="connsiteX140" fmla="*/ 883443 w 8801100"/>
                  <a:gd name="connsiteY140" fmla="*/ 1919287 h 4305300"/>
                  <a:gd name="connsiteX141" fmla="*/ 850106 w 8801100"/>
                  <a:gd name="connsiteY141" fmla="*/ 1981200 h 4305300"/>
                  <a:gd name="connsiteX142" fmla="*/ 819150 w 8801100"/>
                  <a:gd name="connsiteY142" fmla="*/ 2057400 h 4305300"/>
                  <a:gd name="connsiteX143" fmla="*/ 833438 w 8801100"/>
                  <a:gd name="connsiteY143" fmla="*/ 2114550 h 4305300"/>
                  <a:gd name="connsiteX144" fmla="*/ 735806 w 8801100"/>
                  <a:gd name="connsiteY144" fmla="*/ 2221707 h 4305300"/>
                  <a:gd name="connsiteX145" fmla="*/ 692944 w 8801100"/>
                  <a:gd name="connsiteY145" fmla="*/ 2336006 h 4305300"/>
                  <a:gd name="connsiteX146" fmla="*/ 726281 w 8801100"/>
                  <a:gd name="connsiteY146" fmla="*/ 2376488 h 4305300"/>
                  <a:gd name="connsiteX147" fmla="*/ 709613 w 8801100"/>
                  <a:gd name="connsiteY147" fmla="*/ 2405063 h 4305300"/>
                  <a:gd name="connsiteX148" fmla="*/ 740569 w 8801100"/>
                  <a:gd name="connsiteY148" fmla="*/ 2462213 h 4305300"/>
                  <a:gd name="connsiteX149" fmla="*/ 769144 w 8801100"/>
                  <a:gd name="connsiteY149" fmla="*/ 2462213 h 4305300"/>
                  <a:gd name="connsiteX150" fmla="*/ 931069 w 8801100"/>
                  <a:gd name="connsiteY150" fmla="*/ 2564606 h 4305300"/>
                  <a:gd name="connsiteX151" fmla="*/ 1035844 w 8801100"/>
                  <a:gd name="connsiteY151" fmla="*/ 2562225 h 4305300"/>
                  <a:gd name="connsiteX152" fmla="*/ 1114425 w 8801100"/>
                  <a:gd name="connsiteY152" fmla="*/ 2616994 h 4305300"/>
                  <a:gd name="connsiteX153" fmla="*/ 1245393 w 8801100"/>
                  <a:gd name="connsiteY153" fmla="*/ 2619375 h 4305300"/>
                  <a:gd name="connsiteX154" fmla="*/ 1435893 w 8801100"/>
                  <a:gd name="connsiteY154" fmla="*/ 2688431 h 4305300"/>
                  <a:gd name="connsiteX155" fmla="*/ 1638300 w 8801100"/>
                  <a:gd name="connsiteY155" fmla="*/ 2838450 h 4305300"/>
                  <a:gd name="connsiteX156" fmla="*/ 1671637 w 8801100"/>
                  <a:gd name="connsiteY156" fmla="*/ 2905125 h 4305300"/>
                  <a:gd name="connsiteX157" fmla="*/ 1838325 w 8801100"/>
                  <a:gd name="connsiteY157" fmla="*/ 3031331 h 4305300"/>
                  <a:gd name="connsiteX158" fmla="*/ 1909763 w 8801100"/>
                  <a:gd name="connsiteY158" fmla="*/ 3026569 h 4305300"/>
                  <a:gd name="connsiteX159" fmla="*/ 1945482 w 8801100"/>
                  <a:gd name="connsiteY159" fmla="*/ 3050381 h 4305300"/>
                  <a:gd name="connsiteX160" fmla="*/ 1916906 w 8801100"/>
                  <a:gd name="connsiteY160" fmla="*/ 3090863 h 4305300"/>
                  <a:gd name="connsiteX161" fmla="*/ 1924050 w 8801100"/>
                  <a:gd name="connsiteY161" fmla="*/ 3143250 h 4305300"/>
                  <a:gd name="connsiteX162" fmla="*/ 1976438 w 8801100"/>
                  <a:gd name="connsiteY162" fmla="*/ 3169444 h 4305300"/>
                  <a:gd name="connsiteX163" fmla="*/ 2038350 w 8801100"/>
                  <a:gd name="connsiteY163" fmla="*/ 3393282 h 4305300"/>
                  <a:gd name="connsiteX164" fmla="*/ 2028825 w 8801100"/>
                  <a:gd name="connsiteY164" fmla="*/ 3457575 h 4305300"/>
                  <a:gd name="connsiteX165" fmla="*/ 2164556 w 8801100"/>
                  <a:gd name="connsiteY165" fmla="*/ 3624263 h 4305300"/>
                  <a:gd name="connsiteX166" fmla="*/ 2183606 w 8801100"/>
                  <a:gd name="connsiteY166" fmla="*/ 3674269 h 4305300"/>
                  <a:gd name="connsiteX167" fmla="*/ 2157413 w 8801100"/>
                  <a:gd name="connsiteY167" fmla="*/ 3693319 h 4305300"/>
                  <a:gd name="connsiteX168" fmla="*/ 2259806 w 8801100"/>
                  <a:gd name="connsiteY168" fmla="*/ 3702844 h 4305300"/>
                  <a:gd name="connsiteX169" fmla="*/ 2371725 w 8801100"/>
                  <a:gd name="connsiteY169" fmla="*/ 3690938 h 4305300"/>
                  <a:gd name="connsiteX170" fmla="*/ 2650331 w 8801100"/>
                  <a:gd name="connsiteY170" fmla="*/ 3774281 h 4305300"/>
                  <a:gd name="connsiteX171" fmla="*/ 3057525 w 8801100"/>
                  <a:gd name="connsiteY171" fmla="*/ 3855244 h 4305300"/>
                  <a:gd name="connsiteX172" fmla="*/ 3255169 w 8801100"/>
                  <a:gd name="connsiteY172" fmla="*/ 3824287 h 4305300"/>
                  <a:gd name="connsiteX173" fmla="*/ 3300413 w 8801100"/>
                  <a:gd name="connsiteY173" fmla="*/ 3836193 h 4305300"/>
                  <a:gd name="connsiteX174" fmla="*/ 3355181 w 8801100"/>
                  <a:gd name="connsiteY174" fmla="*/ 3812382 h 4305300"/>
                  <a:gd name="connsiteX175" fmla="*/ 3748087 w 8801100"/>
                  <a:gd name="connsiteY175" fmla="*/ 3902869 h 4305300"/>
                  <a:gd name="connsiteX176" fmla="*/ 3831432 w 8801100"/>
                  <a:gd name="connsiteY176" fmla="*/ 4000500 h 4305300"/>
                  <a:gd name="connsiteX177" fmla="*/ 3950494 w 8801100"/>
                  <a:gd name="connsiteY177" fmla="*/ 4071938 h 4305300"/>
                  <a:gd name="connsiteX178" fmla="*/ 4010025 w 8801100"/>
                  <a:gd name="connsiteY178" fmla="*/ 4055269 h 4305300"/>
                  <a:gd name="connsiteX179" fmla="*/ 4360068 w 8801100"/>
                  <a:gd name="connsiteY179" fmla="*/ 4229100 h 4305300"/>
                  <a:gd name="connsiteX180" fmla="*/ 4586288 w 8801100"/>
                  <a:gd name="connsiteY180" fmla="*/ 4200525 h 4305300"/>
                  <a:gd name="connsiteX181" fmla="*/ 4595813 w 8801100"/>
                  <a:gd name="connsiteY181" fmla="*/ 4279106 h 4305300"/>
                  <a:gd name="connsiteX182" fmla="*/ 4681538 w 8801100"/>
                  <a:gd name="connsiteY182" fmla="*/ 4274343 h 4305300"/>
                  <a:gd name="connsiteX183" fmla="*/ 4760119 w 8801100"/>
                  <a:gd name="connsiteY183" fmla="*/ 4305300 h 4305300"/>
                  <a:gd name="connsiteX184" fmla="*/ 4802981 w 8801100"/>
                  <a:gd name="connsiteY184" fmla="*/ 4245769 h 4305300"/>
                  <a:gd name="connsiteX185" fmla="*/ 5474494 w 8801100"/>
                  <a:gd name="connsiteY185" fmla="*/ 3926681 h 4305300"/>
                  <a:gd name="connsiteX186" fmla="*/ 5562600 w 8801100"/>
                  <a:gd name="connsiteY186" fmla="*/ 3955257 h 4305300"/>
                  <a:gd name="connsiteX187" fmla="*/ 5693569 w 8801100"/>
                  <a:gd name="connsiteY187" fmla="*/ 3926681 h 4305300"/>
                  <a:gd name="connsiteX188" fmla="*/ 5872162 w 8801100"/>
                  <a:gd name="connsiteY188" fmla="*/ 3943350 h 4305300"/>
                  <a:gd name="connsiteX189" fmla="*/ 5929313 w 8801100"/>
                  <a:gd name="connsiteY189" fmla="*/ 3917157 h 4305300"/>
                  <a:gd name="connsiteX190" fmla="*/ 6062662 w 8801100"/>
                  <a:gd name="connsiteY190" fmla="*/ 3914775 h 4305300"/>
                  <a:gd name="connsiteX191" fmla="*/ 6196012 w 8801100"/>
                  <a:gd name="connsiteY191" fmla="*/ 3817144 h 4305300"/>
                  <a:gd name="connsiteX192" fmla="*/ 6262687 w 8801100"/>
                  <a:gd name="connsiteY192" fmla="*/ 3810000 h 4305300"/>
                  <a:gd name="connsiteX193" fmla="*/ 6360319 w 8801100"/>
                  <a:gd name="connsiteY193" fmla="*/ 3736181 h 4305300"/>
                  <a:gd name="connsiteX194" fmla="*/ 6434138 w 8801100"/>
                  <a:gd name="connsiteY194" fmla="*/ 3667125 h 4305300"/>
                  <a:gd name="connsiteX195" fmla="*/ 6443663 w 8801100"/>
                  <a:gd name="connsiteY195" fmla="*/ 3605213 h 4305300"/>
                  <a:gd name="connsiteX196" fmla="*/ 6477000 w 8801100"/>
                  <a:gd name="connsiteY196" fmla="*/ 3536156 h 4305300"/>
                  <a:gd name="connsiteX197" fmla="*/ 6629400 w 8801100"/>
                  <a:gd name="connsiteY197" fmla="*/ 3429000 h 4305300"/>
                  <a:gd name="connsiteX198" fmla="*/ 6662738 w 8801100"/>
                  <a:gd name="connsiteY198" fmla="*/ 3433763 h 4305300"/>
                  <a:gd name="connsiteX199" fmla="*/ 6715125 w 8801100"/>
                  <a:gd name="connsiteY199" fmla="*/ 3355181 h 4305300"/>
                  <a:gd name="connsiteX200" fmla="*/ 6762750 w 8801100"/>
                  <a:gd name="connsiteY200" fmla="*/ 3317081 h 4305300"/>
                  <a:gd name="connsiteX201" fmla="*/ 6748463 w 8801100"/>
                  <a:gd name="connsiteY201" fmla="*/ 3248025 h 4305300"/>
                  <a:gd name="connsiteX202" fmla="*/ 6698456 w 8801100"/>
                  <a:gd name="connsiteY202" fmla="*/ 3217068 h 4305300"/>
                  <a:gd name="connsiteX203" fmla="*/ 6638925 w 8801100"/>
                  <a:gd name="connsiteY203" fmla="*/ 3162300 h 4305300"/>
                  <a:gd name="connsiteX204" fmla="*/ 6619875 w 8801100"/>
                  <a:gd name="connsiteY204" fmla="*/ 3105150 h 4305300"/>
                  <a:gd name="connsiteX205" fmla="*/ 6584156 w 8801100"/>
                  <a:gd name="connsiteY205" fmla="*/ 3071813 h 4305300"/>
                  <a:gd name="connsiteX206" fmla="*/ 6610350 w 8801100"/>
                  <a:gd name="connsiteY206" fmla="*/ 3019425 h 4305300"/>
                  <a:gd name="connsiteX207" fmla="*/ 6650831 w 8801100"/>
                  <a:gd name="connsiteY207" fmla="*/ 2840831 h 4305300"/>
                  <a:gd name="connsiteX208" fmla="*/ 6691313 w 8801100"/>
                  <a:gd name="connsiteY208" fmla="*/ 2774156 h 4305300"/>
                  <a:gd name="connsiteX209" fmla="*/ 6836569 w 8801100"/>
                  <a:gd name="connsiteY209" fmla="*/ 2757487 h 4305300"/>
                  <a:gd name="connsiteX210" fmla="*/ 6905625 w 8801100"/>
                  <a:gd name="connsiteY210" fmla="*/ 2814638 h 4305300"/>
                  <a:gd name="connsiteX211" fmla="*/ 6981825 w 8801100"/>
                  <a:gd name="connsiteY211" fmla="*/ 2838450 h 4305300"/>
                  <a:gd name="connsiteX212" fmla="*/ 7186612 w 8801100"/>
                  <a:gd name="connsiteY212" fmla="*/ 2843213 h 4305300"/>
                  <a:gd name="connsiteX213" fmla="*/ 7362825 w 8801100"/>
                  <a:gd name="connsiteY213" fmla="*/ 2705100 h 4305300"/>
                  <a:gd name="connsiteX214" fmla="*/ 7419975 w 8801100"/>
                  <a:gd name="connsiteY214" fmla="*/ 2614612 h 4305300"/>
                  <a:gd name="connsiteX215" fmla="*/ 7446169 w 8801100"/>
                  <a:gd name="connsiteY215" fmla="*/ 2531269 h 4305300"/>
                  <a:gd name="connsiteX216" fmla="*/ 7577137 w 8801100"/>
                  <a:gd name="connsiteY216" fmla="*/ 2531269 h 4305300"/>
                  <a:gd name="connsiteX217" fmla="*/ 7750969 w 8801100"/>
                  <a:gd name="connsiteY217" fmla="*/ 2474118 h 4305300"/>
                  <a:gd name="connsiteX218" fmla="*/ 7810500 w 8801100"/>
                  <a:gd name="connsiteY218" fmla="*/ 2362200 h 4305300"/>
                  <a:gd name="connsiteX219" fmla="*/ 7874794 w 8801100"/>
                  <a:gd name="connsiteY219" fmla="*/ 2326481 h 4305300"/>
                  <a:gd name="connsiteX220" fmla="*/ 7853363 w 8801100"/>
                  <a:gd name="connsiteY220" fmla="*/ 2281238 h 4305300"/>
                  <a:gd name="connsiteX221" fmla="*/ 7931944 w 8801100"/>
                  <a:gd name="connsiteY221" fmla="*/ 2112168 h 4305300"/>
                  <a:gd name="connsiteX222" fmla="*/ 7986713 w 8801100"/>
                  <a:gd name="connsiteY222" fmla="*/ 2052638 h 4305300"/>
                  <a:gd name="connsiteX223" fmla="*/ 8024813 w 8801100"/>
                  <a:gd name="connsiteY223" fmla="*/ 2047875 h 4305300"/>
                  <a:gd name="connsiteX224" fmla="*/ 8070056 w 8801100"/>
                  <a:gd name="connsiteY224" fmla="*/ 2052638 h 4305300"/>
                  <a:gd name="connsiteX225" fmla="*/ 8134350 w 8801100"/>
                  <a:gd name="connsiteY225" fmla="*/ 2019300 h 4305300"/>
                  <a:gd name="connsiteX226" fmla="*/ 8143875 w 8801100"/>
                  <a:gd name="connsiteY226" fmla="*/ 1955006 h 4305300"/>
                  <a:gd name="connsiteX227" fmla="*/ 8184355 w 8801100"/>
                  <a:gd name="connsiteY227" fmla="*/ 1919288 h 4305300"/>
                  <a:gd name="connsiteX228" fmla="*/ 8243888 w 8801100"/>
                  <a:gd name="connsiteY228" fmla="*/ 1959768 h 4305300"/>
                  <a:gd name="connsiteX229" fmla="*/ 8270082 w 8801100"/>
                  <a:gd name="connsiteY229" fmla="*/ 1909762 h 4305300"/>
                  <a:gd name="connsiteX230" fmla="*/ 8365331 w 8801100"/>
                  <a:gd name="connsiteY230" fmla="*/ 1840706 h 4305300"/>
                  <a:gd name="connsiteX231" fmla="*/ 8427244 w 8801100"/>
                  <a:gd name="connsiteY231" fmla="*/ 1847850 h 4305300"/>
                  <a:gd name="connsiteX232" fmla="*/ 8477250 w 8801100"/>
                  <a:gd name="connsiteY232" fmla="*/ 1828800 h 4305300"/>
                  <a:gd name="connsiteX233" fmla="*/ 8515350 w 8801100"/>
                  <a:gd name="connsiteY233" fmla="*/ 1800225 h 4305300"/>
                  <a:gd name="connsiteX234" fmla="*/ 8548688 w 8801100"/>
                  <a:gd name="connsiteY234" fmla="*/ 1797844 h 4305300"/>
                  <a:gd name="connsiteX235" fmla="*/ 8584406 w 8801100"/>
                  <a:gd name="connsiteY235" fmla="*/ 1828800 h 4305300"/>
                  <a:gd name="connsiteX236" fmla="*/ 8643938 w 8801100"/>
                  <a:gd name="connsiteY236" fmla="*/ 1828800 h 4305300"/>
                  <a:gd name="connsiteX237" fmla="*/ 8682037 w 8801100"/>
                  <a:gd name="connsiteY237" fmla="*/ 1809750 h 4305300"/>
                  <a:gd name="connsiteX238" fmla="*/ 8765381 w 8801100"/>
                  <a:gd name="connsiteY238" fmla="*/ 1812132 h 4305300"/>
                  <a:gd name="connsiteX239" fmla="*/ 8796338 w 8801100"/>
                  <a:gd name="connsiteY239" fmla="*/ 1766888 h 4305300"/>
                  <a:gd name="connsiteX240" fmla="*/ 8801100 w 8801100"/>
                  <a:gd name="connsiteY240" fmla="*/ 1704975 h 4305300"/>
                  <a:gd name="connsiteX241" fmla="*/ 8751093 w 8801100"/>
                  <a:gd name="connsiteY241" fmla="*/ 1664494 h 4305300"/>
                  <a:gd name="connsiteX242" fmla="*/ 8734425 w 8801100"/>
                  <a:gd name="connsiteY242" fmla="*/ 1609725 h 4305300"/>
                  <a:gd name="connsiteX243" fmla="*/ 8643938 w 8801100"/>
                  <a:gd name="connsiteY243" fmla="*/ 1547813 h 4305300"/>
                  <a:gd name="connsiteX244" fmla="*/ 8603456 w 8801100"/>
                  <a:gd name="connsiteY244" fmla="*/ 1526381 h 4305300"/>
                  <a:gd name="connsiteX245" fmla="*/ 8565356 w 8801100"/>
                  <a:gd name="connsiteY245" fmla="*/ 1481138 h 4305300"/>
                  <a:gd name="connsiteX246" fmla="*/ 8534400 w 8801100"/>
                  <a:gd name="connsiteY246" fmla="*/ 1478756 h 4305300"/>
                  <a:gd name="connsiteX247" fmla="*/ 8517731 w 8801100"/>
                  <a:gd name="connsiteY247" fmla="*/ 1426369 h 4305300"/>
                  <a:gd name="connsiteX248" fmla="*/ 8477250 w 8801100"/>
                  <a:gd name="connsiteY248" fmla="*/ 1409700 h 4305300"/>
                  <a:gd name="connsiteX249" fmla="*/ 8477250 w 8801100"/>
                  <a:gd name="connsiteY249" fmla="*/ 1409700 h 4305300"/>
                  <a:gd name="connsiteX250" fmla="*/ 8436769 w 8801100"/>
                  <a:gd name="connsiteY250" fmla="*/ 1414463 h 4305300"/>
                  <a:gd name="connsiteX251" fmla="*/ 8351043 w 8801100"/>
                  <a:gd name="connsiteY251" fmla="*/ 1340644 h 4305300"/>
                  <a:gd name="connsiteX252" fmla="*/ 8170069 w 8801100"/>
                  <a:gd name="connsiteY252" fmla="*/ 1340643 h 4305300"/>
                  <a:gd name="connsiteX253" fmla="*/ 8117681 w 8801100"/>
                  <a:gd name="connsiteY253" fmla="*/ 1378744 h 4305300"/>
                  <a:gd name="connsiteX254" fmla="*/ 8067675 w 8801100"/>
                  <a:gd name="connsiteY254" fmla="*/ 1457325 h 4305300"/>
                  <a:gd name="connsiteX255" fmla="*/ 8084344 w 8801100"/>
                  <a:gd name="connsiteY255" fmla="*/ 1478756 h 4305300"/>
                  <a:gd name="connsiteX256" fmla="*/ 8039100 w 8801100"/>
                  <a:gd name="connsiteY256" fmla="*/ 1528762 h 4305300"/>
                  <a:gd name="connsiteX257" fmla="*/ 7889081 w 8801100"/>
                  <a:gd name="connsiteY257" fmla="*/ 1452562 h 4305300"/>
                  <a:gd name="connsiteX258" fmla="*/ 7798594 w 8801100"/>
                  <a:gd name="connsiteY258" fmla="*/ 1488281 h 4305300"/>
                  <a:gd name="connsiteX259" fmla="*/ 7724775 w 8801100"/>
                  <a:gd name="connsiteY259" fmla="*/ 1485900 h 4305300"/>
                  <a:gd name="connsiteX260" fmla="*/ 7667625 w 8801100"/>
                  <a:gd name="connsiteY260" fmla="*/ 1581150 h 4305300"/>
                  <a:gd name="connsiteX261" fmla="*/ 7529513 w 8801100"/>
                  <a:gd name="connsiteY261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1793081 w 8801100"/>
                  <a:gd name="connsiteY111" fmla="*/ 435769 h 4305300"/>
                  <a:gd name="connsiteX112" fmla="*/ 2381 w 8801100"/>
                  <a:gd name="connsiteY112" fmla="*/ 1490661 h 4305300"/>
                  <a:gd name="connsiteX113" fmla="*/ 0 w 8801100"/>
                  <a:gd name="connsiteY113" fmla="*/ 709613 h 4305300"/>
                  <a:gd name="connsiteX114" fmla="*/ 76200 w 8801100"/>
                  <a:gd name="connsiteY114" fmla="*/ 692944 h 4305300"/>
                  <a:gd name="connsiteX115" fmla="*/ 119063 w 8801100"/>
                  <a:gd name="connsiteY115" fmla="*/ 721519 h 4305300"/>
                  <a:gd name="connsiteX116" fmla="*/ 215900 w 8801100"/>
                  <a:gd name="connsiteY116" fmla="*/ 712788 h 4305300"/>
                  <a:gd name="connsiteX117" fmla="*/ 261938 w 8801100"/>
                  <a:gd name="connsiteY117" fmla="*/ 740568 h 4305300"/>
                  <a:gd name="connsiteX118" fmla="*/ 228600 w 8801100"/>
                  <a:gd name="connsiteY118" fmla="*/ 769144 h 4305300"/>
                  <a:gd name="connsiteX119" fmla="*/ 233363 w 8801100"/>
                  <a:gd name="connsiteY119" fmla="*/ 812006 h 4305300"/>
                  <a:gd name="connsiteX120" fmla="*/ 200025 w 8801100"/>
                  <a:gd name="connsiteY120" fmla="*/ 816769 h 4305300"/>
                  <a:gd name="connsiteX121" fmla="*/ 204788 w 8801100"/>
                  <a:gd name="connsiteY121" fmla="*/ 840581 h 4305300"/>
                  <a:gd name="connsiteX122" fmla="*/ 261937 w 8801100"/>
                  <a:gd name="connsiteY122" fmla="*/ 914400 h 4305300"/>
                  <a:gd name="connsiteX123" fmla="*/ 223838 w 8801100"/>
                  <a:gd name="connsiteY123" fmla="*/ 962025 h 4305300"/>
                  <a:gd name="connsiteX124" fmla="*/ 278606 w 8801100"/>
                  <a:gd name="connsiteY124" fmla="*/ 997744 h 4305300"/>
                  <a:gd name="connsiteX125" fmla="*/ 369094 w 8801100"/>
                  <a:gd name="connsiteY125" fmla="*/ 1085850 h 4305300"/>
                  <a:gd name="connsiteX126" fmla="*/ 371475 w 8801100"/>
                  <a:gd name="connsiteY126" fmla="*/ 1145381 h 4305300"/>
                  <a:gd name="connsiteX127" fmla="*/ 507206 w 8801100"/>
                  <a:gd name="connsiteY127" fmla="*/ 1278732 h 4305300"/>
                  <a:gd name="connsiteX128" fmla="*/ 561975 w 8801100"/>
                  <a:gd name="connsiteY128" fmla="*/ 1254919 h 4305300"/>
                  <a:gd name="connsiteX129" fmla="*/ 600075 w 8801100"/>
                  <a:gd name="connsiteY129" fmla="*/ 1281112 h 4305300"/>
                  <a:gd name="connsiteX130" fmla="*/ 614363 w 8801100"/>
                  <a:gd name="connsiteY130" fmla="*/ 1331118 h 4305300"/>
                  <a:gd name="connsiteX131" fmla="*/ 657225 w 8801100"/>
                  <a:gd name="connsiteY131" fmla="*/ 1366838 h 4305300"/>
                  <a:gd name="connsiteX132" fmla="*/ 697706 w 8801100"/>
                  <a:gd name="connsiteY132" fmla="*/ 1354931 h 4305300"/>
                  <a:gd name="connsiteX133" fmla="*/ 716756 w 8801100"/>
                  <a:gd name="connsiteY133" fmla="*/ 1412081 h 4305300"/>
                  <a:gd name="connsiteX134" fmla="*/ 764381 w 8801100"/>
                  <a:gd name="connsiteY134" fmla="*/ 1454944 h 4305300"/>
                  <a:gd name="connsiteX135" fmla="*/ 788194 w 8801100"/>
                  <a:gd name="connsiteY135" fmla="*/ 1557338 h 4305300"/>
                  <a:gd name="connsiteX136" fmla="*/ 785813 w 8801100"/>
                  <a:gd name="connsiteY136" fmla="*/ 1604963 h 4305300"/>
                  <a:gd name="connsiteX137" fmla="*/ 821531 w 8801100"/>
                  <a:gd name="connsiteY137" fmla="*/ 1704975 h 4305300"/>
                  <a:gd name="connsiteX138" fmla="*/ 866775 w 8801100"/>
                  <a:gd name="connsiteY138" fmla="*/ 1762125 h 4305300"/>
                  <a:gd name="connsiteX139" fmla="*/ 883443 w 8801100"/>
                  <a:gd name="connsiteY139" fmla="*/ 1919287 h 4305300"/>
                  <a:gd name="connsiteX140" fmla="*/ 850106 w 8801100"/>
                  <a:gd name="connsiteY140" fmla="*/ 1981200 h 4305300"/>
                  <a:gd name="connsiteX141" fmla="*/ 819150 w 8801100"/>
                  <a:gd name="connsiteY141" fmla="*/ 2057400 h 4305300"/>
                  <a:gd name="connsiteX142" fmla="*/ 833438 w 8801100"/>
                  <a:gd name="connsiteY142" fmla="*/ 2114550 h 4305300"/>
                  <a:gd name="connsiteX143" fmla="*/ 735806 w 8801100"/>
                  <a:gd name="connsiteY143" fmla="*/ 2221707 h 4305300"/>
                  <a:gd name="connsiteX144" fmla="*/ 692944 w 8801100"/>
                  <a:gd name="connsiteY144" fmla="*/ 2336006 h 4305300"/>
                  <a:gd name="connsiteX145" fmla="*/ 726281 w 8801100"/>
                  <a:gd name="connsiteY145" fmla="*/ 2376488 h 4305300"/>
                  <a:gd name="connsiteX146" fmla="*/ 709613 w 8801100"/>
                  <a:gd name="connsiteY146" fmla="*/ 2405063 h 4305300"/>
                  <a:gd name="connsiteX147" fmla="*/ 740569 w 8801100"/>
                  <a:gd name="connsiteY147" fmla="*/ 2462213 h 4305300"/>
                  <a:gd name="connsiteX148" fmla="*/ 769144 w 8801100"/>
                  <a:gd name="connsiteY148" fmla="*/ 2462213 h 4305300"/>
                  <a:gd name="connsiteX149" fmla="*/ 931069 w 8801100"/>
                  <a:gd name="connsiteY149" fmla="*/ 2564606 h 4305300"/>
                  <a:gd name="connsiteX150" fmla="*/ 1035844 w 8801100"/>
                  <a:gd name="connsiteY150" fmla="*/ 2562225 h 4305300"/>
                  <a:gd name="connsiteX151" fmla="*/ 1114425 w 8801100"/>
                  <a:gd name="connsiteY151" fmla="*/ 2616994 h 4305300"/>
                  <a:gd name="connsiteX152" fmla="*/ 1245393 w 8801100"/>
                  <a:gd name="connsiteY152" fmla="*/ 2619375 h 4305300"/>
                  <a:gd name="connsiteX153" fmla="*/ 1435893 w 8801100"/>
                  <a:gd name="connsiteY153" fmla="*/ 2688431 h 4305300"/>
                  <a:gd name="connsiteX154" fmla="*/ 1638300 w 8801100"/>
                  <a:gd name="connsiteY154" fmla="*/ 2838450 h 4305300"/>
                  <a:gd name="connsiteX155" fmla="*/ 1671637 w 8801100"/>
                  <a:gd name="connsiteY155" fmla="*/ 2905125 h 4305300"/>
                  <a:gd name="connsiteX156" fmla="*/ 1838325 w 8801100"/>
                  <a:gd name="connsiteY156" fmla="*/ 3031331 h 4305300"/>
                  <a:gd name="connsiteX157" fmla="*/ 1909763 w 8801100"/>
                  <a:gd name="connsiteY157" fmla="*/ 3026569 h 4305300"/>
                  <a:gd name="connsiteX158" fmla="*/ 1945482 w 8801100"/>
                  <a:gd name="connsiteY158" fmla="*/ 3050381 h 4305300"/>
                  <a:gd name="connsiteX159" fmla="*/ 1916906 w 8801100"/>
                  <a:gd name="connsiteY159" fmla="*/ 3090863 h 4305300"/>
                  <a:gd name="connsiteX160" fmla="*/ 1924050 w 8801100"/>
                  <a:gd name="connsiteY160" fmla="*/ 3143250 h 4305300"/>
                  <a:gd name="connsiteX161" fmla="*/ 1976438 w 8801100"/>
                  <a:gd name="connsiteY161" fmla="*/ 3169444 h 4305300"/>
                  <a:gd name="connsiteX162" fmla="*/ 2038350 w 8801100"/>
                  <a:gd name="connsiteY162" fmla="*/ 3393282 h 4305300"/>
                  <a:gd name="connsiteX163" fmla="*/ 2028825 w 8801100"/>
                  <a:gd name="connsiteY163" fmla="*/ 3457575 h 4305300"/>
                  <a:gd name="connsiteX164" fmla="*/ 2164556 w 8801100"/>
                  <a:gd name="connsiteY164" fmla="*/ 3624263 h 4305300"/>
                  <a:gd name="connsiteX165" fmla="*/ 2183606 w 8801100"/>
                  <a:gd name="connsiteY165" fmla="*/ 3674269 h 4305300"/>
                  <a:gd name="connsiteX166" fmla="*/ 2157413 w 8801100"/>
                  <a:gd name="connsiteY166" fmla="*/ 3693319 h 4305300"/>
                  <a:gd name="connsiteX167" fmla="*/ 2259806 w 8801100"/>
                  <a:gd name="connsiteY167" fmla="*/ 3702844 h 4305300"/>
                  <a:gd name="connsiteX168" fmla="*/ 2371725 w 8801100"/>
                  <a:gd name="connsiteY168" fmla="*/ 3690938 h 4305300"/>
                  <a:gd name="connsiteX169" fmla="*/ 2650331 w 8801100"/>
                  <a:gd name="connsiteY169" fmla="*/ 3774281 h 4305300"/>
                  <a:gd name="connsiteX170" fmla="*/ 3057525 w 8801100"/>
                  <a:gd name="connsiteY170" fmla="*/ 3855244 h 4305300"/>
                  <a:gd name="connsiteX171" fmla="*/ 3255169 w 8801100"/>
                  <a:gd name="connsiteY171" fmla="*/ 3824287 h 4305300"/>
                  <a:gd name="connsiteX172" fmla="*/ 3300413 w 8801100"/>
                  <a:gd name="connsiteY172" fmla="*/ 3836193 h 4305300"/>
                  <a:gd name="connsiteX173" fmla="*/ 3355181 w 8801100"/>
                  <a:gd name="connsiteY173" fmla="*/ 3812382 h 4305300"/>
                  <a:gd name="connsiteX174" fmla="*/ 3748087 w 8801100"/>
                  <a:gd name="connsiteY174" fmla="*/ 3902869 h 4305300"/>
                  <a:gd name="connsiteX175" fmla="*/ 3831432 w 8801100"/>
                  <a:gd name="connsiteY175" fmla="*/ 4000500 h 4305300"/>
                  <a:gd name="connsiteX176" fmla="*/ 3950494 w 8801100"/>
                  <a:gd name="connsiteY176" fmla="*/ 4071938 h 4305300"/>
                  <a:gd name="connsiteX177" fmla="*/ 4010025 w 8801100"/>
                  <a:gd name="connsiteY177" fmla="*/ 4055269 h 4305300"/>
                  <a:gd name="connsiteX178" fmla="*/ 4360068 w 8801100"/>
                  <a:gd name="connsiteY178" fmla="*/ 4229100 h 4305300"/>
                  <a:gd name="connsiteX179" fmla="*/ 4586288 w 8801100"/>
                  <a:gd name="connsiteY179" fmla="*/ 4200525 h 4305300"/>
                  <a:gd name="connsiteX180" fmla="*/ 4595813 w 8801100"/>
                  <a:gd name="connsiteY180" fmla="*/ 4279106 h 4305300"/>
                  <a:gd name="connsiteX181" fmla="*/ 4681538 w 8801100"/>
                  <a:gd name="connsiteY181" fmla="*/ 4274343 h 4305300"/>
                  <a:gd name="connsiteX182" fmla="*/ 4760119 w 8801100"/>
                  <a:gd name="connsiteY182" fmla="*/ 4305300 h 4305300"/>
                  <a:gd name="connsiteX183" fmla="*/ 4802981 w 8801100"/>
                  <a:gd name="connsiteY183" fmla="*/ 4245769 h 4305300"/>
                  <a:gd name="connsiteX184" fmla="*/ 5474494 w 8801100"/>
                  <a:gd name="connsiteY184" fmla="*/ 3926681 h 4305300"/>
                  <a:gd name="connsiteX185" fmla="*/ 5562600 w 8801100"/>
                  <a:gd name="connsiteY185" fmla="*/ 3955257 h 4305300"/>
                  <a:gd name="connsiteX186" fmla="*/ 5693569 w 8801100"/>
                  <a:gd name="connsiteY186" fmla="*/ 3926681 h 4305300"/>
                  <a:gd name="connsiteX187" fmla="*/ 5872162 w 8801100"/>
                  <a:gd name="connsiteY187" fmla="*/ 3943350 h 4305300"/>
                  <a:gd name="connsiteX188" fmla="*/ 5929313 w 8801100"/>
                  <a:gd name="connsiteY188" fmla="*/ 3917157 h 4305300"/>
                  <a:gd name="connsiteX189" fmla="*/ 6062662 w 8801100"/>
                  <a:gd name="connsiteY189" fmla="*/ 3914775 h 4305300"/>
                  <a:gd name="connsiteX190" fmla="*/ 6196012 w 8801100"/>
                  <a:gd name="connsiteY190" fmla="*/ 3817144 h 4305300"/>
                  <a:gd name="connsiteX191" fmla="*/ 6262687 w 8801100"/>
                  <a:gd name="connsiteY191" fmla="*/ 3810000 h 4305300"/>
                  <a:gd name="connsiteX192" fmla="*/ 6360319 w 8801100"/>
                  <a:gd name="connsiteY192" fmla="*/ 3736181 h 4305300"/>
                  <a:gd name="connsiteX193" fmla="*/ 6434138 w 8801100"/>
                  <a:gd name="connsiteY193" fmla="*/ 3667125 h 4305300"/>
                  <a:gd name="connsiteX194" fmla="*/ 6443663 w 8801100"/>
                  <a:gd name="connsiteY194" fmla="*/ 3605213 h 4305300"/>
                  <a:gd name="connsiteX195" fmla="*/ 6477000 w 8801100"/>
                  <a:gd name="connsiteY195" fmla="*/ 3536156 h 4305300"/>
                  <a:gd name="connsiteX196" fmla="*/ 6629400 w 8801100"/>
                  <a:gd name="connsiteY196" fmla="*/ 3429000 h 4305300"/>
                  <a:gd name="connsiteX197" fmla="*/ 6662738 w 8801100"/>
                  <a:gd name="connsiteY197" fmla="*/ 3433763 h 4305300"/>
                  <a:gd name="connsiteX198" fmla="*/ 6715125 w 8801100"/>
                  <a:gd name="connsiteY198" fmla="*/ 3355181 h 4305300"/>
                  <a:gd name="connsiteX199" fmla="*/ 6762750 w 8801100"/>
                  <a:gd name="connsiteY199" fmla="*/ 3317081 h 4305300"/>
                  <a:gd name="connsiteX200" fmla="*/ 6748463 w 8801100"/>
                  <a:gd name="connsiteY200" fmla="*/ 3248025 h 4305300"/>
                  <a:gd name="connsiteX201" fmla="*/ 6698456 w 8801100"/>
                  <a:gd name="connsiteY201" fmla="*/ 3217068 h 4305300"/>
                  <a:gd name="connsiteX202" fmla="*/ 6638925 w 8801100"/>
                  <a:gd name="connsiteY202" fmla="*/ 3162300 h 4305300"/>
                  <a:gd name="connsiteX203" fmla="*/ 6619875 w 8801100"/>
                  <a:gd name="connsiteY203" fmla="*/ 3105150 h 4305300"/>
                  <a:gd name="connsiteX204" fmla="*/ 6584156 w 8801100"/>
                  <a:gd name="connsiteY204" fmla="*/ 3071813 h 4305300"/>
                  <a:gd name="connsiteX205" fmla="*/ 6610350 w 8801100"/>
                  <a:gd name="connsiteY205" fmla="*/ 3019425 h 4305300"/>
                  <a:gd name="connsiteX206" fmla="*/ 6650831 w 8801100"/>
                  <a:gd name="connsiteY206" fmla="*/ 2840831 h 4305300"/>
                  <a:gd name="connsiteX207" fmla="*/ 6691313 w 8801100"/>
                  <a:gd name="connsiteY207" fmla="*/ 2774156 h 4305300"/>
                  <a:gd name="connsiteX208" fmla="*/ 6836569 w 8801100"/>
                  <a:gd name="connsiteY208" fmla="*/ 2757487 h 4305300"/>
                  <a:gd name="connsiteX209" fmla="*/ 6905625 w 8801100"/>
                  <a:gd name="connsiteY209" fmla="*/ 2814638 h 4305300"/>
                  <a:gd name="connsiteX210" fmla="*/ 6981825 w 8801100"/>
                  <a:gd name="connsiteY210" fmla="*/ 2838450 h 4305300"/>
                  <a:gd name="connsiteX211" fmla="*/ 7186612 w 8801100"/>
                  <a:gd name="connsiteY211" fmla="*/ 2843213 h 4305300"/>
                  <a:gd name="connsiteX212" fmla="*/ 7362825 w 8801100"/>
                  <a:gd name="connsiteY212" fmla="*/ 2705100 h 4305300"/>
                  <a:gd name="connsiteX213" fmla="*/ 7419975 w 8801100"/>
                  <a:gd name="connsiteY213" fmla="*/ 2614612 h 4305300"/>
                  <a:gd name="connsiteX214" fmla="*/ 7446169 w 8801100"/>
                  <a:gd name="connsiteY214" fmla="*/ 2531269 h 4305300"/>
                  <a:gd name="connsiteX215" fmla="*/ 7577137 w 8801100"/>
                  <a:gd name="connsiteY215" fmla="*/ 2531269 h 4305300"/>
                  <a:gd name="connsiteX216" fmla="*/ 7750969 w 8801100"/>
                  <a:gd name="connsiteY216" fmla="*/ 2474118 h 4305300"/>
                  <a:gd name="connsiteX217" fmla="*/ 7810500 w 8801100"/>
                  <a:gd name="connsiteY217" fmla="*/ 2362200 h 4305300"/>
                  <a:gd name="connsiteX218" fmla="*/ 7874794 w 8801100"/>
                  <a:gd name="connsiteY218" fmla="*/ 2326481 h 4305300"/>
                  <a:gd name="connsiteX219" fmla="*/ 7853363 w 8801100"/>
                  <a:gd name="connsiteY219" fmla="*/ 2281238 h 4305300"/>
                  <a:gd name="connsiteX220" fmla="*/ 7931944 w 8801100"/>
                  <a:gd name="connsiteY220" fmla="*/ 2112168 h 4305300"/>
                  <a:gd name="connsiteX221" fmla="*/ 7986713 w 8801100"/>
                  <a:gd name="connsiteY221" fmla="*/ 2052638 h 4305300"/>
                  <a:gd name="connsiteX222" fmla="*/ 8024813 w 8801100"/>
                  <a:gd name="connsiteY222" fmla="*/ 2047875 h 4305300"/>
                  <a:gd name="connsiteX223" fmla="*/ 8070056 w 8801100"/>
                  <a:gd name="connsiteY223" fmla="*/ 2052638 h 4305300"/>
                  <a:gd name="connsiteX224" fmla="*/ 8134350 w 8801100"/>
                  <a:gd name="connsiteY224" fmla="*/ 2019300 h 4305300"/>
                  <a:gd name="connsiteX225" fmla="*/ 8143875 w 8801100"/>
                  <a:gd name="connsiteY225" fmla="*/ 1955006 h 4305300"/>
                  <a:gd name="connsiteX226" fmla="*/ 8184355 w 8801100"/>
                  <a:gd name="connsiteY226" fmla="*/ 1919288 h 4305300"/>
                  <a:gd name="connsiteX227" fmla="*/ 8243888 w 8801100"/>
                  <a:gd name="connsiteY227" fmla="*/ 1959768 h 4305300"/>
                  <a:gd name="connsiteX228" fmla="*/ 8270082 w 8801100"/>
                  <a:gd name="connsiteY228" fmla="*/ 1909762 h 4305300"/>
                  <a:gd name="connsiteX229" fmla="*/ 8365331 w 8801100"/>
                  <a:gd name="connsiteY229" fmla="*/ 1840706 h 4305300"/>
                  <a:gd name="connsiteX230" fmla="*/ 8427244 w 8801100"/>
                  <a:gd name="connsiteY230" fmla="*/ 1847850 h 4305300"/>
                  <a:gd name="connsiteX231" fmla="*/ 8477250 w 8801100"/>
                  <a:gd name="connsiteY231" fmla="*/ 1828800 h 4305300"/>
                  <a:gd name="connsiteX232" fmla="*/ 8515350 w 8801100"/>
                  <a:gd name="connsiteY232" fmla="*/ 1800225 h 4305300"/>
                  <a:gd name="connsiteX233" fmla="*/ 8548688 w 8801100"/>
                  <a:gd name="connsiteY233" fmla="*/ 1797844 h 4305300"/>
                  <a:gd name="connsiteX234" fmla="*/ 8584406 w 8801100"/>
                  <a:gd name="connsiteY234" fmla="*/ 1828800 h 4305300"/>
                  <a:gd name="connsiteX235" fmla="*/ 8643938 w 8801100"/>
                  <a:gd name="connsiteY235" fmla="*/ 1828800 h 4305300"/>
                  <a:gd name="connsiteX236" fmla="*/ 8682037 w 8801100"/>
                  <a:gd name="connsiteY236" fmla="*/ 1809750 h 4305300"/>
                  <a:gd name="connsiteX237" fmla="*/ 8765381 w 8801100"/>
                  <a:gd name="connsiteY237" fmla="*/ 1812132 h 4305300"/>
                  <a:gd name="connsiteX238" fmla="*/ 8796338 w 8801100"/>
                  <a:gd name="connsiteY238" fmla="*/ 1766888 h 4305300"/>
                  <a:gd name="connsiteX239" fmla="*/ 8801100 w 8801100"/>
                  <a:gd name="connsiteY239" fmla="*/ 1704975 h 4305300"/>
                  <a:gd name="connsiteX240" fmla="*/ 8751093 w 8801100"/>
                  <a:gd name="connsiteY240" fmla="*/ 1664494 h 4305300"/>
                  <a:gd name="connsiteX241" fmla="*/ 8734425 w 8801100"/>
                  <a:gd name="connsiteY241" fmla="*/ 1609725 h 4305300"/>
                  <a:gd name="connsiteX242" fmla="*/ 8643938 w 8801100"/>
                  <a:gd name="connsiteY242" fmla="*/ 1547813 h 4305300"/>
                  <a:gd name="connsiteX243" fmla="*/ 8603456 w 8801100"/>
                  <a:gd name="connsiteY243" fmla="*/ 1526381 h 4305300"/>
                  <a:gd name="connsiteX244" fmla="*/ 8565356 w 8801100"/>
                  <a:gd name="connsiteY244" fmla="*/ 1481138 h 4305300"/>
                  <a:gd name="connsiteX245" fmla="*/ 8534400 w 8801100"/>
                  <a:gd name="connsiteY245" fmla="*/ 1478756 h 4305300"/>
                  <a:gd name="connsiteX246" fmla="*/ 8517731 w 8801100"/>
                  <a:gd name="connsiteY246" fmla="*/ 1426369 h 4305300"/>
                  <a:gd name="connsiteX247" fmla="*/ 8477250 w 8801100"/>
                  <a:gd name="connsiteY247" fmla="*/ 1409700 h 4305300"/>
                  <a:gd name="connsiteX248" fmla="*/ 8477250 w 8801100"/>
                  <a:gd name="connsiteY248" fmla="*/ 1409700 h 4305300"/>
                  <a:gd name="connsiteX249" fmla="*/ 8436769 w 8801100"/>
                  <a:gd name="connsiteY249" fmla="*/ 1414463 h 4305300"/>
                  <a:gd name="connsiteX250" fmla="*/ 8351043 w 8801100"/>
                  <a:gd name="connsiteY250" fmla="*/ 1340644 h 4305300"/>
                  <a:gd name="connsiteX251" fmla="*/ 8170069 w 8801100"/>
                  <a:gd name="connsiteY251" fmla="*/ 1340643 h 4305300"/>
                  <a:gd name="connsiteX252" fmla="*/ 8117681 w 8801100"/>
                  <a:gd name="connsiteY252" fmla="*/ 1378744 h 4305300"/>
                  <a:gd name="connsiteX253" fmla="*/ 8067675 w 8801100"/>
                  <a:gd name="connsiteY253" fmla="*/ 1457325 h 4305300"/>
                  <a:gd name="connsiteX254" fmla="*/ 8084344 w 8801100"/>
                  <a:gd name="connsiteY254" fmla="*/ 1478756 h 4305300"/>
                  <a:gd name="connsiteX255" fmla="*/ 8039100 w 8801100"/>
                  <a:gd name="connsiteY255" fmla="*/ 1528762 h 4305300"/>
                  <a:gd name="connsiteX256" fmla="*/ 7889081 w 8801100"/>
                  <a:gd name="connsiteY256" fmla="*/ 1452562 h 4305300"/>
                  <a:gd name="connsiteX257" fmla="*/ 7798594 w 8801100"/>
                  <a:gd name="connsiteY257" fmla="*/ 1488281 h 4305300"/>
                  <a:gd name="connsiteX258" fmla="*/ 7724775 w 8801100"/>
                  <a:gd name="connsiteY258" fmla="*/ 1485900 h 4305300"/>
                  <a:gd name="connsiteX259" fmla="*/ 7667625 w 8801100"/>
                  <a:gd name="connsiteY259" fmla="*/ 1581150 h 4305300"/>
                  <a:gd name="connsiteX260" fmla="*/ 7529513 w 8801100"/>
                  <a:gd name="connsiteY260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1847850 w 8801100"/>
                  <a:gd name="connsiteY110" fmla="*/ 473869 h 4305300"/>
                  <a:gd name="connsiteX111" fmla="*/ 2381 w 8801100"/>
                  <a:gd name="connsiteY111" fmla="*/ 1490661 h 4305300"/>
                  <a:gd name="connsiteX112" fmla="*/ 0 w 8801100"/>
                  <a:gd name="connsiteY112" fmla="*/ 709613 h 4305300"/>
                  <a:gd name="connsiteX113" fmla="*/ 76200 w 8801100"/>
                  <a:gd name="connsiteY113" fmla="*/ 692944 h 4305300"/>
                  <a:gd name="connsiteX114" fmla="*/ 119063 w 8801100"/>
                  <a:gd name="connsiteY114" fmla="*/ 721519 h 4305300"/>
                  <a:gd name="connsiteX115" fmla="*/ 215900 w 8801100"/>
                  <a:gd name="connsiteY115" fmla="*/ 712788 h 4305300"/>
                  <a:gd name="connsiteX116" fmla="*/ 261938 w 8801100"/>
                  <a:gd name="connsiteY116" fmla="*/ 740568 h 4305300"/>
                  <a:gd name="connsiteX117" fmla="*/ 228600 w 8801100"/>
                  <a:gd name="connsiteY117" fmla="*/ 769144 h 4305300"/>
                  <a:gd name="connsiteX118" fmla="*/ 233363 w 8801100"/>
                  <a:gd name="connsiteY118" fmla="*/ 812006 h 4305300"/>
                  <a:gd name="connsiteX119" fmla="*/ 200025 w 8801100"/>
                  <a:gd name="connsiteY119" fmla="*/ 816769 h 4305300"/>
                  <a:gd name="connsiteX120" fmla="*/ 204788 w 8801100"/>
                  <a:gd name="connsiteY120" fmla="*/ 840581 h 4305300"/>
                  <a:gd name="connsiteX121" fmla="*/ 261937 w 8801100"/>
                  <a:gd name="connsiteY121" fmla="*/ 914400 h 4305300"/>
                  <a:gd name="connsiteX122" fmla="*/ 223838 w 8801100"/>
                  <a:gd name="connsiteY122" fmla="*/ 962025 h 4305300"/>
                  <a:gd name="connsiteX123" fmla="*/ 278606 w 8801100"/>
                  <a:gd name="connsiteY123" fmla="*/ 997744 h 4305300"/>
                  <a:gd name="connsiteX124" fmla="*/ 369094 w 8801100"/>
                  <a:gd name="connsiteY124" fmla="*/ 1085850 h 4305300"/>
                  <a:gd name="connsiteX125" fmla="*/ 371475 w 8801100"/>
                  <a:gd name="connsiteY125" fmla="*/ 1145381 h 4305300"/>
                  <a:gd name="connsiteX126" fmla="*/ 507206 w 8801100"/>
                  <a:gd name="connsiteY126" fmla="*/ 1278732 h 4305300"/>
                  <a:gd name="connsiteX127" fmla="*/ 561975 w 8801100"/>
                  <a:gd name="connsiteY127" fmla="*/ 1254919 h 4305300"/>
                  <a:gd name="connsiteX128" fmla="*/ 600075 w 8801100"/>
                  <a:gd name="connsiteY128" fmla="*/ 1281112 h 4305300"/>
                  <a:gd name="connsiteX129" fmla="*/ 614363 w 8801100"/>
                  <a:gd name="connsiteY129" fmla="*/ 1331118 h 4305300"/>
                  <a:gd name="connsiteX130" fmla="*/ 657225 w 8801100"/>
                  <a:gd name="connsiteY130" fmla="*/ 1366838 h 4305300"/>
                  <a:gd name="connsiteX131" fmla="*/ 697706 w 8801100"/>
                  <a:gd name="connsiteY131" fmla="*/ 1354931 h 4305300"/>
                  <a:gd name="connsiteX132" fmla="*/ 716756 w 8801100"/>
                  <a:gd name="connsiteY132" fmla="*/ 1412081 h 4305300"/>
                  <a:gd name="connsiteX133" fmla="*/ 764381 w 8801100"/>
                  <a:gd name="connsiteY133" fmla="*/ 1454944 h 4305300"/>
                  <a:gd name="connsiteX134" fmla="*/ 788194 w 8801100"/>
                  <a:gd name="connsiteY134" fmla="*/ 1557338 h 4305300"/>
                  <a:gd name="connsiteX135" fmla="*/ 785813 w 8801100"/>
                  <a:gd name="connsiteY135" fmla="*/ 1604963 h 4305300"/>
                  <a:gd name="connsiteX136" fmla="*/ 821531 w 8801100"/>
                  <a:gd name="connsiteY136" fmla="*/ 1704975 h 4305300"/>
                  <a:gd name="connsiteX137" fmla="*/ 866775 w 8801100"/>
                  <a:gd name="connsiteY137" fmla="*/ 1762125 h 4305300"/>
                  <a:gd name="connsiteX138" fmla="*/ 883443 w 8801100"/>
                  <a:gd name="connsiteY138" fmla="*/ 1919287 h 4305300"/>
                  <a:gd name="connsiteX139" fmla="*/ 850106 w 8801100"/>
                  <a:gd name="connsiteY139" fmla="*/ 1981200 h 4305300"/>
                  <a:gd name="connsiteX140" fmla="*/ 819150 w 8801100"/>
                  <a:gd name="connsiteY140" fmla="*/ 2057400 h 4305300"/>
                  <a:gd name="connsiteX141" fmla="*/ 833438 w 8801100"/>
                  <a:gd name="connsiteY141" fmla="*/ 2114550 h 4305300"/>
                  <a:gd name="connsiteX142" fmla="*/ 735806 w 8801100"/>
                  <a:gd name="connsiteY142" fmla="*/ 2221707 h 4305300"/>
                  <a:gd name="connsiteX143" fmla="*/ 692944 w 8801100"/>
                  <a:gd name="connsiteY143" fmla="*/ 2336006 h 4305300"/>
                  <a:gd name="connsiteX144" fmla="*/ 726281 w 8801100"/>
                  <a:gd name="connsiteY144" fmla="*/ 2376488 h 4305300"/>
                  <a:gd name="connsiteX145" fmla="*/ 709613 w 8801100"/>
                  <a:gd name="connsiteY145" fmla="*/ 2405063 h 4305300"/>
                  <a:gd name="connsiteX146" fmla="*/ 740569 w 8801100"/>
                  <a:gd name="connsiteY146" fmla="*/ 2462213 h 4305300"/>
                  <a:gd name="connsiteX147" fmla="*/ 769144 w 8801100"/>
                  <a:gd name="connsiteY147" fmla="*/ 2462213 h 4305300"/>
                  <a:gd name="connsiteX148" fmla="*/ 931069 w 8801100"/>
                  <a:gd name="connsiteY148" fmla="*/ 2564606 h 4305300"/>
                  <a:gd name="connsiteX149" fmla="*/ 1035844 w 8801100"/>
                  <a:gd name="connsiteY149" fmla="*/ 2562225 h 4305300"/>
                  <a:gd name="connsiteX150" fmla="*/ 1114425 w 8801100"/>
                  <a:gd name="connsiteY150" fmla="*/ 2616994 h 4305300"/>
                  <a:gd name="connsiteX151" fmla="*/ 1245393 w 8801100"/>
                  <a:gd name="connsiteY151" fmla="*/ 2619375 h 4305300"/>
                  <a:gd name="connsiteX152" fmla="*/ 1435893 w 8801100"/>
                  <a:gd name="connsiteY152" fmla="*/ 2688431 h 4305300"/>
                  <a:gd name="connsiteX153" fmla="*/ 1638300 w 8801100"/>
                  <a:gd name="connsiteY153" fmla="*/ 2838450 h 4305300"/>
                  <a:gd name="connsiteX154" fmla="*/ 1671637 w 8801100"/>
                  <a:gd name="connsiteY154" fmla="*/ 2905125 h 4305300"/>
                  <a:gd name="connsiteX155" fmla="*/ 1838325 w 8801100"/>
                  <a:gd name="connsiteY155" fmla="*/ 3031331 h 4305300"/>
                  <a:gd name="connsiteX156" fmla="*/ 1909763 w 8801100"/>
                  <a:gd name="connsiteY156" fmla="*/ 3026569 h 4305300"/>
                  <a:gd name="connsiteX157" fmla="*/ 1945482 w 8801100"/>
                  <a:gd name="connsiteY157" fmla="*/ 3050381 h 4305300"/>
                  <a:gd name="connsiteX158" fmla="*/ 1916906 w 8801100"/>
                  <a:gd name="connsiteY158" fmla="*/ 3090863 h 4305300"/>
                  <a:gd name="connsiteX159" fmla="*/ 1924050 w 8801100"/>
                  <a:gd name="connsiteY159" fmla="*/ 3143250 h 4305300"/>
                  <a:gd name="connsiteX160" fmla="*/ 1976438 w 8801100"/>
                  <a:gd name="connsiteY160" fmla="*/ 3169444 h 4305300"/>
                  <a:gd name="connsiteX161" fmla="*/ 2038350 w 8801100"/>
                  <a:gd name="connsiteY161" fmla="*/ 3393282 h 4305300"/>
                  <a:gd name="connsiteX162" fmla="*/ 2028825 w 8801100"/>
                  <a:gd name="connsiteY162" fmla="*/ 3457575 h 4305300"/>
                  <a:gd name="connsiteX163" fmla="*/ 2164556 w 8801100"/>
                  <a:gd name="connsiteY163" fmla="*/ 3624263 h 4305300"/>
                  <a:gd name="connsiteX164" fmla="*/ 2183606 w 8801100"/>
                  <a:gd name="connsiteY164" fmla="*/ 3674269 h 4305300"/>
                  <a:gd name="connsiteX165" fmla="*/ 2157413 w 8801100"/>
                  <a:gd name="connsiteY165" fmla="*/ 3693319 h 4305300"/>
                  <a:gd name="connsiteX166" fmla="*/ 2259806 w 8801100"/>
                  <a:gd name="connsiteY166" fmla="*/ 3702844 h 4305300"/>
                  <a:gd name="connsiteX167" fmla="*/ 2371725 w 8801100"/>
                  <a:gd name="connsiteY167" fmla="*/ 3690938 h 4305300"/>
                  <a:gd name="connsiteX168" fmla="*/ 2650331 w 8801100"/>
                  <a:gd name="connsiteY168" fmla="*/ 3774281 h 4305300"/>
                  <a:gd name="connsiteX169" fmla="*/ 3057525 w 8801100"/>
                  <a:gd name="connsiteY169" fmla="*/ 3855244 h 4305300"/>
                  <a:gd name="connsiteX170" fmla="*/ 3255169 w 8801100"/>
                  <a:gd name="connsiteY170" fmla="*/ 3824287 h 4305300"/>
                  <a:gd name="connsiteX171" fmla="*/ 3300413 w 8801100"/>
                  <a:gd name="connsiteY171" fmla="*/ 3836193 h 4305300"/>
                  <a:gd name="connsiteX172" fmla="*/ 3355181 w 8801100"/>
                  <a:gd name="connsiteY172" fmla="*/ 3812382 h 4305300"/>
                  <a:gd name="connsiteX173" fmla="*/ 3748087 w 8801100"/>
                  <a:gd name="connsiteY173" fmla="*/ 3902869 h 4305300"/>
                  <a:gd name="connsiteX174" fmla="*/ 3831432 w 8801100"/>
                  <a:gd name="connsiteY174" fmla="*/ 4000500 h 4305300"/>
                  <a:gd name="connsiteX175" fmla="*/ 3950494 w 8801100"/>
                  <a:gd name="connsiteY175" fmla="*/ 4071938 h 4305300"/>
                  <a:gd name="connsiteX176" fmla="*/ 4010025 w 8801100"/>
                  <a:gd name="connsiteY176" fmla="*/ 4055269 h 4305300"/>
                  <a:gd name="connsiteX177" fmla="*/ 4360068 w 8801100"/>
                  <a:gd name="connsiteY177" fmla="*/ 4229100 h 4305300"/>
                  <a:gd name="connsiteX178" fmla="*/ 4586288 w 8801100"/>
                  <a:gd name="connsiteY178" fmla="*/ 4200525 h 4305300"/>
                  <a:gd name="connsiteX179" fmla="*/ 4595813 w 8801100"/>
                  <a:gd name="connsiteY179" fmla="*/ 4279106 h 4305300"/>
                  <a:gd name="connsiteX180" fmla="*/ 4681538 w 8801100"/>
                  <a:gd name="connsiteY180" fmla="*/ 4274343 h 4305300"/>
                  <a:gd name="connsiteX181" fmla="*/ 4760119 w 8801100"/>
                  <a:gd name="connsiteY181" fmla="*/ 4305300 h 4305300"/>
                  <a:gd name="connsiteX182" fmla="*/ 4802981 w 8801100"/>
                  <a:gd name="connsiteY182" fmla="*/ 4245769 h 4305300"/>
                  <a:gd name="connsiteX183" fmla="*/ 5474494 w 8801100"/>
                  <a:gd name="connsiteY183" fmla="*/ 3926681 h 4305300"/>
                  <a:gd name="connsiteX184" fmla="*/ 5562600 w 8801100"/>
                  <a:gd name="connsiteY184" fmla="*/ 3955257 h 4305300"/>
                  <a:gd name="connsiteX185" fmla="*/ 5693569 w 8801100"/>
                  <a:gd name="connsiteY185" fmla="*/ 3926681 h 4305300"/>
                  <a:gd name="connsiteX186" fmla="*/ 5872162 w 8801100"/>
                  <a:gd name="connsiteY186" fmla="*/ 3943350 h 4305300"/>
                  <a:gd name="connsiteX187" fmla="*/ 5929313 w 8801100"/>
                  <a:gd name="connsiteY187" fmla="*/ 3917157 h 4305300"/>
                  <a:gd name="connsiteX188" fmla="*/ 6062662 w 8801100"/>
                  <a:gd name="connsiteY188" fmla="*/ 3914775 h 4305300"/>
                  <a:gd name="connsiteX189" fmla="*/ 6196012 w 8801100"/>
                  <a:gd name="connsiteY189" fmla="*/ 3817144 h 4305300"/>
                  <a:gd name="connsiteX190" fmla="*/ 6262687 w 8801100"/>
                  <a:gd name="connsiteY190" fmla="*/ 3810000 h 4305300"/>
                  <a:gd name="connsiteX191" fmla="*/ 6360319 w 8801100"/>
                  <a:gd name="connsiteY191" fmla="*/ 3736181 h 4305300"/>
                  <a:gd name="connsiteX192" fmla="*/ 6434138 w 8801100"/>
                  <a:gd name="connsiteY192" fmla="*/ 3667125 h 4305300"/>
                  <a:gd name="connsiteX193" fmla="*/ 6443663 w 8801100"/>
                  <a:gd name="connsiteY193" fmla="*/ 3605213 h 4305300"/>
                  <a:gd name="connsiteX194" fmla="*/ 6477000 w 8801100"/>
                  <a:gd name="connsiteY194" fmla="*/ 3536156 h 4305300"/>
                  <a:gd name="connsiteX195" fmla="*/ 6629400 w 8801100"/>
                  <a:gd name="connsiteY195" fmla="*/ 3429000 h 4305300"/>
                  <a:gd name="connsiteX196" fmla="*/ 6662738 w 8801100"/>
                  <a:gd name="connsiteY196" fmla="*/ 3433763 h 4305300"/>
                  <a:gd name="connsiteX197" fmla="*/ 6715125 w 8801100"/>
                  <a:gd name="connsiteY197" fmla="*/ 3355181 h 4305300"/>
                  <a:gd name="connsiteX198" fmla="*/ 6762750 w 8801100"/>
                  <a:gd name="connsiteY198" fmla="*/ 3317081 h 4305300"/>
                  <a:gd name="connsiteX199" fmla="*/ 6748463 w 8801100"/>
                  <a:gd name="connsiteY199" fmla="*/ 3248025 h 4305300"/>
                  <a:gd name="connsiteX200" fmla="*/ 6698456 w 8801100"/>
                  <a:gd name="connsiteY200" fmla="*/ 3217068 h 4305300"/>
                  <a:gd name="connsiteX201" fmla="*/ 6638925 w 8801100"/>
                  <a:gd name="connsiteY201" fmla="*/ 3162300 h 4305300"/>
                  <a:gd name="connsiteX202" fmla="*/ 6619875 w 8801100"/>
                  <a:gd name="connsiteY202" fmla="*/ 3105150 h 4305300"/>
                  <a:gd name="connsiteX203" fmla="*/ 6584156 w 8801100"/>
                  <a:gd name="connsiteY203" fmla="*/ 3071813 h 4305300"/>
                  <a:gd name="connsiteX204" fmla="*/ 6610350 w 8801100"/>
                  <a:gd name="connsiteY204" fmla="*/ 3019425 h 4305300"/>
                  <a:gd name="connsiteX205" fmla="*/ 6650831 w 8801100"/>
                  <a:gd name="connsiteY205" fmla="*/ 2840831 h 4305300"/>
                  <a:gd name="connsiteX206" fmla="*/ 6691313 w 8801100"/>
                  <a:gd name="connsiteY206" fmla="*/ 2774156 h 4305300"/>
                  <a:gd name="connsiteX207" fmla="*/ 6836569 w 8801100"/>
                  <a:gd name="connsiteY207" fmla="*/ 2757487 h 4305300"/>
                  <a:gd name="connsiteX208" fmla="*/ 6905625 w 8801100"/>
                  <a:gd name="connsiteY208" fmla="*/ 2814638 h 4305300"/>
                  <a:gd name="connsiteX209" fmla="*/ 6981825 w 8801100"/>
                  <a:gd name="connsiteY209" fmla="*/ 2838450 h 4305300"/>
                  <a:gd name="connsiteX210" fmla="*/ 7186612 w 8801100"/>
                  <a:gd name="connsiteY210" fmla="*/ 2843213 h 4305300"/>
                  <a:gd name="connsiteX211" fmla="*/ 7362825 w 8801100"/>
                  <a:gd name="connsiteY211" fmla="*/ 2705100 h 4305300"/>
                  <a:gd name="connsiteX212" fmla="*/ 7419975 w 8801100"/>
                  <a:gd name="connsiteY212" fmla="*/ 2614612 h 4305300"/>
                  <a:gd name="connsiteX213" fmla="*/ 7446169 w 8801100"/>
                  <a:gd name="connsiteY213" fmla="*/ 2531269 h 4305300"/>
                  <a:gd name="connsiteX214" fmla="*/ 7577137 w 8801100"/>
                  <a:gd name="connsiteY214" fmla="*/ 2531269 h 4305300"/>
                  <a:gd name="connsiteX215" fmla="*/ 7750969 w 8801100"/>
                  <a:gd name="connsiteY215" fmla="*/ 2474118 h 4305300"/>
                  <a:gd name="connsiteX216" fmla="*/ 7810500 w 8801100"/>
                  <a:gd name="connsiteY216" fmla="*/ 2362200 h 4305300"/>
                  <a:gd name="connsiteX217" fmla="*/ 7874794 w 8801100"/>
                  <a:gd name="connsiteY217" fmla="*/ 2326481 h 4305300"/>
                  <a:gd name="connsiteX218" fmla="*/ 7853363 w 8801100"/>
                  <a:gd name="connsiteY218" fmla="*/ 2281238 h 4305300"/>
                  <a:gd name="connsiteX219" fmla="*/ 7931944 w 8801100"/>
                  <a:gd name="connsiteY219" fmla="*/ 2112168 h 4305300"/>
                  <a:gd name="connsiteX220" fmla="*/ 7986713 w 8801100"/>
                  <a:gd name="connsiteY220" fmla="*/ 2052638 h 4305300"/>
                  <a:gd name="connsiteX221" fmla="*/ 8024813 w 8801100"/>
                  <a:gd name="connsiteY221" fmla="*/ 2047875 h 4305300"/>
                  <a:gd name="connsiteX222" fmla="*/ 8070056 w 8801100"/>
                  <a:gd name="connsiteY222" fmla="*/ 2052638 h 4305300"/>
                  <a:gd name="connsiteX223" fmla="*/ 8134350 w 8801100"/>
                  <a:gd name="connsiteY223" fmla="*/ 2019300 h 4305300"/>
                  <a:gd name="connsiteX224" fmla="*/ 8143875 w 8801100"/>
                  <a:gd name="connsiteY224" fmla="*/ 1955006 h 4305300"/>
                  <a:gd name="connsiteX225" fmla="*/ 8184355 w 8801100"/>
                  <a:gd name="connsiteY225" fmla="*/ 1919288 h 4305300"/>
                  <a:gd name="connsiteX226" fmla="*/ 8243888 w 8801100"/>
                  <a:gd name="connsiteY226" fmla="*/ 1959768 h 4305300"/>
                  <a:gd name="connsiteX227" fmla="*/ 8270082 w 8801100"/>
                  <a:gd name="connsiteY227" fmla="*/ 1909762 h 4305300"/>
                  <a:gd name="connsiteX228" fmla="*/ 8365331 w 8801100"/>
                  <a:gd name="connsiteY228" fmla="*/ 1840706 h 4305300"/>
                  <a:gd name="connsiteX229" fmla="*/ 8427244 w 8801100"/>
                  <a:gd name="connsiteY229" fmla="*/ 1847850 h 4305300"/>
                  <a:gd name="connsiteX230" fmla="*/ 8477250 w 8801100"/>
                  <a:gd name="connsiteY230" fmla="*/ 1828800 h 4305300"/>
                  <a:gd name="connsiteX231" fmla="*/ 8515350 w 8801100"/>
                  <a:gd name="connsiteY231" fmla="*/ 1800225 h 4305300"/>
                  <a:gd name="connsiteX232" fmla="*/ 8548688 w 8801100"/>
                  <a:gd name="connsiteY232" fmla="*/ 1797844 h 4305300"/>
                  <a:gd name="connsiteX233" fmla="*/ 8584406 w 8801100"/>
                  <a:gd name="connsiteY233" fmla="*/ 1828800 h 4305300"/>
                  <a:gd name="connsiteX234" fmla="*/ 8643938 w 8801100"/>
                  <a:gd name="connsiteY234" fmla="*/ 1828800 h 4305300"/>
                  <a:gd name="connsiteX235" fmla="*/ 8682037 w 8801100"/>
                  <a:gd name="connsiteY235" fmla="*/ 1809750 h 4305300"/>
                  <a:gd name="connsiteX236" fmla="*/ 8765381 w 8801100"/>
                  <a:gd name="connsiteY236" fmla="*/ 1812132 h 4305300"/>
                  <a:gd name="connsiteX237" fmla="*/ 8796338 w 8801100"/>
                  <a:gd name="connsiteY237" fmla="*/ 1766888 h 4305300"/>
                  <a:gd name="connsiteX238" fmla="*/ 8801100 w 8801100"/>
                  <a:gd name="connsiteY238" fmla="*/ 1704975 h 4305300"/>
                  <a:gd name="connsiteX239" fmla="*/ 8751093 w 8801100"/>
                  <a:gd name="connsiteY239" fmla="*/ 1664494 h 4305300"/>
                  <a:gd name="connsiteX240" fmla="*/ 8734425 w 8801100"/>
                  <a:gd name="connsiteY240" fmla="*/ 1609725 h 4305300"/>
                  <a:gd name="connsiteX241" fmla="*/ 8643938 w 8801100"/>
                  <a:gd name="connsiteY241" fmla="*/ 1547813 h 4305300"/>
                  <a:gd name="connsiteX242" fmla="*/ 8603456 w 8801100"/>
                  <a:gd name="connsiteY242" fmla="*/ 1526381 h 4305300"/>
                  <a:gd name="connsiteX243" fmla="*/ 8565356 w 8801100"/>
                  <a:gd name="connsiteY243" fmla="*/ 1481138 h 4305300"/>
                  <a:gd name="connsiteX244" fmla="*/ 8534400 w 8801100"/>
                  <a:gd name="connsiteY244" fmla="*/ 1478756 h 4305300"/>
                  <a:gd name="connsiteX245" fmla="*/ 8517731 w 8801100"/>
                  <a:gd name="connsiteY245" fmla="*/ 1426369 h 4305300"/>
                  <a:gd name="connsiteX246" fmla="*/ 8477250 w 8801100"/>
                  <a:gd name="connsiteY246" fmla="*/ 1409700 h 4305300"/>
                  <a:gd name="connsiteX247" fmla="*/ 8477250 w 8801100"/>
                  <a:gd name="connsiteY247" fmla="*/ 1409700 h 4305300"/>
                  <a:gd name="connsiteX248" fmla="*/ 8436769 w 8801100"/>
                  <a:gd name="connsiteY248" fmla="*/ 1414463 h 4305300"/>
                  <a:gd name="connsiteX249" fmla="*/ 8351043 w 8801100"/>
                  <a:gd name="connsiteY249" fmla="*/ 1340644 h 4305300"/>
                  <a:gd name="connsiteX250" fmla="*/ 8170069 w 8801100"/>
                  <a:gd name="connsiteY250" fmla="*/ 1340643 h 4305300"/>
                  <a:gd name="connsiteX251" fmla="*/ 8117681 w 8801100"/>
                  <a:gd name="connsiteY251" fmla="*/ 1378744 h 4305300"/>
                  <a:gd name="connsiteX252" fmla="*/ 8067675 w 8801100"/>
                  <a:gd name="connsiteY252" fmla="*/ 1457325 h 4305300"/>
                  <a:gd name="connsiteX253" fmla="*/ 8084344 w 8801100"/>
                  <a:gd name="connsiteY253" fmla="*/ 1478756 h 4305300"/>
                  <a:gd name="connsiteX254" fmla="*/ 8039100 w 8801100"/>
                  <a:gd name="connsiteY254" fmla="*/ 1528762 h 4305300"/>
                  <a:gd name="connsiteX255" fmla="*/ 7889081 w 8801100"/>
                  <a:gd name="connsiteY255" fmla="*/ 1452562 h 4305300"/>
                  <a:gd name="connsiteX256" fmla="*/ 7798594 w 8801100"/>
                  <a:gd name="connsiteY256" fmla="*/ 1488281 h 4305300"/>
                  <a:gd name="connsiteX257" fmla="*/ 7724775 w 8801100"/>
                  <a:gd name="connsiteY257" fmla="*/ 1485900 h 4305300"/>
                  <a:gd name="connsiteX258" fmla="*/ 7667625 w 8801100"/>
                  <a:gd name="connsiteY258" fmla="*/ 1581150 h 4305300"/>
                  <a:gd name="connsiteX259" fmla="*/ 7529513 w 8801100"/>
                  <a:gd name="connsiteY259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1938337 w 8801100"/>
                  <a:gd name="connsiteY109" fmla="*/ 483393 h 4305300"/>
                  <a:gd name="connsiteX110" fmla="*/ 2381 w 8801100"/>
                  <a:gd name="connsiteY110" fmla="*/ 1490661 h 4305300"/>
                  <a:gd name="connsiteX111" fmla="*/ 0 w 8801100"/>
                  <a:gd name="connsiteY111" fmla="*/ 709613 h 4305300"/>
                  <a:gd name="connsiteX112" fmla="*/ 76200 w 8801100"/>
                  <a:gd name="connsiteY112" fmla="*/ 692944 h 4305300"/>
                  <a:gd name="connsiteX113" fmla="*/ 119063 w 8801100"/>
                  <a:gd name="connsiteY113" fmla="*/ 721519 h 4305300"/>
                  <a:gd name="connsiteX114" fmla="*/ 215900 w 8801100"/>
                  <a:gd name="connsiteY114" fmla="*/ 712788 h 4305300"/>
                  <a:gd name="connsiteX115" fmla="*/ 261938 w 8801100"/>
                  <a:gd name="connsiteY115" fmla="*/ 740568 h 4305300"/>
                  <a:gd name="connsiteX116" fmla="*/ 228600 w 8801100"/>
                  <a:gd name="connsiteY116" fmla="*/ 769144 h 4305300"/>
                  <a:gd name="connsiteX117" fmla="*/ 233363 w 8801100"/>
                  <a:gd name="connsiteY117" fmla="*/ 812006 h 4305300"/>
                  <a:gd name="connsiteX118" fmla="*/ 200025 w 8801100"/>
                  <a:gd name="connsiteY118" fmla="*/ 816769 h 4305300"/>
                  <a:gd name="connsiteX119" fmla="*/ 204788 w 8801100"/>
                  <a:gd name="connsiteY119" fmla="*/ 840581 h 4305300"/>
                  <a:gd name="connsiteX120" fmla="*/ 261937 w 8801100"/>
                  <a:gd name="connsiteY120" fmla="*/ 914400 h 4305300"/>
                  <a:gd name="connsiteX121" fmla="*/ 223838 w 8801100"/>
                  <a:gd name="connsiteY121" fmla="*/ 962025 h 4305300"/>
                  <a:gd name="connsiteX122" fmla="*/ 278606 w 8801100"/>
                  <a:gd name="connsiteY122" fmla="*/ 997744 h 4305300"/>
                  <a:gd name="connsiteX123" fmla="*/ 369094 w 8801100"/>
                  <a:gd name="connsiteY123" fmla="*/ 1085850 h 4305300"/>
                  <a:gd name="connsiteX124" fmla="*/ 371475 w 8801100"/>
                  <a:gd name="connsiteY124" fmla="*/ 1145381 h 4305300"/>
                  <a:gd name="connsiteX125" fmla="*/ 507206 w 8801100"/>
                  <a:gd name="connsiteY125" fmla="*/ 1278732 h 4305300"/>
                  <a:gd name="connsiteX126" fmla="*/ 561975 w 8801100"/>
                  <a:gd name="connsiteY126" fmla="*/ 1254919 h 4305300"/>
                  <a:gd name="connsiteX127" fmla="*/ 600075 w 8801100"/>
                  <a:gd name="connsiteY127" fmla="*/ 1281112 h 4305300"/>
                  <a:gd name="connsiteX128" fmla="*/ 614363 w 8801100"/>
                  <a:gd name="connsiteY128" fmla="*/ 1331118 h 4305300"/>
                  <a:gd name="connsiteX129" fmla="*/ 657225 w 8801100"/>
                  <a:gd name="connsiteY129" fmla="*/ 1366838 h 4305300"/>
                  <a:gd name="connsiteX130" fmla="*/ 697706 w 8801100"/>
                  <a:gd name="connsiteY130" fmla="*/ 1354931 h 4305300"/>
                  <a:gd name="connsiteX131" fmla="*/ 716756 w 8801100"/>
                  <a:gd name="connsiteY131" fmla="*/ 1412081 h 4305300"/>
                  <a:gd name="connsiteX132" fmla="*/ 764381 w 8801100"/>
                  <a:gd name="connsiteY132" fmla="*/ 1454944 h 4305300"/>
                  <a:gd name="connsiteX133" fmla="*/ 788194 w 8801100"/>
                  <a:gd name="connsiteY133" fmla="*/ 1557338 h 4305300"/>
                  <a:gd name="connsiteX134" fmla="*/ 785813 w 8801100"/>
                  <a:gd name="connsiteY134" fmla="*/ 1604963 h 4305300"/>
                  <a:gd name="connsiteX135" fmla="*/ 821531 w 8801100"/>
                  <a:gd name="connsiteY135" fmla="*/ 1704975 h 4305300"/>
                  <a:gd name="connsiteX136" fmla="*/ 866775 w 8801100"/>
                  <a:gd name="connsiteY136" fmla="*/ 1762125 h 4305300"/>
                  <a:gd name="connsiteX137" fmla="*/ 883443 w 8801100"/>
                  <a:gd name="connsiteY137" fmla="*/ 1919287 h 4305300"/>
                  <a:gd name="connsiteX138" fmla="*/ 850106 w 8801100"/>
                  <a:gd name="connsiteY138" fmla="*/ 1981200 h 4305300"/>
                  <a:gd name="connsiteX139" fmla="*/ 819150 w 8801100"/>
                  <a:gd name="connsiteY139" fmla="*/ 2057400 h 4305300"/>
                  <a:gd name="connsiteX140" fmla="*/ 833438 w 8801100"/>
                  <a:gd name="connsiteY140" fmla="*/ 2114550 h 4305300"/>
                  <a:gd name="connsiteX141" fmla="*/ 735806 w 8801100"/>
                  <a:gd name="connsiteY141" fmla="*/ 2221707 h 4305300"/>
                  <a:gd name="connsiteX142" fmla="*/ 692944 w 8801100"/>
                  <a:gd name="connsiteY142" fmla="*/ 2336006 h 4305300"/>
                  <a:gd name="connsiteX143" fmla="*/ 726281 w 8801100"/>
                  <a:gd name="connsiteY143" fmla="*/ 2376488 h 4305300"/>
                  <a:gd name="connsiteX144" fmla="*/ 709613 w 8801100"/>
                  <a:gd name="connsiteY144" fmla="*/ 2405063 h 4305300"/>
                  <a:gd name="connsiteX145" fmla="*/ 740569 w 8801100"/>
                  <a:gd name="connsiteY145" fmla="*/ 2462213 h 4305300"/>
                  <a:gd name="connsiteX146" fmla="*/ 769144 w 8801100"/>
                  <a:gd name="connsiteY146" fmla="*/ 2462213 h 4305300"/>
                  <a:gd name="connsiteX147" fmla="*/ 931069 w 8801100"/>
                  <a:gd name="connsiteY147" fmla="*/ 2564606 h 4305300"/>
                  <a:gd name="connsiteX148" fmla="*/ 1035844 w 8801100"/>
                  <a:gd name="connsiteY148" fmla="*/ 2562225 h 4305300"/>
                  <a:gd name="connsiteX149" fmla="*/ 1114425 w 8801100"/>
                  <a:gd name="connsiteY149" fmla="*/ 2616994 h 4305300"/>
                  <a:gd name="connsiteX150" fmla="*/ 1245393 w 8801100"/>
                  <a:gd name="connsiteY150" fmla="*/ 2619375 h 4305300"/>
                  <a:gd name="connsiteX151" fmla="*/ 1435893 w 8801100"/>
                  <a:gd name="connsiteY151" fmla="*/ 2688431 h 4305300"/>
                  <a:gd name="connsiteX152" fmla="*/ 1638300 w 8801100"/>
                  <a:gd name="connsiteY152" fmla="*/ 2838450 h 4305300"/>
                  <a:gd name="connsiteX153" fmla="*/ 1671637 w 8801100"/>
                  <a:gd name="connsiteY153" fmla="*/ 2905125 h 4305300"/>
                  <a:gd name="connsiteX154" fmla="*/ 1838325 w 8801100"/>
                  <a:gd name="connsiteY154" fmla="*/ 3031331 h 4305300"/>
                  <a:gd name="connsiteX155" fmla="*/ 1909763 w 8801100"/>
                  <a:gd name="connsiteY155" fmla="*/ 3026569 h 4305300"/>
                  <a:gd name="connsiteX156" fmla="*/ 1945482 w 8801100"/>
                  <a:gd name="connsiteY156" fmla="*/ 3050381 h 4305300"/>
                  <a:gd name="connsiteX157" fmla="*/ 1916906 w 8801100"/>
                  <a:gd name="connsiteY157" fmla="*/ 3090863 h 4305300"/>
                  <a:gd name="connsiteX158" fmla="*/ 1924050 w 8801100"/>
                  <a:gd name="connsiteY158" fmla="*/ 3143250 h 4305300"/>
                  <a:gd name="connsiteX159" fmla="*/ 1976438 w 8801100"/>
                  <a:gd name="connsiteY159" fmla="*/ 3169444 h 4305300"/>
                  <a:gd name="connsiteX160" fmla="*/ 2038350 w 8801100"/>
                  <a:gd name="connsiteY160" fmla="*/ 3393282 h 4305300"/>
                  <a:gd name="connsiteX161" fmla="*/ 2028825 w 8801100"/>
                  <a:gd name="connsiteY161" fmla="*/ 3457575 h 4305300"/>
                  <a:gd name="connsiteX162" fmla="*/ 2164556 w 8801100"/>
                  <a:gd name="connsiteY162" fmla="*/ 3624263 h 4305300"/>
                  <a:gd name="connsiteX163" fmla="*/ 2183606 w 8801100"/>
                  <a:gd name="connsiteY163" fmla="*/ 3674269 h 4305300"/>
                  <a:gd name="connsiteX164" fmla="*/ 2157413 w 8801100"/>
                  <a:gd name="connsiteY164" fmla="*/ 3693319 h 4305300"/>
                  <a:gd name="connsiteX165" fmla="*/ 2259806 w 8801100"/>
                  <a:gd name="connsiteY165" fmla="*/ 3702844 h 4305300"/>
                  <a:gd name="connsiteX166" fmla="*/ 2371725 w 8801100"/>
                  <a:gd name="connsiteY166" fmla="*/ 3690938 h 4305300"/>
                  <a:gd name="connsiteX167" fmla="*/ 2650331 w 8801100"/>
                  <a:gd name="connsiteY167" fmla="*/ 3774281 h 4305300"/>
                  <a:gd name="connsiteX168" fmla="*/ 3057525 w 8801100"/>
                  <a:gd name="connsiteY168" fmla="*/ 3855244 h 4305300"/>
                  <a:gd name="connsiteX169" fmla="*/ 3255169 w 8801100"/>
                  <a:gd name="connsiteY169" fmla="*/ 3824287 h 4305300"/>
                  <a:gd name="connsiteX170" fmla="*/ 3300413 w 8801100"/>
                  <a:gd name="connsiteY170" fmla="*/ 3836193 h 4305300"/>
                  <a:gd name="connsiteX171" fmla="*/ 3355181 w 8801100"/>
                  <a:gd name="connsiteY171" fmla="*/ 3812382 h 4305300"/>
                  <a:gd name="connsiteX172" fmla="*/ 3748087 w 8801100"/>
                  <a:gd name="connsiteY172" fmla="*/ 3902869 h 4305300"/>
                  <a:gd name="connsiteX173" fmla="*/ 3831432 w 8801100"/>
                  <a:gd name="connsiteY173" fmla="*/ 4000500 h 4305300"/>
                  <a:gd name="connsiteX174" fmla="*/ 3950494 w 8801100"/>
                  <a:gd name="connsiteY174" fmla="*/ 4071938 h 4305300"/>
                  <a:gd name="connsiteX175" fmla="*/ 4010025 w 8801100"/>
                  <a:gd name="connsiteY175" fmla="*/ 4055269 h 4305300"/>
                  <a:gd name="connsiteX176" fmla="*/ 4360068 w 8801100"/>
                  <a:gd name="connsiteY176" fmla="*/ 4229100 h 4305300"/>
                  <a:gd name="connsiteX177" fmla="*/ 4586288 w 8801100"/>
                  <a:gd name="connsiteY177" fmla="*/ 4200525 h 4305300"/>
                  <a:gd name="connsiteX178" fmla="*/ 4595813 w 8801100"/>
                  <a:gd name="connsiteY178" fmla="*/ 4279106 h 4305300"/>
                  <a:gd name="connsiteX179" fmla="*/ 4681538 w 8801100"/>
                  <a:gd name="connsiteY179" fmla="*/ 4274343 h 4305300"/>
                  <a:gd name="connsiteX180" fmla="*/ 4760119 w 8801100"/>
                  <a:gd name="connsiteY180" fmla="*/ 4305300 h 4305300"/>
                  <a:gd name="connsiteX181" fmla="*/ 4802981 w 8801100"/>
                  <a:gd name="connsiteY181" fmla="*/ 4245769 h 4305300"/>
                  <a:gd name="connsiteX182" fmla="*/ 5474494 w 8801100"/>
                  <a:gd name="connsiteY182" fmla="*/ 3926681 h 4305300"/>
                  <a:gd name="connsiteX183" fmla="*/ 5562600 w 8801100"/>
                  <a:gd name="connsiteY183" fmla="*/ 3955257 h 4305300"/>
                  <a:gd name="connsiteX184" fmla="*/ 5693569 w 8801100"/>
                  <a:gd name="connsiteY184" fmla="*/ 3926681 h 4305300"/>
                  <a:gd name="connsiteX185" fmla="*/ 5872162 w 8801100"/>
                  <a:gd name="connsiteY185" fmla="*/ 3943350 h 4305300"/>
                  <a:gd name="connsiteX186" fmla="*/ 5929313 w 8801100"/>
                  <a:gd name="connsiteY186" fmla="*/ 3917157 h 4305300"/>
                  <a:gd name="connsiteX187" fmla="*/ 6062662 w 8801100"/>
                  <a:gd name="connsiteY187" fmla="*/ 3914775 h 4305300"/>
                  <a:gd name="connsiteX188" fmla="*/ 6196012 w 8801100"/>
                  <a:gd name="connsiteY188" fmla="*/ 3817144 h 4305300"/>
                  <a:gd name="connsiteX189" fmla="*/ 6262687 w 8801100"/>
                  <a:gd name="connsiteY189" fmla="*/ 3810000 h 4305300"/>
                  <a:gd name="connsiteX190" fmla="*/ 6360319 w 8801100"/>
                  <a:gd name="connsiteY190" fmla="*/ 3736181 h 4305300"/>
                  <a:gd name="connsiteX191" fmla="*/ 6434138 w 8801100"/>
                  <a:gd name="connsiteY191" fmla="*/ 3667125 h 4305300"/>
                  <a:gd name="connsiteX192" fmla="*/ 6443663 w 8801100"/>
                  <a:gd name="connsiteY192" fmla="*/ 3605213 h 4305300"/>
                  <a:gd name="connsiteX193" fmla="*/ 6477000 w 8801100"/>
                  <a:gd name="connsiteY193" fmla="*/ 3536156 h 4305300"/>
                  <a:gd name="connsiteX194" fmla="*/ 6629400 w 8801100"/>
                  <a:gd name="connsiteY194" fmla="*/ 3429000 h 4305300"/>
                  <a:gd name="connsiteX195" fmla="*/ 6662738 w 8801100"/>
                  <a:gd name="connsiteY195" fmla="*/ 3433763 h 4305300"/>
                  <a:gd name="connsiteX196" fmla="*/ 6715125 w 8801100"/>
                  <a:gd name="connsiteY196" fmla="*/ 3355181 h 4305300"/>
                  <a:gd name="connsiteX197" fmla="*/ 6762750 w 8801100"/>
                  <a:gd name="connsiteY197" fmla="*/ 3317081 h 4305300"/>
                  <a:gd name="connsiteX198" fmla="*/ 6748463 w 8801100"/>
                  <a:gd name="connsiteY198" fmla="*/ 3248025 h 4305300"/>
                  <a:gd name="connsiteX199" fmla="*/ 6698456 w 8801100"/>
                  <a:gd name="connsiteY199" fmla="*/ 3217068 h 4305300"/>
                  <a:gd name="connsiteX200" fmla="*/ 6638925 w 8801100"/>
                  <a:gd name="connsiteY200" fmla="*/ 3162300 h 4305300"/>
                  <a:gd name="connsiteX201" fmla="*/ 6619875 w 8801100"/>
                  <a:gd name="connsiteY201" fmla="*/ 3105150 h 4305300"/>
                  <a:gd name="connsiteX202" fmla="*/ 6584156 w 8801100"/>
                  <a:gd name="connsiteY202" fmla="*/ 3071813 h 4305300"/>
                  <a:gd name="connsiteX203" fmla="*/ 6610350 w 8801100"/>
                  <a:gd name="connsiteY203" fmla="*/ 3019425 h 4305300"/>
                  <a:gd name="connsiteX204" fmla="*/ 6650831 w 8801100"/>
                  <a:gd name="connsiteY204" fmla="*/ 2840831 h 4305300"/>
                  <a:gd name="connsiteX205" fmla="*/ 6691313 w 8801100"/>
                  <a:gd name="connsiteY205" fmla="*/ 2774156 h 4305300"/>
                  <a:gd name="connsiteX206" fmla="*/ 6836569 w 8801100"/>
                  <a:gd name="connsiteY206" fmla="*/ 2757487 h 4305300"/>
                  <a:gd name="connsiteX207" fmla="*/ 6905625 w 8801100"/>
                  <a:gd name="connsiteY207" fmla="*/ 2814638 h 4305300"/>
                  <a:gd name="connsiteX208" fmla="*/ 6981825 w 8801100"/>
                  <a:gd name="connsiteY208" fmla="*/ 2838450 h 4305300"/>
                  <a:gd name="connsiteX209" fmla="*/ 7186612 w 8801100"/>
                  <a:gd name="connsiteY209" fmla="*/ 2843213 h 4305300"/>
                  <a:gd name="connsiteX210" fmla="*/ 7362825 w 8801100"/>
                  <a:gd name="connsiteY210" fmla="*/ 2705100 h 4305300"/>
                  <a:gd name="connsiteX211" fmla="*/ 7419975 w 8801100"/>
                  <a:gd name="connsiteY211" fmla="*/ 2614612 h 4305300"/>
                  <a:gd name="connsiteX212" fmla="*/ 7446169 w 8801100"/>
                  <a:gd name="connsiteY212" fmla="*/ 2531269 h 4305300"/>
                  <a:gd name="connsiteX213" fmla="*/ 7577137 w 8801100"/>
                  <a:gd name="connsiteY213" fmla="*/ 2531269 h 4305300"/>
                  <a:gd name="connsiteX214" fmla="*/ 7750969 w 8801100"/>
                  <a:gd name="connsiteY214" fmla="*/ 2474118 h 4305300"/>
                  <a:gd name="connsiteX215" fmla="*/ 7810500 w 8801100"/>
                  <a:gd name="connsiteY215" fmla="*/ 2362200 h 4305300"/>
                  <a:gd name="connsiteX216" fmla="*/ 7874794 w 8801100"/>
                  <a:gd name="connsiteY216" fmla="*/ 2326481 h 4305300"/>
                  <a:gd name="connsiteX217" fmla="*/ 7853363 w 8801100"/>
                  <a:gd name="connsiteY217" fmla="*/ 2281238 h 4305300"/>
                  <a:gd name="connsiteX218" fmla="*/ 7931944 w 8801100"/>
                  <a:gd name="connsiteY218" fmla="*/ 2112168 h 4305300"/>
                  <a:gd name="connsiteX219" fmla="*/ 7986713 w 8801100"/>
                  <a:gd name="connsiteY219" fmla="*/ 2052638 h 4305300"/>
                  <a:gd name="connsiteX220" fmla="*/ 8024813 w 8801100"/>
                  <a:gd name="connsiteY220" fmla="*/ 2047875 h 4305300"/>
                  <a:gd name="connsiteX221" fmla="*/ 8070056 w 8801100"/>
                  <a:gd name="connsiteY221" fmla="*/ 2052638 h 4305300"/>
                  <a:gd name="connsiteX222" fmla="*/ 8134350 w 8801100"/>
                  <a:gd name="connsiteY222" fmla="*/ 2019300 h 4305300"/>
                  <a:gd name="connsiteX223" fmla="*/ 8143875 w 8801100"/>
                  <a:gd name="connsiteY223" fmla="*/ 1955006 h 4305300"/>
                  <a:gd name="connsiteX224" fmla="*/ 8184355 w 8801100"/>
                  <a:gd name="connsiteY224" fmla="*/ 1919288 h 4305300"/>
                  <a:gd name="connsiteX225" fmla="*/ 8243888 w 8801100"/>
                  <a:gd name="connsiteY225" fmla="*/ 1959768 h 4305300"/>
                  <a:gd name="connsiteX226" fmla="*/ 8270082 w 8801100"/>
                  <a:gd name="connsiteY226" fmla="*/ 1909762 h 4305300"/>
                  <a:gd name="connsiteX227" fmla="*/ 8365331 w 8801100"/>
                  <a:gd name="connsiteY227" fmla="*/ 1840706 h 4305300"/>
                  <a:gd name="connsiteX228" fmla="*/ 8427244 w 8801100"/>
                  <a:gd name="connsiteY228" fmla="*/ 1847850 h 4305300"/>
                  <a:gd name="connsiteX229" fmla="*/ 8477250 w 8801100"/>
                  <a:gd name="connsiteY229" fmla="*/ 1828800 h 4305300"/>
                  <a:gd name="connsiteX230" fmla="*/ 8515350 w 8801100"/>
                  <a:gd name="connsiteY230" fmla="*/ 1800225 h 4305300"/>
                  <a:gd name="connsiteX231" fmla="*/ 8548688 w 8801100"/>
                  <a:gd name="connsiteY231" fmla="*/ 1797844 h 4305300"/>
                  <a:gd name="connsiteX232" fmla="*/ 8584406 w 8801100"/>
                  <a:gd name="connsiteY232" fmla="*/ 1828800 h 4305300"/>
                  <a:gd name="connsiteX233" fmla="*/ 8643938 w 8801100"/>
                  <a:gd name="connsiteY233" fmla="*/ 1828800 h 4305300"/>
                  <a:gd name="connsiteX234" fmla="*/ 8682037 w 8801100"/>
                  <a:gd name="connsiteY234" fmla="*/ 1809750 h 4305300"/>
                  <a:gd name="connsiteX235" fmla="*/ 8765381 w 8801100"/>
                  <a:gd name="connsiteY235" fmla="*/ 1812132 h 4305300"/>
                  <a:gd name="connsiteX236" fmla="*/ 8796338 w 8801100"/>
                  <a:gd name="connsiteY236" fmla="*/ 1766888 h 4305300"/>
                  <a:gd name="connsiteX237" fmla="*/ 8801100 w 8801100"/>
                  <a:gd name="connsiteY237" fmla="*/ 1704975 h 4305300"/>
                  <a:gd name="connsiteX238" fmla="*/ 8751093 w 8801100"/>
                  <a:gd name="connsiteY238" fmla="*/ 1664494 h 4305300"/>
                  <a:gd name="connsiteX239" fmla="*/ 8734425 w 8801100"/>
                  <a:gd name="connsiteY239" fmla="*/ 1609725 h 4305300"/>
                  <a:gd name="connsiteX240" fmla="*/ 8643938 w 8801100"/>
                  <a:gd name="connsiteY240" fmla="*/ 1547813 h 4305300"/>
                  <a:gd name="connsiteX241" fmla="*/ 8603456 w 8801100"/>
                  <a:gd name="connsiteY241" fmla="*/ 1526381 h 4305300"/>
                  <a:gd name="connsiteX242" fmla="*/ 8565356 w 8801100"/>
                  <a:gd name="connsiteY242" fmla="*/ 1481138 h 4305300"/>
                  <a:gd name="connsiteX243" fmla="*/ 8534400 w 8801100"/>
                  <a:gd name="connsiteY243" fmla="*/ 1478756 h 4305300"/>
                  <a:gd name="connsiteX244" fmla="*/ 8517731 w 8801100"/>
                  <a:gd name="connsiteY244" fmla="*/ 1426369 h 4305300"/>
                  <a:gd name="connsiteX245" fmla="*/ 8477250 w 8801100"/>
                  <a:gd name="connsiteY245" fmla="*/ 1409700 h 4305300"/>
                  <a:gd name="connsiteX246" fmla="*/ 8477250 w 8801100"/>
                  <a:gd name="connsiteY246" fmla="*/ 1409700 h 4305300"/>
                  <a:gd name="connsiteX247" fmla="*/ 8436769 w 8801100"/>
                  <a:gd name="connsiteY247" fmla="*/ 1414463 h 4305300"/>
                  <a:gd name="connsiteX248" fmla="*/ 8351043 w 8801100"/>
                  <a:gd name="connsiteY248" fmla="*/ 1340644 h 4305300"/>
                  <a:gd name="connsiteX249" fmla="*/ 8170069 w 8801100"/>
                  <a:gd name="connsiteY249" fmla="*/ 1340643 h 4305300"/>
                  <a:gd name="connsiteX250" fmla="*/ 8117681 w 8801100"/>
                  <a:gd name="connsiteY250" fmla="*/ 1378744 h 4305300"/>
                  <a:gd name="connsiteX251" fmla="*/ 8067675 w 8801100"/>
                  <a:gd name="connsiteY251" fmla="*/ 1457325 h 4305300"/>
                  <a:gd name="connsiteX252" fmla="*/ 8084344 w 8801100"/>
                  <a:gd name="connsiteY252" fmla="*/ 1478756 h 4305300"/>
                  <a:gd name="connsiteX253" fmla="*/ 8039100 w 8801100"/>
                  <a:gd name="connsiteY253" fmla="*/ 1528762 h 4305300"/>
                  <a:gd name="connsiteX254" fmla="*/ 7889081 w 8801100"/>
                  <a:gd name="connsiteY254" fmla="*/ 1452562 h 4305300"/>
                  <a:gd name="connsiteX255" fmla="*/ 7798594 w 8801100"/>
                  <a:gd name="connsiteY255" fmla="*/ 1488281 h 4305300"/>
                  <a:gd name="connsiteX256" fmla="*/ 7724775 w 8801100"/>
                  <a:gd name="connsiteY256" fmla="*/ 1485900 h 4305300"/>
                  <a:gd name="connsiteX257" fmla="*/ 7667625 w 8801100"/>
                  <a:gd name="connsiteY257" fmla="*/ 1581150 h 4305300"/>
                  <a:gd name="connsiteX258" fmla="*/ 7529513 w 8801100"/>
                  <a:gd name="connsiteY258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1990725 w 8801100"/>
                  <a:gd name="connsiteY108" fmla="*/ 490537 h 4305300"/>
                  <a:gd name="connsiteX109" fmla="*/ 2381 w 8801100"/>
                  <a:gd name="connsiteY109" fmla="*/ 1490661 h 4305300"/>
                  <a:gd name="connsiteX110" fmla="*/ 0 w 8801100"/>
                  <a:gd name="connsiteY110" fmla="*/ 709613 h 4305300"/>
                  <a:gd name="connsiteX111" fmla="*/ 76200 w 8801100"/>
                  <a:gd name="connsiteY111" fmla="*/ 692944 h 4305300"/>
                  <a:gd name="connsiteX112" fmla="*/ 119063 w 8801100"/>
                  <a:gd name="connsiteY112" fmla="*/ 721519 h 4305300"/>
                  <a:gd name="connsiteX113" fmla="*/ 215900 w 8801100"/>
                  <a:gd name="connsiteY113" fmla="*/ 712788 h 4305300"/>
                  <a:gd name="connsiteX114" fmla="*/ 261938 w 8801100"/>
                  <a:gd name="connsiteY114" fmla="*/ 740568 h 4305300"/>
                  <a:gd name="connsiteX115" fmla="*/ 228600 w 8801100"/>
                  <a:gd name="connsiteY115" fmla="*/ 769144 h 4305300"/>
                  <a:gd name="connsiteX116" fmla="*/ 233363 w 8801100"/>
                  <a:gd name="connsiteY116" fmla="*/ 812006 h 4305300"/>
                  <a:gd name="connsiteX117" fmla="*/ 200025 w 8801100"/>
                  <a:gd name="connsiteY117" fmla="*/ 816769 h 4305300"/>
                  <a:gd name="connsiteX118" fmla="*/ 204788 w 8801100"/>
                  <a:gd name="connsiteY118" fmla="*/ 840581 h 4305300"/>
                  <a:gd name="connsiteX119" fmla="*/ 261937 w 8801100"/>
                  <a:gd name="connsiteY119" fmla="*/ 914400 h 4305300"/>
                  <a:gd name="connsiteX120" fmla="*/ 223838 w 8801100"/>
                  <a:gd name="connsiteY120" fmla="*/ 962025 h 4305300"/>
                  <a:gd name="connsiteX121" fmla="*/ 278606 w 8801100"/>
                  <a:gd name="connsiteY121" fmla="*/ 997744 h 4305300"/>
                  <a:gd name="connsiteX122" fmla="*/ 369094 w 8801100"/>
                  <a:gd name="connsiteY122" fmla="*/ 1085850 h 4305300"/>
                  <a:gd name="connsiteX123" fmla="*/ 371475 w 8801100"/>
                  <a:gd name="connsiteY123" fmla="*/ 1145381 h 4305300"/>
                  <a:gd name="connsiteX124" fmla="*/ 507206 w 8801100"/>
                  <a:gd name="connsiteY124" fmla="*/ 1278732 h 4305300"/>
                  <a:gd name="connsiteX125" fmla="*/ 561975 w 8801100"/>
                  <a:gd name="connsiteY125" fmla="*/ 1254919 h 4305300"/>
                  <a:gd name="connsiteX126" fmla="*/ 600075 w 8801100"/>
                  <a:gd name="connsiteY126" fmla="*/ 1281112 h 4305300"/>
                  <a:gd name="connsiteX127" fmla="*/ 614363 w 8801100"/>
                  <a:gd name="connsiteY127" fmla="*/ 1331118 h 4305300"/>
                  <a:gd name="connsiteX128" fmla="*/ 657225 w 8801100"/>
                  <a:gd name="connsiteY128" fmla="*/ 1366838 h 4305300"/>
                  <a:gd name="connsiteX129" fmla="*/ 697706 w 8801100"/>
                  <a:gd name="connsiteY129" fmla="*/ 1354931 h 4305300"/>
                  <a:gd name="connsiteX130" fmla="*/ 716756 w 8801100"/>
                  <a:gd name="connsiteY130" fmla="*/ 1412081 h 4305300"/>
                  <a:gd name="connsiteX131" fmla="*/ 764381 w 8801100"/>
                  <a:gd name="connsiteY131" fmla="*/ 1454944 h 4305300"/>
                  <a:gd name="connsiteX132" fmla="*/ 788194 w 8801100"/>
                  <a:gd name="connsiteY132" fmla="*/ 1557338 h 4305300"/>
                  <a:gd name="connsiteX133" fmla="*/ 785813 w 8801100"/>
                  <a:gd name="connsiteY133" fmla="*/ 1604963 h 4305300"/>
                  <a:gd name="connsiteX134" fmla="*/ 821531 w 8801100"/>
                  <a:gd name="connsiteY134" fmla="*/ 1704975 h 4305300"/>
                  <a:gd name="connsiteX135" fmla="*/ 866775 w 8801100"/>
                  <a:gd name="connsiteY135" fmla="*/ 1762125 h 4305300"/>
                  <a:gd name="connsiteX136" fmla="*/ 883443 w 8801100"/>
                  <a:gd name="connsiteY136" fmla="*/ 1919287 h 4305300"/>
                  <a:gd name="connsiteX137" fmla="*/ 850106 w 8801100"/>
                  <a:gd name="connsiteY137" fmla="*/ 1981200 h 4305300"/>
                  <a:gd name="connsiteX138" fmla="*/ 819150 w 8801100"/>
                  <a:gd name="connsiteY138" fmla="*/ 2057400 h 4305300"/>
                  <a:gd name="connsiteX139" fmla="*/ 833438 w 8801100"/>
                  <a:gd name="connsiteY139" fmla="*/ 2114550 h 4305300"/>
                  <a:gd name="connsiteX140" fmla="*/ 735806 w 8801100"/>
                  <a:gd name="connsiteY140" fmla="*/ 2221707 h 4305300"/>
                  <a:gd name="connsiteX141" fmla="*/ 692944 w 8801100"/>
                  <a:gd name="connsiteY141" fmla="*/ 2336006 h 4305300"/>
                  <a:gd name="connsiteX142" fmla="*/ 726281 w 8801100"/>
                  <a:gd name="connsiteY142" fmla="*/ 2376488 h 4305300"/>
                  <a:gd name="connsiteX143" fmla="*/ 709613 w 8801100"/>
                  <a:gd name="connsiteY143" fmla="*/ 2405063 h 4305300"/>
                  <a:gd name="connsiteX144" fmla="*/ 740569 w 8801100"/>
                  <a:gd name="connsiteY144" fmla="*/ 2462213 h 4305300"/>
                  <a:gd name="connsiteX145" fmla="*/ 769144 w 8801100"/>
                  <a:gd name="connsiteY145" fmla="*/ 2462213 h 4305300"/>
                  <a:gd name="connsiteX146" fmla="*/ 931069 w 8801100"/>
                  <a:gd name="connsiteY146" fmla="*/ 2564606 h 4305300"/>
                  <a:gd name="connsiteX147" fmla="*/ 1035844 w 8801100"/>
                  <a:gd name="connsiteY147" fmla="*/ 2562225 h 4305300"/>
                  <a:gd name="connsiteX148" fmla="*/ 1114425 w 8801100"/>
                  <a:gd name="connsiteY148" fmla="*/ 2616994 h 4305300"/>
                  <a:gd name="connsiteX149" fmla="*/ 1245393 w 8801100"/>
                  <a:gd name="connsiteY149" fmla="*/ 2619375 h 4305300"/>
                  <a:gd name="connsiteX150" fmla="*/ 1435893 w 8801100"/>
                  <a:gd name="connsiteY150" fmla="*/ 2688431 h 4305300"/>
                  <a:gd name="connsiteX151" fmla="*/ 1638300 w 8801100"/>
                  <a:gd name="connsiteY151" fmla="*/ 2838450 h 4305300"/>
                  <a:gd name="connsiteX152" fmla="*/ 1671637 w 8801100"/>
                  <a:gd name="connsiteY152" fmla="*/ 2905125 h 4305300"/>
                  <a:gd name="connsiteX153" fmla="*/ 1838325 w 8801100"/>
                  <a:gd name="connsiteY153" fmla="*/ 3031331 h 4305300"/>
                  <a:gd name="connsiteX154" fmla="*/ 1909763 w 8801100"/>
                  <a:gd name="connsiteY154" fmla="*/ 3026569 h 4305300"/>
                  <a:gd name="connsiteX155" fmla="*/ 1945482 w 8801100"/>
                  <a:gd name="connsiteY155" fmla="*/ 3050381 h 4305300"/>
                  <a:gd name="connsiteX156" fmla="*/ 1916906 w 8801100"/>
                  <a:gd name="connsiteY156" fmla="*/ 3090863 h 4305300"/>
                  <a:gd name="connsiteX157" fmla="*/ 1924050 w 8801100"/>
                  <a:gd name="connsiteY157" fmla="*/ 3143250 h 4305300"/>
                  <a:gd name="connsiteX158" fmla="*/ 1976438 w 8801100"/>
                  <a:gd name="connsiteY158" fmla="*/ 3169444 h 4305300"/>
                  <a:gd name="connsiteX159" fmla="*/ 2038350 w 8801100"/>
                  <a:gd name="connsiteY159" fmla="*/ 3393282 h 4305300"/>
                  <a:gd name="connsiteX160" fmla="*/ 2028825 w 8801100"/>
                  <a:gd name="connsiteY160" fmla="*/ 3457575 h 4305300"/>
                  <a:gd name="connsiteX161" fmla="*/ 2164556 w 8801100"/>
                  <a:gd name="connsiteY161" fmla="*/ 3624263 h 4305300"/>
                  <a:gd name="connsiteX162" fmla="*/ 2183606 w 8801100"/>
                  <a:gd name="connsiteY162" fmla="*/ 3674269 h 4305300"/>
                  <a:gd name="connsiteX163" fmla="*/ 2157413 w 8801100"/>
                  <a:gd name="connsiteY163" fmla="*/ 3693319 h 4305300"/>
                  <a:gd name="connsiteX164" fmla="*/ 2259806 w 8801100"/>
                  <a:gd name="connsiteY164" fmla="*/ 3702844 h 4305300"/>
                  <a:gd name="connsiteX165" fmla="*/ 2371725 w 8801100"/>
                  <a:gd name="connsiteY165" fmla="*/ 3690938 h 4305300"/>
                  <a:gd name="connsiteX166" fmla="*/ 2650331 w 8801100"/>
                  <a:gd name="connsiteY166" fmla="*/ 3774281 h 4305300"/>
                  <a:gd name="connsiteX167" fmla="*/ 3057525 w 8801100"/>
                  <a:gd name="connsiteY167" fmla="*/ 3855244 h 4305300"/>
                  <a:gd name="connsiteX168" fmla="*/ 3255169 w 8801100"/>
                  <a:gd name="connsiteY168" fmla="*/ 3824287 h 4305300"/>
                  <a:gd name="connsiteX169" fmla="*/ 3300413 w 8801100"/>
                  <a:gd name="connsiteY169" fmla="*/ 3836193 h 4305300"/>
                  <a:gd name="connsiteX170" fmla="*/ 3355181 w 8801100"/>
                  <a:gd name="connsiteY170" fmla="*/ 3812382 h 4305300"/>
                  <a:gd name="connsiteX171" fmla="*/ 3748087 w 8801100"/>
                  <a:gd name="connsiteY171" fmla="*/ 3902869 h 4305300"/>
                  <a:gd name="connsiteX172" fmla="*/ 3831432 w 8801100"/>
                  <a:gd name="connsiteY172" fmla="*/ 4000500 h 4305300"/>
                  <a:gd name="connsiteX173" fmla="*/ 3950494 w 8801100"/>
                  <a:gd name="connsiteY173" fmla="*/ 4071938 h 4305300"/>
                  <a:gd name="connsiteX174" fmla="*/ 4010025 w 8801100"/>
                  <a:gd name="connsiteY174" fmla="*/ 4055269 h 4305300"/>
                  <a:gd name="connsiteX175" fmla="*/ 4360068 w 8801100"/>
                  <a:gd name="connsiteY175" fmla="*/ 4229100 h 4305300"/>
                  <a:gd name="connsiteX176" fmla="*/ 4586288 w 8801100"/>
                  <a:gd name="connsiteY176" fmla="*/ 4200525 h 4305300"/>
                  <a:gd name="connsiteX177" fmla="*/ 4595813 w 8801100"/>
                  <a:gd name="connsiteY177" fmla="*/ 4279106 h 4305300"/>
                  <a:gd name="connsiteX178" fmla="*/ 4681538 w 8801100"/>
                  <a:gd name="connsiteY178" fmla="*/ 4274343 h 4305300"/>
                  <a:gd name="connsiteX179" fmla="*/ 4760119 w 8801100"/>
                  <a:gd name="connsiteY179" fmla="*/ 4305300 h 4305300"/>
                  <a:gd name="connsiteX180" fmla="*/ 4802981 w 8801100"/>
                  <a:gd name="connsiteY180" fmla="*/ 4245769 h 4305300"/>
                  <a:gd name="connsiteX181" fmla="*/ 5474494 w 8801100"/>
                  <a:gd name="connsiteY181" fmla="*/ 3926681 h 4305300"/>
                  <a:gd name="connsiteX182" fmla="*/ 5562600 w 8801100"/>
                  <a:gd name="connsiteY182" fmla="*/ 3955257 h 4305300"/>
                  <a:gd name="connsiteX183" fmla="*/ 5693569 w 8801100"/>
                  <a:gd name="connsiteY183" fmla="*/ 3926681 h 4305300"/>
                  <a:gd name="connsiteX184" fmla="*/ 5872162 w 8801100"/>
                  <a:gd name="connsiteY184" fmla="*/ 3943350 h 4305300"/>
                  <a:gd name="connsiteX185" fmla="*/ 5929313 w 8801100"/>
                  <a:gd name="connsiteY185" fmla="*/ 3917157 h 4305300"/>
                  <a:gd name="connsiteX186" fmla="*/ 6062662 w 8801100"/>
                  <a:gd name="connsiteY186" fmla="*/ 3914775 h 4305300"/>
                  <a:gd name="connsiteX187" fmla="*/ 6196012 w 8801100"/>
                  <a:gd name="connsiteY187" fmla="*/ 3817144 h 4305300"/>
                  <a:gd name="connsiteX188" fmla="*/ 6262687 w 8801100"/>
                  <a:gd name="connsiteY188" fmla="*/ 3810000 h 4305300"/>
                  <a:gd name="connsiteX189" fmla="*/ 6360319 w 8801100"/>
                  <a:gd name="connsiteY189" fmla="*/ 3736181 h 4305300"/>
                  <a:gd name="connsiteX190" fmla="*/ 6434138 w 8801100"/>
                  <a:gd name="connsiteY190" fmla="*/ 3667125 h 4305300"/>
                  <a:gd name="connsiteX191" fmla="*/ 6443663 w 8801100"/>
                  <a:gd name="connsiteY191" fmla="*/ 3605213 h 4305300"/>
                  <a:gd name="connsiteX192" fmla="*/ 6477000 w 8801100"/>
                  <a:gd name="connsiteY192" fmla="*/ 3536156 h 4305300"/>
                  <a:gd name="connsiteX193" fmla="*/ 6629400 w 8801100"/>
                  <a:gd name="connsiteY193" fmla="*/ 3429000 h 4305300"/>
                  <a:gd name="connsiteX194" fmla="*/ 6662738 w 8801100"/>
                  <a:gd name="connsiteY194" fmla="*/ 3433763 h 4305300"/>
                  <a:gd name="connsiteX195" fmla="*/ 6715125 w 8801100"/>
                  <a:gd name="connsiteY195" fmla="*/ 3355181 h 4305300"/>
                  <a:gd name="connsiteX196" fmla="*/ 6762750 w 8801100"/>
                  <a:gd name="connsiteY196" fmla="*/ 3317081 h 4305300"/>
                  <a:gd name="connsiteX197" fmla="*/ 6748463 w 8801100"/>
                  <a:gd name="connsiteY197" fmla="*/ 3248025 h 4305300"/>
                  <a:gd name="connsiteX198" fmla="*/ 6698456 w 8801100"/>
                  <a:gd name="connsiteY198" fmla="*/ 3217068 h 4305300"/>
                  <a:gd name="connsiteX199" fmla="*/ 6638925 w 8801100"/>
                  <a:gd name="connsiteY199" fmla="*/ 3162300 h 4305300"/>
                  <a:gd name="connsiteX200" fmla="*/ 6619875 w 8801100"/>
                  <a:gd name="connsiteY200" fmla="*/ 3105150 h 4305300"/>
                  <a:gd name="connsiteX201" fmla="*/ 6584156 w 8801100"/>
                  <a:gd name="connsiteY201" fmla="*/ 3071813 h 4305300"/>
                  <a:gd name="connsiteX202" fmla="*/ 6610350 w 8801100"/>
                  <a:gd name="connsiteY202" fmla="*/ 3019425 h 4305300"/>
                  <a:gd name="connsiteX203" fmla="*/ 6650831 w 8801100"/>
                  <a:gd name="connsiteY203" fmla="*/ 2840831 h 4305300"/>
                  <a:gd name="connsiteX204" fmla="*/ 6691313 w 8801100"/>
                  <a:gd name="connsiteY204" fmla="*/ 2774156 h 4305300"/>
                  <a:gd name="connsiteX205" fmla="*/ 6836569 w 8801100"/>
                  <a:gd name="connsiteY205" fmla="*/ 2757487 h 4305300"/>
                  <a:gd name="connsiteX206" fmla="*/ 6905625 w 8801100"/>
                  <a:gd name="connsiteY206" fmla="*/ 2814638 h 4305300"/>
                  <a:gd name="connsiteX207" fmla="*/ 6981825 w 8801100"/>
                  <a:gd name="connsiteY207" fmla="*/ 2838450 h 4305300"/>
                  <a:gd name="connsiteX208" fmla="*/ 7186612 w 8801100"/>
                  <a:gd name="connsiteY208" fmla="*/ 2843213 h 4305300"/>
                  <a:gd name="connsiteX209" fmla="*/ 7362825 w 8801100"/>
                  <a:gd name="connsiteY209" fmla="*/ 2705100 h 4305300"/>
                  <a:gd name="connsiteX210" fmla="*/ 7419975 w 8801100"/>
                  <a:gd name="connsiteY210" fmla="*/ 2614612 h 4305300"/>
                  <a:gd name="connsiteX211" fmla="*/ 7446169 w 8801100"/>
                  <a:gd name="connsiteY211" fmla="*/ 2531269 h 4305300"/>
                  <a:gd name="connsiteX212" fmla="*/ 7577137 w 8801100"/>
                  <a:gd name="connsiteY212" fmla="*/ 2531269 h 4305300"/>
                  <a:gd name="connsiteX213" fmla="*/ 7750969 w 8801100"/>
                  <a:gd name="connsiteY213" fmla="*/ 2474118 h 4305300"/>
                  <a:gd name="connsiteX214" fmla="*/ 7810500 w 8801100"/>
                  <a:gd name="connsiteY214" fmla="*/ 2362200 h 4305300"/>
                  <a:gd name="connsiteX215" fmla="*/ 7874794 w 8801100"/>
                  <a:gd name="connsiteY215" fmla="*/ 2326481 h 4305300"/>
                  <a:gd name="connsiteX216" fmla="*/ 7853363 w 8801100"/>
                  <a:gd name="connsiteY216" fmla="*/ 2281238 h 4305300"/>
                  <a:gd name="connsiteX217" fmla="*/ 7931944 w 8801100"/>
                  <a:gd name="connsiteY217" fmla="*/ 2112168 h 4305300"/>
                  <a:gd name="connsiteX218" fmla="*/ 7986713 w 8801100"/>
                  <a:gd name="connsiteY218" fmla="*/ 2052638 h 4305300"/>
                  <a:gd name="connsiteX219" fmla="*/ 8024813 w 8801100"/>
                  <a:gd name="connsiteY219" fmla="*/ 2047875 h 4305300"/>
                  <a:gd name="connsiteX220" fmla="*/ 8070056 w 8801100"/>
                  <a:gd name="connsiteY220" fmla="*/ 2052638 h 4305300"/>
                  <a:gd name="connsiteX221" fmla="*/ 8134350 w 8801100"/>
                  <a:gd name="connsiteY221" fmla="*/ 2019300 h 4305300"/>
                  <a:gd name="connsiteX222" fmla="*/ 8143875 w 8801100"/>
                  <a:gd name="connsiteY222" fmla="*/ 1955006 h 4305300"/>
                  <a:gd name="connsiteX223" fmla="*/ 8184355 w 8801100"/>
                  <a:gd name="connsiteY223" fmla="*/ 1919288 h 4305300"/>
                  <a:gd name="connsiteX224" fmla="*/ 8243888 w 8801100"/>
                  <a:gd name="connsiteY224" fmla="*/ 1959768 h 4305300"/>
                  <a:gd name="connsiteX225" fmla="*/ 8270082 w 8801100"/>
                  <a:gd name="connsiteY225" fmla="*/ 1909762 h 4305300"/>
                  <a:gd name="connsiteX226" fmla="*/ 8365331 w 8801100"/>
                  <a:gd name="connsiteY226" fmla="*/ 1840706 h 4305300"/>
                  <a:gd name="connsiteX227" fmla="*/ 8427244 w 8801100"/>
                  <a:gd name="connsiteY227" fmla="*/ 1847850 h 4305300"/>
                  <a:gd name="connsiteX228" fmla="*/ 8477250 w 8801100"/>
                  <a:gd name="connsiteY228" fmla="*/ 1828800 h 4305300"/>
                  <a:gd name="connsiteX229" fmla="*/ 8515350 w 8801100"/>
                  <a:gd name="connsiteY229" fmla="*/ 1800225 h 4305300"/>
                  <a:gd name="connsiteX230" fmla="*/ 8548688 w 8801100"/>
                  <a:gd name="connsiteY230" fmla="*/ 1797844 h 4305300"/>
                  <a:gd name="connsiteX231" fmla="*/ 8584406 w 8801100"/>
                  <a:gd name="connsiteY231" fmla="*/ 1828800 h 4305300"/>
                  <a:gd name="connsiteX232" fmla="*/ 8643938 w 8801100"/>
                  <a:gd name="connsiteY232" fmla="*/ 1828800 h 4305300"/>
                  <a:gd name="connsiteX233" fmla="*/ 8682037 w 8801100"/>
                  <a:gd name="connsiteY233" fmla="*/ 1809750 h 4305300"/>
                  <a:gd name="connsiteX234" fmla="*/ 8765381 w 8801100"/>
                  <a:gd name="connsiteY234" fmla="*/ 1812132 h 4305300"/>
                  <a:gd name="connsiteX235" fmla="*/ 8796338 w 8801100"/>
                  <a:gd name="connsiteY235" fmla="*/ 1766888 h 4305300"/>
                  <a:gd name="connsiteX236" fmla="*/ 8801100 w 8801100"/>
                  <a:gd name="connsiteY236" fmla="*/ 1704975 h 4305300"/>
                  <a:gd name="connsiteX237" fmla="*/ 8751093 w 8801100"/>
                  <a:gd name="connsiteY237" fmla="*/ 1664494 h 4305300"/>
                  <a:gd name="connsiteX238" fmla="*/ 8734425 w 8801100"/>
                  <a:gd name="connsiteY238" fmla="*/ 1609725 h 4305300"/>
                  <a:gd name="connsiteX239" fmla="*/ 8643938 w 8801100"/>
                  <a:gd name="connsiteY239" fmla="*/ 1547813 h 4305300"/>
                  <a:gd name="connsiteX240" fmla="*/ 8603456 w 8801100"/>
                  <a:gd name="connsiteY240" fmla="*/ 1526381 h 4305300"/>
                  <a:gd name="connsiteX241" fmla="*/ 8565356 w 8801100"/>
                  <a:gd name="connsiteY241" fmla="*/ 1481138 h 4305300"/>
                  <a:gd name="connsiteX242" fmla="*/ 8534400 w 8801100"/>
                  <a:gd name="connsiteY242" fmla="*/ 1478756 h 4305300"/>
                  <a:gd name="connsiteX243" fmla="*/ 8517731 w 8801100"/>
                  <a:gd name="connsiteY243" fmla="*/ 1426369 h 4305300"/>
                  <a:gd name="connsiteX244" fmla="*/ 8477250 w 8801100"/>
                  <a:gd name="connsiteY244" fmla="*/ 1409700 h 4305300"/>
                  <a:gd name="connsiteX245" fmla="*/ 8477250 w 8801100"/>
                  <a:gd name="connsiteY245" fmla="*/ 1409700 h 4305300"/>
                  <a:gd name="connsiteX246" fmla="*/ 8436769 w 8801100"/>
                  <a:gd name="connsiteY246" fmla="*/ 1414463 h 4305300"/>
                  <a:gd name="connsiteX247" fmla="*/ 8351043 w 8801100"/>
                  <a:gd name="connsiteY247" fmla="*/ 1340644 h 4305300"/>
                  <a:gd name="connsiteX248" fmla="*/ 8170069 w 8801100"/>
                  <a:gd name="connsiteY248" fmla="*/ 1340643 h 4305300"/>
                  <a:gd name="connsiteX249" fmla="*/ 8117681 w 8801100"/>
                  <a:gd name="connsiteY249" fmla="*/ 1378744 h 4305300"/>
                  <a:gd name="connsiteX250" fmla="*/ 8067675 w 8801100"/>
                  <a:gd name="connsiteY250" fmla="*/ 1457325 h 4305300"/>
                  <a:gd name="connsiteX251" fmla="*/ 8084344 w 8801100"/>
                  <a:gd name="connsiteY251" fmla="*/ 1478756 h 4305300"/>
                  <a:gd name="connsiteX252" fmla="*/ 8039100 w 8801100"/>
                  <a:gd name="connsiteY252" fmla="*/ 1528762 h 4305300"/>
                  <a:gd name="connsiteX253" fmla="*/ 7889081 w 8801100"/>
                  <a:gd name="connsiteY253" fmla="*/ 1452562 h 4305300"/>
                  <a:gd name="connsiteX254" fmla="*/ 7798594 w 8801100"/>
                  <a:gd name="connsiteY254" fmla="*/ 1488281 h 4305300"/>
                  <a:gd name="connsiteX255" fmla="*/ 7724775 w 8801100"/>
                  <a:gd name="connsiteY255" fmla="*/ 1485900 h 4305300"/>
                  <a:gd name="connsiteX256" fmla="*/ 7667625 w 8801100"/>
                  <a:gd name="connsiteY256" fmla="*/ 1581150 h 4305300"/>
                  <a:gd name="connsiteX257" fmla="*/ 7529513 w 8801100"/>
                  <a:gd name="connsiteY257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000250 w 8801100"/>
                  <a:gd name="connsiteY107" fmla="*/ 638175 h 4305300"/>
                  <a:gd name="connsiteX108" fmla="*/ 2381 w 8801100"/>
                  <a:gd name="connsiteY108" fmla="*/ 1490661 h 4305300"/>
                  <a:gd name="connsiteX109" fmla="*/ 0 w 8801100"/>
                  <a:gd name="connsiteY109" fmla="*/ 709613 h 4305300"/>
                  <a:gd name="connsiteX110" fmla="*/ 76200 w 8801100"/>
                  <a:gd name="connsiteY110" fmla="*/ 692944 h 4305300"/>
                  <a:gd name="connsiteX111" fmla="*/ 119063 w 8801100"/>
                  <a:gd name="connsiteY111" fmla="*/ 721519 h 4305300"/>
                  <a:gd name="connsiteX112" fmla="*/ 215900 w 8801100"/>
                  <a:gd name="connsiteY112" fmla="*/ 712788 h 4305300"/>
                  <a:gd name="connsiteX113" fmla="*/ 261938 w 8801100"/>
                  <a:gd name="connsiteY113" fmla="*/ 740568 h 4305300"/>
                  <a:gd name="connsiteX114" fmla="*/ 228600 w 8801100"/>
                  <a:gd name="connsiteY114" fmla="*/ 769144 h 4305300"/>
                  <a:gd name="connsiteX115" fmla="*/ 233363 w 8801100"/>
                  <a:gd name="connsiteY115" fmla="*/ 812006 h 4305300"/>
                  <a:gd name="connsiteX116" fmla="*/ 200025 w 8801100"/>
                  <a:gd name="connsiteY116" fmla="*/ 816769 h 4305300"/>
                  <a:gd name="connsiteX117" fmla="*/ 204788 w 8801100"/>
                  <a:gd name="connsiteY117" fmla="*/ 840581 h 4305300"/>
                  <a:gd name="connsiteX118" fmla="*/ 261937 w 8801100"/>
                  <a:gd name="connsiteY118" fmla="*/ 914400 h 4305300"/>
                  <a:gd name="connsiteX119" fmla="*/ 223838 w 8801100"/>
                  <a:gd name="connsiteY119" fmla="*/ 962025 h 4305300"/>
                  <a:gd name="connsiteX120" fmla="*/ 278606 w 8801100"/>
                  <a:gd name="connsiteY120" fmla="*/ 997744 h 4305300"/>
                  <a:gd name="connsiteX121" fmla="*/ 369094 w 8801100"/>
                  <a:gd name="connsiteY121" fmla="*/ 1085850 h 4305300"/>
                  <a:gd name="connsiteX122" fmla="*/ 371475 w 8801100"/>
                  <a:gd name="connsiteY122" fmla="*/ 1145381 h 4305300"/>
                  <a:gd name="connsiteX123" fmla="*/ 507206 w 8801100"/>
                  <a:gd name="connsiteY123" fmla="*/ 1278732 h 4305300"/>
                  <a:gd name="connsiteX124" fmla="*/ 561975 w 8801100"/>
                  <a:gd name="connsiteY124" fmla="*/ 1254919 h 4305300"/>
                  <a:gd name="connsiteX125" fmla="*/ 600075 w 8801100"/>
                  <a:gd name="connsiteY125" fmla="*/ 1281112 h 4305300"/>
                  <a:gd name="connsiteX126" fmla="*/ 614363 w 8801100"/>
                  <a:gd name="connsiteY126" fmla="*/ 1331118 h 4305300"/>
                  <a:gd name="connsiteX127" fmla="*/ 657225 w 8801100"/>
                  <a:gd name="connsiteY127" fmla="*/ 1366838 h 4305300"/>
                  <a:gd name="connsiteX128" fmla="*/ 697706 w 8801100"/>
                  <a:gd name="connsiteY128" fmla="*/ 1354931 h 4305300"/>
                  <a:gd name="connsiteX129" fmla="*/ 716756 w 8801100"/>
                  <a:gd name="connsiteY129" fmla="*/ 1412081 h 4305300"/>
                  <a:gd name="connsiteX130" fmla="*/ 764381 w 8801100"/>
                  <a:gd name="connsiteY130" fmla="*/ 1454944 h 4305300"/>
                  <a:gd name="connsiteX131" fmla="*/ 788194 w 8801100"/>
                  <a:gd name="connsiteY131" fmla="*/ 1557338 h 4305300"/>
                  <a:gd name="connsiteX132" fmla="*/ 785813 w 8801100"/>
                  <a:gd name="connsiteY132" fmla="*/ 1604963 h 4305300"/>
                  <a:gd name="connsiteX133" fmla="*/ 821531 w 8801100"/>
                  <a:gd name="connsiteY133" fmla="*/ 1704975 h 4305300"/>
                  <a:gd name="connsiteX134" fmla="*/ 866775 w 8801100"/>
                  <a:gd name="connsiteY134" fmla="*/ 1762125 h 4305300"/>
                  <a:gd name="connsiteX135" fmla="*/ 883443 w 8801100"/>
                  <a:gd name="connsiteY135" fmla="*/ 1919287 h 4305300"/>
                  <a:gd name="connsiteX136" fmla="*/ 850106 w 8801100"/>
                  <a:gd name="connsiteY136" fmla="*/ 1981200 h 4305300"/>
                  <a:gd name="connsiteX137" fmla="*/ 819150 w 8801100"/>
                  <a:gd name="connsiteY137" fmla="*/ 2057400 h 4305300"/>
                  <a:gd name="connsiteX138" fmla="*/ 833438 w 8801100"/>
                  <a:gd name="connsiteY138" fmla="*/ 2114550 h 4305300"/>
                  <a:gd name="connsiteX139" fmla="*/ 735806 w 8801100"/>
                  <a:gd name="connsiteY139" fmla="*/ 2221707 h 4305300"/>
                  <a:gd name="connsiteX140" fmla="*/ 692944 w 8801100"/>
                  <a:gd name="connsiteY140" fmla="*/ 2336006 h 4305300"/>
                  <a:gd name="connsiteX141" fmla="*/ 726281 w 8801100"/>
                  <a:gd name="connsiteY141" fmla="*/ 2376488 h 4305300"/>
                  <a:gd name="connsiteX142" fmla="*/ 709613 w 8801100"/>
                  <a:gd name="connsiteY142" fmla="*/ 2405063 h 4305300"/>
                  <a:gd name="connsiteX143" fmla="*/ 740569 w 8801100"/>
                  <a:gd name="connsiteY143" fmla="*/ 2462213 h 4305300"/>
                  <a:gd name="connsiteX144" fmla="*/ 769144 w 8801100"/>
                  <a:gd name="connsiteY144" fmla="*/ 2462213 h 4305300"/>
                  <a:gd name="connsiteX145" fmla="*/ 931069 w 8801100"/>
                  <a:gd name="connsiteY145" fmla="*/ 2564606 h 4305300"/>
                  <a:gd name="connsiteX146" fmla="*/ 1035844 w 8801100"/>
                  <a:gd name="connsiteY146" fmla="*/ 2562225 h 4305300"/>
                  <a:gd name="connsiteX147" fmla="*/ 1114425 w 8801100"/>
                  <a:gd name="connsiteY147" fmla="*/ 2616994 h 4305300"/>
                  <a:gd name="connsiteX148" fmla="*/ 1245393 w 8801100"/>
                  <a:gd name="connsiteY148" fmla="*/ 2619375 h 4305300"/>
                  <a:gd name="connsiteX149" fmla="*/ 1435893 w 8801100"/>
                  <a:gd name="connsiteY149" fmla="*/ 2688431 h 4305300"/>
                  <a:gd name="connsiteX150" fmla="*/ 1638300 w 8801100"/>
                  <a:gd name="connsiteY150" fmla="*/ 2838450 h 4305300"/>
                  <a:gd name="connsiteX151" fmla="*/ 1671637 w 8801100"/>
                  <a:gd name="connsiteY151" fmla="*/ 2905125 h 4305300"/>
                  <a:gd name="connsiteX152" fmla="*/ 1838325 w 8801100"/>
                  <a:gd name="connsiteY152" fmla="*/ 3031331 h 4305300"/>
                  <a:gd name="connsiteX153" fmla="*/ 1909763 w 8801100"/>
                  <a:gd name="connsiteY153" fmla="*/ 3026569 h 4305300"/>
                  <a:gd name="connsiteX154" fmla="*/ 1945482 w 8801100"/>
                  <a:gd name="connsiteY154" fmla="*/ 3050381 h 4305300"/>
                  <a:gd name="connsiteX155" fmla="*/ 1916906 w 8801100"/>
                  <a:gd name="connsiteY155" fmla="*/ 3090863 h 4305300"/>
                  <a:gd name="connsiteX156" fmla="*/ 1924050 w 8801100"/>
                  <a:gd name="connsiteY156" fmla="*/ 3143250 h 4305300"/>
                  <a:gd name="connsiteX157" fmla="*/ 1976438 w 8801100"/>
                  <a:gd name="connsiteY157" fmla="*/ 3169444 h 4305300"/>
                  <a:gd name="connsiteX158" fmla="*/ 2038350 w 8801100"/>
                  <a:gd name="connsiteY158" fmla="*/ 3393282 h 4305300"/>
                  <a:gd name="connsiteX159" fmla="*/ 2028825 w 8801100"/>
                  <a:gd name="connsiteY159" fmla="*/ 3457575 h 4305300"/>
                  <a:gd name="connsiteX160" fmla="*/ 2164556 w 8801100"/>
                  <a:gd name="connsiteY160" fmla="*/ 3624263 h 4305300"/>
                  <a:gd name="connsiteX161" fmla="*/ 2183606 w 8801100"/>
                  <a:gd name="connsiteY161" fmla="*/ 3674269 h 4305300"/>
                  <a:gd name="connsiteX162" fmla="*/ 2157413 w 8801100"/>
                  <a:gd name="connsiteY162" fmla="*/ 3693319 h 4305300"/>
                  <a:gd name="connsiteX163" fmla="*/ 2259806 w 8801100"/>
                  <a:gd name="connsiteY163" fmla="*/ 3702844 h 4305300"/>
                  <a:gd name="connsiteX164" fmla="*/ 2371725 w 8801100"/>
                  <a:gd name="connsiteY164" fmla="*/ 3690938 h 4305300"/>
                  <a:gd name="connsiteX165" fmla="*/ 2650331 w 8801100"/>
                  <a:gd name="connsiteY165" fmla="*/ 3774281 h 4305300"/>
                  <a:gd name="connsiteX166" fmla="*/ 3057525 w 8801100"/>
                  <a:gd name="connsiteY166" fmla="*/ 3855244 h 4305300"/>
                  <a:gd name="connsiteX167" fmla="*/ 3255169 w 8801100"/>
                  <a:gd name="connsiteY167" fmla="*/ 3824287 h 4305300"/>
                  <a:gd name="connsiteX168" fmla="*/ 3300413 w 8801100"/>
                  <a:gd name="connsiteY168" fmla="*/ 3836193 h 4305300"/>
                  <a:gd name="connsiteX169" fmla="*/ 3355181 w 8801100"/>
                  <a:gd name="connsiteY169" fmla="*/ 3812382 h 4305300"/>
                  <a:gd name="connsiteX170" fmla="*/ 3748087 w 8801100"/>
                  <a:gd name="connsiteY170" fmla="*/ 3902869 h 4305300"/>
                  <a:gd name="connsiteX171" fmla="*/ 3831432 w 8801100"/>
                  <a:gd name="connsiteY171" fmla="*/ 4000500 h 4305300"/>
                  <a:gd name="connsiteX172" fmla="*/ 3950494 w 8801100"/>
                  <a:gd name="connsiteY172" fmla="*/ 4071938 h 4305300"/>
                  <a:gd name="connsiteX173" fmla="*/ 4010025 w 8801100"/>
                  <a:gd name="connsiteY173" fmla="*/ 4055269 h 4305300"/>
                  <a:gd name="connsiteX174" fmla="*/ 4360068 w 8801100"/>
                  <a:gd name="connsiteY174" fmla="*/ 4229100 h 4305300"/>
                  <a:gd name="connsiteX175" fmla="*/ 4586288 w 8801100"/>
                  <a:gd name="connsiteY175" fmla="*/ 4200525 h 4305300"/>
                  <a:gd name="connsiteX176" fmla="*/ 4595813 w 8801100"/>
                  <a:gd name="connsiteY176" fmla="*/ 4279106 h 4305300"/>
                  <a:gd name="connsiteX177" fmla="*/ 4681538 w 8801100"/>
                  <a:gd name="connsiteY177" fmla="*/ 4274343 h 4305300"/>
                  <a:gd name="connsiteX178" fmla="*/ 4760119 w 8801100"/>
                  <a:gd name="connsiteY178" fmla="*/ 4305300 h 4305300"/>
                  <a:gd name="connsiteX179" fmla="*/ 4802981 w 8801100"/>
                  <a:gd name="connsiteY179" fmla="*/ 4245769 h 4305300"/>
                  <a:gd name="connsiteX180" fmla="*/ 5474494 w 8801100"/>
                  <a:gd name="connsiteY180" fmla="*/ 3926681 h 4305300"/>
                  <a:gd name="connsiteX181" fmla="*/ 5562600 w 8801100"/>
                  <a:gd name="connsiteY181" fmla="*/ 3955257 h 4305300"/>
                  <a:gd name="connsiteX182" fmla="*/ 5693569 w 8801100"/>
                  <a:gd name="connsiteY182" fmla="*/ 3926681 h 4305300"/>
                  <a:gd name="connsiteX183" fmla="*/ 5872162 w 8801100"/>
                  <a:gd name="connsiteY183" fmla="*/ 3943350 h 4305300"/>
                  <a:gd name="connsiteX184" fmla="*/ 5929313 w 8801100"/>
                  <a:gd name="connsiteY184" fmla="*/ 3917157 h 4305300"/>
                  <a:gd name="connsiteX185" fmla="*/ 6062662 w 8801100"/>
                  <a:gd name="connsiteY185" fmla="*/ 3914775 h 4305300"/>
                  <a:gd name="connsiteX186" fmla="*/ 6196012 w 8801100"/>
                  <a:gd name="connsiteY186" fmla="*/ 3817144 h 4305300"/>
                  <a:gd name="connsiteX187" fmla="*/ 6262687 w 8801100"/>
                  <a:gd name="connsiteY187" fmla="*/ 3810000 h 4305300"/>
                  <a:gd name="connsiteX188" fmla="*/ 6360319 w 8801100"/>
                  <a:gd name="connsiteY188" fmla="*/ 3736181 h 4305300"/>
                  <a:gd name="connsiteX189" fmla="*/ 6434138 w 8801100"/>
                  <a:gd name="connsiteY189" fmla="*/ 3667125 h 4305300"/>
                  <a:gd name="connsiteX190" fmla="*/ 6443663 w 8801100"/>
                  <a:gd name="connsiteY190" fmla="*/ 3605213 h 4305300"/>
                  <a:gd name="connsiteX191" fmla="*/ 6477000 w 8801100"/>
                  <a:gd name="connsiteY191" fmla="*/ 3536156 h 4305300"/>
                  <a:gd name="connsiteX192" fmla="*/ 6629400 w 8801100"/>
                  <a:gd name="connsiteY192" fmla="*/ 3429000 h 4305300"/>
                  <a:gd name="connsiteX193" fmla="*/ 6662738 w 8801100"/>
                  <a:gd name="connsiteY193" fmla="*/ 3433763 h 4305300"/>
                  <a:gd name="connsiteX194" fmla="*/ 6715125 w 8801100"/>
                  <a:gd name="connsiteY194" fmla="*/ 3355181 h 4305300"/>
                  <a:gd name="connsiteX195" fmla="*/ 6762750 w 8801100"/>
                  <a:gd name="connsiteY195" fmla="*/ 3317081 h 4305300"/>
                  <a:gd name="connsiteX196" fmla="*/ 6748463 w 8801100"/>
                  <a:gd name="connsiteY196" fmla="*/ 3248025 h 4305300"/>
                  <a:gd name="connsiteX197" fmla="*/ 6698456 w 8801100"/>
                  <a:gd name="connsiteY197" fmla="*/ 3217068 h 4305300"/>
                  <a:gd name="connsiteX198" fmla="*/ 6638925 w 8801100"/>
                  <a:gd name="connsiteY198" fmla="*/ 3162300 h 4305300"/>
                  <a:gd name="connsiteX199" fmla="*/ 6619875 w 8801100"/>
                  <a:gd name="connsiteY199" fmla="*/ 3105150 h 4305300"/>
                  <a:gd name="connsiteX200" fmla="*/ 6584156 w 8801100"/>
                  <a:gd name="connsiteY200" fmla="*/ 3071813 h 4305300"/>
                  <a:gd name="connsiteX201" fmla="*/ 6610350 w 8801100"/>
                  <a:gd name="connsiteY201" fmla="*/ 3019425 h 4305300"/>
                  <a:gd name="connsiteX202" fmla="*/ 6650831 w 8801100"/>
                  <a:gd name="connsiteY202" fmla="*/ 2840831 h 4305300"/>
                  <a:gd name="connsiteX203" fmla="*/ 6691313 w 8801100"/>
                  <a:gd name="connsiteY203" fmla="*/ 2774156 h 4305300"/>
                  <a:gd name="connsiteX204" fmla="*/ 6836569 w 8801100"/>
                  <a:gd name="connsiteY204" fmla="*/ 2757487 h 4305300"/>
                  <a:gd name="connsiteX205" fmla="*/ 6905625 w 8801100"/>
                  <a:gd name="connsiteY205" fmla="*/ 2814638 h 4305300"/>
                  <a:gd name="connsiteX206" fmla="*/ 6981825 w 8801100"/>
                  <a:gd name="connsiteY206" fmla="*/ 2838450 h 4305300"/>
                  <a:gd name="connsiteX207" fmla="*/ 7186612 w 8801100"/>
                  <a:gd name="connsiteY207" fmla="*/ 2843213 h 4305300"/>
                  <a:gd name="connsiteX208" fmla="*/ 7362825 w 8801100"/>
                  <a:gd name="connsiteY208" fmla="*/ 2705100 h 4305300"/>
                  <a:gd name="connsiteX209" fmla="*/ 7419975 w 8801100"/>
                  <a:gd name="connsiteY209" fmla="*/ 2614612 h 4305300"/>
                  <a:gd name="connsiteX210" fmla="*/ 7446169 w 8801100"/>
                  <a:gd name="connsiteY210" fmla="*/ 2531269 h 4305300"/>
                  <a:gd name="connsiteX211" fmla="*/ 7577137 w 8801100"/>
                  <a:gd name="connsiteY211" fmla="*/ 2531269 h 4305300"/>
                  <a:gd name="connsiteX212" fmla="*/ 7750969 w 8801100"/>
                  <a:gd name="connsiteY212" fmla="*/ 2474118 h 4305300"/>
                  <a:gd name="connsiteX213" fmla="*/ 7810500 w 8801100"/>
                  <a:gd name="connsiteY213" fmla="*/ 2362200 h 4305300"/>
                  <a:gd name="connsiteX214" fmla="*/ 7874794 w 8801100"/>
                  <a:gd name="connsiteY214" fmla="*/ 2326481 h 4305300"/>
                  <a:gd name="connsiteX215" fmla="*/ 7853363 w 8801100"/>
                  <a:gd name="connsiteY215" fmla="*/ 2281238 h 4305300"/>
                  <a:gd name="connsiteX216" fmla="*/ 7931944 w 8801100"/>
                  <a:gd name="connsiteY216" fmla="*/ 2112168 h 4305300"/>
                  <a:gd name="connsiteX217" fmla="*/ 7986713 w 8801100"/>
                  <a:gd name="connsiteY217" fmla="*/ 2052638 h 4305300"/>
                  <a:gd name="connsiteX218" fmla="*/ 8024813 w 8801100"/>
                  <a:gd name="connsiteY218" fmla="*/ 2047875 h 4305300"/>
                  <a:gd name="connsiteX219" fmla="*/ 8070056 w 8801100"/>
                  <a:gd name="connsiteY219" fmla="*/ 2052638 h 4305300"/>
                  <a:gd name="connsiteX220" fmla="*/ 8134350 w 8801100"/>
                  <a:gd name="connsiteY220" fmla="*/ 2019300 h 4305300"/>
                  <a:gd name="connsiteX221" fmla="*/ 8143875 w 8801100"/>
                  <a:gd name="connsiteY221" fmla="*/ 1955006 h 4305300"/>
                  <a:gd name="connsiteX222" fmla="*/ 8184355 w 8801100"/>
                  <a:gd name="connsiteY222" fmla="*/ 1919288 h 4305300"/>
                  <a:gd name="connsiteX223" fmla="*/ 8243888 w 8801100"/>
                  <a:gd name="connsiteY223" fmla="*/ 1959768 h 4305300"/>
                  <a:gd name="connsiteX224" fmla="*/ 8270082 w 8801100"/>
                  <a:gd name="connsiteY224" fmla="*/ 1909762 h 4305300"/>
                  <a:gd name="connsiteX225" fmla="*/ 8365331 w 8801100"/>
                  <a:gd name="connsiteY225" fmla="*/ 1840706 h 4305300"/>
                  <a:gd name="connsiteX226" fmla="*/ 8427244 w 8801100"/>
                  <a:gd name="connsiteY226" fmla="*/ 1847850 h 4305300"/>
                  <a:gd name="connsiteX227" fmla="*/ 8477250 w 8801100"/>
                  <a:gd name="connsiteY227" fmla="*/ 1828800 h 4305300"/>
                  <a:gd name="connsiteX228" fmla="*/ 8515350 w 8801100"/>
                  <a:gd name="connsiteY228" fmla="*/ 1800225 h 4305300"/>
                  <a:gd name="connsiteX229" fmla="*/ 8548688 w 8801100"/>
                  <a:gd name="connsiteY229" fmla="*/ 1797844 h 4305300"/>
                  <a:gd name="connsiteX230" fmla="*/ 8584406 w 8801100"/>
                  <a:gd name="connsiteY230" fmla="*/ 1828800 h 4305300"/>
                  <a:gd name="connsiteX231" fmla="*/ 8643938 w 8801100"/>
                  <a:gd name="connsiteY231" fmla="*/ 1828800 h 4305300"/>
                  <a:gd name="connsiteX232" fmla="*/ 8682037 w 8801100"/>
                  <a:gd name="connsiteY232" fmla="*/ 1809750 h 4305300"/>
                  <a:gd name="connsiteX233" fmla="*/ 8765381 w 8801100"/>
                  <a:gd name="connsiteY233" fmla="*/ 1812132 h 4305300"/>
                  <a:gd name="connsiteX234" fmla="*/ 8796338 w 8801100"/>
                  <a:gd name="connsiteY234" fmla="*/ 1766888 h 4305300"/>
                  <a:gd name="connsiteX235" fmla="*/ 8801100 w 8801100"/>
                  <a:gd name="connsiteY235" fmla="*/ 1704975 h 4305300"/>
                  <a:gd name="connsiteX236" fmla="*/ 8751093 w 8801100"/>
                  <a:gd name="connsiteY236" fmla="*/ 1664494 h 4305300"/>
                  <a:gd name="connsiteX237" fmla="*/ 8734425 w 8801100"/>
                  <a:gd name="connsiteY237" fmla="*/ 1609725 h 4305300"/>
                  <a:gd name="connsiteX238" fmla="*/ 8643938 w 8801100"/>
                  <a:gd name="connsiteY238" fmla="*/ 1547813 h 4305300"/>
                  <a:gd name="connsiteX239" fmla="*/ 8603456 w 8801100"/>
                  <a:gd name="connsiteY239" fmla="*/ 1526381 h 4305300"/>
                  <a:gd name="connsiteX240" fmla="*/ 8565356 w 8801100"/>
                  <a:gd name="connsiteY240" fmla="*/ 1481138 h 4305300"/>
                  <a:gd name="connsiteX241" fmla="*/ 8534400 w 8801100"/>
                  <a:gd name="connsiteY241" fmla="*/ 1478756 h 4305300"/>
                  <a:gd name="connsiteX242" fmla="*/ 8517731 w 8801100"/>
                  <a:gd name="connsiteY242" fmla="*/ 1426369 h 4305300"/>
                  <a:gd name="connsiteX243" fmla="*/ 8477250 w 8801100"/>
                  <a:gd name="connsiteY243" fmla="*/ 1409700 h 4305300"/>
                  <a:gd name="connsiteX244" fmla="*/ 8477250 w 8801100"/>
                  <a:gd name="connsiteY244" fmla="*/ 1409700 h 4305300"/>
                  <a:gd name="connsiteX245" fmla="*/ 8436769 w 8801100"/>
                  <a:gd name="connsiteY245" fmla="*/ 1414463 h 4305300"/>
                  <a:gd name="connsiteX246" fmla="*/ 8351043 w 8801100"/>
                  <a:gd name="connsiteY246" fmla="*/ 1340644 h 4305300"/>
                  <a:gd name="connsiteX247" fmla="*/ 8170069 w 8801100"/>
                  <a:gd name="connsiteY247" fmla="*/ 1340643 h 4305300"/>
                  <a:gd name="connsiteX248" fmla="*/ 8117681 w 8801100"/>
                  <a:gd name="connsiteY248" fmla="*/ 1378744 h 4305300"/>
                  <a:gd name="connsiteX249" fmla="*/ 8067675 w 8801100"/>
                  <a:gd name="connsiteY249" fmla="*/ 1457325 h 4305300"/>
                  <a:gd name="connsiteX250" fmla="*/ 8084344 w 8801100"/>
                  <a:gd name="connsiteY250" fmla="*/ 1478756 h 4305300"/>
                  <a:gd name="connsiteX251" fmla="*/ 8039100 w 8801100"/>
                  <a:gd name="connsiteY251" fmla="*/ 1528762 h 4305300"/>
                  <a:gd name="connsiteX252" fmla="*/ 7889081 w 8801100"/>
                  <a:gd name="connsiteY252" fmla="*/ 1452562 h 4305300"/>
                  <a:gd name="connsiteX253" fmla="*/ 7798594 w 8801100"/>
                  <a:gd name="connsiteY253" fmla="*/ 1488281 h 4305300"/>
                  <a:gd name="connsiteX254" fmla="*/ 7724775 w 8801100"/>
                  <a:gd name="connsiteY254" fmla="*/ 1485900 h 4305300"/>
                  <a:gd name="connsiteX255" fmla="*/ 7667625 w 8801100"/>
                  <a:gd name="connsiteY255" fmla="*/ 1581150 h 4305300"/>
                  <a:gd name="connsiteX256" fmla="*/ 7529513 w 8801100"/>
                  <a:gd name="connsiteY256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052638 w 8801100"/>
                  <a:gd name="connsiteY106" fmla="*/ 728663 h 4305300"/>
                  <a:gd name="connsiteX107" fmla="*/ 2381 w 8801100"/>
                  <a:gd name="connsiteY107" fmla="*/ 1490661 h 4305300"/>
                  <a:gd name="connsiteX108" fmla="*/ 0 w 8801100"/>
                  <a:gd name="connsiteY108" fmla="*/ 709613 h 4305300"/>
                  <a:gd name="connsiteX109" fmla="*/ 76200 w 8801100"/>
                  <a:gd name="connsiteY109" fmla="*/ 692944 h 4305300"/>
                  <a:gd name="connsiteX110" fmla="*/ 119063 w 8801100"/>
                  <a:gd name="connsiteY110" fmla="*/ 721519 h 4305300"/>
                  <a:gd name="connsiteX111" fmla="*/ 215900 w 8801100"/>
                  <a:gd name="connsiteY111" fmla="*/ 712788 h 4305300"/>
                  <a:gd name="connsiteX112" fmla="*/ 261938 w 8801100"/>
                  <a:gd name="connsiteY112" fmla="*/ 740568 h 4305300"/>
                  <a:gd name="connsiteX113" fmla="*/ 228600 w 8801100"/>
                  <a:gd name="connsiteY113" fmla="*/ 769144 h 4305300"/>
                  <a:gd name="connsiteX114" fmla="*/ 233363 w 8801100"/>
                  <a:gd name="connsiteY114" fmla="*/ 812006 h 4305300"/>
                  <a:gd name="connsiteX115" fmla="*/ 200025 w 8801100"/>
                  <a:gd name="connsiteY115" fmla="*/ 816769 h 4305300"/>
                  <a:gd name="connsiteX116" fmla="*/ 204788 w 8801100"/>
                  <a:gd name="connsiteY116" fmla="*/ 840581 h 4305300"/>
                  <a:gd name="connsiteX117" fmla="*/ 261937 w 8801100"/>
                  <a:gd name="connsiteY117" fmla="*/ 914400 h 4305300"/>
                  <a:gd name="connsiteX118" fmla="*/ 223838 w 8801100"/>
                  <a:gd name="connsiteY118" fmla="*/ 962025 h 4305300"/>
                  <a:gd name="connsiteX119" fmla="*/ 278606 w 8801100"/>
                  <a:gd name="connsiteY119" fmla="*/ 997744 h 4305300"/>
                  <a:gd name="connsiteX120" fmla="*/ 369094 w 8801100"/>
                  <a:gd name="connsiteY120" fmla="*/ 1085850 h 4305300"/>
                  <a:gd name="connsiteX121" fmla="*/ 371475 w 8801100"/>
                  <a:gd name="connsiteY121" fmla="*/ 1145381 h 4305300"/>
                  <a:gd name="connsiteX122" fmla="*/ 507206 w 8801100"/>
                  <a:gd name="connsiteY122" fmla="*/ 1278732 h 4305300"/>
                  <a:gd name="connsiteX123" fmla="*/ 561975 w 8801100"/>
                  <a:gd name="connsiteY123" fmla="*/ 1254919 h 4305300"/>
                  <a:gd name="connsiteX124" fmla="*/ 600075 w 8801100"/>
                  <a:gd name="connsiteY124" fmla="*/ 1281112 h 4305300"/>
                  <a:gd name="connsiteX125" fmla="*/ 614363 w 8801100"/>
                  <a:gd name="connsiteY125" fmla="*/ 1331118 h 4305300"/>
                  <a:gd name="connsiteX126" fmla="*/ 657225 w 8801100"/>
                  <a:gd name="connsiteY126" fmla="*/ 1366838 h 4305300"/>
                  <a:gd name="connsiteX127" fmla="*/ 697706 w 8801100"/>
                  <a:gd name="connsiteY127" fmla="*/ 1354931 h 4305300"/>
                  <a:gd name="connsiteX128" fmla="*/ 716756 w 8801100"/>
                  <a:gd name="connsiteY128" fmla="*/ 1412081 h 4305300"/>
                  <a:gd name="connsiteX129" fmla="*/ 764381 w 8801100"/>
                  <a:gd name="connsiteY129" fmla="*/ 1454944 h 4305300"/>
                  <a:gd name="connsiteX130" fmla="*/ 788194 w 8801100"/>
                  <a:gd name="connsiteY130" fmla="*/ 1557338 h 4305300"/>
                  <a:gd name="connsiteX131" fmla="*/ 785813 w 8801100"/>
                  <a:gd name="connsiteY131" fmla="*/ 1604963 h 4305300"/>
                  <a:gd name="connsiteX132" fmla="*/ 821531 w 8801100"/>
                  <a:gd name="connsiteY132" fmla="*/ 1704975 h 4305300"/>
                  <a:gd name="connsiteX133" fmla="*/ 866775 w 8801100"/>
                  <a:gd name="connsiteY133" fmla="*/ 1762125 h 4305300"/>
                  <a:gd name="connsiteX134" fmla="*/ 883443 w 8801100"/>
                  <a:gd name="connsiteY134" fmla="*/ 1919287 h 4305300"/>
                  <a:gd name="connsiteX135" fmla="*/ 850106 w 8801100"/>
                  <a:gd name="connsiteY135" fmla="*/ 1981200 h 4305300"/>
                  <a:gd name="connsiteX136" fmla="*/ 819150 w 8801100"/>
                  <a:gd name="connsiteY136" fmla="*/ 2057400 h 4305300"/>
                  <a:gd name="connsiteX137" fmla="*/ 833438 w 8801100"/>
                  <a:gd name="connsiteY137" fmla="*/ 2114550 h 4305300"/>
                  <a:gd name="connsiteX138" fmla="*/ 735806 w 8801100"/>
                  <a:gd name="connsiteY138" fmla="*/ 2221707 h 4305300"/>
                  <a:gd name="connsiteX139" fmla="*/ 692944 w 8801100"/>
                  <a:gd name="connsiteY139" fmla="*/ 2336006 h 4305300"/>
                  <a:gd name="connsiteX140" fmla="*/ 726281 w 8801100"/>
                  <a:gd name="connsiteY140" fmla="*/ 2376488 h 4305300"/>
                  <a:gd name="connsiteX141" fmla="*/ 709613 w 8801100"/>
                  <a:gd name="connsiteY141" fmla="*/ 2405063 h 4305300"/>
                  <a:gd name="connsiteX142" fmla="*/ 740569 w 8801100"/>
                  <a:gd name="connsiteY142" fmla="*/ 2462213 h 4305300"/>
                  <a:gd name="connsiteX143" fmla="*/ 769144 w 8801100"/>
                  <a:gd name="connsiteY143" fmla="*/ 2462213 h 4305300"/>
                  <a:gd name="connsiteX144" fmla="*/ 931069 w 8801100"/>
                  <a:gd name="connsiteY144" fmla="*/ 2564606 h 4305300"/>
                  <a:gd name="connsiteX145" fmla="*/ 1035844 w 8801100"/>
                  <a:gd name="connsiteY145" fmla="*/ 2562225 h 4305300"/>
                  <a:gd name="connsiteX146" fmla="*/ 1114425 w 8801100"/>
                  <a:gd name="connsiteY146" fmla="*/ 2616994 h 4305300"/>
                  <a:gd name="connsiteX147" fmla="*/ 1245393 w 8801100"/>
                  <a:gd name="connsiteY147" fmla="*/ 2619375 h 4305300"/>
                  <a:gd name="connsiteX148" fmla="*/ 1435893 w 8801100"/>
                  <a:gd name="connsiteY148" fmla="*/ 2688431 h 4305300"/>
                  <a:gd name="connsiteX149" fmla="*/ 1638300 w 8801100"/>
                  <a:gd name="connsiteY149" fmla="*/ 2838450 h 4305300"/>
                  <a:gd name="connsiteX150" fmla="*/ 1671637 w 8801100"/>
                  <a:gd name="connsiteY150" fmla="*/ 2905125 h 4305300"/>
                  <a:gd name="connsiteX151" fmla="*/ 1838325 w 8801100"/>
                  <a:gd name="connsiteY151" fmla="*/ 3031331 h 4305300"/>
                  <a:gd name="connsiteX152" fmla="*/ 1909763 w 8801100"/>
                  <a:gd name="connsiteY152" fmla="*/ 3026569 h 4305300"/>
                  <a:gd name="connsiteX153" fmla="*/ 1945482 w 8801100"/>
                  <a:gd name="connsiteY153" fmla="*/ 3050381 h 4305300"/>
                  <a:gd name="connsiteX154" fmla="*/ 1916906 w 8801100"/>
                  <a:gd name="connsiteY154" fmla="*/ 3090863 h 4305300"/>
                  <a:gd name="connsiteX155" fmla="*/ 1924050 w 8801100"/>
                  <a:gd name="connsiteY155" fmla="*/ 3143250 h 4305300"/>
                  <a:gd name="connsiteX156" fmla="*/ 1976438 w 8801100"/>
                  <a:gd name="connsiteY156" fmla="*/ 3169444 h 4305300"/>
                  <a:gd name="connsiteX157" fmla="*/ 2038350 w 8801100"/>
                  <a:gd name="connsiteY157" fmla="*/ 3393282 h 4305300"/>
                  <a:gd name="connsiteX158" fmla="*/ 2028825 w 8801100"/>
                  <a:gd name="connsiteY158" fmla="*/ 3457575 h 4305300"/>
                  <a:gd name="connsiteX159" fmla="*/ 2164556 w 8801100"/>
                  <a:gd name="connsiteY159" fmla="*/ 3624263 h 4305300"/>
                  <a:gd name="connsiteX160" fmla="*/ 2183606 w 8801100"/>
                  <a:gd name="connsiteY160" fmla="*/ 3674269 h 4305300"/>
                  <a:gd name="connsiteX161" fmla="*/ 2157413 w 8801100"/>
                  <a:gd name="connsiteY161" fmla="*/ 3693319 h 4305300"/>
                  <a:gd name="connsiteX162" fmla="*/ 2259806 w 8801100"/>
                  <a:gd name="connsiteY162" fmla="*/ 3702844 h 4305300"/>
                  <a:gd name="connsiteX163" fmla="*/ 2371725 w 8801100"/>
                  <a:gd name="connsiteY163" fmla="*/ 3690938 h 4305300"/>
                  <a:gd name="connsiteX164" fmla="*/ 2650331 w 8801100"/>
                  <a:gd name="connsiteY164" fmla="*/ 3774281 h 4305300"/>
                  <a:gd name="connsiteX165" fmla="*/ 3057525 w 8801100"/>
                  <a:gd name="connsiteY165" fmla="*/ 3855244 h 4305300"/>
                  <a:gd name="connsiteX166" fmla="*/ 3255169 w 8801100"/>
                  <a:gd name="connsiteY166" fmla="*/ 3824287 h 4305300"/>
                  <a:gd name="connsiteX167" fmla="*/ 3300413 w 8801100"/>
                  <a:gd name="connsiteY167" fmla="*/ 3836193 h 4305300"/>
                  <a:gd name="connsiteX168" fmla="*/ 3355181 w 8801100"/>
                  <a:gd name="connsiteY168" fmla="*/ 3812382 h 4305300"/>
                  <a:gd name="connsiteX169" fmla="*/ 3748087 w 8801100"/>
                  <a:gd name="connsiteY169" fmla="*/ 3902869 h 4305300"/>
                  <a:gd name="connsiteX170" fmla="*/ 3831432 w 8801100"/>
                  <a:gd name="connsiteY170" fmla="*/ 4000500 h 4305300"/>
                  <a:gd name="connsiteX171" fmla="*/ 3950494 w 8801100"/>
                  <a:gd name="connsiteY171" fmla="*/ 4071938 h 4305300"/>
                  <a:gd name="connsiteX172" fmla="*/ 4010025 w 8801100"/>
                  <a:gd name="connsiteY172" fmla="*/ 4055269 h 4305300"/>
                  <a:gd name="connsiteX173" fmla="*/ 4360068 w 8801100"/>
                  <a:gd name="connsiteY173" fmla="*/ 4229100 h 4305300"/>
                  <a:gd name="connsiteX174" fmla="*/ 4586288 w 8801100"/>
                  <a:gd name="connsiteY174" fmla="*/ 4200525 h 4305300"/>
                  <a:gd name="connsiteX175" fmla="*/ 4595813 w 8801100"/>
                  <a:gd name="connsiteY175" fmla="*/ 4279106 h 4305300"/>
                  <a:gd name="connsiteX176" fmla="*/ 4681538 w 8801100"/>
                  <a:gd name="connsiteY176" fmla="*/ 4274343 h 4305300"/>
                  <a:gd name="connsiteX177" fmla="*/ 4760119 w 8801100"/>
                  <a:gd name="connsiteY177" fmla="*/ 4305300 h 4305300"/>
                  <a:gd name="connsiteX178" fmla="*/ 4802981 w 8801100"/>
                  <a:gd name="connsiteY178" fmla="*/ 4245769 h 4305300"/>
                  <a:gd name="connsiteX179" fmla="*/ 5474494 w 8801100"/>
                  <a:gd name="connsiteY179" fmla="*/ 3926681 h 4305300"/>
                  <a:gd name="connsiteX180" fmla="*/ 5562600 w 8801100"/>
                  <a:gd name="connsiteY180" fmla="*/ 3955257 h 4305300"/>
                  <a:gd name="connsiteX181" fmla="*/ 5693569 w 8801100"/>
                  <a:gd name="connsiteY181" fmla="*/ 3926681 h 4305300"/>
                  <a:gd name="connsiteX182" fmla="*/ 5872162 w 8801100"/>
                  <a:gd name="connsiteY182" fmla="*/ 3943350 h 4305300"/>
                  <a:gd name="connsiteX183" fmla="*/ 5929313 w 8801100"/>
                  <a:gd name="connsiteY183" fmla="*/ 3917157 h 4305300"/>
                  <a:gd name="connsiteX184" fmla="*/ 6062662 w 8801100"/>
                  <a:gd name="connsiteY184" fmla="*/ 3914775 h 4305300"/>
                  <a:gd name="connsiteX185" fmla="*/ 6196012 w 8801100"/>
                  <a:gd name="connsiteY185" fmla="*/ 3817144 h 4305300"/>
                  <a:gd name="connsiteX186" fmla="*/ 6262687 w 8801100"/>
                  <a:gd name="connsiteY186" fmla="*/ 3810000 h 4305300"/>
                  <a:gd name="connsiteX187" fmla="*/ 6360319 w 8801100"/>
                  <a:gd name="connsiteY187" fmla="*/ 3736181 h 4305300"/>
                  <a:gd name="connsiteX188" fmla="*/ 6434138 w 8801100"/>
                  <a:gd name="connsiteY188" fmla="*/ 3667125 h 4305300"/>
                  <a:gd name="connsiteX189" fmla="*/ 6443663 w 8801100"/>
                  <a:gd name="connsiteY189" fmla="*/ 3605213 h 4305300"/>
                  <a:gd name="connsiteX190" fmla="*/ 6477000 w 8801100"/>
                  <a:gd name="connsiteY190" fmla="*/ 3536156 h 4305300"/>
                  <a:gd name="connsiteX191" fmla="*/ 6629400 w 8801100"/>
                  <a:gd name="connsiteY191" fmla="*/ 3429000 h 4305300"/>
                  <a:gd name="connsiteX192" fmla="*/ 6662738 w 8801100"/>
                  <a:gd name="connsiteY192" fmla="*/ 3433763 h 4305300"/>
                  <a:gd name="connsiteX193" fmla="*/ 6715125 w 8801100"/>
                  <a:gd name="connsiteY193" fmla="*/ 3355181 h 4305300"/>
                  <a:gd name="connsiteX194" fmla="*/ 6762750 w 8801100"/>
                  <a:gd name="connsiteY194" fmla="*/ 3317081 h 4305300"/>
                  <a:gd name="connsiteX195" fmla="*/ 6748463 w 8801100"/>
                  <a:gd name="connsiteY195" fmla="*/ 3248025 h 4305300"/>
                  <a:gd name="connsiteX196" fmla="*/ 6698456 w 8801100"/>
                  <a:gd name="connsiteY196" fmla="*/ 3217068 h 4305300"/>
                  <a:gd name="connsiteX197" fmla="*/ 6638925 w 8801100"/>
                  <a:gd name="connsiteY197" fmla="*/ 3162300 h 4305300"/>
                  <a:gd name="connsiteX198" fmla="*/ 6619875 w 8801100"/>
                  <a:gd name="connsiteY198" fmla="*/ 3105150 h 4305300"/>
                  <a:gd name="connsiteX199" fmla="*/ 6584156 w 8801100"/>
                  <a:gd name="connsiteY199" fmla="*/ 3071813 h 4305300"/>
                  <a:gd name="connsiteX200" fmla="*/ 6610350 w 8801100"/>
                  <a:gd name="connsiteY200" fmla="*/ 3019425 h 4305300"/>
                  <a:gd name="connsiteX201" fmla="*/ 6650831 w 8801100"/>
                  <a:gd name="connsiteY201" fmla="*/ 2840831 h 4305300"/>
                  <a:gd name="connsiteX202" fmla="*/ 6691313 w 8801100"/>
                  <a:gd name="connsiteY202" fmla="*/ 2774156 h 4305300"/>
                  <a:gd name="connsiteX203" fmla="*/ 6836569 w 8801100"/>
                  <a:gd name="connsiteY203" fmla="*/ 2757487 h 4305300"/>
                  <a:gd name="connsiteX204" fmla="*/ 6905625 w 8801100"/>
                  <a:gd name="connsiteY204" fmla="*/ 2814638 h 4305300"/>
                  <a:gd name="connsiteX205" fmla="*/ 6981825 w 8801100"/>
                  <a:gd name="connsiteY205" fmla="*/ 2838450 h 4305300"/>
                  <a:gd name="connsiteX206" fmla="*/ 7186612 w 8801100"/>
                  <a:gd name="connsiteY206" fmla="*/ 2843213 h 4305300"/>
                  <a:gd name="connsiteX207" fmla="*/ 7362825 w 8801100"/>
                  <a:gd name="connsiteY207" fmla="*/ 2705100 h 4305300"/>
                  <a:gd name="connsiteX208" fmla="*/ 7419975 w 8801100"/>
                  <a:gd name="connsiteY208" fmla="*/ 2614612 h 4305300"/>
                  <a:gd name="connsiteX209" fmla="*/ 7446169 w 8801100"/>
                  <a:gd name="connsiteY209" fmla="*/ 2531269 h 4305300"/>
                  <a:gd name="connsiteX210" fmla="*/ 7577137 w 8801100"/>
                  <a:gd name="connsiteY210" fmla="*/ 2531269 h 4305300"/>
                  <a:gd name="connsiteX211" fmla="*/ 7750969 w 8801100"/>
                  <a:gd name="connsiteY211" fmla="*/ 2474118 h 4305300"/>
                  <a:gd name="connsiteX212" fmla="*/ 7810500 w 8801100"/>
                  <a:gd name="connsiteY212" fmla="*/ 2362200 h 4305300"/>
                  <a:gd name="connsiteX213" fmla="*/ 7874794 w 8801100"/>
                  <a:gd name="connsiteY213" fmla="*/ 2326481 h 4305300"/>
                  <a:gd name="connsiteX214" fmla="*/ 7853363 w 8801100"/>
                  <a:gd name="connsiteY214" fmla="*/ 2281238 h 4305300"/>
                  <a:gd name="connsiteX215" fmla="*/ 7931944 w 8801100"/>
                  <a:gd name="connsiteY215" fmla="*/ 2112168 h 4305300"/>
                  <a:gd name="connsiteX216" fmla="*/ 7986713 w 8801100"/>
                  <a:gd name="connsiteY216" fmla="*/ 2052638 h 4305300"/>
                  <a:gd name="connsiteX217" fmla="*/ 8024813 w 8801100"/>
                  <a:gd name="connsiteY217" fmla="*/ 2047875 h 4305300"/>
                  <a:gd name="connsiteX218" fmla="*/ 8070056 w 8801100"/>
                  <a:gd name="connsiteY218" fmla="*/ 2052638 h 4305300"/>
                  <a:gd name="connsiteX219" fmla="*/ 8134350 w 8801100"/>
                  <a:gd name="connsiteY219" fmla="*/ 2019300 h 4305300"/>
                  <a:gd name="connsiteX220" fmla="*/ 8143875 w 8801100"/>
                  <a:gd name="connsiteY220" fmla="*/ 1955006 h 4305300"/>
                  <a:gd name="connsiteX221" fmla="*/ 8184355 w 8801100"/>
                  <a:gd name="connsiteY221" fmla="*/ 1919288 h 4305300"/>
                  <a:gd name="connsiteX222" fmla="*/ 8243888 w 8801100"/>
                  <a:gd name="connsiteY222" fmla="*/ 1959768 h 4305300"/>
                  <a:gd name="connsiteX223" fmla="*/ 8270082 w 8801100"/>
                  <a:gd name="connsiteY223" fmla="*/ 1909762 h 4305300"/>
                  <a:gd name="connsiteX224" fmla="*/ 8365331 w 8801100"/>
                  <a:gd name="connsiteY224" fmla="*/ 1840706 h 4305300"/>
                  <a:gd name="connsiteX225" fmla="*/ 8427244 w 8801100"/>
                  <a:gd name="connsiteY225" fmla="*/ 1847850 h 4305300"/>
                  <a:gd name="connsiteX226" fmla="*/ 8477250 w 8801100"/>
                  <a:gd name="connsiteY226" fmla="*/ 1828800 h 4305300"/>
                  <a:gd name="connsiteX227" fmla="*/ 8515350 w 8801100"/>
                  <a:gd name="connsiteY227" fmla="*/ 1800225 h 4305300"/>
                  <a:gd name="connsiteX228" fmla="*/ 8548688 w 8801100"/>
                  <a:gd name="connsiteY228" fmla="*/ 1797844 h 4305300"/>
                  <a:gd name="connsiteX229" fmla="*/ 8584406 w 8801100"/>
                  <a:gd name="connsiteY229" fmla="*/ 1828800 h 4305300"/>
                  <a:gd name="connsiteX230" fmla="*/ 8643938 w 8801100"/>
                  <a:gd name="connsiteY230" fmla="*/ 1828800 h 4305300"/>
                  <a:gd name="connsiteX231" fmla="*/ 8682037 w 8801100"/>
                  <a:gd name="connsiteY231" fmla="*/ 1809750 h 4305300"/>
                  <a:gd name="connsiteX232" fmla="*/ 8765381 w 8801100"/>
                  <a:gd name="connsiteY232" fmla="*/ 1812132 h 4305300"/>
                  <a:gd name="connsiteX233" fmla="*/ 8796338 w 8801100"/>
                  <a:gd name="connsiteY233" fmla="*/ 1766888 h 4305300"/>
                  <a:gd name="connsiteX234" fmla="*/ 8801100 w 8801100"/>
                  <a:gd name="connsiteY234" fmla="*/ 1704975 h 4305300"/>
                  <a:gd name="connsiteX235" fmla="*/ 8751093 w 8801100"/>
                  <a:gd name="connsiteY235" fmla="*/ 1664494 h 4305300"/>
                  <a:gd name="connsiteX236" fmla="*/ 8734425 w 8801100"/>
                  <a:gd name="connsiteY236" fmla="*/ 1609725 h 4305300"/>
                  <a:gd name="connsiteX237" fmla="*/ 8643938 w 8801100"/>
                  <a:gd name="connsiteY237" fmla="*/ 1547813 h 4305300"/>
                  <a:gd name="connsiteX238" fmla="*/ 8603456 w 8801100"/>
                  <a:gd name="connsiteY238" fmla="*/ 1526381 h 4305300"/>
                  <a:gd name="connsiteX239" fmla="*/ 8565356 w 8801100"/>
                  <a:gd name="connsiteY239" fmla="*/ 1481138 h 4305300"/>
                  <a:gd name="connsiteX240" fmla="*/ 8534400 w 8801100"/>
                  <a:gd name="connsiteY240" fmla="*/ 1478756 h 4305300"/>
                  <a:gd name="connsiteX241" fmla="*/ 8517731 w 8801100"/>
                  <a:gd name="connsiteY241" fmla="*/ 1426369 h 4305300"/>
                  <a:gd name="connsiteX242" fmla="*/ 8477250 w 8801100"/>
                  <a:gd name="connsiteY242" fmla="*/ 1409700 h 4305300"/>
                  <a:gd name="connsiteX243" fmla="*/ 8477250 w 8801100"/>
                  <a:gd name="connsiteY243" fmla="*/ 1409700 h 4305300"/>
                  <a:gd name="connsiteX244" fmla="*/ 8436769 w 8801100"/>
                  <a:gd name="connsiteY244" fmla="*/ 1414463 h 4305300"/>
                  <a:gd name="connsiteX245" fmla="*/ 8351043 w 8801100"/>
                  <a:gd name="connsiteY245" fmla="*/ 1340644 h 4305300"/>
                  <a:gd name="connsiteX246" fmla="*/ 8170069 w 8801100"/>
                  <a:gd name="connsiteY246" fmla="*/ 1340643 h 4305300"/>
                  <a:gd name="connsiteX247" fmla="*/ 8117681 w 8801100"/>
                  <a:gd name="connsiteY247" fmla="*/ 1378744 h 4305300"/>
                  <a:gd name="connsiteX248" fmla="*/ 8067675 w 8801100"/>
                  <a:gd name="connsiteY248" fmla="*/ 1457325 h 4305300"/>
                  <a:gd name="connsiteX249" fmla="*/ 8084344 w 8801100"/>
                  <a:gd name="connsiteY249" fmla="*/ 1478756 h 4305300"/>
                  <a:gd name="connsiteX250" fmla="*/ 8039100 w 8801100"/>
                  <a:gd name="connsiteY250" fmla="*/ 1528762 h 4305300"/>
                  <a:gd name="connsiteX251" fmla="*/ 7889081 w 8801100"/>
                  <a:gd name="connsiteY251" fmla="*/ 1452562 h 4305300"/>
                  <a:gd name="connsiteX252" fmla="*/ 7798594 w 8801100"/>
                  <a:gd name="connsiteY252" fmla="*/ 1488281 h 4305300"/>
                  <a:gd name="connsiteX253" fmla="*/ 7724775 w 8801100"/>
                  <a:gd name="connsiteY253" fmla="*/ 1485900 h 4305300"/>
                  <a:gd name="connsiteX254" fmla="*/ 7667625 w 8801100"/>
                  <a:gd name="connsiteY254" fmla="*/ 1581150 h 4305300"/>
                  <a:gd name="connsiteX255" fmla="*/ 7529513 w 8801100"/>
                  <a:gd name="connsiteY255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095500 w 8801100"/>
                  <a:gd name="connsiteY105" fmla="*/ 702469 h 4305300"/>
                  <a:gd name="connsiteX106" fmla="*/ 2381 w 8801100"/>
                  <a:gd name="connsiteY106" fmla="*/ 1490661 h 4305300"/>
                  <a:gd name="connsiteX107" fmla="*/ 0 w 8801100"/>
                  <a:gd name="connsiteY107" fmla="*/ 709613 h 4305300"/>
                  <a:gd name="connsiteX108" fmla="*/ 76200 w 8801100"/>
                  <a:gd name="connsiteY108" fmla="*/ 692944 h 4305300"/>
                  <a:gd name="connsiteX109" fmla="*/ 119063 w 8801100"/>
                  <a:gd name="connsiteY109" fmla="*/ 721519 h 4305300"/>
                  <a:gd name="connsiteX110" fmla="*/ 215900 w 8801100"/>
                  <a:gd name="connsiteY110" fmla="*/ 712788 h 4305300"/>
                  <a:gd name="connsiteX111" fmla="*/ 261938 w 8801100"/>
                  <a:gd name="connsiteY111" fmla="*/ 740568 h 4305300"/>
                  <a:gd name="connsiteX112" fmla="*/ 228600 w 8801100"/>
                  <a:gd name="connsiteY112" fmla="*/ 769144 h 4305300"/>
                  <a:gd name="connsiteX113" fmla="*/ 233363 w 8801100"/>
                  <a:gd name="connsiteY113" fmla="*/ 812006 h 4305300"/>
                  <a:gd name="connsiteX114" fmla="*/ 200025 w 8801100"/>
                  <a:gd name="connsiteY114" fmla="*/ 816769 h 4305300"/>
                  <a:gd name="connsiteX115" fmla="*/ 204788 w 8801100"/>
                  <a:gd name="connsiteY115" fmla="*/ 840581 h 4305300"/>
                  <a:gd name="connsiteX116" fmla="*/ 261937 w 8801100"/>
                  <a:gd name="connsiteY116" fmla="*/ 914400 h 4305300"/>
                  <a:gd name="connsiteX117" fmla="*/ 223838 w 8801100"/>
                  <a:gd name="connsiteY117" fmla="*/ 962025 h 4305300"/>
                  <a:gd name="connsiteX118" fmla="*/ 278606 w 8801100"/>
                  <a:gd name="connsiteY118" fmla="*/ 997744 h 4305300"/>
                  <a:gd name="connsiteX119" fmla="*/ 369094 w 8801100"/>
                  <a:gd name="connsiteY119" fmla="*/ 1085850 h 4305300"/>
                  <a:gd name="connsiteX120" fmla="*/ 371475 w 8801100"/>
                  <a:gd name="connsiteY120" fmla="*/ 1145381 h 4305300"/>
                  <a:gd name="connsiteX121" fmla="*/ 507206 w 8801100"/>
                  <a:gd name="connsiteY121" fmla="*/ 1278732 h 4305300"/>
                  <a:gd name="connsiteX122" fmla="*/ 561975 w 8801100"/>
                  <a:gd name="connsiteY122" fmla="*/ 1254919 h 4305300"/>
                  <a:gd name="connsiteX123" fmla="*/ 600075 w 8801100"/>
                  <a:gd name="connsiteY123" fmla="*/ 1281112 h 4305300"/>
                  <a:gd name="connsiteX124" fmla="*/ 614363 w 8801100"/>
                  <a:gd name="connsiteY124" fmla="*/ 1331118 h 4305300"/>
                  <a:gd name="connsiteX125" fmla="*/ 657225 w 8801100"/>
                  <a:gd name="connsiteY125" fmla="*/ 1366838 h 4305300"/>
                  <a:gd name="connsiteX126" fmla="*/ 697706 w 8801100"/>
                  <a:gd name="connsiteY126" fmla="*/ 1354931 h 4305300"/>
                  <a:gd name="connsiteX127" fmla="*/ 716756 w 8801100"/>
                  <a:gd name="connsiteY127" fmla="*/ 1412081 h 4305300"/>
                  <a:gd name="connsiteX128" fmla="*/ 764381 w 8801100"/>
                  <a:gd name="connsiteY128" fmla="*/ 1454944 h 4305300"/>
                  <a:gd name="connsiteX129" fmla="*/ 788194 w 8801100"/>
                  <a:gd name="connsiteY129" fmla="*/ 1557338 h 4305300"/>
                  <a:gd name="connsiteX130" fmla="*/ 785813 w 8801100"/>
                  <a:gd name="connsiteY130" fmla="*/ 1604963 h 4305300"/>
                  <a:gd name="connsiteX131" fmla="*/ 821531 w 8801100"/>
                  <a:gd name="connsiteY131" fmla="*/ 1704975 h 4305300"/>
                  <a:gd name="connsiteX132" fmla="*/ 866775 w 8801100"/>
                  <a:gd name="connsiteY132" fmla="*/ 1762125 h 4305300"/>
                  <a:gd name="connsiteX133" fmla="*/ 883443 w 8801100"/>
                  <a:gd name="connsiteY133" fmla="*/ 1919287 h 4305300"/>
                  <a:gd name="connsiteX134" fmla="*/ 850106 w 8801100"/>
                  <a:gd name="connsiteY134" fmla="*/ 1981200 h 4305300"/>
                  <a:gd name="connsiteX135" fmla="*/ 819150 w 8801100"/>
                  <a:gd name="connsiteY135" fmla="*/ 2057400 h 4305300"/>
                  <a:gd name="connsiteX136" fmla="*/ 833438 w 8801100"/>
                  <a:gd name="connsiteY136" fmla="*/ 2114550 h 4305300"/>
                  <a:gd name="connsiteX137" fmla="*/ 735806 w 8801100"/>
                  <a:gd name="connsiteY137" fmla="*/ 2221707 h 4305300"/>
                  <a:gd name="connsiteX138" fmla="*/ 692944 w 8801100"/>
                  <a:gd name="connsiteY138" fmla="*/ 2336006 h 4305300"/>
                  <a:gd name="connsiteX139" fmla="*/ 726281 w 8801100"/>
                  <a:gd name="connsiteY139" fmla="*/ 2376488 h 4305300"/>
                  <a:gd name="connsiteX140" fmla="*/ 709613 w 8801100"/>
                  <a:gd name="connsiteY140" fmla="*/ 2405063 h 4305300"/>
                  <a:gd name="connsiteX141" fmla="*/ 740569 w 8801100"/>
                  <a:gd name="connsiteY141" fmla="*/ 2462213 h 4305300"/>
                  <a:gd name="connsiteX142" fmla="*/ 769144 w 8801100"/>
                  <a:gd name="connsiteY142" fmla="*/ 2462213 h 4305300"/>
                  <a:gd name="connsiteX143" fmla="*/ 931069 w 8801100"/>
                  <a:gd name="connsiteY143" fmla="*/ 2564606 h 4305300"/>
                  <a:gd name="connsiteX144" fmla="*/ 1035844 w 8801100"/>
                  <a:gd name="connsiteY144" fmla="*/ 2562225 h 4305300"/>
                  <a:gd name="connsiteX145" fmla="*/ 1114425 w 8801100"/>
                  <a:gd name="connsiteY145" fmla="*/ 2616994 h 4305300"/>
                  <a:gd name="connsiteX146" fmla="*/ 1245393 w 8801100"/>
                  <a:gd name="connsiteY146" fmla="*/ 2619375 h 4305300"/>
                  <a:gd name="connsiteX147" fmla="*/ 1435893 w 8801100"/>
                  <a:gd name="connsiteY147" fmla="*/ 2688431 h 4305300"/>
                  <a:gd name="connsiteX148" fmla="*/ 1638300 w 8801100"/>
                  <a:gd name="connsiteY148" fmla="*/ 2838450 h 4305300"/>
                  <a:gd name="connsiteX149" fmla="*/ 1671637 w 8801100"/>
                  <a:gd name="connsiteY149" fmla="*/ 2905125 h 4305300"/>
                  <a:gd name="connsiteX150" fmla="*/ 1838325 w 8801100"/>
                  <a:gd name="connsiteY150" fmla="*/ 3031331 h 4305300"/>
                  <a:gd name="connsiteX151" fmla="*/ 1909763 w 8801100"/>
                  <a:gd name="connsiteY151" fmla="*/ 3026569 h 4305300"/>
                  <a:gd name="connsiteX152" fmla="*/ 1945482 w 8801100"/>
                  <a:gd name="connsiteY152" fmla="*/ 3050381 h 4305300"/>
                  <a:gd name="connsiteX153" fmla="*/ 1916906 w 8801100"/>
                  <a:gd name="connsiteY153" fmla="*/ 3090863 h 4305300"/>
                  <a:gd name="connsiteX154" fmla="*/ 1924050 w 8801100"/>
                  <a:gd name="connsiteY154" fmla="*/ 3143250 h 4305300"/>
                  <a:gd name="connsiteX155" fmla="*/ 1976438 w 8801100"/>
                  <a:gd name="connsiteY155" fmla="*/ 3169444 h 4305300"/>
                  <a:gd name="connsiteX156" fmla="*/ 2038350 w 8801100"/>
                  <a:gd name="connsiteY156" fmla="*/ 3393282 h 4305300"/>
                  <a:gd name="connsiteX157" fmla="*/ 2028825 w 8801100"/>
                  <a:gd name="connsiteY157" fmla="*/ 3457575 h 4305300"/>
                  <a:gd name="connsiteX158" fmla="*/ 2164556 w 8801100"/>
                  <a:gd name="connsiteY158" fmla="*/ 3624263 h 4305300"/>
                  <a:gd name="connsiteX159" fmla="*/ 2183606 w 8801100"/>
                  <a:gd name="connsiteY159" fmla="*/ 3674269 h 4305300"/>
                  <a:gd name="connsiteX160" fmla="*/ 2157413 w 8801100"/>
                  <a:gd name="connsiteY160" fmla="*/ 3693319 h 4305300"/>
                  <a:gd name="connsiteX161" fmla="*/ 2259806 w 8801100"/>
                  <a:gd name="connsiteY161" fmla="*/ 3702844 h 4305300"/>
                  <a:gd name="connsiteX162" fmla="*/ 2371725 w 8801100"/>
                  <a:gd name="connsiteY162" fmla="*/ 3690938 h 4305300"/>
                  <a:gd name="connsiteX163" fmla="*/ 2650331 w 8801100"/>
                  <a:gd name="connsiteY163" fmla="*/ 3774281 h 4305300"/>
                  <a:gd name="connsiteX164" fmla="*/ 3057525 w 8801100"/>
                  <a:gd name="connsiteY164" fmla="*/ 3855244 h 4305300"/>
                  <a:gd name="connsiteX165" fmla="*/ 3255169 w 8801100"/>
                  <a:gd name="connsiteY165" fmla="*/ 3824287 h 4305300"/>
                  <a:gd name="connsiteX166" fmla="*/ 3300413 w 8801100"/>
                  <a:gd name="connsiteY166" fmla="*/ 3836193 h 4305300"/>
                  <a:gd name="connsiteX167" fmla="*/ 3355181 w 8801100"/>
                  <a:gd name="connsiteY167" fmla="*/ 3812382 h 4305300"/>
                  <a:gd name="connsiteX168" fmla="*/ 3748087 w 8801100"/>
                  <a:gd name="connsiteY168" fmla="*/ 3902869 h 4305300"/>
                  <a:gd name="connsiteX169" fmla="*/ 3831432 w 8801100"/>
                  <a:gd name="connsiteY169" fmla="*/ 4000500 h 4305300"/>
                  <a:gd name="connsiteX170" fmla="*/ 3950494 w 8801100"/>
                  <a:gd name="connsiteY170" fmla="*/ 4071938 h 4305300"/>
                  <a:gd name="connsiteX171" fmla="*/ 4010025 w 8801100"/>
                  <a:gd name="connsiteY171" fmla="*/ 4055269 h 4305300"/>
                  <a:gd name="connsiteX172" fmla="*/ 4360068 w 8801100"/>
                  <a:gd name="connsiteY172" fmla="*/ 4229100 h 4305300"/>
                  <a:gd name="connsiteX173" fmla="*/ 4586288 w 8801100"/>
                  <a:gd name="connsiteY173" fmla="*/ 4200525 h 4305300"/>
                  <a:gd name="connsiteX174" fmla="*/ 4595813 w 8801100"/>
                  <a:gd name="connsiteY174" fmla="*/ 4279106 h 4305300"/>
                  <a:gd name="connsiteX175" fmla="*/ 4681538 w 8801100"/>
                  <a:gd name="connsiteY175" fmla="*/ 4274343 h 4305300"/>
                  <a:gd name="connsiteX176" fmla="*/ 4760119 w 8801100"/>
                  <a:gd name="connsiteY176" fmla="*/ 4305300 h 4305300"/>
                  <a:gd name="connsiteX177" fmla="*/ 4802981 w 8801100"/>
                  <a:gd name="connsiteY177" fmla="*/ 4245769 h 4305300"/>
                  <a:gd name="connsiteX178" fmla="*/ 5474494 w 8801100"/>
                  <a:gd name="connsiteY178" fmla="*/ 3926681 h 4305300"/>
                  <a:gd name="connsiteX179" fmla="*/ 5562600 w 8801100"/>
                  <a:gd name="connsiteY179" fmla="*/ 3955257 h 4305300"/>
                  <a:gd name="connsiteX180" fmla="*/ 5693569 w 8801100"/>
                  <a:gd name="connsiteY180" fmla="*/ 3926681 h 4305300"/>
                  <a:gd name="connsiteX181" fmla="*/ 5872162 w 8801100"/>
                  <a:gd name="connsiteY181" fmla="*/ 3943350 h 4305300"/>
                  <a:gd name="connsiteX182" fmla="*/ 5929313 w 8801100"/>
                  <a:gd name="connsiteY182" fmla="*/ 3917157 h 4305300"/>
                  <a:gd name="connsiteX183" fmla="*/ 6062662 w 8801100"/>
                  <a:gd name="connsiteY183" fmla="*/ 3914775 h 4305300"/>
                  <a:gd name="connsiteX184" fmla="*/ 6196012 w 8801100"/>
                  <a:gd name="connsiteY184" fmla="*/ 3817144 h 4305300"/>
                  <a:gd name="connsiteX185" fmla="*/ 6262687 w 8801100"/>
                  <a:gd name="connsiteY185" fmla="*/ 3810000 h 4305300"/>
                  <a:gd name="connsiteX186" fmla="*/ 6360319 w 8801100"/>
                  <a:gd name="connsiteY186" fmla="*/ 3736181 h 4305300"/>
                  <a:gd name="connsiteX187" fmla="*/ 6434138 w 8801100"/>
                  <a:gd name="connsiteY187" fmla="*/ 3667125 h 4305300"/>
                  <a:gd name="connsiteX188" fmla="*/ 6443663 w 8801100"/>
                  <a:gd name="connsiteY188" fmla="*/ 3605213 h 4305300"/>
                  <a:gd name="connsiteX189" fmla="*/ 6477000 w 8801100"/>
                  <a:gd name="connsiteY189" fmla="*/ 3536156 h 4305300"/>
                  <a:gd name="connsiteX190" fmla="*/ 6629400 w 8801100"/>
                  <a:gd name="connsiteY190" fmla="*/ 3429000 h 4305300"/>
                  <a:gd name="connsiteX191" fmla="*/ 6662738 w 8801100"/>
                  <a:gd name="connsiteY191" fmla="*/ 3433763 h 4305300"/>
                  <a:gd name="connsiteX192" fmla="*/ 6715125 w 8801100"/>
                  <a:gd name="connsiteY192" fmla="*/ 3355181 h 4305300"/>
                  <a:gd name="connsiteX193" fmla="*/ 6762750 w 8801100"/>
                  <a:gd name="connsiteY193" fmla="*/ 3317081 h 4305300"/>
                  <a:gd name="connsiteX194" fmla="*/ 6748463 w 8801100"/>
                  <a:gd name="connsiteY194" fmla="*/ 3248025 h 4305300"/>
                  <a:gd name="connsiteX195" fmla="*/ 6698456 w 8801100"/>
                  <a:gd name="connsiteY195" fmla="*/ 3217068 h 4305300"/>
                  <a:gd name="connsiteX196" fmla="*/ 6638925 w 8801100"/>
                  <a:gd name="connsiteY196" fmla="*/ 3162300 h 4305300"/>
                  <a:gd name="connsiteX197" fmla="*/ 6619875 w 8801100"/>
                  <a:gd name="connsiteY197" fmla="*/ 3105150 h 4305300"/>
                  <a:gd name="connsiteX198" fmla="*/ 6584156 w 8801100"/>
                  <a:gd name="connsiteY198" fmla="*/ 3071813 h 4305300"/>
                  <a:gd name="connsiteX199" fmla="*/ 6610350 w 8801100"/>
                  <a:gd name="connsiteY199" fmla="*/ 3019425 h 4305300"/>
                  <a:gd name="connsiteX200" fmla="*/ 6650831 w 8801100"/>
                  <a:gd name="connsiteY200" fmla="*/ 2840831 h 4305300"/>
                  <a:gd name="connsiteX201" fmla="*/ 6691313 w 8801100"/>
                  <a:gd name="connsiteY201" fmla="*/ 2774156 h 4305300"/>
                  <a:gd name="connsiteX202" fmla="*/ 6836569 w 8801100"/>
                  <a:gd name="connsiteY202" fmla="*/ 2757487 h 4305300"/>
                  <a:gd name="connsiteX203" fmla="*/ 6905625 w 8801100"/>
                  <a:gd name="connsiteY203" fmla="*/ 2814638 h 4305300"/>
                  <a:gd name="connsiteX204" fmla="*/ 6981825 w 8801100"/>
                  <a:gd name="connsiteY204" fmla="*/ 2838450 h 4305300"/>
                  <a:gd name="connsiteX205" fmla="*/ 7186612 w 8801100"/>
                  <a:gd name="connsiteY205" fmla="*/ 2843213 h 4305300"/>
                  <a:gd name="connsiteX206" fmla="*/ 7362825 w 8801100"/>
                  <a:gd name="connsiteY206" fmla="*/ 2705100 h 4305300"/>
                  <a:gd name="connsiteX207" fmla="*/ 7419975 w 8801100"/>
                  <a:gd name="connsiteY207" fmla="*/ 2614612 h 4305300"/>
                  <a:gd name="connsiteX208" fmla="*/ 7446169 w 8801100"/>
                  <a:gd name="connsiteY208" fmla="*/ 2531269 h 4305300"/>
                  <a:gd name="connsiteX209" fmla="*/ 7577137 w 8801100"/>
                  <a:gd name="connsiteY209" fmla="*/ 2531269 h 4305300"/>
                  <a:gd name="connsiteX210" fmla="*/ 7750969 w 8801100"/>
                  <a:gd name="connsiteY210" fmla="*/ 2474118 h 4305300"/>
                  <a:gd name="connsiteX211" fmla="*/ 7810500 w 8801100"/>
                  <a:gd name="connsiteY211" fmla="*/ 2362200 h 4305300"/>
                  <a:gd name="connsiteX212" fmla="*/ 7874794 w 8801100"/>
                  <a:gd name="connsiteY212" fmla="*/ 2326481 h 4305300"/>
                  <a:gd name="connsiteX213" fmla="*/ 7853363 w 8801100"/>
                  <a:gd name="connsiteY213" fmla="*/ 2281238 h 4305300"/>
                  <a:gd name="connsiteX214" fmla="*/ 7931944 w 8801100"/>
                  <a:gd name="connsiteY214" fmla="*/ 2112168 h 4305300"/>
                  <a:gd name="connsiteX215" fmla="*/ 7986713 w 8801100"/>
                  <a:gd name="connsiteY215" fmla="*/ 2052638 h 4305300"/>
                  <a:gd name="connsiteX216" fmla="*/ 8024813 w 8801100"/>
                  <a:gd name="connsiteY216" fmla="*/ 2047875 h 4305300"/>
                  <a:gd name="connsiteX217" fmla="*/ 8070056 w 8801100"/>
                  <a:gd name="connsiteY217" fmla="*/ 2052638 h 4305300"/>
                  <a:gd name="connsiteX218" fmla="*/ 8134350 w 8801100"/>
                  <a:gd name="connsiteY218" fmla="*/ 2019300 h 4305300"/>
                  <a:gd name="connsiteX219" fmla="*/ 8143875 w 8801100"/>
                  <a:gd name="connsiteY219" fmla="*/ 1955006 h 4305300"/>
                  <a:gd name="connsiteX220" fmla="*/ 8184355 w 8801100"/>
                  <a:gd name="connsiteY220" fmla="*/ 1919288 h 4305300"/>
                  <a:gd name="connsiteX221" fmla="*/ 8243888 w 8801100"/>
                  <a:gd name="connsiteY221" fmla="*/ 1959768 h 4305300"/>
                  <a:gd name="connsiteX222" fmla="*/ 8270082 w 8801100"/>
                  <a:gd name="connsiteY222" fmla="*/ 1909762 h 4305300"/>
                  <a:gd name="connsiteX223" fmla="*/ 8365331 w 8801100"/>
                  <a:gd name="connsiteY223" fmla="*/ 1840706 h 4305300"/>
                  <a:gd name="connsiteX224" fmla="*/ 8427244 w 8801100"/>
                  <a:gd name="connsiteY224" fmla="*/ 1847850 h 4305300"/>
                  <a:gd name="connsiteX225" fmla="*/ 8477250 w 8801100"/>
                  <a:gd name="connsiteY225" fmla="*/ 1828800 h 4305300"/>
                  <a:gd name="connsiteX226" fmla="*/ 8515350 w 8801100"/>
                  <a:gd name="connsiteY226" fmla="*/ 1800225 h 4305300"/>
                  <a:gd name="connsiteX227" fmla="*/ 8548688 w 8801100"/>
                  <a:gd name="connsiteY227" fmla="*/ 1797844 h 4305300"/>
                  <a:gd name="connsiteX228" fmla="*/ 8584406 w 8801100"/>
                  <a:gd name="connsiteY228" fmla="*/ 1828800 h 4305300"/>
                  <a:gd name="connsiteX229" fmla="*/ 8643938 w 8801100"/>
                  <a:gd name="connsiteY229" fmla="*/ 1828800 h 4305300"/>
                  <a:gd name="connsiteX230" fmla="*/ 8682037 w 8801100"/>
                  <a:gd name="connsiteY230" fmla="*/ 1809750 h 4305300"/>
                  <a:gd name="connsiteX231" fmla="*/ 8765381 w 8801100"/>
                  <a:gd name="connsiteY231" fmla="*/ 1812132 h 4305300"/>
                  <a:gd name="connsiteX232" fmla="*/ 8796338 w 8801100"/>
                  <a:gd name="connsiteY232" fmla="*/ 1766888 h 4305300"/>
                  <a:gd name="connsiteX233" fmla="*/ 8801100 w 8801100"/>
                  <a:gd name="connsiteY233" fmla="*/ 1704975 h 4305300"/>
                  <a:gd name="connsiteX234" fmla="*/ 8751093 w 8801100"/>
                  <a:gd name="connsiteY234" fmla="*/ 1664494 h 4305300"/>
                  <a:gd name="connsiteX235" fmla="*/ 8734425 w 8801100"/>
                  <a:gd name="connsiteY235" fmla="*/ 1609725 h 4305300"/>
                  <a:gd name="connsiteX236" fmla="*/ 8643938 w 8801100"/>
                  <a:gd name="connsiteY236" fmla="*/ 1547813 h 4305300"/>
                  <a:gd name="connsiteX237" fmla="*/ 8603456 w 8801100"/>
                  <a:gd name="connsiteY237" fmla="*/ 1526381 h 4305300"/>
                  <a:gd name="connsiteX238" fmla="*/ 8565356 w 8801100"/>
                  <a:gd name="connsiteY238" fmla="*/ 1481138 h 4305300"/>
                  <a:gd name="connsiteX239" fmla="*/ 8534400 w 8801100"/>
                  <a:gd name="connsiteY239" fmla="*/ 1478756 h 4305300"/>
                  <a:gd name="connsiteX240" fmla="*/ 8517731 w 8801100"/>
                  <a:gd name="connsiteY240" fmla="*/ 1426369 h 4305300"/>
                  <a:gd name="connsiteX241" fmla="*/ 8477250 w 8801100"/>
                  <a:gd name="connsiteY241" fmla="*/ 1409700 h 4305300"/>
                  <a:gd name="connsiteX242" fmla="*/ 8477250 w 8801100"/>
                  <a:gd name="connsiteY242" fmla="*/ 1409700 h 4305300"/>
                  <a:gd name="connsiteX243" fmla="*/ 8436769 w 8801100"/>
                  <a:gd name="connsiteY243" fmla="*/ 1414463 h 4305300"/>
                  <a:gd name="connsiteX244" fmla="*/ 8351043 w 8801100"/>
                  <a:gd name="connsiteY244" fmla="*/ 1340644 h 4305300"/>
                  <a:gd name="connsiteX245" fmla="*/ 8170069 w 8801100"/>
                  <a:gd name="connsiteY245" fmla="*/ 1340643 h 4305300"/>
                  <a:gd name="connsiteX246" fmla="*/ 8117681 w 8801100"/>
                  <a:gd name="connsiteY246" fmla="*/ 1378744 h 4305300"/>
                  <a:gd name="connsiteX247" fmla="*/ 8067675 w 8801100"/>
                  <a:gd name="connsiteY247" fmla="*/ 1457325 h 4305300"/>
                  <a:gd name="connsiteX248" fmla="*/ 8084344 w 8801100"/>
                  <a:gd name="connsiteY248" fmla="*/ 1478756 h 4305300"/>
                  <a:gd name="connsiteX249" fmla="*/ 8039100 w 8801100"/>
                  <a:gd name="connsiteY249" fmla="*/ 1528762 h 4305300"/>
                  <a:gd name="connsiteX250" fmla="*/ 7889081 w 8801100"/>
                  <a:gd name="connsiteY250" fmla="*/ 1452562 h 4305300"/>
                  <a:gd name="connsiteX251" fmla="*/ 7798594 w 8801100"/>
                  <a:gd name="connsiteY251" fmla="*/ 1488281 h 4305300"/>
                  <a:gd name="connsiteX252" fmla="*/ 7724775 w 8801100"/>
                  <a:gd name="connsiteY252" fmla="*/ 1485900 h 4305300"/>
                  <a:gd name="connsiteX253" fmla="*/ 7667625 w 8801100"/>
                  <a:gd name="connsiteY253" fmla="*/ 1581150 h 4305300"/>
                  <a:gd name="connsiteX254" fmla="*/ 7529513 w 8801100"/>
                  <a:gd name="connsiteY254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138363 w 8801100"/>
                  <a:gd name="connsiteY104" fmla="*/ 716756 h 4305300"/>
                  <a:gd name="connsiteX105" fmla="*/ 2381 w 8801100"/>
                  <a:gd name="connsiteY105" fmla="*/ 1490661 h 4305300"/>
                  <a:gd name="connsiteX106" fmla="*/ 0 w 8801100"/>
                  <a:gd name="connsiteY106" fmla="*/ 709613 h 4305300"/>
                  <a:gd name="connsiteX107" fmla="*/ 76200 w 8801100"/>
                  <a:gd name="connsiteY107" fmla="*/ 692944 h 4305300"/>
                  <a:gd name="connsiteX108" fmla="*/ 119063 w 8801100"/>
                  <a:gd name="connsiteY108" fmla="*/ 721519 h 4305300"/>
                  <a:gd name="connsiteX109" fmla="*/ 215900 w 8801100"/>
                  <a:gd name="connsiteY109" fmla="*/ 712788 h 4305300"/>
                  <a:gd name="connsiteX110" fmla="*/ 261938 w 8801100"/>
                  <a:gd name="connsiteY110" fmla="*/ 740568 h 4305300"/>
                  <a:gd name="connsiteX111" fmla="*/ 228600 w 8801100"/>
                  <a:gd name="connsiteY111" fmla="*/ 769144 h 4305300"/>
                  <a:gd name="connsiteX112" fmla="*/ 233363 w 8801100"/>
                  <a:gd name="connsiteY112" fmla="*/ 812006 h 4305300"/>
                  <a:gd name="connsiteX113" fmla="*/ 200025 w 8801100"/>
                  <a:gd name="connsiteY113" fmla="*/ 816769 h 4305300"/>
                  <a:gd name="connsiteX114" fmla="*/ 204788 w 8801100"/>
                  <a:gd name="connsiteY114" fmla="*/ 840581 h 4305300"/>
                  <a:gd name="connsiteX115" fmla="*/ 261937 w 8801100"/>
                  <a:gd name="connsiteY115" fmla="*/ 914400 h 4305300"/>
                  <a:gd name="connsiteX116" fmla="*/ 223838 w 8801100"/>
                  <a:gd name="connsiteY116" fmla="*/ 962025 h 4305300"/>
                  <a:gd name="connsiteX117" fmla="*/ 278606 w 8801100"/>
                  <a:gd name="connsiteY117" fmla="*/ 997744 h 4305300"/>
                  <a:gd name="connsiteX118" fmla="*/ 369094 w 8801100"/>
                  <a:gd name="connsiteY118" fmla="*/ 1085850 h 4305300"/>
                  <a:gd name="connsiteX119" fmla="*/ 371475 w 8801100"/>
                  <a:gd name="connsiteY119" fmla="*/ 1145381 h 4305300"/>
                  <a:gd name="connsiteX120" fmla="*/ 507206 w 8801100"/>
                  <a:gd name="connsiteY120" fmla="*/ 1278732 h 4305300"/>
                  <a:gd name="connsiteX121" fmla="*/ 561975 w 8801100"/>
                  <a:gd name="connsiteY121" fmla="*/ 1254919 h 4305300"/>
                  <a:gd name="connsiteX122" fmla="*/ 600075 w 8801100"/>
                  <a:gd name="connsiteY122" fmla="*/ 1281112 h 4305300"/>
                  <a:gd name="connsiteX123" fmla="*/ 614363 w 8801100"/>
                  <a:gd name="connsiteY123" fmla="*/ 1331118 h 4305300"/>
                  <a:gd name="connsiteX124" fmla="*/ 657225 w 8801100"/>
                  <a:gd name="connsiteY124" fmla="*/ 1366838 h 4305300"/>
                  <a:gd name="connsiteX125" fmla="*/ 697706 w 8801100"/>
                  <a:gd name="connsiteY125" fmla="*/ 1354931 h 4305300"/>
                  <a:gd name="connsiteX126" fmla="*/ 716756 w 8801100"/>
                  <a:gd name="connsiteY126" fmla="*/ 1412081 h 4305300"/>
                  <a:gd name="connsiteX127" fmla="*/ 764381 w 8801100"/>
                  <a:gd name="connsiteY127" fmla="*/ 1454944 h 4305300"/>
                  <a:gd name="connsiteX128" fmla="*/ 788194 w 8801100"/>
                  <a:gd name="connsiteY128" fmla="*/ 1557338 h 4305300"/>
                  <a:gd name="connsiteX129" fmla="*/ 785813 w 8801100"/>
                  <a:gd name="connsiteY129" fmla="*/ 1604963 h 4305300"/>
                  <a:gd name="connsiteX130" fmla="*/ 821531 w 8801100"/>
                  <a:gd name="connsiteY130" fmla="*/ 1704975 h 4305300"/>
                  <a:gd name="connsiteX131" fmla="*/ 866775 w 8801100"/>
                  <a:gd name="connsiteY131" fmla="*/ 1762125 h 4305300"/>
                  <a:gd name="connsiteX132" fmla="*/ 883443 w 8801100"/>
                  <a:gd name="connsiteY132" fmla="*/ 1919287 h 4305300"/>
                  <a:gd name="connsiteX133" fmla="*/ 850106 w 8801100"/>
                  <a:gd name="connsiteY133" fmla="*/ 1981200 h 4305300"/>
                  <a:gd name="connsiteX134" fmla="*/ 819150 w 8801100"/>
                  <a:gd name="connsiteY134" fmla="*/ 2057400 h 4305300"/>
                  <a:gd name="connsiteX135" fmla="*/ 833438 w 8801100"/>
                  <a:gd name="connsiteY135" fmla="*/ 2114550 h 4305300"/>
                  <a:gd name="connsiteX136" fmla="*/ 735806 w 8801100"/>
                  <a:gd name="connsiteY136" fmla="*/ 2221707 h 4305300"/>
                  <a:gd name="connsiteX137" fmla="*/ 692944 w 8801100"/>
                  <a:gd name="connsiteY137" fmla="*/ 2336006 h 4305300"/>
                  <a:gd name="connsiteX138" fmla="*/ 726281 w 8801100"/>
                  <a:gd name="connsiteY138" fmla="*/ 2376488 h 4305300"/>
                  <a:gd name="connsiteX139" fmla="*/ 709613 w 8801100"/>
                  <a:gd name="connsiteY139" fmla="*/ 2405063 h 4305300"/>
                  <a:gd name="connsiteX140" fmla="*/ 740569 w 8801100"/>
                  <a:gd name="connsiteY140" fmla="*/ 2462213 h 4305300"/>
                  <a:gd name="connsiteX141" fmla="*/ 769144 w 8801100"/>
                  <a:gd name="connsiteY141" fmla="*/ 2462213 h 4305300"/>
                  <a:gd name="connsiteX142" fmla="*/ 931069 w 8801100"/>
                  <a:gd name="connsiteY142" fmla="*/ 2564606 h 4305300"/>
                  <a:gd name="connsiteX143" fmla="*/ 1035844 w 8801100"/>
                  <a:gd name="connsiteY143" fmla="*/ 2562225 h 4305300"/>
                  <a:gd name="connsiteX144" fmla="*/ 1114425 w 8801100"/>
                  <a:gd name="connsiteY144" fmla="*/ 2616994 h 4305300"/>
                  <a:gd name="connsiteX145" fmla="*/ 1245393 w 8801100"/>
                  <a:gd name="connsiteY145" fmla="*/ 2619375 h 4305300"/>
                  <a:gd name="connsiteX146" fmla="*/ 1435893 w 8801100"/>
                  <a:gd name="connsiteY146" fmla="*/ 2688431 h 4305300"/>
                  <a:gd name="connsiteX147" fmla="*/ 1638300 w 8801100"/>
                  <a:gd name="connsiteY147" fmla="*/ 2838450 h 4305300"/>
                  <a:gd name="connsiteX148" fmla="*/ 1671637 w 8801100"/>
                  <a:gd name="connsiteY148" fmla="*/ 2905125 h 4305300"/>
                  <a:gd name="connsiteX149" fmla="*/ 1838325 w 8801100"/>
                  <a:gd name="connsiteY149" fmla="*/ 3031331 h 4305300"/>
                  <a:gd name="connsiteX150" fmla="*/ 1909763 w 8801100"/>
                  <a:gd name="connsiteY150" fmla="*/ 3026569 h 4305300"/>
                  <a:gd name="connsiteX151" fmla="*/ 1945482 w 8801100"/>
                  <a:gd name="connsiteY151" fmla="*/ 3050381 h 4305300"/>
                  <a:gd name="connsiteX152" fmla="*/ 1916906 w 8801100"/>
                  <a:gd name="connsiteY152" fmla="*/ 3090863 h 4305300"/>
                  <a:gd name="connsiteX153" fmla="*/ 1924050 w 8801100"/>
                  <a:gd name="connsiteY153" fmla="*/ 3143250 h 4305300"/>
                  <a:gd name="connsiteX154" fmla="*/ 1976438 w 8801100"/>
                  <a:gd name="connsiteY154" fmla="*/ 3169444 h 4305300"/>
                  <a:gd name="connsiteX155" fmla="*/ 2038350 w 8801100"/>
                  <a:gd name="connsiteY155" fmla="*/ 3393282 h 4305300"/>
                  <a:gd name="connsiteX156" fmla="*/ 2028825 w 8801100"/>
                  <a:gd name="connsiteY156" fmla="*/ 3457575 h 4305300"/>
                  <a:gd name="connsiteX157" fmla="*/ 2164556 w 8801100"/>
                  <a:gd name="connsiteY157" fmla="*/ 3624263 h 4305300"/>
                  <a:gd name="connsiteX158" fmla="*/ 2183606 w 8801100"/>
                  <a:gd name="connsiteY158" fmla="*/ 3674269 h 4305300"/>
                  <a:gd name="connsiteX159" fmla="*/ 2157413 w 8801100"/>
                  <a:gd name="connsiteY159" fmla="*/ 3693319 h 4305300"/>
                  <a:gd name="connsiteX160" fmla="*/ 2259806 w 8801100"/>
                  <a:gd name="connsiteY160" fmla="*/ 3702844 h 4305300"/>
                  <a:gd name="connsiteX161" fmla="*/ 2371725 w 8801100"/>
                  <a:gd name="connsiteY161" fmla="*/ 3690938 h 4305300"/>
                  <a:gd name="connsiteX162" fmla="*/ 2650331 w 8801100"/>
                  <a:gd name="connsiteY162" fmla="*/ 3774281 h 4305300"/>
                  <a:gd name="connsiteX163" fmla="*/ 3057525 w 8801100"/>
                  <a:gd name="connsiteY163" fmla="*/ 3855244 h 4305300"/>
                  <a:gd name="connsiteX164" fmla="*/ 3255169 w 8801100"/>
                  <a:gd name="connsiteY164" fmla="*/ 3824287 h 4305300"/>
                  <a:gd name="connsiteX165" fmla="*/ 3300413 w 8801100"/>
                  <a:gd name="connsiteY165" fmla="*/ 3836193 h 4305300"/>
                  <a:gd name="connsiteX166" fmla="*/ 3355181 w 8801100"/>
                  <a:gd name="connsiteY166" fmla="*/ 3812382 h 4305300"/>
                  <a:gd name="connsiteX167" fmla="*/ 3748087 w 8801100"/>
                  <a:gd name="connsiteY167" fmla="*/ 3902869 h 4305300"/>
                  <a:gd name="connsiteX168" fmla="*/ 3831432 w 8801100"/>
                  <a:gd name="connsiteY168" fmla="*/ 4000500 h 4305300"/>
                  <a:gd name="connsiteX169" fmla="*/ 3950494 w 8801100"/>
                  <a:gd name="connsiteY169" fmla="*/ 4071938 h 4305300"/>
                  <a:gd name="connsiteX170" fmla="*/ 4010025 w 8801100"/>
                  <a:gd name="connsiteY170" fmla="*/ 4055269 h 4305300"/>
                  <a:gd name="connsiteX171" fmla="*/ 4360068 w 8801100"/>
                  <a:gd name="connsiteY171" fmla="*/ 4229100 h 4305300"/>
                  <a:gd name="connsiteX172" fmla="*/ 4586288 w 8801100"/>
                  <a:gd name="connsiteY172" fmla="*/ 4200525 h 4305300"/>
                  <a:gd name="connsiteX173" fmla="*/ 4595813 w 8801100"/>
                  <a:gd name="connsiteY173" fmla="*/ 4279106 h 4305300"/>
                  <a:gd name="connsiteX174" fmla="*/ 4681538 w 8801100"/>
                  <a:gd name="connsiteY174" fmla="*/ 4274343 h 4305300"/>
                  <a:gd name="connsiteX175" fmla="*/ 4760119 w 8801100"/>
                  <a:gd name="connsiteY175" fmla="*/ 4305300 h 4305300"/>
                  <a:gd name="connsiteX176" fmla="*/ 4802981 w 8801100"/>
                  <a:gd name="connsiteY176" fmla="*/ 4245769 h 4305300"/>
                  <a:gd name="connsiteX177" fmla="*/ 5474494 w 8801100"/>
                  <a:gd name="connsiteY177" fmla="*/ 3926681 h 4305300"/>
                  <a:gd name="connsiteX178" fmla="*/ 5562600 w 8801100"/>
                  <a:gd name="connsiteY178" fmla="*/ 3955257 h 4305300"/>
                  <a:gd name="connsiteX179" fmla="*/ 5693569 w 8801100"/>
                  <a:gd name="connsiteY179" fmla="*/ 3926681 h 4305300"/>
                  <a:gd name="connsiteX180" fmla="*/ 5872162 w 8801100"/>
                  <a:gd name="connsiteY180" fmla="*/ 3943350 h 4305300"/>
                  <a:gd name="connsiteX181" fmla="*/ 5929313 w 8801100"/>
                  <a:gd name="connsiteY181" fmla="*/ 3917157 h 4305300"/>
                  <a:gd name="connsiteX182" fmla="*/ 6062662 w 8801100"/>
                  <a:gd name="connsiteY182" fmla="*/ 3914775 h 4305300"/>
                  <a:gd name="connsiteX183" fmla="*/ 6196012 w 8801100"/>
                  <a:gd name="connsiteY183" fmla="*/ 3817144 h 4305300"/>
                  <a:gd name="connsiteX184" fmla="*/ 6262687 w 8801100"/>
                  <a:gd name="connsiteY184" fmla="*/ 3810000 h 4305300"/>
                  <a:gd name="connsiteX185" fmla="*/ 6360319 w 8801100"/>
                  <a:gd name="connsiteY185" fmla="*/ 3736181 h 4305300"/>
                  <a:gd name="connsiteX186" fmla="*/ 6434138 w 8801100"/>
                  <a:gd name="connsiteY186" fmla="*/ 3667125 h 4305300"/>
                  <a:gd name="connsiteX187" fmla="*/ 6443663 w 8801100"/>
                  <a:gd name="connsiteY187" fmla="*/ 3605213 h 4305300"/>
                  <a:gd name="connsiteX188" fmla="*/ 6477000 w 8801100"/>
                  <a:gd name="connsiteY188" fmla="*/ 3536156 h 4305300"/>
                  <a:gd name="connsiteX189" fmla="*/ 6629400 w 8801100"/>
                  <a:gd name="connsiteY189" fmla="*/ 3429000 h 4305300"/>
                  <a:gd name="connsiteX190" fmla="*/ 6662738 w 8801100"/>
                  <a:gd name="connsiteY190" fmla="*/ 3433763 h 4305300"/>
                  <a:gd name="connsiteX191" fmla="*/ 6715125 w 8801100"/>
                  <a:gd name="connsiteY191" fmla="*/ 3355181 h 4305300"/>
                  <a:gd name="connsiteX192" fmla="*/ 6762750 w 8801100"/>
                  <a:gd name="connsiteY192" fmla="*/ 3317081 h 4305300"/>
                  <a:gd name="connsiteX193" fmla="*/ 6748463 w 8801100"/>
                  <a:gd name="connsiteY193" fmla="*/ 3248025 h 4305300"/>
                  <a:gd name="connsiteX194" fmla="*/ 6698456 w 8801100"/>
                  <a:gd name="connsiteY194" fmla="*/ 3217068 h 4305300"/>
                  <a:gd name="connsiteX195" fmla="*/ 6638925 w 8801100"/>
                  <a:gd name="connsiteY195" fmla="*/ 3162300 h 4305300"/>
                  <a:gd name="connsiteX196" fmla="*/ 6619875 w 8801100"/>
                  <a:gd name="connsiteY196" fmla="*/ 3105150 h 4305300"/>
                  <a:gd name="connsiteX197" fmla="*/ 6584156 w 8801100"/>
                  <a:gd name="connsiteY197" fmla="*/ 3071813 h 4305300"/>
                  <a:gd name="connsiteX198" fmla="*/ 6610350 w 8801100"/>
                  <a:gd name="connsiteY198" fmla="*/ 3019425 h 4305300"/>
                  <a:gd name="connsiteX199" fmla="*/ 6650831 w 8801100"/>
                  <a:gd name="connsiteY199" fmla="*/ 2840831 h 4305300"/>
                  <a:gd name="connsiteX200" fmla="*/ 6691313 w 8801100"/>
                  <a:gd name="connsiteY200" fmla="*/ 2774156 h 4305300"/>
                  <a:gd name="connsiteX201" fmla="*/ 6836569 w 8801100"/>
                  <a:gd name="connsiteY201" fmla="*/ 2757487 h 4305300"/>
                  <a:gd name="connsiteX202" fmla="*/ 6905625 w 8801100"/>
                  <a:gd name="connsiteY202" fmla="*/ 2814638 h 4305300"/>
                  <a:gd name="connsiteX203" fmla="*/ 6981825 w 8801100"/>
                  <a:gd name="connsiteY203" fmla="*/ 2838450 h 4305300"/>
                  <a:gd name="connsiteX204" fmla="*/ 7186612 w 8801100"/>
                  <a:gd name="connsiteY204" fmla="*/ 2843213 h 4305300"/>
                  <a:gd name="connsiteX205" fmla="*/ 7362825 w 8801100"/>
                  <a:gd name="connsiteY205" fmla="*/ 2705100 h 4305300"/>
                  <a:gd name="connsiteX206" fmla="*/ 7419975 w 8801100"/>
                  <a:gd name="connsiteY206" fmla="*/ 2614612 h 4305300"/>
                  <a:gd name="connsiteX207" fmla="*/ 7446169 w 8801100"/>
                  <a:gd name="connsiteY207" fmla="*/ 2531269 h 4305300"/>
                  <a:gd name="connsiteX208" fmla="*/ 7577137 w 8801100"/>
                  <a:gd name="connsiteY208" fmla="*/ 2531269 h 4305300"/>
                  <a:gd name="connsiteX209" fmla="*/ 7750969 w 8801100"/>
                  <a:gd name="connsiteY209" fmla="*/ 2474118 h 4305300"/>
                  <a:gd name="connsiteX210" fmla="*/ 7810500 w 8801100"/>
                  <a:gd name="connsiteY210" fmla="*/ 2362200 h 4305300"/>
                  <a:gd name="connsiteX211" fmla="*/ 7874794 w 8801100"/>
                  <a:gd name="connsiteY211" fmla="*/ 2326481 h 4305300"/>
                  <a:gd name="connsiteX212" fmla="*/ 7853363 w 8801100"/>
                  <a:gd name="connsiteY212" fmla="*/ 2281238 h 4305300"/>
                  <a:gd name="connsiteX213" fmla="*/ 7931944 w 8801100"/>
                  <a:gd name="connsiteY213" fmla="*/ 2112168 h 4305300"/>
                  <a:gd name="connsiteX214" fmla="*/ 7986713 w 8801100"/>
                  <a:gd name="connsiteY214" fmla="*/ 2052638 h 4305300"/>
                  <a:gd name="connsiteX215" fmla="*/ 8024813 w 8801100"/>
                  <a:gd name="connsiteY215" fmla="*/ 2047875 h 4305300"/>
                  <a:gd name="connsiteX216" fmla="*/ 8070056 w 8801100"/>
                  <a:gd name="connsiteY216" fmla="*/ 2052638 h 4305300"/>
                  <a:gd name="connsiteX217" fmla="*/ 8134350 w 8801100"/>
                  <a:gd name="connsiteY217" fmla="*/ 2019300 h 4305300"/>
                  <a:gd name="connsiteX218" fmla="*/ 8143875 w 8801100"/>
                  <a:gd name="connsiteY218" fmla="*/ 1955006 h 4305300"/>
                  <a:gd name="connsiteX219" fmla="*/ 8184355 w 8801100"/>
                  <a:gd name="connsiteY219" fmla="*/ 1919288 h 4305300"/>
                  <a:gd name="connsiteX220" fmla="*/ 8243888 w 8801100"/>
                  <a:gd name="connsiteY220" fmla="*/ 1959768 h 4305300"/>
                  <a:gd name="connsiteX221" fmla="*/ 8270082 w 8801100"/>
                  <a:gd name="connsiteY221" fmla="*/ 1909762 h 4305300"/>
                  <a:gd name="connsiteX222" fmla="*/ 8365331 w 8801100"/>
                  <a:gd name="connsiteY222" fmla="*/ 1840706 h 4305300"/>
                  <a:gd name="connsiteX223" fmla="*/ 8427244 w 8801100"/>
                  <a:gd name="connsiteY223" fmla="*/ 1847850 h 4305300"/>
                  <a:gd name="connsiteX224" fmla="*/ 8477250 w 8801100"/>
                  <a:gd name="connsiteY224" fmla="*/ 1828800 h 4305300"/>
                  <a:gd name="connsiteX225" fmla="*/ 8515350 w 8801100"/>
                  <a:gd name="connsiteY225" fmla="*/ 1800225 h 4305300"/>
                  <a:gd name="connsiteX226" fmla="*/ 8548688 w 8801100"/>
                  <a:gd name="connsiteY226" fmla="*/ 1797844 h 4305300"/>
                  <a:gd name="connsiteX227" fmla="*/ 8584406 w 8801100"/>
                  <a:gd name="connsiteY227" fmla="*/ 1828800 h 4305300"/>
                  <a:gd name="connsiteX228" fmla="*/ 8643938 w 8801100"/>
                  <a:gd name="connsiteY228" fmla="*/ 1828800 h 4305300"/>
                  <a:gd name="connsiteX229" fmla="*/ 8682037 w 8801100"/>
                  <a:gd name="connsiteY229" fmla="*/ 1809750 h 4305300"/>
                  <a:gd name="connsiteX230" fmla="*/ 8765381 w 8801100"/>
                  <a:gd name="connsiteY230" fmla="*/ 1812132 h 4305300"/>
                  <a:gd name="connsiteX231" fmla="*/ 8796338 w 8801100"/>
                  <a:gd name="connsiteY231" fmla="*/ 1766888 h 4305300"/>
                  <a:gd name="connsiteX232" fmla="*/ 8801100 w 8801100"/>
                  <a:gd name="connsiteY232" fmla="*/ 1704975 h 4305300"/>
                  <a:gd name="connsiteX233" fmla="*/ 8751093 w 8801100"/>
                  <a:gd name="connsiteY233" fmla="*/ 1664494 h 4305300"/>
                  <a:gd name="connsiteX234" fmla="*/ 8734425 w 8801100"/>
                  <a:gd name="connsiteY234" fmla="*/ 1609725 h 4305300"/>
                  <a:gd name="connsiteX235" fmla="*/ 8643938 w 8801100"/>
                  <a:gd name="connsiteY235" fmla="*/ 1547813 h 4305300"/>
                  <a:gd name="connsiteX236" fmla="*/ 8603456 w 8801100"/>
                  <a:gd name="connsiteY236" fmla="*/ 1526381 h 4305300"/>
                  <a:gd name="connsiteX237" fmla="*/ 8565356 w 8801100"/>
                  <a:gd name="connsiteY237" fmla="*/ 1481138 h 4305300"/>
                  <a:gd name="connsiteX238" fmla="*/ 8534400 w 8801100"/>
                  <a:gd name="connsiteY238" fmla="*/ 1478756 h 4305300"/>
                  <a:gd name="connsiteX239" fmla="*/ 8517731 w 8801100"/>
                  <a:gd name="connsiteY239" fmla="*/ 1426369 h 4305300"/>
                  <a:gd name="connsiteX240" fmla="*/ 8477250 w 8801100"/>
                  <a:gd name="connsiteY240" fmla="*/ 1409700 h 4305300"/>
                  <a:gd name="connsiteX241" fmla="*/ 8477250 w 8801100"/>
                  <a:gd name="connsiteY241" fmla="*/ 1409700 h 4305300"/>
                  <a:gd name="connsiteX242" fmla="*/ 8436769 w 8801100"/>
                  <a:gd name="connsiteY242" fmla="*/ 1414463 h 4305300"/>
                  <a:gd name="connsiteX243" fmla="*/ 8351043 w 8801100"/>
                  <a:gd name="connsiteY243" fmla="*/ 1340644 h 4305300"/>
                  <a:gd name="connsiteX244" fmla="*/ 8170069 w 8801100"/>
                  <a:gd name="connsiteY244" fmla="*/ 1340643 h 4305300"/>
                  <a:gd name="connsiteX245" fmla="*/ 8117681 w 8801100"/>
                  <a:gd name="connsiteY245" fmla="*/ 1378744 h 4305300"/>
                  <a:gd name="connsiteX246" fmla="*/ 8067675 w 8801100"/>
                  <a:gd name="connsiteY246" fmla="*/ 1457325 h 4305300"/>
                  <a:gd name="connsiteX247" fmla="*/ 8084344 w 8801100"/>
                  <a:gd name="connsiteY247" fmla="*/ 1478756 h 4305300"/>
                  <a:gd name="connsiteX248" fmla="*/ 8039100 w 8801100"/>
                  <a:gd name="connsiteY248" fmla="*/ 1528762 h 4305300"/>
                  <a:gd name="connsiteX249" fmla="*/ 7889081 w 8801100"/>
                  <a:gd name="connsiteY249" fmla="*/ 1452562 h 4305300"/>
                  <a:gd name="connsiteX250" fmla="*/ 7798594 w 8801100"/>
                  <a:gd name="connsiteY250" fmla="*/ 1488281 h 4305300"/>
                  <a:gd name="connsiteX251" fmla="*/ 7724775 w 8801100"/>
                  <a:gd name="connsiteY251" fmla="*/ 1485900 h 4305300"/>
                  <a:gd name="connsiteX252" fmla="*/ 7667625 w 8801100"/>
                  <a:gd name="connsiteY252" fmla="*/ 1581150 h 4305300"/>
                  <a:gd name="connsiteX253" fmla="*/ 7529513 w 8801100"/>
                  <a:gd name="connsiteY253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188369 w 8801100"/>
                  <a:gd name="connsiteY103" fmla="*/ 769144 h 4305300"/>
                  <a:gd name="connsiteX104" fmla="*/ 2381 w 8801100"/>
                  <a:gd name="connsiteY104" fmla="*/ 1490661 h 4305300"/>
                  <a:gd name="connsiteX105" fmla="*/ 0 w 8801100"/>
                  <a:gd name="connsiteY105" fmla="*/ 709613 h 4305300"/>
                  <a:gd name="connsiteX106" fmla="*/ 76200 w 8801100"/>
                  <a:gd name="connsiteY106" fmla="*/ 692944 h 4305300"/>
                  <a:gd name="connsiteX107" fmla="*/ 119063 w 8801100"/>
                  <a:gd name="connsiteY107" fmla="*/ 721519 h 4305300"/>
                  <a:gd name="connsiteX108" fmla="*/ 215900 w 8801100"/>
                  <a:gd name="connsiteY108" fmla="*/ 712788 h 4305300"/>
                  <a:gd name="connsiteX109" fmla="*/ 261938 w 8801100"/>
                  <a:gd name="connsiteY109" fmla="*/ 740568 h 4305300"/>
                  <a:gd name="connsiteX110" fmla="*/ 228600 w 8801100"/>
                  <a:gd name="connsiteY110" fmla="*/ 769144 h 4305300"/>
                  <a:gd name="connsiteX111" fmla="*/ 233363 w 8801100"/>
                  <a:gd name="connsiteY111" fmla="*/ 812006 h 4305300"/>
                  <a:gd name="connsiteX112" fmla="*/ 200025 w 8801100"/>
                  <a:gd name="connsiteY112" fmla="*/ 816769 h 4305300"/>
                  <a:gd name="connsiteX113" fmla="*/ 204788 w 8801100"/>
                  <a:gd name="connsiteY113" fmla="*/ 840581 h 4305300"/>
                  <a:gd name="connsiteX114" fmla="*/ 261937 w 8801100"/>
                  <a:gd name="connsiteY114" fmla="*/ 914400 h 4305300"/>
                  <a:gd name="connsiteX115" fmla="*/ 223838 w 8801100"/>
                  <a:gd name="connsiteY115" fmla="*/ 962025 h 4305300"/>
                  <a:gd name="connsiteX116" fmla="*/ 278606 w 8801100"/>
                  <a:gd name="connsiteY116" fmla="*/ 997744 h 4305300"/>
                  <a:gd name="connsiteX117" fmla="*/ 369094 w 8801100"/>
                  <a:gd name="connsiteY117" fmla="*/ 1085850 h 4305300"/>
                  <a:gd name="connsiteX118" fmla="*/ 371475 w 8801100"/>
                  <a:gd name="connsiteY118" fmla="*/ 1145381 h 4305300"/>
                  <a:gd name="connsiteX119" fmla="*/ 507206 w 8801100"/>
                  <a:gd name="connsiteY119" fmla="*/ 1278732 h 4305300"/>
                  <a:gd name="connsiteX120" fmla="*/ 561975 w 8801100"/>
                  <a:gd name="connsiteY120" fmla="*/ 1254919 h 4305300"/>
                  <a:gd name="connsiteX121" fmla="*/ 600075 w 8801100"/>
                  <a:gd name="connsiteY121" fmla="*/ 1281112 h 4305300"/>
                  <a:gd name="connsiteX122" fmla="*/ 614363 w 8801100"/>
                  <a:gd name="connsiteY122" fmla="*/ 1331118 h 4305300"/>
                  <a:gd name="connsiteX123" fmla="*/ 657225 w 8801100"/>
                  <a:gd name="connsiteY123" fmla="*/ 1366838 h 4305300"/>
                  <a:gd name="connsiteX124" fmla="*/ 697706 w 8801100"/>
                  <a:gd name="connsiteY124" fmla="*/ 1354931 h 4305300"/>
                  <a:gd name="connsiteX125" fmla="*/ 716756 w 8801100"/>
                  <a:gd name="connsiteY125" fmla="*/ 1412081 h 4305300"/>
                  <a:gd name="connsiteX126" fmla="*/ 764381 w 8801100"/>
                  <a:gd name="connsiteY126" fmla="*/ 1454944 h 4305300"/>
                  <a:gd name="connsiteX127" fmla="*/ 788194 w 8801100"/>
                  <a:gd name="connsiteY127" fmla="*/ 1557338 h 4305300"/>
                  <a:gd name="connsiteX128" fmla="*/ 785813 w 8801100"/>
                  <a:gd name="connsiteY128" fmla="*/ 1604963 h 4305300"/>
                  <a:gd name="connsiteX129" fmla="*/ 821531 w 8801100"/>
                  <a:gd name="connsiteY129" fmla="*/ 1704975 h 4305300"/>
                  <a:gd name="connsiteX130" fmla="*/ 866775 w 8801100"/>
                  <a:gd name="connsiteY130" fmla="*/ 1762125 h 4305300"/>
                  <a:gd name="connsiteX131" fmla="*/ 883443 w 8801100"/>
                  <a:gd name="connsiteY131" fmla="*/ 1919287 h 4305300"/>
                  <a:gd name="connsiteX132" fmla="*/ 850106 w 8801100"/>
                  <a:gd name="connsiteY132" fmla="*/ 1981200 h 4305300"/>
                  <a:gd name="connsiteX133" fmla="*/ 819150 w 8801100"/>
                  <a:gd name="connsiteY133" fmla="*/ 2057400 h 4305300"/>
                  <a:gd name="connsiteX134" fmla="*/ 833438 w 8801100"/>
                  <a:gd name="connsiteY134" fmla="*/ 2114550 h 4305300"/>
                  <a:gd name="connsiteX135" fmla="*/ 735806 w 8801100"/>
                  <a:gd name="connsiteY135" fmla="*/ 2221707 h 4305300"/>
                  <a:gd name="connsiteX136" fmla="*/ 692944 w 8801100"/>
                  <a:gd name="connsiteY136" fmla="*/ 2336006 h 4305300"/>
                  <a:gd name="connsiteX137" fmla="*/ 726281 w 8801100"/>
                  <a:gd name="connsiteY137" fmla="*/ 2376488 h 4305300"/>
                  <a:gd name="connsiteX138" fmla="*/ 709613 w 8801100"/>
                  <a:gd name="connsiteY138" fmla="*/ 2405063 h 4305300"/>
                  <a:gd name="connsiteX139" fmla="*/ 740569 w 8801100"/>
                  <a:gd name="connsiteY139" fmla="*/ 2462213 h 4305300"/>
                  <a:gd name="connsiteX140" fmla="*/ 769144 w 8801100"/>
                  <a:gd name="connsiteY140" fmla="*/ 2462213 h 4305300"/>
                  <a:gd name="connsiteX141" fmla="*/ 931069 w 8801100"/>
                  <a:gd name="connsiteY141" fmla="*/ 2564606 h 4305300"/>
                  <a:gd name="connsiteX142" fmla="*/ 1035844 w 8801100"/>
                  <a:gd name="connsiteY142" fmla="*/ 2562225 h 4305300"/>
                  <a:gd name="connsiteX143" fmla="*/ 1114425 w 8801100"/>
                  <a:gd name="connsiteY143" fmla="*/ 2616994 h 4305300"/>
                  <a:gd name="connsiteX144" fmla="*/ 1245393 w 8801100"/>
                  <a:gd name="connsiteY144" fmla="*/ 2619375 h 4305300"/>
                  <a:gd name="connsiteX145" fmla="*/ 1435893 w 8801100"/>
                  <a:gd name="connsiteY145" fmla="*/ 2688431 h 4305300"/>
                  <a:gd name="connsiteX146" fmla="*/ 1638300 w 8801100"/>
                  <a:gd name="connsiteY146" fmla="*/ 2838450 h 4305300"/>
                  <a:gd name="connsiteX147" fmla="*/ 1671637 w 8801100"/>
                  <a:gd name="connsiteY147" fmla="*/ 2905125 h 4305300"/>
                  <a:gd name="connsiteX148" fmla="*/ 1838325 w 8801100"/>
                  <a:gd name="connsiteY148" fmla="*/ 3031331 h 4305300"/>
                  <a:gd name="connsiteX149" fmla="*/ 1909763 w 8801100"/>
                  <a:gd name="connsiteY149" fmla="*/ 3026569 h 4305300"/>
                  <a:gd name="connsiteX150" fmla="*/ 1945482 w 8801100"/>
                  <a:gd name="connsiteY150" fmla="*/ 3050381 h 4305300"/>
                  <a:gd name="connsiteX151" fmla="*/ 1916906 w 8801100"/>
                  <a:gd name="connsiteY151" fmla="*/ 3090863 h 4305300"/>
                  <a:gd name="connsiteX152" fmla="*/ 1924050 w 8801100"/>
                  <a:gd name="connsiteY152" fmla="*/ 3143250 h 4305300"/>
                  <a:gd name="connsiteX153" fmla="*/ 1976438 w 8801100"/>
                  <a:gd name="connsiteY153" fmla="*/ 3169444 h 4305300"/>
                  <a:gd name="connsiteX154" fmla="*/ 2038350 w 8801100"/>
                  <a:gd name="connsiteY154" fmla="*/ 3393282 h 4305300"/>
                  <a:gd name="connsiteX155" fmla="*/ 2028825 w 8801100"/>
                  <a:gd name="connsiteY155" fmla="*/ 3457575 h 4305300"/>
                  <a:gd name="connsiteX156" fmla="*/ 2164556 w 8801100"/>
                  <a:gd name="connsiteY156" fmla="*/ 3624263 h 4305300"/>
                  <a:gd name="connsiteX157" fmla="*/ 2183606 w 8801100"/>
                  <a:gd name="connsiteY157" fmla="*/ 3674269 h 4305300"/>
                  <a:gd name="connsiteX158" fmla="*/ 2157413 w 8801100"/>
                  <a:gd name="connsiteY158" fmla="*/ 3693319 h 4305300"/>
                  <a:gd name="connsiteX159" fmla="*/ 2259806 w 8801100"/>
                  <a:gd name="connsiteY159" fmla="*/ 3702844 h 4305300"/>
                  <a:gd name="connsiteX160" fmla="*/ 2371725 w 8801100"/>
                  <a:gd name="connsiteY160" fmla="*/ 3690938 h 4305300"/>
                  <a:gd name="connsiteX161" fmla="*/ 2650331 w 8801100"/>
                  <a:gd name="connsiteY161" fmla="*/ 3774281 h 4305300"/>
                  <a:gd name="connsiteX162" fmla="*/ 3057525 w 8801100"/>
                  <a:gd name="connsiteY162" fmla="*/ 3855244 h 4305300"/>
                  <a:gd name="connsiteX163" fmla="*/ 3255169 w 8801100"/>
                  <a:gd name="connsiteY163" fmla="*/ 3824287 h 4305300"/>
                  <a:gd name="connsiteX164" fmla="*/ 3300413 w 8801100"/>
                  <a:gd name="connsiteY164" fmla="*/ 3836193 h 4305300"/>
                  <a:gd name="connsiteX165" fmla="*/ 3355181 w 8801100"/>
                  <a:gd name="connsiteY165" fmla="*/ 3812382 h 4305300"/>
                  <a:gd name="connsiteX166" fmla="*/ 3748087 w 8801100"/>
                  <a:gd name="connsiteY166" fmla="*/ 3902869 h 4305300"/>
                  <a:gd name="connsiteX167" fmla="*/ 3831432 w 8801100"/>
                  <a:gd name="connsiteY167" fmla="*/ 4000500 h 4305300"/>
                  <a:gd name="connsiteX168" fmla="*/ 3950494 w 8801100"/>
                  <a:gd name="connsiteY168" fmla="*/ 4071938 h 4305300"/>
                  <a:gd name="connsiteX169" fmla="*/ 4010025 w 8801100"/>
                  <a:gd name="connsiteY169" fmla="*/ 4055269 h 4305300"/>
                  <a:gd name="connsiteX170" fmla="*/ 4360068 w 8801100"/>
                  <a:gd name="connsiteY170" fmla="*/ 4229100 h 4305300"/>
                  <a:gd name="connsiteX171" fmla="*/ 4586288 w 8801100"/>
                  <a:gd name="connsiteY171" fmla="*/ 4200525 h 4305300"/>
                  <a:gd name="connsiteX172" fmla="*/ 4595813 w 8801100"/>
                  <a:gd name="connsiteY172" fmla="*/ 4279106 h 4305300"/>
                  <a:gd name="connsiteX173" fmla="*/ 4681538 w 8801100"/>
                  <a:gd name="connsiteY173" fmla="*/ 4274343 h 4305300"/>
                  <a:gd name="connsiteX174" fmla="*/ 4760119 w 8801100"/>
                  <a:gd name="connsiteY174" fmla="*/ 4305300 h 4305300"/>
                  <a:gd name="connsiteX175" fmla="*/ 4802981 w 8801100"/>
                  <a:gd name="connsiteY175" fmla="*/ 4245769 h 4305300"/>
                  <a:gd name="connsiteX176" fmla="*/ 5474494 w 8801100"/>
                  <a:gd name="connsiteY176" fmla="*/ 3926681 h 4305300"/>
                  <a:gd name="connsiteX177" fmla="*/ 5562600 w 8801100"/>
                  <a:gd name="connsiteY177" fmla="*/ 3955257 h 4305300"/>
                  <a:gd name="connsiteX178" fmla="*/ 5693569 w 8801100"/>
                  <a:gd name="connsiteY178" fmla="*/ 3926681 h 4305300"/>
                  <a:gd name="connsiteX179" fmla="*/ 5872162 w 8801100"/>
                  <a:gd name="connsiteY179" fmla="*/ 3943350 h 4305300"/>
                  <a:gd name="connsiteX180" fmla="*/ 5929313 w 8801100"/>
                  <a:gd name="connsiteY180" fmla="*/ 3917157 h 4305300"/>
                  <a:gd name="connsiteX181" fmla="*/ 6062662 w 8801100"/>
                  <a:gd name="connsiteY181" fmla="*/ 3914775 h 4305300"/>
                  <a:gd name="connsiteX182" fmla="*/ 6196012 w 8801100"/>
                  <a:gd name="connsiteY182" fmla="*/ 3817144 h 4305300"/>
                  <a:gd name="connsiteX183" fmla="*/ 6262687 w 8801100"/>
                  <a:gd name="connsiteY183" fmla="*/ 3810000 h 4305300"/>
                  <a:gd name="connsiteX184" fmla="*/ 6360319 w 8801100"/>
                  <a:gd name="connsiteY184" fmla="*/ 3736181 h 4305300"/>
                  <a:gd name="connsiteX185" fmla="*/ 6434138 w 8801100"/>
                  <a:gd name="connsiteY185" fmla="*/ 3667125 h 4305300"/>
                  <a:gd name="connsiteX186" fmla="*/ 6443663 w 8801100"/>
                  <a:gd name="connsiteY186" fmla="*/ 3605213 h 4305300"/>
                  <a:gd name="connsiteX187" fmla="*/ 6477000 w 8801100"/>
                  <a:gd name="connsiteY187" fmla="*/ 3536156 h 4305300"/>
                  <a:gd name="connsiteX188" fmla="*/ 6629400 w 8801100"/>
                  <a:gd name="connsiteY188" fmla="*/ 3429000 h 4305300"/>
                  <a:gd name="connsiteX189" fmla="*/ 6662738 w 8801100"/>
                  <a:gd name="connsiteY189" fmla="*/ 3433763 h 4305300"/>
                  <a:gd name="connsiteX190" fmla="*/ 6715125 w 8801100"/>
                  <a:gd name="connsiteY190" fmla="*/ 3355181 h 4305300"/>
                  <a:gd name="connsiteX191" fmla="*/ 6762750 w 8801100"/>
                  <a:gd name="connsiteY191" fmla="*/ 3317081 h 4305300"/>
                  <a:gd name="connsiteX192" fmla="*/ 6748463 w 8801100"/>
                  <a:gd name="connsiteY192" fmla="*/ 3248025 h 4305300"/>
                  <a:gd name="connsiteX193" fmla="*/ 6698456 w 8801100"/>
                  <a:gd name="connsiteY193" fmla="*/ 3217068 h 4305300"/>
                  <a:gd name="connsiteX194" fmla="*/ 6638925 w 8801100"/>
                  <a:gd name="connsiteY194" fmla="*/ 3162300 h 4305300"/>
                  <a:gd name="connsiteX195" fmla="*/ 6619875 w 8801100"/>
                  <a:gd name="connsiteY195" fmla="*/ 3105150 h 4305300"/>
                  <a:gd name="connsiteX196" fmla="*/ 6584156 w 8801100"/>
                  <a:gd name="connsiteY196" fmla="*/ 3071813 h 4305300"/>
                  <a:gd name="connsiteX197" fmla="*/ 6610350 w 8801100"/>
                  <a:gd name="connsiteY197" fmla="*/ 3019425 h 4305300"/>
                  <a:gd name="connsiteX198" fmla="*/ 6650831 w 8801100"/>
                  <a:gd name="connsiteY198" fmla="*/ 2840831 h 4305300"/>
                  <a:gd name="connsiteX199" fmla="*/ 6691313 w 8801100"/>
                  <a:gd name="connsiteY199" fmla="*/ 2774156 h 4305300"/>
                  <a:gd name="connsiteX200" fmla="*/ 6836569 w 8801100"/>
                  <a:gd name="connsiteY200" fmla="*/ 2757487 h 4305300"/>
                  <a:gd name="connsiteX201" fmla="*/ 6905625 w 8801100"/>
                  <a:gd name="connsiteY201" fmla="*/ 2814638 h 4305300"/>
                  <a:gd name="connsiteX202" fmla="*/ 6981825 w 8801100"/>
                  <a:gd name="connsiteY202" fmla="*/ 2838450 h 4305300"/>
                  <a:gd name="connsiteX203" fmla="*/ 7186612 w 8801100"/>
                  <a:gd name="connsiteY203" fmla="*/ 2843213 h 4305300"/>
                  <a:gd name="connsiteX204" fmla="*/ 7362825 w 8801100"/>
                  <a:gd name="connsiteY204" fmla="*/ 2705100 h 4305300"/>
                  <a:gd name="connsiteX205" fmla="*/ 7419975 w 8801100"/>
                  <a:gd name="connsiteY205" fmla="*/ 2614612 h 4305300"/>
                  <a:gd name="connsiteX206" fmla="*/ 7446169 w 8801100"/>
                  <a:gd name="connsiteY206" fmla="*/ 2531269 h 4305300"/>
                  <a:gd name="connsiteX207" fmla="*/ 7577137 w 8801100"/>
                  <a:gd name="connsiteY207" fmla="*/ 2531269 h 4305300"/>
                  <a:gd name="connsiteX208" fmla="*/ 7750969 w 8801100"/>
                  <a:gd name="connsiteY208" fmla="*/ 2474118 h 4305300"/>
                  <a:gd name="connsiteX209" fmla="*/ 7810500 w 8801100"/>
                  <a:gd name="connsiteY209" fmla="*/ 2362200 h 4305300"/>
                  <a:gd name="connsiteX210" fmla="*/ 7874794 w 8801100"/>
                  <a:gd name="connsiteY210" fmla="*/ 2326481 h 4305300"/>
                  <a:gd name="connsiteX211" fmla="*/ 7853363 w 8801100"/>
                  <a:gd name="connsiteY211" fmla="*/ 2281238 h 4305300"/>
                  <a:gd name="connsiteX212" fmla="*/ 7931944 w 8801100"/>
                  <a:gd name="connsiteY212" fmla="*/ 2112168 h 4305300"/>
                  <a:gd name="connsiteX213" fmla="*/ 7986713 w 8801100"/>
                  <a:gd name="connsiteY213" fmla="*/ 2052638 h 4305300"/>
                  <a:gd name="connsiteX214" fmla="*/ 8024813 w 8801100"/>
                  <a:gd name="connsiteY214" fmla="*/ 2047875 h 4305300"/>
                  <a:gd name="connsiteX215" fmla="*/ 8070056 w 8801100"/>
                  <a:gd name="connsiteY215" fmla="*/ 2052638 h 4305300"/>
                  <a:gd name="connsiteX216" fmla="*/ 8134350 w 8801100"/>
                  <a:gd name="connsiteY216" fmla="*/ 2019300 h 4305300"/>
                  <a:gd name="connsiteX217" fmla="*/ 8143875 w 8801100"/>
                  <a:gd name="connsiteY217" fmla="*/ 1955006 h 4305300"/>
                  <a:gd name="connsiteX218" fmla="*/ 8184355 w 8801100"/>
                  <a:gd name="connsiteY218" fmla="*/ 1919288 h 4305300"/>
                  <a:gd name="connsiteX219" fmla="*/ 8243888 w 8801100"/>
                  <a:gd name="connsiteY219" fmla="*/ 1959768 h 4305300"/>
                  <a:gd name="connsiteX220" fmla="*/ 8270082 w 8801100"/>
                  <a:gd name="connsiteY220" fmla="*/ 1909762 h 4305300"/>
                  <a:gd name="connsiteX221" fmla="*/ 8365331 w 8801100"/>
                  <a:gd name="connsiteY221" fmla="*/ 1840706 h 4305300"/>
                  <a:gd name="connsiteX222" fmla="*/ 8427244 w 8801100"/>
                  <a:gd name="connsiteY222" fmla="*/ 1847850 h 4305300"/>
                  <a:gd name="connsiteX223" fmla="*/ 8477250 w 8801100"/>
                  <a:gd name="connsiteY223" fmla="*/ 1828800 h 4305300"/>
                  <a:gd name="connsiteX224" fmla="*/ 8515350 w 8801100"/>
                  <a:gd name="connsiteY224" fmla="*/ 1800225 h 4305300"/>
                  <a:gd name="connsiteX225" fmla="*/ 8548688 w 8801100"/>
                  <a:gd name="connsiteY225" fmla="*/ 1797844 h 4305300"/>
                  <a:gd name="connsiteX226" fmla="*/ 8584406 w 8801100"/>
                  <a:gd name="connsiteY226" fmla="*/ 1828800 h 4305300"/>
                  <a:gd name="connsiteX227" fmla="*/ 8643938 w 8801100"/>
                  <a:gd name="connsiteY227" fmla="*/ 1828800 h 4305300"/>
                  <a:gd name="connsiteX228" fmla="*/ 8682037 w 8801100"/>
                  <a:gd name="connsiteY228" fmla="*/ 1809750 h 4305300"/>
                  <a:gd name="connsiteX229" fmla="*/ 8765381 w 8801100"/>
                  <a:gd name="connsiteY229" fmla="*/ 1812132 h 4305300"/>
                  <a:gd name="connsiteX230" fmla="*/ 8796338 w 8801100"/>
                  <a:gd name="connsiteY230" fmla="*/ 1766888 h 4305300"/>
                  <a:gd name="connsiteX231" fmla="*/ 8801100 w 8801100"/>
                  <a:gd name="connsiteY231" fmla="*/ 1704975 h 4305300"/>
                  <a:gd name="connsiteX232" fmla="*/ 8751093 w 8801100"/>
                  <a:gd name="connsiteY232" fmla="*/ 1664494 h 4305300"/>
                  <a:gd name="connsiteX233" fmla="*/ 8734425 w 8801100"/>
                  <a:gd name="connsiteY233" fmla="*/ 1609725 h 4305300"/>
                  <a:gd name="connsiteX234" fmla="*/ 8643938 w 8801100"/>
                  <a:gd name="connsiteY234" fmla="*/ 1547813 h 4305300"/>
                  <a:gd name="connsiteX235" fmla="*/ 8603456 w 8801100"/>
                  <a:gd name="connsiteY235" fmla="*/ 1526381 h 4305300"/>
                  <a:gd name="connsiteX236" fmla="*/ 8565356 w 8801100"/>
                  <a:gd name="connsiteY236" fmla="*/ 1481138 h 4305300"/>
                  <a:gd name="connsiteX237" fmla="*/ 8534400 w 8801100"/>
                  <a:gd name="connsiteY237" fmla="*/ 1478756 h 4305300"/>
                  <a:gd name="connsiteX238" fmla="*/ 8517731 w 8801100"/>
                  <a:gd name="connsiteY238" fmla="*/ 1426369 h 4305300"/>
                  <a:gd name="connsiteX239" fmla="*/ 8477250 w 8801100"/>
                  <a:gd name="connsiteY239" fmla="*/ 1409700 h 4305300"/>
                  <a:gd name="connsiteX240" fmla="*/ 8477250 w 8801100"/>
                  <a:gd name="connsiteY240" fmla="*/ 1409700 h 4305300"/>
                  <a:gd name="connsiteX241" fmla="*/ 8436769 w 8801100"/>
                  <a:gd name="connsiteY241" fmla="*/ 1414463 h 4305300"/>
                  <a:gd name="connsiteX242" fmla="*/ 8351043 w 8801100"/>
                  <a:gd name="connsiteY242" fmla="*/ 1340644 h 4305300"/>
                  <a:gd name="connsiteX243" fmla="*/ 8170069 w 8801100"/>
                  <a:gd name="connsiteY243" fmla="*/ 1340643 h 4305300"/>
                  <a:gd name="connsiteX244" fmla="*/ 8117681 w 8801100"/>
                  <a:gd name="connsiteY244" fmla="*/ 1378744 h 4305300"/>
                  <a:gd name="connsiteX245" fmla="*/ 8067675 w 8801100"/>
                  <a:gd name="connsiteY245" fmla="*/ 1457325 h 4305300"/>
                  <a:gd name="connsiteX246" fmla="*/ 8084344 w 8801100"/>
                  <a:gd name="connsiteY246" fmla="*/ 1478756 h 4305300"/>
                  <a:gd name="connsiteX247" fmla="*/ 8039100 w 8801100"/>
                  <a:gd name="connsiteY247" fmla="*/ 1528762 h 4305300"/>
                  <a:gd name="connsiteX248" fmla="*/ 7889081 w 8801100"/>
                  <a:gd name="connsiteY248" fmla="*/ 1452562 h 4305300"/>
                  <a:gd name="connsiteX249" fmla="*/ 7798594 w 8801100"/>
                  <a:gd name="connsiteY249" fmla="*/ 1488281 h 4305300"/>
                  <a:gd name="connsiteX250" fmla="*/ 7724775 w 8801100"/>
                  <a:gd name="connsiteY250" fmla="*/ 1485900 h 4305300"/>
                  <a:gd name="connsiteX251" fmla="*/ 7667625 w 8801100"/>
                  <a:gd name="connsiteY251" fmla="*/ 1581150 h 4305300"/>
                  <a:gd name="connsiteX252" fmla="*/ 7529513 w 8801100"/>
                  <a:gd name="connsiteY252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05050 w 8801100"/>
                  <a:gd name="connsiteY102" fmla="*/ 790575 h 4305300"/>
                  <a:gd name="connsiteX103" fmla="*/ 2381 w 8801100"/>
                  <a:gd name="connsiteY103" fmla="*/ 1490661 h 4305300"/>
                  <a:gd name="connsiteX104" fmla="*/ 0 w 8801100"/>
                  <a:gd name="connsiteY104" fmla="*/ 709613 h 4305300"/>
                  <a:gd name="connsiteX105" fmla="*/ 76200 w 8801100"/>
                  <a:gd name="connsiteY105" fmla="*/ 692944 h 4305300"/>
                  <a:gd name="connsiteX106" fmla="*/ 119063 w 8801100"/>
                  <a:gd name="connsiteY106" fmla="*/ 721519 h 4305300"/>
                  <a:gd name="connsiteX107" fmla="*/ 215900 w 8801100"/>
                  <a:gd name="connsiteY107" fmla="*/ 712788 h 4305300"/>
                  <a:gd name="connsiteX108" fmla="*/ 261938 w 8801100"/>
                  <a:gd name="connsiteY108" fmla="*/ 740568 h 4305300"/>
                  <a:gd name="connsiteX109" fmla="*/ 228600 w 8801100"/>
                  <a:gd name="connsiteY109" fmla="*/ 769144 h 4305300"/>
                  <a:gd name="connsiteX110" fmla="*/ 233363 w 8801100"/>
                  <a:gd name="connsiteY110" fmla="*/ 812006 h 4305300"/>
                  <a:gd name="connsiteX111" fmla="*/ 200025 w 8801100"/>
                  <a:gd name="connsiteY111" fmla="*/ 816769 h 4305300"/>
                  <a:gd name="connsiteX112" fmla="*/ 204788 w 8801100"/>
                  <a:gd name="connsiteY112" fmla="*/ 840581 h 4305300"/>
                  <a:gd name="connsiteX113" fmla="*/ 261937 w 8801100"/>
                  <a:gd name="connsiteY113" fmla="*/ 914400 h 4305300"/>
                  <a:gd name="connsiteX114" fmla="*/ 223838 w 8801100"/>
                  <a:gd name="connsiteY114" fmla="*/ 962025 h 4305300"/>
                  <a:gd name="connsiteX115" fmla="*/ 278606 w 8801100"/>
                  <a:gd name="connsiteY115" fmla="*/ 997744 h 4305300"/>
                  <a:gd name="connsiteX116" fmla="*/ 369094 w 8801100"/>
                  <a:gd name="connsiteY116" fmla="*/ 1085850 h 4305300"/>
                  <a:gd name="connsiteX117" fmla="*/ 371475 w 8801100"/>
                  <a:gd name="connsiteY117" fmla="*/ 1145381 h 4305300"/>
                  <a:gd name="connsiteX118" fmla="*/ 507206 w 8801100"/>
                  <a:gd name="connsiteY118" fmla="*/ 1278732 h 4305300"/>
                  <a:gd name="connsiteX119" fmla="*/ 561975 w 8801100"/>
                  <a:gd name="connsiteY119" fmla="*/ 1254919 h 4305300"/>
                  <a:gd name="connsiteX120" fmla="*/ 600075 w 8801100"/>
                  <a:gd name="connsiteY120" fmla="*/ 1281112 h 4305300"/>
                  <a:gd name="connsiteX121" fmla="*/ 614363 w 8801100"/>
                  <a:gd name="connsiteY121" fmla="*/ 1331118 h 4305300"/>
                  <a:gd name="connsiteX122" fmla="*/ 657225 w 8801100"/>
                  <a:gd name="connsiteY122" fmla="*/ 1366838 h 4305300"/>
                  <a:gd name="connsiteX123" fmla="*/ 697706 w 8801100"/>
                  <a:gd name="connsiteY123" fmla="*/ 1354931 h 4305300"/>
                  <a:gd name="connsiteX124" fmla="*/ 716756 w 8801100"/>
                  <a:gd name="connsiteY124" fmla="*/ 1412081 h 4305300"/>
                  <a:gd name="connsiteX125" fmla="*/ 764381 w 8801100"/>
                  <a:gd name="connsiteY125" fmla="*/ 1454944 h 4305300"/>
                  <a:gd name="connsiteX126" fmla="*/ 788194 w 8801100"/>
                  <a:gd name="connsiteY126" fmla="*/ 1557338 h 4305300"/>
                  <a:gd name="connsiteX127" fmla="*/ 785813 w 8801100"/>
                  <a:gd name="connsiteY127" fmla="*/ 1604963 h 4305300"/>
                  <a:gd name="connsiteX128" fmla="*/ 821531 w 8801100"/>
                  <a:gd name="connsiteY128" fmla="*/ 1704975 h 4305300"/>
                  <a:gd name="connsiteX129" fmla="*/ 866775 w 8801100"/>
                  <a:gd name="connsiteY129" fmla="*/ 1762125 h 4305300"/>
                  <a:gd name="connsiteX130" fmla="*/ 883443 w 8801100"/>
                  <a:gd name="connsiteY130" fmla="*/ 1919287 h 4305300"/>
                  <a:gd name="connsiteX131" fmla="*/ 850106 w 8801100"/>
                  <a:gd name="connsiteY131" fmla="*/ 1981200 h 4305300"/>
                  <a:gd name="connsiteX132" fmla="*/ 819150 w 8801100"/>
                  <a:gd name="connsiteY132" fmla="*/ 2057400 h 4305300"/>
                  <a:gd name="connsiteX133" fmla="*/ 833438 w 8801100"/>
                  <a:gd name="connsiteY133" fmla="*/ 2114550 h 4305300"/>
                  <a:gd name="connsiteX134" fmla="*/ 735806 w 8801100"/>
                  <a:gd name="connsiteY134" fmla="*/ 2221707 h 4305300"/>
                  <a:gd name="connsiteX135" fmla="*/ 692944 w 8801100"/>
                  <a:gd name="connsiteY135" fmla="*/ 2336006 h 4305300"/>
                  <a:gd name="connsiteX136" fmla="*/ 726281 w 8801100"/>
                  <a:gd name="connsiteY136" fmla="*/ 2376488 h 4305300"/>
                  <a:gd name="connsiteX137" fmla="*/ 709613 w 8801100"/>
                  <a:gd name="connsiteY137" fmla="*/ 2405063 h 4305300"/>
                  <a:gd name="connsiteX138" fmla="*/ 740569 w 8801100"/>
                  <a:gd name="connsiteY138" fmla="*/ 2462213 h 4305300"/>
                  <a:gd name="connsiteX139" fmla="*/ 769144 w 8801100"/>
                  <a:gd name="connsiteY139" fmla="*/ 2462213 h 4305300"/>
                  <a:gd name="connsiteX140" fmla="*/ 931069 w 8801100"/>
                  <a:gd name="connsiteY140" fmla="*/ 2564606 h 4305300"/>
                  <a:gd name="connsiteX141" fmla="*/ 1035844 w 8801100"/>
                  <a:gd name="connsiteY141" fmla="*/ 2562225 h 4305300"/>
                  <a:gd name="connsiteX142" fmla="*/ 1114425 w 8801100"/>
                  <a:gd name="connsiteY142" fmla="*/ 2616994 h 4305300"/>
                  <a:gd name="connsiteX143" fmla="*/ 1245393 w 8801100"/>
                  <a:gd name="connsiteY143" fmla="*/ 2619375 h 4305300"/>
                  <a:gd name="connsiteX144" fmla="*/ 1435893 w 8801100"/>
                  <a:gd name="connsiteY144" fmla="*/ 2688431 h 4305300"/>
                  <a:gd name="connsiteX145" fmla="*/ 1638300 w 8801100"/>
                  <a:gd name="connsiteY145" fmla="*/ 2838450 h 4305300"/>
                  <a:gd name="connsiteX146" fmla="*/ 1671637 w 8801100"/>
                  <a:gd name="connsiteY146" fmla="*/ 2905125 h 4305300"/>
                  <a:gd name="connsiteX147" fmla="*/ 1838325 w 8801100"/>
                  <a:gd name="connsiteY147" fmla="*/ 3031331 h 4305300"/>
                  <a:gd name="connsiteX148" fmla="*/ 1909763 w 8801100"/>
                  <a:gd name="connsiteY148" fmla="*/ 3026569 h 4305300"/>
                  <a:gd name="connsiteX149" fmla="*/ 1945482 w 8801100"/>
                  <a:gd name="connsiteY149" fmla="*/ 3050381 h 4305300"/>
                  <a:gd name="connsiteX150" fmla="*/ 1916906 w 8801100"/>
                  <a:gd name="connsiteY150" fmla="*/ 3090863 h 4305300"/>
                  <a:gd name="connsiteX151" fmla="*/ 1924050 w 8801100"/>
                  <a:gd name="connsiteY151" fmla="*/ 3143250 h 4305300"/>
                  <a:gd name="connsiteX152" fmla="*/ 1976438 w 8801100"/>
                  <a:gd name="connsiteY152" fmla="*/ 3169444 h 4305300"/>
                  <a:gd name="connsiteX153" fmla="*/ 2038350 w 8801100"/>
                  <a:gd name="connsiteY153" fmla="*/ 3393282 h 4305300"/>
                  <a:gd name="connsiteX154" fmla="*/ 2028825 w 8801100"/>
                  <a:gd name="connsiteY154" fmla="*/ 3457575 h 4305300"/>
                  <a:gd name="connsiteX155" fmla="*/ 2164556 w 8801100"/>
                  <a:gd name="connsiteY155" fmla="*/ 3624263 h 4305300"/>
                  <a:gd name="connsiteX156" fmla="*/ 2183606 w 8801100"/>
                  <a:gd name="connsiteY156" fmla="*/ 3674269 h 4305300"/>
                  <a:gd name="connsiteX157" fmla="*/ 2157413 w 8801100"/>
                  <a:gd name="connsiteY157" fmla="*/ 3693319 h 4305300"/>
                  <a:gd name="connsiteX158" fmla="*/ 2259806 w 8801100"/>
                  <a:gd name="connsiteY158" fmla="*/ 3702844 h 4305300"/>
                  <a:gd name="connsiteX159" fmla="*/ 2371725 w 8801100"/>
                  <a:gd name="connsiteY159" fmla="*/ 3690938 h 4305300"/>
                  <a:gd name="connsiteX160" fmla="*/ 2650331 w 8801100"/>
                  <a:gd name="connsiteY160" fmla="*/ 3774281 h 4305300"/>
                  <a:gd name="connsiteX161" fmla="*/ 3057525 w 8801100"/>
                  <a:gd name="connsiteY161" fmla="*/ 3855244 h 4305300"/>
                  <a:gd name="connsiteX162" fmla="*/ 3255169 w 8801100"/>
                  <a:gd name="connsiteY162" fmla="*/ 3824287 h 4305300"/>
                  <a:gd name="connsiteX163" fmla="*/ 3300413 w 8801100"/>
                  <a:gd name="connsiteY163" fmla="*/ 3836193 h 4305300"/>
                  <a:gd name="connsiteX164" fmla="*/ 3355181 w 8801100"/>
                  <a:gd name="connsiteY164" fmla="*/ 3812382 h 4305300"/>
                  <a:gd name="connsiteX165" fmla="*/ 3748087 w 8801100"/>
                  <a:gd name="connsiteY165" fmla="*/ 3902869 h 4305300"/>
                  <a:gd name="connsiteX166" fmla="*/ 3831432 w 8801100"/>
                  <a:gd name="connsiteY166" fmla="*/ 4000500 h 4305300"/>
                  <a:gd name="connsiteX167" fmla="*/ 3950494 w 8801100"/>
                  <a:gd name="connsiteY167" fmla="*/ 4071938 h 4305300"/>
                  <a:gd name="connsiteX168" fmla="*/ 4010025 w 8801100"/>
                  <a:gd name="connsiteY168" fmla="*/ 4055269 h 4305300"/>
                  <a:gd name="connsiteX169" fmla="*/ 4360068 w 8801100"/>
                  <a:gd name="connsiteY169" fmla="*/ 4229100 h 4305300"/>
                  <a:gd name="connsiteX170" fmla="*/ 4586288 w 8801100"/>
                  <a:gd name="connsiteY170" fmla="*/ 4200525 h 4305300"/>
                  <a:gd name="connsiteX171" fmla="*/ 4595813 w 8801100"/>
                  <a:gd name="connsiteY171" fmla="*/ 4279106 h 4305300"/>
                  <a:gd name="connsiteX172" fmla="*/ 4681538 w 8801100"/>
                  <a:gd name="connsiteY172" fmla="*/ 4274343 h 4305300"/>
                  <a:gd name="connsiteX173" fmla="*/ 4760119 w 8801100"/>
                  <a:gd name="connsiteY173" fmla="*/ 4305300 h 4305300"/>
                  <a:gd name="connsiteX174" fmla="*/ 4802981 w 8801100"/>
                  <a:gd name="connsiteY174" fmla="*/ 4245769 h 4305300"/>
                  <a:gd name="connsiteX175" fmla="*/ 5474494 w 8801100"/>
                  <a:gd name="connsiteY175" fmla="*/ 3926681 h 4305300"/>
                  <a:gd name="connsiteX176" fmla="*/ 5562600 w 8801100"/>
                  <a:gd name="connsiteY176" fmla="*/ 3955257 h 4305300"/>
                  <a:gd name="connsiteX177" fmla="*/ 5693569 w 8801100"/>
                  <a:gd name="connsiteY177" fmla="*/ 3926681 h 4305300"/>
                  <a:gd name="connsiteX178" fmla="*/ 5872162 w 8801100"/>
                  <a:gd name="connsiteY178" fmla="*/ 3943350 h 4305300"/>
                  <a:gd name="connsiteX179" fmla="*/ 5929313 w 8801100"/>
                  <a:gd name="connsiteY179" fmla="*/ 3917157 h 4305300"/>
                  <a:gd name="connsiteX180" fmla="*/ 6062662 w 8801100"/>
                  <a:gd name="connsiteY180" fmla="*/ 3914775 h 4305300"/>
                  <a:gd name="connsiteX181" fmla="*/ 6196012 w 8801100"/>
                  <a:gd name="connsiteY181" fmla="*/ 3817144 h 4305300"/>
                  <a:gd name="connsiteX182" fmla="*/ 6262687 w 8801100"/>
                  <a:gd name="connsiteY182" fmla="*/ 3810000 h 4305300"/>
                  <a:gd name="connsiteX183" fmla="*/ 6360319 w 8801100"/>
                  <a:gd name="connsiteY183" fmla="*/ 3736181 h 4305300"/>
                  <a:gd name="connsiteX184" fmla="*/ 6434138 w 8801100"/>
                  <a:gd name="connsiteY184" fmla="*/ 3667125 h 4305300"/>
                  <a:gd name="connsiteX185" fmla="*/ 6443663 w 8801100"/>
                  <a:gd name="connsiteY185" fmla="*/ 3605213 h 4305300"/>
                  <a:gd name="connsiteX186" fmla="*/ 6477000 w 8801100"/>
                  <a:gd name="connsiteY186" fmla="*/ 3536156 h 4305300"/>
                  <a:gd name="connsiteX187" fmla="*/ 6629400 w 8801100"/>
                  <a:gd name="connsiteY187" fmla="*/ 3429000 h 4305300"/>
                  <a:gd name="connsiteX188" fmla="*/ 6662738 w 8801100"/>
                  <a:gd name="connsiteY188" fmla="*/ 3433763 h 4305300"/>
                  <a:gd name="connsiteX189" fmla="*/ 6715125 w 8801100"/>
                  <a:gd name="connsiteY189" fmla="*/ 3355181 h 4305300"/>
                  <a:gd name="connsiteX190" fmla="*/ 6762750 w 8801100"/>
                  <a:gd name="connsiteY190" fmla="*/ 3317081 h 4305300"/>
                  <a:gd name="connsiteX191" fmla="*/ 6748463 w 8801100"/>
                  <a:gd name="connsiteY191" fmla="*/ 3248025 h 4305300"/>
                  <a:gd name="connsiteX192" fmla="*/ 6698456 w 8801100"/>
                  <a:gd name="connsiteY192" fmla="*/ 3217068 h 4305300"/>
                  <a:gd name="connsiteX193" fmla="*/ 6638925 w 8801100"/>
                  <a:gd name="connsiteY193" fmla="*/ 3162300 h 4305300"/>
                  <a:gd name="connsiteX194" fmla="*/ 6619875 w 8801100"/>
                  <a:gd name="connsiteY194" fmla="*/ 3105150 h 4305300"/>
                  <a:gd name="connsiteX195" fmla="*/ 6584156 w 8801100"/>
                  <a:gd name="connsiteY195" fmla="*/ 3071813 h 4305300"/>
                  <a:gd name="connsiteX196" fmla="*/ 6610350 w 8801100"/>
                  <a:gd name="connsiteY196" fmla="*/ 3019425 h 4305300"/>
                  <a:gd name="connsiteX197" fmla="*/ 6650831 w 8801100"/>
                  <a:gd name="connsiteY197" fmla="*/ 2840831 h 4305300"/>
                  <a:gd name="connsiteX198" fmla="*/ 6691313 w 8801100"/>
                  <a:gd name="connsiteY198" fmla="*/ 2774156 h 4305300"/>
                  <a:gd name="connsiteX199" fmla="*/ 6836569 w 8801100"/>
                  <a:gd name="connsiteY199" fmla="*/ 2757487 h 4305300"/>
                  <a:gd name="connsiteX200" fmla="*/ 6905625 w 8801100"/>
                  <a:gd name="connsiteY200" fmla="*/ 2814638 h 4305300"/>
                  <a:gd name="connsiteX201" fmla="*/ 6981825 w 8801100"/>
                  <a:gd name="connsiteY201" fmla="*/ 2838450 h 4305300"/>
                  <a:gd name="connsiteX202" fmla="*/ 7186612 w 8801100"/>
                  <a:gd name="connsiteY202" fmla="*/ 2843213 h 4305300"/>
                  <a:gd name="connsiteX203" fmla="*/ 7362825 w 8801100"/>
                  <a:gd name="connsiteY203" fmla="*/ 2705100 h 4305300"/>
                  <a:gd name="connsiteX204" fmla="*/ 7419975 w 8801100"/>
                  <a:gd name="connsiteY204" fmla="*/ 2614612 h 4305300"/>
                  <a:gd name="connsiteX205" fmla="*/ 7446169 w 8801100"/>
                  <a:gd name="connsiteY205" fmla="*/ 2531269 h 4305300"/>
                  <a:gd name="connsiteX206" fmla="*/ 7577137 w 8801100"/>
                  <a:gd name="connsiteY206" fmla="*/ 2531269 h 4305300"/>
                  <a:gd name="connsiteX207" fmla="*/ 7750969 w 8801100"/>
                  <a:gd name="connsiteY207" fmla="*/ 2474118 h 4305300"/>
                  <a:gd name="connsiteX208" fmla="*/ 7810500 w 8801100"/>
                  <a:gd name="connsiteY208" fmla="*/ 2362200 h 4305300"/>
                  <a:gd name="connsiteX209" fmla="*/ 7874794 w 8801100"/>
                  <a:gd name="connsiteY209" fmla="*/ 2326481 h 4305300"/>
                  <a:gd name="connsiteX210" fmla="*/ 7853363 w 8801100"/>
                  <a:gd name="connsiteY210" fmla="*/ 2281238 h 4305300"/>
                  <a:gd name="connsiteX211" fmla="*/ 7931944 w 8801100"/>
                  <a:gd name="connsiteY211" fmla="*/ 2112168 h 4305300"/>
                  <a:gd name="connsiteX212" fmla="*/ 7986713 w 8801100"/>
                  <a:gd name="connsiteY212" fmla="*/ 2052638 h 4305300"/>
                  <a:gd name="connsiteX213" fmla="*/ 8024813 w 8801100"/>
                  <a:gd name="connsiteY213" fmla="*/ 2047875 h 4305300"/>
                  <a:gd name="connsiteX214" fmla="*/ 8070056 w 8801100"/>
                  <a:gd name="connsiteY214" fmla="*/ 2052638 h 4305300"/>
                  <a:gd name="connsiteX215" fmla="*/ 8134350 w 8801100"/>
                  <a:gd name="connsiteY215" fmla="*/ 2019300 h 4305300"/>
                  <a:gd name="connsiteX216" fmla="*/ 8143875 w 8801100"/>
                  <a:gd name="connsiteY216" fmla="*/ 1955006 h 4305300"/>
                  <a:gd name="connsiteX217" fmla="*/ 8184355 w 8801100"/>
                  <a:gd name="connsiteY217" fmla="*/ 1919288 h 4305300"/>
                  <a:gd name="connsiteX218" fmla="*/ 8243888 w 8801100"/>
                  <a:gd name="connsiteY218" fmla="*/ 1959768 h 4305300"/>
                  <a:gd name="connsiteX219" fmla="*/ 8270082 w 8801100"/>
                  <a:gd name="connsiteY219" fmla="*/ 1909762 h 4305300"/>
                  <a:gd name="connsiteX220" fmla="*/ 8365331 w 8801100"/>
                  <a:gd name="connsiteY220" fmla="*/ 1840706 h 4305300"/>
                  <a:gd name="connsiteX221" fmla="*/ 8427244 w 8801100"/>
                  <a:gd name="connsiteY221" fmla="*/ 1847850 h 4305300"/>
                  <a:gd name="connsiteX222" fmla="*/ 8477250 w 8801100"/>
                  <a:gd name="connsiteY222" fmla="*/ 1828800 h 4305300"/>
                  <a:gd name="connsiteX223" fmla="*/ 8515350 w 8801100"/>
                  <a:gd name="connsiteY223" fmla="*/ 1800225 h 4305300"/>
                  <a:gd name="connsiteX224" fmla="*/ 8548688 w 8801100"/>
                  <a:gd name="connsiteY224" fmla="*/ 1797844 h 4305300"/>
                  <a:gd name="connsiteX225" fmla="*/ 8584406 w 8801100"/>
                  <a:gd name="connsiteY225" fmla="*/ 1828800 h 4305300"/>
                  <a:gd name="connsiteX226" fmla="*/ 8643938 w 8801100"/>
                  <a:gd name="connsiteY226" fmla="*/ 1828800 h 4305300"/>
                  <a:gd name="connsiteX227" fmla="*/ 8682037 w 8801100"/>
                  <a:gd name="connsiteY227" fmla="*/ 1809750 h 4305300"/>
                  <a:gd name="connsiteX228" fmla="*/ 8765381 w 8801100"/>
                  <a:gd name="connsiteY228" fmla="*/ 1812132 h 4305300"/>
                  <a:gd name="connsiteX229" fmla="*/ 8796338 w 8801100"/>
                  <a:gd name="connsiteY229" fmla="*/ 1766888 h 4305300"/>
                  <a:gd name="connsiteX230" fmla="*/ 8801100 w 8801100"/>
                  <a:gd name="connsiteY230" fmla="*/ 1704975 h 4305300"/>
                  <a:gd name="connsiteX231" fmla="*/ 8751093 w 8801100"/>
                  <a:gd name="connsiteY231" fmla="*/ 1664494 h 4305300"/>
                  <a:gd name="connsiteX232" fmla="*/ 8734425 w 8801100"/>
                  <a:gd name="connsiteY232" fmla="*/ 1609725 h 4305300"/>
                  <a:gd name="connsiteX233" fmla="*/ 8643938 w 8801100"/>
                  <a:gd name="connsiteY233" fmla="*/ 1547813 h 4305300"/>
                  <a:gd name="connsiteX234" fmla="*/ 8603456 w 8801100"/>
                  <a:gd name="connsiteY234" fmla="*/ 1526381 h 4305300"/>
                  <a:gd name="connsiteX235" fmla="*/ 8565356 w 8801100"/>
                  <a:gd name="connsiteY235" fmla="*/ 1481138 h 4305300"/>
                  <a:gd name="connsiteX236" fmla="*/ 8534400 w 8801100"/>
                  <a:gd name="connsiteY236" fmla="*/ 1478756 h 4305300"/>
                  <a:gd name="connsiteX237" fmla="*/ 8517731 w 8801100"/>
                  <a:gd name="connsiteY237" fmla="*/ 1426369 h 4305300"/>
                  <a:gd name="connsiteX238" fmla="*/ 8477250 w 8801100"/>
                  <a:gd name="connsiteY238" fmla="*/ 1409700 h 4305300"/>
                  <a:gd name="connsiteX239" fmla="*/ 8477250 w 8801100"/>
                  <a:gd name="connsiteY239" fmla="*/ 1409700 h 4305300"/>
                  <a:gd name="connsiteX240" fmla="*/ 8436769 w 8801100"/>
                  <a:gd name="connsiteY240" fmla="*/ 1414463 h 4305300"/>
                  <a:gd name="connsiteX241" fmla="*/ 8351043 w 8801100"/>
                  <a:gd name="connsiteY241" fmla="*/ 1340644 h 4305300"/>
                  <a:gd name="connsiteX242" fmla="*/ 8170069 w 8801100"/>
                  <a:gd name="connsiteY242" fmla="*/ 1340643 h 4305300"/>
                  <a:gd name="connsiteX243" fmla="*/ 8117681 w 8801100"/>
                  <a:gd name="connsiteY243" fmla="*/ 1378744 h 4305300"/>
                  <a:gd name="connsiteX244" fmla="*/ 8067675 w 8801100"/>
                  <a:gd name="connsiteY244" fmla="*/ 1457325 h 4305300"/>
                  <a:gd name="connsiteX245" fmla="*/ 8084344 w 8801100"/>
                  <a:gd name="connsiteY245" fmla="*/ 1478756 h 4305300"/>
                  <a:gd name="connsiteX246" fmla="*/ 8039100 w 8801100"/>
                  <a:gd name="connsiteY246" fmla="*/ 1528762 h 4305300"/>
                  <a:gd name="connsiteX247" fmla="*/ 7889081 w 8801100"/>
                  <a:gd name="connsiteY247" fmla="*/ 1452562 h 4305300"/>
                  <a:gd name="connsiteX248" fmla="*/ 7798594 w 8801100"/>
                  <a:gd name="connsiteY248" fmla="*/ 1488281 h 4305300"/>
                  <a:gd name="connsiteX249" fmla="*/ 7724775 w 8801100"/>
                  <a:gd name="connsiteY249" fmla="*/ 1485900 h 4305300"/>
                  <a:gd name="connsiteX250" fmla="*/ 7667625 w 8801100"/>
                  <a:gd name="connsiteY250" fmla="*/ 1581150 h 4305300"/>
                  <a:gd name="connsiteX251" fmla="*/ 7529513 w 8801100"/>
                  <a:gd name="connsiteY251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62200 w 8801100"/>
                  <a:gd name="connsiteY101" fmla="*/ 750094 h 4305300"/>
                  <a:gd name="connsiteX102" fmla="*/ 2381 w 8801100"/>
                  <a:gd name="connsiteY102" fmla="*/ 1490661 h 4305300"/>
                  <a:gd name="connsiteX103" fmla="*/ 0 w 8801100"/>
                  <a:gd name="connsiteY103" fmla="*/ 709613 h 4305300"/>
                  <a:gd name="connsiteX104" fmla="*/ 76200 w 8801100"/>
                  <a:gd name="connsiteY104" fmla="*/ 692944 h 4305300"/>
                  <a:gd name="connsiteX105" fmla="*/ 119063 w 8801100"/>
                  <a:gd name="connsiteY105" fmla="*/ 721519 h 4305300"/>
                  <a:gd name="connsiteX106" fmla="*/ 215900 w 8801100"/>
                  <a:gd name="connsiteY106" fmla="*/ 712788 h 4305300"/>
                  <a:gd name="connsiteX107" fmla="*/ 261938 w 8801100"/>
                  <a:gd name="connsiteY107" fmla="*/ 740568 h 4305300"/>
                  <a:gd name="connsiteX108" fmla="*/ 228600 w 8801100"/>
                  <a:gd name="connsiteY108" fmla="*/ 769144 h 4305300"/>
                  <a:gd name="connsiteX109" fmla="*/ 233363 w 8801100"/>
                  <a:gd name="connsiteY109" fmla="*/ 812006 h 4305300"/>
                  <a:gd name="connsiteX110" fmla="*/ 200025 w 8801100"/>
                  <a:gd name="connsiteY110" fmla="*/ 816769 h 4305300"/>
                  <a:gd name="connsiteX111" fmla="*/ 204788 w 8801100"/>
                  <a:gd name="connsiteY111" fmla="*/ 840581 h 4305300"/>
                  <a:gd name="connsiteX112" fmla="*/ 261937 w 8801100"/>
                  <a:gd name="connsiteY112" fmla="*/ 914400 h 4305300"/>
                  <a:gd name="connsiteX113" fmla="*/ 223838 w 8801100"/>
                  <a:gd name="connsiteY113" fmla="*/ 962025 h 4305300"/>
                  <a:gd name="connsiteX114" fmla="*/ 278606 w 8801100"/>
                  <a:gd name="connsiteY114" fmla="*/ 997744 h 4305300"/>
                  <a:gd name="connsiteX115" fmla="*/ 369094 w 8801100"/>
                  <a:gd name="connsiteY115" fmla="*/ 1085850 h 4305300"/>
                  <a:gd name="connsiteX116" fmla="*/ 371475 w 8801100"/>
                  <a:gd name="connsiteY116" fmla="*/ 1145381 h 4305300"/>
                  <a:gd name="connsiteX117" fmla="*/ 507206 w 8801100"/>
                  <a:gd name="connsiteY117" fmla="*/ 1278732 h 4305300"/>
                  <a:gd name="connsiteX118" fmla="*/ 561975 w 8801100"/>
                  <a:gd name="connsiteY118" fmla="*/ 1254919 h 4305300"/>
                  <a:gd name="connsiteX119" fmla="*/ 600075 w 8801100"/>
                  <a:gd name="connsiteY119" fmla="*/ 1281112 h 4305300"/>
                  <a:gd name="connsiteX120" fmla="*/ 614363 w 8801100"/>
                  <a:gd name="connsiteY120" fmla="*/ 1331118 h 4305300"/>
                  <a:gd name="connsiteX121" fmla="*/ 657225 w 8801100"/>
                  <a:gd name="connsiteY121" fmla="*/ 1366838 h 4305300"/>
                  <a:gd name="connsiteX122" fmla="*/ 697706 w 8801100"/>
                  <a:gd name="connsiteY122" fmla="*/ 1354931 h 4305300"/>
                  <a:gd name="connsiteX123" fmla="*/ 716756 w 8801100"/>
                  <a:gd name="connsiteY123" fmla="*/ 1412081 h 4305300"/>
                  <a:gd name="connsiteX124" fmla="*/ 764381 w 8801100"/>
                  <a:gd name="connsiteY124" fmla="*/ 1454944 h 4305300"/>
                  <a:gd name="connsiteX125" fmla="*/ 788194 w 8801100"/>
                  <a:gd name="connsiteY125" fmla="*/ 1557338 h 4305300"/>
                  <a:gd name="connsiteX126" fmla="*/ 785813 w 8801100"/>
                  <a:gd name="connsiteY126" fmla="*/ 1604963 h 4305300"/>
                  <a:gd name="connsiteX127" fmla="*/ 821531 w 8801100"/>
                  <a:gd name="connsiteY127" fmla="*/ 1704975 h 4305300"/>
                  <a:gd name="connsiteX128" fmla="*/ 866775 w 8801100"/>
                  <a:gd name="connsiteY128" fmla="*/ 1762125 h 4305300"/>
                  <a:gd name="connsiteX129" fmla="*/ 883443 w 8801100"/>
                  <a:gd name="connsiteY129" fmla="*/ 1919287 h 4305300"/>
                  <a:gd name="connsiteX130" fmla="*/ 850106 w 8801100"/>
                  <a:gd name="connsiteY130" fmla="*/ 1981200 h 4305300"/>
                  <a:gd name="connsiteX131" fmla="*/ 819150 w 8801100"/>
                  <a:gd name="connsiteY131" fmla="*/ 2057400 h 4305300"/>
                  <a:gd name="connsiteX132" fmla="*/ 833438 w 8801100"/>
                  <a:gd name="connsiteY132" fmla="*/ 2114550 h 4305300"/>
                  <a:gd name="connsiteX133" fmla="*/ 735806 w 8801100"/>
                  <a:gd name="connsiteY133" fmla="*/ 2221707 h 4305300"/>
                  <a:gd name="connsiteX134" fmla="*/ 692944 w 8801100"/>
                  <a:gd name="connsiteY134" fmla="*/ 2336006 h 4305300"/>
                  <a:gd name="connsiteX135" fmla="*/ 726281 w 8801100"/>
                  <a:gd name="connsiteY135" fmla="*/ 2376488 h 4305300"/>
                  <a:gd name="connsiteX136" fmla="*/ 709613 w 8801100"/>
                  <a:gd name="connsiteY136" fmla="*/ 2405063 h 4305300"/>
                  <a:gd name="connsiteX137" fmla="*/ 740569 w 8801100"/>
                  <a:gd name="connsiteY137" fmla="*/ 2462213 h 4305300"/>
                  <a:gd name="connsiteX138" fmla="*/ 769144 w 8801100"/>
                  <a:gd name="connsiteY138" fmla="*/ 2462213 h 4305300"/>
                  <a:gd name="connsiteX139" fmla="*/ 931069 w 8801100"/>
                  <a:gd name="connsiteY139" fmla="*/ 2564606 h 4305300"/>
                  <a:gd name="connsiteX140" fmla="*/ 1035844 w 8801100"/>
                  <a:gd name="connsiteY140" fmla="*/ 2562225 h 4305300"/>
                  <a:gd name="connsiteX141" fmla="*/ 1114425 w 8801100"/>
                  <a:gd name="connsiteY141" fmla="*/ 2616994 h 4305300"/>
                  <a:gd name="connsiteX142" fmla="*/ 1245393 w 8801100"/>
                  <a:gd name="connsiteY142" fmla="*/ 2619375 h 4305300"/>
                  <a:gd name="connsiteX143" fmla="*/ 1435893 w 8801100"/>
                  <a:gd name="connsiteY143" fmla="*/ 2688431 h 4305300"/>
                  <a:gd name="connsiteX144" fmla="*/ 1638300 w 8801100"/>
                  <a:gd name="connsiteY144" fmla="*/ 2838450 h 4305300"/>
                  <a:gd name="connsiteX145" fmla="*/ 1671637 w 8801100"/>
                  <a:gd name="connsiteY145" fmla="*/ 2905125 h 4305300"/>
                  <a:gd name="connsiteX146" fmla="*/ 1838325 w 8801100"/>
                  <a:gd name="connsiteY146" fmla="*/ 3031331 h 4305300"/>
                  <a:gd name="connsiteX147" fmla="*/ 1909763 w 8801100"/>
                  <a:gd name="connsiteY147" fmla="*/ 3026569 h 4305300"/>
                  <a:gd name="connsiteX148" fmla="*/ 1945482 w 8801100"/>
                  <a:gd name="connsiteY148" fmla="*/ 3050381 h 4305300"/>
                  <a:gd name="connsiteX149" fmla="*/ 1916906 w 8801100"/>
                  <a:gd name="connsiteY149" fmla="*/ 3090863 h 4305300"/>
                  <a:gd name="connsiteX150" fmla="*/ 1924050 w 8801100"/>
                  <a:gd name="connsiteY150" fmla="*/ 3143250 h 4305300"/>
                  <a:gd name="connsiteX151" fmla="*/ 1976438 w 8801100"/>
                  <a:gd name="connsiteY151" fmla="*/ 3169444 h 4305300"/>
                  <a:gd name="connsiteX152" fmla="*/ 2038350 w 8801100"/>
                  <a:gd name="connsiteY152" fmla="*/ 3393282 h 4305300"/>
                  <a:gd name="connsiteX153" fmla="*/ 2028825 w 8801100"/>
                  <a:gd name="connsiteY153" fmla="*/ 3457575 h 4305300"/>
                  <a:gd name="connsiteX154" fmla="*/ 2164556 w 8801100"/>
                  <a:gd name="connsiteY154" fmla="*/ 3624263 h 4305300"/>
                  <a:gd name="connsiteX155" fmla="*/ 2183606 w 8801100"/>
                  <a:gd name="connsiteY155" fmla="*/ 3674269 h 4305300"/>
                  <a:gd name="connsiteX156" fmla="*/ 2157413 w 8801100"/>
                  <a:gd name="connsiteY156" fmla="*/ 3693319 h 4305300"/>
                  <a:gd name="connsiteX157" fmla="*/ 2259806 w 8801100"/>
                  <a:gd name="connsiteY157" fmla="*/ 3702844 h 4305300"/>
                  <a:gd name="connsiteX158" fmla="*/ 2371725 w 8801100"/>
                  <a:gd name="connsiteY158" fmla="*/ 3690938 h 4305300"/>
                  <a:gd name="connsiteX159" fmla="*/ 2650331 w 8801100"/>
                  <a:gd name="connsiteY159" fmla="*/ 3774281 h 4305300"/>
                  <a:gd name="connsiteX160" fmla="*/ 3057525 w 8801100"/>
                  <a:gd name="connsiteY160" fmla="*/ 3855244 h 4305300"/>
                  <a:gd name="connsiteX161" fmla="*/ 3255169 w 8801100"/>
                  <a:gd name="connsiteY161" fmla="*/ 3824287 h 4305300"/>
                  <a:gd name="connsiteX162" fmla="*/ 3300413 w 8801100"/>
                  <a:gd name="connsiteY162" fmla="*/ 3836193 h 4305300"/>
                  <a:gd name="connsiteX163" fmla="*/ 3355181 w 8801100"/>
                  <a:gd name="connsiteY163" fmla="*/ 3812382 h 4305300"/>
                  <a:gd name="connsiteX164" fmla="*/ 3748087 w 8801100"/>
                  <a:gd name="connsiteY164" fmla="*/ 3902869 h 4305300"/>
                  <a:gd name="connsiteX165" fmla="*/ 3831432 w 8801100"/>
                  <a:gd name="connsiteY165" fmla="*/ 4000500 h 4305300"/>
                  <a:gd name="connsiteX166" fmla="*/ 3950494 w 8801100"/>
                  <a:gd name="connsiteY166" fmla="*/ 4071938 h 4305300"/>
                  <a:gd name="connsiteX167" fmla="*/ 4010025 w 8801100"/>
                  <a:gd name="connsiteY167" fmla="*/ 4055269 h 4305300"/>
                  <a:gd name="connsiteX168" fmla="*/ 4360068 w 8801100"/>
                  <a:gd name="connsiteY168" fmla="*/ 4229100 h 4305300"/>
                  <a:gd name="connsiteX169" fmla="*/ 4586288 w 8801100"/>
                  <a:gd name="connsiteY169" fmla="*/ 4200525 h 4305300"/>
                  <a:gd name="connsiteX170" fmla="*/ 4595813 w 8801100"/>
                  <a:gd name="connsiteY170" fmla="*/ 4279106 h 4305300"/>
                  <a:gd name="connsiteX171" fmla="*/ 4681538 w 8801100"/>
                  <a:gd name="connsiteY171" fmla="*/ 4274343 h 4305300"/>
                  <a:gd name="connsiteX172" fmla="*/ 4760119 w 8801100"/>
                  <a:gd name="connsiteY172" fmla="*/ 4305300 h 4305300"/>
                  <a:gd name="connsiteX173" fmla="*/ 4802981 w 8801100"/>
                  <a:gd name="connsiteY173" fmla="*/ 4245769 h 4305300"/>
                  <a:gd name="connsiteX174" fmla="*/ 5474494 w 8801100"/>
                  <a:gd name="connsiteY174" fmla="*/ 3926681 h 4305300"/>
                  <a:gd name="connsiteX175" fmla="*/ 5562600 w 8801100"/>
                  <a:gd name="connsiteY175" fmla="*/ 3955257 h 4305300"/>
                  <a:gd name="connsiteX176" fmla="*/ 5693569 w 8801100"/>
                  <a:gd name="connsiteY176" fmla="*/ 3926681 h 4305300"/>
                  <a:gd name="connsiteX177" fmla="*/ 5872162 w 8801100"/>
                  <a:gd name="connsiteY177" fmla="*/ 3943350 h 4305300"/>
                  <a:gd name="connsiteX178" fmla="*/ 5929313 w 8801100"/>
                  <a:gd name="connsiteY178" fmla="*/ 3917157 h 4305300"/>
                  <a:gd name="connsiteX179" fmla="*/ 6062662 w 8801100"/>
                  <a:gd name="connsiteY179" fmla="*/ 3914775 h 4305300"/>
                  <a:gd name="connsiteX180" fmla="*/ 6196012 w 8801100"/>
                  <a:gd name="connsiteY180" fmla="*/ 3817144 h 4305300"/>
                  <a:gd name="connsiteX181" fmla="*/ 6262687 w 8801100"/>
                  <a:gd name="connsiteY181" fmla="*/ 3810000 h 4305300"/>
                  <a:gd name="connsiteX182" fmla="*/ 6360319 w 8801100"/>
                  <a:gd name="connsiteY182" fmla="*/ 3736181 h 4305300"/>
                  <a:gd name="connsiteX183" fmla="*/ 6434138 w 8801100"/>
                  <a:gd name="connsiteY183" fmla="*/ 3667125 h 4305300"/>
                  <a:gd name="connsiteX184" fmla="*/ 6443663 w 8801100"/>
                  <a:gd name="connsiteY184" fmla="*/ 3605213 h 4305300"/>
                  <a:gd name="connsiteX185" fmla="*/ 6477000 w 8801100"/>
                  <a:gd name="connsiteY185" fmla="*/ 3536156 h 4305300"/>
                  <a:gd name="connsiteX186" fmla="*/ 6629400 w 8801100"/>
                  <a:gd name="connsiteY186" fmla="*/ 3429000 h 4305300"/>
                  <a:gd name="connsiteX187" fmla="*/ 6662738 w 8801100"/>
                  <a:gd name="connsiteY187" fmla="*/ 3433763 h 4305300"/>
                  <a:gd name="connsiteX188" fmla="*/ 6715125 w 8801100"/>
                  <a:gd name="connsiteY188" fmla="*/ 3355181 h 4305300"/>
                  <a:gd name="connsiteX189" fmla="*/ 6762750 w 8801100"/>
                  <a:gd name="connsiteY189" fmla="*/ 3317081 h 4305300"/>
                  <a:gd name="connsiteX190" fmla="*/ 6748463 w 8801100"/>
                  <a:gd name="connsiteY190" fmla="*/ 3248025 h 4305300"/>
                  <a:gd name="connsiteX191" fmla="*/ 6698456 w 8801100"/>
                  <a:gd name="connsiteY191" fmla="*/ 3217068 h 4305300"/>
                  <a:gd name="connsiteX192" fmla="*/ 6638925 w 8801100"/>
                  <a:gd name="connsiteY192" fmla="*/ 3162300 h 4305300"/>
                  <a:gd name="connsiteX193" fmla="*/ 6619875 w 8801100"/>
                  <a:gd name="connsiteY193" fmla="*/ 3105150 h 4305300"/>
                  <a:gd name="connsiteX194" fmla="*/ 6584156 w 8801100"/>
                  <a:gd name="connsiteY194" fmla="*/ 3071813 h 4305300"/>
                  <a:gd name="connsiteX195" fmla="*/ 6610350 w 8801100"/>
                  <a:gd name="connsiteY195" fmla="*/ 3019425 h 4305300"/>
                  <a:gd name="connsiteX196" fmla="*/ 6650831 w 8801100"/>
                  <a:gd name="connsiteY196" fmla="*/ 2840831 h 4305300"/>
                  <a:gd name="connsiteX197" fmla="*/ 6691313 w 8801100"/>
                  <a:gd name="connsiteY197" fmla="*/ 2774156 h 4305300"/>
                  <a:gd name="connsiteX198" fmla="*/ 6836569 w 8801100"/>
                  <a:gd name="connsiteY198" fmla="*/ 2757487 h 4305300"/>
                  <a:gd name="connsiteX199" fmla="*/ 6905625 w 8801100"/>
                  <a:gd name="connsiteY199" fmla="*/ 2814638 h 4305300"/>
                  <a:gd name="connsiteX200" fmla="*/ 6981825 w 8801100"/>
                  <a:gd name="connsiteY200" fmla="*/ 2838450 h 4305300"/>
                  <a:gd name="connsiteX201" fmla="*/ 7186612 w 8801100"/>
                  <a:gd name="connsiteY201" fmla="*/ 2843213 h 4305300"/>
                  <a:gd name="connsiteX202" fmla="*/ 7362825 w 8801100"/>
                  <a:gd name="connsiteY202" fmla="*/ 2705100 h 4305300"/>
                  <a:gd name="connsiteX203" fmla="*/ 7419975 w 8801100"/>
                  <a:gd name="connsiteY203" fmla="*/ 2614612 h 4305300"/>
                  <a:gd name="connsiteX204" fmla="*/ 7446169 w 8801100"/>
                  <a:gd name="connsiteY204" fmla="*/ 2531269 h 4305300"/>
                  <a:gd name="connsiteX205" fmla="*/ 7577137 w 8801100"/>
                  <a:gd name="connsiteY205" fmla="*/ 2531269 h 4305300"/>
                  <a:gd name="connsiteX206" fmla="*/ 7750969 w 8801100"/>
                  <a:gd name="connsiteY206" fmla="*/ 2474118 h 4305300"/>
                  <a:gd name="connsiteX207" fmla="*/ 7810500 w 8801100"/>
                  <a:gd name="connsiteY207" fmla="*/ 2362200 h 4305300"/>
                  <a:gd name="connsiteX208" fmla="*/ 7874794 w 8801100"/>
                  <a:gd name="connsiteY208" fmla="*/ 2326481 h 4305300"/>
                  <a:gd name="connsiteX209" fmla="*/ 7853363 w 8801100"/>
                  <a:gd name="connsiteY209" fmla="*/ 2281238 h 4305300"/>
                  <a:gd name="connsiteX210" fmla="*/ 7931944 w 8801100"/>
                  <a:gd name="connsiteY210" fmla="*/ 2112168 h 4305300"/>
                  <a:gd name="connsiteX211" fmla="*/ 7986713 w 8801100"/>
                  <a:gd name="connsiteY211" fmla="*/ 2052638 h 4305300"/>
                  <a:gd name="connsiteX212" fmla="*/ 8024813 w 8801100"/>
                  <a:gd name="connsiteY212" fmla="*/ 2047875 h 4305300"/>
                  <a:gd name="connsiteX213" fmla="*/ 8070056 w 8801100"/>
                  <a:gd name="connsiteY213" fmla="*/ 2052638 h 4305300"/>
                  <a:gd name="connsiteX214" fmla="*/ 8134350 w 8801100"/>
                  <a:gd name="connsiteY214" fmla="*/ 2019300 h 4305300"/>
                  <a:gd name="connsiteX215" fmla="*/ 8143875 w 8801100"/>
                  <a:gd name="connsiteY215" fmla="*/ 1955006 h 4305300"/>
                  <a:gd name="connsiteX216" fmla="*/ 8184355 w 8801100"/>
                  <a:gd name="connsiteY216" fmla="*/ 1919288 h 4305300"/>
                  <a:gd name="connsiteX217" fmla="*/ 8243888 w 8801100"/>
                  <a:gd name="connsiteY217" fmla="*/ 1959768 h 4305300"/>
                  <a:gd name="connsiteX218" fmla="*/ 8270082 w 8801100"/>
                  <a:gd name="connsiteY218" fmla="*/ 1909762 h 4305300"/>
                  <a:gd name="connsiteX219" fmla="*/ 8365331 w 8801100"/>
                  <a:gd name="connsiteY219" fmla="*/ 1840706 h 4305300"/>
                  <a:gd name="connsiteX220" fmla="*/ 8427244 w 8801100"/>
                  <a:gd name="connsiteY220" fmla="*/ 1847850 h 4305300"/>
                  <a:gd name="connsiteX221" fmla="*/ 8477250 w 8801100"/>
                  <a:gd name="connsiteY221" fmla="*/ 1828800 h 4305300"/>
                  <a:gd name="connsiteX222" fmla="*/ 8515350 w 8801100"/>
                  <a:gd name="connsiteY222" fmla="*/ 1800225 h 4305300"/>
                  <a:gd name="connsiteX223" fmla="*/ 8548688 w 8801100"/>
                  <a:gd name="connsiteY223" fmla="*/ 1797844 h 4305300"/>
                  <a:gd name="connsiteX224" fmla="*/ 8584406 w 8801100"/>
                  <a:gd name="connsiteY224" fmla="*/ 1828800 h 4305300"/>
                  <a:gd name="connsiteX225" fmla="*/ 8643938 w 8801100"/>
                  <a:gd name="connsiteY225" fmla="*/ 1828800 h 4305300"/>
                  <a:gd name="connsiteX226" fmla="*/ 8682037 w 8801100"/>
                  <a:gd name="connsiteY226" fmla="*/ 1809750 h 4305300"/>
                  <a:gd name="connsiteX227" fmla="*/ 8765381 w 8801100"/>
                  <a:gd name="connsiteY227" fmla="*/ 1812132 h 4305300"/>
                  <a:gd name="connsiteX228" fmla="*/ 8796338 w 8801100"/>
                  <a:gd name="connsiteY228" fmla="*/ 1766888 h 4305300"/>
                  <a:gd name="connsiteX229" fmla="*/ 8801100 w 8801100"/>
                  <a:gd name="connsiteY229" fmla="*/ 1704975 h 4305300"/>
                  <a:gd name="connsiteX230" fmla="*/ 8751093 w 8801100"/>
                  <a:gd name="connsiteY230" fmla="*/ 1664494 h 4305300"/>
                  <a:gd name="connsiteX231" fmla="*/ 8734425 w 8801100"/>
                  <a:gd name="connsiteY231" fmla="*/ 1609725 h 4305300"/>
                  <a:gd name="connsiteX232" fmla="*/ 8643938 w 8801100"/>
                  <a:gd name="connsiteY232" fmla="*/ 1547813 h 4305300"/>
                  <a:gd name="connsiteX233" fmla="*/ 8603456 w 8801100"/>
                  <a:gd name="connsiteY233" fmla="*/ 1526381 h 4305300"/>
                  <a:gd name="connsiteX234" fmla="*/ 8565356 w 8801100"/>
                  <a:gd name="connsiteY234" fmla="*/ 1481138 h 4305300"/>
                  <a:gd name="connsiteX235" fmla="*/ 8534400 w 8801100"/>
                  <a:gd name="connsiteY235" fmla="*/ 1478756 h 4305300"/>
                  <a:gd name="connsiteX236" fmla="*/ 8517731 w 8801100"/>
                  <a:gd name="connsiteY236" fmla="*/ 1426369 h 4305300"/>
                  <a:gd name="connsiteX237" fmla="*/ 8477250 w 8801100"/>
                  <a:gd name="connsiteY237" fmla="*/ 1409700 h 4305300"/>
                  <a:gd name="connsiteX238" fmla="*/ 8477250 w 8801100"/>
                  <a:gd name="connsiteY238" fmla="*/ 1409700 h 4305300"/>
                  <a:gd name="connsiteX239" fmla="*/ 8436769 w 8801100"/>
                  <a:gd name="connsiteY239" fmla="*/ 1414463 h 4305300"/>
                  <a:gd name="connsiteX240" fmla="*/ 8351043 w 8801100"/>
                  <a:gd name="connsiteY240" fmla="*/ 1340644 h 4305300"/>
                  <a:gd name="connsiteX241" fmla="*/ 8170069 w 8801100"/>
                  <a:gd name="connsiteY241" fmla="*/ 1340643 h 4305300"/>
                  <a:gd name="connsiteX242" fmla="*/ 8117681 w 8801100"/>
                  <a:gd name="connsiteY242" fmla="*/ 1378744 h 4305300"/>
                  <a:gd name="connsiteX243" fmla="*/ 8067675 w 8801100"/>
                  <a:gd name="connsiteY243" fmla="*/ 1457325 h 4305300"/>
                  <a:gd name="connsiteX244" fmla="*/ 8084344 w 8801100"/>
                  <a:gd name="connsiteY244" fmla="*/ 1478756 h 4305300"/>
                  <a:gd name="connsiteX245" fmla="*/ 8039100 w 8801100"/>
                  <a:gd name="connsiteY245" fmla="*/ 1528762 h 4305300"/>
                  <a:gd name="connsiteX246" fmla="*/ 7889081 w 8801100"/>
                  <a:gd name="connsiteY246" fmla="*/ 1452562 h 4305300"/>
                  <a:gd name="connsiteX247" fmla="*/ 7798594 w 8801100"/>
                  <a:gd name="connsiteY247" fmla="*/ 1488281 h 4305300"/>
                  <a:gd name="connsiteX248" fmla="*/ 7724775 w 8801100"/>
                  <a:gd name="connsiteY248" fmla="*/ 1485900 h 4305300"/>
                  <a:gd name="connsiteX249" fmla="*/ 7667625 w 8801100"/>
                  <a:gd name="connsiteY249" fmla="*/ 1581150 h 4305300"/>
                  <a:gd name="connsiteX250" fmla="*/ 7529513 w 8801100"/>
                  <a:gd name="connsiteY250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3631 w 8801100"/>
                  <a:gd name="connsiteY100" fmla="*/ 781050 h 4305300"/>
                  <a:gd name="connsiteX101" fmla="*/ 2381 w 8801100"/>
                  <a:gd name="connsiteY101" fmla="*/ 1490661 h 4305300"/>
                  <a:gd name="connsiteX102" fmla="*/ 0 w 8801100"/>
                  <a:gd name="connsiteY102" fmla="*/ 709613 h 4305300"/>
                  <a:gd name="connsiteX103" fmla="*/ 76200 w 8801100"/>
                  <a:gd name="connsiteY103" fmla="*/ 692944 h 4305300"/>
                  <a:gd name="connsiteX104" fmla="*/ 119063 w 8801100"/>
                  <a:gd name="connsiteY104" fmla="*/ 721519 h 4305300"/>
                  <a:gd name="connsiteX105" fmla="*/ 215900 w 8801100"/>
                  <a:gd name="connsiteY105" fmla="*/ 712788 h 4305300"/>
                  <a:gd name="connsiteX106" fmla="*/ 261938 w 8801100"/>
                  <a:gd name="connsiteY106" fmla="*/ 740568 h 4305300"/>
                  <a:gd name="connsiteX107" fmla="*/ 228600 w 8801100"/>
                  <a:gd name="connsiteY107" fmla="*/ 769144 h 4305300"/>
                  <a:gd name="connsiteX108" fmla="*/ 233363 w 8801100"/>
                  <a:gd name="connsiteY108" fmla="*/ 812006 h 4305300"/>
                  <a:gd name="connsiteX109" fmla="*/ 200025 w 8801100"/>
                  <a:gd name="connsiteY109" fmla="*/ 816769 h 4305300"/>
                  <a:gd name="connsiteX110" fmla="*/ 204788 w 8801100"/>
                  <a:gd name="connsiteY110" fmla="*/ 840581 h 4305300"/>
                  <a:gd name="connsiteX111" fmla="*/ 261937 w 8801100"/>
                  <a:gd name="connsiteY111" fmla="*/ 914400 h 4305300"/>
                  <a:gd name="connsiteX112" fmla="*/ 223838 w 8801100"/>
                  <a:gd name="connsiteY112" fmla="*/ 962025 h 4305300"/>
                  <a:gd name="connsiteX113" fmla="*/ 278606 w 8801100"/>
                  <a:gd name="connsiteY113" fmla="*/ 997744 h 4305300"/>
                  <a:gd name="connsiteX114" fmla="*/ 369094 w 8801100"/>
                  <a:gd name="connsiteY114" fmla="*/ 1085850 h 4305300"/>
                  <a:gd name="connsiteX115" fmla="*/ 371475 w 8801100"/>
                  <a:gd name="connsiteY115" fmla="*/ 1145381 h 4305300"/>
                  <a:gd name="connsiteX116" fmla="*/ 507206 w 8801100"/>
                  <a:gd name="connsiteY116" fmla="*/ 1278732 h 4305300"/>
                  <a:gd name="connsiteX117" fmla="*/ 561975 w 8801100"/>
                  <a:gd name="connsiteY117" fmla="*/ 1254919 h 4305300"/>
                  <a:gd name="connsiteX118" fmla="*/ 600075 w 8801100"/>
                  <a:gd name="connsiteY118" fmla="*/ 1281112 h 4305300"/>
                  <a:gd name="connsiteX119" fmla="*/ 614363 w 8801100"/>
                  <a:gd name="connsiteY119" fmla="*/ 1331118 h 4305300"/>
                  <a:gd name="connsiteX120" fmla="*/ 657225 w 8801100"/>
                  <a:gd name="connsiteY120" fmla="*/ 1366838 h 4305300"/>
                  <a:gd name="connsiteX121" fmla="*/ 697706 w 8801100"/>
                  <a:gd name="connsiteY121" fmla="*/ 1354931 h 4305300"/>
                  <a:gd name="connsiteX122" fmla="*/ 716756 w 8801100"/>
                  <a:gd name="connsiteY122" fmla="*/ 1412081 h 4305300"/>
                  <a:gd name="connsiteX123" fmla="*/ 764381 w 8801100"/>
                  <a:gd name="connsiteY123" fmla="*/ 1454944 h 4305300"/>
                  <a:gd name="connsiteX124" fmla="*/ 788194 w 8801100"/>
                  <a:gd name="connsiteY124" fmla="*/ 1557338 h 4305300"/>
                  <a:gd name="connsiteX125" fmla="*/ 785813 w 8801100"/>
                  <a:gd name="connsiteY125" fmla="*/ 1604963 h 4305300"/>
                  <a:gd name="connsiteX126" fmla="*/ 821531 w 8801100"/>
                  <a:gd name="connsiteY126" fmla="*/ 1704975 h 4305300"/>
                  <a:gd name="connsiteX127" fmla="*/ 866775 w 8801100"/>
                  <a:gd name="connsiteY127" fmla="*/ 1762125 h 4305300"/>
                  <a:gd name="connsiteX128" fmla="*/ 883443 w 8801100"/>
                  <a:gd name="connsiteY128" fmla="*/ 1919287 h 4305300"/>
                  <a:gd name="connsiteX129" fmla="*/ 850106 w 8801100"/>
                  <a:gd name="connsiteY129" fmla="*/ 1981200 h 4305300"/>
                  <a:gd name="connsiteX130" fmla="*/ 819150 w 8801100"/>
                  <a:gd name="connsiteY130" fmla="*/ 2057400 h 4305300"/>
                  <a:gd name="connsiteX131" fmla="*/ 833438 w 8801100"/>
                  <a:gd name="connsiteY131" fmla="*/ 2114550 h 4305300"/>
                  <a:gd name="connsiteX132" fmla="*/ 735806 w 8801100"/>
                  <a:gd name="connsiteY132" fmla="*/ 2221707 h 4305300"/>
                  <a:gd name="connsiteX133" fmla="*/ 692944 w 8801100"/>
                  <a:gd name="connsiteY133" fmla="*/ 2336006 h 4305300"/>
                  <a:gd name="connsiteX134" fmla="*/ 726281 w 8801100"/>
                  <a:gd name="connsiteY134" fmla="*/ 2376488 h 4305300"/>
                  <a:gd name="connsiteX135" fmla="*/ 709613 w 8801100"/>
                  <a:gd name="connsiteY135" fmla="*/ 2405063 h 4305300"/>
                  <a:gd name="connsiteX136" fmla="*/ 740569 w 8801100"/>
                  <a:gd name="connsiteY136" fmla="*/ 2462213 h 4305300"/>
                  <a:gd name="connsiteX137" fmla="*/ 769144 w 8801100"/>
                  <a:gd name="connsiteY137" fmla="*/ 2462213 h 4305300"/>
                  <a:gd name="connsiteX138" fmla="*/ 931069 w 8801100"/>
                  <a:gd name="connsiteY138" fmla="*/ 2564606 h 4305300"/>
                  <a:gd name="connsiteX139" fmla="*/ 1035844 w 8801100"/>
                  <a:gd name="connsiteY139" fmla="*/ 2562225 h 4305300"/>
                  <a:gd name="connsiteX140" fmla="*/ 1114425 w 8801100"/>
                  <a:gd name="connsiteY140" fmla="*/ 2616994 h 4305300"/>
                  <a:gd name="connsiteX141" fmla="*/ 1245393 w 8801100"/>
                  <a:gd name="connsiteY141" fmla="*/ 2619375 h 4305300"/>
                  <a:gd name="connsiteX142" fmla="*/ 1435893 w 8801100"/>
                  <a:gd name="connsiteY142" fmla="*/ 2688431 h 4305300"/>
                  <a:gd name="connsiteX143" fmla="*/ 1638300 w 8801100"/>
                  <a:gd name="connsiteY143" fmla="*/ 2838450 h 4305300"/>
                  <a:gd name="connsiteX144" fmla="*/ 1671637 w 8801100"/>
                  <a:gd name="connsiteY144" fmla="*/ 2905125 h 4305300"/>
                  <a:gd name="connsiteX145" fmla="*/ 1838325 w 8801100"/>
                  <a:gd name="connsiteY145" fmla="*/ 3031331 h 4305300"/>
                  <a:gd name="connsiteX146" fmla="*/ 1909763 w 8801100"/>
                  <a:gd name="connsiteY146" fmla="*/ 3026569 h 4305300"/>
                  <a:gd name="connsiteX147" fmla="*/ 1945482 w 8801100"/>
                  <a:gd name="connsiteY147" fmla="*/ 3050381 h 4305300"/>
                  <a:gd name="connsiteX148" fmla="*/ 1916906 w 8801100"/>
                  <a:gd name="connsiteY148" fmla="*/ 3090863 h 4305300"/>
                  <a:gd name="connsiteX149" fmla="*/ 1924050 w 8801100"/>
                  <a:gd name="connsiteY149" fmla="*/ 3143250 h 4305300"/>
                  <a:gd name="connsiteX150" fmla="*/ 1976438 w 8801100"/>
                  <a:gd name="connsiteY150" fmla="*/ 3169444 h 4305300"/>
                  <a:gd name="connsiteX151" fmla="*/ 2038350 w 8801100"/>
                  <a:gd name="connsiteY151" fmla="*/ 3393282 h 4305300"/>
                  <a:gd name="connsiteX152" fmla="*/ 2028825 w 8801100"/>
                  <a:gd name="connsiteY152" fmla="*/ 3457575 h 4305300"/>
                  <a:gd name="connsiteX153" fmla="*/ 2164556 w 8801100"/>
                  <a:gd name="connsiteY153" fmla="*/ 3624263 h 4305300"/>
                  <a:gd name="connsiteX154" fmla="*/ 2183606 w 8801100"/>
                  <a:gd name="connsiteY154" fmla="*/ 3674269 h 4305300"/>
                  <a:gd name="connsiteX155" fmla="*/ 2157413 w 8801100"/>
                  <a:gd name="connsiteY155" fmla="*/ 3693319 h 4305300"/>
                  <a:gd name="connsiteX156" fmla="*/ 2259806 w 8801100"/>
                  <a:gd name="connsiteY156" fmla="*/ 3702844 h 4305300"/>
                  <a:gd name="connsiteX157" fmla="*/ 2371725 w 8801100"/>
                  <a:gd name="connsiteY157" fmla="*/ 3690938 h 4305300"/>
                  <a:gd name="connsiteX158" fmla="*/ 2650331 w 8801100"/>
                  <a:gd name="connsiteY158" fmla="*/ 3774281 h 4305300"/>
                  <a:gd name="connsiteX159" fmla="*/ 3057525 w 8801100"/>
                  <a:gd name="connsiteY159" fmla="*/ 3855244 h 4305300"/>
                  <a:gd name="connsiteX160" fmla="*/ 3255169 w 8801100"/>
                  <a:gd name="connsiteY160" fmla="*/ 3824287 h 4305300"/>
                  <a:gd name="connsiteX161" fmla="*/ 3300413 w 8801100"/>
                  <a:gd name="connsiteY161" fmla="*/ 3836193 h 4305300"/>
                  <a:gd name="connsiteX162" fmla="*/ 3355181 w 8801100"/>
                  <a:gd name="connsiteY162" fmla="*/ 3812382 h 4305300"/>
                  <a:gd name="connsiteX163" fmla="*/ 3748087 w 8801100"/>
                  <a:gd name="connsiteY163" fmla="*/ 3902869 h 4305300"/>
                  <a:gd name="connsiteX164" fmla="*/ 3831432 w 8801100"/>
                  <a:gd name="connsiteY164" fmla="*/ 4000500 h 4305300"/>
                  <a:gd name="connsiteX165" fmla="*/ 3950494 w 8801100"/>
                  <a:gd name="connsiteY165" fmla="*/ 4071938 h 4305300"/>
                  <a:gd name="connsiteX166" fmla="*/ 4010025 w 8801100"/>
                  <a:gd name="connsiteY166" fmla="*/ 4055269 h 4305300"/>
                  <a:gd name="connsiteX167" fmla="*/ 4360068 w 8801100"/>
                  <a:gd name="connsiteY167" fmla="*/ 4229100 h 4305300"/>
                  <a:gd name="connsiteX168" fmla="*/ 4586288 w 8801100"/>
                  <a:gd name="connsiteY168" fmla="*/ 4200525 h 4305300"/>
                  <a:gd name="connsiteX169" fmla="*/ 4595813 w 8801100"/>
                  <a:gd name="connsiteY169" fmla="*/ 4279106 h 4305300"/>
                  <a:gd name="connsiteX170" fmla="*/ 4681538 w 8801100"/>
                  <a:gd name="connsiteY170" fmla="*/ 4274343 h 4305300"/>
                  <a:gd name="connsiteX171" fmla="*/ 4760119 w 8801100"/>
                  <a:gd name="connsiteY171" fmla="*/ 4305300 h 4305300"/>
                  <a:gd name="connsiteX172" fmla="*/ 4802981 w 8801100"/>
                  <a:gd name="connsiteY172" fmla="*/ 4245769 h 4305300"/>
                  <a:gd name="connsiteX173" fmla="*/ 5474494 w 8801100"/>
                  <a:gd name="connsiteY173" fmla="*/ 3926681 h 4305300"/>
                  <a:gd name="connsiteX174" fmla="*/ 5562600 w 8801100"/>
                  <a:gd name="connsiteY174" fmla="*/ 3955257 h 4305300"/>
                  <a:gd name="connsiteX175" fmla="*/ 5693569 w 8801100"/>
                  <a:gd name="connsiteY175" fmla="*/ 3926681 h 4305300"/>
                  <a:gd name="connsiteX176" fmla="*/ 5872162 w 8801100"/>
                  <a:gd name="connsiteY176" fmla="*/ 3943350 h 4305300"/>
                  <a:gd name="connsiteX177" fmla="*/ 5929313 w 8801100"/>
                  <a:gd name="connsiteY177" fmla="*/ 3917157 h 4305300"/>
                  <a:gd name="connsiteX178" fmla="*/ 6062662 w 8801100"/>
                  <a:gd name="connsiteY178" fmla="*/ 3914775 h 4305300"/>
                  <a:gd name="connsiteX179" fmla="*/ 6196012 w 8801100"/>
                  <a:gd name="connsiteY179" fmla="*/ 3817144 h 4305300"/>
                  <a:gd name="connsiteX180" fmla="*/ 6262687 w 8801100"/>
                  <a:gd name="connsiteY180" fmla="*/ 3810000 h 4305300"/>
                  <a:gd name="connsiteX181" fmla="*/ 6360319 w 8801100"/>
                  <a:gd name="connsiteY181" fmla="*/ 3736181 h 4305300"/>
                  <a:gd name="connsiteX182" fmla="*/ 6434138 w 8801100"/>
                  <a:gd name="connsiteY182" fmla="*/ 3667125 h 4305300"/>
                  <a:gd name="connsiteX183" fmla="*/ 6443663 w 8801100"/>
                  <a:gd name="connsiteY183" fmla="*/ 3605213 h 4305300"/>
                  <a:gd name="connsiteX184" fmla="*/ 6477000 w 8801100"/>
                  <a:gd name="connsiteY184" fmla="*/ 3536156 h 4305300"/>
                  <a:gd name="connsiteX185" fmla="*/ 6629400 w 8801100"/>
                  <a:gd name="connsiteY185" fmla="*/ 3429000 h 4305300"/>
                  <a:gd name="connsiteX186" fmla="*/ 6662738 w 8801100"/>
                  <a:gd name="connsiteY186" fmla="*/ 3433763 h 4305300"/>
                  <a:gd name="connsiteX187" fmla="*/ 6715125 w 8801100"/>
                  <a:gd name="connsiteY187" fmla="*/ 3355181 h 4305300"/>
                  <a:gd name="connsiteX188" fmla="*/ 6762750 w 8801100"/>
                  <a:gd name="connsiteY188" fmla="*/ 3317081 h 4305300"/>
                  <a:gd name="connsiteX189" fmla="*/ 6748463 w 8801100"/>
                  <a:gd name="connsiteY189" fmla="*/ 3248025 h 4305300"/>
                  <a:gd name="connsiteX190" fmla="*/ 6698456 w 8801100"/>
                  <a:gd name="connsiteY190" fmla="*/ 3217068 h 4305300"/>
                  <a:gd name="connsiteX191" fmla="*/ 6638925 w 8801100"/>
                  <a:gd name="connsiteY191" fmla="*/ 3162300 h 4305300"/>
                  <a:gd name="connsiteX192" fmla="*/ 6619875 w 8801100"/>
                  <a:gd name="connsiteY192" fmla="*/ 3105150 h 4305300"/>
                  <a:gd name="connsiteX193" fmla="*/ 6584156 w 8801100"/>
                  <a:gd name="connsiteY193" fmla="*/ 3071813 h 4305300"/>
                  <a:gd name="connsiteX194" fmla="*/ 6610350 w 8801100"/>
                  <a:gd name="connsiteY194" fmla="*/ 3019425 h 4305300"/>
                  <a:gd name="connsiteX195" fmla="*/ 6650831 w 8801100"/>
                  <a:gd name="connsiteY195" fmla="*/ 2840831 h 4305300"/>
                  <a:gd name="connsiteX196" fmla="*/ 6691313 w 8801100"/>
                  <a:gd name="connsiteY196" fmla="*/ 2774156 h 4305300"/>
                  <a:gd name="connsiteX197" fmla="*/ 6836569 w 8801100"/>
                  <a:gd name="connsiteY197" fmla="*/ 2757487 h 4305300"/>
                  <a:gd name="connsiteX198" fmla="*/ 6905625 w 8801100"/>
                  <a:gd name="connsiteY198" fmla="*/ 2814638 h 4305300"/>
                  <a:gd name="connsiteX199" fmla="*/ 6981825 w 8801100"/>
                  <a:gd name="connsiteY199" fmla="*/ 2838450 h 4305300"/>
                  <a:gd name="connsiteX200" fmla="*/ 7186612 w 8801100"/>
                  <a:gd name="connsiteY200" fmla="*/ 2843213 h 4305300"/>
                  <a:gd name="connsiteX201" fmla="*/ 7362825 w 8801100"/>
                  <a:gd name="connsiteY201" fmla="*/ 2705100 h 4305300"/>
                  <a:gd name="connsiteX202" fmla="*/ 7419975 w 8801100"/>
                  <a:gd name="connsiteY202" fmla="*/ 2614612 h 4305300"/>
                  <a:gd name="connsiteX203" fmla="*/ 7446169 w 8801100"/>
                  <a:gd name="connsiteY203" fmla="*/ 2531269 h 4305300"/>
                  <a:gd name="connsiteX204" fmla="*/ 7577137 w 8801100"/>
                  <a:gd name="connsiteY204" fmla="*/ 2531269 h 4305300"/>
                  <a:gd name="connsiteX205" fmla="*/ 7750969 w 8801100"/>
                  <a:gd name="connsiteY205" fmla="*/ 2474118 h 4305300"/>
                  <a:gd name="connsiteX206" fmla="*/ 7810500 w 8801100"/>
                  <a:gd name="connsiteY206" fmla="*/ 2362200 h 4305300"/>
                  <a:gd name="connsiteX207" fmla="*/ 7874794 w 8801100"/>
                  <a:gd name="connsiteY207" fmla="*/ 2326481 h 4305300"/>
                  <a:gd name="connsiteX208" fmla="*/ 7853363 w 8801100"/>
                  <a:gd name="connsiteY208" fmla="*/ 2281238 h 4305300"/>
                  <a:gd name="connsiteX209" fmla="*/ 7931944 w 8801100"/>
                  <a:gd name="connsiteY209" fmla="*/ 2112168 h 4305300"/>
                  <a:gd name="connsiteX210" fmla="*/ 7986713 w 8801100"/>
                  <a:gd name="connsiteY210" fmla="*/ 2052638 h 4305300"/>
                  <a:gd name="connsiteX211" fmla="*/ 8024813 w 8801100"/>
                  <a:gd name="connsiteY211" fmla="*/ 2047875 h 4305300"/>
                  <a:gd name="connsiteX212" fmla="*/ 8070056 w 8801100"/>
                  <a:gd name="connsiteY212" fmla="*/ 2052638 h 4305300"/>
                  <a:gd name="connsiteX213" fmla="*/ 8134350 w 8801100"/>
                  <a:gd name="connsiteY213" fmla="*/ 2019300 h 4305300"/>
                  <a:gd name="connsiteX214" fmla="*/ 8143875 w 8801100"/>
                  <a:gd name="connsiteY214" fmla="*/ 1955006 h 4305300"/>
                  <a:gd name="connsiteX215" fmla="*/ 8184355 w 8801100"/>
                  <a:gd name="connsiteY215" fmla="*/ 1919288 h 4305300"/>
                  <a:gd name="connsiteX216" fmla="*/ 8243888 w 8801100"/>
                  <a:gd name="connsiteY216" fmla="*/ 1959768 h 4305300"/>
                  <a:gd name="connsiteX217" fmla="*/ 8270082 w 8801100"/>
                  <a:gd name="connsiteY217" fmla="*/ 1909762 h 4305300"/>
                  <a:gd name="connsiteX218" fmla="*/ 8365331 w 8801100"/>
                  <a:gd name="connsiteY218" fmla="*/ 1840706 h 4305300"/>
                  <a:gd name="connsiteX219" fmla="*/ 8427244 w 8801100"/>
                  <a:gd name="connsiteY219" fmla="*/ 1847850 h 4305300"/>
                  <a:gd name="connsiteX220" fmla="*/ 8477250 w 8801100"/>
                  <a:gd name="connsiteY220" fmla="*/ 1828800 h 4305300"/>
                  <a:gd name="connsiteX221" fmla="*/ 8515350 w 8801100"/>
                  <a:gd name="connsiteY221" fmla="*/ 1800225 h 4305300"/>
                  <a:gd name="connsiteX222" fmla="*/ 8548688 w 8801100"/>
                  <a:gd name="connsiteY222" fmla="*/ 1797844 h 4305300"/>
                  <a:gd name="connsiteX223" fmla="*/ 8584406 w 8801100"/>
                  <a:gd name="connsiteY223" fmla="*/ 1828800 h 4305300"/>
                  <a:gd name="connsiteX224" fmla="*/ 8643938 w 8801100"/>
                  <a:gd name="connsiteY224" fmla="*/ 1828800 h 4305300"/>
                  <a:gd name="connsiteX225" fmla="*/ 8682037 w 8801100"/>
                  <a:gd name="connsiteY225" fmla="*/ 1809750 h 4305300"/>
                  <a:gd name="connsiteX226" fmla="*/ 8765381 w 8801100"/>
                  <a:gd name="connsiteY226" fmla="*/ 1812132 h 4305300"/>
                  <a:gd name="connsiteX227" fmla="*/ 8796338 w 8801100"/>
                  <a:gd name="connsiteY227" fmla="*/ 1766888 h 4305300"/>
                  <a:gd name="connsiteX228" fmla="*/ 8801100 w 8801100"/>
                  <a:gd name="connsiteY228" fmla="*/ 1704975 h 4305300"/>
                  <a:gd name="connsiteX229" fmla="*/ 8751093 w 8801100"/>
                  <a:gd name="connsiteY229" fmla="*/ 1664494 h 4305300"/>
                  <a:gd name="connsiteX230" fmla="*/ 8734425 w 8801100"/>
                  <a:gd name="connsiteY230" fmla="*/ 1609725 h 4305300"/>
                  <a:gd name="connsiteX231" fmla="*/ 8643938 w 8801100"/>
                  <a:gd name="connsiteY231" fmla="*/ 1547813 h 4305300"/>
                  <a:gd name="connsiteX232" fmla="*/ 8603456 w 8801100"/>
                  <a:gd name="connsiteY232" fmla="*/ 1526381 h 4305300"/>
                  <a:gd name="connsiteX233" fmla="*/ 8565356 w 8801100"/>
                  <a:gd name="connsiteY233" fmla="*/ 1481138 h 4305300"/>
                  <a:gd name="connsiteX234" fmla="*/ 8534400 w 8801100"/>
                  <a:gd name="connsiteY234" fmla="*/ 1478756 h 4305300"/>
                  <a:gd name="connsiteX235" fmla="*/ 8517731 w 8801100"/>
                  <a:gd name="connsiteY235" fmla="*/ 1426369 h 4305300"/>
                  <a:gd name="connsiteX236" fmla="*/ 8477250 w 8801100"/>
                  <a:gd name="connsiteY236" fmla="*/ 1409700 h 4305300"/>
                  <a:gd name="connsiteX237" fmla="*/ 8477250 w 8801100"/>
                  <a:gd name="connsiteY237" fmla="*/ 1409700 h 4305300"/>
                  <a:gd name="connsiteX238" fmla="*/ 8436769 w 8801100"/>
                  <a:gd name="connsiteY238" fmla="*/ 1414463 h 4305300"/>
                  <a:gd name="connsiteX239" fmla="*/ 8351043 w 8801100"/>
                  <a:gd name="connsiteY239" fmla="*/ 1340644 h 4305300"/>
                  <a:gd name="connsiteX240" fmla="*/ 8170069 w 8801100"/>
                  <a:gd name="connsiteY240" fmla="*/ 1340643 h 4305300"/>
                  <a:gd name="connsiteX241" fmla="*/ 8117681 w 8801100"/>
                  <a:gd name="connsiteY241" fmla="*/ 1378744 h 4305300"/>
                  <a:gd name="connsiteX242" fmla="*/ 8067675 w 8801100"/>
                  <a:gd name="connsiteY242" fmla="*/ 1457325 h 4305300"/>
                  <a:gd name="connsiteX243" fmla="*/ 8084344 w 8801100"/>
                  <a:gd name="connsiteY243" fmla="*/ 1478756 h 4305300"/>
                  <a:gd name="connsiteX244" fmla="*/ 8039100 w 8801100"/>
                  <a:gd name="connsiteY244" fmla="*/ 1528762 h 4305300"/>
                  <a:gd name="connsiteX245" fmla="*/ 7889081 w 8801100"/>
                  <a:gd name="connsiteY245" fmla="*/ 1452562 h 4305300"/>
                  <a:gd name="connsiteX246" fmla="*/ 7798594 w 8801100"/>
                  <a:gd name="connsiteY246" fmla="*/ 1488281 h 4305300"/>
                  <a:gd name="connsiteX247" fmla="*/ 7724775 w 8801100"/>
                  <a:gd name="connsiteY247" fmla="*/ 1485900 h 4305300"/>
                  <a:gd name="connsiteX248" fmla="*/ 7667625 w 8801100"/>
                  <a:gd name="connsiteY248" fmla="*/ 1581150 h 4305300"/>
                  <a:gd name="connsiteX249" fmla="*/ 7529513 w 8801100"/>
                  <a:gd name="connsiteY249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428875 w 8801100"/>
                  <a:gd name="connsiteY99" fmla="*/ 769144 h 4305300"/>
                  <a:gd name="connsiteX100" fmla="*/ 2381 w 8801100"/>
                  <a:gd name="connsiteY100" fmla="*/ 1490661 h 4305300"/>
                  <a:gd name="connsiteX101" fmla="*/ 0 w 8801100"/>
                  <a:gd name="connsiteY101" fmla="*/ 709613 h 4305300"/>
                  <a:gd name="connsiteX102" fmla="*/ 76200 w 8801100"/>
                  <a:gd name="connsiteY102" fmla="*/ 692944 h 4305300"/>
                  <a:gd name="connsiteX103" fmla="*/ 119063 w 8801100"/>
                  <a:gd name="connsiteY103" fmla="*/ 721519 h 4305300"/>
                  <a:gd name="connsiteX104" fmla="*/ 215900 w 8801100"/>
                  <a:gd name="connsiteY104" fmla="*/ 712788 h 4305300"/>
                  <a:gd name="connsiteX105" fmla="*/ 261938 w 8801100"/>
                  <a:gd name="connsiteY105" fmla="*/ 740568 h 4305300"/>
                  <a:gd name="connsiteX106" fmla="*/ 228600 w 8801100"/>
                  <a:gd name="connsiteY106" fmla="*/ 769144 h 4305300"/>
                  <a:gd name="connsiteX107" fmla="*/ 233363 w 8801100"/>
                  <a:gd name="connsiteY107" fmla="*/ 812006 h 4305300"/>
                  <a:gd name="connsiteX108" fmla="*/ 200025 w 8801100"/>
                  <a:gd name="connsiteY108" fmla="*/ 816769 h 4305300"/>
                  <a:gd name="connsiteX109" fmla="*/ 204788 w 8801100"/>
                  <a:gd name="connsiteY109" fmla="*/ 840581 h 4305300"/>
                  <a:gd name="connsiteX110" fmla="*/ 261937 w 8801100"/>
                  <a:gd name="connsiteY110" fmla="*/ 914400 h 4305300"/>
                  <a:gd name="connsiteX111" fmla="*/ 223838 w 8801100"/>
                  <a:gd name="connsiteY111" fmla="*/ 962025 h 4305300"/>
                  <a:gd name="connsiteX112" fmla="*/ 278606 w 8801100"/>
                  <a:gd name="connsiteY112" fmla="*/ 997744 h 4305300"/>
                  <a:gd name="connsiteX113" fmla="*/ 369094 w 8801100"/>
                  <a:gd name="connsiteY113" fmla="*/ 1085850 h 4305300"/>
                  <a:gd name="connsiteX114" fmla="*/ 371475 w 8801100"/>
                  <a:gd name="connsiteY114" fmla="*/ 1145381 h 4305300"/>
                  <a:gd name="connsiteX115" fmla="*/ 507206 w 8801100"/>
                  <a:gd name="connsiteY115" fmla="*/ 1278732 h 4305300"/>
                  <a:gd name="connsiteX116" fmla="*/ 561975 w 8801100"/>
                  <a:gd name="connsiteY116" fmla="*/ 1254919 h 4305300"/>
                  <a:gd name="connsiteX117" fmla="*/ 600075 w 8801100"/>
                  <a:gd name="connsiteY117" fmla="*/ 1281112 h 4305300"/>
                  <a:gd name="connsiteX118" fmla="*/ 614363 w 8801100"/>
                  <a:gd name="connsiteY118" fmla="*/ 1331118 h 4305300"/>
                  <a:gd name="connsiteX119" fmla="*/ 657225 w 8801100"/>
                  <a:gd name="connsiteY119" fmla="*/ 1366838 h 4305300"/>
                  <a:gd name="connsiteX120" fmla="*/ 697706 w 8801100"/>
                  <a:gd name="connsiteY120" fmla="*/ 1354931 h 4305300"/>
                  <a:gd name="connsiteX121" fmla="*/ 716756 w 8801100"/>
                  <a:gd name="connsiteY121" fmla="*/ 1412081 h 4305300"/>
                  <a:gd name="connsiteX122" fmla="*/ 764381 w 8801100"/>
                  <a:gd name="connsiteY122" fmla="*/ 1454944 h 4305300"/>
                  <a:gd name="connsiteX123" fmla="*/ 788194 w 8801100"/>
                  <a:gd name="connsiteY123" fmla="*/ 1557338 h 4305300"/>
                  <a:gd name="connsiteX124" fmla="*/ 785813 w 8801100"/>
                  <a:gd name="connsiteY124" fmla="*/ 1604963 h 4305300"/>
                  <a:gd name="connsiteX125" fmla="*/ 821531 w 8801100"/>
                  <a:gd name="connsiteY125" fmla="*/ 1704975 h 4305300"/>
                  <a:gd name="connsiteX126" fmla="*/ 866775 w 8801100"/>
                  <a:gd name="connsiteY126" fmla="*/ 1762125 h 4305300"/>
                  <a:gd name="connsiteX127" fmla="*/ 883443 w 8801100"/>
                  <a:gd name="connsiteY127" fmla="*/ 1919287 h 4305300"/>
                  <a:gd name="connsiteX128" fmla="*/ 850106 w 8801100"/>
                  <a:gd name="connsiteY128" fmla="*/ 1981200 h 4305300"/>
                  <a:gd name="connsiteX129" fmla="*/ 819150 w 8801100"/>
                  <a:gd name="connsiteY129" fmla="*/ 2057400 h 4305300"/>
                  <a:gd name="connsiteX130" fmla="*/ 833438 w 8801100"/>
                  <a:gd name="connsiteY130" fmla="*/ 2114550 h 4305300"/>
                  <a:gd name="connsiteX131" fmla="*/ 735806 w 8801100"/>
                  <a:gd name="connsiteY131" fmla="*/ 2221707 h 4305300"/>
                  <a:gd name="connsiteX132" fmla="*/ 692944 w 8801100"/>
                  <a:gd name="connsiteY132" fmla="*/ 2336006 h 4305300"/>
                  <a:gd name="connsiteX133" fmla="*/ 726281 w 8801100"/>
                  <a:gd name="connsiteY133" fmla="*/ 2376488 h 4305300"/>
                  <a:gd name="connsiteX134" fmla="*/ 709613 w 8801100"/>
                  <a:gd name="connsiteY134" fmla="*/ 2405063 h 4305300"/>
                  <a:gd name="connsiteX135" fmla="*/ 740569 w 8801100"/>
                  <a:gd name="connsiteY135" fmla="*/ 2462213 h 4305300"/>
                  <a:gd name="connsiteX136" fmla="*/ 769144 w 8801100"/>
                  <a:gd name="connsiteY136" fmla="*/ 2462213 h 4305300"/>
                  <a:gd name="connsiteX137" fmla="*/ 931069 w 8801100"/>
                  <a:gd name="connsiteY137" fmla="*/ 2564606 h 4305300"/>
                  <a:gd name="connsiteX138" fmla="*/ 1035844 w 8801100"/>
                  <a:gd name="connsiteY138" fmla="*/ 2562225 h 4305300"/>
                  <a:gd name="connsiteX139" fmla="*/ 1114425 w 8801100"/>
                  <a:gd name="connsiteY139" fmla="*/ 2616994 h 4305300"/>
                  <a:gd name="connsiteX140" fmla="*/ 1245393 w 8801100"/>
                  <a:gd name="connsiteY140" fmla="*/ 2619375 h 4305300"/>
                  <a:gd name="connsiteX141" fmla="*/ 1435893 w 8801100"/>
                  <a:gd name="connsiteY141" fmla="*/ 2688431 h 4305300"/>
                  <a:gd name="connsiteX142" fmla="*/ 1638300 w 8801100"/>
                  <a:gd name="connsiteY142" fmla="*/ 2838450 h 4305300"/>
                  <a:gd name="connsiteX143" fmla="*/ 1671637 w 8801100"/>
                  <a:gd name="connsiteY143" fmla="*/ 2905125 h 4305300"/>
                  <a:gd name="connsiteX144" fmla="*/ 1838325 w 8801100"/>
                  <a:gd name="connsiteY144" fmla="*/ 3031331 h 4305300"/>
                  <a:gd name="connsiteX145" fmla="*/ 1909763 w 8801100"/>
                  <a:gd name="connsiteY145" fmla="*/ 3026569 h 4305300"/>
                  <a:gd name="connsiteX146" fmla="*/ 1945482 w 8801100"/>
                  <a:gd name="connsiteY146" fmla="*/ 3050381 h 4305300"/>
                  <a:gd name="connsiteX147" fmla="*/ 1916906 w 8801100"/>
                  <a:gd name="connsiteY147" fmla="*/ 3090863 h 4305300"/>
                  <a:gd name="connsiteX148" fmla="*/ 1924050 w 8801100"/>
                  <a:gd name="connsiteY148" fmla="*/ 3143250 h 4305300"/>
                  <a:gd name="connsiteX149" fmla="*/ 1976438 w 8801100"/>
                  <a:gd name="connsiteY149" fmla="*/ 3169444 h 4305300"/>
                  <a:gd name="connsiteX150" fmla="*/ 2038350 w 8801100"/>
                  <a:gd name="connsiteY150" fmla="*/ 3393282 h 4305300"/>
                  <a:gd name="connsiteX151" fmla="*/ 2028825 w 8801100"/>
                  <a:gd name="connsiteY151" fmla="*/ 3457575 h 4305300"/>
                  <a:gd name="connsiteX152" fmla="*/ 2164556 w 8801100"/>
                  <a:gd name="connsiteY152" fmla="*/ 3624263 h 4305300"/>
                  <a:gd name="connsiteX153" fmla="*/ 2183606 w 8801100"/>
                  <a:gd name="connsiteY153" fmla="*/ 3674269 h 4305300"/>
                  <a:gd name="connsiteX154" fmla="*/ 2157413 w 8801100"/>
                  <a:gd name="connsiteY154" fmla="*/ 3693319 h 4305300"/>
                  <a:gd name="connsiteX155" fmla="*/ 2259806 w 8801100"/>
                  <a:gd name="connsiteY155" fmla="*/ 3702844 h 4305300"/>
                  <a:gd name="connsiteX156" fmla="*/ 2371725 w 8801100"/>
                  <a:gd name="connsiteY156" fmla="*/ 3690938 h 4305300"/>
                  <a:gd name="connsiteX157" fmla="*/ 2650331 w 8801100"/>
                  <a:gd name="connsiteY157" fmla="*/ 3774281 h 4305300"/>
                  <a:gd name="connsiteX158" fmla="*/ 3057525 w 8801100"/>
                  <a:gd name="connsiteY158" fmla="*/ 3855244 h 4305300"/>
                  <a:gd name="connsiteX159" fmla="*/ 3255169 w 8801100"/>
                  <a:gd name="connsiteY159" fmla="*/ 3824287 h 4305300"/>
                  <a:gd name="connsiteX160" fmla="*/ 3300413 w 8801100"/>
                  <a:gd name="connsiteY160" fmla="*/ 3836193 h 4305300"/>
                  <a:gd name="connsiteX161" fmla="*/ 3355181 w 8801100"/>
                  <a:gd name="connsiteY161" fmla="*/ 3812382 h 4305300"/>
                  <a:gd name="connsiteX162" fmla="*/ 3748087 w 8801100"/>
                  <a:gd name="connsiteY162" fmla="*/ 3902869 h 4305300"/>
                  <a:gd name="connsiteX163" fmla="*/ 3831432 w 8801100"/>
                  <a:gd name="connsiteY163" fmla="*/ 4000500 h 4305300"/>
                  <a:gd name="connsiteX164" fmla="*/ 3950494 w 8801100"/>
                  <a:gd name="connsiteY164" fmla="*/ 4071938 h 4305300"/>
                  <a:gd name="connsiteX165" fmla="*/ 4010025 w 8801100"/>
                  <a:gd name="connsiteY165" fmla="*/ 4055269 h 4305300"/>
                  <a:gd name="connsiteX166" fmla="*/ 4360068 w 8801100"/>
                  <a:gd name="connsiteY166" fmla="*/ 4229100 h 4305300"/>
                  <a:gd name="connsiteX167" fmla="*/ 4586288 w 8801100"/>
                  <a:gd name="connsiteY167" fmla="*/ 4200525 h 4305300"/>
                  <a:gd name="connsiteX168" fmla="*/ 4595813 w 8801100"/>
                  <a:gd name="connsiteY168" fmla="*/ 4279106 h 4305300"/>
                  <a:gd name="connsiteX169" fmla="*/ 4681538 w 8801100"/>
                  <a:gd name="connsiteY169" fmla="*/ 4274343 h 4305300"/>
                  <a:gd name="connsiteX170" fmla="*/ 4760119 w 8801100"/>
                  <a:gd name="connsiteY170" fmla="*/ 4305300 h 4305300"/>
                  <a:gd name="connsiteX171" fmla="*/ 4802981 w 8801100"/>
                  <a:gd name="connsiteY171" fmla="*/ 4245769 h 4305300"/>
                  <a:gd name="connsiteX172" fmla="*/ 5474494 w 8801100"/>
                  <a:gd name="connsiteY172" fmla="*/ 3926681 h 4305300"/>
                  <a:gd name="connsiteX173" fmla="*/ 5562600 w 8801100"/>
                  <a:gd name="connsiteY173" fmla="*/ 3955257 h 4305300"/>
                  <a:gd name="connsiteX174" fmla="*/ 5693569 w 8801100"/>
                  <a:gd name="connsiteY174" fmla="*/ 3926681 h 4305300"/>
                  <a:gd name="connsiteX175" fmla="*/ 5872162 w 8801100"/>
                  <a:gd name="connsiteY175" fmla="*/ 3943350 h 4305300"/>
                  <a:gd name="connsiteX176" fmla="*/ 5929313 w 8801100"/>
                  <a:gd name="connsiteY176" fmla="*/ 3917157 h 4305300"/>
                  <a:gd name="connsiteX177" fmla="*/ 6062662 w 8801100"/>
                  <a:gd name="connsiteY177" fmla="*/ 3914775 h 4305300"/>
                  <a:gd name="connsiteX178" fmla="*/ 6196012 w 8801100"/>
                  <a:gd name="connsiteY178" fmla="*/ 3817144 h 4305300"/>
                  <a:gd name="connsiteX179" fmla="*/ 6262687 w 8801100"/>
                  <a:gd name="connsiteY179" fmla="*/ 3810000 h 4305300"/>
                  <a:gd name="connsiteX180" fmla="*/ 6360319 w 8801100"/>
                  <a:gd name="connsiteY180" fmla="*/ 3736181 h 4305300"/>
                  <a:gd name="connsiteX181" fmla="*/ 6434138 w 8801100"/>
                  <a:gd name="connsiteY181" fmla="*/ 3667125 h 4305300"/>
                  <a:gd name="connsiteX182" fmla="*/ 6443663 w 8801100"/>
                  <a:gd name="connsiteY182" fmla="*/ 3605213 h 4305300"/>
                  <a:gd name="connsiteX183" fmla="*/ 6477000 w 8801100"/>
                  <a:gd name="connsiteY183" fmla="*/ 3536156 h 4305300"/>
                  <a:gd name="connsiteX184" fmla="*/ 6629400 w 8801100"/>
                  <a:gd name="connsiteY184" fmla="*/ 3429000 h 4305300"/>
                  <a:gd name="connsiteX185" fmla="*/ 6662738 w 8801100"/>
                  <a:gd name="connsiteY185" fmla="*/ 3433763 h 4305300"/>
                  <a:gd name="connsiteX186" fmla="*/ 6715125 w 8801100"/>
                  <a:gd name="connsiteY186" fmla="*/ 3355181 h 4305300"/>
                  <a:gd name="connsiteX187" fmla="*/ 6762750 w 8801100"/>
                  <a:gd name="connsiteY187" fmla="*/ 3317081 h 4305300"/>
                  <a:gd name="connsiteX188" fmla="*/ 6748463 w 8801100"/>
                  <a:gd name="connsiteY188" fmla="*/ 3248025 h 4305300"/>
                  <a:gd name="connsiteX189" fmla="*/ 6698456 w 8801100"/>
                  <a:gd name="connsiteY189" fmla="*/ 3217068 h 4305300"/>
                  <a:gd name="connsiteX190" fmla="*/ 6638925 w 8801100"/>
                  <a:gd name="connsiteY190" fmla="*/ 3162300 h 4305300"/>
                  <a:gd name="connsiteX191" fmla="*/ 6619875 w 8801100"/>
                  <a:gd name="connsiteY191" fmla="*/ 3105150 h 4305300"/>
                  <a:gd name="connsiteX192" fmla="*/ 6584156 w 8801100"/>
                  <a:gd name="connsiteY192" fmla="*/ 3071813 h 4305300"/>
                  <a:gd name="connsiteX193" fmla="*/ 6610350 w 8801100"/>
                  <a:gd name="connsiteY193" fmla="*/ 3019425 h 4305300"/>
                  <a:gd name="connsiteX194" fmla="*/ 6650831 w 8801100"/>
                  <a:gd name="connsiteY194" fmla="*/ 2840831 h 4305300"/>
                  <a:gd name="connsiteX195" fmla="*/ 6691313 w 8801100"/>
                  <a:gd name="connsiteY195" fmla="*/ 2774156 h 4305300"/>
                  <a:gd name="connsiteX196" fmla="*/ 6836569 w 8801100"/>
                  <a:gd name="connsiteY196" fmla="*/ 2757487 h 4305300"/>
                  <a:gd name="connsiteX197" fmla="*/ 6905625 w 8801100"/>
                  <a:gd name="connsiteY197" fmla="*/ 2814638 h 4305300"/>
                  <a:gd name="connsiteX198" fmla="*/ 6981825 w 8801100"/>
                  <a:gd name="connsiteY198" fmla="*/ 2838450 h 4305300"/>
                  <a:gd name="connsiteX199" fmla="*/ 7186612 w 8801100"/>
                  <a:gd name="connsiteY199" fmla="*/ 2843213 h 4305300"/>
                  <a:gd name="connsiteX200" fmla="*/ 7362825 w 8801100"/>
                  <a:gd name="connsiteY200" fmla="*/ 2705100 h 4305300"/>
                  <a:gd name="connsiteX201" fmla="*/ 7419975 w 8801100"/>
                  <a:gd name="connsiteY201" fmla="*/ 2614612 h 4305300"/>
                  <a:gd name="connsiteX202" fmla="*/ 7446169 w 8801100"/>
                  <a:gd name="connsiteY202" fmla="*/ 2531269 h 4305300"/>
                  <a:gd name="connsiteX203" fmla="*/ 7577137 w 8801100"/>
                  <a:gd name="connsiteY203" fmla="*/ 2531269 h 4305300"/>
                  <a:gd name="connsiteX204" fmla="*/ 7750969 w 8801100"/>
                  <a:gd name="connsiteY204" fmla="*/ 2474118 h 4305300"/>
                  <a:gd name="connsiteX205" fmla="*/ 7810500 w 8801100"/>
                  <a:gd name="connsiteY205" fmla="*/ 2362200 h 4305300"/>
                  <a:gd name="connsiteX206" fmla="*/ 7874794 w 8801100"/>
                  <a:gd name="connsiteY206" fmla="*/ 2326481 h 4305300"/>
                  <a:gd name="connsiteX207" fmla="*/ 7853363 w 8801100"/>
                  <a:gd name="connsiteY207" fmla="*/ 2281238 h 4305300"/>
                  <a:gd name="connsiteX208" fmla="*/ 7931944 w 8801100"/>
                  <a:gd name="connsiteY208" fmla="*/ 2112168 h 4305300"/>
                  <a:gd name="connsiteX209" fmla="*/ 7986713 w 8801100"/>
                  <a:gd name="connsiteY209" fmla="*/ 2052638 h 4305300"/>
                  <a:gd name="connsiteX210" fmla="*/ 8024813 w 8801100"/>
                  <a:gd name="connsiteY210" fmla="*/ 2047875 h 4305300"/>
                  <a:gd name="connsiteX211" fmla="*/ 8070056 w 8801100"/>
                  <a:gd name="connsiteY211" fmla="*/ 2052638 h 4305300"/>
                  <a:gd name="connsiteX212" fmla="*/ 8134350 w 8801100"/>
                  <a:gd name="connsiteY212" fmla="*/ 2019300 h 4305300"/>
                  <a:gd name="connsiteX213" fmla="*/ 8143875 w 8801100"/>
                  <a:gd name="connsiteY213" fmla="*/ 1955006 h 4305300"/>
                  <a:gd name="connsiteX214" fmla="*/ 8184355 w 8801100"/>
                  <a:gd name="connsiteY214" fmla="*/ 1919288 h 4305300"/>
                  <a:gd name="connsiteX215" fmla="*/ 8243888 w 8801100"/>
                  <a:gd name="connsiteY215" fmla="*/ 1959768 h 4305300"/>
                  <a:gd name="connsiteX216" fmla="*/ 8270082 w 8801100"/>
                  <a:gd name="connsiteY216" fmla="*/ 1909762 h 4305300"/>
                  <a:gd name="connsiteX217" fmla="*/ 8365331 w 8801100"/>
                  <a:gd name="connsiteY217" fmla="*/ 1840706 h 4305300"/>
                  <a:gd name="connsiteX218" fmla="*/ 8427244 w 8801100"/>
                  <a:gd name="connsiteY218" fmla="*/ 1847850 h 4305300"/>
                  <a:gd name="connsiteX219" fmla="*/ 8477250 w 8801100"/>
                  <a:gd name="connsiteY219" fmla="*/ 1828800 h 4305300"/>
                  <a:gd name="connsiteX220" fmla="*/ 8515350 w 8801100"/>
                  <a:gd name="connsiteY220" fmla="*/ 1800225 h 4305300"/>
                  <a:gd name="connsiteX221" fmla="*/ 8548688 w 8801100"/>
                  <a:gd name="connsiteY221" fmla="*/ 1797844 h 4305300"/>
                  <a:gd name="connsiteX222" fmla="*/ 8584406 w 8801100"/>
                  <a:gd name="connsiteY222" fmla="*/ 1828800 h 4305300"/>
                  <a:gd name="connsiteX223" fmla="*/ 8643938 w 8801100"/>
                  <a:gd name="connsiteY223" fmla="*/ 1828800 h 4305300"/>
                  <a:gd name="connsiteX224" fmla="*/ 8682037 w 8801100"/>
                  <a:gd name="connsiteY224" fmla="*/ 1809750 h 4305300"/>
                  <a:gd name="connsiteX225" fmla="*/ 8765381 w 8801100"/>
                  <a:gd name="connsiteY225" fmla="*/ 1812132 h 4305300"/>
                  <a:gd name="connsiteX226" fmla="*/ 8796338 w 8801100"/>
                  <a:gd name="connsiteY226" fmla="*/ 1766888 h 4305300"/>
                  <a:gd name="connsiteX227" fmla="*/ 8801100 w 8801100"/>
                  <a:gd name="connsiteY227" fmla="*/ 1704975 h 4305300"/>
                  <a:gd name="connsiteX228" fmla="*/ 8751093 w 8801100"/>
                  <a:gd name="connsiteY228" fmla="*/ 1664494 h 4305300"/>
                  <a:gd name="connsiteX229" fmla="*/ 8734425 w 8801100"/>
                  <a:gd name="connsiteY229" fmla="*/ 1609725 h 4305300"/>
                  <a:gd name="connsiteX230" fmla="*/ 8643938 w 8801100"/>
                  <a:gd name="connsiteY230" fmla="*/ 1547813 h 4305300"/>
                  <a:gd name="connsiteX231" fmla="*/ 8603456 w 8801100"/>
                  <a:gd name="connsiteY231" fmla="*/ 1526381 h 4305300"/>
                  <a:gd name="connsiteX232" fmla="*/ 8565356 w 8801100"/>
                  <a:gd name="connsiteY232" fmla="*/ 1481138 h 4305300"/>
                  <a:gd name="connsiteX233" fmla="*/ 8534400 w 8801100"/>
                  <a:gd name="connsiteY233" fmla="*/ 1478756 h 4305300"/>
                  <a:gd name="connsiteX234" fmla="*/ 8517731 w 8801100"/>
                  <a:gd name="connsiteY234" fmla="*/ 1426369 h 4305300"/>
                  <a:gd name="connsiteX235" fmla="*/ 8477250 w 8801100"/>
                  <a:gd name="connsiteY235" fmla="*/ 1409700 h 4305300"/>
                  <a:gd name="connsiteX236" fmla="*/ 8477250 w 8801100"/>
                  <a:gd name="connsiteY236" fmla="*/ 1409700 h 4305300"/>
                  <a:gd name="connsiteX237" fmla="*/ 8436769 w 8801100"/>
                  <a:gd name="connsiteY237" fmla="*/ 1414463 h 4305300"/>
                  <a:gd name="connsiteX238" fmla="*/ 8351043 w 8801100"/>
                  <a:gd name="connsiteY238" fmla="*/ 1340644 h 4305300"/>
                  <a:gd name="connsiteX239" fmla="*/ 8170069 w 8801100"/>
                  <a:gd name="connsiteY239" fmla="*/ 1340643 h 4305300"/>
                  <a:gd name="connsiteX240" fmla="*/ 8117681 w 8801100"/>
                  <a:gd name="connsiteY240" fmla="*/ 1378744 h 4305300"/>
                  <a:gd name="connsiteX241" fmla="*/ 8067675 w 8801100"/>
                  <a:gd name="connsiteY241" fmla="*/ 1457325 h 4305300"/>
                  <a:gd name="connsiteX242" fmla="*/ 8084344 w 8801100"/>
                  <a:gd name="connsiteY242" fmla="*/ 1478756 h 4305300"/>
                  <a:gd name="connsiteX243" fmla="*/ 8039100 w 8801100"/>
                  <a:gd name="connsiteY243" fmla="*/ 1528762 h 4305300"/>
                  <a:gd name="connsiteX244" fmla="*/ 7889081 w 8801100"/>
                  <a:gd name="connsiteY244" fmla="*/ 1452562 h 4305300"/>
                  <a:gd name="connsiteX245" fmla="*/ 7798594 w 8801100"/>
                  <a:gd name="connsiteY245" fmla="*/ 1488281 h 4305300"/>
                  <a:gd name="connsiteX246" fmla="*/ 7724775 w 8801100"/>
                  <a:gd name="connsiteY246" fmla="*/ 1485900 h 4305300"/>
                  <a:gd name="connsiteX247" fmla="*/ 7667625 w 8801100"/>
                  <a:gd name="connsiteY247" fmla="*/ 1581150 h 4305300"/>
                  <a:gd name="connsiteX248" fmla="*/ 7529513 w 8801100"/>
                  <a:gd name="connsiteY248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495550 w 8801100"/>
                  <a:gd name="connsiteY98" fmla="*/ 823913 h 4305300"/>
                  <a:gd name="connsiteX99" fmla="*/ 2381 w 8801100"/>
                  <a:gd name="connsiteY99" fmla="*/ 1490661 h 4305300"/>
                  <a:gd name="connsiteX100" fmla="*/ 0 w 8801100"/>
                  <a:gd name="connsiteY100" fmla="*/ 709613 h 4305300"/>
                  <a:gd name="connsiteX101" fmla="*/ 76200 w 8801100"/>
                  <a:gd name="connsiteY101" fmla="*/ 692944 h 4305300"/>
                  <a:gd name="connsiteX102" fmla="*/ 119063 w 8801100"/>
                  <a:gd name="connsiteY102" fmla="*/ 721519 h 4305300"/>
                  <a:gd name="connsiteX103" fmla="*/ 215900 w 8801100"/>
                  <a:gd name="connsiteY103" fmla="*/ 712788 h 4305300"/>
                  <a:gd name="connsiteX104" fmla="*/ 261938 w 8801100"/>
                  <a:gd name="connsiteY104" fmla="*/ 740568 h 4305300"/>
                  <a:gd name="connsiteX105" fmla="*/ 228600 w 8801100"/>
                  <a:gd name="connsiteY105" fmla="*/ 769144 h 4305300"/>
                  <a:gd name="connsiteX106" fmla="*/ 233363 w 8801100"/>
                  <a:gd name="connsiteY106" fmla="*/ 812006 h 4305300"/>
                  <a:gd name="connsiteX107" fmla="*/ 200025 w 8801100"/>
                  <a:gd name="connsiteY107" fmla="*/ 816769 h 4305300"/>
                  <a:gd name="connsiteX108" fmla="*/ 204788 w 8801100"/>
                  <a:gd name="connsiteY108" fmla="*/ 840581 h 4305300"/>
                  <a:gd name="connsiteX109" fmla="*/ 261937 w 8801100"/>
                  <a:gd name="connsiteY109" fmla="*/ 914400 h 4305300"/>
                  <a:gd name="connsiteX110" fmla="*/ 223838 w 8801100"/>
                  <a:gd name="connsiteY110" fmla="*/ 962025 h 4305300"/>
                  <a:gd name="connsiteX111" fmla="*/ 278606 w 8801100"/>
                  <a:gd name="connsiteY111" fmla="*/ 997744 h 4305300"/>
                  <a:gd name="connsiteX112" fmla="*/ 369094 w 8801100"/>
                  <a:gd name="connsiteY112" fmla="*/ 1085850 h 4305300"/>
                  <a:gd name="connsiteX113" fmla="*/ 371475 w 8801100"/>
                  <a:gd name="connsiteY113" fmla="*/ 1145381 h 4305300"/>
                  <a:gd name="connsiteX114" fmla="*/ 507206 w 8801100"/>
                  <a:gd name="connsiteY114" fmla="*/ 1278732 h 4305300"/>
                  <a:gd name="connsiteX115" fmla="*/ 561975 w 8801100"/>
                  <a:gd name="connsiteY115" fmla="*/ 1254919 h 4305300"/>
                  <a:gd name="connsiteX116" fmla="*/ 600075 w 8801100"/>
                  <a:gd name="connsiteY116" fmla="*/ 1281112 h 4305300"/>
                  <a:gd name="connsiteX117" fmla="*/ 614363 w 8801100"/>
                  <a:gd name="connsiteY117" fmla="*/ 1331118 h 4305300"/>
                  <a:gd name="connsiteX118" fmla="*/ 657225 w 8801100"/>
                  <a:gd name="connsiteY118" fmla="*/ 1366838 h 4305300"/>
                  <a:gd name="connsiteX119" fmla="*/ 697706 w 8801100"/>
                  <a:gd name="connsiteY119" fmla="*/ 1354931 h 4305300"/>
                  <a:gd name="connsiteX120" fmla="*/ 716756 w 8801100"/>
                  <a:gd name="connsiteY120" fmla="*/ 1412081 h 4305300"/>
                  <a:gd name="connsiteX121" fmla="*/ 764381 w 8801100"/>
                  <a:gd name="connsiteY121" fmla="*/ 1454944 h 4305300"/>
                  <a:gd name="connsiteX122" fmla="*/ 788194 w 8801100"/>
                  <a:gd name="connsiteY122" fmla="*/ 1557338 h 4305300"/>
                  <a:gd name="connsiteX123" fmla="*/ 785813 w 8801100"/>
                  <a:gd name="connsiteY123" fmla="*/ 1604963 h 4305300"/>
                  <a:gd name="connsiteX124" fmla="*/ 821531 w 8801100"/>
                  <a:gd name="connsiteY124" fmla="*/ 1704975 h 4305300"/>
                  <a:gd name="connsiteX125" fmla="*/ 866775 w 8801100"/>
                  <a:gd name="connsiteY125" fmla="*/ 1762125 h 4305300"/>
                  <a:gd name="connsiteX126" fmla="*/ 883443 w 8801100"/>
                  <a:gd name="connsiteY126" fmla="*/ 1919287 h 4305300"/>
                  <a:gd name="connsiteX127" fmla="*/ 850106 w 8801100"/>
                  <a:gd name="connsiteY127" fmla="*/ 1981200 h 4305300"/>
                  <a:gd name="connsiteX128" fmla="*/ 819150 w 8801100"/>
                  <a:gd name="connsiteY128" fmla="*/ 2057400 h 4305300"/>
                  <a:gd name="connsiteX129" fmla="*/ 833438 w 8801100"/>
                  <a:gd name="connsiteY129" fmla="*/ 2114550 h 4305300"/>
                  <a:gd name="connsiteX130" fmla="*/ 735806 w 8801100"/>
                  <a:gd name="connsiteY130" fmla="*/ 2221707 h 4305300"/>
                  <a:gd name="connsiteX131" fmla="*/ 692944 w 8801100"/>
                  <a:gd name="connsiteY131" fmla="*/ 2336006 h 4305300"/>
                  <a:gd name="connsiteX132" fmla="*/ 726281 w 8801100"/>
                  <a:gd name="connsiteY132" fmla="*/ 2376488 h 4305300"/>
                  <a:gd name="connsiteX133" fmla="*/ 709613 w 8801100"/>
                  <a:gd name="connsiteY133" fmla="*/ 2405063 h 4305300"/>
                  <a:gd name="connsiteX134" fmla="*/ 740569 w 8801100"/>
                  <a:gd name="connsiteY134" fmla="*/ 2462213 h 4305300"/>
                  <a:gd name="connsiteX135" fmla="*/ 769144 w 8801100"/>
                  <a:gd name="connsiteY135" fmla="*/ 2462213 h 4305300"/>
                  <a:gd name="connsiteX136" fmla="*/ 931069 w 8801100"/>
                  <a:gd name="connsiteY136" fmla="*/ 2564606 h 4305300"/>
                  <a:gd name="connsiteX137" fmla="*/ 1035844 w 8801100"/>
                  <a:gd name="connsiteY137" fmla="*/ 2562225 h 4305300"/>
                  <a:gd name="connsiteX138" fmla="*/ 1114425 w 8801100"/>
                  <a:gd name="connsiteY138" fmla="*/ 2616994 h 4305300"/>
                  <a:gd name="connsiteX139" fmla="*/ 1245393 w 8801100"/>
                  <a:gd name="connsiteY139" fmla="*/ 2619375 h 4305300"/>
                  <a:gd name="connsiteX140" fmla="*/ 1435893 w 8801100"/>
                  <a:gd name="connsiteY140" fmla="*/ 2688431 h 4305300"/>
                  <a:gd name="connsiteX141" fmla="*/ 1638300 w 8801100"/>
                  <a:gd name="connsiteY141" fmla="*/ 2838450 h 4305300"/>
                  <a:gd name="connsiteX142" fmla="*/ 1671637 w 8801100"/>
                  <a:gd name="connsiteY142" fmla="*/ 2905125 h 4305300"/>
                  <a:gd name="connsiteX143" fmla="*/ 1838325 w 8801100"/>
                  <a:gd name="connsiteY143" fmla="*/ 3031331 h 4305300"/>
                  <a:gd name="connsiteX144" fmla="*/ 1909763 w 8801100"/>
                  <a:gd name="connsiteY144" fmla="*/ 3026569 h 4305300"/>
                  <a:gd name="connsiteX145" fmla="*/ 1945482 w 8801100"/>
                  <a:gd name="connsiteY145" fmla="*/ 3050381 h 4305300"/>
                  <a:gd name="connsiteX146" fmla="*/ 1916906 w 8801100"/>
                  <a:gd name="connsiteY146" fmla="*/ 3090863 h 4305300"/>
                  <a:gd name="connsiteX147" fmla="*/ 1924050 w 8801100"/>
                  <a:gd name="connsiteY147" fmla="*/ 3143250 h 4305300"/>
                  <a:gd name="connsiteX148" fmla="*/ 1976438 w 8801100"/>
                  <a:gd name="connsiteY148" fmla="*/ 3169444 h 4305300"/>
                  <a:gd name="connsiteX149" fmla="*/ 2038350 w 8801100"/>
                  <a:gd name="connsiteY149" fmla="*/ 3393282 h 4305300"/>
                  <a:gd name="connsiteX150" fmla="*/ 2028825 w 8801100"/>
                  <a:gd name="connsiteY150" fmla="*/ 3457575 h 4305300"/>
                  <a:gd name="connsiteX151" fmla="*/ 2164556 w 8801100"/>
                  <a:gd name="connsiteY151" fmla="*/ 3624263 h 4305300"/>
                  <a:gd name="connsiteX152" fmla="*/ 2183606 w 8801100"/>
                  <a:gd name="connsiteY152" fmla="*/ 3674269 h 4305300"/>
                  <a:gd name="connsiteX153" fmla="*/ 2157413 w 8801100"/>
                  <a:gd name="connsiteY153" fmla="*/ 3693319 h 4305300"/>
                  <a:gd name="connsiteX154" fmla="*/ 2259806 w 8801100"/>
                  <a:gd name="connsiteY154" fmla="*/ 3702844 h 4305300"/>
                  <a:gd name="connsiteX155" fmla="*/ 2371725 w 8801100"/>
                  <a:gd name="connsiteY155" fmla="*/ 3690938 h 4305300"/>
                  <a:gd name="connsiteX156" fmla="*/ 2650331 w 8801100"/>
                  <a:gd name="connsiteY156" fmla="*/ 3774281 h 4305300"/>
                  <a:gd name="connsiteX157" fmla="*/ 3057525 w 8801100"/>
                  <a:gd name="connsiteY157" fmla="*/ 3855244 h 4305300"/>
                  <a:gd name="connsiteX158" fmla="*/ 3255169 w 8801100"/>
                  <a:gd name="connsiteY158" fmla="*/ 3824287 h 4305300"/>
                  <a:gd name="connsiteX159" fmla="*/ 3300413 w 8801100"/>
                  <a:gd name="connsiteY159" fmla="*/ 3836193 h 4305300"/>
                  <a:gd name="connsiteX160" fmla="*/ 3355181 w 8801100"/>
                  <a:gd name="connsiteY160" fmla="*/ 3812382 h 4305300"/>
                  <a:gd name="connsiteX161" fmla="*/ 3748087 w 8801100"/>
                  <a:gd name="connsiteY161" fmla="*/ 3902869 h 4305300"/>
                  <a:gd name="connsiteX162" fmla="*/ 3831432 w 8801100"/>
                  <a:gd name="connsiteY162" fmla="*/ 4000500 h 4305300"/>
                  <a:gd name="connsiteX163" fmla="*/ 3950494 w 8801100"/>
                  <a:gd name="connsiteY163" fmla="*/ 4071938 h 4305300"/>
                  <a:gd name="connsiteX164" fmla="*/ 4010025 w 8801100"/>
                  <a:gd name="connsiteY164" fmla="*/ 4055269 h 4305300"/>
                  <a:gd name="connsiteX165" fmla="*/ 4360068 w 8801100"/>
                  <a:gd name="connsiteY165" fmla="*/ 4229100 h 4305300"/>
                  <a:gd name="connsiteX166" fmla="*/ 4586288 w 8801100"/>
                  <a:gd name="connsiteY166" fmla="*/ 4200525 h 4305300"/>
                  <a:gd name="connsiteX167" fmla="*/ 4595813 w 8801100"/>
                  <a:gd name="connsiteY167" fmla="*/ 4279106 h 4305300"/>
                  <a:gd name="connsiteX168" fmla="*/ 4681538 w 8801100"/>
                  <a:gd name="connsiteY168" fmla="*/ 4274343 h 4305300"/>
                  <a:gd name="connsiteX169" fmla="*/ 4760119 w 8801100"/>
                  <a:gd name="connsiteY169" fmla="*/ 4305300 h 4305300"/>
                  <a:gd name="connsiteX170" fmla="*/ 4802981 w 8801100"/>
                  <a:gd name="connsiteY170" fmla="*/ 4245769 h 4305300"/>
                  <a:gd name="connsiteX171" fmla="*/ 5474494 w 8801100"/>
                  <a:gd name="connsiteY171" fmla="*/ 3926681 h 4305300"/>
                  <a:gd name="connsiteX172" fmla="*/ 5562600 w 8801100"/>
                  <a:gd name="connsiteY172" fmla="*/ 3955257 h 4305300"/>
                  <a:gd name="connsiteX173" fmla="*/ 5693569 w 8801100"/>
                  <a:gd name="connsiteY173" fmla="*/ 3926681 h 4305300"/>
                  <a:gd name="connsiteX174" fmla="*/ 5872162 w 8801100"/>
                  <a:gd name="connsiteY174" fmla="*/ 3943350 h 4305300"/>
                  <a:gd name="connsiteX175" fmla="*/ 5929313 w 8801100"/>
                  <a:gd name="connsiteY175" fmla="*/ 3917157 h 4305300"/>
                  <a:gd name="connsiteX176" fmla="*/ 6062662 w 8801100"/>
                  <a:gd name="connsiteY176" fmla="*/ 3914775 h 4305300"/>
                  <a:gd name="connsiteX177" fmla="*/ 6196012 w 8801100"/>
                  <a:gd name="connsiteY177" fmla="*/ 3817144 h 4305300"/>
                  <a:gd name="connsiteX178" fmla="*/ 6262687 w 8801100"/>
                  <a:gd name="connsiteY178" fmla="*/ 3810000 h 4305300"/>
                  <a:gd name="connsiteX179" fmla="*/ 6360319 w 8801100"/>
                  <a:gd name="connsiteY179" fmla="*/ 3736181 h 4305300"/>
                  <a:gd name="connsiteX180" fmla="*/ 6434138 w 8801100"/>
                  <a:gd name="connsiteY180" fmla="*/ 3667125 h 4305300"/>
                  <a:gd name="connsiteX181" fmla="*/ 6443663 w 8801100"/>
                  <a:gd name="connsiteY181" fmla="*/ 3605213 h 4305300"/>
                  <a:gd name="connsiteX182" fmla="*/ 6477000 w 8801100"/>
                  <a:gd name="connsiteY182" fmla="*/ 3536156 h 4305300"/>
                  <a:gd name="connsiteX183" fmla="*/ 6629400 w 8801100"/>
                  <a:gd name="connsiteY183" fmla="*/ 3429000 h 4305300"/>
                  <a:gd name="connsiteX184" fmla="*/ 6662738 w 8801100"/>
                  <a:gd name="connsiteY184" fmla="*/ 3433763 h 4305300"/>
                  <a:gd name="connsiteX185" fmla="*/ 6715125 w 8801100"/>
                  <a:gd name="connsiteY185" fmla="*/ 3355181 h 4305300"/>
                  <a:gd name="connsiteX186" fmla="*/ 6762750 w 8801100"/>
                  <a:gd name="connsiteY186" fmla="*/ 3317081 h 4305300"/>
                  <a:gd name="connsiteX187" fmla="*/ 6748463 w 8801100"/>
                  <a:gd name="connsiteY187" fmla="*/ 3248025 h 4305300"/>
                  <a:gd name="connsiteX188" fmla="*/ 6698456 w 8801100"/>
                  <a:gd name="connsiteY188" fmla="*/ 3217068 h 4305300"/>
                  <a:gd name="connsiteX189" fmla="*/ 6638925 w 8801100"/>
                  <a:gd name="connsiteY189" fmla="*/ 3162300 h 4305300"/>
                  <a:gd name="connsiteX190" fmla="*/ 6619875 w 8801100"/>
                  <a:gd name="connsiteY190" fmla="*/ 3105150 h 4305300"/>
                  <a:gd name="connsiteX191" fmla="*/ 6584156 w 8801100"/>
                  <a:gd name="connsiteY191" fmla="*/ 3071813 h 4305300"/>
                  <a:gd name="connsiteX192" fmla="*/ 6610350 w 8801100"/>
                  <a:gd name="connsiteY192" fmla="*/ 3019425 h 4305300"/>
                  <a:gd name="connsiteX193" fmla="*/ 6650831 w 8801100"/>
                  <a:gd name="connsiteY193" fmla="*/ 2840831 h 4305300"/>
                  <a:gd name="connsiteX194" fmla="*/ 6691313 w 8801100"/>
                  <a:gd name="connsiteY194" fmla="*/ 2774156 h 4305300"/>
                  <a:gd name="connsiteX195" fmla="*/ 6836569 w 8801100"/>
                  <a:gd name="connsiteY195" fmla="*/ 2757487 h 4305300"/>
                  <a:gd name="connsiteX196" fmla="*/ 6905625 w 8801100"/>
                  <a:gd name="connsiteY196" fmla="*/ 2814638 h 4305300"/>
                  <a:gd name="connsiteX197" fmla="*/ 6981825 w 8801100"/>
                  <a:gd name="connsiteY197" fmla="*/ 2838450 h 4305300"/>
                  <a:gd name="connsiteX198" fmla="*/ 7186612 w 8801100"/>
                  <a:gd name="connsiteY198" fmla="*/ 2843213 h 4305300"/>
                  <a:gd name="connsiteX199" fmla="*/ 7362825 w 8801100"/>
                  <a:gd name="connsiteY199" fmla="*/ 2705100 h 4305300"/>
                  <a:gd name="connsiteX200" fmla="*/ 7419975 w 8801100"/>
                  <a:gd name="connsiteY200" fmla="*/ 2614612 h 4305300"/>
                  <a:gd name="connsiteX201" fmla="*/ 7446169 w 8801100"/>
                  <a:gd name="connsiteY201" fmla="*/ 2531269 h 4305300"/>
                  <a:gd name="connsiteX202" fmla="*/ 7577137 w 8801100"/>
                  <a:gd name="connsiteY202" fmla="*/ 2531269 h 4305300"/>
                  <a:gd name="connsiteX203" fmla="*/ 7750969 w 8801100"/>
                  <a:gd name="connsiteY203" fmla="*/ 2474118 h 4305300"/>
                  <a:gd name="connsiteX204" fmla="*/ 7810500 w 8801100"/>
                  <a:gd name="connsiteY204" fmla="*/ 2362200 h 4305300"/>
                  <a:gd name="connsiteX205" fmla="*/ 7874794 w 8801100"/>
                  <a:gd name="connsiteY205" fmla="*/ 2326481 h 4305300"/>
                  <a:gd name="connsiteX206" fmla="*/ 7853363 w 8801100"/>
                  <a:gd name="connsiteY206" fmla="*/ 2281238 h 4305300"/>
                  <a:gd name="connsiteX207" fmla="*/ 7931944 w 8801100"/>
                  <a:gd name="connsiteY207" fmla="*/ 2112168 h 4305300"/>
                  <a:gd name="connsiteX208" fmla="*/ 7986713 w 8801100"/>
                  <a:gd name="connsiteY208" fmla="*/ 2052638 h 4305300"/>
                  <a:gd name="connsiteX209" fmla="*/ 8024813 w 8801100"/>
                  <a:gd name="connsiteY209" fmla="*/ 2047875 h 4305300"/>
                  <a:gd name="connsiteX210" fmla="*/ 8070056 w 8801100"/>
                  <a:gd name="connsiteY210" fmla="*/ 2052638 h 4305300"/>
                  <a:gd name="connsiteX211" fmla="*/ 8134350 w 8801100"/>
                  <a:gd name="connsiteY211" fmla="*/ 2019300 h 4305300"/>
                  <a:gd name="connsiteX212" fmla="*/ 8143875 w 8801100"/>
                  <a:gd name="connsiteY212" fmla="*/ 1955006 h 4305300"/>
                  <a:gd name="connsiteX213" fmla="*/ 8184355 w 8801100"/>
                  <a:gd name="connsiteY213" fmla="*/ 1919288 h 4305300"/>
                  <a:gd name="connsiteX214" fmla="*/ 8243888 w 8801100"/>
                  <a:gd name="connsiteY214" fmla="*/ 1959768 h 4305300"/>
                  <a:gd name="connsiteX215" fmla="*/ 8270082 w 8801100"/>
                  <a:gd name="connsiteY215" fmla="*/ 1909762 h 4305300"/>
                  <a:gd name="connsiteX216" fmla="*/ 8365331 w 8801100"/>
                  <a:gd name="connsiteY216" fmla="*/ 1840706 h 4305300"/>
                  <a:gd name="connsiteX217" fmla="*/ 8427244 w 8801100"/>
                  <a:gd name="connsiteY217" fmla="*/ 1847850 h 4305300"/>
                  <a:gd name="connsiteX218" fmla="*/ 8477250 w 8801100"/>
                  <a:gd name="connsiteY218" fmla="*/ 1828800 h 4305300"/>
                  <a:gd name="connsiteX219" fmla="*/ 8515350 w 8801100"/>
                  <a:gd name="connsiteY219" fmla="*/ 1800225 h 4305300"/>
                  <a:gd name="connsiteX220" fmla="*/ 8548688 w 8801100"/>
                  <a:gd name="connsiteY220" fmla="*/ 1797844 h 4305300"/>
                  <a:gd name="connsiteX221" fmla="*/ 8584406 w 8801100"/>
                  <a:gd name="connsiteY221" fmla="*/ 1828800 h 4305300"/>
                  <a:gd name="connsiteX222" fmla="*/ 8643938 w 8801100"/>
                  <a:gd name="connsiteY222" fmla="*/ 1828800 h 4305300"/>
                  <a:gd name="connsiteX223" fmla="*/ 8682037 w 8801100"/>
                  <a:gd name="connsiteY223" fmla="*/ 1809750 h 4305300"/>
                  <a:gd name="connsiteX224" fmla="*/ 8765381 w 8801100"/>
                  <a:gd name="connsiteY224" fmla="*/ 1812132 h 4305300"/>
                  <a:gd name="connsiteX225" fmla="*/ 8796338 w 8801100"/>
                  <a:gd name="connsiteY225" fmla="*/ 1766888 h 4305300"/>
                  <a:gd name="connsiteX226" fmla="*/ 8801100 w 8801100"/>
                  <a:gd name="connsiteY226" fmla="*/ 1704975 h 4305300"/>
                  <a:gd name="connsiteX227" fmla="*/ 8751093 w 8801100"/>
                  <a:gd name="connsiteY227" fmla="*/ 1664494 h 4305300"/>
                  <a:gd name="connsiteX228" fmla="*/ 8734425 w 8801100"/>
                  <a:gd name="connsiteY228" fmla="*/ 1609725 h 4305300"/>
                  <a:gd name="connsiteX229" fmla="*/ 8643938 w 8801100"/>
                  <a:gd name="connsiteY229" fmla="*/ 1547813 h 4305300"/>
                  <a:gd name="connsiteX230" fmla="*/ 8603456 w 8801100"/>
                  <a:gd name="connsiteY230" fmla="*/ 1526381 h 4305300"/>
                  <a:gd name="connsiteX231" fmla="*/ 8565356 w 8801100"/>
                  <a:gd name="connsiteY231" fmla="*/ 1481138 h 4305300"/>
                  <a:gd name="connsiteX232" fmla="*/ 8534400 w 8801100"/>
                  <a:gd name="connsiteY232" fmla="*/ 1478756 h 4305300"/>
                  <a:gd name="connsiteX233" fmla="*/ 8517731 w 8801100"/>
                  <a:gd name="connsiteY233" fmla="*/ 1426369 h 4305300"/>
                  <a:gd name="connsiteX234" fmla="*/ 8477250 w 8801100"/>
                  <a:gd name="connsiteY234" fmla="*/ 1409700 h 4305300"/>
                  <a:gd name="connsiteX235" fmla="*/ 8477250 w 8801100"/>
                  <a:gd name="connsiteY235" fmla="*/ 1409700 h 4305300"/>
                  <a:gd name="connsiteX236" fmla="*/ 8436769 w 8801100"/>
                  <a:gd name="connsiteY236" fmla="*/ 1414463 h 4305300"/>
                  <a:gd name="connsiteX237" fmla="*/ 8351043 w 8801100"/>
                  <a:gd name="connsiteY237" fmla="*/ 1340644 h 4305300"/>
                  <a:gd name="connsiteX238" fmla="*/ 8170069 w 8801100"/>
                  <a:gd name="connsiteY238" fmla="*/ 1340643 h 4305300"/>
                  <a:gd name="connsiteX239" fmla="*/ 8117681 w 8801100"/>
                  <a:gd name="connsiteY239" fmla="*/ 1378744 h 4305300"/>
                  <a:gd name="connsiteX240" fmla="*/ 8067675 w 8801100"/>
                  <a:gd name="connsiteY240" fmla="*/ 1457325 h 4305300"/>
                  <a:gd name="connsiteX241" fmla="*/ 8084344 w 8801100"/>
                  <a:gd name="connsiteY241" fmla="*/ 1478756 h 4305300"/>
                  <a:gd name="connsiteX242" fmla="*/ 8039100 w 8801100"/>
                  <a:gd name="connsiteY242" fmla="*/ 1528762 h 4305300"/>
                  <a:gd name="connsiteX243" fmla="*/ 7889081 w 8801100"/>
                  <a:gd name="connsiteY243" fmla="*/ 1452562 h 4305300"/>
                  <a:gd name="connsiteX244" fmla="*/ 7798594 w 8801100"/>
                  <a:gd name="connsiteY244" fmla="*/ 1488281 h 4305300"/>
                  <a:gd name="connsiteX245" fmla="*/ 7724775 w 8801100"/>
                  <a:gd name="connsiteY245" fmla="*/ 1485900 h 4305300"/>
                  <a:gd name="connsiteX246" fmla="*/ 7667625 w 8801100"/>
                  <a:gd name="connsiteY246" fmla="*/ 1581150 h 4305300"/>
                  <a:gd name="connsiteX247" fmla="*/ 7529513 w 8801100"/>
                  <a:gd name="connsiteY247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547938 w 8801100"/>
                  <a:gd name="connsiteY97" fmla="*/ 840581 h 4305300"/>
                  <a:gd name="connsiteX98" fmla="*/ 2381 w 8801100"/>
                  <a:gd name="connsiteY98" fmla="*/ 1490661 h 4305300"/>
                  <a:gd name="connsiteX99" fmla="*/ 0 w 8801100"/>
                  <a:gd name="connsiteY99" fmla="*/ 709613 h 4305300"/>
                  <a:gd name="connsiteX100" fmla="*/ 76200 w 8801100"/>
                  <a:gd name="connsiteY100" fmla="*/ 692944 h 4305300"/>
                  <a:gd name="connsiteX101" fmla="*/ 119063 w 8801100"/>
                  <a:gd name="connsiteY101" fmla="*/ 721519 h 4305300"/>
                  <a:gd name="connsiteX102" fmla="*/ 215900 w 8801100"/>
                  <a:gd name="connsiteY102" fmla="*/ 712788 h 4305300"/>
                  <a:gd name="connsiteX103" fmla="*/ 261938 w 8801100"/>
                  <a:gd name="connsiteY103" fmla="*/ 740568 h 4305300"/>
                  <a:gd name="connsiteX104" fmla="*/ 228600 w 8801100"/>
                  <a:gd name="connsiteY104" fmla="*/ 769144 h 4305300"/>
                  <a:gd name="connsiteX105" fmla="*/ 233363 w 8801100"/>
                  <a:gd name="connsiteY105" fmla="*/ 812006 h 4305300"/>
                  <a:gd name="connsiteX106" fmla="*/ 200025 w 8801100"/>
                  <a:gd name="connsiteY106" fmla="*/ 816769 h 4305300"/>
                  <a:gd name="connsiteX107" fmla="*/ 204788 w 8801100"/>
                  <a:gd name="connsiteY107" fmla="*/ 840581 h 4305300"/>
                  <a:gd name="connsiteX108" fmla="*/ 261937 w 8801100"/>
                  <a:gd name="connsiteY108" fmla="*/ 914400 h 4305300"/>
                  <a:gd name="connsiteX109" fmla="*/ 223838 w 8801100"/>
                  <a:gd name="connsiteY109" fmla="*/ 962025 h 4305300"/>
                  <a:gd name="connsiteX110" fmla="*/ 278606 w 8801100"/>
                  <a:gd name="connsiteY110" fmla="*/ 997744 h 4305300"/>
                  <a:gd name="connsiteX111" fmla="*/ 369094 w 8801100"/>
                  <a:gd name="connsiteY111" fmla="*/ 1085850 h 4305300"/>
                  <a:gd name="connsiteX112" fmla="*/ 371475 w 8801100"/>
                  <a:gd name="connsiteY112" fmla="*/ 1145381 h 4305300"/>
                  <a:gd name="connsiteX113" fmla="*/ 507206 w 8801100"/>
                  <a:gd name="connsiteY113" fmla="*/ 1278732 h 4305300"/>
                  <a:gd name="connsiteX114" fmla="*/ 561975 w 8801100"/>
                  <a:gd name="connsiteY114" fmla="*/ 1254919 h 4305300"/>
                  <a:gd name="connsiteX115" fmla="*/ 600075 w 8801100"/>
                  <a:gd name="connsiteY115" fmla="*/ 1281112 h 4305300"/>
                  <a:gd name="connsiteX116" fmla="*/ 614363 w 8801100"/>
                  <a:gd name="connsiteY116" fmla="*/ 1331118 h 4305300"/>
                  <a:gd name="connsiteX117" fmla="*/ 657225 w 8801100"/>
                  <a:gd name="connsiteY117" fmla="*/ 1366838 h 4305300"/>
                  <a:gd name="connsiteX118" fmla="*/ 697706 w 8801100"/>
                  <a:gd name="connsiteY118" fmla="*/ 1354931 h 4305300"/>
                  <a:gd name="connsiteX119" fmla="*/ 716756 w 8801100"/>
                  <a:gd name="connsiteY119" fmla="*/ 1412081 h 4305300"/>
                  <a:gd name="connsiteX120" fmla="*/ 764381 w 8801100"/>
                  <a:gd name="connsiteY120" fmla="*/ 1454944 h 4305300"/>
                  <a:gd name="connsiteX121" fmla="*/ 788194 w 8801100"/>
                  <a:gd name="connsiteY121" fmla="*/ 1557338 h 4305300"/>
                  <a:gd name="connsiteX122" fmla="*/ 785813 w 8801100"/>
                  <a:gd name="connsiteY122" fmla="*/ 1604963 h 4305300"/>
                  <a:gd name="connsiteX123" fmla="*/ 821531 w 8801100"/>
                  <a:gd name="connsiteY123" fmla="*/ 1704975 h 4305300"/>
                  <a:gd name="connsiteX124" fmla="*/ 866775 w 8801100"/>
                  <a:gd name="connsiteY124" fmla="*/ 1762125 h 4305300"/>
                  <a:gd name="connsiteX125" fmla="*/ 883443 w 8801100"/>
                  <a:gd name="connsiteY125" fmla="*/ 1919287 h 4305300"/>
                  <a:gd name="connsiteX126" fmla="*/ 850106 w 8801100"/>
                  <a:gd name="connsiteY126" fmla="*/ 1981200 h 4305300"/>
                  <a:gd name="connsiteX127" fmla="*/ 819150 w 8801100"/>
                  <a:gd name="connsiteY127" fmla="*/ 2057400 h 4305300"/>
                  <a:gd name="connsiteX128" fmla="*/ 833438 w 8801100"/>
                  <a:gd name="connsiteY128" fmla="*/ 2114550 h 4305300"/>
                  <a:gd name="connsiteX129" fmla="*/ 735806 w 8801100"/>
                  <a:gd name="connsiteY129" fmla="*/ 2221707 h 4305300"/>
                  <a:gd name="connsiteX130" fmla="*/ 692944 w 8801100"/>
                  <a:gd name="connsiteY130" fmla="*/ 2336006 h 4305300"/>
                  <a:gd name="connsiteX131" fmla="*/ 726281 w 8801100"/>
                  <a:gd name="connsiteY131" fmla="*/ 2376488 h 4305300"/>
                  <a:gd name="connsiteX132" fmla="*/ 709613 w 8801100"/>
                  <a:gd name="connsiteY132" fmla="*/ 2405063 h 4305300"/>
                  <a:gd name="connsiteX133" fmla="*/ 740569 w 8801100"/>
                  <a:gd name="connsiteY133" fmla="*/ 2462213 h 4305300"/>
                  <a:gd name="connsiteX134" fmla="*/ 769144 w 8801100"/>
                  <a:gd name="connsiteY134" fmla="*/ 2462213 h 4305300"/>
                  <a:gd name="connsiteX135" fmla="*/ 931069 w 8801100"/>
                  <a:gd name="connsiteY135" fmla="*/ 2564606 h 4305300"/>
                  <a:gd name="connsiteX136" fmla="*/ 1035844 w 8801100"/>
                  <a:gd name="connsiteY136" fmla="*/ 2562225 h 4305300"/>
                  <a:gd name="connsiteX137" fmla="*/ 1114425 w 8801100"/>
                  <a:gd name="connsiteY137" fmla="*/ 2616994 h 4305300"/>
                  <a:gd name="connsiteX138" fmla="*/ 1245393 w 8801100"/>
                  <a:gd name="connsiteY138" fmla="*/ 2619375 h 4305300"/>
                  <a:gd name="connsiteX139" fmla="*/ 1435893 w 8801100"/>
                  <a:gd name="connsiteY139" fmla="*/ 2688431 h 4305300"/>
                  <a:gd name="connsiteX140" fmla="*/ 1638300 w 8801100"/>
                  <a:gd name="connsiteY140" fmla="*/ 2838450 h 4305300"/>
                  <a:gd name="connsiteX141" fmla="*/ 1671637 w 8801100"/>
                  <a:gd name="connsiteY141" fmla="*/ 2905125 h 4305300"/>
                  <a:gd name="connsiteX142" fmla="*/ 1838325 w 8801100"/>
                  <a:gd name="connsiteY142" fmla="*/ 3031331 h 4305300"/>
                  <a:gd name="connsiteX143" fmla="*/ 1909763 w 8801100"/>
                  <a:gd name="connsiteY143" fmla="*/ 3026569 h 4305300"/>
                  <a:gd name="connsiteX144" fmla="*/ 1945482 w 8801100"/>
                  <a:gd name="connsiteY144" fmla="*/ 3050381 h 4305300"/>
                  <a:gd name="connsiteX145" fmla="*/ 1916906 w 8801100"/>
                  <a:gd name="connsiteY145" fmla="*/ 3090863 h 4305300"/>
                  <a:gd name="connsiteX146" fmla="*/ 1924050 w 8801100"/>
                  <a:gd name="connsiteY146" fmla="*/ 3143250 h 4305300"/>
                  <a:gd name="connsiteX147" fmla="*/ 1976438 w 8801100"/>
                  <a:gd name="connsiteY147" fmla="*/ 3169444 h 4305300"/>
                  <a:gd name="connsiteX148" fmla="*/ 2038350 w 8801100"/>
                  <a:gd name="connsiteY148" fmla="*/ 3393282 h 4305300"/>
                  <a:gd name="connsiteX149" fmla="*/ 2028825 w 8801100"/>
                  <a:gd name="connsiteY149" fmla="*/ 3457575 h 4305300"/>
                  <a:gd name="connsiteX150" fmla="*/ 2164556 w 8801100"/>
                  <a:gd name="connsiteY150" fmla="*/ 3624263 h 4305300"/>
                  <a:gd name="connsiteX151" fmla="*/ 2183606 w 8801100"/>
                  <a:gd name="connsiteY151" fmla="*/ 3674269 h 4305300"/>
                  <a:gd name="connsiteX152" fmla="*/ 2157413 w 8801100"/>
                  <a:gd name="connsiteY152" fmla="*/ 3693319 h 4305300"/>
                  <a:gd name="connsiteX153" fmla="*/ 2259806 w 8801100"/>
                  <a:gd name="connsiteY153" fmla="*/ 3702844 h 4305300"/>
                  <a:gd name="connsiteX154" fmla="*/ 2371725 w 8801100"/>
                  <a:gd name="connsiteY154" fmla="*/ 3690938 h 4305300"/>
                  <a:gd name="connsiteX155" fmla="*/ 2650331 w 8801100"/>
                  <a:gd name="connsiteY155" fmla="*/ 3774281 h 4305300"/>
                  <a:gd name="connsiteX156" fmla="*/ 3057525 w 8801100"/>
                  <a:gd name="connsiteY156" fmla="*/ 3855244 h 4305300"/>
                  <a:gd name="connsiteX157" fmla="*/ 3255169 w 8801100"/>
                  <a:gd name="connsiteY157" fmla="*/ 3824287 h 4305300"/>
                  <a:gd name="connsiteX158" fmla="*/ 3300413 w 8801100"/>
                  <a:gd name="connsiteY158" fmla="*/ 3836193 h 4305300"/>
                  <a:gd name="connsiteX159" fmla="*/ 3355181 w 8801100"/>
                  <a:gd name="connsiteY159" fmla="*/ 3812382 h 4305300"/>
                  <a:gd name="connsiteX160" fmla="*/ 3748087 w 8801100"/>
                  <a:gd name="connsiteY160" fmla="*/ 3902869 h 4305300"/>
                  <a:gd name="connsiteX161" fmla="*/ 3831432 w 8801100"/>
                  <a:gd name="connsiteY161" fmla="*/ 4000500 h 4305300"/>
                  <a:gd name="connsiteX162" fmla="*/ 3950494 w 8801100"/>
                  <a:gd name="connsiteY162" fmla="*/ 4071938 h 4305300"/>
                  <a:gd name="connsiteX163" fmla="*/ 4010025 w 8801100"/>
                  <a:gd name="connsiteY163" fmla="*/ 4055269 h 4305300"/>
                  <a:gd name="connsiteX164" fmla="*/ 4360068 w 8801100"/>
                  <a:gd name="connsiteY164" fmla="*/ 4229100 h 4305300"/>
                  <a:gd name="connsiteX165" fmla="*/ 4586288 w 8801100"/>
                  <a:gd name="connsiteY165" fmla="*/ 4200525 h 4305300"/>
                  <a:gd name="connsiteX166" fmla="*/ 4595813 w 8801100"/>
                  <a:gd name="connsiteY166" fmla="*/ 4279106 h 4305300"/>
                  <a:gd name="connsiteX167" fmla="*/ 4681538 w 8801100"/>
                  <a:gd name="connsiteY167" fmla="*/ 4274343 h 4305300"/>
                  <a:gd name="connsiteX168" fmla="*/ 4760119 w 8801100"/>
                  <a:gd name="connsiteY168" fmla="*/ 4305300 h 4305300"/>
                  <a:gd name="connsiteX169" fmla="*/ 4802981 w 8801100"/>
                  <a:gd name="connsiteY169" fmla="*/ 4245769 h 4305300"/>
                  <a:gd name="connsiteX170" fmla="*/ 5474494 w 8801100"/>
                  <a:gd name="connsiteY170" fmla="*/ 3926681 h 4305300"/>
                  <a:gd name="connsiteX171" fmla="*/ 5562600 w 8801100"/>
                  <a:gd name="connsiteY171" fmla="*/ 3955257 h 4305300"/>
                  <a:gd name="connsiteX172" fmla="*/ 5693569 w 8801100"/>
                  <a:gd name="connsiteY172" fmla="*/ 3926681 h 4305300"/>
                  <a:gd name="connsiteX173" fmla="*/ 5872162 w 8801100"/>
                  <a:gd name="connsiteY173" fmla="*/ 3943350 h 4305300"/>
                  <a:gd name="connsiteX174" fmla="*/ 5929313 w 8801100"/>
                  <a:gd name="connsiteY174" fmla="*/ 3917157 h 4305300"/>
                  <a:gd name="connsiteX175" fmla="*/ 6062662 w 8801100"/>
                  <a:gd name="connsiteY175" fmla="*/ 3914775 h 4305300"/>
                  <a:gd name="connsiteX176" fmla="*/ 6196012 w 8801100"/>
                  <a:gd name="connsiteY176" fmla="*/ 3817144 h 4305300"/>
                  <a:gd name="connsiteX177" fmla="*/ 6262687 w 8801100"/>
                  <a:gd name="connsiteY177" fmla="*/ 3810000 h 4305300"/>
                  <a:gd name="connsiteX178" fmla="*/ 6360319 w 8801100"/>
                  <a:gd name="connsiteY178" fmla="*/ 3736181 h 4305300"/>
                  <a:gd name="connsiteX179" fmla="*/ 6434138 w 8801100"/>
                  <a:gd name="connsiteY179" fmla="*/ 3667125 h 4305300"/>
                  <a:gd name="connsiteX180" fmla="*/ 6443663 w 8801100"/>
                  <a:gd name="connsiteY180" fmla="*/ 3605213 h 4305300"/>
                  <a:gd name="connsiteX181" fmla="*/ 6477000 w 8801100"/>
                  <a:gd name="connsiteY181" fmla="*/ 3536156 h 4305300"/>
                  <a:gd name="connsiteX182" fmla="*/ 6629400 w 8801100"/>
                  <a:gd name="connsiteY182" fmla="*/ 3429000 h 4305300"/>
                  <a:gd name="connsiteX183" fmla="*/ 6662738 w 8801100"/>
                  <a:gd name="connsiteY183" fmla="*/ 3433763 h 4305300"/>
                  <a:gd name="connsiteX184" fmla="*/ 6715125 w 8801100"/>
                  <a:gd name="connsiteY184" fmla="*/ 3355181 h 4305300"/>
                  <a:gd name="connsiteX185" fmla="*/ 6762750 w 8801100"/>
                  <a:gd name="connsiteY185" fmla="*/ 3317081 h 4305300"/>
                  <a:gd name="connsiteX186" fmla="*/ 6748463 w 8801100"/>
                  <a:gd name="connsiteY186" fmla="*/ 3248025 h 4305300"/>
                  <a:gd name="connsiteX187" fmla="*/ 6698456 w 8801100"/>
                  <a:gd name="connsiteY187" fmla="*/ 3217068 h 4305300"/>
                  <a:gd name="connsiteX188" fmla="*/ 6638925 w 8801100"/>
                  <a:gd name="connsiteY188" fmla="*/ 3162300 h 4305300"/>
                  <a:gd name="connsiteX189" fmla="*/ 6619875 w 8801100"/>
                  <a:gd name="connsiteY189" fmla="*/ 3105150 h 4305300"/>
                  <a:gd name="connsiteX190" fmla="*/ 6584156 w 8801100"/>
                  <a:gd name="connsiteY190" fmla="*/ 3071813 h 4305300"/>
                  <a:gd name="connsiteX191" fmla="*/ 6610350 w 8801100"/>
                  <a:gd name="connsiteY191" fmla="*/ 3019425 h 4305300"/>
                  <a:gd name="connsiteX192" fmla="*/ 6650831 w 8801100"/>
                  <a:gd name="connsiteY192" fmla="*/ 2840831 h 4305300"/>
                  <a:gd name="connsiteX193" fmla="*/ 6691313 w 8801100"/>
                  <a:gd name="connsiteY193" fmla="*/ 2774156 h 4305300"/>
                  <a:gd name="connsiteX194" fmla="*/ 6836569 w 8801100"/>
                  <a:gd name="connsiteY194" fmla="*/ 2757487 h 4305300"/>
                  <a:gd name="connsiteX195" fmla="*/ 6905625 w 8801100"/>
                  <a:gd name="connsiteY195" fmla="*/ 2814638 h 4305300"/>
                  <a:gd name="connsiteX196" fmla="*/ 6981825 w 8801100"/>
                  <a:gd name="connsiteY196" fmla="*/ 2838450 h 4305300"/>
                  <a:gd name="connsiteX197" fmla="*/ 7186612 w 8801100"/>
                  <a:gd name="connsiteY197" fmla="*/ 2843213 h 4305300"/>
                  <a:gd name="connsiteX198" fmla="*/ 7362825 w 8801100"/>
                  <a:gd name="connsiteY198" fmla="*/ 2705100 h 4305300"/>
                  <a:gd name="connsiteX199" fmla="*/ 7419975 w 8801100"/>
                  <a:gd name="connsiteY199" fmla="*/ 2614612 h 4305300"/>
                  <a:gd name="connsiteX200" fmla="*/ 7446169 w 8801100"/>
                  <a:gd name="connsiteY200" fmla="*/ 2531269 h 4305300"/>
                  <a:gd name="connsiteX201" fmla="*/ 7577137 w 8801100"/>
                  <a:gd name="connsiteY201" fmla="*/ 2531269 h 4305300"/>
                  <a:gd name="connsiteX202" fmla="*/ 7750969 w 8801100"/>
                  <a:gd name="connsiteY202" fmla="*/ 2474118 h 4305300"/>
                  <a:gd name="connsiteX203" fmla="*/ 7810500 w 8801100"/>
                  <a:gd name="connsiteY203" fmla="*/ 2362200 h 4305300"/>
                  <a:gd name="connsiteX204" fmla="*/ 7874794 w 8801100"/>
                  <a:gd name="connsiteY204" fmla="*/ 2326481 h 4305300"/>
                  <a:gd name="connsiteX205" fmla="*/ 7853363 w 8801100"/>
                  <a:gd name="connsiteY205" fmla="*/ 2281238 h 4305300"/>
                  <a:gd name="connsiteX206" fmla="*/ 7931944 w 8801100"/>
                  <a:gd name="connsiteY206" fmla="*/ 2112168 h 4305300"/>
                  <a:gd name="connsiteX207" fmla="*/ 7986713 w 8801100"/>
                  <a:gd name="connsiteY207" fmla="*/ 2052638 h 4305300"/>
                  <a:gd name="connsiteX208" fmla="*/ 8024813 w 8801100"/>
                  <a:gd name="connsiteY208" fmla="*/ 2047875 h 4305300"/>
                  <a:gd name="connsiteX209" fmla="*/ 8070056 w 8801100"/>
                  <a:gd name="connsiteY209" fmla="*/ 2052638 h 4305300"/>
                  <a:gd name="connsiteX210" fmla="*/ 8134350 w 8801100"/>
                  <a:gd name="connsiteY210" fmla="*/ 2019300 h 4305300"/>
                  <a:gd name="connsiteX211" fmla="*/ 8143875 w 8801100"/>
                  <a:gd name="connsiteY211" fmla="*/ 1955006 h 4305300"/>
                  <a:gd name="connsiteX212" fmla="*/ 8184355 w 8801100"/>
                  <a:gd name="connsiteY212" fmla="*/ 1919288 h 4305300"/>
                  <a:gd name="connsiteX213" fmla="*/ 8243888 w 8801100"/>
                  <a:gd name="connsiteY213" fmla="*/ 1959768 h 4305300"/>
                  <a:gd name="connsiteX214" fmla="*/ 8270082 w 8801100"/>
                  <a:gd name="connsiteY214" fmla="*/ 1909762 h 4305300"/>
                  <a:gd name="connsiteX215" fmla="*/ 8365331 w 8801100"/>
                  <a:gd name="connsiteY215" fmla="*/ 1840706 h 4305300"/>
                  <a:gd name="connsiteX216" fmla="*/ 8427244 w 8801100"/>
                  <a:gd name="connsiteY216" fmla="*/ 1847850 h 4305300"/>
                  <a:gd name="connsiteX217" fmla="*/ 8477250 w 8801100"/>
                  <a:gd name="connsiteY217" fmla="*/ 1828800 h 4305300"/>
                  <a:gd name="connsiteX218" fmla="*/ 8515350 w 8801100"/>
                  <a:gd name="connsiteY218" fmla="*/ 1800225 h 4305300"/>
                  <a:gd name="connsiteX219" fmla="*/ 8548688 w 8801100"/>
                  <a:gd name="connsiteY219" fmla="*/ 1797844 h 4305300"/>
                  <a:gd name="connsiteX220" fmla="*/ 8584406 w 8801100"/>
                  <a:gd name="connsiteY220" fmla="*/ 1828800 h 4305300"/>
                  <a:gd name="connsiteX221" fmla="*/ 8643938 w 8801100"/>
                  <a:gd name="connsiteY221" fmla="*/ 1828800 h 4305300"/>
                  <a:gd name="connsiteX222" fmla="*/ 8682037 w 8801100"/>
                  <a:gd name="connsiteY222" fmla="*/ 1809750 h 4305300"/>
                  <a:gd name="connsiteX223" fmla="*/ 8765381 w 8801100"/>
                  <a:gd name="connsiteY223" fmla="*/ 1812132 h 4305300"/>
                  <a:gd name="connsiteX224" fmla="*/ 8796338 w 8801100"/>
                  <a:gd name="connsiteY224" fmla="*/ 1766888 h 4305300"/>
                  <a:gd name="connsiteX225" fmla="*/ 8801100 w 8801100"/>
                  <a:gd name="connsiteY225" fmla="*/ 1704975 h 4305300"/>
                  <a:gd name="connsiteX226" fmla="*/ 8751093 w 8801100"/>
                  <a:gd name="connsiteY226" fmla="*/ 1664494 h 4305300"/>
                  <a:gd name="connsiteX227" fmla="*/ 8734425 w 8801100"/>
                  <a:gd name="connsiteY227" fmla="*/ 1609725 h 4305300"/>
                  <a:gd name="connsiteX228" fmla="*/ 8643938 w 8801100"/>
                  <a:gd name="connsiteY228" fmla="*/ 1547813 h 4305300"/>
                  <a:gd name="connsiteX229" fmla="*/ 8603456 w 8801100"/>
                  <a:gd name="connsiteY229" fmla="*/ 1526381 h 4305300"/>
                  <a:gd name="connsiteX230" fmla="*/ 8565356 w 8801100"/>
                  <a:gd name="connsiteY230" fmla="*/ 1481138 h 4305300"/>
                  <a:gd name="connsiteX231" fmla="*/ 8534400 w 8801100"/>
                  <a:gd name="connsiteY231" fmla="*/ 1478756 h 4305300"/>
                  <a:gd name="connsiteX232" fmla="*/ 8517731 w 8801100"/>
                  <a:gd name="connsiteY232" fmla="*/ 1426369 h 4305300"/>
                  <a:gd name="connsiteX233" fmla="*/ 8477250 w 8801100"/>
                  <a:gd name="connsiteY233" fmla="*/ 1409700 h 4305300"/>
                  <a:gd name="connsiteX234" fmla="*/ 8477250 w 8801100"/>
                  <a:gd name="connsiteY234" fmla="*/ 1409700 h 4305300"/>
                  <a:gd name="connsiteX235" fmla="*/ 8436769 w 8801100"/>
                  <a:gd name="connsiteY235" fmla="*/ 1414463 h 4305300"/>
                  <a:gd name="connsiteX236" fmla="*/ 8351043 w 8801100"/>
                  <a:gd name="connsiteY236" fmla="*/ 1340644 h 4305300"/>
                  <a:gd name="connsiteX237" fmla="*/ 8170069 w 8801100"/>
                  <a:gd name="connsiteY237" fmla="*/ 1340643 h 4305300"/>
                  <a:gd name="connsiteX238" fmla="*/ 8117681 w 8801100"/>
                  <a:gd name="connsiteY238" fmla="*/ 1378744 h 4305300"/>
                  <a:gd name="connsiteX239" fmla="*/ 8067675 w 8801100"/>
                  <a:gd name="connsiteY239" fmla="*/ 1457325 h 4305300"/>
                  <a:gd name="connsiteX240" fmla="*/ 8084344 w 8801100"/>
                  <a:gd name="connsiteY240" fmla="*/ 1478756 h 4305300"/>
                  <a:gd name="connsiteX241" fmla="*/ 8039100 w 8801100"/>
                  <a:gd name="connsiteY241" fmla="*/ 1528762 h 4305300"/>
                  <a:gd name="connsiteX242" fmla="*/ 7889081 w 8801100"/>
                  <a:gd name="connsiteY242" fmla="*/ 1452562 h 4305300"/>
                  <a:gd name="connsiteX243" fmla="*/ 7798594 w 8801100"/>
                  <a:gd name="connsiteY243" fmla="*/ 1488281 h 4305300"/>
                  <a:gd name="connsiteX244" fmla="*/ 7724775 w 8801100"/>
                  <a:gd name="connsiteY244" fmla="*/ 1485900 h 4305300"/>
                  <a:gd name="connsiteX245" fmla="*/ 7667625 w 8801100"/>
                  <a:gd name="connsiteY245" fmla="*/ 1581150 h 4305300"/>
                  <a:gd name="connsiteX246" fmla="*/ 7529513 w 8801100"/>
                  <a:gd name="connsiteY246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590800 w 8801100"/>
                  <a:gd name="connsiteY96" fmla="*/ 826294 h 4305300"/>
                  <a:gd name="connsiteX97" fmla="*/ 2381 w 8801100"/>
                  <a:gd name="connsiteY97" fmla="*/ 1490661 h 4305300"/>
                  <a:gd name="connsiteX98" fmla="*/ 0 w 8801100"/>
                  <a:gd name="connsiteY98" fmla="*/ 709613 h 4305300"/>
                  <a:gd name="connsiteX99" fmla="*/ 76200 w 8801100"/>
                  <a:gd name="connsiteY99" fmla="*/ 692944 h 4305300"/>
                  <a:gd name="connsiteX100" fmla="*/ 119063 w 8801100"/>
                  <a:gd name="connsiteY100" fmla="*/ 721519 h 4305300"/>
                  <a:gd name="connsiteX101" fmla="*/ 215900 w 8801100"/>
                  <a:gd name="connsiteY101" fmla="*/ 712788 h 4305300"/>
                  <a:gd name="connsiteX102" fmla="*/ 261938 w 8801100"/>
                  <a:gd name="connsiteY102" fmla="*/ 740568 h 4305300"/>
                  <a:gd name="connsiteX103" fmla="*/ 228600 w 8801100"/>
                  <a:gd name="connsiteY103" fmla="*/ 769144 h 4305300"/>
                  <a:gd name="connsiteX104" fmla="*/ 233363 w 8801100"/>
                  <a:gd name="connsiteY104" fmla="*/ 812006 h 4305300"/>
                  <a:gd name="connsiteX105" fmla="*/ 200025 w 8801100"/>
                  <a:gd name="connsiteY105" fmla="*/ 816769 h 4305300"/>
                  <a:gd name="connsiteX106" fmla="*/ 204788 w 8801100"/>
                  <a:gd name="connsiteY106" fmla="*/ 840581 h 4305300"/>
                  <a:gd name="connsiteX107" fmla="*/ 261937 w 8801100"/>
                  <a:gd name="connsiteY107" fmla="*/ 914400 h 4305300"/>
                  <a:gd name="connsiteX108" fmla="*/ 223838 w 8801100"/>
                  <a:gd name="connsiteY108" fmla="*/ 962025 h 4305300"/>
                  <a:gd name="connsiteX109" fmla="*/ 278606 w 8801100"/>
                  <a:gd name="connsiteY109" fmla="*/ 997744 h 4305300"/>
                  <a:gd name="connsiteX110" fmla="*/ 369094 w 8801100"/>
                  <a:gd name="connsiteY110" fmla="*/ 1085850 h 4305300"/>
                  <a:gd name="connsiteX111" fmla="*/ 371475 w 8801100"/>
                  <a:gd name="connsiteY111" fmla="*/ 1145381 h 4305300"/>
                  <a:gd name="connsiteX112" fmla="*/ 507206 w 8801100"/>
                  <a:gd name="connsiteY112" fmla="*/ 1278732 h 4305300"/>
                  <a:gd name="connsiteX113" fmla="*/ 561975 w 8801100"/>
                  <a:gd name="connsiteY113" fmla="*/ 1254919 h 4305300"/>
                  <a:gd name="connsiteX114" fmla="*/ 600075 w 8801100"/>
                  <a:gd name="connsiteY114" fmla="*/ 1281112 h 4305300"/>
                  <a:gd name="connsiteX115" fmla="*/ 614363 w 8801100"/>
                  <a:gd name="connsiteY115" fmla="*/ 1331118 h 4305300"/>
                  <a:gd name="connsiteX116" fmla="*/ 657225 w 8801100"/>
                  <a:gd name="connsiteY116" fmla="*/ 1366838 h 4305300"/>
                  <a:gd name="connsiteX117" fmla="*/ 697706 w 8801100"/>
                  <a:gd name="connsiteY117" fmla="*/ 1354931 h 4305300"/>
                  <a:gd name="connsiteX118" fmla="*/ 716756 w 8801100"/>
                  <a:gd name="connsiteY118" fmla="*/ 1412081 h 4305300"/>
                  <a:gd name="connsiteX119" fmla="*/ 764381 w 8801100"/>
                  <a:gd name="connsiteY119" fmla="*/ 1454944 h 4305300"/>
                  <a:gd name="connsiteX120" fmla="*/ 788194 w 8801100"/>
                  <a:gd name="connsiteY120" fmla="*/ 1557338 h 4305300"/>
                  <a:gd name="connsiteX121" fmla="*/ 785813 w 8801100"/>
                  <a:gd name="connsiteY121" fmla="*/ 1604963 h 4305300"/>
                  <a:gd name="connsiteX122" fmla="*/ 821531 w 8801100"/>
                  <a:gd name="connsiteY122" fmla="*/ 1704975 h 4305300"/>
                  <a:gd name="connsiteX123" fmla="*/ 866775 w 8801100"/>
                  <a:gd name="connsiteY123" fmla="*/ 1762125 h 4305300"/>
                  <a:gd name="connsiteX124" fmla="*/ 883443 w 8801100"/>
                  <a:gd name="connsiteY124" fmla="*/ 1919287 h 4305300"/>
                  <a:gd name="connsiteX125" fmla="*/ 850106 w 8801100"/>
                  <a:gd name="connsiteY125" fmla="*/ 1981200 h 4305300"/>
                  <a:gd name="connsiteX126" fmla="*/ 819150 w 8801100"/>
                  <a:gd name="connsiteY126" fmla="*/ 2057400 h 4305300"/>
                  <a:gd name="connsiteX127" fmla="*/ 833438 w 8801100"/>
                  <a:gd name="connsiteY127" fmla="*/ 2114550 h 4305300"/>
                  <a:gd name="connsiteX128" fmla="*/ 735806 w 8801100"/>
                  <a:gd name="connsiteY128" fmla="*/ 2221707 h 4305300"/>
                  <a:gd name="connsiteX129" fmla="*/ 692944 w 8801100"/>
                  <a:gd name="connsiteY129" fmla="*/ 2336006 h 4305300"/>
                  <a:gd name="connsiteX130" fmla="*/ 726281 w 8801100"/>
                  <a:gd name="connsiteY130" fmla="*/ 2376488 h 4305300"/>
                  <a:gd name="connsiteX131" fmla="*/ 709613 w 8801100"/>
                  <a:gd name="connsiteY131" fmla="*/ 2405063 h 4305300"/>
                  <a:gd name="connsiteX132" fmla="*/ 740569 w 8801100"/>
                  <a:gd name="connsiteY132" fmla="*/ 2462213 h 4305300"/>
                  <a:gd name="connsiteX133" fmla="*/ 769144 w 8801100"/>
                  <a:gd name="connsiteY133" fmla="*/ 2462213 h 4305300"/>
                  <a:gd name="connsiteX134" fmla="*/ 931069 w 8801100"/>
                  <a:gd name="connsiteY134" fmla="*/ 2564606 h 4305300"/>
                  <a:gd name="connsiteX135" fmla="*/ 1035844 w 8801100"/>
                  <a:gd name="connsiteY135" fmla="*/ 2562225 h 4305300"/>
                  <a:gd name="connsiteX136" fmla="*/ 1114425 w 8801100"/>
                  <a:gd name="connsiteY136" fmla="*/ 2616994 h 4305300"/>
                  <a:gd name="connsiteX137" fmla="*/ 1245393 w 8801100"/>
                  <a:gd name="connsiteY137" fmla="*/ 2619375 h 4305300"/>
                  <a:gd name="connsiteX138" fmla="*/ 1435893 w 8801100"/>
                  <a:gd name="connsiteY138" fmla="*/ 2688431 h 4305300"/>
                  <a:gd name="connsiteX139" fmla="*/ 1638300 w 8801100"/>
                  <a:gd name="connsiteY139" fmla="*/ 2838450 h 4305300"/>
                  <a:gd name="connsiteX140" fmla="*/ 1671637 w 8801100"/>
                  <a:gd name="connsiteY140" fmla="*/ 2905125 h 4305300"/>
                  <a:gd name="connsiteX141" fmla="*/ 1838325 w 8801100"/>
                  <a:gd name="connsiteY141" fmla="*/ 3031331 h 4305300"/>
                  <a:gd name="connsiteX142" fmla="*/ 1909763 w 8801100"/>
                  <a:gd name="connsiteY142" fmla="*/ 3026569 h 4305300"/>
                  <a:gd name="connsiteX143" fmla="*/ 1945482 w 8801100"/>
                  <a:gd name="connsiteY143" fmla="*/ 3050381 h 4305300"/>
                  <a:gd name="connsiteX144" fmla="*/ 1916906 w 8801100"/>
                  <a:gd name="connsiteY144" fmla="*/ 3090863 h 4305300"/>
                  <a:gd name="connsiteX145" fmla="*/ 1924050 w 8801100"/>
                  <a:gd name="connsiteY145" fmla="*/ 3143250 h 4305300"/>
                  <a:gd name="connsiteX146" fmla="*/ 1976438 w 8801100"/>
                  <a:gd name="connsiteY146" fmla="*/ 3169444 h 4305300"/>
                  <a:gd name="connsiteX147" fmla="*/ 2038350 w 8801100"/>
                  <a:gd name="connsiteY147" fmla="*/ 3393282 h 4305300"/>
                  <a:gd name="connsiteX148" fmla="*/ 2028825 w 8801100"/>
                  <a:gd name="connsiteY148" fmla="*/ 3457575 h 4305300"/>
                  <a:gd name="connsiteX149" fmla="*/ 2164556 w 8801100"/>
                  <a:gd name="connsiteY149" fmla="*/ 3624263 h 4305300"/>
                  <a:gd name="connsiteX150" fmla="*/ 2183606 w 8801100"/>
                  <a:gd name="connsiteY150" fmla="*/ 3674269 h 4305300"/>
                  <a:gd name="connsiteX151" fmla="*/ 2157413 w 8801100"/>
                  <a:gd name="connsiteY151" fmla="*/ 3693319 h 4305300"/>
                  <a:gd name="connsiteX152" fmla="*/ 2259806 w 8801100"/>
                  <a:gd name="connsiteY152" fmla="*/ 3702844 h 4305300"/>
                  <a:gd name="connsiteX153" fmla="*/ 2371725 w 8801100"/>
                  <a:gd name="connsiteY153" fmla="*/ 3690938 h 4305300"/>
                  <a:gd name="connsiteX154" fmla="*/ 2650331 w 8801100"/>
                  <a:gd name="connsiteY154" fmla="*/ 3774281 h 4305300"/>
                  <a:gd name="connsiteX155" fmla="*/ 3057525 w 8801100"/>
                  <a:gd name="connsiteY155" fmla="*/ 3855244 h 4305300"/>
                  <a:gd name="connsiteX156" fmla="*/ 3255169 w 8801100"/>
                  <a:gd name="connsiteY156" fmla="*/ 3824287 h 4305300"/>
                  <a:gd name="connsiteX157" fmla="*/ 3300413 w 8801100"/>
                  <a:gd name="connsiteY157" fmla="*/ 3836193 h 4305300"/>
                  <a:gd name="connsiteX158" fmla="*/ 3355181 w 8801100"/>
                  <a:gd name="connsiteY158" fmla="*/ 3812382 h 4305300"/>
                  <a:gd name="connsiteX159" fmla="*/ 3748087 w 8801100"/>
                  <a:gd name="connsiteY159" fmla="*/ 3902869 h 4305300"/>
                  <a:gd name="connsiteX160" fmla="*/ 3831432 w 8801100"/>
                  <a:gd name="connsiteY160" fmla="*/ 4000500 h 4305300"/>
                  <a:gd name="connsiteX161" fmla="*/ 3950494 w 8801100"/>
                  <a:gd name="connsiteY161" fmla="*/ 4071938 h 4305300"/>
                  <a:gd name="connsiteX162" fmla="*/ 4010025 w 8801100"/>
                  <a:gd name="connsiteY162" fmla="*/ 4055269 h 4305300"/>
                  <a:gd name="connsiteX163" fmla="*/ 4360068 w 8801100"/>
                  <a:gd name="connsiteY163" fmla="*/ 4229100 h 4305300"/>
                  <a:gd name="connsiteX164" fmla="*/ 4586288 w 8801100"/>
                  <a:gd name="connsiteY164" fmla="*/ 4200525 h 4305300"/>
                  <a:gd name="connsiteX165" fmla="*/ 4595813 w 8801100"/>
                  <a:gd name="connsiteY165" fmla="*/ 4279106 h 4305300"/>
                  <a:gd name="connsiteX166" fmla="*/ 4681538 w 8801100"/>
                  <a:gd name="connsiteY166" fmla="*/ 4274343 h 4305300"/>
                  <a:gd name="connsiteX167" fmla="*/ 4760119 w 8801100"/>
                  <a:gd name="connsiteY167" fmla="*/ 4305300 h 4305300"/>
                  <a:gd name="connsiteX168" fmla="*/ 4802981 w 8801100"/>
                  <a:gd name="connsiteY168" fmla="*/ 4245769 h 4305300"/>
                  <a:gd name="connsiteX169" fmla="*/ 5474494 w 8801100"/>
                  <a:gd name="connsiteY169" fmla="*/ 3926681 h 4305300"/>
                  <a:gd name="connsiteX170" fmla="*/ 5562600 w 8801100"/>
                  <a:gd name="connsiteY170" fmla="*/ 3955257 h 4305300"/>
                  <a:gd name="connsiteX171" fmla="*/ 5693569 w 8801100"/>
                  <a:gd name="connsiteY171" fmla="*/ 3926681 h 4305300"/>
                  <a:gd name="connsiteX172" fmla="*/ 5872162 w 8801100"/>
                  <a:gd name="connsiteY172" fmla="*/ 3943350 h 4305300"/>
                  <a:gd name="connsiteX173" fmla="*/ 5929313 w 8801100"/>
                  <a:gd name="connsiteY173" fmla="*/ 3917157 h 4305300"/>
                  <a:gd name="connsiteX174" fmla="*/ 6062662 w 8801100"/>
                  <a:gd name="connsiteY174" fmla="*/ 3914775 h 4305300"/>
                  <a:gd name="connsiteX175" fmla="*/ 6196012 w 8801100"/>
                  <a:gd name="connsiteY175" fmla="*/ 3817144 h 4305300"/>
                  <a:gd name="connsiteX176" fmla="*/ 6262687 w 8801100"/>
                  <a:gd name="connsiteY176" fmla="*/ 3810000 h 4305300"/>
                  <a:gd name="connsiteX177" fmla="*/ 6360319 w 8801100"/>
                  <a:gd name="connsiteY177" fmla="*/ 3736181 h 4305300"/>
                  <a:gd name="connsiteX178" fmla="*/ 6434138 w 8801100"/>
                  <a:gd name="connsiteY178" fmla="*/ 3667125 h 4305300"/>
                  <a:gd name="connsiteX179" fmla="*/ 6443663 w 8801100"/>
                  <a:gd name="connsiteY179" fmla="*/ 3605213 h 4305300"/>
                  <a:gd name="connsiteX180" fmla="*/ 6477000 w 8801100"/>
                  <a:gd name="connsiteY180" fmla="*/ 3536156 h 4305300"/>
                  <a:gd name="connsiteX181" fmla="*/ 6629400 w 8801100"/>
                  <a:gd name="connsiteY181" fmla="*/ 3429000 h 4305300"/>
                  <a:gd name="connsiteX182" fmla="*/ 6662738 w 8801100"/>
                  <a:gd name="connsiteY182" fmla="*/ 3433763 h 4305300"/>
                  <a:gd name="connsiteX183" fmla="*/ 6715125 w 8801100"/>
                  <a:gd name="connsiteY183" fmla="*/ 3355181 h 4305300"/>
                  <a:gd name="connsiteX184" fmla="*/ 6762750 w 8801100"/>
                  <a:gd name="connsiteY184" fmla="*/ 3317081 h 4305300"/>
                  <a:gd name="connsiteX185" fmla="*/ 6748463 w 8801100"/>
                  <a:gd name="connsiteY185" fmla="*/ 3248025 h 4305300"/>
                  <a:gd name="connsiteX186" fmla="*/ 6698456 w 8801100"/>
                  <a:gd name="connsiteY186" fmla="*/ 3217068 h 4305300"/>
                  <a:gd name="connsiteX187" fmla="*/ 6638925 w 8801100"/>
                  <a:gd name="connsiteY187" fmla="*/ 3162300 h 4305300"/>
                  <a:gd name="connsiteX188" fmla="*/ 6619875 w 8801100"/>
                  <a:gd name="connsiteY188" fmla="*/ 3105150 h 4305300"/>
                  <a:gd name="connsiteX189" fmla="*/ 6584156 w 8801100"/>
                  <a:gd name="connsiteY189" fmla="*/ 3071813 h 4305300"/>
                  <a:gd name="connsiteX190" fmla="*/ 6610350 w 8801100"/>
                  <a:gd name="connsiteY190" fmla="*/ 3019425 h 4305300"/>
                  <a:gd name="connsiteX191" fmla="*/ 6650831 w 8801100"/>
                  <a:gd name="connsiteY191" fmla="*/ 2840831 h 4305300"/>
                  <a:gd name="connsiteX192" fmla="*/ 6691313 w 8801100"/>
                  <a:gd name="connsiteY192" fmla="*/ 2774156 h 4305300"/>
                  <a:gd name="connsiteX193" fmla="*/ 6836569 w 8801100"/>
                  <a:gd name="connsiteY193" fmla="*/ 2757487 h 4305300"/>
                  <a:gd name="connsiteX194" fmla="*/ 6905625 w 8801100"/>
                  <a:gd name="connsiteY194" fmla="*/ 2814638 h 4305300"/>
                  <a:gd name="connsiteX195" fmla="*/ 6981825 w 8801100"/>
                  <a:gd name="connsiteY195" fmla="*/ 2838450 h 4305300"/>
                  <a:gd name="connsiteX196" fmla="*/ 7186612 w 8801100"/>
                  <a:gd name="connsiteY196" fmla="*/ 2843213 h 4305300"/>
                  <a:gd name="connsiteX197" fmla="*/ 7362825 w 8801100"/>
                  <a:gd name="connsiteY197" fmla="*/ 2705100 h 4305300"/>
                  <a:gd name="connsiteX198" fmla="*/ 7419975 w 8801100"/>
                  <a:gd name="connsiteY198" fmla="*/ 2614612 h 4305300"/>
                  <a:gd name="connsiteX199" fmla="*/ 7446169 w 8801100"/>
                  <a:gd name="connsiteY199" fmla="*/ 2531269 h 4305300"/>
                  <a:gd name="connsiteX200" fmla="*/ 7577137 w 8801100"/>
                  <a:gd name="connsiteY200" fmla="*/ 2531269 h 4305300"/>
                  <a:gd name="connsiteX201" fmla="*/ 7750969 w 8801100"/>
                  <a:gd name="connsiteY201" fmla="*/ 2474118 h 4305300"/>
                  <a:gd name="connsiteX202" fmla="*/ 7810500 w 8801100"/>
                  <a:gd name="connsiteY202" fmla="*/ 2362200 h 4305300"/>
                  <a:gd name="connsiteX203" fmla="*/ 7874794 w 8801100"/>
                  <a:gd name="connsiteY203" fmla="*/ 2326481 h 4305300"/>
                  <a:gd name="connsiteX204" fmla="*/ 7853363 w 8801100"/>
                  <a:gd name="connsiteY204" fmla="*/ 2281238 h 4305300"/>
                  <a:gd name="connsiteX205" fmla="*/ 7931944 w 8801100"/>
                  <a:gd name="connsiteY205" fmla="*/ 2112168 h 4305300"/>
                  <a:gd name="connsiteX206" fmla="*/ 7986713 w 8801100"/>
                  <a:gd name="connsiteY206" fmla="*/ 2052638 h 4305300"/>
                  <a:gd name="connsiteX207" fmla="*/ 8024813 w 8801100"/>
                  <a:gd name="connsiteY207" fmla="*/ 2047875 h 4305300"/>
                  <a:gd name="connsiteX208" fmla="*/ 8070056 w 8801100"/>
                  <a:gd name="connsiteY208" fmla="*/ 2052638 h 4305300"/>
                  <a:gd name="connsiteX209" fmla="*/ 8134350 w 8801100"/>
                  <a:gd name="connsiteY209" fmla="*/ 2019300 h 4305300"/>
                  <a:gd name="connsiteX210" fmla="*/ 8143875 w 8801100"/>
                  <a:gd name="connsiteY210" fmla="*/ 1955006 h 4305300"/>
                  <a:gd name="connsiteX211" fmla="*/ 8184355 w 8801100"/>
                  <a:gd name="connsiteY211" fmla="*/ 1919288 h 4305300"/>
                  <a:gd name="connsiteX212" fmla="*/ 8243888 w 8801100"/>
                  <a:gd name="connsiteY212" fmla="*/ 1959768 h 4305300"/>
                  <a:gd name="connsiteX213" fmla="*/ 8270082 w 8801100"/>
                  <a:gd name="connsiteY213" fmla="*/ 1909762 h 4305300"/>
                  <a:gd name="connsiteX214" fmla="*/ 8365331 w 8801100"/>
                  <a:gd name="connsiteY214" fmla="*/ 1840706 h 4305300"/>
                  <a:gd name="connsiteX215" fmla="*/ 8427244 w 8801100"/>
                  <a:gd name="connsiteY215" fmla="*/ 1847850 h 4305300"/>
                  <a:gd name="connsiteX216" fmla="*/ 8477250 w 8801100"/>
                  <a:gd name="connsiteY216" fmla="*/ 1828800 h 4305300"/>
                  <a:gd name="connsiteX217" fmla="*/ 8515350 w 8801100"/>
                  <a:gd name="connsiteY217" fmla="*/ 1800225 h 4305300"/>
                  <a:gd name="connsiteX218" fmla="*/ 8548688 w 8801100"/>
                  <a:gd name="connsiteY218" fmla="*/ 1797844 h 4305300"/>
                  <a:gd name="connsiteX219" fmla="*/ 8584406 w 8801100"/>
                  <a:gd name="connsiteY219" fmla="*/ 1828800 h 4305300"/>
                  <a:gd name="connsiteX220" fmla="*/ 8643938 w 8801100"/>
                  <a:gd name="connsiteY220" fmla="*/ 1828800 h 4305300"/>
                  <a:gd name="connsiteX221" fmla="*/ 8682037 w 8801100"/>
                  <a:gd name="connsiteY221" fmla="*/ 1809750 h 4305300"/>
                  <a:gd name="connsiteX222" fmla="*/ 8765381 w 8801100"/>
                  <a:gd name="connsiteY222" fmla="*/ 1812132 h 4305300"/>
                  <a:gd name="connsiteX223" fmla="*/ 8796338 w 8801100"/>
                  <a:gd name="connsiteY223" fmla="*/ 1766888 h 4305300"/>
                  <a:gd name="connsiteX224" fmla="*/ 8801100 w 8801100"/>
                  <a:gd name="connsiteY224" fmla="*/ 1704975 h 4305300"/>
                  <a:gd name="connsiteX225" fmla="*/ 8751093 w 8801100"/>
                  <a:gd name="connsiteY225" fmla="*/ 1664494 h 4305300"/>
                  <a:gd name="connsiteX226" fmla="*/ 8734425 w 8801100"/>
                  <a:gd name="connsiteY226" fmla="*/ 1609725 h 4305300"/>
                  <a:gd name="connsiteX227" fmla="*/ 8643938 w 8801100"/>
                  <a:gd name="connsiteY227" fmla="*/ 1547813 h 4305300"/>
                  <a:gd name="connsiteX228" fmla="*/ 8603456 w 8801100"/>
                  <a:gd name="connsiteY228" fmla="*/ 1526381 h 4305300"/>
                  <a:gd name="connsiteX229" fmla="*/ 8565356 w 8801100"/>
                  <a:gd name="connsiteY229" fmla="*/ 1481138 h 4305300"/>
                  <a:gd name="connsiteX230" fmla="*/ 8534400 w 8801100"/>
                  <a:gd name="connsiteY230" fmla="*/ 1478756 h 4305300"/>
                  <a:gd name="connsiteX231" fmla="*/ 8517731 w 8801100"/>
                  <a:gd name="connsiteY231" fmla="*/ 1426369 h 4305300"/>
                  <a:gd name="connsiteX232" fmla="*/ 8477250 w 8801100"/>
                  <a:gd name="connsiteY232" fmla="*/ 1409700 h 4305300"/>
                  <a:gd name="connsiteX233" fmla="*/ 8477250 w 8801100"/>
                  <a:gd name="connsiteY233" fmla="*/ 1409700 h 4305300"/>
                  <a:gd name="connsiteX234" fmla="*/ 8436769 w 8801100"/>
                  <a:gd name="connsiteY234" fmla="*/ 1414463 h 4305300"/>
                  <a:gd name="connsiteX235" fmla="*/ 8351043 w 8801100"/>
                  <a:gd name="connsiteY235" fmla="*/ 1340644 h 4305300"/>
                  <a:gd name="connsiteX236" fmla="*/ 8170069 w 8801100"/>
                  <a:gd name="connsiteY236" fmla="*/ 1340643 h 4305300"/>
                  <a:gd name="connsiteX237" fmla="*/ 8117681 w 8801100"/>
                  <a:gd name="connsiteY237" fmla="*/ 1378744 h 4305300"/>
                  <a:gd name="connsiteX238" fmla="*/ 8067675 w 8801100"/>
                  <a:gd name="connsiteY238" fmla="*/ 1457325 h 4305300"/>
                  <a:gd name="connsiteX239" fmla="*/ 8084344 w 8801100"/>
                  <a:gd name="connsiteY239" fmla="*/ 1478756 h 4305300"/>
                  <a:gd name="connsiteX240" fmla="*/ 8039100 w 8801100"/>
                  <a:gd name="connsiteY240" fmla="*/ 1528762 h 4305300"/>
                  <a:gd name="connsiteX241" fmla="*/ 7889081 w 8801100"/>
                  <a:gd name="connsiteY241" fmla="*/ 1452562 h 4305300"/>
                  <a:gd name="connsiteX242" fmla="*/ 7798594 w 8801100"/>
                  <a:gd name="connsiteY242" fmla="*/ 1488281 h 4305300"/>
                  <a:gd name="connsiteX243" fmla="*/ 7724775 w 8801100"/>
                  <a:gd name="connsiteY243" fmla="*/ 1485900 h 4305300"/>
                  <a:gd name="connsiteX244" fmla="*/ 7667625 w 8801100"/>
                  <a:gd name="connsiteY244" fmla="*/ 1581150 h 4305300"/>
                  <a:gd name="connsiteX245" fmla="*/ 7529513 w 8801100"/>
                  <a:gd name="connsiteY245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645569 w 8801100"/>
                  <a:gd name="connsiteY95" fmla="*/ 854869 h 4305300"/>
                  <a:gd name="connsiteX96" fmla="*/ 2381 w 8801100"/>
                  <a:gd name="connsiteY96" fmla="*/ 1490661 h 4305300"/>
                  <a:gd name="connsiteX97" fmla="*/ 0 w 8801100"/>
                  <a:gd name="connsiteY97" fmla="*/ 709613 h 4305300"/>
                  <a:gd name="connsiteX98" fmla="*/ 76200 w 8801100"/>
                  <a:gd name="connsiteY98" fmla="*/ 692944 h 4305300"/>
                  <a:gd name="connsiteX99" fmla="*/ 119063 w 8801100"/>
                  <a:gd name="connsiteY99" fmla="*/ 721519 h 4305300"/>
                  <a:gd name="connsiteX100" fmla="*/ 215900 w 8801100"/>
                  <a:gd name="connsiteY100" fmla="*/ 712788 h 4305300"/>
                  <a:gd name="connsiteX101" fmla="*/ 261938 w 8801100"/>
                  <a:gd name="connsiteY101" fmla="*/ 740568 h 4305300"/>
                  <a:gd name="connsiteX102" fmla="*/ 228600 w 8801100"/>
                  <a:gd name="connsiteY102" fmla="*/ 769144 h 4305300"/>
                  <a:gd name="connsiteX103" fmla="*/ 233363 w 8801100"/>
                  <a:gd name="connsiteY103" fmla="*/ 812006 h 4305300"/>
                  <a:gd name="connsiteX104" fmla="*/ 200025 w 8801100"/>
                  <a:gd name="connsiteY104" fmla="*/ 816769 h 4305300"/>
                  <a:gd name="connsiteX105" fmla="*/ 204788 w 8801100"/>
                  <a:gd name="connsiteY105" fmla="*/ 840581 h 4305300"/>
                  <a:gd name="connsiteX106" fmla="*/ 261937 w 8801100"/>
                  <a:gd name="connsiteY106" fmla="*/ 914400 h 4305300"/>
                  <a:gd name="connsiteX107" fmla="*/ 223838 w 8801100"/>
                  <a:gd name="connsiteY107" fmla="*/ 962025 h 4305300"/>
                  <a:gd name="connsiteX108" fmla="*/ 278606 w 8801100"/>
                  <a:gd name="connsiteY108" fmla="*/ 997744 h 4305300"/>
                  <a:gd name="connsiteX109" fmla="*/ 369094 w 8801100"/>
                  <a:gd name="connsiteY109" fmla="*/ 1085850 h 4305300"/>
                  <a:gd name="connsiteX110" fmla="*/ 371475 w 8801100"/>
                  <a:gd name="connsiteY110" fmla="*/ 1145381 h 4305300"/>
                  <a:gd name="connsiteX111" fmla="*/ 507206 w 8801100"/>
                  <a:gd name="connsiteY111" fmla="*/ 1278732 h 4305300"/>
                  <a:gd name="connsiteX112" fmla="*/ 561975 w 8801100"/>
                  <a:gd name="connsiteY112" fmla="*/ 1254919 h 4305300"/>
                  <a:gd name="connsiteX113" fmla="*/ 600075 w 8801100"/>
                  <a:gd name="connsiteY113" fmla="*/ 1281112 h 4305300"/>
                  <a:gd name="connsiteX114" fmla="*/ 614363 w 8801100"/>
                  <a:gd name="connsiteY114" fmla="*/ 1331118 h 4305300"/>
                  <a:gd name="connsiteX115" fmla="*/ 657225 w 8801100"/>
                  <a:gd name="connsiteY115" fmla="*/ 1366838 h 4305300"/>
                  <a:gd name="connsiteX116" fmla="*/ 697706 w 8801100"/>
                  <a:gd name="connsiteY116" fmla="*/ 1354931 h 4305300"/>
                  <a:gd name="connsiteX117" fmla="*/ 716756 w 8801100"/>
                  <a:gd name="connsiteY117" fmla="*/ 1412081 h 4305300"/>
                  <a:gd name="connsiteX118" fmla="*/ 764381 w 8801100"/>
                  <a:gd name="connsiteY118" fmla="*/ 1454944 h 4305300"/>
                  <a:gd name="connsiteX119" fmla="*/ 788194 w 8801100"/>
                  <a:gd name="connsiteY119" fmla="*/ 1557338 h 4305300"/>
                  <a:gd name="connsiteX120" fmla="*/ 785813 w 8801100"/>
                  <a:gd name="connsiteY120" fmla="*/ 1604963 h 4305300"/>
                  <a:gd name="connsiteX121" fmla="*/ 821531 w 8801100"/>
                  <a:gd name="connsiteY121" fmla="*/ 1704975 h 4305300"/>
                  <a:gd name="connsiteX122" fmla="*/ 866775 w 8801100"/>
                  <a:gd name="connsiteY122" fmla="*/ 1762125 h 4305300"/>
                  <a:gd name="connsiteX123" fmla="*/ 883443 w 8801100"/>
                  <a:gd name="connsiteY123" fmla="*/ 1919287 h 4305300"/>
                  <a:gd name="connsiteX124" fmla="*/ 850106 w 8801100"/>
                  <a:gd name="connsiteY124" fmla="*/ 1981200 h 4305300"/>
                  <a:gd name="connsiteX125" fmla="*/ 819150 w 8801100"/>
                  <a:gd name="connsiteY125" fmla="*/ 2057400 h 4305300"/>
                  <a:gd name="connsiteX126" fmla="*/ 833438 w 8801100"/>
                  <a:gd name="connsiteY126" fmla="*/ 2114550 h 4305300"/>
                  <a:gd name="connsiteX127" fmla="*/ 735806 w 8801100"/>
                  <a:gd name="connsiteY127" fmla="*/ 2221707 h 4305300"/>
                  <a:gd name="connsiteX128" fmla="*/ 692944 w 8801100"/>
                  <a:gd name="connsiteY128" fmla="*/ 2336006 h 4305300"/>
                  <a:gd name="connsiteX129" fmla="*/ 726281 w 8801100"/>
                  <a:gd name="connsiteY129" fmla="*/ 2376488 h 4305300"/>
                  <a:gd name="connsiteX130" fmla="*/ 709613 w 8801100"/>
                  <a:gd name="connsiteY130" fmla="*/ 2405063 h 4305300"/>
                  <a:gd name="connsiteX131" fmla="*/ 740569 w 8801100"/>
                  <a:gd name="connsiteY131" fmla="*/ 2462213 h 4305300"/>
                  <a:gd name="connsiteX132" fmla="*/ 769144 w 8801100"/>
                  <a:gd name="connsiteY132" fmla="*/ 2462213 h 4305300"/>
                  <a:gd name="connsiteX133" fmla="*/ 931069 w 8801100"/>
                  <a:gd name="connsiteY133" fmla="*/ 2564606 h 4305300"/>
                  <a:gd name="connsiteX134" fmla="*/ 1035844 w 8801100"/>
                  <a:gd name="connsiteY134" fmla="*/ 2562225 h 4305300"/>
                  <a:gd name="connsiteX135" fmla="*/ 1114425 w 8801100"/>
                  <a:gd name="connsiteY135" fmla="*/ 2616994 h 4305300"/>
                  <a:gd name="connsiteX136" fmla="*/ 1245393 w 8801100"/>
                  <a:gd name="connsiteY136" fmla="*/ 2619375 h 4305300"/>
                  <a:gd name="connsiteX137" fmla="*/ 1435893 w 8801100"/>
                  <a:gd name="connsiteY137" fmla="*/ 2688431 h 4305300"/>
                  <a:gd name="connsiteX138" fmla="*/ 1638300 w 8801100"/>
                  <a:gd name="connsiteY138" fmla="*/ 2838450 h 4305300"/>
                  <a:gd name="connsiteX139" fmla="*/ 1671637 w 8801100"/>
                  <a:gd name="connsiteY139" fmla="*/ 2905125 h 4305300"/>
                  <a:gd name="connsiteX140" fmla="*/ 1838325 w 8801100"/>
                  <a:gd name="connsiteY140" fmla="*/ 3031331 h 4305300"/>
                  <a:gd name="connsiteX141" fmla="*/ 1909763 w 8801100"/>
                  <a:gd name="connsiteY141" fmla="*/ 3026569 h 4305300"/>
                  <a:gd name="connsiteX142" fmla="*/ 1945482 w 8801100"/>
                  <a:gd name="connsiteY142" fmla="*/ 3050381 h 4305300"/>
                  <a:gd name="connsiteX143" fmla="*/ 1916906 w 8801100"/>
                  <a:gd name="connsiteY143" fmla="*/ 3090863 h 4305300"/>
                  <a:gd name="connsiteX144" fmla="*/ 1924050 w 8801100"/>
                  <a:gd name="connsiteY144" fmla="*/ 3143250 h 4305300"/>
                  <a:gd name="connsiteX145" fmla="*/ 1976438 w 8801100"/>
                  <a:gd name="connsiteY145" fmla="*/ 3169444 h 4305300"/>
                  <a:gd name="connsiteX146" fmla="*/ 2038350 w 8801100"/>
                  <a:gd name="connsiteY146" fmla="*/ 3393282 h 4305300"/>
                  <a:gd name="connsiteX147" fmla="*/ 2028825 w 8801100"/>
                  <a:gd name="connsiteY147" fmla="*/ 3457575 h 4305300"/>
                  <a:gd name="connsiteX148" fmla="*/ 2164556 w 8801100"/>
                  <a:gd name="connsiteY148" fmla="*/ 3624263 h 4305300"/>
                  <a:gd name="connsiteX149" fmla="*/ 2183606 w 8801100"/>
                  <a:gd name="connsiteY149" fmla="*/ 3674269 h 4305300"/>
                  <a:gd name="connsiteX150" fmla="*/ 2157413 w 8801100"/>
                  <a:gd name="connsiteY150" fmla="*/ 3693319 h 4305300"/>
                  <a:gd name="connsiteX151" fmla="*/ 2259806 w 8801100"/>
                  <a:gd name="connsiteY151" fmla="*/ 3702844 h 4305300"/>
                  <a:gd name="connsiteX152" fmla="*/ 2371725 w 8801100"/>
                  <a:gd name="connsiteY152" fmla="*/ 3690938 h 4305300"/>
                  <a:gd name="connsiteX153" fmla="*/ 2650331 w 8801100"/>
                  <a:gd name="connsiteY153" fmla="*/ 3774281 h 4305300"/>
                  <a:gd name="connsiteX154" fmla="*/ 3057525 w 8801100"/>
                  <a:gd name="connsiteY154" fmla="*/ 3855244 h 4305300"/>
                  <a:gd name="connsiteX155" fmla="*/ 3255169 w 8801100"/>
                  <a:gd name="connsiteY155" fmla="*/ 3824287 h 4305300"/>
                  <a:gd name="connsiteX156" fmla="*/ 3300413 w 8801100"/>
                  <a:gd name="connsiteY156" fmla="*/ 3836193 h 4305300"/>
                  <a:gd name="connsiteX157" fmla="*/ 3355181 w 8801100"/>
                  <a:gd name="connsiteY157" fmla="*/ 3812382 h 4305300"/>
                  <a:gd name="connsiteX158" fmla="*/ 3748087 w 8801100"/>
                  <a:gd name="connsiteY158" fmla="*/ 3902869 h 4305300"/>
                  <a:gd name="connsiteX159" fmla="*/ 3831432 w 8801100"/>
                  <a:gd name="connsiteY159" fmla="*/ 4000500 h 4305300"/>
                  <a:gd name="connsiteX160" fmla="*/ 3950494 w 8801100"/>
                  <a:gd name="connsiteY160" fmla="*/ 4071938 h 4305300"/>
                  <a:gd name="connsiteX161" fmla="*/ 4010025 w 8801100"/>
                  <a:gd name="connsiteY161" fmla="*/ 4055269 h 4305300"/>
                  <a:gd name="connsiteX162" fmla="*/ 4360068 w 8801100"/>
                  <a:gd name="connsiteY162" fmla="*/ 4229100 h 4305300"/>
                  <a:gd name="connsiteX163" fmla="*/ 4586288 w 8801100"/>
                  <a:gd name="connsiteY163" fmla="*/ 4200525 h 4305300"/>
                  <a:gd name="connsiteX164" fmla="*/ 4595813 w 8801100"/>
                  <a:gd name="connsiteY164" fmla="*/ 4279106 h 4305300"/>
                  <a:gd name="connsiteX165" fmla="*/ 4681538 w 8801100"/>
                  <a:gd name="connsiteY165" fmla="*/ 4274343 h 4305300"/>
                  <a:gd name="connsiteX166" fmla="*/ 4760119 w 8801100"/>
                  <a:gd name="connsiteY166" fmla="*/ 4305300 h 4305300"/>
                  <a:gd name="connsiteX167" fmla="*/ 4802981 w 8801100"/>
                  <a:gd name="connsiteY167" fmla="*/ 4245769 h 4305300"/>
                  <a:gd name="connsiteX168" fmla="*/ 5474494 w 8801100"/>
                  <a:gd name="connsiteY168" fmla="*/ 3926681 h 4305300"/>
                  <a:gd name="connsiteX169" fmla="*/ 5562600 w 8801100"/>
                  <a:gd name="connsiteY169" fmla="*/ 3955257 h 4305300"/>
                  <a:gd name="connsiteX170" fmla="*/ 5693569 w 8801100"/>
                  <a:gd name="connsiteY170" fmla="*/ 3926681 h 4305300"/>
                  <a:gd name="connsiteX171" fmla="*/ 5872162 w 8801100"/>
                  <a:gd name="connsiteY171" fmla="*/ 3943350 h 4305300"/>
                  <a:gd name="connsiteX172" fmla="*/ 5929313 w 8801100"/>
                  <a:gd name="connsiteY172" fmla="*/ 3917157 h 4305300"/>
                  <a:gd name="connsiteX173" fmla="*/ 6062662 w 8801100"/>
                  <a:gd name="connsiteY173" fmla="*/ 3914775 h 4305300"/>
                  <a:gd name="connsiteX174" fmla="*/ 6196012 w 8801100"/>
                  <a:gd name="connsiteY174" fmla="*/ 3817144 h 4305300"/>
                  <a:gd name="connsiteX175" fmla="*/ 6262687 w 8801100"/>
                  <a:gd name="connsiteY175" fmla="*/ 3810000 h 4305300"/>
                  <a:gd name="connsiteX176" fmla="*/ 6360319 w 8801100"/>
                  <a:gd name="connsiteY176" fmla="*/ 3736181 h 4305300"/>
                  <a:gd name="connsiteX177" fmla="*/ 6434138 w 8801100"/>
                  <a:gd name="connsiteY177" fmla="*/ 3667125 h 4305300"/>
                  <a:gd name="connsiteX178" fmla="*/ 6443663 w 8801100"/>
                  <a:gd name="connsiteY178" fmla="*/ 3605213 h 4305300"/>
                  <a:gd name="connsiteX179" fmla="*/ 6477000 w 8801100"/>
                  <a:gd name="connsiteY179" fmla="*/ 3536156 h 4305300"/>
                  <a:gd name="connsiteX180" fmla="*/ 6629400 w 8801100"/>
                  <a:gd name="connsiteY180" fmla="*/ 3429000 h 4305300"/>
                  <a:gd name="connsiteX181" fmla="*/ 6662738 w 8801100"/>
                  <a:gd name="connsiteY181" fmla="*/ 3433763 h 4305300"/>
                  <a:gd name="connsiteX182" fmla="*/ 6715125 w 8801100"/>
                  <a:gd name="connsiteY182" fmla="*/ 3355181 h 4305300"/>
                  <a:gd name="connsiteX183" fmla="*/ 6762750 w 8801100"/>
                  <a:gd name="connsiteY183" fmla="*/ 3317081 h 4305300"/>
                  <a:gd name="connsiteX184" fmla="*/ 6748463 w 8801100"/>
                  <a:gd name="connsiteY184" fmla="*/ 3248025 h 4305300"/>
                  <a:gd name="connsiteX185" fmla="*/ 6698456 w 8801100"/>
                  <a:gd name="connsiteY185" fmla="*/ 3217068 h 4305300"/>
                  <a:gd name="connsiteX186" fmla="*/ 6638925 w 8801100"/>
                  <a:gd name="connsiteY186" fmla="*/ 3162300 h 4305300"/>
                  <a:gd name="connsiteX187" fmla="*/ 6619875 w 8801100"/>
                  <a:gd name="connsiteY187" fmla="*/ 3105150 h 4305300"/>
                  <a:gd name="connsiteX188" fmla="*/ 6584156 w 8801100"/>
                  <a:gd name="connsiteY188" fmla="*/ 3071813 h 4305300"/>
                  <a:gd name="connsiteX189" fmla="*/ 6610350 w 8801100"/>
                  <a:gd name="connsiteY189" fmla="*/ 3019425 h 4305300"/>
                  <a:gd name="connsiteX190" fmla="*/ 6650831 w 8801100"/>
                  <a:gd name="connsiteY190" fmla="*/ 2840831 h 4305300"/>
                  <a:gd name="connsiteX191" fmla="*/ 6691313 w 8801100"/>
                  <a:gd name="connsiteY191" fmla="*/ 2774156 h 4305300"/>
                  <a:gd name="connsiteX192" fmla="*/ 6836569 w 8801100"/>
                  <a:gd name="connsiteY192" fmla="*/ 2757487 h 4305300"/>
                  <a:gd name="connsiteX193" fmla="*/ 6905625 w 8801100"/>
                  <a:gd name="connsiteY193" fmla="*/ 2814638 h 4305300"/>
                  <a:gd name="connsiteX194" fmla="*/ 6981825 w 8801100"/>
                  <a:gd name="connsiteY194" fmla="*/ 2838450 h 4305300"/>
                  <a:gd name="connsiteX195" fmla="*/ 7186612 w 8801100"/>
                  <a:gd name="connsiteY195" fmla="*/ 2843213 h 4305300"/>
                  <a:gd name="connsiteX196" fmla="*/ 7362825 w 8801100"/>
                  <a:gd name="connsiteY196" fmla="*/ 2705100 h 4305300"/>
                  <a:gd name="connsiteX197" fmla="*/ 7419975 w 8801100"/>
                  <a:gd name="connsiteY197" fmla="*/ 2614612 h 4305300"/>
                  <a:gd name="connsiteX198" fmla="*/ 7446169 w 8801100"/>
                  <a:gd name="connsiteY198" fmla="*/ 2531269 h 4305300"/>
                  <a:gd name="connsiteX199" fmla="*/ 7577137 w 8801100"/>
                  <a:gd name="connsiteY199" fmla="*/ 2531269 h 4305300"/>
                  <a:gd name="connsiteX200" fmla="*/ 7750969 w 8801100"/>
                  <a:gd name="connsiteY200" fmla="*/ 2474118 h 4305300"/>
                  <a:gd name="connsiteX201" fmla="*/ 7810500 w 8801100"/>
                  <a:gd name="connsiteY201" fmla="*/ 2362200 h 4305300"/>
                  <a:gd name="connsiteX202" fmla="*/ 7874794 w 8801100"/>
                  <a:gd name="connsiteY202" fmla="*/ 2326481 h 4305300"/>
                  <a:gd name="connsiteX203" fmla="*/ 7853363 w 8801100"/>
                  <a:gd name="connsiteY203" fmla="*/ 2281238 h 4305300"/>
                  <a:gd name="connsiteX204" fmla="*/ 7931944 w 8801100"/>
                  <a:gd name="connsiteY204" fmla="*/ 2112168 h 4305300"/>
                  <a:gd name="connsiteX205" fmla="*/ 7986713 w 8801100"/>
                  <a:gd name="connsiteY205" fmla="*/ 2052638 h 4305300"/>
                  <a:gd name="connsiteX206" fmla="*/ 8024813 w 8801100"/>
                  <a:gd name="connsiteY206" fmla="*/ 2047875 h 4305300"/>
                  <a:gd name="connsiteX207" fmla="*/ 8070056 w 8801100"/>
                  <a:gd name="connsiteY207" fmla="*/ 2052638 h 4305300"/>
                  <a:gd name="connsiteX208" fmla="*/ 8134350 w 8801100"/>
                  <a:gd name="connsiteY208" fmla="*/ 2019300 h 4305300"/>
                  <a:gd name="connsiteX209" fmla="*/ 8143875 w 8801100"/>
                  <a:gd name="connsiteY209" fmla="*/ 1955006 h 4305300"/>
                  <a:gd name="connsiteX210" fmla="*/ 8184355 w 8801100"/>
                  <a:gd name="connsiteY210" fmla="*/ 1919288 h 4305300"/>
                  <a:gd name="connsiteX211" fmla="*/ 8243888 w 8801100"/>
                  <a:gd name="connsiteY211" fmla="*/ 1959768 h 4305300"/>
                  <a:gd name="connsiteX212" fmla="*/ 8270082 w 8801100"/>
                  <a:gd name="connsiteY212" fmla="*/ 1909762 h 4305300"/>
                  <a:gd name="connsiteX213" fmla="*/ 8365331 w 8801100"/>
                  <a:gd name="connsiteY213" fmla="*/ 1840706 h 4305300"/>
                  <a:gd name="connsiteX214" fmla="*/ 8427244 w 8801100"/>
                  <a:gd name="connsiteY214" fmla="*/ 1847850 h 4305300"/>
                  <a:gd name="connsiteX215" fmla="*/ 8477250 w 8801100"/>
                  <a:gd name="connsiteY215" fmla="*/ 1828800 h 4305300"/>
                  <a:gd name="connsiteX216" fmla="*/ 8515350 w 8801100"/>
                  <a:gd name="connsiteY216" fmla="*/ 1800225 h 4305300"/>
                  <a:gd name="connsiteX217" fmla="*/ 8548688 w 8801100"/>
                  <a:gd name="connsiteY217" fmla="*/ 1797844 h 4305300"/>
                  <a:gd name="connsiteX218" fmla="*/ 8584406 w 8801100"/>
                  <a:gd name="connsiteY218" fmla="*/ 1828800 h 4305300"/>
                  <a:gd name="connsiteX219" fmla="*/ 8643938 w 8801100"/>
                  <a:gd name="connsiteY219" fmla="*/ 1828800 h 4305300"/>
                  <a:gd name="connsiteX220" fmla="*/ 8682037 w 8801100"/>
                  <a:gd name="connsiteY220" fmla="*/ 1809750 h 4305300"/>
                  <a:gd name="connsiteX221" fmla="*/ 8765381 w 8801100"/>
                  <a:gd name="connsiteY221" fmla="*/ 1812132 h 4305300"/>
                  <a:gd name="connsiteX222" fmla="*/ 8796338 w 8801100"/>
                  <a:gd name="connsiteY222" fmla="*/ 1766888 h 4305300"/>
                  <a:gd name="connsiteX223" fmla="*/ 8801100 w 8801100"/>
                  <a:gd name="connsiteY223" fmla="*/ 1704975 h 4305300"/>
                  <a:gd name="connsiteX224" fmla="*/ 8751093 w 8801100"/>
                  <a:gd name="connsiteY224" fmla="*/ 1664494 h 4305300"/>
                  <a:gd name="connsiteX225" fmla="*/ 8734425 w 8801100"/>
                  <a:gd name="connsiteY225" fmla="*/ 1609725 h 4305300"/>
                  <a:gd name="connsiteX226" fmla="*/ 8643938 w 8801100"/>
                  <a:gd name="connsiteY226" fmla="*/ 1547813 h 4305300"/>
                  <a:gd name="connsiteX227" fmla="*/ 8603456 w 8801100"/>
                  <a:gd name="connsiteY227" fmla="*/ 1526381 h 4305300"/>
                  <a:gd name="connsiteX228" fmla="*/ 8565356 w 8801100"/>
                  <a:gd name="connsiteY228" fmla="*/ 1481138 h 4305300"/>
                  <a:gd name="connsiteX229" fmla="*/ 8534400 w 8801100"/>
                  <a:gd name="connsiteY229" fmla="*/ 1478756 h 4305300"/>
                  <a:gd name="connsiteX230" fmla="*/ 8517731 w 8801100"/>
                  <a:gd name="connsiteY230" fmla="*/ 1426369 h 4305300"/>
                  <a:gd name="connsiteX231" fmla="*/ 8477250 w 8801100"/>
                  <a:gd name="connsiteY231" fmla="*/ 1409700 h 4305300"/>
                  <a:gd name="connsiteX232" fmla="*/ 8477250 w 8801100"/>
                  <a:gd name="connsiteY232" fmla="*/ 1409700 h 4305300"/>
                  <a:gd name="connsiteX233" fmla="*/ 8436769 w 8801100"/>
                  <a:gd name="connsiteY233" fmla="*/ 1414463 h 4305300"/>
                  <a:gd name="connsiteX234" fmla="*/ 8351043 w 8801100"/>
                  <a:gd name="connsiteY234" fmla="*/ 1340644 h 4305300"/>
                  <a:gd name="connsiteX235" fmla="*/ 8170069 w 8801100"/>
                  <a:gd name="connsiteY235" fmla="*/ 1340643 h 4305300"/>
                  <a:gd name="connsiteX236" fmla="*/ 8117681 w 8801100"/>
                  <a:gd name="connsiteY236" fmla="*/ 1378744 h 4305300"/>
                  <a:gd name="connsiteX237" fmla="*/ 8067675 w 8801100"/>
                  <a:gd name="connsiteY237" fmla="*/ 1457325 h 4305300"/>
                  <a:gd name="connsiteX238" fmla="*/ 8084344 w 8801100"/>
                  <a:gd name="connsiteY238" fmla="*/ 1478756 h 4305300"/>
                  <a:gd name="connsiteX239" fmla="*/ 8039100 w 8801100"/>
                  <a:gd name="connsiteY239" fmla="*/ 1528762 h 4305300"/>
                  <a:gd name="connsiteX240" fmla="*/ 7889081 w 8801100"/>
                  <a:gd name="connsiteY240" fmla="*/ 1452562 h 4305300"/>
                  <a:gd name="connsiteX241" fmla="*/ 7798594 w 8801100"/>
                  <a:gd name="connsiteY241" fmla="*/ 1488281 h 4305300"/>
                  <a:gd name="connsiteX242" fmla="*/ 7724775 w 8801100"/>
                  <a:gd name="connsiteY242" fmla="*/ 1485900 h 4305300"/>
                  <a:gd name="connsiteX243" fmla="*/ 7667625 w 8801100"/>
                  <a:gd name="connsiteY243" fmla="*/ 1581150 h 4305300"/>
                  <a:gd name="connsiteX244" fmla="*/ 7529513 w 8801100"/>
                  <a:gd name="connsiteY244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714625 w 8801100"/>
                  <a:gd name="connsiteY94" fmla="*/ 914400 h 4305300"/>
                  <a:gd name="connsiteX95" fmla="*/ 2381 w 8801100"/>
                  <a:gd name="connsiteY95" fmla="*/ 1490661 h 4305300"/>
                  <a:gd name="connsiteX96" fmla="*/ 0 w 8801100"/>
                  <a:gd name="connsiteY96" fmla="*/ 709613 h 4305300"/>
                  <a:gd name="connsiteX97" fmla="*/ 76200 w 8801100"/>
                  <a:gd name="connsiteY97" fmla="*/ 692944 h 4305300"/>
                  <a:gd name="connsiteX98" fmla="*/ 119063 w 8801100"/>
                  <a:gd name="connsiteY98" fmla="*/ 721519 h 4305300"/>
                  <a:gd name="connsiteX99" fmla="*/ 215900 w 8801100"/>
                  <a:gd name="connsiteY99" fmla="*/ 712788 h 4305300"/>
                  <a:gd name="connsiteX100" fmla="*/ 261938 w 8801100"/>
                  <a:gd name="connsiteY100" fmla="*/ 740568 h 4305300"/>
                  <a:gd name="connsiteX101" fmla="*/ 228600 w 8801100"/>
                  <a:gd name="connsiteY101" fmla="*/ 769144 h 4305300"/>
                  <a:gd name="connsiteX102" fmla="*/ 233363 w 8801100"/>
                  <a:gd name="connsiteY102" fmla="*/ 812006 h 4305300"/>
                  <a:gd name="connsiteX103" fmla="*/ 200025 w 8801100"/>
                  <a:gd name="connsiteY103" fmla="*/ 816769 h 4305300"/>
                  <a:gd name="connsiteX104" fmla="*/ 204788 w 8801100"/>
                  <a:gd name="connsiteY104" fmla="*/ 840581 h 4305300"/>
                  <a:gd name="connsiteX105" fmla="*/ 261937 w 8801100"/>
                  <a:gd name="connsiteY105" fmla="*/ 914400 h 4305300"/>
                  <a:gd name="connsiteX106" fmla="*/ 223838 w 8801100"/>
                  <a:gd name="connsiteY106" fmla="*/ 962025 h 4305300"/>
                  <a:gd name="connsiteX107" fmla="*/ 278606 w 8801100"/>
                  <a:gd name="connsiteY107" fmla="*/ 997744 h 4305300"/>
                  <a:gd name="connsiteX108" fmla="*/ 369094 w 8801100"/>
                  <a:gd name="connsiteY108" fmla="*/ 1085850 h 4305300"/>
                  <a:gd name="connsiteX109" fmla="*/ 371475 w 8801100"/>
                  <a:gd name="connsiteY109" fmla="*/ 1145381 h 4305300"/>
                  <a:gd name="connsiteX110" fmla="*/ 507206 w 8801100"/>
                  <a:gd name="connsiteY110" fmla="*/ 1278732 h 4305300"/>
                  <a:gd name="connsiteX111" fmla="*/ 561975 w 8801100"/>
                  <a:gd name="connsiteY111" fmla="*/ 1254919 h 4305300"/>
                  <a:gd name="connsiteX112" fmla="*/ 600075 w 8801100"/>
                  <a:gd name="connsiteY112" fmla="*/ 1281112 h 4305300"/>
                  <a:gd name="connsiteX113" fmla="*/ 614363 w 8801100"/>
                  <a:gd name="connsiteY113" fmla="*/ 1331118 h 4305300"/>
                  <a:gd name="connsiteX114" fmla="*/ 657225 w 8801100"/>
                  <a:gd name="connsiteY114" fmla="*/ 1366838 h 4305300"/>
                  <a:gd name="connsiteX115" fmla="*/ 697706 w 8801100"/>
                  <a:gd name="connsiteY115" fmla="*/ 1354931 h 4305300"/>
                  <a:gd name="connsiteX116" fmla="*/ 716756 w 8801100"/>
                  <a:gd name="connsiteY116" fmla="*/ 1412081 h 4305300"/>
                  <a:gd name="connsiteX117" fmla="*/ 764381 w 8801100"/>
                  <a:gd name="connsiteY117" fmla="*/ 1454944 h 4305300"/>
                  <a:gd name="connsiteX118" fmla="*/ 788194 w 8801100"/>
                  <a:gd name="connsiteY118" fmla="*/ 1557338 h 4305300"/>
                  <a:gd name="connsiteX119" fmla="*/ 785813 w 8801100"/>
                  <a:gd name="connsiteY119" fmla="*/ 1604963 h 4305300"/>
                  <a:gd name="connsiteX120" fmla="*/ 821531 w 8801100"/>
                  <a:gd name="connsiteY120" fmla="*/ 1704975 h 4305300"/>
                  <a:gd name="connsiteX121" fmla="*/ 866775 w 8801100"/>
                  <a:gd name="connsiteY121" fmla="*/ 1762125 h 4305300"/>
                  <a:gd name="connsiteX122" fmla="*/ 883443 w 8801100"/>
                  <a:gd name="connsiteY122" fmla="*/ 1919287 h 4305300"/>
                  <a:gd name="connsiteX123" fmla="*/ 850106 w 8801100"/>
                  <a:gd name="connsiteY123" fmla="*/ 1981200 h 4305300"/>
                  <a:gd name="connsiteX124" fmla="*/ 819150 w 8801100"/>
                  <a:gd name="connsiteY124" fmla="*/ 2057400 h 4305300"/>
                  <a:gd name="connsiteX125" fmla="*/ 833438 w 8801100"/>
                  <a:gd name="connsiteY125" fmla="*/ 2114550 h 4305300"/>
                  <a:gd name="connsiteX126" fmla="*/ 735806 w 8801100"/>
                  <a:gd name="connsiteY126" fmla="*/ 2221707 h 4305300"/>
                  <a:gd name="connsiteX127" fmla="*/ 692944 w 8801100"/>
                  <a:gd name="connsiteY127" fmla="*/ 2336006 h 4305300"/>
                  <a:gd name="connsiteX128" fmla="*/ 726281 w 8801100"/>
                  <a:gd name="connsiteY128" fmla="*/ 2376488 h 4305300"/>
                  <a:gd name="connsiteX129" fmla="*/ 709613 w 8801100"/>
                  <a:gd name="connsiteY129" fmla="*/ 2405063 h 4305300"/>
                  <a:gd name="connsiteX130" fmla="*/ 740569 w 8801100"/>
                  <a:gd name="connsiteY130" fmla="*/ 2462213 h 4305300"/>
                  <a:gd name="connsiteX131" fmla="*/ 769144 w 8801100"/>
                  <a:gd name="connsiteY131" fmla="*/ 2462213 h 4305300"/>
                  <a:gd name="connsiteX132" fmla="*/ 931069 w 8801100"/>
                  <a:gd name="connsiteY132" fmla="*/ 2564606 h 4305300"/>
                  <a:gd name="connsiteX133" fmla="*/ 1035844 w 8801100"/>
                  <a:gd name="connsiteY133" fmla="*/ 2562225 h 4305300"/>
                  <a:gd name="connsiteX134" fmla="*/ 1114425 w 8801100"/>
                  <a:gd name="connsiteY134" fmla="*/ 2616994 h 4305300"/>
                  <a:gd name="connsiteX135" fmla="*/ 1245393 w 8801100"/>
                  <a:gd name="connsiteY135" fmla="*/ 2619375 h 4305300"/>
                  <a:gd name="connsiteX136" fmla="*/ 1435893 w 8801100"/>
                  <a:gd name="connsiteY136" fmla="*/ 2688431 h 4305300"/>
                  <a:gd name="connsiteX137" fmla="*/ 1638300 w 8801100"/>
                  <a:gd name="connsiteY137" fmla="*/ 2838450 h 4305300"/>
                  <a:gd name="connsiteX138" fmla="*/ 1671637 w 8801100"/>
                  <a:gd name="connsiteY138" fmla="*/ 2905125 h 4305300"/>
                  <a:gd name="connsiteX139" fmla="*/ 1838325 w 8801100"/>
                  <a:gd name="connsiteY139" fmla="*/ 3031331 h 4305300"/>
                  <a:gd name="connsiteX140" fmla="*/ 1909763 w 8801100"/>
                  <a:gd name="connsiteY140" fmla="*/ 3026569 h 4305300"/>
                  <a:gd name="connsiteX141" fmla="*/ 1945482 w 8801100"/>
                  <a:gd name="connsiteY141" fmla="*/ 3050381 h 4305300"/>
                  <a:gd name="connsiteX142" fmla="*/ 1916906 w 8801100"/>
                  <a:gd name="connsiteY142" fmla="*/ 3090863 h 4305300"/>
                  <a:gd name="connsiteX143" fmla="*/ 1924050 w 8801100"/>
                  <a:gd name="connsiteY143" fmla="*/ 3143250 h 4305300"/>
                  <a:gd name="connsiteX144" fmla="*/ 1976438 w 8801100"/>
                  <a:gd name="connsiteY144" fmla="*/ 3169444 h 4305300"/>
                  <a:gd name="connsiteX145" fmla="*/ 2038350 w 8801100"/>
                  <a:gd name="connsiteY145" fmla="*/ 3393282 h 4305300"/>
                  <a:gd name="connsiteX146" fmla="*/ 2028825 w 8801100"/>
                  <a:gd name="connsiteY146" fmla="*/ 3457575 h 4305300"/>
                  <a:gd name="connsiteX147" fmla="*/ 2164556 w 8801100"/>
                  <a:gd name="connsiteY147" fmla="*/ 3624263 h 4305300"/>
                  <a:gd name="connsiteX148" fmla="*/ 2183606 w 8801100"/>
                  <a:gd name="connsiteY148" fmla="*/ 3674269 h 4305300"/>
                  <a:gd name="connsiteX149" fmla="*/ 2157413 w 8801100"/>
                  <a:gd name="connsiteY149" fmla="*/ 3693319 h 4305300"/>
                  <a:gd name="connsiteX150" fmla="*/ 2259806 w 8801100"/>
                  <a:gd name="connsiteY150" fmla="*/ 3702844 h 4305300"/>
                  <a:gd name="connsiteX151" fmla="*/ 2371725 w 8801100"/>
                  <a:gd name="connsiteY151" fmla="*/ 3690938 h 4305300"/>
                  <a:gd name="connsiteX152" fmla="*/ 2650331 w 8801100"/>
                  <a:gd name="connsiteY152" fmla="*/ 3774281 h 4305300"/>
                  <a:gd name="connsiteX153" fmla="*/ 3057525 w 8801100"/>
                  <a:gd name="connsiteY153" fmla="*/ 3855244 h 4305300"/>
                  <a:gd name="connsiteX154" fmla="*/ 3255169 w 8801100"/>
                  <a:gd name="connsiteY154" fmla="*/ 3824287 h 4305300"/>
                  <a:gd name="connsiteX155" fmla="*/ 3300413 w 8801100"/>
                  <a:gd name="connsiteY155" fmla="*/ 3836193 h 4305300"/>
                  <a:gd name="connsiteX156" fmla="*/ 3355181 w 8801100"/>
                  <a:gd name="connsiteY156" fmla="*/ 3812382 h 4305300"/>
                  <a:gd name="connsiteX157" fmla="*/ 3748087 w 8801100"/>
                  <a:gd name="connsiteY157" fmla="*/ 3902869 h 4305300"/>
                  <a:gd name="connsiteX158" fmla="*/ 3831432 w 8801100"/>
                  <a:gd name="connsiteY158" fmla="*/ 4000500 h 4305300"/>
                  <a:gd name="connsiteX159" fmla="*/ 3950494 w 8801100"/>
                  <a:gd name="connsiteY159" fmla="*/ 4071938 h 4305300"/>
                  <a:gd name="connsiteX160" fmla="*/ 4010025 w 8801100"/>
                  <a:gd name="connsiteY160" fmla="*/ 4055269 h 4305300"/>
                  <a:gd name="connsiteX161" fmla="*/ 4360068 w 8801100"/>
                  <a:gd name="connsiteY161" fmla="*/ 4229100 h 4305300"/>
                  <a:gd name="connsiteX162" fmla="*/ 4586288 w 8801100"/>
                  <a:gd name="connsiteY162" fmla="*/ 4200525 h 4305300"/>
                  <a:gd name="connsiteX163" fmla="*/ 4595813 w 8801100"/>
                  <a:gd name="connsiteY163" fmla="*/ 4279106 h 4305300"/>
                  <a:gd name="connsiteX164" fmla="*/ 4681538 w 8801100"/>
                  <a:gd name="connsiteY164" fmla="*/ 4274343 h 4305300"/>
                  <a:gd name="connsiteX165" fmla="*/ 4760119 w 8801100"/>
                  <a:gd name="connsiteY165" fmla="*/ 4305300 h 4305300"/>
                  <a:gd name="connsiteX166" fmla="*/ 4802981 w 8801100"/>
                  <a:gd name="connsiteY166" fmla="*/ 4245769 h 4305300"/>
                  <a:gd name="connsiteX167" fmla="*/ 5474494 w 8801100"/>
                  <a:gd name="connsiteY167" fmla="*/ 3926681 h 4305300"/>
                  <a:gd name="connsiteX168" fmla="*/ 5562600 w 8801100"/>
                  <a:gd name="connsiteY168" fmla="*/ 3955257 h 4305300"/>
                  <a:gd name="connsiteX169" fmla="*/ 5693569 w 8801100"/>
                  <a:gd name="connsiteY169" fmla="*/ 3926681 h 4305300"/>
                  <a:gd name="connsiteX170" fmla="*/ 5872162 w 8801100"/>
                  <a:gd name="connsiteY170" fmla="*/ 3943350 h 4305300"/>
                  <a:gd name="connsiteX171" fmla="*/ 5929313 w 8801100"/>
                  <a:gd name="connsiteY171" fmla="*/ 3917157 h 4305300"/>
                  <a:gd name="connsiteX172" fmla="*/ 6062662 w 8801100"/>
                  <a:gd name="connsiteY172" fmla="*/ 3914775 h 4305300"/>
                  <a:gd name="connsiteX173" fmla="*/ 6196012 w 8801100"/>
                  <a:gd name="connsiteY173" fmla="*/ 3817144 h 4305300"/>
                  <a:gd name="connsiteX174" fmla="*/ 6262687 w 8801100"/>
                  <a:gd name="connsiteY174" fmla="*/ 3810000 h 4305300"/>
                  <a:gd name="connsiteX175" fmla="*/ 6360319 w 8801100"/>
                  <a:gd name="connsiteY175" fmla="*/ 3736181 h 4305300"/>
                  <a:gd name="connsiteX176" fmla="*/ 6434138 w 8801100"/>
                  <a:gd name="connsiteY176" fmla="*/ 3667125 h 4305300"/>
                  <a:gd name="connsiteX177" fmla="*/ 6443663 w 8801100"/>
                  <a:gd name="connsiteY177" fmla="*/ 3605213 h 4305300"/>
                  <a:gd name="connsiteX178" fmla="*/ 6477000 w 8801100"/>
                  <a:gd name="connsiteY178" fmla="*/ 3536156 h 4305300"/>
                  <a:gd name="connsiteX179" fmla="*/ 6629400 w 8801100"/>
                  <a:gd name="connsiteY179" fmla="*/ 3429000 h 4305300"/>
                  <a:gd name="connsiteX180" fmla="*/ 6662738 w 8801100"/>
                  <a:gd name="connsiteY180" fmla="*/ 3433763 h 4305300"/>
                  <a:gd name="connsiteX181" fmla="*/ 6715125 w 8801100"/>
                  <a:gd name="connsiteY181" fmla="*/ 3355181 h 4305300"/>
                  <a:gd name="connsiteX182" fmla="*/ 6762750 w 8801100"/>
                  <a:gd name="connsiteY182" fmla="*/ 3317081 h 4305300"/>
                  <a:gd name="connsiteX183" fmla="*/ 6748463 w 8801100"/>
                  <a:gd name="connsiteY183" fmla="*/ 3248025 h 4305300"/>
                  <a:gd name="connsiteX184" fmla="*/ 6698456 w 8801100"/>
                  <a:gd name="connsiteY184" fmla="*/ 3217068 h 4305300"/>
                  <a:gd name="connsiteX185" fmla="*/ 6638925 w 8801100"/>
                  <a:gd name="connsiteY185" fmla="*/ 3162300 h 4305300"/>
                  <a:gd name="connsiteX186" fmla="*/ 6619875 w 8801100"/>
                  <a:gd name="connsiteY186" fmla="*/ 3105150 h 4305300"/>
                  <a:gd name="connsiteX187" fmla="*/ 6584156 w 8801100"/>
                  <a:gd name="connsiteY187" fmla="*/ 3071813 h 4305300"/>
                  <a:gd name="connsiteX188" fmla="*/ 6610350 w 8801100"/>
                  <a:gd name="connsiteY188" fmla="*/ 3019425 h 4305300"/>
                  <a:gd name="connsiteX189" fmla="*/ 6650831 w 8801100"/>
                  <a:gd name="connsiteY189" fmla="*/ 2840831 h 4305300"/>
                  <a:gd name="connsiteX190" fmla="*/ 6691313 w 8801100"/>
                  <a:gd name="connsiteY190" fmla="*/ 2774156 h 4305300"/>
                  <a:gd name="connsiteX191" fmla="*/ 6836569 w 8801100"/>
                  <a:gd name="connsiteY191" fmla="*/ 2757487 h 4305300"/>
                  <a:gd name="connsiteX192" fmla="*/ 6905625 w 8801100"/>
                  <a:gd name="connsiteY192" fmla="*/ 2814638 h 4305300"/>
                  <a:gd name="connsiteX193" fmla="*/ 6981825 w 8801100"/>
                  <a:gd name="connsiteY193" fmla="*/ 2838450 h 4305300"/>
                  <a:gd name="connsiteX194" fmla="*/ 7186612 w 8801100"/>
                  <a:gd name="connsiteY194" fmla="*/ 2843213 h 4305300"/>
                  <a:gd name="connsiteX195" fmla="*/ 7362825 w 8801100"/>
                  <a:gd name="connsiteY195" fmla="*/ 2705100 h 4305300"/>
                  <a:gd name="connsiteX196" fmla="*/ 7419975 w 8801100"/>
                  <a:gd name="connsiteY196" fmla="*/ 2614612 h 4305300"/>
                  <a:gd name="connsiteX197" fmla="*/ 7446169 w 8801100"/>
                  <a:gd name="connsiteY197" fmla="*/ 2531269 h 4305300"/>
                  <a:gd name="connsiteX198" fmla="*/ 7577137 w 8801100"/>
                  <a:gd name="connsiteY198" fmla="*/ 2531269 h 4305300"/>
                  <a:gd name="connsiteX199" fmla="*/ 7750969 w 8801100"/>
                  <a:gd name="connsiteY199" fmla="*/ 2474118 h 4305300"/>
                  <a:gd name="connsiteX200" fmla="*/ 7810500 w 8801100"/>
                  <a:gd name="connsiteY200" fmla="*/ 2362200 h 4305300"/>
                  <a:gd name="connsiteX201" fmla="*/ 7874794 w 8801100"/>
                  <a:gd name="connsiteY201" fmla="*/ 2326481 h 4305300"/>
                  <a:gd name="connsiteX202" fmla="*/ 7853363 w 8801100"/>
                  <a:gd name="connsiteY202" fmla="*/ 2281238 h 4305300"/>
                  <a:gd name="connsiteX203" fmla="*/ 7931944 w 8801100"/>
                  <a:gd name="connsiteY203" fmla="*/ 2112168 h 4305300"/>
                  <a:gd name="connsiteX204" fmla="*/ 7986713 w 8801100"/>
                  <a:gd name="connsiteY204" fmla="*/ 2052638 h 4305300"/>
                  <a:gd name="connsiteX205" fmla="*/ 8024813 w 8801100"/>
                  <a:gd name="connsiteY205" fmla="*/ 2047875 h 4305300"/>
                  <a:gd name="connsiteX206" fmla="*/ 8070056 w 8801100"/>
                  <a:gd name="connsiteY206" fmla="*/ 2052638 h 4305300"/>
                  <a:gd name="connsiteX207" fmla="*/ 8134350 w 8801100"/>
                  <a:gd name="connsiteY207" fmla="*/ 2019300 h 4305300"/>
                  <a:gd name="connsiteX208" fmla="*/ 8143875 w 8801100"/>
                  <a:gd name="connsiteY208" fmla="*/ 1955006 h 4305300"/>
                  <a:gd name="connsiteX209" fmla="*/ 8184355 w 8801100"/>
                  <a:gd name="connsiteY209" fmla="*/ 1919288 h 4305300"/>
                  <a:gd name="connsiteX210" fmla="*/ 8243888 w 8801100"/>
                  <a:gd name="connsiteY210" fmla="*/ 1959768 h 4305300"/>
                  <a:gd name="connsiteX211" fmla="*/ 8270082 w 8801100"/>
                  <a:gd name="connsiteY211" fmla="*/ 1909762 h 4305300"/>
                  <a:gd name="connsiteX212" fmla="*/ 8365331 w 8801100"/>
                  <a:gd name="connsiteY212" fmla="*/ 1840706 h 4305300"/>
                  <a:gd name="connsiteX213" fmla="*/ 8427244 w 8801100"/>
                  <a:gd name="connsiteY213" fmla="*/ 1847850 h 4305300"/>
                  <a:gd name="connsiteX214" fmla="*/ 8477250 w 8801100"/>
                  <a:gd name="connsiteY214" fmla="*/ 1828800 h 4305300"/>
                  <a:gd name="connsiteX215" fmla="*/ 8515350 w 8801100"/>
                  <a:gd name="connsiteY215" fmla="*/ 1800225 h 4305300"/>
                  <a:gd name="connsiteX216" fmla="*/ 8548688 w 8801100"/>
                  <a:gd name="connsiteY216" fmla="*/ 1797844 h 4305300"/>
                  <a:gd name="connsiteX217" fmla="*/ 8584406 w 8801100"/>
                  <a:gd name="connsiteY217" fmla="*/ 1828800 h 4305300"/>
                  <a:gd name="connsiteX218" fmla="*/ 8643938 w 8801100"/>
                  <a:gd name="connsiteY218" fmla="*/ 1828800 h 4305300"/>
                  <a:gd name="connsiteX219" fmla="*/ 8682037 w 8801100"/>
                  <a:gd name="connsiteY219" fmla="*/ 1809750 h 4305300"/>
                  <a:gd name="connsiteX220" fmla="*/ 8765381 w 8801100"/>
                  <a:gd name="connsiteY220" fmla="*/ 1812132 h 4305300"/>
                  <a:gd name="connsiteX221" fmla="*/ 8796338 w 8801100"/>
                  <a:gd name="connsiteY221" fmla="*/ 1766888 h 4305300"/>
                  <a:gd name="connsiteX222" fmla="*/ 8801100 w 8801100"/>
                  <a:gd name="connsiteY222" fmla="*/ 1704975 h 4305300"/>
                  <a:gd name="connsiteX223" fmla="*/ 8751093 w 8801100"/>
                  <a:gd name="connsiteY223" fmla="*/ 1664494 h 4305300"/>
                  <a:gd name="connsiteX224" fmla="*/ 8734425 w 8801100"/>
                  <a:gd name="connsiteY224" fmla="*/ 1609725 h 4305300"/>
                  <a:gd name="connsiteX225" fmla="*/ 8643938 w 8801100"/>
                  <a:gd name="connsiteY225" fmla="*/ 1547813 h 4305300"/>
                  <a:gd name="connsiteX226" fmla="*/ 8603456 w 8801100"/>
                  <a:gd name="connsiteY226" fmla="*/ 1526381 h 4305300"/>
                  <a:gd name="connsiteX227" fmla="*/ 8565356 w 8801100"/>
                  <a:gd name="connsiteY227" fmla="*/ 1481138 h 4305300"/>
                  <a:gd name="connsiteX228" fmla="*/ 8534400 w 8801100"/>
                  <a:gd name="connsiteY228" fmla="*/ 1478756 h 4305300"/>
                  <a:gd name="connsiteX229" fmla="*/ 8517731 w 8801100"/>
                  <a:gd name="connsiteY229" fmla="*/ 1426369 h 4305300"/>
                  <a:gd name="connsiteX230" fmla="*/ 8477250 w 8801100"/>
                  <a:gd name="connsiteY230" fmla="*/ 1409700 h 4305300"/>
                  <a:gd name="connsiteX231" fmla="*/ 8477250 w 8801100"/>
                  <a:gd name="connsiteY231" fmla="*/ 1409700 h 4305300"/>
                  <a:gd name="connsiteX232" fmla="*/ 8436769 w 8801100"/>
                  <a:gd name="connsiteY232" fmla="*/ 1414463 h 4305300"/>
                  <a:gd name="connsiteX233" fmla="*/ 8351043 w 8801100"/>
                  <a:gd name="connsiteY233" fmla="*/ 1340644 h 4305300"/>
                  <a:gd name="connsiteX234" fmla="*/ 8170069 w 8801100"/>
                  <a:gd name="connsiteY234" fmla="*/ 1340643 h 4305300"/>
                  <a:gd name="connsiteX235" fmla="*/ 8117681 w 8801100"/>
                  <a:gd name="connsiteY235" fmla="*/ 1378744 h 4305300"/>
                  <a:gd name="connsiteX236" fmla="*/ 8067675 w 8801100"/>
                  <a:gd name="connsiteY236" fmla="*/ 1457325 h 4305300"/>
                  <a:gd name="connsiteX237" fmla="*/ 8084344 w 8801100"/>
                  <a:gd name="connsiteY237" fmla="*/ 1478756 h 4305300"/>
                  <a:gd name="connsiteX238" fmla="*/ 8039100 w 8801100"/>
                  <a:gd name="connsiteY238" fmla="*/ 1528762 h 4305300"/>
                  <a:gd name="connsiteX239" fmla="*/ 7889081 w 8801100"/>
                  <a:gd name="connsiteY239" fmla="*/ 1452562 h 4305300"/>
                  <a:gd name="connsiteX240" fmla="*/ 7798594 w 8801100"/>
                  <a:gd name="connsiteY240" fmla="*/ 1488281 h 4305300"/>
                  <a:gd name="connsiteX241" fmla="*/ 7724775 w 8801100"/>
                  <a:gd name="connsiteY241" fmla="*/ 1485900 h 4305300"/>
                  <a:gd name="connsiteX242" fmla="*/ 7667625 w 8801100"/>
                  <a:gd name="connsiteY242" fmla="*/ 1581150 h 4305300"/>
                  <a:gd name="connsiteX243" fmla="*/ 7529513 w 8801100"/>
                  <a:gd name="connsiteY243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774156 w 8801100"/>
                  <a:gd name="connsiteY93" fmla="*/ 900113 h 4305300"/>
                  <a:gd name="connsiteX94" fmla="*/ 2381 w 8801100"/>
                  <a:gd name="connsiteY94" fmla="*/ 1490661 h 4305300"/>
                  <a:gd name="connsiteX95" fmla="*/ 0 w 8801100"/>
                  <a:gd name="connsiteY95" fmla="*/ 709613 h 4305300"/>
                  <a:gd name="connsiteX96" fmla="*/ 76200 w 8801100"/>
                  <a:gd name="connsiteY96" fmla="*/ 692944 h 4305300"/>
                  <a:gd name="connsiteX97" fmla="*/ 119063 w 8801100"/>
                  <a:gd name="connsiteY97" fmla="*/ 721519 h 4305300"/>
                  <a:gd name="connsiteX98" fmla="*/ 215900 w 8801100"/>
                  <a:gd name="connsiteY98" fmla="*/ 712788 h 4305300"/>
                  <a:gd name="connsiteX99" fmla="*/ 261938 w 8801100"/>
                  <a:gd name="connsiteY99" fmla="*/ 740568 h 4305300"/>
                  <a:gd name="connsiteX100" fmla="*/ 228600 w 8801100"/>
                  <a:gd name="connsiteY100" fmla="*/ 769144 h 4305300"/>
                  <a:gd name="connsiteX101" fmla="*/ 233363 w 8801100"/>
                  <a:gd name="connsiteY101" fmla="*/ 812006 h 4305300"/>
                  <a:gd name="connsiteX102" fmla="*/ 200025 w 8801100"/>
                  <a:gd name="connsiteY102" fmla="*/ 816769 h 4305300"/>
                  <a:gd name="connsiteX103" fmla="*/ 204788 w 8801100"/>
                  <a:gd name="connsiteY103" fmla="*/ 840581 h 4305300"/>
                  <a:gd name="connsiteX104" fmla="*/ 261937 w 8801100"/>
                  <a:gd name="connsiteY104" fmla="*/ 914400 h 4305300"/>
                  <a:gd name="connsiteX105" fmla="*/ 223838 w 8801100"/>
                  <a:gd name="connsiteY105" fmla="*/ 962025 h 4305300"/>
                  <a:gd name="connsiteX106" fmla="*/ 278606 w 8801100"/>
                  <a:gd name="connsiteY106" fmla="*/ 997744 h 4305300"/>
                  <a:gd name="connsiteX107" fmla="*/ 369094 w 8801100"/>
                  <a:gd name="connsiteY107" fmla="*/ 1085850 h 4305300"/>
                  <a:gd name="connsiteX108" fmla="*/ 371475 w 8801100"/>
                  <a:gd name="connsiteY108" fmla="*/ 1145381 h 4305300"/>
                  <a:gd name="connsiteX109" fmla="*/ 507206 w 8801100"/>
                  <a:gd name="connsiteY109" fmla="*/ 1278732 h 4305300"/>
                  <a:gd name="connsiteX110" fmla="*/ 561975 w 8801100"/>
                  <a:gd name="connsiteY110" fmla="*/ 1254919 h 4305300"/>
                  <a:gd name="connsiteX111" fmla="*/ 600075 w 8801100"/>
                  <a:gd name="connsiteY111" fmla="*/ 1281112 h 4305300"/>
                  <a:gd name="connsiteX112" fmla="*/ 614363 w 8801100"/>
                  <a:gd name="connsiteY112" fmla="*/ 1331118 h 4305300"/>
                  <a:gd name="connsiteX113" fmla="*/ 657225 w 8801100"/>
                  <a:gd name="connsiteY113" fmla="*/ 1366838 h 4305300"/>
                  <a:gd name="connsiteX114" fmla="*/ 697706 w 8801100"/>
                  <a:gd name="connsiteY114" fmla="*/ 1354931 h 4305300"/>
                  <a:gd name="connsiteX115" fmla="*/ 716756 w 8801100"/>
                  <a:gd name="connsiteY115" fmla="*/ 1412081 h 4305300"/>
                  <a:gd name="connsiteX116" fmla="*/ 764381 w 8801100"/>
                  <a:gd name="connsiteY116" fmla="*/ 1454944 h 4305300"/>
                  <a:gd name="connsiteX117" fmla="*/ 788194 w 8801100"/>
                  <a:gd name="connsiteY117" fmla="*/ 1557338 h 4305300"/>
                  <a:gd name="connsiteX118" fmla="*/ 785813 w 8801100"/>
                  <a:gd name="connsiteY118" fmla="*/ 1604963 h 4305300"/>
                  <a:gd name="connsiteX119" fmla="*/ 821531 w 8801100"/>
                  <a:gd name="connsiteY119" fmla="*/ 1704975 h 4305300"/>
                  <a:gd name="connsiteX120" fmla="*/ 866775 w 8801100"/>
                  <a:gd name="connsiteY120" fmla="*/ 1762125 h 4305300"/>
                  <a:gd name="connsiteX121" fmla="*/ 883443 w 8801100"/>
                  <a:gd name="connsiteY121" fmla="*/ 1919287 h 4305300"/>
                  <a:gd name="connsiteX122" fmla="*/ 850106 w 8801100"/>
                  <a:gd name="connsiteY122" fmla="*/ 1981200 h 4305300"/>
                  <a:gd name="connsiteX123" fmla="*/ 819150 w 8801100"/>
                  <a:gd name="connsiteY123" fmla="*/ 2057400 h 4305300"/>
                  <a:gd name="connsiteX124" fmla="*/ 833438 w 8801100"/>
                  <a:gd name="connsiteY124" fmla="*/ 2114550 h 4305300"/>
                  <a:gd name="connsiteX125" fmla="*/ 735806 w 8801100"/>
                  <a:gd name="connsiteY125" fmla="*/ 2221707 h 4305300"/>
                  <a:gd name="connsiteX126" fmla="*/ 692944 w 8801100"/>
                  <a:gd name="connsiteY126" fmla="*/ 2336006 h 4305300"/>
                  <a:gd name="connsiteX127" fmla="*/ 726281 w 8801100"/>
                  <a:gd name="connsiteY127" fmla="*/ 2376488 h 4305300"/>
                  <a:gd name="connsiteX128" fmla="*/ 709613 w 8801100"/>
                  <a:gd name="connsiteY128" fmla="*/ 2405063 h 4305300"/>
                  <a:gd name="connsiteX129" fmla="*/ 740569 w 8801100"/>
                  <a:gd name="connsiteY129" fmla="*/ 2462213 h 4305300"/>
                  <a:gd name="connsiteX130" fmla="*/ 769144 w 8801100"/>
                  <a:gd name="connsiteY130" fmla="*/ 2462213 h 4305300"/>
                  <a:gd name="connsiteX131" fmla="*/ 931069 w 8801100"/>
                  <a:gd name="connsiteY131" fmla="*/ 2564606 h 4305300"/>
                  <a:gd name="connsiteX132" fmla="*/ 1035844 w 8801100"/>
                  <a:gd name="connsiteY132" fmla="*/ 2562225 h 4305300"/>
                  <a:gd name="connsiteX133" fmla="*/ 1114425 w 8801100"/>
                  <a:gd name="connsiteY133" fmla="*/ 2616994 h 4305300"/>
                  <a:gd name="connsiteX134" fmla="*/ 1245393 w 8801100"/>
                  <a:gd name="connsiteY134" fmla="*/ 2619375 h 4305300"/>
                  <a:gd name="connsiteX135" fmla="*/ 1435893 w 8801100"/>
                  <a:gd name="connsiteY135" fmla="*/ 2688431 h 4305300"/>
                  <a:gd name="connsiteX136" fmla="*/ 1638300 w 8801100"/>
                  <a:gd name="connsiteY136" fmla="*/ 2838450 h 4305300"/>
                  <a:gd name="connsiteX137" fmla="*/ 1671637 w 8801100"/>
                  <a:gd name="connsiteY137" fmla="*/ 2905125 h 4305300"/>
                  <a:gd name="connsiteX138" fmla="*/ 1838325 w 8801100"/>
                  <a:gd name="connsiteY138" fmla="*/ 3031331 h 4305300"/>
                  <a:gd name="connsiteX139" fmla="*/ 1909763 w 8801100"/>
                  <a:gd name="connsiteY139" fmla="*/ 3026569 h 4305300"/>
                  <a:gd name="connsiteX140" fmla="*/ 1945482 w 8801100"/>
                  <a:gd name="connsiteY140" fmla="*/ 3050381 h 4305300"/>
                  <a:gd name="connsiteX141" fmla="*/ 1916906 w 8801100"/>
                  <a:gd name="connsiteY141" fmla="*/ 3090863 h 4305300"/>
                  <a:gd name="connsiteX142" fmla="*/ 1924050 w 8801100"/>
                  <a:gd name="connsiteY142" fmla="*/ 3143250 h 4305300"/>
                  <a:gd name="connsiteX143" fmla="*/ 1976438 w 8801100"/>
                  <a:gd name="connsiteY143" fmla="*/ 3169444 h 4305300"/>
                  <a:gd name="connsiteX144" fmla="*/ 2038350 w 8801100"/>
                  <a:gd name="connsiteY144" fmla="*/ 3393282 h 4305300"/>
                  <a:gd name="connsiteX145" fmla="*/ 2028825 w 8801100"/>
                  <a:gd name="connsiteY145" fmla="*/ 3457575 h 4305300"/>
                  <a:gd name="connsiteX146" fmla="*/ 2164556 w 8801100"/>
                  <a:gd name="connsiteY146" fmla="*/ 3624263 h 4305300"/>
                  <a:gd name="connsiteX147" fmla="*/ 2183606 w 8801100"/>
                  <a:gd name="connsiteY147" fmla="*/ 3674269 h 4305300"/>
                  <a:gd name="connsiteX148" fmla="*/ 2157413 w 8801100"/>
                  <a:gd name="connsiteY148" fmla="*/ 3693319 h 4305300"/>
                  <a:gd name="connsiteX149" fmla="*/ 2259806 w 8801100"/>
                  <a:gd name="connsiteY149" fmla="*/ 3702844 h 4305300"/>
                  <a:gd name="connsiteX150" fmla="*/ 2371725 w 8801100"/>
                  <a:gd name="connsiteY150" fmla="*/ 3690938 h 4305300"/>
                  <a:gd name="connsiteX151" fmla="*/ 2650331 w 8801100"/>
                  <a:gd name="connsiteY151" fmla="*/ 3774281 h 4305300"/>
                  <a:gd name="connsiteX152" fmla="*/ 3057525 w 8801100"/>
                  <a:gd name="connsiteY152" fmla="*/ 3855244 h 4305300"/>
                  <a:gd name="connsiteX153" fmla="*/ 3255169 w 8801100"/>
                  <a:gd name="connsiteY153" fmla="*/ 3824287 h 4305300"/>
                  <a:gd name="connsiteX154" fmla="*/ 3300413 w 8801100"/>
                  <a:gd name="connsiteY154" fmla="*/ 3836193 h 4305300"/>
                  <a:gd name="connsiteX155" fmla="*/ 3355181 w 8801100"/>
                  <a:gd name="connsiteY155" fmla="*/ 3812382 h 4305300"/>
                  <a:gd name="connsiteX156" fmla="*/ 3748087 w 8801100"/>
                  <a:gd name="connsiteY156" fmla="*/ 3902869 h 4305300"/>
                  <a:gd name="connsiteX157" fmla="*/ 3831432 w 8801100"/>
                  <a:gd name="connsiteY157" fmla="*/ 4000500 h 4305300"/>
                  <a:gd name="connsiteX158" fmla="*/ 3950494 w 8801100"/>
                  <a:gd name="connsiteY158" fmla="*/ 4071938 h 4305300"/>
                  <a:gd name="connsiteX159" fmla="*/ 4010025 w 8801100"/>
                  <a:gd name="connsiteY159" fmla="*/ 4055269 h 4305300"/>
                  <a:gd name="connsiteX160" fmla="*/ 4360068 w 8801100"/>
                  <a:gd name="connsiteY160" fmla="*/ 4229100 h 4305300"/>
                  <a:gd name="connsiteX161" fmla="*/ 4586288 w 8801100"/>
                  <a:gd name="connsiteY161" fmla="*/ 4200525 h 4305300"/>
                  <a:gd name="connsiteX162" fmla="*/ 4595813 w 8801100"/>
                  <a:gd name="connsiteY162" fmla="*/ 4279106 h 4305300"/>
                  <a:gd name="connsiteX163" fmla="*/ 4681538 w 8801100"/>
                  <a:gd name="connsiteY163" fmla="*/ 4274343 h 4305300"/>
                  <a:gd name="connsiteX164" fmla="*/ 4760119 w 8801100"/>
                  <a:gd name="connsiteY164" fmla="*/ 4305300 h 4305300"/>
                  <a:gd name="connsiteX165" fmla="*/ 4802981 w 8801100"/>
                  <a:gd name="connsiteY165" fmla="*/ 4245769 h 4305300"/>
                  <a:gd name="connsiteX166" fmla="*/ 5474494 w 8801100"/>
                  <a:gd name="connsiteY166" fmla="*/ 3926681 h 4305300"/>
                  <a:gd name="connsiteX167" fmla="*/ 5562600 w 8801100"/>
                  <a:gd name="connsiteY167" fmla="*/ 3955257 h 4305300"/>
                  <a:gd name="connsiteX168" fmla="*/ 5693569 w 8801100"/>
                  <a:gd name="connsiteY168" fmla="*/ 3926681 h 4305300"/>
                  <a:gd name="connsiteX169" fmla="*/ 5872162 w 8801100"/>
                  <a:gd name="connsiteY169" fmla="*/ 3943350 h 4305300"/>
                  <a:gd name="connsiteX170" fmla="*/ 5929313 w 8801100"/>
                  <a:gd name="connsiteY170" fmla="*/ 3917157 h 4305300"/>
                  <a:gd name="connsiteX171" fmla="*/ 6062662 w 8801100"/>
                  <a:gd name="connsiteY171" fmla="*/ 3914775 h 4305300"/>
                  <a:gd name="connsiteX172" fmla="*/ 6196012 w 8801100"/>
                  <a:gd name="connsiteY172" fmla="*/ 3817144 h 4305300"/>
                  <a:gd name="connsiteX173" fmla="*/ 6262687 w 8801100"/>
                  <a:gd name="connsiteY173" fmla="*/ 3810000 h 4305300"/>
                  <a:gd name="connsiteX174" fmla="*/ 6360319 w 8801100"/>
                  <a:gd name="connsiteY174" fmla="*/ 3736181 h 4305300"/>
                  <a:gd name="connsiteX175" fmla="*/ 6434138 w 8801100"/>
                  <a:gd name="connsiteY175" fmla="*/ 3667125 h 4305300"/>
                  <a:gd name="connsiteX176" fmla="*/ 6443663 w 8801100"/>
                  <a:gd name="connsiteY176" fmla="*/ 3605213 h 4305300"/>
                  <a:gd name="connsiteX177" fmla="*/ 6477000 w 8801100"/>
                  <a:gd name="connsiteY177" fmla="*/ 3536156 h 4305300"/>
                  <a:gd name="connsiteX178" fmla="*/ 6629400 w 8801100"/>
                  <a:gd name="connsiteY178" fmla="*/ 3429000 h 4305300"/>
                  <a:gd name="connsiteX179" fmla="*/ 6662738 w 8801100"/>
                  <a:gd name="connsiteY179" fmla="*/ 3433763 h 4305300"/>
                  <a:gd name="connsiteX180" fmla="*/ 6715125 w 8801100"/>
                  <a:gd name="connsiteY180" fmla="*/ 3355181 h 4305300"/>
                  <a:gd name="connsiteX181" fmla="*/ 6762750 w 8801100"/>
                  <a:gd name="connsiteY181" fmla="*/ 3317081 h 4305300"/>
                  <a:gd name="connsiteX182" fmla="*/ 6748463 w 8801100"/>
                  <a:gd name="connsiteY182" fmla="*/ 3248025 h 4305300"/>
                  <a:gd name="connsiteX183" fmla="*/ 6698456 w 8801100"/>
                  <a:gd name="connsiteY183" fmla="*/ 3217068 h 4305300"/>
                  <a:gd name="connsiteX184" fmla="*/ 6638925 w 8801100"/>
                  <a:gd name="connsiteY184" fmla="*/ 3162300 h 4305300"/>
                  <a:gd name="connsiteX185" fmla="*/ 6619875 w 8801100"/>
                  <a:gd name="connsiteY185" fmla="*/ 3105150 h 4305300"/>
                  <a:gd name="connsiteX186" fmla="*/ 6584156 w 8801100"/>
                  <a:gd name="connsiteY186" fmla="*/ 3071813 h 4305300"/>
                  <a:gd name="connsiteX187" fmla="*/ 6610350 w 8801100"/>
                  <a:gd name="connsiteY187" fmla="*/ 3019425 h 4305300"/>
                  <a:gd name="connsiteX188" fmla="*/ 6650831 w 8801100"/>
                  <a:gd name="connsiteY188" fmla="*/ 2840831 h 4305300"/>
                  <a:gd name="connsiteX189" fmla="*/ 6691313 w 8801100"/>
                  <a:gd name="connsiteY189" fmla="*/ 2774156 h 4305300"/>
                  <a:gd name="connsiteX190" fmla="*/ 6836569 w 8801100"/>
                  <a:gd name="connsiteY190" fmla="*/ 2757487 h 4305300"/>
                  <a:gd name="connsiteX191" fmla="*/ 6905625 w 8801100"/>
                  <a:gd name="connsiteY191" fmla="*/ 2814638 h 4305300"/>
                  <a:gd name="connsiteX192" fmla="*/ 6981825 w 8801100"/>
                  <a:gd name="connsiteY192" fmla="*/ 2838450 h 4305300"/>
                  <a:gd name="connsiteX193" fmla="*/ 7186612 w 8801100"/>
                  <a:gd name="connsiteY193" fmla="*/ 2843213 h 4305300"/>
                  <a:gd name="connsiteX194" fmla="*/ 7362825 w 8801100"/>
                  <a:gd name="connsiteY194" fmla="*/ 2705100 h 4305300"/>
                  <a:gd name="connsiteX195" fmla="*/ 7419975 w 8801100"/>
                  <a:gd name="connsiteY195" fmla="*/ 2614612 h 4305300"/>
                  <a:gd name="connsiteX196" fmla="*/ 7446169 w 8801100"/>
                  <a:gd name="connsiteY196" fmla="*/ 2531269 h 4305300"/>
                  <a:gd name="connsiteX197" fmla="*/ 7577137 w 8801100"/>
                  <a:gd name="connsiteY197" fmla="*/ 2531269 h 4305300"/>
                  <a:gd name="connsiteX198" fmla="*/ 7750969 w 8801100"/>
                  <a:gd name="connsiteY198" fmla="*/ 2474118 h 4305300"/>
                  <a:gd name="connsiteX199" fmla="*/ 7810500 w 8801100"/>
                  <a:gd name="connsiteY199" fmla="*/ 2362200 h 4305300"/>
                  <a:gd name="connsiteX200" fmla="*/ 7874794 w 8801100"/>
                  <a:gd name="connsiteY200" fmla="*/ 2326481 h 4305300"/>
                  <a:gd name="connsiteX201" fmla="*/ 7853363 w 8801100"/>
                  <a:gd name="connsiteY201" fmla="*/ 2281238 h 4305300"/>
                  <a:gd name="connsiteX202" fmla="*/ 7931944 w 8801100"/>
                  <a:gd name="connsiteY202" fmla="*/ 2112168 h 4305300"/>
                  <a:gd name="connsiteX203" fmla="*/ 7986713 w 8801100"/>
                  <a:gd name="connsiteY203" fmla="*/ 2052638 h 4305300"/>
                  <a:gd name="connsiteX204" fmla="*/ 8024813 w 8801100"/>
                  <a:gd name="connsiteY204" fmla="*/ 2047875 h 4305300"/>
                  <a:gd name="connsiteX205" fmla="*/ 8070056 w 8801100"/>
                  <a:gd name="connsiteY205" fmla="*/ 2052638 h 4305300"/>
                  <a:gd name="connsiteX206" fmla="*/ 8134350 w 8801100"/>
                  <a:gd name="connsiteY206" fmla="*/ 2019300 h 4305300"/>
                  <a:gd name="connsiteX207" fmla="*/ 8143875 w 8801100"/>
                  <a:gd name="connsiteY207" fmla="*/ 1955006 h 4305300"/>
                  <a:gd name="connsiteX208" fmla="*/ 8184355 w 8801100"/>
                  <a:gd name="connsiteY208" fmla="*/ 1919288 h 4305300"/>
                  <a:gd name="connsiteX209" fmla="*/ 8243888 w 8801100"/>
                  <a:gd name="connsiteY209" fmla="*/ 1959768 h 4305300"/>
                  <a:gd name="connsiteX210" fmla="*/ 8270082 w 8801100"/>
                  <a:gd name="connsiteY210" fmla="*/ 1909762 h 4305300"/>
                  <a:gd name="connsiteX211" fmla="*/ 8365331 w 8801100"/>
                  <a:gd name="connsiteY211" fmla="*/ 1840706 h 4305300"/>
                  <a:gd name="connsiteX212" fmla="*/ 8427244 w 8801100"/>
                  <a:gd name="connsiteY212" fmla="*/ 1847850 h 4305300"/>
                  <a:gd name="connsiteX213" fmla="*/ 8477250 w 8801100"/>
                  <a:gd name="connsiteY213" fmla="*/ 1828800 h 4305300"/>
                  <a:gd name="connsiteX214" fmla="*/ 8515350 w 8801100"/>
                  <a:gd name="connsiteY214" fmla="*/ 1800225 h 4305300"/>
                  <a:gd name="connsiteX215" fmla="*/ 8548688 w 8801100"/>
                  <a:gd name="connsiteY215" fmla="*/ 1797844 h 4305300"/>
                  <a:gd name="connsiteX216" fmla="*/ 8584406 w 8801100"/>
                  <a:gd name="connsiteY216" fmla="*/ 1828800 h 4305300"/>
                  <a:gd name="connsiteX217" fmla="*/ 8643938 w 8801100"/>
                  <a:gd name="connsiteY217" fmla="*/ 1828800 h 4305300"/>
                  <a:gd name="connsiteX218" fmla="*/ 8682037 w 8801100"/>
                  <a:gd name="connsiteY218" fmla="*/ 1809750 h 4305300"/>
                  <a:gd name="connsiteX219" fmla="*/ 8765381 w 8801100"/>
                  <a:gd name="connsiteY219" fmla="*/ 1812132 h 4305300"/>
                  <a:gd name="connsiteX220" fmla="*/ 8796338 w 8801100"/>
                  <a:gd name="connsiteY220" fmla="*/ 1766888 h 4305300"/>
                  <a:gd name="connsiteX221" fmla="*/ 8801100 w 8801100"/>
                  <a:gd name="connsiteY221" fmla="*/ 1704975 h 4305300"/>
                  <a:gd name="connsiteX222" fmla="*/ 8751093 w 8801100"/>
                  <a:gd name="connsiteY222" fmla="*/ 1664494 h 4305300"/>
                  <a:gd name="connsiteX223" fmla="*/ 8734425 w 8801100"/>
                  <a:gd name="connsiteY223" fmla="*/ 1609725 h 4305300"/>
                  <a:gd name="connsiteX224" fmla="*/ 8643938 w 8801100"/>
                  <a:gd name="connsiteY224" fmla="*/ 1547813 h 4305300"/>
                  <a:gd name="connsiteX225" fmla="*/ 8603456 w 8801100"/>
                  <a:gd name="connsiteY225" fmla="*/ 1526381 h 4305300"/>
                  <a:gd name="connsiteX226" fmla="*/ 8565356 w 8801100"/>
                  <a:gd name="connsiteY226" fmla="*/ 1481138 h 4305300"/>
                  <a:gd name="connsiteX227" fmla="*/ 8534400 w 8801100"/>
                  <a:gd name="connsiteY227" fmla="*/ 1478756 h 4305300"/>
                  <a:gd name="connsiteX228" fmla="*/ 8517731 w 8801100"/>
                  <a:gd name="connsiteY228" fmla="*/ 1426369 h 4305300"/>
                  <a:gd name="connsiteX229" fmla="*/ 8477250 w 8801100"/>
                  <a:gd name="connsiteY229" fmla="*/ 1409700 h 4305300"/>
                  <a:gd name="connsiteX230" fmla="*/ 8477250 w 8801100"/>
                  <a:gd name="connsiteY230" fmla="*/ 1409700 h 4305300"/>
                  <a:gd name="connsiteX231" fmla="*/ 8436769 w 8801100"/>
                  <a:gd name="connsiteY231" fmla="*/ 1414463 h 4305300"/>
                  <a:gd name="connsiteX232" fmla="*/ 8351043 w 8801100"/>
                  <a:gd name="connsiteY232" fmla="*/ 1340644 h 4305300"/>
                  <a:gd name="connsiteX233" fmla="*/ 8170069 w 8801100"/>
                  <a:gd name="connsiteY233" fmla="*/ 1340643 h 4305300"/>
                  <a:gd name="connsiteX234" fmla="*/ 8117681 w 8801100"/>
                  <a:gd name="connsiteY234" fmla="*/ 1378744 h 4305300"/>
                  <a:gd name="connsiteX235" fmla="*/ 8067675 w 8801100"/>
                  <a:gd name="connsiteY235" fmla="*/ 1457325 h 4305300"/>
                  <a:gd name="connsiteX236" fmla="*/ 8084344 w 8801100"/>
                  <a:gd name="connsiteY236" fmla="*/ 1478756 h 4305300"/>
                  <a:gd name="connsiteX237" fmla="*/ 8039100 w 8801100"/>
                  <a:gd name="connsiteY237" fmla="*/ 1528762 h 4305300"/>
                  <a:gd name="connsiteX238" fmla="*/ 7889081 w 8801100"/>
                  <a:gd name="connsiteY238" fmla="*/ 1452562 h 4305300"/>
                  <a:gd name="connsiteX239" fmla="*/ 7798594 w 8801100"/>
                  <a:gd name="connsiteY239" fmla="*/ 1488281 h 4305300"/>
                  <a:gd name="connsiteX240" fmla="*/ 7724775 w 8801100"/>
                  <a:gd name="connsiteY240" fmla="*/ 1485900 h 4305300"/>
                  <a:gd name="connsiteX241" fmla="*/ 7667625 w 8801100"/>
                  <a:gd name="connsiteY241" fmla="*/ 1581150 h 4305300"/>
                  <a:gd name="connsiteX242" fmla="*/ 7529513 w 8801100"/>
                  <a:gd name="connsiteY242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812256 w 8801100"/>
                  <a:gd name="connsiteY92" fmla="*/ 842963 h 4305300"/>
                  <a:gd name="connsiteX93" fmla="*/ 2381 w 8801100"/>
                  <a:gd name="connsiteY93" fmla="*/ 1490661 h 4305300"/>
                  <a:gd name="connsiteX94" fmla="*/ 0 w 8801100"/>
                  <a:gd name="connsiteY94" fmla="*/ 709613 h 4305300"/>
                  <a:gd name="connsiteX95" fmla="*/ 76200 w 8801100"/>
                  <a:gd name="connsiteY95" fmla="*/ 692944 h 4305300"/>
                  <a:gd name="connsiteX96" fmla="*/ 119063 w 8801100"/>
                  <a:gd name="connsiteY96" fmla="*/ 721519 h 4305300"/>
                  <a:gd name="connsiteX97" fmla="*/ 215900 w 8801100"/>
                  <a:gd name="connsiteY97" fmla="*/ 712788 h 4305300"/>
                  <a:gd name="connsiteX98" fmla="*/ 261938 w 8801100"/>
                  <a:gd name="connsiteY98" fmla="*/ 740568 h 4305300"/>
                  <a:gd name="connsiteX99" fmla="*/ 228600 w 8801100"/>
                  <a:gd name="connsiteY99" fmla="*/ 769144 h 4305300"/>
                  <a:gd name="connsiteX100" fmla="*/ 233363 w 8801100"/>
                  <a:gd name="connsiteY100" fmla="*/ 812006 h 4305300"/>
                  <a:gd name="connsiteX101" fmla="*/ 200025 w 8801100"/>
                  <a:gd name="connsiteY101" fmla="*/ 816769 h 4305300"/>
                  <a:gd name="connsiteX102" fmla="*/ 204788 w 8801100"/>
                  <a:gd name="connsiteY102" fmla="*/ 840581 h 4305300"/>
                  <a:gd name="connsiteX103" fmla="*/ 261937 w 8801100"/>
                  <a:gd name="connsiteY103" fmla="*/ 914400 h 4305300"/>
                  <a:gd name="connsiteX104" fmla="*/ 223838 w 8801100"/>
                  <a:gd name="connsiteY104" fmla="*/ 962025 h 4305300"/>
                  <a:gd name="connsiteX105" fmla="*/ 278606 w 8801100"/>
                  <a:gd name="connsiteY105" fmla="*/ 997744 h 4305300"/>
                  <a:gd name="connsiteX106" fmla="*/ 369094 w 8801100"/>
                  <a:gd name="connsiteY106" fmla="*/ 1085850 h 4305300"/>
                  <a:gd name="connsiteX107" fmla="*/ 371475 w 8801100"/>
                  <a:gd name="connsiteY107" fmla="*/ 1145381 h 4305300"/>
                  <a:gd name="connsiteX108" fmla="*/ 507206 w 8801100"/>
                  <a:gd name="connsiteY108" fmla="*/ 1278732 h 4305300"/>
                  <a:gd name="connsiteX109" fmla="*/ 561975 w 8801100"/>
                  <a:gd name="connsiteY109" fmla="*/ 1254919 h 4305300"/>
                  <a:gd name="connsiteX110" fmla="*/ 600075 w 8801100"/>
                  <a:gd name="connsiteY110" fmla="*/ 1281112 h 4305300"/>
                  <a:gd name="connsiteX111" fmla="*/ 614363 w 8801100"/>
                  <a:gd name="connsiteY111" fmla="*/ 1331118 h 4305300"/>
                  <a:gd name="connsiteX112" fmla="*/ 657225 w 8801100"/>
                  <a:gd name="connsiteY112" fmla="*/ 1366838 h 4305300"/>
                  <a:gd name="connsiteX113" fmla="*/ 697706 w 8801100"/>
                  <a:gd name="connsiteY113" fmla="*/ 1354931 h 4305300"/>
                  <a:gd name="connsiteX114" fmla="*/ 716756 w 8801100"/>
                  <a:gd name="connsiteY114" fmla="*/ 1412081 h 4305300"/>
                  <a:gd name="connsiteX115" fmla="*/ 764381 w 8801100"/>
                  <a:gd name="connsiteY115" fmla="*/ 1454944 h 4305300"/>
                  <a:gd name="connsiteX116" fmla="*/ 788194 w 8801100"/>
                  <a:gd name="connsiteY116" fmla="*/ 1557338 h 4305300"/>
                  <a:gd name="connsiteX117" fmla="*/ 785813 w 8801100"/>
                  <a:gd name="connsiteY117" fmla="*/ 1604963 h 4305300"/>
                  <a:gd name="connsiteX118" fmla="*/ 821531 w 8801100"/>
                  <a:gd name="connsiteY118" fmla="*/ 1704975 h 4305300"/>
                  <a:gd name="connsiteX119" fmla="*/ 866775 w 8801100"/>
                  <a:gd name="connsiteY119" fmla="*/ 1762125 h 4305300"/>
                  <a:gd name="connsiteX120" fmla="*/ 883443 w 8801100"/>
                  <a:gd name="connsiteY120" fmla="*/ 1919287 h 4305300"/>
                  <a:gd name="connsiteX121" fmla="*/ 850106 w 8801100"/>
                  <a:gd name="connsiteY121" fmla="*/ 1981200 h 4305300"/>
                  <a:gd name="connsiteX122" fmla="*/ 819150 w 8801100"/>
                  <a:gd name="connsiteY122" fmla="*/ 2057400 h 4305300"/>
                  <a:gd name="connsiteX123" fmla="*/ 833438 w 8801100"/>
                  <a:gd name="connsiteY123" fmla="*/ 2114550 h 4305300"/>
                  <a:gd name="connsiteX124" fmla="*/ 735806 w 8801100"/>
                  <a:gd name="connsiteY124" fmla="*/ 2221707 h 4305300"/>
                  <a:gd name="connsiteX125" fmla="*/ 692944 w 8801100"/>
                  <a:gd name="connsiteY125" fmla="*/ 2336006 h 4305300"/>
                  <a:gd name="connsiteX126" fmla="*/ 726281 w 8801100"/>
                  <a:gd name="connsiteY126" fmla="*/ 2376488 h 4305300"/>
                  <a:gd name="connsiteX127" fmla="*/ 709613 w 8801100"/>
                  <a:gd name="connsiteY127" fmla="*/ 2405063 h 4305300"/>
                  <a:gd name="connsiteX128" fmla="*/ 740569 w 8801100"/>
                  <a:gd name="connsiteY128" fmla="*/ 2462213 h 4305300"/>
                  <a:gd name="connsiteX129" fmla="*/ 769144 w 8801100"/>
                  <a:gd name="connsiteY129" fmla="*/ 2462213 h 4305300"/>
                  <a:gd name="connsiteX130" fmla="*/ 931069 w 8801100"/>
                  <a:gd name="connsiteY130" fmla="*/ 2564606 h 4305300"/>
                  <a:gd name="connsiteX131" fmla="*/ 1035844 w 8801100"/>
                  <a:gd name="connsiteY131" fmla="*/ 2562225 h 4305300"/>
                  <a:gd name="connsiteX132" fmla="*/ 1114425 w 8801100"/>
                  <a:gd name="connsiteY132" fmla="*/ 2616994 h 4305300"/>
                  <a:gd name="connsiteX133" fmla="*/ 1245393 w 8801100"/>
                  <a:gd name="connsiteY133" fmla="*/ 2619375 h 4305300"/>
                  <a:gd name="connsiteX134" fmla="*/ 1435893 w 8801100"/>
                  <a:gd name="connsiteY134" fmla="*/ 2688431 h 4305300"/>
                  <a:gd name="connsiteX135" fmla="*/ 1638300 w 8801100"/>
                  <a:gd name="connsiteY135" fmla="*/ 2838450 h 4305300"/>
                  <a:gd name="connsiteX136" fmla="*/ 1671637 w 8801100"/>
                  <a:gd name="connsiteY136" fmla="*/ 2905125 h 4305300"/>
                  <a:gd name="connsiteX137" fmla="*/ 1838325 w 8801100"/>
                  <a:gd name="connsiteY137" fmla="*/ 3031331 h 4305300"/>
                  <a:gd name="connsiteX138" fmla="*/ 1909763 w 8801100"/>
                  <a:gd name="connsiteY138" fmla="*/ 3026569 h 4305300"/>
                  <a:gd name="connsiteX139" fmla="*/ 1945482 w 8801100"/>
                  <a:gd name="connsiteY139" fmla="*/ 3050381 h 4305300"/>
                  <a:gd name="connsiteX140" fmla="*/ 1916906 w 8801100"/>
                  <a:gd name="connsiteY140" fmla="*/ 3090863 h 4305300"/>
                  <a:gd name="connsiteX141" fmla="*/ 1924050 w 8801100"/>
                  <a:gd name="connsiteY141" fmla="*/ 3143250 h 4305300"/>
                  <a:gd name="connsiteX142" fmla="*/ 1976438 w 8801100"/>
                  <a:gd name="connsiteY142" fmla="*/ 3169444 h 4305300"/>
                  <a:gd name="connsiteX143" fmla="*/ 2038350 w 8801100"/>
                  <a:gd name="connsiteY143" fmla="*/ 3393282 h 4305300"/>
                  <a:gd name="connsiteX144" fmla="*/ 2028825 w 8801100"/>
                  <a:gd name="connsiteY144" fmla="*/ 3457575 h 4305300"/>
                  <a:gd name="connsiteX145" fmla="*/ 2164556 w 8801100"/>
                  <a:gd name="connsiteY145" fmla="*/ 3624263 h 4305300"/>
                  <a:gd name="connsiteX146" fmla="*/ 2183606 w 8801100"/>
                  <a:gd name="connsiteY146" fmla="*/ 3674269 h 4305300"/>
                  <a:gd name="connsiteX147" fmla="*/ 2157413 w 8801100"/>
                  <a:gd name="connsiteY147" fmla="*/ 3693319 h 4305300"/>
                  <a:gd name="connsiteX148" fmla="*/ 2259806 w 8801100"/>
                  <a:gd name="connsiteY148" fmla="*/ 3702844 h 4305300"/>
                  <a:gd name="connsiteX149" fmla="*/ 2371725 w 8801100"/>
                  <a:gd name="connsiteY149" fmla="*/ 3690938 h 4305300"/>
                  <a:gd name="connsiteX150" fmla="*/ 2650331 w 8801100"/>
                  <a:gd name="connsiteY150" fmla="*/ 3774281 h 4305300"/>
                  <a:gd name="connsiteX151" fmla="*/ 3057525 w 8801100"/>
                  <a:gd name="connsiteY151" fmla="*/ 3855244 h 4305300"/>
                  <a:gd name="connsiteX152" fmla="*/ 3255169 w 8801100"/>
                  <a:gd name="connsiteY152" fmla="*/ 3824287 h 4305300"/>
                  <a:gd name="connsiteX153" fmla="*/ 3300413 w 8801100"/>
                  <a:gd name="connsiteY153" fmla="*/ 3836193 h 4305300"/>
                  <a:gd name="connsiteX154" fmla="*/ 3355181 w 8801100"/>
                  <a:gd name="connsiteY154" fmla="*/ 3812382 h 4305300"/>
                  <a:gd name="connsiteX155" fmla="*/ 3748087 w 8801100"/>
                  <a:gd name="connsiteY155" fmla="*/ 3902869 h 4305300"/>
                  <a:gd name="connsiteX156" fmla="*/ 3831432 w 8801100"/>
                  <a:gd name="connsiteY156" fmla="*/ 4000500 h 4305300"/>
                  <a:gd name="connsiteX157" fmla="*/ 3950494 w 8801100"/>
                  <a:gd name="connsiteY157" fmla="*/ 4071938 h 4305300"/>
                  <a:gd name="connsiteX158" fmla="*/ 4010025 w 8801100"/>
                  <a:gd name="connsiteY158" fmla="*/ 4055269 h 4305300"/>
                  <a:gd name="connsiteX159" fmla="*/ 4360068 w 8801100"/>
                  <a:gd name="connsiteY159" fmla="*/ 4229100 h 4305300"/>
                  <a:gd name="connsiteX160" fmla="*/ 4586288 w 8801100"/>
                  <a:gd name="connsiteY160" fmla="*/ 4200525 h 4305300"/>
                  <a:gd name="connsiteX161" fmla="*/ 4595813 w 8801100"/>
                  <a:gd name="connsiteY161" fmla="*/ 4279106 h 4305300"/>
                  <a:gd name="connsiteX162" fmla="*/ 4681538 w 8801100"/>
                  <a:gd name="connsiteY162" fmla="*/ 4274343 h 4305300"/>
                  <a:gd name="connsiteX163" fmla="*/ 4760119 w 8801100"/>
                  <a:gd name="connsiteY163" fmla="*/ 4305300 h 4305300"/>
                  <a:gd name="connsiteX164" fmla="*/ 4802981 w 8801100"/>
                  <a:gd name="connsiteY164" fmla="*/ 4245769 h 4305300"/>
                  <a:gd name="connsiteX165" fmla="*/ 5474494 w 8801100"/>
                  <a:gd name="connsiteY165" fmla="*/ 3926681 h 4305300"/>
                  <a:gd name="connsiteX166" fmla="*/ 5562600 w 8801100"/>
                  <a:gd name="connsiteY166" fmla="*/ 3955257 h 4305300"/>
                  <a:gd name="connsiteX167" fmla="*/ 5693569 w 8801100"/>
                  <a:gd name="connsiteY167" fmla="*/ 3926681 h 4305300"/>
                  <a:gd name="connsiteX168" fmla="*/ 5872162 w 8801100"/>
                  <a:gd name="connsiteY168" fmla="*/ 3943350 h 4305300"/>
                  <a:gd name="connsiteX169" fmla="*/ 5929313 w 8801100"/>
                  <a:gd name="connsiteY169" fmla="*/ 3917157 h 4305300"/>
                  <a:gd name="connsiteX170" fmla="*/ 6062662 w 8801100"/>
                  <a:gd name="connsiteY170" fmla="*/ 3914775 h 4305300"/>
                  <a:gd name="connsiteX171" fmla="*/ 6196012 w 8801100"/>
                  <a:gd name="connsiteY171" fmla="*/ 3817144 h 4305300"/>
                  <a:gd name="connsiteX172" fmla="*/ 6262687 w 8801100"/>
                  <a:gd name="connsiteY172" fmla="*/ 3810000 h 4305300"/>
                  <a:gd name="connsiteX173" fmla="*/ 6360319 w 8801100"/>
                  <a:gd name="connsiteY173" fmla="*/ 3736181 h 4305300"/>
                  <a:gd name="connsiteX174" fmla="*/ 6434138 w 8801100"/>
                  <a:gd name="connsiteY174" fmla="*/ 3667125 h 4305300"/>
                  <a:gd name="connsiteX175" fmla="*/ 6443663 w 8801100"/>
                  <a:gd name="connsiteY175" fmla="*/ 3605213 h 4305300"/>
                  <a:gd name="connsiteX176" fmla="*/ 6477000 w 8801100"/>
                  <a:gd name="connsiteY176" fmla="*/ 3536156 h 4305300"/>
                  <a:gd name="connsiteX177" fmla="*/ 6629400 w 8801100"/>
                  <a:gd name="connsiteY177" fmla="*/ 3429000 h 4305300"/>
                  <a:gd name="connsiteX178" fmla="*/ 6662738 w 8801100"/>
                  <a:gd name="connsiteY178" fmla="*/ 3433763 h 4305300"/>
                  <a:gd name="connsiteX179" fmla="*/ 6715125 w 8801100"/>
                  <a:gd name="connsiteY179" fmla="*/ 3355181 h 4305300"/>
                  <a:gd name="connsiteX180" fmla="*/ 6762750 w 8801100"/>
                  <a:gd name="connsiteY180" fmla="*/ 3317081 h 4305300"/>
                  <a:gd name="connsiteX181" fmla="*/ 6748463 w 8801100"/>
                  <a:gd name="connsiteY181" fmla="*/ 3248025 h 4305300"/>
                  <a:gd name="connsiteX182" fmla="*/ 6698456 w 8801100"/>
                  <a:gd name="connsiteY182" fmla="*/ 3217068 h 4305300"/>
                  <a:gd name="connsiteX183" fmla="*/ 6638925 w 8801100"/>
                  <a:gd name="connsiteY183" fmla="*/ 3162300 h 4305300"/>
                  <a:gd name="connsiteX184" fmla="*/ 6619875 w 8801100"/>
                  <a:gd name="connsiteY184" fmla="*/ 3105150 h 4305300"/>
                  <a:gd name="connsiteX185" fmla="*/ 6584156 w 8801100"/>
                  <a:gd name="connsiteY185" fmla="*/ 3071813 h 4305300"/>
                  <a:gd name="connsiteX186" fmla="*/ 6610350 w 8801100"/>
                  <a:gd name="connsiteY186" fmla="*/ 3019425 h 4305300"/>
                  <a:gd name="connsiteX187" fmla="*/ 6650831 w 8801100"/>
                  <a:gd name="connsiteY187" fmla="*/ 2840831 h 4305300"/>
                  <a:gd name="connsiteX188" fmla="*/ 6691313 w 8801100"/>
                  <a:gd name="connsiteY188" fmla="*/ 2774156 h 4305300"/>
                  <a:gd name="connsiteX189" fmla="*/ 6836569 w 8801100"/>
                  <a:gd name="connsiteY189" fmla="*/ 2757487 h 4305300"/>
                  <a:gd name="connsiteX190" fmla="*/ 6905625 w 8801100"/>
                  <a:gd name="connsiteY190" fmla="*/ 2814638 h 4305300"/>
                  <a:gd name="connsiteX191" fmla="*/ 6981825 w 8801100"/>
                  <a:gd name="connsiteY191" fmla="*/ 2838450 h 4305300"/>
                  <a:gd name="connsiteX192" fmla="*/ 7186612 w 8801100"/>
                  <a:gd name="connsiteY192" fmla="*/ 2843213 h 4305300"/>
                  <a:gd name="connsiteX193" fmla="*/ 7362825 w 8801100"/>
                  <a:gd name="connsiteY193" fmla="*/ 2705100 h 4305300"/>
                  <a:gd name="connsiteX194" fmla="*/ 7419975 w 8801100"/>
                  <a:gd name="connsiteY194" fmla="*/ 2614612 h 4305300"/>
                  <a:gd name="connsiteX195" fmla="*/ 7446169 w 8801100"/>
                  <a:gd name="connsiteY195" fmla="*/ 2531269 h 4305300"/>
                  <a:gd name="connsiteX196" fmla="*/ 7577137 w 8801100"/>
                  <a:gd name="connsiteY196" fmla="*/ 2531269 h 4305300"/>
                  <a:gd name="connsiteX197" fmla="*/ 7750969 w 8801100"/>
                  <a:gd name="connsiteY197" fmla="*/ 2474118 h 4305300"/>
                  <a:gd name="connsiteX198" fmla="*/ 7810500 w 8801100"/>
                  <a:gd name="connsiteY198" fmla="*/ 2362200 h 4305300"/>
                  <a:gd name="connsiteX199" fmla="*/ 7874794 w 8801100"/>
                  <a:gd name="connsiteY199" fmla="*/ 2326481 h 4305300"/>
                  <a:gd name="connsiteX200" fmla="*/ 7853363 w 8801100"/>
                  <a:gd name="connsiteY200" fmla="*/ 2281238 h 4305300"/>
                  <a:gd name="connsiteX201" fmla="*/ 7931944 w 8801100"/>
                  <a:gd name="connsiteY201" fmla="*/ 2112168 h 4305300"/>
                  <a:gd name="connsiteX202" fmla="*/ 7986713 w 8801100"/>
                  <a:gd name="connsiteY202" fmla="*/ 2052638 h 4305300"/>
                  <a:gd name="connsiteX203" fmla="*/ 8024813 w 8801100"/>
                  <a:gd name="connsiteY203" fmla="*/ 2047875 h 4305300"/>
                  <a:gd name="connsiteX204" fmla="*/ 8070056 w 8801100"/>
                  <a:gd name="connsiteY204" fmla="*/ 2052638 h 4305300"/>
                  <a:gd name="connsiteX205" fmla="*/ 8134350 w 8801100"/>
                  <a:gd name="connsiteY205" fmla="*/ 2019300 h 4305300"/>
                  <a:gd name="connsiteX206" fmla="*/ 8143875 w 8801100"/>
                  <a:gd name="connsiteY206" fmla="*/ 1955006 h 4305300"/>
                  <a:gd name="connsiteX207" fmla="*/ 8184355 w 8801100"/>
                  <a:gd name="connsiteY207" fmla="*/ 1919288 h 4305300"/>
                  <a:gd name="connsiteX208" fmla="*/ 8243888 w 8801100"/>
                  <a:gd name="connsiteY208" fmla="*/ 1959768 h 4305300"/>
                  <a:gd name="connsiteX209" fmla="*/ 8270082 w 8801100"/>
                  <a:gd name="connsiteY209" fmla="*/ 1909762 h 4305300"/>
                  <a:gd name="connsiteX210" fmla="*/ 8365331 w 8801100"/>
                  <a:gd name="connsiteY210" fmla="*/ 1840706 h 4305300"/>
                  <a:gd name="connsiteX211" fmla="*/ 8427244 w 8801100"/>
                  <a:gd name="connsiteY211" fmla="*/ 1847850 h 4305300"/>
                  <a:gd name="connsiteX212" fmla="*/ 8477250 w 8801100"/>
                  <a:gd name="connsiteY212" fmla="*/ 1828800 h 4305300"/>
                  <a:gd name="connsiteX213" fmla="*/ 8515350 w 8801100"/>
                  <a:gd name="connsiteY213" fmla="*/ 1800225 h 4305300"/>
                  <a:gd name="connsiteX214" fmla="*/ 8548688 w 8801100"/>
                  <a:gd name="connsiteY214" fmla="*/ 1797844 h 4305300"/>
                  <a:gd name="connsiteX215" fmla="*/ 8584406 w 8801100"/>
                  <a:gd name="connsiteY215" fmla="*/ 1828800 h 4305300"/>
                  <a:gd name="connsiteX216" fmla="*/ 8643938 w 8801100"/>
                  <a:gd name="connsiteY216" fmla="*/ 1828800 h 4305300"/>
                  <a:gd name="connsiteX217" fmla="*/ 8682037 w 8801100"/>
                  <a:gd name="connsiteY217" fmla="*/ 1809750 h 4305300"/>
                  <a:gd name="connsiteX218" fmla="*/ 8765381 w 8801100"/>
                  <a:gd name="connsiteY218" fmla="*/ 1812132 h 4305300"/>
                  <a:gd name="connsiteX219" fmla="*/ 8796338 w 8801100"/>
                  <a:gd name="connsiteY219" fmla="*/ 1766888 h 4305300"/>
                  <a:gd name="connsiteX220" fmla="*/ 8801100 w 8801100"/>
                  <a:gd name="connsiteY220" fmla="*/ 1704975 h 4305300"/>
                  <a:gd name="connsiteX221" fmla="*/ 8751093 w 8801100"/>
                  <a:gd name="connsiteY221" fmla="*/ 1664494 h 4305300"/>
                  <a:gd name="connsiteX222" fmla="*/ 8734425 w 8801100"/>
                  <a:gd name="connsiteY222" fmla="*/ 1609725 h 4305300"/>
                  <a:gd name="connsiteX223" fmla="*/ 8643938 w 8801100"/>
                  <a:gd name="connsiteY223" fmla="*/ 1547813 h 4305300"/>
                  <a:gd name="connsiteX224" fmla="*/ 8603456 w 8801100"/>
                  <a:gd name="connsiteY224" fmla="*/ 1526381 h 4305300"/>
                  <a:gd name="connsiteX225" fmla="*/ 8565356 w 8801100"/>
                  <a:gd name="connsiteY225" fmla="*/ 1481138 h 4305300"/>
                  <a:gd name="connsiteX226" fmla="*/ 8534400 w 8801100"/>
                  <a:gd name="connsiteY226" fmla="*/ 1478756 h 4305300"/>
                  <a:gd name="connsiteX227" fmla="*/ 8517731 w 8801100"/>
                  <a:gd name="connsiteY227" fmla="*/ 1426369 h 4305300"/>
                  <a:gd name="connsiteX228" fmla="*/ 8477250 w 8801100"/>
                  <a:gd name="connsiteY228" fmla="*/ 1409700 h 4305300"/>
                  <a:gd name="connsiteX229" fmla="*/ 8477250 w 8801100"/>
                  <a:gd name="connsiteY229" fmla="*/ 1409700 h 4305300"/>
                  <a:gd name="connsiteX230" fmla="*/ 8436769 w 8801100"/>
                  <a:gd name="connsiteY230" fmla="*/ 1414463 h 4305300"/>
                  <a:gd name="connsiteX231" fmla="*/ 8351043 w 8801100"/>
                  <a:gd name="connsiteY231" fmla="*/ 1340644 h 4305300"/>
                  <a:gd name="connsiteX232" fmla="*/ 8170069 w 8801100"/>
                  <a:gd name="connsiteY232" fmla="*/ 1340643 h 4305300"/>
                  <a:gd name="connsiteX233" fmla="*/ 8117681 w 8801100"/>
                  <a:gd name="connsiteY233" fmla="*/ 1378744 h 4305300"/>
                  <a:gd name="connsiteX234" fmla="*/ 8067675 w 8801100"/>
                  <a:gd name="connsiteY234" fmla="*/ 1457325 h 4305300"/>
                  <a:gd name="connsiteX235" fmla="*/ 8084344 w 8801100"/>
                  <a:gd name="connsiteY235" fmla="*/ 1478756 h 4305300"/>
                  <a:gd name="connsiteX236" fmla="*/ 8039100 w 8801100"/>
                  <a:gd name="connsiteY236" fmla="*/ 1528762 h 4305300"/>
                  <a:gd name="connsiteX237" fmla="*/ 7889081 w 8801100"/>
                  <a:gd name="connsiteY237" fmla="*/ 1452562 h 4305300"/>
                  <a:gd name="connsiteX238" fmla="*/ 7798594 w 8801100"/>
                  <a:gd name="connsiteY238" fmla="*/ 1488281 h 4305300"/>
                  <a:gd name="connsiteX239" fmla="*/ 7724775 w 8801100"/>
                  <a:gd name="connsiteY239" fmla="*/ 1485900 h 4305300"/>
                  <a:gd name="connsiteX240" fmla="*/ 7667625 w 8801100"/>
                  <a:gd name="connsiteY240" fmla="*/ 1581150 h 4305300"/>
                  <a:gd name="connsiteX241" fmla="*/ 7529513 w 8801100"/>
                  <a:gd name="connsiteY241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883694 w 8801100"/>
                  <a:gd name="connsiteY91" fmla="*/ 847725 h 4305300"/>
                  <a:gd name="connsiteX92" fmla="*/ 2381 w 8801100"/>
                  <a:gd name="connsiteY92" fmla="*/ 1490661 h 4305300"/>
                  <a:gd name="connsiteX93" fmla="*/ 0 w 8801100"/>
                  <a:gd name="connsiteY93" fmla="*/ 709613 h 4305300"/>
                  <a:gd name="connsiteX94" fmla="*/ 76200 w 8801100"/>
                  <a:gd name="connsiteY94" fmla="*/ 692944 h 4305300"/>
                  <a:gd name="connsiteX95" fmla="*/ 119063 w 8801100"/>
                  <a:gd name="connsiteY95" fmla="*/ 721519 h 4305300"/>
                  <a:gd name="connsiteX96" fmla="*/ 215900 w 8801100"/>
                  <a:gd name="connsiteY96" fmla="*/ 712788 h 4305300"/>
                  <a:gd name="connsiteX97" fmla="*/ 261938 w 8801100"/>
                  <a:gd name="connsiteY97" fmla="*/ 740568 h 4305300"/>
                  <a:gd name="connsiteX98" fmla="*/ 228600 w 8801100"/>
                  <a:gd name="connsiteY98" fmla="*/ 769144 h 4305300"/>
                  <a:gd name="connsiteX99" fmla="*/ 233363 w 8801100"/>
                  <a:gd name="connsiteY99" fmla="*/ 812006 h 4305300"/>
                  <a:gd name="connsiteX100" fmla="*/ 200025 w 8801100"/>
                  <a:gd name="connsiteY100" fmla="*/ 816769 h 4305300"/>
                  <a:gd name="connsiteX101" fmla="*/ 204788 w 8801100"/>
                  <a:gd name="connsiteY101" fmla="*/ 840581 h 4305300"/>
                  <a:gd name="connsiteX102" fmla="*/ 261937 w 8801100"/>
                  <a:gd name="connsiteY102" fmla="*/ 914400 h 4305300"/>
                  <a:gd name="connsiteX103" fmla="*/ 223838 w 8801100"/>
                  <a:gd name="connsiteY103" fmla="*/ 962025 h 4305300"/>
                  <a:gd name="connsiteX104" fmla="*/ 278606 w 8801100"/>
                  <a:gd name="connsiteY104" fmla="*/ 997744 h 4305300"/>
                  <a:gd name="connsiteX105" fmla="*/ 369094 w 8801100"/>
                  <a:gd name="connsiteY105" fmla="*/ 1085850 h 4305300"/>
                  <a:gd name="connsiteX106" fmla="*/ 371475 w 8801100"/>
                  <a:gd name="connsiteY106" fmla="*/ 1145381 h 4305300"/>
                  <a:gd name="connsiteX107" fmla="*/ 507206 w 8801100"/>
                  <a:gd name="connsiteY107" fmla="*/ 1278732 h 4305300"/>
                  <a:gd name="connsiteX108" fmla="*/ 561975 w 8801100"/>
                  <a:gd name="connsiteY108" fmla="*/ 1254919 h 4305300"/>
                  <a:gd name="connsiteX109" fmla="*/ 600075 w 8801100"/>
                  <a:gd name="connsiteY109" fmla="*/ 1281112 h 4305300"/>
                  <a:gd name="connsiteX110" fmla="*/ 614363 w 8801100"/>
                  <a:gd name="connsiteY110" fmla="*/ 1331118 h 4305300"/>
                  <a:gd name="connsiteX111" fmla="*/ 657225 w 8801100"/>
                  <a:gd name="connsiteY111" fmla="*/ 1366838 h 4305300"/>
                  <a:gd name="connsiteX112" fmla="*/ 697706 w 8801100"/>
                  <a:gd name="connsiteY112" fmla="*/ 1354931 h 4305300"/>
                  <a:gd name="connsiteX113" fmla="*/ 716756 w 8801100"/>
                  <a:gd name="connsiteY113" fmla="*/ 1412081 h 4305300"/>
                  <a:gd name="connsiteX114" fmla="*/ 764381 w 8801100"/>
                  <a:gd name="connsiteY114" fmla="*/ 1454944 h 4305300"/>
                  <a:gd name="connsiteX115" fmla="*/ 788194 w 8801100"/>
                  <a:gd name="connsiteY115" fmla="*/ 1557338 h 4305300"/>
                  <a:gd name="connsiteX116" fmla="*/ 785813 w 8801100"/>
                  <a:gd name="connsiteY116" fmla="*/ 1604963 h 4305300"/>
                  <a:gd name="connsiteX117" fmla="*/ 821531 w 8801100"/>
                  <a:gd name="connsiteY117" fmla="*/ 1704975 h 4305300"/>
                  <a:gd name="connsiteX118" fmla="*/ 866775 w 8801100"/>
                  <a:gd name="connsiteY118" fmla="*/ 1762125 h 4305300"/>
                  <a:gd name="connsiteX119" fmla="*/ 883443 w 8801100"/>
                  <a:gd name="connsiteY119" fmla="*/ 1919287 h 4305300"/>
                  <a:gd name="connsiteX120" fmla="*/ 850106 w 8801100"/>
                  <a:gd name="connsiteY120" fmla="*/ 1981200 h 4305300"/>
                  <a:gd name="connsiteX121" fmla="*/ 819150 w 8801100"/>
                  <a:gd name="connsiteY121" fmla="*/ 2057400 h 4305300"/>
                  <a:gd name="connsiteX122" fmla="*/ 833438 w 8801100"/>
                  <a:gd name="connsiteY122" fmla="*/ 2114550 h 4305300"/>
                  <a:gd name="connsiteX123" fmla="*/ 735806 w 8801100"/>
                  <a:gd name="connsiteY123" fmla="*/ 2221707 h 4305300"/>
                  <a:gd name="connsiteX124" fmla="*/ 692944 w 8801100"/>
                  <a:gd name="connsiteY124" fmla="*/ 2336006 h 4305300"/>
                  <a:gd name="connsiteX125" fmla="*/ 726281 w 8801100"/>
                  <a:gd name="connsiteY125" fmla="*/ 2376488 h 4305300"/>
                  <a:gd name="connsiteX126" fmla="*/ 709613 w 8801100"/>
                  <a:gd name="connsiteY126" fmla="*/ 2405063 h 4305300"/>
                  <a:gd name="connsiteX127" fmla="*/ 740569 w 8801100"/>
                  <a:gd name="connsiteY127" fmla="*/ 2462213 h 4305300"/>
                  <a:gd name="connsiteX128" fmla="*/ 769144 w 8801100"/>
                  <a:gd name="connsiteY128" fmla="*/ 2462213 h 4305300"/>
                  <a:gd name="connsiteX129" fmla="*/ 931069 w 8801100"/>
                  <a:gd name="connsiteY129" fmla="*/ 2564606 h 4305300"/>
                  <a:gd name="connsiteX130" fmla="*/ 1035844 w 8801100"/>
                  <a:gd name="connsiteY130" fmla="*/ 2562225 h 4305300"/>
                  <a:gd name="connsiteX131" fmla="*/ 1114425 w 8801100"/>
                  <a:gd name="connsiteY131" fmla="*/ 2616994 h 4305300"/>
                  <a:gd name="connsiteX132" fmla="*/ 1245393 w 8801100"/>
                  <a:gd name="connsiteY132" fmla="*/ 2619375 h 4305300"/>
                  <a:gd name="connsiteX133" fmla="*/ 1435893 w 8801100"/>
                  <a:gd name="connsiteY133" fmla="*/ 2688431 h 4305300"/>
                  <a:gd name="connsiteX134" fmla="*/ 1638300 w 8801100"/>
                  <a:gd name="connsiteY134" fmla="*/ 2838450 h 4305300"/>
                  <a:gd name="connsiteX135" fmla="*/ 1671637 w 8801100"/>
                  <a:gd name="connsiteY135" fmla="*/ 2905125 h 4305300"/>
                  <a:gd name="connsiteX136" fmla="*/ 1838325 w 8801100"/>
                  <a:gd name="connsiteY136" fmla="*/ 3031331 h 4305300"/>
                  <a:gd name="connsiteX137" fmla="*/ 1909763 w 8801100"/>
                  <a:gd name="connsiteY137" fmla="*/ 3026569 h 4305300"/>
                  <a:gd name="connsiteX138" fmla="*/ 1945482 w 8801100"/>
                  <a:gd name="connsiteY138" fmla="*/ 3050381 h 4305300"/>
                  <a:gd name="connsiteX139" fmla="*/ 1916906 w 8801100"/>
                  <a:gd name="connsiteY139" fmla="*/ 3090863 h 4305300"/>
                  <a:gd name="connsiteX140" fmla="*/ 1924050 w 8801100"/>
                  <a:gd name="connsiteY140" fmla="*/ 3143250 h 4305300"/>
                  <a:gd name="connsiteX141" fmla="*/ 1976438 w 8801100"/>
                  <a:gd name="connsiteY141" fmla="*/ 3169444 h 4305300"/>
                  <a:gd name="connsiteX142" fmla="*/ 2038350 w 8801100"/>
                  <a:gd name="connsiteY142" fmla="*/ 3393282 h 4305300"/>
                  <a:gd name="connsiteX143" fmla="*/ 2028825 w 8801100"/>
                  <a:gd name="connsiteY143" fmla="*/ 3457575 h 4305300"/>
                  <a:gd name="connsiteX144" fmla="*/ 2164556 w 8801100"/>
                  <a:gd name="connsiteY144" fmla="*/ 3624263 h 4305300"/>
                  <a:gd name="connsiteX145" fmla="*/ 2183606 w 8801100"/>
                  <a:gd name="connsiteY145" fmla="*/ 3674269 h 4305300"/>
                  <a:gd name="connsiteX146" fmla="*/ 2157413 w 8801100"/>
                  <a:gd name="connsiteY146" fmla="*/ 3693319 h 4305300"/>
                  <a:gd name="connsiteX147" fmla="*/ 2259806 w 8801100"/>
                  <a:gd name="connsiteY147" fmla="*/ 3702844 h 4305300"/>
                  <a:gd name="connsiteX148" fmla="*/ 2371725 w 8801100"/>
                  <a:gd name="connsiteY148" fmla="*/ 3690938 h 4305300"/>
                  <a:gd name="connsiteX149" fmla="*/ 2650331 w 8801100"/>
                  <a:gd name="connsiteY149" fmla="*/ 3774281 h 4305300"/>
                  <a:gd name="connsiteX150" fmla="*/ 3057525 w 8801100"/>
                  <a:gd name="connsiteY150" fmla="*/ 3855244 h 4305300"/>
                  <a:gd name="connsiteX151" fmla="*/ 3255169 w 8801100"/>
                  <a:gd name="connsiteY151" fmla="*/ 3824287 h 4305300"/>
                  <a:gd name="connsiteX152" fmla="*/ 3300413 w 8801100"/>
                  <a:gd name="connsiteY152" fmla="*/ 3836193 h 4305300"/>
                  <a:gd name="connsiteX153" fmla="*/ 3355181 w 8801100"/>
                  <a:gd name="connsiteY153" fmla="*/ 3812382 h 4305300"/>
                  <a:gd name="connsiteX154" fmla="*/ 3748087 w 8801100"/>
                  <a:gd name="connsiteY154" fmla="*/ 3902869 h 4305300"/>
                  <a:gd name="connsiteX155" fmla="*/ 3831432 w 8801100"/>
                  <a:gd name="connsiteY155" fmla="*/ 4000500 h 4305300"/>
                  <a:gd name="connsiteX156" fmla="*/ 3950494 w 8801100"/>
                  <a:gd name="connsiteY156" fmla="*/ 4071938 h 4305300"/>
                  <a:gd name="connsiteX157" fmla="*/ 4010025 w 8801100"/>
                  <a:gd name="connsiteY157" fmla="*/ 4055269 h 4305300"/>
                  <a:gd name="connsiteX158" fmla="*/ 4360068 w 8801100"/>
                  <a:gd name="connsiteY158" fmla="*/ 4229100 h 4305300"/>
                  <a:gd name="connsiteX159" fmla="*/ 4586288 w 8801100"/>
                  <a:gd name="connsiteY159" fmla="*/ 4200525 h 4305300"/>
                  <a:gd name="connsiteX160" fmla="*/ 4595813 w 8801100"/>
                  <a:gd name="connsiteY160" fmla="*/ 4279106 h 4305300"/>
                  <a:gd name="connsiteX161" fmla="*/ 4681538 w 8801100"/>
                  <a:gd name="connsiteY161" fmla="*/ 4274343 h 4305300"/>
                  <a:gd name="connsiteX162" fmla="*/ 4760119 w 8801100"/>
                  <a:gd name="connsiteY162" fmla="*/ 4305300 h 4305300"/>
                  <a:gd name="connsiteX163" fmla="*/ 4802981 w 8801100"/>
                  <a:gd name="connsiteY163" fmla="*/ 4245769 h 4305300"/>
                  <a:gd name="connsiteX164" fmla="*/ 5474494 w 8801100"/>
                  <a:gd name="connsiteY164" fmla="*/ 3926681 h 4305300"/>
                  <a:gd name="connsiteX165" fmla="*/ 5562600 w 8801100"/>
                  <a:gd name="connsiteY165" fmla="*/ 3955257 h 4305300"/>
                  <a:gd name="connsiteX166" fmla="*/ 5693569 w 8801100"/>
                  <a:gd name="connsiteY166" fmla="*/ 3926681 h 4305300"/>
                  <a:gd name="connsiteX167" fmla="*/ 5872162 w 8801100"/>
                  <a:gd name="connsiteY167" fmla="*/ 3943350 h 4305300"/>
                  <a:gd name="connsiteX168" fmla="*/ 5929313 w 8801100"/>
                  <a:gd name="connsiteY168" fmla="*/ 3917157 h 4305300"/>
                  <a:gd name="connsiteX169" fmla="*/ 6062662 w 8801100"/>
                  <a:gd name="connsiteY169" fmla="*/ 3914775 h 4305300"/>
                  <a:gd name="connsiteX170" fmla="*/ 6196012 w 8801100"/>
                  <a:gd name="connsiteY170" fmla="*/ 3817144 h 4305300"/>
                  <a:gd name="connsiteX171" fmla="*/ 6262687 w 8801100"/>
                  <a:gd name="connsiteY171" fmla="*/ 3810000 h 4305300"/>
                  <a:gd name="connsiteX172" fmla="*/ 6360319 w 8801100"/>
                  <a:gd name="connsiteY172" fmla="*/ 3736181 h 4305300"/>
                  <a:gd name="connsiteX173" fmla="*/ 6434138 w 8801100"/>
                  <a:gd name="connsiteY173" fmla="*/ 3667125 h 4305300"/>
                  <a:gd name="connsiteX174" fmla="*/ 6443663 w 8801100"/>
                  <a:gd name="connsiteY174" fmla="*/ 3605213 h 4305300"/>
                  <a:gd name="connsiteX175" fmla="*/ 6477000 w 8801100"/>
                  <a:gd name="connsiteY175" fmla="*/ 3536156 h 4305300"/>
                  <a:gd name="connsiteX176" fmla="*/ 6629400 w 8801100"/>
                  <a:gd name="connsiteY176" fmla="*/ 3429000 h 4305300"/>
                  <a:gd name="connsiteX177" fmla="*/ 6662738 w 8801100"/>
                  <a:gd name="connsiteY177" fmla="*/ 3433763 h 4305300"/>
                  <a:gd name="connsiteX178" fmla="*/ 6715125 w 8801100"/>
                  <a:gd name="connsiteY178" fmla="*/ 3355181 h 4305300"/>
                  <a:gd name="connsiteX179" fmla="*/ 6762750 w 8801100"/>
                  <a:gd name="connsiteY179" fmla="*/ 3317081 h 4305300"/>
                  <a:gd name="connsiteX180" fmla="*/ 6748463 w 8801100"/>
                  <a:gd name="connsiteY180" fmla="*/ 3248025 h 4305300"/>
                  <a:gd name="connsiteX181" fmla="*/ 6698456 w 8801100"/>
                  <a:gd name="connsiteY181" fmla="*/ 3217068 h 4305300"/>
                  <a:gd name="connsiteX182" fmla="*/ 6638925 w 8801100"/>
                  <a:gd name="connsiteY182" fmla="*/ 3162300 h 4305300"/>
                  <a:gd name="connsiteX183" fmla="*/ 6619875 w 8801100"/>
                  <a:gd name="connsiteY183" fmla="*/ 3105150 h 4305300"/>
                  <a:gd name="connsiteX184" fmla="*/ 6584156 w 8801100"/>
                  <a:gd name="connsiteY184" fmla="*/ 3071813 h 4305300"/>
                  <a:gd name="connsiteX185" fmla="*/ 6610350 w 8801100"/>
                  <a:gd name="connsiteY185" fmla="*/ 3019425 h 4305300"/>
                  <a:gd name="connsiteX186" fmla="*/ 6650831 w 8801100"/>
                  <a:gd name="connsiteY186" fmla="*/ 2840831 h 4305300"/>
                  <a:gd name="connsiteX187" fmla="*/ 6691313 w 8801100"/>
                  <a:gd name="connsiteY187" fmla="*/ 2774156 h 4305300"/>
                  <a:gd name="connsiteX188" fmla="*/ 6836569 w 8801100"/>
                  <a:gd name="connsiteY188" fmla="*/ 2757487 h 4305300"/>
                  <a:gd name="connsiteX189" fmla="*/ 6905625 w 8801100"/>
                  <a:gd name="connsiteY189" fmla="*/ 2814638 h 4305300"/>
                  <a:gd name="connsiteX190" fmla="*/ 6981825 w 8801100"/>
                  <a:gd name="connsiteY190" fmla="*/ 2838450 h 4305300"/>
                  <a:gd name="connsiteX191" fmla="*/ 7186612 w 8801100"/>
                  <a:gd name="connsiteY191" fmla="*/ 2843213 h 4305300"/>
                  <a:gd name="connsiteX192" fmla="*/ 7362825 w 8801100"/>
                  <a:gd name="connsiteY192" fmla="*/ 2705100 h 4305300"/>
                  <a:gd name="connsiteX193" fmla="*/ 7419975 w 8801100"/>
                  <a:gd name="connsiteY193" fmla="*/ 2614612 h 4305300"/>
                  <a:gd name="connsiteX194" fmla="*/ 7446169 w 8801100"/>
                  <a:gd name="connsiteY194" fmla="*/ 2531269 h 4305300"/>
                  <a:gd name="connsiteX195" fmla="*/ 7577137 w 8801100"/>
                  <a:gd name="connsiteY195" fmla="*/ 2531269 h 4305300"/>
                  <a:gd name="connsiteX196" fmla="*/ 7750969 w 8801100"/>
                  <a:gd name="connsiteY196" fmla="*/ 2474118 h 4305300"/>
                  <a:gd name="connsiteX197" fmla="*/ 7810500 w 8801100"/>
                  <a:gd name="connsiteY197" fmla="*/ 2362200 h 4305300"/>
                  <a:gd name="connsiteX198" fmla="*/ 7874794 w 8801100"/>
                  <a:gd name="connsiteY198" fmla="*/ 2326481 h 4305300"/>
                  <a:gd name="connsiteX199" fmla="*/ 7853363 w 8801100"/>
                  <a:gd name="connsiteY199" fmla="*/ 2281238 h 4305300"/>
                  <a:gd name="connsiteX200" fmla="*/ 7931944 w 8801100"/>
                  <a:gd name="connsiteY200" fmla="*/ 2112168 h 4305300"/>
                  <a:gd name="connsiteX201" fmla="*/ 7986713 w 8801100"/>
                  <a:gd name="connsiteY201" fmla="*/ 2052638 h 4305300"/>
                  <a:gd name="connsiteX202" fmla="*/ 8024813 w 8801100"/>
                  <a:gd name="connsiteY202" fmla="*/ 2047875 h 4305300"/>
                  <a:gd name="connsiteX203" fmla="*/ 8070056 w 8801100"/>
                  <a:gd name="connsiteY203" fmla="*/ 2052638 h 4305300"/>
                  <a:gd name="connsiteX204" fmla="*/ 8134350 w 8801100"/>
                  <a:gd name="connsiteY204" fmla="*/ 2019300 h 4305300"/>
                  <a:gd name="connsiteX205" fmla="*/ 8143875 w 8801100"/>
                  <a:gd name="connsiteY205" fmla="*/ 1955006 h 4305300"/>
                  <a:gd name="connsiteX206" fmla="*/ 8184355 w 8801100"/>
                  <a:gd name="connsiteY206" fmla="*/ 1919288 h 4305300"/>
                  <a:gd name="connsiteX207" fmla="*/ 8243888 w 8801100"/>
                  <a:gd name="connsiteY207" fmla="*/ 1959768 h 4305300"/>
                  <a:gd name="connsiteX208" fmla="*/ 8270082 w 8801100"/>
                  <a:gd name="connsiteY208" fmla="*/ 1909762 h 4305300"/>
                  <a:gd name="connsiteX209" fmla="*/ 8365331 w 8801100"/>
                  <a:gd name="connsiteY209" fmla="*/ 1840706 h 4305300"/>
                  <a:gd name="connsiteX210" fmla="*/ 8427244 w 8801100"/>
                  <a:gd name="connsiteY210" fmla="*/ 1847850 h 4305300"/>
                  <a:gd name="connsiteX211" fmla="*/ 8477250 w 8801100"/>
                  <a:gd name="connsiteY211" fmla="*/ 1828800 h 4305300"/>
                  <a:gd name="connsiteX212" fmla="*/ 8515350 w 8801100"/>
                  <a:gd name="connsiteY212" fmla="*/ 1800225 h 4305300"/>
                  <a:gd name="connsiteX213" fmla="*/ 8548688 w 8801100"/>
                  <a:gd name="connsiteY213" fmla="*/ 1797844 h 4305300"/>
                  <a:gd name="connsiteX214" fmla="*/ 8584406 w 8801100"/>
                  <a:gd name="connsiteY214" fmla="*/ 1828800 h 4305300"/>
                  <a:gd name="connsiteX215" fmla="*/ 8643938 w 8801100"/>
                  <a:gd name="connsiteY215" fmla="*/ 1828800 h 4305300"/>
                  <a:gd name="connsiteX216" fmla="*/ 8682037 w 8801100"/>
                  <a:gd name="connsiteY216" fmla="*/ 1809750 h 4305300"/>
                  <a:gd name="connsiteX217" fmla="*/ 8765381 w 8801100"/>
                  <a:gd name="connsiteY217" fmla="*/ 1812132 h 4305300"/>
                  <a:gd name="connsiteX218" fmla="*/ 8796338 w 8801100"/>
                  <a:gd name="connsiteY218" fmla="*/ 1766888 h 4305300"/>
                  <a:gd name="connsiteX219" fmla="*/ 8801100 w 8801100"/>
                  <a:gd name="connsiteY219" fmla="*/ 1704975 h 4305300"/>
                  <a:gd name="connsiteX220" fmla="*/ 8751093 w 8801100"/>
                  <a:gd name="connsiteY220" fmla="*/ 1664494 h 4305300"/>
                  <a:gd name="connsiteX221" fmla="*/ 8734425 w 8801100"/>
                  <a:gd name="connsiteY221" fmla="*/ 1609725 h 4305300"/>
                  <a:gd name="connsiteX222" fmla="*/ 8643938 w 8801100"/>
                  <a:gd name="connsiteY222" fmla="*/ 1547813 h 4305300"/>
                  <a:gd name="connsiteX223" fmla="*/ 8603456 w 8801100"/>
                  <a:gd name="connsiteY223" fmla="*/ 1526381 h 4305300"/>
                  <a:gd name="connsiteX224" fmla="*/ 8565356 w 8801100"/>
                  <a:gd name="connsiteY224" fmla="*/ 1481138 h 4305300"/>
                  <a:gd name="connsiteX225" fmla="*/ 8534400 w 8801100"/>
                  <a:gd name="connsiteY225" fmla="*/ 1478756 h 4305300"/>
                  <a:gd name="connsiteX226" fmla="*/ 8517731 w 8801100"/>
                  <a:gd name="connsiteY226" fmla="*/ 1426369 h 4305300"/>
                  <a:gd name="connsiteX227" fmla="*/ 8477250 w 8801100"/>
                  <a:gd name="connsiteY227" fmla="*/ 1409700 h 4305300"/>
                  <a:gd name="connsiteX228" fmla="*/ 8477250 w 8801100"/>
                  <a:gd name="connsiteY228" fmla="*/ 1409700 h 4305300"/>
                  <a:gd name="connsiteX229" fmla="*/ 8436769 w 8801100"/>
                  <a:gd name="connsiteY229" fmla="*/ 1414463 h 4305300"/>
                  <a:gd name="connsiteX230" fmla="*/ 8351043 w 8801100"/>
                  <a:gd name="connsiteY230" fmla="*/ 1340644 h 4305300"/>
                  <a:gd name="connsiteX231" fmla="*/ 8170069 w 8801100"/>
                  <a:gd name="connsiteY231" fmla="*/ 1340643 h 4305300"/>
                  <a:gd name="connsiteX232" fmla="*/ 8117681 w 8801100"/>
                  <a:gd name="connsiteY232" fmla="*/ 1378744 h 4305300"/>
                  <a:gd name="connsiteX233" fmla="*/ 8067675 w 8801100"/>
                  <a:gd name="connsiteY233" fmla="*/ 1457325 h 4305300"/>
                  <a:gd name="connsiteX234" fmla="*/ 8084344 w 8801100"/>
                  <a:gd name="connsiteY234" fmla="*/ 1478756 h 4305300"/>
                  <a:gd name="connsiteX235" fmla="*/ 8039100 w 8801100"/>
                  <a:gd name="connsiteY235" fmla="*/ 1528762 h 4305300"/>
                  <a:gd name="connsiteX236" fmla="*/ 7889081 w 8801100"/>
                  <a:gd name="connsiteY236" fmla="*/ 1452562 h 4305300"/>
                  <a:gd name="connsiteX237" fmla="*/ 7798594 w 8801100"/>
                  <a:gd name="connsiteY237" fmla="*/ 1488281 h 4305300"/>
                  <a:gd name="connsiteX238" fmla="*/ 7724775 w 8801100"/>
                  <a:gd name="connsiteY238" fmla="*/ 1485900 h 4305300"/>
                  <a:gd name="connsiteX239" fmla="*/ 7667625 w 8801100"/>
                  <a:gd name="connsiteY239" fmla="*/ 1581150 h 4305300"/>
                  <a:gd name="connsiteX240" fmla="*/ 7529513 w 8801100"/>
                  <a:gd name="connsiteY240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952750 w 8801100"/>
                  <a:gd name="connsiteY90" fmla="*/ 781050 h 4305300"/>
                  <a:gd name="connsiteX91" fmla="*/ 2381 w 8801100"/>
                  <a:gd name="connsiteY91" fmla="*/ 1490661 h 4305300"/>
                  <a:gd name="connsiteX92" fmla="*/ 0 w 8801100"/>
                  <a:gd name="connsiteY92" fmla="*/ 709613 h 4305300"/>
                  <a:gd name="connsiteX93" fmla="*/ 76200 w 8801100"/>
                  <a:gd name="connsiteY93" fmla="*/ 692944 h 4305300"/>
                  <a:gd name="connsiteX94" fmla="*/ 119063 w 8801100"/>
                  <a:gd name="connsiteY94" fmla="*/ 721519 h 4305300"/>
                  <a:gd name="connsiteX95" fmla="*/ 215900 w 8801100"/>
                  <a:gd name="connsiteY95" fmla="*/ 712788 h 4305300"/>
                  <a:gd name="connsiteX96" fmla="*/ 261938 w 8801100"/>
                  <a:gd name="connsiteY96" fmla="*/ 740568 h 4305300"/>
                  <a:gd name="connsiteX97" fmla="*/ 228600 w 8801100"/>
                  <a:gd name="connsiteY97" fmla="*/ 769144 h 4305300"/>
                  <a:gd name="connsiteX98" fmla="*/ 233363 w 8801100"/>
                  <a:gd name="connsiteY98" fmla="*/ 812006 h 4305300"/>
                  <a:gd name="connsiteX99" fmla="*/ 200025 w 8801100"/>
                  <a:gd name="connsiteY99" fmla="*/ 816769 h 4305300"/>
                  <a:gd name="connsiteX100" fmla="*/ 204788 w 8801100"/>
                  <a:gd name="connsiteY100" fmla="*/ 840581 h 4305300"/>
                  <a:gd name="connsiteX101" fmla="*/ 261937 w 8801100"/>
                  <a:gd name="connsiteY101" fmla="*/ 914400 h 4305300"/>
                  <a:gd name="connsiteX102" fmla="*/ 223838 w 8801100"/>
                  <a:gd name="connsiteY102" fmla="*/ 962025 h 4305300"/>
                  <a:gd name="connsiteX103" fmla="*/ 278606 w 8801100"/>
                  <a:gd name="connsiteY103" fmla="*/ 997744 h 4305300"/>
                  <a:gd name="connsiteX104" fmla="*/ 369094 w 8801100"/>
                  <a:gd name="connsiteY104" fmla="*/ 1085850 h 4305300"/>
                  <a:gd name="connsiteX105" fmla="*/ 371475 w 8801100"/>
                  <a:gd name="connsiteY105" fmla="*/ 1145381 h 4305300"/>
                  <a:gd name="connsiteX106" fmla="*/ 507206 w 8801100"/>
                  <a:gd name="connsiteY106" fmla="*/ 1278732 h 4305300"/>
                  <a:gd name="connsiteX107" fmla="*/ 561975 w 8801100"/>
                  <a:gd name="connsiteY107" fmla="*/ 1254919 h 4305300"/>
                  <a:gd name="connsiteX108" fmla="*/ 600075 w 8801100"/>
                  <a:gd name="connsiteY108" fmla="*/ 1281112 h 4305300"/>
                  <a:gd name="connsiteX109" fmla="*/ 614363 w 8801100"/>
                  <a:gd name="connsiteY109" fmla="*/ 1331118 h 4305300"/>
                  <a:gd name="connsiteX110" fmla="*/ 657225 w 8801100"/>
                  <a:gd name="connsiteY110" fmla="*/ 1366838 h 4305300"/>
                  <a:gd name="connsiteX111" fmla="*/ 697706 w 8801100"/>
                  <a:gd name="connsiteY111" fmla="*/ 1354931 h 4305300"/>
                  <a:gd name="connsiteX112" fmla="*/ 716756 w 8801100"/>
                  <a:gd name="connsiteY112" fmla="*/ 1412081 h 4305300"/>
                  <a:gd name="connsiteX113" fmla="*/ 764381 w 8801100"/>
                  <a:gd name="connsiteY113" fmla="*/ 1454944 h 4305300"/>
                  <a:gd name="connsiteX114" fmla="*/ 788194 w 8801100"/>
                  <a:gd name="connsiteY114" fmla="*/ 1557338 h 4305300"/>
                  <a:gd name="connsiteX115" fmla="*/ 785813 w 8801100"/>
                  <a:gd name="connsiteY115" fmla="*/ 1604963 h 4305300"/>
                  <a:gd name="connsiteX116" fmla="*/ 821531 w 8801100"/>
                  <a:gd name="connsiteY116" fmla="*/ 1704975 h 4305300"/>
                  <a:gd name="connsiteX117" fmla="*/ 866775 w 8801100"/>
                  <a:gd name="connsiteY117" fmla="*/ 1762125 h 4305300"/>
                  <a:gd name="connsiteX118" fmla="*/ 883443 w 8801100"/>
                  <a:gd name="connsiteY118" fmla="*/ 1919287 h 4305300"/>
                  <a:gd name="connsiteX119" fmla="*/ 850106 w 8801100"/>
                  <a:gd name="connsiteY119" fmla="*/ 1981200 h 4305300"/>
                  <a:gd name="connsiteX120" fmla="*/ 819150 w 8801100"/>
                  <a:gd name="connsiteY120" fmla="*/ 2057400 h 4305300"/>
                  <a:gd name="connsiteX121" fmla="*/ 833438 w 8801100"/>
                  <a:gd name="connsiteY121" fmla="*/ 2114550 h 4305300"/>
                  <a:gd name="connsiteX122" fmla="*/ 735806 w 8801100"/>
                  <a:gd name="connsiteY122" fmla="*/ 2221707 h 4305300"/>
                  <a:gd name="connsiteX123" fmla="*/ 692944 w 8801100"/>
                  <a:gd name="connsiteY123" fmla="*/ 2336006 h 4305300"/>
                  <a:gd name="connsiteX124" fmla="*/ 726281 w 8801100"/>
                  <a:gd name="connsiteY124" fmla="*/ 2376488 h 4305300"/>
                  <a:gd name="connsiteX125" fmla="*/ 709613 w 8801100"/>
                  <a:gd name="connsiteY125" fmla="*/ 2405063 h 4305300"/>
                  <a:gd name="connsiteX126" fmla="*/ 740569 w 8801100"/>
                  <a:gd name="connsiteY126" fmla="*/ 2462213 h 4305300"/>
                  <a:gd name="connsiteX127" fmla="*/ 769144 w 8801100"/>
                  <a:gd name="connsiteY127" fmla="*/ 2462213 h 4305300"/>
                  <a:gd name="connsiteX128" fmla="*/ 931069 w 8801100"/>
                  <a:gd name="connsiteY128" fmla="*/ 2564606 h 4305300"/>
                  <a:gd name="connsiteX129" fmla="*/ 1035844 w 8801100"/>
                  <a:gd name="connsiteY129" fmla="*/ 2562225 h 4305300"/>
                  <a:gd name="connsiteX130" fmla="*/ 1114425 w 8801100"/>
                  <a:gd name="connsiteY130" fmla="*/ 2616994 h 4305300"/>
                  <a:gd name="connsiteX131" fmla="*/ 1245393 w 8801100"/>
                  <a:gd name="connsiteY131" fmla="*/ 2619375 h 4305300"/>
                  <a:gd name="connsiteX132" fmla="*/ 1435893 w 8801100"/>
                  <a:gd name="connsiteY132" fmla="*/ 2688431 h 4305300"/>
                  <a:gd name="connsiteX133" fmla="*/ 1638300 w 8801100"/>
                  <a:gd name="connsiteY133" fmla="*/ 2838450 h 4305300"/>
                  <a:gd name="connsiteX134" fmla="*/ 1671637 w 8801100"/>
                  <a:gd name="connsiteY134" fmla="*/ 2905125 h 4305300"/>
                  <a:gd name="connsiteX135" fmla="*/ 1838325 w 8801100"/>
                  <a:gd name="connsiteY135" fmla="*/ 3031331 h 4305300"/>
                  <a:gd name="connsiteX136" fmla="*/ 1909763 w 8801100"/>
                  <a:gd name="connsiteY136" fmla="*/ 3026569 h 4305300"/>
                  <a:gd name="connsiteX137" fmla="*/ 1945482 w 8801100"/>
                  <a:gd name="connsiteY137" fmla="*/ 3050381 h 4305300"/>
                  <a:gd name="connsiteX138" fmla="*/ 1916906 w 8801100"/>
                  <a:gd name="connsiteY138" fmla="*/ 3090863 h 4305300"/>
                  <a:gd name="connsiteX139" fmla="*/ 1924050 w 8801100"/>
                  <a:gd name="connsiteY139" fmla="*/ 3143250 h 4305300"/>
                  <a:gd name="connsiteX140" fmla="*/ 1976438 w 8801100"/>
                  <a:gd name="connsiteY140" fmla="*/ 3169444 h 4305300"/>
                  <a:gd name="connsiteX141" fmla="*/ 2038350 w 8801100"/>
                  <a:gd name="connsiteY141" fmla="*/ 3393282 h 4305300"/>
                  <a:gd name="connsiteX142" fmla="*/ 2028825 w 8801100"/>
                  <a:gd name="connsiteY142" fmla="*/ 3457575 h 4305300"/>
                  <a:gd name="connsiteX143" fmla="*/ 2164556 w 8801100"/>
                  <a:gd name="connsiteY143" fmla="*/ 3624263 h 4305300"/>
                  <a:gd name="connsiteX144" fmla="*/ 2183606 w 8801100"/>
                  <a:gd name="connsiteY144" fmla="*/ 3674269 h 4305300"/>
                  <a:gd name="connsiteX145" fmla="*/ 2157413 w 8801100"/>
                  <a:gd name="connsiteY145" fmla="*/ 3693319 h 4305300"/>
                  <a:gd name="connsiteX146" fmla="*/ 2259806 w 8801100"/>
                  <a:gd name="connsiteY146" fmla="*/ 3702844 h 4305300"/>
                  <a:gd name="connsiteX147" fmla="*/ 2371725 w 8801100"/>
                  <a:gd name="connsiteY147" fmla="*/ 3690938 h 4305300"/>
                  <a:gd name="connsiteX148" fmla="*/ 2650331 w 8801100"/>
                  <a:gd name="connsiteY148" fmla="*/ 3774281 h 4305300"/>
                  <a:gd name="connsiteX149" fmla="*/ 3057525 w 8801100"/>
                  <a:gd name="connsiteY149" fmla="*/ 3855244 h 4305300"/>
                  <a:gd name="connsiteX150" fmla="*/ 3255169 w 8801100"/>
                  <a:gd name="connsiteY150" fmla="*/ 3824287 h 4305300"/>
                  <a:gd name="connsiteX151" fmla="*/ 3300413 w 8801100"/>
                  <a:gd name="connsiteY151" fmla="*/ 3836193 h 4305300"/>
                  <a:gd name="connsiteX152" fmla="*/ 3355181 w 8801100"/>
                  <a:gd name="connsiteY152" fmla="*/ 3812382 h 4305300"/>
                  <a:gd name="connsiteX153" fmla="*/ 3748087 w 8801100"/>
                  <a:gd name="connsiteY153" fmla="*/ 3902869 h 4305300"/>
                  <a:gd name="connsiteX154" fmla="*/ 3831432 w 8801100"/>
                  <a:gd name="connsiteY154" fmla="*/ 4000500 h 4305300"/>
                  <a:gd name="connsiteX155" fmla="*/ 3950494 w 8801100"/>
                  <a:gd name="connsiteY155" fmla="*/ 4071938 h 4305300"/>
                  <a:gd name="connsiteX156" fmla="*/ 4010025 w 8801100"/>
                  <a:gd name="connsiteY156" fmla="*/ 4055269 h 4305300"/>
                  <a:gd name="connsiteX157" fmla="*/ 4360068 w 8801100"/>
                  <a:gd name="connsiteY157" fmla="*/ 4229100 h 4305300"/>
                  <a:gd name="connsiteX158" fmla="*/ 4586288 w 8801100"/>
                  <a:gd name="connsiteY158" fmla="*/ 4200525 h 4305300"/>
                  <a:gd name="connsiteX159" fmla="*/ 4595813 w 8801100"/>
                  <a:gd name="connsiteY159" fmla="*/ 4279106 h 4305300"/>
                  <a:gd name="connsiteX160" fmla="*/ 4681538 w 8801100"/>
                  <a:gd name="connsiteY160" fmla="*/ 4274343 h 4305300"/>
                  <a:gd name="connsiteX161" fmla="*/ 4760119 w 8801100"/>
                  <a:gd name="connsiteY161" fmla="*/ 4305300 h 4305300"/>
                  <a:gd name="connsiteX162" fmla="*/ 4802981 w 8801100"/>
                  <a:gd name="connsiteY162" fmla="*/ 4245769 h 4305300"/>
                  <a:gd name="connsiteX163" fmla="*/ 5474494 w 8801100"/>
                  <a:gd name="connsiteY163" fmla="*/ 3926681 h 4305300"/>
                  <a:gd name="connsiteX164" fmla="*/ 5562600 w 8801100"/>
                  <a:gd name="connsiteY164" fmla="*/ 3955257 h 4305300"/>
                  <a:gd name="connsiteX165" fmla="*/ 5693569 w 8801100"/>
                  <a:gd name="connsiteY165" fmla="*/ 3926681 h 4305300"/>
                  <a:gd name="connsiteX166" fmla="*/ 5872162 w 8801100"/>
                  <a:gd name="connsiteY166" fmla="*/ 3943350 h 4305300"/>
                  <a:gd name="connsiteX167" fmla="*/ 5929313 w 8801100"/>
                  <a:gd name="connsiteY167" fmla="*/ 3917157 h 4305300"/>
                  <a:gd name="connsiteX168" fmla="*/ 6062662 w 8801100"/>
                  <a:gd name="connsiteY168" fmla="*/ 3914775 h 4305300"/>
                  <a:gd name="connsiteX169" fmla="*/ 6196012 w 8801100"/>
                  <a:gd name="connsiteY169" fmla="*/ 3817144 h 4305300"/>
                  <a:gd name="connsiteX170" fmla="*/ 6262687 w 8801100"/>
                  <a:gd name="connsiteY170" fmla="*/ 3810000 h 4305300"/>
                  <a:gd name="connsiteX171" fmla="*/ 6360319 w 8801100"/>
                  <a:gd name="connsiteY171" fmla="*/ 3736181 h 4305300"/>
                  <a:gd name="connsiteX172" fmla="*/ 6434138 w 8801100"/>
                  <a:gd name="connsiteY172" fmla="*/ 3667125 h 4305300"/>
                  <a:gd name="connsiteX173" fmla="*/ 6443663 w 8801100"/>
                  <a:gd name="connsiteY173" fmla="*/ 3605213 h 4305300"/>
                  <a:gd name="connsiteX174" fmla="*/ 6477000 w 8801100"/>
                  <a:gd name="connsiteY174" fmla="*/ 3536156 h 4305300"/>
                  <a:gd name="connsiteX175" fmla="*/ 6629400 w 8801100"/>
                  <a:gd name="connsiteY175" fmla="*/ 3429000 h 4305300"/>
                  <a:gd name="connsiteX176" fmla="*/ 6662738 w 8801100"/>
                  <a:gd name="connsiteY176" fmla="*/ 3433763 h 4305300"/>
                  <a:gd name="connsiteX177" fmla="*/ 6715125 w 8801100"/>
                  <a:gd name="connsiteY177" fmla="*/ 3355181 h 4305300"/>
                  <a:gd name="connsiteX178" fmla="*/ 6762750 w 8801100"/>
                  <a:gd name="connsiteY178" fmla="*/ 3317081 h 4305300"/>
                  <a:gd name="connsiteX179" fmla="*/ 6748463 w 8801100"/>
                  <a:gd name="connsiteY179" fmla="*/ 3248025 h 4305300"/>
                  <a:gd name="connsiteX180" fmla="*/ 6698456 w 8801100"/>
                  <a:gd name="connsiteY180" fmla="*/ 3217068 h 4305300"/>
                  <a:gd name="connsiteX181" fmla="*/ 6638925 w 8801100"/>
                  <a:gd name="connsiteY181" fmla="*/ 3162300 h 4305300"/>
                  <a:gd name="connsiteX182" fmla="*/ 6619875 w 8801100"/>
                  <a:gd name="connsiteY182" fmla="*/ 3105150 h 4305300"/>
                  <a:gd name="connsiteX183" fmla="*/ 6584156 w 8801100"/>
                  <a:gd name="connsiteY183" fmla="*/ 3071813 h 4305300"/>
                  <a:gd name="connsiteX184" fmla="*/ 6610350 w 8801100"/>
                  <a:gd name="connsiteY184" fmla="*/ 3019425 h 4305300"/>
                  <a:gd name="connsiteX185" fmla="*/ 6650831 w 8801100"/>
                  <a:gd name="connsiteY185" fmla="*/ 2840831 h 4305300"/>
                  <a:gd name="connsiteX186" fmla="*/ 6691313 w 8801100"/>
                  <a:gd name="connsiteY186" fmla="*/ 2774156 h 4305300"/>
                  <a:gd name="connsiteX187" fmla="*/ 6836569 w 8801100"/>
                  <a:gd name="connsiteY187" fmla="*/ 2757487 h 4305300"/>
                  <a:gd name="connsiteX188" fmla="*/ 6905625 w 8801100"/>
                  <a:gd name="connsiteY188" fmla="*/ 2814638 h 4305300"/>
                  <a:gd name="connsiteX189" fmla="*/ 6981825 w 8801100"/>
                  <a:gd name="connsiteY189" fmla="*/ 2838450 h 4305300"/>
                  <a:gd name="connsiteX190" fmla="*/ 7186612 w 8801100"/>
                  <a:gd name="connsiteY190" fmla="*/ 2843213 h 4305300"/>
                  <a:gd name="connsiteX191" fmla="*/ 7362825 w 8801100"/>
                  <a:gd name="connsiteY191" fmla="*/ 2705100 h 4305300"/>
                  <a:gd name="connsiteX192" fmla="*/ 7419975 w 8801100"/>
                  <a:gd name="connsiteY192" fmla="*/ 2614612 h 4305300"/>
                  <a:gd name="connsiteX193" fmla="*/ 7446169 w 8801100"/>
                  <a:gd name="connsiteY193" fmla="*/ 2531269 h 4305300"/>
                  <a:gd name="connsiteX194" fmla="*/ 7577137 w 8801100"/>
                  <a:gd name="connsiteY194" fmla="*/ 2531269 h 4305300"/>
                  <a:gd name="connsiteX195" fmla="*/ 7750969 w 8801100"/>
                  <a:gd name="connsiteY195" fmla="*/ 2474118 h 4305300"/>
                  <a:gd name="connsiteX196" fmla="*/ 7810500 w 8801100"/>
                  <a:gd name="connsiteY196" fmla="*/ 2362200 h 4305300"/>
                  <a:gd name="connsiteX197" fmla="*/ 7874794 w 8801100"/>
                  <a:gd name="connsiteY197" fmla="*/ 2326481 h 4305300"/>
                  <a:gd name="connsiteX198" fmla="*/ 7853363 w 8801100"/>
                  <a:gd name="connsiteY198" fmla="*/ 2281238 h 4305300"/>
                  <a:gd name="connsiteX199" fmla="*/ 7931944 w 8801100"/>
                  <a:gd name="connsiteY199" fmla="*/ 2112168 h 4305300"/>
                  <a:gd name="connsiteX200" fmla="*/ 7986713 w 8801100"/>
                  <a:gd name="connsiteY200" fmla="*/ 2052638 h 4305300"/>
                  <a:gd name="connsiteX201" fmla="*/ 8024813 w 8801100"/>
                  <a:gd name="connsiteY201" fmla="*/ 2047875 h 4305300"/>
                  <a:gd name="connsiteX202" fmla="*/ 8070056 w 8801100"/>
                  <a:gd name="connsiteY202" fmla="*/ 2052638 h 4305300"/>
                  <a:gd name="connsiteX203" fmla="*/ 8134350 w 8801100"/>
                  <a:gd name="connsiteY203" fmla="*/ 2019300 h 4305300"/>
                  <a:gd name="connsiteX204" fmla="*/ 8143875 w 8801100"/>
                  <a:gd name="connsiteY204" fmla="*/ 1955006 h 4305300"/>
                  <a:gd name="connsiteX205" fmla="*/ 8184355 w 8801100"/>
                  <a:gd name="connsiteY205" fmla="*/ 1919288 h 4305300"/>
                  <a:gd name="connsiteX206" fmla="*/ 8243888 w 8801100"/>
                  <a:gd name="connsiteY206" fmla="*/ 1959768 h 4305300"/>
                  <a:gd name="connsiteX207" fmla="*/ 8270082 w 8801100"/>
                  <a:gd name="connsiteY207" fmla="*/ 1909762 h 4305300"/>
                  <a:gd name="connsiteX208" fmla="*/ 8365331 w 8801100"/>
                  <a:gd name="connsiteY208" fmla="*/ 1840706 h 4305300"/>
                  <a:gd name="connsiteX209" fmla="*/ 8427244 w 8801100"/>
                  <a:gd name="connsiteY209" fmla="*/ 1847850 h 4305300"/>
                  <a:gd name="connsiteX210" fmla="*/ 8477250 w 8801100"/>
                  <a:gd name="connsiteY210" fmla="*/ 1828800 h 4305300"/>
                  <a:gd name="connsiteX211" fmla="*/ 8515350 w 8801100"/>
                  <a:gd name="connsiteY211" fmla="*/ 1800225 h 4305300"/>
                  <a:gd name="connsiteX212" fmla="*/ 8548688 w 8801100"/>
                  <a:gd name="connsiteY212" fmla="*/ 1797844 h 4305300"/>
                  <a:gd name="connsiteX213" fmla="*/ 8584406 w 8801100"/>
                  <a:gd name="connsiteY213" fmla="*/ 1828800 h 4305300"/>
                  <a:gd name="connsiteX214" fmla="*/ 8643938 w 8801100"/>
                  <a:gd name="connsiteY214" fmla="*/ 1828800 h 4305300"/>
                  <a:gd name="connsiteX215" fmla="*/ 8682037 w 8801100"/>
                  <a:gd name="connsiteY215" fmla="*/ 1809750 h 4305300"/>
                  <a:gd name="connsiteX216" fmla="*/ 8765381 w 8801100"/>
                  <a:gd name="connsiteY216" fmla="*/ 1812132 h 4305300"/>
                  <a:gd name="connsiteX217" fmla="*/ 8796338 w 8801100"/>
                  <a:gd name="connsiteY217" fmla="*/ 1766888 h 4305300"/>
                  <a:gd name="connsiteX218" fmla="*/ 8801100 w 8801100"/>
                  <a:gd name="connsiteY218" fmla="*/ 1704975 h 4305300"/>
                  <a:gd name="connsiteX219" fmla="*/ 8751093 w 8801100"/>
                  <a:gd name="connsiteY219" fmla="*/ 1664494 h 4305300"/>
                  <a:gd name="connsiteX220" fmla="*/ 8734425 w 8801100"/>
                  <a:gd name="connsiteY220" fmla="*/ 1609725 h 4305300"/>
                  <a:gd name="connsiteX221" fmla="*/ 8643938 w 8801100"/>
                  <a:gd name="connsiteY221" fmla="*/ 1547813 h 4305300"/>
                  <a:gd name="connsiteX222" fmla="*/ 8603456 w 8801100"/>
                  <a:gd name="connsiteY222" fmla="*/ 1526381 h 4305300"/>
                  <a:gd name="connsiteX223" fmla="*/ 8565356 w 8801100"/>
                  <a:gd name="connsiteY223" fmla="*/ 1481138 h 4305300"/>
                  <a:gd name="connsiteX224" fmla="*/ 8534400 w 8801100"/>
                  <a:gd name="connsiteY224" fmla="*/ 1478756 h 4305300"/>
                  <a:gd name="connsiteX225" fmla="*/ 8517731 w 8801100"/>
                  <a:gd name="connsiteY225" fmla="*/ 1426369 h 4305300"/>
                  <a:gd name="connsiteX226" fmla="*/ 8477250 w 8801100"/>
                  <a:gd name="connsiteY226" fmla="*/ 1409700 h 4305300"/>
                  <a:gd name="connsiteX227" fmla="*/ 8477250 w 8801100"/>
                  <a:gd name="connsiteY227" fmla="*/ 1409700 h 4305300"/>
                  <a:gd name="connsiteX228" fmla="*/ 8436769 w 8801100"/>
                  <a:gd name="connsiteY228" fmla="*/ 1414463 h 4305300"/>
                  <a:gd name="connsiteX229" fmla="*/ 8351043 w 8801100"/>
                  <a:gd name="connsiteY229" fmla="*/ 1340644 h 4305300"/>
                  <a:gd name="connsiteX230" fmla="*/ 8170069 w 8801100"/>
                  <a:gd name="connsiteY230" fmla="*/ 1340643 h 4305300"/>
                  <a:gd name="connsiteX231" fmla="*/ 8117681 w 8801100"/>
                  <a:gd name="connsiteY231" fmla="*/ 1378744 h 4305300"/>
                  <a:gd name="connsiteX232" fmla="*/ 8067675 w 8801100"/>
                  <a:gd name="connsiteY232" fmla="*/ 1457325 h 4305300"/>
                  <a:gd name="connsiteX233" fmla="*/ 8084344 w 8801100"/>
                  <a:gd name="connsiteY233" fmla="*/ 1478756 h 4305300"/>
                  <a:gd name="connsiteX234" fmla="*/ 8039100 w 8801100"/>
                  <a:gd name="connsiteY234" fmla="*/ 1528762 h 4305300"/>
                  <a:gd name="connsiteX235" fmla="*/ 7889081 w 8801100"/>
                  <a:gd name="connsiteY235" fmla="*/ 1452562 h 4305300"/>
                  <a:gd name="connsiteX236" fmla="*/ 7798594 w 8801100"/>
                  <a:gd name="connsiteY236" fmla="*/ 1488281 h 4305300"/>
                  <a:gd name="connsiteX237" fmla="*/ 7724775 w 8801100"/>
                  <a:gd name="connsiteY237" fmla="*/ 1485900 h 4305300"/>
                  <a:gd name="connsiteX238" fmla="*/ 7667625 w 8801100"/>
                  <a:gd name="connsiteY238" fmla="*/ 1581150 h 4305300"/>
                  <a:gd name="connsiteX239" fmla="*/ 7529513 w 8801100"/>
                  <a:gd name="connsiteY239" fmla="*/ 1483519 h 4305300"/>
                  <a:gd name="connsiteX0" fmla="*/ 7529513 w 8801100"/>
                  <a:gd name="connsiteY0" fmla="*/ 1483519 h 4305300"/>
                  <a:gd name="connsiteX1" fmla="*/ 7522369 w 8801100"/>
                  <a:gd name="connsiteY1" fmla="*/ 1428750 h 4305300"/>
                  <a:gd name="connsiteX2" fmla="*/ 7589044 w 8801100"/>
                  <a:gd name="connsiteY2" fmla="*/ 1354931 h 4305300"/>
                  <a:gd name="connsiteX3" fmla="*/ 7572375 w 8801100"/>
                  <a:gd name="connsiteY3" fmla="*/ 1283494 h 4305300"/>
                  <a:gd name="connsiteX4" fmla="*/ 7586663 w 8801100"/>
                  <a:gd name="connsiteY4" fmla="*/ 1188244 h 4305300"/>
                  <a:gd name="connsiteX5" fmla="*/ 7624763 w 8801100"/>
                  <a:gd name="connsiteY5" fmla="*/ 1131094 h 4305300"/>
                  <a:gd name="connsiteX6" fmla="*/ 7605712 w 8801100"/>
                  <a:gd name="connsiteY6" fmla="*/ 1097756 h 4305300"/>
                  <a:gd name="connsiteX7" fmla="*/ 7703343 w 8801100"/>
                  <a:gd name="connsiteY7" fmla="*/ 697706 h 4305300"/>
                  <a:gd name="connsiteX8" fmla="*/ 7696200 w 8801100"/>
                  <a:gd name="connsiteY8" fmla="*/ 669131 h 4305300"/>
                  <a:gd name="connsiteX9" fmla="*/ 7567613 w 8801100"/>
                  <a:gd name="connsiteY9" fmla="*/ 647700 h 4305300"/>
                  <a:gd name="connsiteX10" fmla="*/ 7384257 w 8801100"/>
                  <a:gd name="connsiteY10" fmla="*/ 726281 h 4305300"/>
                  <a:gd name="connsiteX11" fmla="*/ 7227093 w 8801100"/>
                  <a:gd name="connsiteY11" fmla="*/ 611981 h 4305300"/>
                  <a:gd name="connsiteX12" fmla="*/ 7150894 w 8801100"/>
                  <a:gd name="connsiteY12" fmla="*/ 619125 h 4305300"/>
                  <a:gd name="connsiteX13" fmla="*/ 7077075 w 8801100"/>
                  <a:gd name="connsiteY13" fmla="*/ 614363 h 4305300"/>
                  <a:gd name="connsiteX14" fmla="*/ 6938963 w 8801100"/>
                  <a:gd name="connsiteY14" fmla="*/ 719138 h 4305300"/>
                  <a:gd name="connsiteX15" fmla="*/ 6831806 w 8801100"/>
                  <a:gd name="connsiteY15" fmla="*/ 826294 h 4305300"/>
                  <a:gd name="connsiteX16" fmla="*/ 6788944 w 8801100"/>
                  <a:gd name="connsiteY16" fmla="*/ 895350 h 4305300"/>
                  <a:gd name="connsiteX17" fmla="*/ 6796088 w 8801100"/>
                  <a:gd name="connsiteY17" fmla="*/ 931069 h 4305300"/>
                  <a:gd name="connsiteX18" fmla="*/ 6734175 w 8801100"/>
                  <a:gd name="connsiteY18" fmla="*/ 942975 h 4305300"/>
                  <a:gd name="connsiteX19" fmla="*/ 6753225 w 8801100"/>
                  <a:gd name="connsiteY19" fmla="*/ 942975 h 4305300"/>
                  <a:gd name="connsiteX20" fmla="*/ 6719888 w 8801100"/>
                  <a:gd name="connsiteY20" fmla="*/ 973931 h 4305300"/>
                  <a:gd name="connsiteX21" fmla="*/ 6619875 w 8801100"/>
                  <a:gd name="connsiteY21" fmla="*/ 973932 h 4305300"/>
                  <a:gd name="connsiteX22" fmla="*/ 6524625 w 8801100"/>
                  <a:gd name="connsiteY22" fmla="*/ 1028700 h 4305300"/>
                  <a:gd name="connsiteX23" fmla="*/ 6443663 w 8801100"/>
                  <a:gd name="connsiteY23" fmla="*/ 1038225 h 4305300"/>
                  <a:gd name="connsiteX24" fmla="*/ 6403181 w 8801100"/>
                  <a:gd name="connsiteY24" fmla="*/ 1071563 h 4305300"/>
                  <a:gd name="connsiteX25" fmla="*/ 6353175 w 8801100"/>
                  <a:gd name="connsiteY25" fmla="*/ 1076325 h 4305300"/>
                  <a:gd name="connsiteX26" fmla="*/ 6231732 w 8801100"/>
                  <a:gd name="connsiteY26" fmla="*/ 1169194 h 4305300"/>
                  <a:gd name="connsiteX27" fmla="*/ 6172200 w 8801100"/>
                  <a:gd name="connsiteY27" fmla="*/ 1173956 h 4305300"/>
                  <a:gd name="connsiteX28" fmla="*/ 6119813 w 8801100"/>
                  <a:gd name="connsiteY28" fmla="*/ 1138238 h 4305300"/>
                  <a:gd name="connsiteX29" fmla="*/ 6093619 w 8801100"/>
                  <a:gd name="connsiteY29" fmla="*/ 1173956 h 4305300"/>
                  <a:gd name="connsiteX30" fmla="*/ 5895975 w 8801100"/>
                  <a:gd name="connsiteY30" fmla="*/ 1166813 h 4305300"/>
                  <a:gd name="connsiteX31" fmla="*/ 5834063 w 8801100"/>
                  <a:gd name="connsiteY31" fmla="*/ 1121569 h 4305300"/>
                  <a:gd name="connsiteX32" fmla="*/ 5636419 w 8801100"/>
                  <a:gd name="connsiteY32" fmla="*/ 1138238 h 4305300"/>
                  <a:gd name="connsiteX33" fmla="*/ 5548313 w 8801100"/>
                  <a:gd name="connsiteY33" fmla="*/ 1054893 h 4305300"/>
                  <a:gd name="connsiteX34" fmla="*/ 5472113 w 8801100"/>
                  <a:gd name="connsiteY34" fmla="*/ 1009650 h 4305300"/>
                  <a:gd name="connsiteX35" fmla="*/ 5474493 w 8801100"/>
                  <a:gd name="connsiteY35" fmla="*/ 952500 h 4305300"/>
                  <a:gd name="connsiteX36" fmla="*/ 5455444 w 8801100"/>
                  <a:gd name="connsiteY36" fmla="*/ 909637 h 4305300"/>
                  <a:gd name="connsiteX37" fmla="*/ 5360194 w 8801100"/>
                  <a:gd name="connsiteY37" fmla="*/ 912019 h 4305300"/>
                  <a:gd name="connsiteX38" fmla="*/ 5264944 w 8801100"/>
                  <a:gd name="connsiteY38" fmla="*/ 890588 h 4305300"/>
                  <a:gd name="connsiteX39" fmla="*/ 5195887 w 8801100"/>
                  <a:gd name="connsiteY39" fmla="*/ 823912 h 4305300"/>
                  <a:gd name="connsiteX40" fmla="*/ 5160169 w 8801100"/>
                  <a:gd name="connsiteY40" fmla="*/ 781050 h 4305300"/>
                  <a:gd name="connsiteX41" fmla="*/ 5079206 w 8801100"/>
                  <a:gd name="connsiteY41" fmla="*/ 757237 h 4305300"/>
                  <a:gd name="connsiteX42" fmla="*/ 5005388 w 8801100"/>
                  <a:gd name="connsiteY42" fmla="*/ 769143 h 4305300"/>
                  <a:gd name="connsiteX43" fmla="*/ 4948237 w 8801100"/>
                  <a:gd name="connsiteY43" fmla="*/ 716756 h 4305300"/>
                  <a:gd name="connsiteX44" fmla="*/ 4852988 w 8801100"/>
                  <a:gd name="connsiteY44" fmla="*/ 728663 h 4305300"/>
                  <a:gd name="connsiteX45" fmla="*/ 4800600 w 8801100"/>
                  <a:gd name="connsiteY45" fmla="*/ 702469 h 4305300"/>
                  <a:gd name="connsiteX46" fmla="*/ 4719638 w 8801100"/>
                  <a:gd name="connsiteY46" fmla="*/ 745331 h 4305300"/>
                  <a:gd name="connsiteX47" fmla="*/ 4581525 w 8801100"/>
                  <a:gd name="connsiteY47" fmla="*/ 769144 h 4305300"/>
                  <a:gd name="connsiteX48" fmla="*/ 4452938 w 8801100"/>
                  <a:gd name="connsiteY48" fmla="*/ 862013 h 4305300"/>
                  <a:gd name="connsiteX49" fmla="*/ 4405312 w 8801100"/>
                  <a:gd name="connsiteY49" fmla="*/ 823913 h 4305300"/>
                  <a:gd name="connsiteX50" fmla="*/ 4383881 w 8801100"/>
                  <a:gd name="connsiteY50" fmla="*/ 854868 h 4305300"/>
                  <a:gd name="connsiteX51" fmla="*/ 4310063 w 8801100"/>
                  <a:gd name="connsiteY51" fmla="*/ 804863 h 4305300"/>
                  <a:gd name="connsiteX52" fmla="*/ 4271963 w 8801100"/>
                  <a:gd name="connsiteY52" fmla="*/ 812006 h 4305300"/>
                  <a:gd name="connsiteX53" fmla="*/ 4250531 w 8801100"/>
                  <a:gd name="connsiteY53" fmla="*/ 773906 h 4305300"/>
                  <a:gd name="connsiteX54" fmla="*/ 4191000 w 8801100"/>
                  <a:gd name="connsiteY54" fmla="*/ 778669 h 4305300"/>
                  <a:gd name="connsiteX55" fmla="*/ 4145756 w 8801100"/>
                  <a:gd name="connsiteY55" fmla="*/ 750094 h 4305300"/>
                  <a:gd name="connsiteX56" fmla="*/ 4107656 w 8801100"/>
                  <a:gd name="connsiteY56" fmla="*/ 747713 h 4305300"/>
                  <a:gd name="connsiteX57" fmla="*/ 4088606 w 8801100"/>
                  <a:gd name="connsiteY57" fmla="*/ 700087 h 4305300"/>
                  <a:gd name="connsiteX58" fmla="*/ 4074319 w 8801100"/>
                  <a:gd name="connsiteY58" fmla="*/ 669131 h 4305300"/>
                  <a:gd name="connsiteX59" fmla="*/ 4029075 w 8801100"/>
                  <a:gd name="connsiteY59" fmla="*/ 678656 h 4305300"/>
                  <a:gd name="connsiteX60" fmla="*/ 4010025 w 8801100"/>
                  <a:gd name="connsiteY60" fmla="*/ 642938 h 4305300"/>
                  <a:gd name="connsiteX61" fmla="*/ 4031457 w 8801100"/>
                  <a:gd name="connsiteY61" fmla="*/ 588169 h 4305300"/>
                  <a:gd name="connsiteX62" fmla="*/ 4000500 w 8801100"/>
                  <a:gd name="connsiteY62" fmla="*/ 561975 h 4305300"/>
                  <a:gd name="connsiteX63" fmla="*/ 4017169 w 8801100"/>
                  <a:gd name="connsiteY63" fmla="*/ 519113 h 4305300"/>
                  <a:gd name="connsiteX64" fmla="*/ 3990975 w 8801100"/>
                  <a:gd name="connsiteY64" fmla="*/ 476250 h 4305300"/>
                  <a:gd name="connsiteX65" fmla="*/ 3986213 w 8801100"/>
                  <a:gd name="connsiteY65" fmla="*/ 414338 h 4305300"/>
                  <a:gd name="connsiteX66" fmla="*/ 4010025 w 8801100"/>
                  <a:gd name="connsiteY66" fmla="*/ 350043 h 4305300"/>
                  <a:gd name="connsiteX67" fmla="*/ 3971925 w 8801100"/>
                  <a:gd name="connsiteY67" fmla="*/ 352425 h 4305300"/>
                  <a:gd name="connsiteX68" fmla="*/ 3852863 w 8801100"/>
                  <a:gd name="connsiteY68" fmla="*/ 295275 h 4305300"/>
                  <a:gd name="connsiteX69" fmla="*/ 3814762 w 8801100"/>
                  <a:gd name="connsiteY69" fmla="*/ 300037 h 4305300"/>
                  <a:gd name="connsiteX70" fmla="*/ 3609975 w 8801100"/>
                  <a:gd name="connsiteY70" fmla="*/ 190500 h 4305300"/>
                  <a:gd name="connsiteX71" fmla="*/ 3505200 w 8801100"/>
                  <a:gd name="connsiteY71" fmla="*/ 159544 h 4305300"/>
                  <a:gd name="connsiteX72" fmla="*/ 3440906 w 8801100"/>
                  <a:gd name="connsiteY72" fmla="*/ 169068 h 4305300"/>
                  <a:gd name="connsiteX73" fmla="*/ 3409950 w 8801100"/>
                  <a:gd name="connsiteY73" fmla="*/ 104775 h 4305300"/>
                  <a:gd name="connsiteX74" fmla="*/ 3352800 w 8801100"/>
                  <a:gd name="connsiteY74" fmla="*/ 104775 h 4305300"/>
                  <a:gd name="connsiteX75" fmla="*/ 3214687 w 8801100"/>
                  <a:gd name="connsiteY75" fmla="*/ 0 h 4305300"/>
                  <a:gd name="connsiteX76" fmla="*/ 3181350 w 8801100"/>
                  <a:gd name="connsiteY76" fmla="*/ 59532 h 4305300"/>
                  <a:gd name="connsiteX77" fmla="*/ 3126581 w 8801100"/>
                  <a:gd name="connsiteY77" fmla="*/ 128588 h 4305300"/>
                  <a:gd name="connsiteX78" fmla="*/ 3083719 w 8801100"/>
                  <a:gd name="connsiteY78" fmla="*/ 145256 h 4305300"/>
                  <a:gd name="connsiteX79" fmla="*/ 3052763 w 8801100"/>
                  <a:gd name="connsiteY79" fmla="*/ 138113 h 4305300"/>
                  <a:gd name="connsiteX80" fmla="*/ 3028950 w 8801100"/>
                  <a:gd name="connsiteY80" fmla="*/ 166688 h 4305300"/>
                  <a:gd name="connsiteX81" fmla="*/ 3002756 w 8801100"/>
                  <a:gd name="connsiteY81" fmla="*/ 245269 h 4305300"/>
                  <a:gd name="connsiteX82" fmla="*/ 2959894 w 8801100"/>
                  <a:gd name="connsiteY82" fmla="*/ 242888 h 4305300"/>
                  <a:gd name="connsiteX83" fmla="*/ 2928937 w 8801100"/>
                  <a:gd name="connsiteY83" fmla="*/ 304800 h 4305300"/>
                  <a:gd name="connsiteX84" fmla="*/ 2924175 w 8801100"/>
                  <a:gd name="connsiteY84" fmla="*/ 369094 h 4305300"/>
                  <a:gd name="connsiteX85" fmla="*/ 2897982 w 8801100"/>
                  <a:gd name="connsiteY85" fmla="*/ 407194 h 4305300"/>
                  <a:gd name="connsiteX86" fmla="*/ 2924175 w 8801100"/>
                  <a:gd name="connsiteY86" fmla="*/ 466725 h 4305300"/>
                  <a:gd name="connsiteX87" fmla="*/ 2926556 w 8801100"/>
                  <a:gd name="connsiteY87" fmla="*/ 535781 h 4305300"/>
                  <a:gd name="connsiteX88" fmla="*/ 2955131 w 8801100"/>
                  <a:gd name="connsiteY88" fmla="*/ 588169 h 4305300"/>
                  <a:gd name="connsiteX89" fmla="*/ 3002757 w 8801100"/>
                  <a:gd name="connsiteY89" fmla="*/ 642938 h 4305300"/>
                  <a:gd name="connsiteX90" fmla="*/ 2381 w 8801100"/>
                  <a:gd name="connsiteY90" fmla="*/ 1490661 h 4305300"/>
                  <a:gd name="connsiteX91" fmla="*/ 0 w 8801100"/>
                  <a:gd name="connsiteY91" fmla="*/ 709613 h 4305300"/>
                  <a:gd name="connsiteX92" fmla="*/ 76200 w 8801100"/>
                  <a:gd name="connsiteY92" fmla="*/ 692944 h 4305300"/>
                  <a:gd name="connsiteX93" fmla="*/ 119063 w 8801100"/>
                  <a:gd name="connsiteY93" fmla="*/ 721519 h 4305300"/>
                  <a:gd name="connsiteX94" fmla="*/ 215900 w 8801100"/>
                  <a:gd name="connsiteY94" fmla="*/ 712788 h 4305300"/>
                  <a:gd name="connsiteX95" fmla="*/ 261938 w 8801100"/>
                  <a:gd name="connsiteY95" fmla="*/ 740568 h 4305300"/>
                  <a:gd name="connsiteX96" fmla="*/ 228600 w 8801100"/>
                  <a:gd name="connsiteY96" fmla="*/ 769144 h 4305300"/>
                  <a:gd name="connsiteX97" fmla="*/ 233363 w 8801100"/>
                  <a:gd name="connsiteY97" fmla="*/ 812006 h 4305300"/>
                  <a:gd name="connsiteX98" fmla="*/ 200025 w 8801100"/>
                  <a:gd name="connsiteY98" fmla="*/ 816769 h 4305300"/>
                  <a:gd name="connsiteX99" fmla="*/ 204788 w 8801100"/>
                  <a:gd name="connsiteY99" fmla="*/ 840581 h 4305300"/>
                  <a:gd name="connsiteX100" fmla="*/ 261937 w 8801100"/>
                  <a:gd name="connsiteY100" fmla="*/ 914400 h 4305300"/>
                  <a:gd name="connsiteX101" fmla="*/ 223838 w 8801100"/>
                  <a:gd name="connsiteY101" fmla="*/ 962025 h 4305300"/>
                  <a:gd name="connsiteX102" fmla="*/ 278606 w 8801100"/>
                  <a:gd name="connsiteY102" fmla="*/ 997744 h 4305300"/>
                  <a:gd name="connsiteX103" fmla="*/ 369094 w 8801100"/>
                  <a:gd name="connsiteY103" fmla="*/ 1085850 h 4305300"/>
                  <a:gd name="connsiteX104" fmla="*/ 371475 w 8801100"/>
                  <a:gd name="connsiteY104" fmla="*/ 1145381 h 4305300"/>
                  <a:gd name="connsiteX105" fmla="*/ 507206 w 8801100"/>
                  <a:gd name="connsiteY105" fmla="*/ 1278732 h 4305300"/>
                  <a:gd name="connsiteX106" fmla="*/ 561975 w 8801100"/>
                  <a:gd name="connsiteY106" fmla="*/ 1254919 h 4305300"/>
                  <a:gd name="connsiteX107" fmla="*/ 600075 w 8801100"/>
                  <a:gd name="connsiteY107" fmla="*/ 1281112 h 4305300"/>
                  <a:gd name="connsiteX108" fmla="*/ 614363 w 8801100"/>
                  <a:gd name="connsiteY108" fmla="*/ 1331118 h 4305300"/>
                  <a:gd name="connsiteX109" fmla="*/ 657225 w 8801100"/>
                  <a:gd name="connsiteY109" fmla="*/ 1366838 h 4305300"/>
                  <a:gd name="connsiteX110" fmla="*/ 697706 w 8801100"/>
                  <a:gd name="connsiteY110" fmla="*/ 1354931 h 4305300"/>
                  <a:gd name="connsiteX111" fmla="*/ 716756 w 8801100"/>
                  <a:gd name="connsiteY111" fmla="*/ 1412081 h 4305300"/>
                  <a:gd name="connsiteX112" fmla="*/ 764381 w 8801100"/>
                  <a:gd name="connsiteY112" fmla="*/ 1454944 h 4305300"/>
                  <a:gd name="connsiteX113" fmla="*/ 788194 w 8801100"/>
                  <a:gd name="connsiteY113" fmla="*/ 1557338 h 4305300"/>
                  <a:gd name="connsiteX114" fmla="*/ 785813 w 8801100"/>
                  <a:gd name="connsiteY114" fmla="*/ 1604963 h 4305300"/>
                  <a:gd name="connsiteX115" fmla="*/ 821531 w 8801100"/>
                  <a:gd name="connsiteY115" fmla="*/ 1704975 h 4305300"/>
                  <a:gd name="connsiteX116" fmla="*/ 866775 w 8801100"/>
                  <a:gd name="connsiteY116" fmla="*/ 1762125 h 4305300"/>
                  <a:gd name="connsiteX117" fmla="*/ 883443 w 8801100"/>
                  <a:gd name="connsiteY117" fmla="*/ 1919287 h 4305300"/>
                  <a:gd name="connsiteX118" fmla="*/ 850106 w 8801100"/>
                  <a:gd name="connsiteY118" fmla="*/ 1981200 h 4305300"/>
                  <a:gd name="connsiteX119" fmla="*/ 819150 w 8801100"/>
                  <a:gd name="connsiteY119" fmla="*/ 2057400 h 4305300"/>
                  <a:gd name="connsiteX120" fmla="*/ 833438 w 8801100"/>
                  <a:gd name="connsiteY120" fmla="*/ 2114550 h 4305300"/>
                  <a:gd name="connsiteX121" fmla="*/ 735806 w 8801100"/>
                  <a:gd name="connsiteY121" fmla="*/ 2221707 h 4305300"/>
                  <a:gd name="connsiteX122" fmla="*/ 692944 w 8801100"/>
                  <a:gd name="connsiteY122" fmla="*/ 2336006 h 4305300"/>
                  <a:gd name="connsiteX123" fmla="*/ 726281 w 8801100"/>
                  <a:gd name="connsiteY123" fmla="*/ 2376488 h 4305300"/>
                  <a:gd name="connsiteX124" fmla="*/ 709613 w 8801100"/>
                  <a:gd name="connsiteY124" fmla="*/ 2405063 h 4305300"/>
                  <a:gd name="connsiteX125" fmla="*/ 740569 w 8801100"/>
                  <a:gd name="connsiteY125" fmla="*/ 2462213 h 4305300"/>
                  <a:gd name="connsiteX126" fmla="*/ 769144 w 8801100"/>
                  <a:gd name="connsiteY126" fmla="*/ 2462213 h 4305300"/>
                  <a:gd name="connsiteX127" fmla="*/ 931069 w 8801100"/>
                  <a:gd name="connsiteY127" fmla="*/ 2564606 h 4305300"/>
                  <a:gd name="connsiteX128" fmla="*/ 1035844 w 8801100"/>
                  <a:gd name="connsiteY128" fmla="*/ 2562225 h 4305300"/>
                  <a:gd name="connsiteX129" fmla="*/ 1114425 w 8801100"/>
                  <a:gd name="connsiteY129" fmla="*/ 2616994 h 4305300"/>
                  <a:gd name="connsiteX130" fmla="*/ 1245393 w 8801100"/>
                  <a:gd name="connsiteY130" fmla="*/ 2619375 h 4305300"/>
                  <a:gd name="connsiteX131" fmla="*/ 1435893 w 8801100"/>
                  <a:gd name="connsiteY131" fmla="*/ 2688431 h 4305300"/>
                  <a:gd name="connsiteX132" fmla="*/ 1638300 w 8801100"/>
                  <a:gd name="connsiteY132" fmla="*/ 2838450 h 4305300"/>
                  <a:gd name="connsiteX133" fmla="*/ 1671637 w 8801100"/>
                  <a:gd name="connsiteY133" fmla="*/ 2905125 h 4305300"/>
                  <a:gd name="connsiteX134" fmla="*/ 1838325 w 8801100"/>
                  <a:gd name="connsiteY134" fmla="*/ 3031331 h 4305300"/>
                  <a:gd name="connsiteX135" fmla="*/ 1909763 w 8801100"/>
                  <a:gd name="connsiteY135" fmla="*/ 3026569 h 4305300"/>
                  <a:gd name="connsiteX136" fmla="*/ 1945482 w 8801100"/>
                  <a:gd name="connsiteY136" fmla="*/ 3050381 h 4305300"/>
                  <a:gd name="connsiteX137" fmla="*/ 1916906 w 8801100"/>
                  <a:gd name="connsiteY137" fmla="*/ 3090863 h 4305300"/>
                  <a:gd name="connsiteX138" fmla="*/ 1924050 w 8801100"/>
                  <a:gd name="connsiteY138" fmla="*/ 3143250 h 4305300"/>
                  <a:gd name="connsiteX139" fmla="*/ 1976438 w 8801100"/>
                  <a:gd name="connsiteY139" fmla="*/ 3169444 h 4305300"/>
                  <a:gd name="connsiteX140" fmla="*/ 2038350 w 8801100"/>
                  <a:gd name="connsiteY140" fmla="*/ 3393282 h 4305300"/>
                  <a:gd name="connsiteX141" fmla="*/ 2028825 w 8801100"/>
                  <a:gd name="connsiteY141" fmla="*/ 3457575 h 4305300"/>
                  <a:gd name="connsiteX142" fmla="*/ 2164556 w 8801100"/>
                  <a:gd name="connsiteY142" fmla="*/ 3624263 h 4305300"/>
                  <a:gd name="connsiteX143" fmla="*/ 2183606 w 8801100"/>
                  <a:gd name="connsiteY143" fmla="*/ 3674269 h 4305300"/>
                  <a:gd name="connsiteX144" fmla="*/ 2157413 w 8801100"/>
                  <a:gd name="connsiteY144" fmla="*/ 3693319 h 4305300"/>
                  <a:gd name="connsiteX145" fmla="*/ 2259806 w 8801100"/>
                  <a:gd name="connsiteY145" fmla="*/ 3702844 h 4305300"/>
                  <a:gd name="connsiteX146" fmla="*/ 2371725 w 8801100"/>
                  <a:gd name="connsiteY146" fmla="*/ 3690938 h 4305300"/>
                  <a:gd name="connsiteX147" fmla="*/ 2650331 w 8801100"/>
                  <a:gd name="connsiteY147" fmla="*/ 3774281 h 4305300"/>
                  <a:gd name="connsiteX148" fmla="*/ 3057525 w 8801100"/>
                  <a:gd name="connsiteY148" fmla="*/ 3855244 h 4305300"/>
                  <a:gd name="connsiteX149" fmla="*/ 3255169 w 8801100"/>
                  <a:gd name="connsiteY149" fmla="*/ 3824287 h 4305300"/>
                  <a:gd name="connsiteX150" fmla="*/ 3300413 w 8801100"/>
                  <a:gd name="connsiteY150" fmla="*/ 3836193 h 4305300"/>
                  <a:gd name="connsiteX151" fmla="*/ 3355181 w 8801100"/>
                  <a:gd name="connsiteY151" fmla="*/ 3812382 h 4305300"/>
                  <a:gd name="connsiteX152" fmla="*/ 3748087 w 8801100"/>
                  <a:gd name="connsiteY152" fmla="*/ 3902869 h 4305300"/>
                  <a:gd name="connsiteX153" fmla="*/ 3831432 w 8801100"/>
                  <a:gd name="connsiteY153" fmla="*/ 4000500 h 4305300"/>
                  <a:gd name="connsiteX154" fmla="*/ 3950494 w 8801100"/>
                  <a:gd name="connsiteY154" fmla="*/ 4071938 h 4305300"/>
                  <a:gd name="connsiteX155" fmla="*/ 4010025 w 8801100"/>
                  <a:gd name="connsiteY155" fmla="*/ 4055269 h 4305300"/>
                  <a:gd name="connsiteX156" fmla="*/ 4360068 w 8801100"/>
                  <a:gd name="connsiteY156" fmla="*/ 4229100 h 4305300"/>
                  <a:gd name="connsiteX157" fmla="*/ 4586288 w 8801100"/>
                  <a:gd name="connsiteY157" fmla="*/ 4200525 h 4305300"/>
                  <a:gd name="connsiteX158" fmla="*/ 4595813 w 8801100"/>
                  <a:gd name="connsiteY158" fmla="*/ 4279106 h 4305300"/>
                  <a:gd name="connsiteX159" fmla="*/ 4681538 w 8801100"/>
                  <a:gd name="connsiteY159" fmla="*/ 4274343 h 4305300"/>
                  <a:gd name="connsiteX160" fmla="*/ 4760119 w 8801100"/>
                  <a:gd name="connsiteY160" fmla="*/ 4305300 h 4305300"/>
                  <a:gd name="connsiteX161" fmla="*/ 4802981 w 8801100"/>
                  <a:gd name="connsiteY161" fmla="*/ 4245769 h 4305300"/>
                  <a:gd name="connsiteX162" fmla="*/ 5474494 w 8801100"/>
                  <a:gd name="connsiteY162" fmla="*/ 3926681 h 4305300"/>
                  <a:gd name="connsiteX163" fmla="*/ 5562600 w 8801100"/>
                  <a:gd name="connsiteY163" fmla="*/ 3955257 h 4305300"/>
                  <a:gd name="connsiteX164" fmla="*/ 5693569 w 8801100"/>
                  <a:gd name="connsiteY164" fmla="*/ 3926681 h 4305300"/>
                  <a:gd name="connsiteX165" fmla="*/ 5872162 w 8801100"/>
                  <a:gd name="connsiteY165" fmla="*/ 3943350 h 4305300"/>
                  <a:gd name="connsiteX166" fmla="*/ 5929313 w 8801100"/>
                  <a:gd name="connsiteY166" fmla="*/ 3917157 h 4305300"/>
                  <a:gd name="connsiteX167" fmla="*/ 6062662 w 8801100"/>
                  <a:gd name="connsiteY167" fmla="*/ 3914775 h 4305300"/>
                  <a:gd name="connsiteX168" fmla="*/ 6196012 w 8801100"/>
                  <a:gd name="connsiteY168" fmla="*/ 3817144 h 4305300"/>
                  <a:gd name="connsiteX169" fmla="*/ 6262687 w 8801100"/>
                  <a:gd name="connsiteY169" fmla="*/ 3810000 h 4305300"/>
                  <a:gd name="connsiteX170" fmla="*/ 6360319 w 8801100"/>
                  <a:gd name="connsiteY170" fmla="*/ 3736181 h 4305300"/>
                  <a:gd name="connsiteX171" fmla="*/ 6434138 w 8801100"/>
                  <a:gd name="connsiteY171" fmla="*/ 3667125 h 4305300"/>
                  <a:gd name="connsiteX172" fmla="*/ 6443663 w 8801100"/>
                  <a:gd name="connsiteY172" fmla="*/ 3605213 h 4305300"/>
                  <a:gd name="connsiteX173" fmla="*/ 6477000 w 8801100"/>
                  <a:gd name="connsiteY173" fmla="*/ 3536156 h 4305300"/>
                  <a:gd name="connsiteX174" fmla="*/ 6629400 w 8801100"/>
                  <a:gd name="connsiteY174" fmla="*/ 3429000 h 4305300"/>
                  <a:gd name="connsiteX175" fmla="*/ 6662738 w 8801100"/>
                  <a:gd name="connsiteY175" fmla="*/ 3433763 h 4305300"/>
                  <a:gd name="connsiteX176" fmla="*/ 6715125 w 8801100"/>
                  <a:gd name="connsiteY176" fmla="*/ 3355181 h 4305300"/>
                  <a:gd name="connsiteX177" fmla="*/ 6762750 w 8801100"/>
                  <a:gd name="connsiteY177" fmla="*/ 3317081 h 4305300"/>
                  <a:gd name="connsiteX178" fmla="*/ 6748463 w 8801100"/>
                  <a:gd name="connsiteY178" fmla="*/ 3248025 h 4305300"/>
                  <a:gd name="connsiteX179" fmla="*/ 6698456 w 8801100"/>
                  <a:gd name="connsiteY179" fmla="*/ 3217068 h 4305300"/>
                  <a:gd name="connsiteX180" fmla="*/ 6638925 w 8801100"/>
                  <a:gd name="connsiteY180" fmla="*/ 3162300 h 4305300"/>
                  <a:gd name="connsiteX181" fmla="*/ 6619875 w 8801100"/>
                  <a:gd name="connsiteY181" fmla="*/ 3105150 h 4305300"/>
                  <a:gd name="connsiteX182" fmla="*/ 6584156 w 8801100"/>
                  <a:gd name="connsiteY182" fmla="*/ 3071813 h 4305300"/>
                  <a:gd name="connsiteX183" fmla="*/ 6610350 w 8801100"/>
                  <a:gd name="connsiteY183" fmla="*/ 3019425 h 4305300"/>
                  <a:gd name="connsiteX184" fmla="*/ 6650831 w 8801100"/>
                  <a:gd name="connsiteY184" fmla="*/ 2840831 h 4305300"/>
                  <a:gd name="connsiteX185" fmla="*/ 6691313 w 8801100"/>
                  <a:gd name="connsiteY185" fmla="*/ 2774156 h 4305300"/>
                  <a:gd name="connsiteX186" fmla="*/ 6836569 w 8801100"/>
                  <a:gd name="connsiteY186" fmla="*/ 2757487 h 4305300"/>
                  <a:gd name="connsiteX187" fmla="*/ 6905625 w 8801100"/>
                  <a:gd name="connsiteY187" fmla="*/ 2814638 h 4305300"/>
                  <a:gd name="connsiteX188" fmla="*/ 6981825 w 8801100"/>
                  <a:gd name="connsiteY188" fmla="*/ 2838450 h 4305300"/>
                  <a:gd name="connsiteX189" fmla="*/ 7186612 w 8801100"/>
                  <a:gd name="connsiteY189" fmla="*/ 2843213 h 4305300"/>
                  <a:gd name="connsiteX190" fmla="*/ 7362825 w 8801100"/>
                  <a:gd name="connsiteY190" fmla="*/ 2705100 h 4305300"/>
                  <a:gd name="connsiteX191" fmla="*/ 7419975 w 8801100"/>
                  <a:gd name="connsiteY191" fmla="*/ 2614612 h 4305300"/>
                  <a:gd name="connsiteX192" fmla="*/ 7446169 w 8801100"/>
                  <a:gd name="connsiteY192" fmla="*/ 2531269 h 4305300"/>
                  <a:gd name="connsiteX193" fmla="*/ 7577137 w 8801100"/>
                  <a:gd name="connsiteY193" fmla="*/ 2531269 h 4305300"/>
                  <a:gd name="connsiteX194" fmla="*/ 7750969 w 8801100"/>
                  <a:gd name="connsiteY194" fmla="*/ 2474118 h 4305300"/>
                  <a:gd name="connsiteX195" fmla="*/ 7810500 w 8801100"/>
                  <a:gd name="connsiteY195" fmla="*/ 2362200 h 4305300"/>
                  <a:gd name="connsiteX196" fmla="*/ 7874794 w 8801100"/>
                  <a:gd name="connsiteY196" fmla="*/ 2326481 h 4305300"/>
                  <a:gd name="connsiteX197" fmla="*/ 7853363 w 8801100"/>
                  <a:gd name="connsiteY197" fmla="*/ 2281238 h 4305300"/>
                  <a:gd name="connsiteX198" fmla="*/ 7931944 w 8801100"/>
                  <a:gd name="connsiteY198" fmla="*/ 2112168 h 4305300"/>
                  <a:gd name="connsiteX199" fmla="*/ 7986713 w 8801100"/>
                  <a:gd name="connsiteY199" fmla="*/ 2052638 h 4305300"/>
                  <a:gd name="connsiteX200" fmla="*/ 8024813 w 8801100"/>
                  <a:gd name="connsiteY200" fmla="*/ 2047875 h 4305300"/>
                  <a:gd name="connsiteX201" fmla="*/ 8070056 w 8801100"/>
                  <a:gd name="connsiteY201" fmla="*/ 2052638 h 4305300"/>
                  <a:gd name="connsiteX202" fmla="*/ 8134350 w 8801100"/>
                  <a:gd name="connsiteY202" fmla="*/ 2019300 h 4305300"/>
                  <a:gd name="connsiteX203" fmla="*/ 8143875 w 8801100"/>
                  <a:gd name="connsiteY203" fmla="*/ 1955006 h 4305300"/>
                  <a:gd name="connsiteX204" fmla="*/ 8184355 w 8801100"/>
                  <a:gd name="connsiteY204" fmla="*/ 1919288 h 4305300"/>
                  <a:gd name="connsiteX205" fmla="*/ 8243888 w 8801100"/>
                  <a:gd name="connsiteY205" fmla="*/ 1959768 h 4305300"/>
                  <a:gd name="connsiteX206" fmla="*/ 8270082 w 8801100"/>
                  <a:gd name="connsiteY206" fmla="*/ 1909762 h 4305300"/>
                  <a:gd name="connsiteX207" fmla="*/ 8365331 w 8801100"/>
                  <a:gd name="connsiteY207" fmla="*/ 1840706 h 4305300"/>
                  <a:gd name="connsiteX208" fmla="*/ 8427244 w 8801100"/>
                  <a:gd name="connsiteY208" fmla="*/ 1847850 h 4305300"/>
                  <a:gd name="connsiteX209" fmla="*/ 8477250 w 8801100"/>
                  <a:gd name="connsiteY209" fmla="*/ 1828800 h 4305300"/>
                  <a:gd name="connsiteX210" fmla="*/ 8515350 w 8801100"/>
                  <a:gd name="connsiteY210" fmla="*/ 1800225 h 4305300"/>
                  <a:gd name="connsiteX211" fmla="*/ 8548688 w 8801100"/>
                  <a:gd name="connsiteY211" fmla="*/ 1797844 h 4305300"/>
                  <a:gd name="connsiteX212" fmla="*/ 8584406 w 8801100"/>
                  <a:gd name="connsiteY212" fmla="*/ 1828800 h 4305300"/>
                  <a:gd name="connsiteX213" fmla="*/ 8643938 w 8801100"/>
                  <a:gd name="connsiteY213" fmla="*/ 1828800 h 4305300"/>
                  <a:gd name="connsiteX214" fmla="*/ 8682037 w 8801100"/>
                  <a:gd name="connsiteY214" fmla="*/ 1809750 h 4305300"/>
                  <a:gd name="connsiteX215" fmla="*/ 8765381 w 8801100"/>
                  <a:gd name="connsiteY215" fmla="*/ 1812132 h 4305300"/>
                  <a:gd name="connsiteX216" fmla="*/ 8796338 w 8801100"/>
                  <a:gd name="connsiteY216" fmla="*/ 1766888 h 4305300"/>
                  <a:gd name="connsiteX217" fmla="*/ 8801100 w 8801100"/>
                  <a:gd name="connsiteY217" fmla="*/ 1704975 h 4305300"/>
                  <a:gd name="connsiteX218" fmla="*/ 8751093 w 8801100"/>
                  <a:gd name="connsiteY218" fmla="*/ 1664494 h 4305300"/>
                  <a:gd name="connsiteX219" fmla="*/ 8734425 w 8801100"/>
                  <a:gd name="connsiteY219" fmla="*/ 1609725 h 4305300"/>
                  <a:gd name="connsiteX220" fmla="*/ 8643938 w 8801100"/>
                  <a:gd name="connsiteY220" fmla="*/ 1547813 h 4305300"/>
                  <a:gd name="connsiteX221" fmla="*/ 8603456 w 8801100"/>
                  <a:gd name="connsiteY221" fmla="*/ 1526381 h 4305300"/>
                  <a:gd name="connsiteX222" fmla="*/ 8565356 w 8801100"/>
                  <a:gd name="connsiteY222" fmla="*/ 1481138 h 4305300"/>
                  <a:gd name="connsiteX223" fmla="*/ 8534400 w 8801100"/>
                  <a:gd name="connsiteY223" fmla="*/ 1478756 h 4305300"/>
                  <a:gd name="connsiteX224" fmla="*/ 8517731 w 8801100"/>
                  <a:gd name="connsiteY224" fmla="*/ 1426369 h 4305300"/>
                  <a:gd name="connsiteX225" fmla="*/ 8477250 w 8801100"/>
                  <a:gd name="connsiteY225" fmla="*/ 1409700 h 4305300"/>
                  <a:gd name="connsiteX226" fmla="*/ 8477250 w 8801100"/>
                  <a:gd name="connsiteY226" fmla="*/ 1409700 h 4305300"/>
                  <a:gd name="connsiteX227" fmla="*/ 8436769 w 8801100"/>
                  <a:gd name="connsiteY227" fmla="*/ 1414463 h 4305300"/>
                  <a:gd name="connsiteX228" fmla="*/ 8351043 w 8801100"/>
                  <a:gd name="connsiteY228" fmla="*/ 1340644 h 4305300"/>
                  <a:gd name="connsiteX229" fmla="*/ 8170069 w 8801100"/>
                  <a:gd name="connsiteY229" fmla="*/ 1340643 h 4305300"/>
                  <a:gd name="connsiteX230" fmla="*/ 8117681 w 8801100"/>
                  <a:gd name="connsiteY230" fmla="*/ 1378744 h 4305300"/>
                  <a:gd name="connsiteX231" fmla="*/ 8067675 w 8801100"/>
                  <a:gd name="connsiteY231" fmla="*/ 1457325 h 4305300"/>
                  <a:gd name="connsiteX232" fmla="*/ 8084344 w 8801100"/>
                  <a:gd name="connsiteY232" fmla="*/ 1478756 h 4305300"/>
                  <a:gd name="connsiteX233" fmla="*/ 8039100 w 8801100"/>
                  <a:gd name="connsiteY233" fmla="*/ 1528762 h 4305300"/>
                  <a:gd name="connsiteX234" fmla="*/ 7889081 w 8801100"/>
                  <a:gd name="connsiteY234" fmla="*/ 1452562 h 4305300"/>
                  <a:gd name="connsiteX235" fmla="*/ 7798594 w 8801100"/>
                  <a:gd name="connsiteY235" fmla="*/ 1488281 h 4305300"/>
                  <a:gd name="connsiteX236" fmla="*/ 7724775 w 8801100"/>
                  <a:gd name="connsiteY236" fmla="*/ 1485900 h 4305300"/>
                  <a:gd name="connsiteX237" fmla="*/ 7667625 w 8801100"/>
                  <a:gd name="connsiteY237" fmla="*/ 1581150 h 4305300"/>
                  <a:gd name="connsiteX238" fmla="*/ 7529513 w 8801100"/>
                  <a:gd name="connsiteY238" fmla="*/ 1483519 h 4305300"/>
                  <a:gd name="connsiteX0" fmla="*/ 7529513 w 8801100"/>
                  <a:gd name="connsiteY0" fmla="*/ 1483519 h 4411661"/>
                  <a:gd name="connsiteX1" fmla="*/ 7522369 w 8801100"/>
                  <a:gd name="connsiteY1" fmla="*/ 1428750 h 4411661"/>
                  <a:gd name="connsiteX2" fmla="*/ 7589044 w 8801100"/>
                  <a:gd name="connsiteY2" fmla="*/ 1354931 h 4411661"/>
                  <a:gd name="connsiteX3" fmla="*/ 7572375 w 8801100"/>
                  <a:gd name="connsiteY3" fmla="*/ 1283494 h 4411661"/>
                  <a:gd name="connsiteX4" fmla="*/ 7586663 w 8801100"/>
                  <a:gd name="connsiteY4" fmla="*/ 1188244 h 4411661"/>
                  <a:gd name="connsiteX5" fmla="*/ 7624763 w 8801100"/>
                  <a:gd name="connsiteY5" fmla="*/ 1131094 h 4411661"/>
                  <a:gd name="connsiteX6" fmla="*/ 7605712 w 8801100"/>
                  <a:gd name="connsiteY6" fmla="*/ 1097756 h 4411661"/>
                  <a:gd name="connsiteX7" fmla="*/ 7703343 w 8801100"/>
                  <a:gd name="connsiteY7" fmla="*/ 697706 h 4411661"/>
                  <a:gd name="connsiteX8" fmla="*/ 7696200 w 8801100"/>
                  <a:gd name="connsiteY8" fmla="*/ 669131 h 4411661"/>
                  <a:gd name="connsiteX9" fmla="*/ 7567613 w 8801100"/>
                  <a:gd name="connsiteY9" fmla="*/ 647700 h 4411661"/>
                  <a:gd name="connsiteX10" fmla="*/ 7384257 w 8801100"/>
                  <a:gd name="connsiteY10" fmla="*/ 726281 h 4411661"/>
                  <a:gd name="connsiteX11" fmla="*/ 7227093 w 8801100"/>
                  <a:gd name="connsiteY11" fmla="*/ 611981 h 4411661"/>
                  <a:gd name="connsiteX12" fmla="*/ 7150894 w 8801100"/>
                  <a:gd name="connsiteY12" fmla="*/ 619125 h 4411661"/>
                  <a:gd name="connsiteX13" fmla="*/ 7077075 w 8801100"/>
                  <a:gd name="connsiteY13" fmla="*/ 614363 h 4411661"/>
                  <a:gd name="connsiteX14" fmla="*/ 6938963 w 8801100"/>
                  <a:gd name="connsiteY14" fmla="*/ 719138 h 4411661"/>
                  <a:gd name="connsiteX15" fmla="*/ 6831806 w 8801100"/>
                  <a:gd name="connsiteY15" fmla="*/ 826294 h 4411661"/>
                  <a:gd name="connsiteX16" fmla="*/ 6788944 w 8801100"/>
                  <a:gd name="connsiteY16" fmla="*/ 895350 h 4411661"/>
                  <a:gd name="connsiteX17" fmla="*/ 6796088 w 8801100"/>
                  <a:gd name="connsiteY17" fmla="*/ 931069 h 4411661"/>
                  <a:gd name="connsiteX18" fmla="*/ 6734175 w 8801100"/>
                  <a:gd name="connsiteY18" fmla="*/ 942975 h 4411661"/>
                  <a:gd name="connsiteX19" fmla="*/ 6753225 w 8801100"/>
                  <a:gd name="connsiteY19" fmla="*/ 942975 h 4411661"/>
                  <a:gd name="connsiteX20" fmla="*/ 6719888 w 8801100"/>
                  <a:gd name="connsiteY20" fmla="*/ 973931 h 4411661"/>
                  <a:gd name="connsiteX21" fmla="*/ 6619875 w 8801100"/>
                  <a:gd name="connsiteY21" fmla="*/ 973932 h 4411661"/>
                  <a:gd name="connsiteX22" fmla="*/ 6524625 w 8801100"/>
                  <a:gd name="connsiteY22" fmla="*/ 1028700 h 4411661"/>
                  <a:gd name="connsiteX23" fmla="*/ 6443663 w 8801100"/>
                  <a:gd name="connsiteY23" fmla="*/ 1038225 h 4411661"/>
                  <a:gd name="connsiteX24" fmla="*/ 6403181 w 8801100"/>
                  <a:gd name="connsiteY24" fmla="*/ 1071563 h 4411661"/>
                  <a:gd name="connsiteX25" fmla="*/ 6353175 w 8801100"/>
                  <a:gd name="connsiteY25" fmla="*/ 1076325 h 4411661"/>
                  <a:gd name="connsiteX26" fmla="*/ 6231732 w 8801100"/>
                  <a:gd name="connsiteY26" fmla="*/ 1169194 h 4411661"/>
                  <a:gd name="connsiteX27" fmla="*/ 6172200 w 8801100"/>
                  <a:gd name="connsiteY27" fmla="*/ 1173956 h 4411661"/>
                  <a:gd name="connsiteX28" fmla="*/ 6119813 w 8801100"/>
                  <a:gd name="connsiteY28" fmla="*/ 1138238 h 4411661"/>
                  <a:gd name="connsiteX29" fmla="*/ 6093619 w 8801100"/>
                  <a:gd name="connsiteY29" fmla="*/ 1173956 h 4411661"/>
                  <a:gd name="connsiteX30" fmla="*/ 5895975 w 8801100"/>
                  <a:gd name="connsiteY30" fmla="*/ 1166813 h 4411661"/>
                  <a:gd name="connsiteX31" fmla="*/ 5834063 w 8801100"/>
                  <a:gd name="connsiteY31" fmla="*/ 1121569 h 4411661"/>
                  <a:gd name="connsiteX32" fmla="*/ 5636419 w 8801100"/>
                  <a:gd name="connsiteY32" fmla="*/ 1138238 h 4411661"/>
                  <a:gd name="connsiteX33" fmla="*/ 5548313 w 8801100"/>
                  <a:gd name="connsiteY33" fmla="*/ 1054893 h 4411661"/>
                  <a:gd name="connsiteX34" fmla="*/ 5472113 w 8801100"/>
                  <a:gd name="connsiteY34" fmla="*/ 1009650 h 4411661"/>
                  <a:gd name="connsiteX35" fmla="*/ 5474493 w 8801100"/>
                  <a:gd name="connsiteY35" fmla="*/ 952500 h 4411661"/>
                  <a:gd name="connsiteX36" fmla="*/ 5455444 w 8801100"/>
                  <a:gd name="connsiteY36" fmla="*/ 909637 h 4411661"/>
                  <a:gd name="connsiteX37" fmla="*/ 5360194 w 8801100"/>
                  <a:gd name="connsiteY37" fmla="*/ 912019 h 4411661"/>
                  <a:gd name="connsiteX38" fmla="*/ 5264944 w 8801100"/>
                  <a:gd name="connsiteY38" fmla="*/ 890588 h 4411661"/>
                  <a:gd name="connsiteX39" fmla="*/ 5195887 w 8801100"/>
                  <a:gd name="connsiteY39" fmla="*/ 823912 h 4411661"/>
                  <a:gd name="connsiteX40" fmla="*/ 5160169 w 8801100"/>
                  <a:gd name="connsiteY40" fmla="*/ 781050 h 4411661"/>
                  <a:gd name="connsiteX41" fmla="*/ 5079206 w 8801100"/>
                  <a:gd name="connsiteY41" fmla="*/ 757237 h 4411661"/>
                  <a:gd name="connsiteX42" fmla="*/ 5005388 w 8801100"/>
                  <a:gd name="connsiteY42" fmla="*/ 769143 h 4411661"/>
                  <a:gd name="connsiteX43" fmla="*/ 4948237 w 8801100"/>
                  <a:gd name="connsiteY43" fmla="*/ 716756 h 4411661"/>
                  <a:gd name="connsiteX44" fmla="*/ 4852988 w 8801100"/>
                  <a:gd name="connsiteY44" fmla="*/ 728663 h 4411661"/>
                  <a:gd name="connsiteX45" fmla="*/ 4800600 w 8801100"/>
                  <a:gd name="connsiteY45" fmla="*/ 702469 h 4411661"/>
                  <a:gd name="connsiteX46" fmla="*/ 4719638 w 8801100"/>
                  <a:gd name="connsiteY46" fmla="*/ 745331 h 4411661"/>
                  <a:gd name="connsiteX47" fmla="*/ 4581525 w 8801100"/>
                  <a:gd name="connsiteY47" fmla="*/ 769144 h 4411661"/>
                  <a:gd name="connsiteX48" fmla="*/ 4452938 w 8801100"/>
                  <a:gd name="connsiteY48" fmla="*/ 862013 h 4411661"/>
                  <a:gd name="connsiteX49" fmla="*/ 4405312 w 8801100"/>
                  <a:gd name="connsiteY49" fmla="*/ 823913 h 4411661"/>
                  <a:gd name="connsiteX50" fmla="*/ 4383881 w 8801100"/>
                  <a:gd name="connsiteY50" fmla="*/ 854868 h 4411661"/>
                  <a:gd name="connsiteX51" fmla="*/ 4310063 w 8801100"/>
                  <a:gd name="connsiteY51" fmla="*/ 804863 h 4411661"/>
                  <a:gd name="connsiteX52" fmla="*/ 4271963 w 8801100"/>
                  <a:gd name="connsiteY52" fmla="*/ 812006 h 4411661"/>
                  <a:gd name="connsiteX53" fmla="*/ 4250531 w 8801100"/>
                  <a:gd name="connsiteY53" fmla="*/ 773906 h 4411661"/>
                  <a:gd name="connsiteX54" fmla="*/ 4191000 w 8801100"/>
                  <a:gd name="connsiteY54" fmla="*/ 778669 h 4411661"/>
                  <a:gd name="connsiteX55" fmla="*/ 4145756 w 8801100"/>
                  <a:gd name="connsiteY55" fmla="*/ 750094 h 4411661"/>
                  <a:gd name="connsiteX56" fmla="*/ 4107656 w 8801100"/>
                  <a:gd name="connsiteY56" fmla="*/ 747713 h 4411661"/>
                  <a:gd name="connsiteX57" fmla="*/ 4088606 w 8801100"/>
                  <a:gd name="connsiteY57" fmla="*/ 700087 h 4411661"/>
                  <a:gd name="connsiteX58" fmla="*/ 4074319 w 8801100"/>
                  <a:gd name="connsiteY58" fmla="*/ 669131 h 4411661"/>
                  <a:gd name="connsiteX59" fmla="*/ 4029075 w 8801100"/>
                  <a:gd name="connsiteY59" fmla="*/ 678656 h 4411661"/>
                  <a:gd name="connsiteX60" fmla="*/ 4010025 w 8801100"/>
                  <a:gd name="connsiteY60" fmla="*/ 642938 h 4411661"/>
                  <a:gd name="connsiteX61" fmla="*/ 4031457 w 8801100"/>
                  <a:gd name="connsiteY61" fmla="*/ 588169 h 4411661"/>
                  <a:gd name="connsiteX62" fmla="*/ 4000500 w 8801100"/>
                  <a:gd name="connsiteY62" fmla="*/ 561975 h 4411661"/>
                  <a:gd name="connsiteX63" fmla="*/ 4017169 w 8801100"/>
                  <a:gd name="connsiteY63" fmla="*/ 519113 h 4411661"/>
                  <a:gd name="connsiteX64" fmla="*/ 3990975 w 8801100"/>
                  <a:gd name="connsiteY64" fmla="*/ 476250 h 4411661"/>
                  <a:gd name="connsiteX65" fmla="*/ 3986213 w 8801100"/>
                  <a:gd name="connsiteY65" fmla="*/ 414338 h 4411661"/>
                  <a:gd name="connsiteX66" fmla="*/ 4010025 w 8801100"/>
                  <a:gd name="connsiteY66" fmla="*/ 350043 h 4411661"/>
                  <a:gd name="connsiteX67" fmla="*/ 3971925 w 8801100"/>
                  <a:gd name="connsiteY67" fmla="*/ 352425 h 4411661"/>
                  <a:gd name="connsiteX68" fmla="*/ 3852863 w 8801100"/>
                  <a:gd name="connsiteY68" fmla="*/ 295275 h 4411661"/>
                  <a:gd name="connsiteX69" fmla="*/ 3814762 w 8801100"/>
                  <a:gd name="connsiteY69" fmla="*/ 300037 h 4411661"/>
                  <a:gd name="connsiteX70" fmla="*/ 3609975 w 8801100"/>
                  <a:gd name="connsiteY70" fmla="*/ 190500 h 4411661"/>
                  <a:gd name="connsiteX71" fmla="*/ 3505200 w 8801100"/>
                  <a:gd name="connsiteY71" fmla="*/ 159544 h 4411661"/>
                  <a:gd name="connsiteX72" fmla="*/ 3440906 w 8801100"/>
                  <a:gd name="connsiteY72" fmla="*/ 169068 h 4411661"/>
                  <a:gd name="connsiteX73" fmla="*/ 3409950 w 8801100"/>
                  <a:gd name="connsiteY73" fmla="*/ 104775 h 4411661"/>
                  <a:gd name="connsiteX74" fmla="*/ 3352800 w 8801100"/>
                  <a:gd name="connsiteY74" fmla="*/ 104775 h 4411661"/>
                  <a:gd name="connsiteX75" fmla="*/ 3214687 w 8801100"/>
                  <a:gd name="connsiteY75" fmla="*/ 0 h 4411661"/>
                  <a:gd name="connsiteX76" fmla="*/ 3181350 w 8801100"/>
                  <a:gd name="connsiteY76" fmla="*/ 59532 h 4411661"/>
                  <a:gd name="connsiteX77" fmla="*/ 3126581 w 8801100"/>
                  <a:gd name="connsiteY77" fmla="*/ 128588 h 4411661"/>
                  <a:gd name="connsiteX78" fmla="*/ 3083719 w 8801100"/>
                  <a:gd name="connsiteY78" fmla="*/ 145256 h 4411661"/>
                  <a:gd name="connsiteX79" fmla="*/ 3052763 w 8801100"/>
                  <a:gd name="connsiteY79" fmla="*/ 138113 h 4411661"/>
                  <a:gd name="connsiteX80" fmla="*/ 3028950 w 8801100"/>
                  <a:gd name="connsiteY80" fmla="*/ 166688 h 4411661"/>
                  <a:gd name="connsiteX81" fmla="*/ 3002756 w 8801100"/>
                  <a:gd name="connsiteY81" fmla="*/ 245269 h 4411661"/>
                  <a:gd name="connsiteX82" fmla="*/ 2959894 w 8801100"/>
                  <a:gd name="connsiteY82" fmla="*/ 242888 h 4411661"/>
                  <a:gd name="connsiteX83" fmla="*/ 2928937 w 8801100"/>
                  <a:gd name="connsiteY83" fmla="*/ 304800 h 4411661"/>
                  <a:gd name="connsiteX84" fmla="*/ 2924175 w 8801100"/>
                  <a:gd name="connsiteY84" fmla="*/ 369094 h 4411661"/>
                  <a:gd name="connsiteX85" fmla="*/ 2897982 w 8801100"/>
                  <a:gd name="connsiteY85" fmla="*/ 407194 h 4411661"/>
                  <a:gd name="connsiteX86" fmla="*/ 2924175 w 8801100"/>
                  <a:gd name="connsiteY86" fmla="*/ 466725 h 4411661"/>
                  <a:gd name="connsiteX87" fmla="*/ 2926556 w 8801100"/>
                  <a:gd name="connsiteY87" fmla="*/ 535781 h 4411661"/>
                  <a:gd name="connsiteX88" fmla="*/ 2955131 w 8801100"/>
                  <a:gd name="connsiteY88" fmla="*/ 588169 h 4411661"/>
                  <a:gd name="connsiteX89" fmla="*/ 3002757 w 8801100"/>
                  <a:gd name="connsiteY89" fmla="*/ 642938 h 4411661"/>
                  <a:gd name="connsiteX90" fmla="*/ 2381 w 8801100"/>
                  <a:gd name="connsiteY90" fmla="*/ 4411661 h 4411661"/>
                  <a:gd name="connsiteX91" fmla="*/ 0 w 8801100"/>
                  <a:gd name="connsiteY91" fmla="*/ 709613 h 4411661"/>
                  <a:gd name="connsiteX92" fmla="*/ 76200 w 8801100"/>
                  <a:gd name="connsiteY92" fmla="*/ 692944 h 4411661"/>
                  <a:gd name="connsiteX93" fmla="*/ 119063 w 8801100"/>
                  <a:gd name="connsiteY93" fmla="*/ 721519 h 4411661"/>
                  <a:gd name="connsiteX94" fmla="*/ 215900 w 8801100"/>
                  <a:gd name="connsiteY94" fmla="*/ 712788 h 4411661"/>
                  <a:gd name="connsiteX95" fmla="*/ 261938 w 8801100"/>
                  <a:gd name="connsiteY95" fmla="*/ 740568 h 4411661"/>
                  <a:gd name="connsiteX96" fmla="*/ 228600 w 8801100"/>
                  <a:gd name="connsiteY96" fmla="*/ 769144 h 4411661"/>
                  <a:gd name="connsiteX97" fmla="*/ 233363 w 8801100"/>
                  <a:gd name="connsiteY97" fmla="*/ 812006 h 4411661"/>
                  <a:gd name="connsiteX98" fmla="*/ 200025 w 8801100"/>
                  <a:gd name="connsiteY98" fmla="*/ 816769 h 4411661"/>
                  <a:gd name="connsiteX99" fmla="*/ 204788 w 8801100"/>
                  <a:gd name="connsiteY99" fmla="*/ 840581 h 4411661"/>
                  <a:gd name="connsiteX100" fmla="*/ 261937 w 8801100"/>
                  <a:gd name="connsiteY100" fmla="*/ 914400 h 4411661"/>
                  <a:gd name="connsiteX101" fmla="*/ 223838 w 8801100"/>
                  <a:gd name="connsiteY101" fmla="*/ 962025 h 4411661"/>
                  <a:gd name="connsiteX102" fmla="*/ 278606 w 8801100"/>
                  <a:gd name="connsiteY102" fmla="*/ 997744 h 4411661"/>
                  <a:gd name="connsiteX103" fmla="*/ 369094 w 8801100"/>
                  <a:gd name="connsiteY103" fmla="*/ 1085850 h 4411661"/>
                  <a:gd name="connsiteX104" fmla="*/ 371475 w 8801100"/>
                  <a:gd name="connsiteY104" fmla="*/ 1145381 h 4411661"/>
                  <a:gd name="connsiteX105" fmla="*/ 507206 w 8801100"/>
                  <a:gd name="connsiteY105" fmla="*/ 1278732 h 4411661"/>
                  <a:gd name="connsiteX106" fmla="*/ 561975 w 8801100"/>
                  <a:gd name="connsiteY106" fmla="*/ 1254919 h 4411661"/>
                  <a:gd name="connsiteX107" fmla="*/ 600075 w 8801100"/>
                  <a:gd name="connsiteY107" fmla="*/ 1281112 h 4411661"/>
                  <a:gd name="connsiteX108" fmla="*/ 614363 w 8801100"/>
                  <a:gd name="connsiteY108" fmla="*/ 1331118 h 4411661"/>
                  <a:gd name="connsiteX109" fmla="*/ 657225 w 8801100"/>
                  <a:gd name="connsiteY109" fmla="*/ 1366838 h 4411661"/>
                  <a:gd name="connsiteX110" fmla="*/ 697706 w 8801100"/>
                  <a:gd name="connsiteY110" fmla="*/ 1354931 h 4411661"/>
                  <a:gd name="connsiteX111" fmla="*/ 716756 w 8801100"/>
                  <a:gd name="connsiteY111" fmla="*/ 1412081 h 4411661"/>
                  <a:gd name="connsiteX112" fmla="*/ 764381 w 8801100"/>
                  <a:gd name="connsiteY112" fmla="*/ 1454944 h 4411661"/>
                  <a:gd name="connsiteX113" fmla="*/ 788194 w 8801100"/>
                  <a:gd name="connsiteY113" fmla="*/ 1557338 h 4411661"/>
                  <a:gd name="connsiteX114" fmla="*/ 785813 w 8801100"/>
                  <a:gd name="connsiteY114" fmla="*/ 1604963 h 4411661"/>
                  <a:gd name="connsiteX115" fmla="*/ 821531 w 8801100"/>
                  <a:gd name="connsiteY115" fmla="*/ 1704975 h 4411661"/>
                  <a:gd name="connsiteX116" fmla="*/ 866775 w 8801100"/>
                  <a:gd name="connsiteY116" fmla="*/ 1762125 h 4411661"/>
                  <a:gd name="connsiteX117" fmla="*/ 883443 w 8801100"/>
                  <a:gd name="connsiteY117" fmla="*/ 1919287 h 4411661"/>
                  <a:gd name="connsiteX118" fmla="*/ 850106 w 8801100"/>
                  <a:gd name="connsiteY118" fmla="*/ 1981200 h 4411661"/>
                  <a:gd name="connsiteX119" fmla="*/ 819150 w 8801100"/>
                  <a:gd name="connsiteY119" fmla="*/ 2057400 h 4411661"/>
                  <a:gd name="connsiteX120" fmla="*/ 833438 w 8801100"/>
                  <a:gd name="connsiteY120" fmla="*/ 2114550 h 4411661"/>
                  <a:gd name="connsiteX121" fmla="*/ 735806 w 8801100"/>
                  <a:gd name="connsiteY121" fmla="*/ 2221707 h 4411661"/>
                  <a:gd name="connsiteX122" fmla="*/ 692944 w 8801100"/>
                  <a:gd name="connsiteY122" fmla="*/ 2336006 h 4411661"/>
                  <a:gd name="connsiteX123" fmla="*/ 726281 w 8801100"/>
                  <a:gd name="connsiteY123" fmla="*/ 2376488 h 4411661"/>
                  <a:gd name="connsiteX124" fmla="*/ 709613 w 8801100"/>
                  <a:gd name="connsiteY124" fmla="*/ 2405063 h 4411661"/>
                  <a:gd name="connsiteX125" fmla="*/ 740569 w 8801100"/>
                  <a:gd name="connsiteY125" fmla="*/ 2462213 h 4411661"/>
                  <a:gd name="connsiteX126" fmla="*/ 769144 w 8801100"/>
                  <a:gd name="connsiteY126" fmla="*/ 2462213 h 4411661"/>
                  <a:gd name="connsiteX127" fmla="*/ 931069 w 8801100"/>
                  <a:gd name="connsiteY127" fmla="*/ 2564606 h 4411661"/>
                  <a:gd name="connsiteX128" fmla="*/ 1035844 w 8801100"/>
                  <a:gd name="connsiteY128" fmla="*/ 2562225 h 4411661"/>
                  <a:gd name="connsiteX129" fmla="*/ 1114425 w 8801100"/>
                  <a:gd name="connsiteY129" fmla="*/ 2616994 h 4411661"/>
                  <a:gd name="connsiteX130" fmla="*/ 1245393 w 8801100"/>
                  <a:gd name="connsiteY130" fmla="*/ 2619375 h 4411661"/>
                  <a:gd name="connsiteX131" fmla="*/ 1435893 w 8801100"/>
                  <a:gd name="connsiteY131" fmla="*/ 2688431 h 4411661"/>
                  <a:gd name="connsiteX132" fmla="*/ 1638300 w 8801100"/>
                  <a:gd name="connsiteY132" fmla="*/ 2838450 h 4411661"/>
                  <a:gd name="connsiteX133" fmla="*/ 1671637 w 8801100"/>
                  <a:gd name="connsiteY133" fmla="*/ 2905125 h 4411661"/>
                  <a:gd name="connsiteX134" fmla="*/ 1838325 w 8801100"/>
                  <a:gd name="connsiteY134" fmla="*/ 3031331 h 4411661"/>
                  <a:gd name="connsiteX135" fmla="*/ 1909763 w 8801100"/>
                  <a:gd name="connsiteY135" fmla="*/ 3026569 h 4411661"/>
                  <a:gd name="connsiteX136" fmla="*/ 1945482 w 8801100"/>
                  <a:gd name="connsiteY136" fmla="*/ 3050381 h 4411661"/>
                  <a:gd name="connsiteX137" fmla="*/ 1916906 w 8801100"/>
                  <a:gd name="connsiteY137" fmla="*/ 3090863 h 4411661"/>
                  <a:gd name="connsiteX138" fmla="*/ 1924050 w 8801100"/>
                  <a:gd name="connsiteY138" fmla="*/ 3143250 h 4411661"/>
                  <a:gd name="connsiteX139" fmla="*/ 1976438 w 8801100"/>
                  <a:gd name="connsiteY139" fmla="*/ 3169444 h 4411661"/>
                  <a:gd name="connsiteX140" fmla="*/ 2038350 w 8801100"/>
                  <a:gd name="connsiteY140" fmla="*/ 3393282 h 4411661"/>
                  <a:gd name="connsiteX141" fmla="*/ 2028825 w 8801100"/>
                  <a:gd name="connsiteY141" fmla="*/ 3457575 h 4411661"/>
                  <a:gd name="connsiteX142" fmla="*/ 2164556 w 8801100"/>
                  <a:gd name="connsiteY142" fmla="*/ 3624263 h 4411661"/>
                  <a:gd name="connsiteX143" fmla="*/ 2183606 w 8801100"/>
                  <a:gd name="connsiteY143" fmla="*/ 3674269 h 4411661"/>
                  <a:gd name="connsiteX144" fmla="*/ 2157413 w 8801100"/>
                  <a:gd name="connsiteY144" fmla="*/ 3693319 h 4411661"/>
                  <a:gd name="connsiteX145" fmla="*/ 2259806 w 8801100"/>
                  <a:gd name="connsiteY145" fmla="*/ 3702844 h 4411661"/>
                  <a:gd name="connsiteX146" fmla="*/ 2371725 w 8801100"/>
                  <a:gd name="connsiteY146" fmla="*/ 3690938 h 4411661"/>
                  <a:gd name="connsiteX147" fmla="*/ 2650331 w 8801100"/>
                  <a:gd name="connsiteY147" fmla="*/ 3774281 h 4411661"/>
                  <a:gd name="connsiteX148" fmla="*/ 3057525 w 8801100"/>
                  <a:gd name="connsiteY148" fmla="*/ 3855244 h 4411661"/>
                  <a:gd name="connsiteX149" fmla="*/ 3255169 w 8801100"/>
                  <a:gd name="connsiteY149" fmla="*/ 3824287 h 4411661"/>
                  <a:gd name="connsiteX150" fmla="*/ 3300413 w 8801100"/>
                  <a:gd name="connsiteY150" fmla="*/ 3836193 h 4411661"/>
                  <a:gd name="connsiteX151" fmla="*/ 3355181 w 8801100"/>
                  <a:gd name="connsiteY151" fmla="*/ 3812382 h 4411661"/>
                  <a:gd name="connsiteX152" fmla="*/ 3748087 w 8801100"/>
                  <a:gd name="connsiteY152" fmla="*/ 3902869 h 4411661"/>
                  <a:gd name="connsiteX153" fmla="*/ 3831432 w 8801100"/>
                  <a:gd name="connsiteY153" fmla="*/ 4000500 h 4411661"/>
                  <a:gd name="connsiteX154" fmla="*/ 3950494 w 8801100"/>
                  <a:gd name="connsiteY154" fmla="*/ 4071938 h 4411661"/>
                  <a:gd name="connsiteX155" fmla="*/ 4010025 w 8801100"/>
                  <a:gd name="connsiteY155" fmla="*/ 4055269 h 4411661"/>
                  <a:gd name="connsiteX156" fmla="*/ 4360068 w 8801100"/>
                  <a:gd name="connsiteY156" fmla="*/ 4229100 h 4411661"/>
                  <a:gd name="connsiteX157" fmla="*/ 4586288 w 8801100"/>
                  <a:gd name="connsiteY157" fmla="*/ 4200525 h 4411661"/>
                  <a:gd name="connsiteX158" fmla="*/ 4595813 w 8801100"/>
                  <a:gd name="connsiteY158" fmla="*/ 4279106 h 4411661"/>
                  <a:gd name="connsiteX159" fmla="*/ 4681538 w 8801100"/>
                  <a:gd name="connsiteY159" fmla="*/ 4274343 h 4411661"/>
                  <a:gd name="connsiteX160" fmla="*/ 4760119 w 8801100"/>
                  <a:gd name="connsiteY160" fmla="*/ 4305300 h 4411661"/>
                  <a:gd name="connsiteX161" fmla="*/ 4802981 w 8801100"/>
                  <a:gd name="connsiteY161" fmla="*/ 4245769 h 4411661"/>
                  <a:gd name="connsiteX162" fmla="*/ 5474494 w 8801100"/>
                  <a:gd name="connsiteY162" fmla="*/ 3926681 h 4411661"/>
                  <a:gd name="connsiteX163" fmla="*/ 5562600 w 8801100"/>
                  <a:gd name="connsiteY163" fmla="*/ 3955257 h 4411661"/>
                  <a:gd name="connsiteX164" fmla="*/ 5693569 w 8801100"/>
                  <a:gd name="connsiteY164" fmla="*/ 3926681 h 4411661"/>
                  <a:gd name="connsiteX165" fmla="*/ 5872162 w 8801100"/>
                  <a:gd name="connsiteY165" fmla="*/ 3943350 h 4411661"/>
                  <a:gd name="connsiteX166" fmla="*/ 5929313 w 8801100"/>
                  <a:gd name="connsiteY166" fmla="*/ 3917157 h 4411661"/>
                  <a:gd name="connsiteX167" fmla="*/ 6062662 w 8801100"/>
                  <a:gd name="connsiteY167" fmla="*/ 3914775 h 4411661"/>
                  <a:gd name="connsiteX168" fmla="*/ 6196012 w 8801100"/>
                  <a:gd name="connsiteY168" fmla="*/ 3817144 h 4411661"/>
                  <a:gd name="connsiteX169" fmla="*/ 6262687 w 8801100"/>
                  <a:gd name="connsiteY169" fmla="*/ 3810000 h 4411661"/>
                  <a:gd name="connsiteX170" fmla="*/ 6360319 w 8801100"/>
                  <a:gd name="connsiteY170" fmla="*/ 3736181 h 4411661"/>
                  <a:gd name="connsiteX171" fmla="*/ 6434138 w 8801100"/>
                  <a:gd name="connsiteY171" fmla="*/ 3667125 h 4411661"/>
                  <a:gd name="connsiteX172" fmla="*/ 6443663 w 8801100"/>
                  <a:gd name="connsiteY172" fmla="*/ 3605213 h 4411661"/>
                  <a:gd name="connsiteX173" fmla="*/ 6477000 w 8801100"/>
                  <a:gd name="connsiteY173" fmla="*/ 3536156 h 4411661"/>
                  <a:gd name="connsiteX174" fmla="*/ 6629400 w 8801100"/>
                  <a:gd name="connsiteY174" fmla="*/ 3429000 h 4411661"/>
                  <a:gd name="connsiteX175" fmla="*/ 6662738 w 8801100"/>
                  <a:gd name="connsiteY175" fmla="*/ 3433763 h 4411661"/>
                  <a:gd name="connsiteX176" fmla="*/ 6715125 w 8801100"/>
                  <a:gd name="connsiteY176" fmla="*/ 3355181 h 4411661"/>
                  <a:gd name="connsiteX177" fmla="*/ 6762750 w 8801100"/>
                  <a:gd name="connsiteY177" fmla="*/ 3317081 h 4411661"/>
                  <a:gd name="connsiteX178" fmla="*/ 6748463 w 8801100"/>
                  <a:gd name="connsiteY178" fmla="*/ 3248025 h 4411661"/>
                  <a:gd name="connsiteX179" fmla="*/ 6698456 w 8801100"/>
                  <a:gd name="connsiteY179" fmla="*/ 3217068 h 4411661"/>
                  <a:gd name="connsiteX180" fmla="*/ 6638925 w 8801100"/>
                  <a:gd name="connsiteY180" fmla="*/ 3162300 h 4411661"/>
                  <a:gd name="connsiteX181" fmla="*/ 6619875 w 8801100"/>
                  <a:gd name="connsiteY181" fmla="*/ 3105150 h 4411661"/>
                  <a:gd name="connsiteX182" fmla="*/ 6584156 w 8801100"/>
                  <a:gd name="connsiteY182" fmla="*/ 3071813 h 4411661"/>
                  <a:gd name="connsiteX183" fmla="*/ 6610350 w 8801100"/>
                  <a:gd name="connsiteY183" fmla="*/ 3019425 h 4411661"/>
                  <a:gd name="connsiteX184" fmla="*/ 6650831 w 8801100"/>
                  <a:gd name="connsiteY184" fmla="*/ 2840831 h 4411661"/>
                  <a:gd name="connsiteX185" fmla="*/ 6691313 w 8801100"/>
                  <a:gd name="connsiteY185" fmla="*/ 2774156 h 4411661"/>
                  <a:gd name="connsiteX186" fmla="*/ 6836569 w 8801100"/>
                  <a:gd name="connsiteY186" fmla="*/ 2757487 h 4411661"/>
                  <a:gd name="connsiteX187" fmla="*/ 6905625 w 8801100"/>
                  <a:gd name="connsiteY187" fmla="*/ 2814638 h 4411661"/>
                  <a:gd name="connsiteX188" fmla="*/ 6981825 w 8801100"/>
                  <a:gd name="connsiteY188" fmla="*/ 2838450 h 4411661"/>
                  <a:gd name="connsiteX189" fmla="*/ 7186612 w 8801100"/>
                  <a:gd name="connsiteY189" fmla="*/ 2843213 h 4411661"/>
                  <a:gd name="connsiteX190" fmla="*/ 7362825 w 8801100"/>
                  <a:gd name="connsiteY190" fmla="*/ 2705100 h 4411661"/>
                  <a:gd name="connsiteX191" fmla="*/ 7419975 w 8801100"/>
                  <a:gd name="connsiteY191" fmla="*/ 2614612 h 4411661"/>
                  <a:gd name="connsiteX192" fmla="*/ 7446169 w 8801100"/>
                  <a:gd name="connsiteY192" fmla="*/ 2531269 h 4411661"/>
                  <a:gd name="connsiteX193" fmla="*/ 7577137 w 8801100"/>
                  <a:gd name="connsiteY193" fmla="*/ 2531269 h 4411661"/>
                  <a:gd name="connsiteX194" fmla="*/ 7750969 w 8801100"/>
                  <a:gd name="connsiteY194" fmla="*/ 2474118 h 4411661"/>
                  <a:gd name="connsiteX195" fmla="*/ 7810500 w 8801100"/>
                  <a:gd name="connsiteY195" fmla="*/ 2362200 h 4411661"/>
                  <a:gd name="connsiteX196" fmla="*/ 7874794 w 8801100"/>
                  <a:gd name="connsiteY196" fmla="*/ 2326481 h 4411661"/>
                  <a:gd name="connsiteX197" fmla="*/ 7853363 w 8801100"/>
                  <a:gd name="connsiteY197" fmla="*/ 2281238 h 4411661"/>
                  <a:gd name="connsiteX198" fmla="*/ 7931944 w 8801100"/>
                  <a:gd name="connsiteY198" fmla="*/ 2112168 h 4411661"/>
                  <a:gd name="connsiteX199" fmla="*/ 7986713 w 8801100"/>
                  <a:gd name="connsiteY199" fmla="*/ 2052638 h 4411661"/>
                  <a:gd name="connsiteX200" fmla="*/ 8024813 w 8801100"/>
                  <a:gd name="connsiteY200" fmla="*/ 2047875 h 4411661"/>
                  <a:gd name="connsiteX201" fmla="*/ 8070056 w 8801100"/>
                  <a:gd name="connsiteY201" fmla="*/ 2052638 h 4411661"/>
                  <a:gd name="connsiteX202" fmla="*/ 8134350 w 8801100"/>
                  <a:gd name="connsiteY202" fmla="*/ 2019300 h 4411661"/>
                  <a:gd name="connsiteX203" fmla="*/ 8143875 w 8801100"/>
                  <a:gd name="connsiteY203" fmla="*/ 1955006 h 4411661"/>
                  <a:gd name="connsiteX204" fmla="*/ 8184355 w 8801100"/>
                  <a:gd name="connsiteY204" fmla="*/ 1919288 h 4411661"/>
                  <a:gd name="connsiteX205" fmla="*/ 8243888 w 8801100"/>
                  <a:gd name="connsiteY205" fmla="*/ 1959768 h 4411661"/>
                  <a:gd name="connsiteX206" fmla="*/ 8270082 w 8801100"/>
                  <a:gd name="connsiteY206" fmla="*/ 1909762 h 4411661"/>
                  <a:gd name="connsiteX207" fmla="*/ 8365331 w 8801100"/>
                  <a:gd name="connsiteY207" fmla="*/ 1840706 h 4411661"/>
                  <a:gd name="connsiteX208" fmla="*/ 8427244 w 8801100"/>
                  <a:gd name="connsiteY208" fmla="*/ 1847850 h 4411661"/>
                  <a:gd name="connsiteX209" fmla="*/ 8477250 w 8801100"/>
                  <a:gd name="connsiteY209" fmla="*/ 1828800 h 4411661"/>
                  <a:gd name="connsiteX210" fmla="*/ 8515350 w 8801100"/>
                  <a:gd name="connsiteY210" fmla="*/ 1800225 h 4411661"/>
                  <a:gd name="connsiteX211" fmla="*/ 8548688 w 8801100"/>
                  <a:gd name="connsiteY211" fmla="*/ 1797844 h 4411661"/>
                  <a:gd name="connsiteX212" fmla="*/ 8584406 w 8801100"/>
                  <a:gd name="connsiteY212" fmla="*/ 1828800 h 4411661"/>
                  <a:gd name="connsiteX213" fmla="*/ 8643938 w 8801100"/>
                  <a:gd name="connsiteY213" fmla="*/ 1828800 h 4411661"/>
                  <a:gd name="connsiteX214" fmla="*/ 8682037 w 8801100"/>
                  <a:gd name="connsiteY214" fmla="*/ 1809750 h 4411661"/>
                  <a:gd name="connsiteX215" fmla="*/ 8765381 w 8801100"/>
                  <a:gd name="connsiteY215" fmla="*/ 1812132 h 4411661"/>
                  <a:gd name="connsiteX216" fmla="*/ 8796338 w 8801100"/>
                  <a:gd name="connsiteY216" fmla="*/ 1766888 h 4411661"/>
                  <a:gd name="connsiteX217" fmla="*/ 8801100 w 8801100"/>
                  <a:gd name="connsiteY217" fmla="*/ 1704975 h 4411661"/>
                  <a:gd name="connsiteX218" fmla="*/ 8751093 w 8801100"/>
                  <a:gd name="connsiteY218" fmla="*/ 1664494 h 4411661"/>
                  <a:gd name="connsiteX219" fmla="*/ 8734425 w 8801100"/>
                  <a:gd name="connsiteY219" fmla="*/ 1609725 h 4411661"/>
                  <a:gd name="connsiteX220" fmla="*/ 8643938 w 8801100"/>
                  <a:gd name="connsiteY220" fmla="*/ 1547813 h 4411661"/>
                  <a:gd name="connsiteX221" fmla="*/ 8603456 w 8801100"/>
                  <a:gd name="connsiteY221" fmla="*/ 1526381 h 4411661"/>
                  <a:gd name="connsiteX222" fmla="*/ 8565356 w 8801100"/>
                  <a:gd name="connsiteY222" fmla="*/ 1481138 h 4411661"/>
                  <a:gd name="connsiteX223" fmla="*/ 8534400 w 8801100"/>
                  <a:gd name="connsiteY223" fmla="*/ 1478756 h 4411661"/>
                  <a:gd name="connsiteX224" fmla="*/ 8517731 w 8801100"/>
                  <a:gd name="connsiteY224" fmla="*/ 1426369 h 4411661"/>
                  <a:gd name="connsiteX225" fmla="*/ 8477250 w 8801100"/>
                  <a:gd name="connsiteY225" fmla="*/ 1409700 h 4411661"/>
                  <a:gd name="connsiteX226" fmla="*/ 8477250 w 8801100"/>
                  <a:gd name="connsiteY226" fmla="*/ 1409700 h 4411661"/>
                  <a:gd name="connsiteX227" fmla="*/ 8436769 w 8801100"/>
                  <a:gd name="connsiteY227" fmla="*/ 1414463 h 4411661"/>
                  <a:gd name="connsiteX228" fmla="*/ 8351043 w 8801100"/>
                  <a:gd name="connsiteY228" fmla="*/ 1340644 h 4411661"/>
                  <a:gd name="connsiteX229" fmla="*/ 8170069 w 8801100"/>
                  <a:gd name="connsiteY229" fmla="*/ 1340643 h 4411661"/>
                  <a:gd name="connsiteX230" fmla="*/ 8117681 w 8801100"/>
                  <a:gd name="connsiteY230" fmla="*/ 1378744 h 4411661"/>
                  <a:gd name="connsiteX231" fmla="*/ 8067675 w 8801100"/>
                  <a:gd name="connsiteY231" fmla="*/ 1457325 h 4411661"/>
                  <a:gd name="connsiteX232" fmla="*/ 8084344 w 8801100"/>
                  <a:gd name="connsiteY232" fmla="*/ 1478756 h 4411661"/>
                  <a:gd name="connsiteX233" fmla="*/ 8039100 w 8801100"/>
                  <a:gd name="connsiteY233" fmla="*/ 1528762 h 4411661"/>
                  <a:gd name="connsiteX234" fmla="*/ 7889081 w 8801100"/>
                  <a:gd name="connsiteY234" fmla="*/ 1452562 h 4411661"/>
                  <a:gd name="connsiteX235" fmla="*/ 7798594 w 8801100"/>
                  <a:gd name="connsiteY235" fmla="*/ 1488281 h 4411661"/>
                  <a:gd name="connsiteX236" fmla="*/ 7724775 w 8801100"/>
                  <a:gd name="connsiteY236" fmla="*/ 1485900 h 4411661"/>
                  <a:gd name="connsiteX237" fmla="*/ 7667625 w 8801100"/>
                  <a:gd name="connsiteY237" fmla="*/ 1581150 h 4411661"/>
                  <a:gd name="connsiteX238" fmla="*/ 7529513 w 8801100"/>
                  <a:gd name="connsiteY238" fmla="*/ 1483519 h 4411661"/>
                  <a:gd name="connsiteX0" fmla="*/ 7529513 w 8971757"/>
                  <a:gd name="connsiteY0" fmla="*/ 1483519 h 4440238"/>
                  <a:gd name="connsiteX1" fmla="*/ 7522369 w 8971757"/>
                  <a:gd name="connsiteY1" fmla="*/ 1428750 h 4440238"/>
                  <a:gd name="connsiteX2" fmla="*/ 7589044 w 8971757"/>
                  <a:gd name="connsiteY2" fmla="*/ 1354931 h 4440238"/>
                  <a:gd name="connsiteX3" fmla="*/ 7572375 w 8971757"/>
                  <a:gd name="connsiteY3" fmla="*/ 1283494 h 4440238"/>
                  <a:gd name="connsiteX4" fmla="*/ 7586663 w 8971757"/>
                  <a:gd name="connsiteY4" fmla="*/ 1188244 h 4440238"/>
                  <a:gd name="connsiteX5" fmla="*/ 7624763 w 8971757"/>
                  <a:gd name="connsiteY5" fmla="*/ 1131094 h 4440238"/>
                  <a:gd name="connsiteX6" fmla="*/ 7605712 w 8971757"/>
                  <a:gd name="connsiteY6" fmla="*/ 1097756 h 4440238"/>
                  <a:gd name="connsiteX7" fmla="*/ 7703343 w 8971757"/>
                  <a:gd name="connsiteY7" fmla="*/ 697706 h 4440238"/>
                  <a:gd name="connsiteX8" fmla="*/ 7696200 w 8971757"/>
                  <a:gd name="connsiteY8" fmla="*/ 669131 h 4440238"/>
                  <a:gd name="connsiteX9" fmla="*/ 7567613 w 8971757"/>
                  <a:gd name="connsiteY9" fmla="*/ 647700 h 4440238"/>
                  <a:gd name="connsiteX10" fmla="*/ 7384257 w 8971757"/>
                  <a:gd name="connsiteY10" fmla="*/ 726281 h 4440238"/>
                  <a:gd name="connsiteX11" fmla="*/ 7227093 w 8971757"/>
                  <a:gd name="connsiteY11" fmla="*/ 611981 h 4440238"/>
                  <a:gd name="connsiteX12" fmla="*/ 7150894 w 8971757"/>
                  <a:gd name="connsiteY12" fmla="*/ 619125 h 4440238"/>
                  <a:gd name="connsiteX13" fmla="*/ 7077075 w 8971757"/>
                  <a:gd name="connsiteY13" fmla="*/ 614363 h 4440238"/>
                  <a:gd name="connsiteX14" fmla="*/ 6938963 w 8971757"/>
                  <a:gd name="connsiteY14" fmla="*/ 719138 h 4440238"/>
                  <a:gd name="connsiteX15" fmla="*/ 6831806 w 8971757"/>
                  <a:gd name="connsiteY15" fmla="*/ 826294 h 4440238"/>
                  <a:gd name="connsiteX16" fmla="*/ 6788944 w 8971757"/>
                  <a:gd name="connsiteY16" fmla="*/ 895350 h 4440238"/>
                  <a:gd name="connsiteX17" fmla="*/ 6796088 w 8971757"/>
                  <a:gd name="connsiteY17" fmla="*/ 931069 h 4440238"/>
                  <a:gd name="connsiteX18" fmla="*/ 6734175 w 8971757"/>
                  <a:gd name="connsiteY18" fmla="*/ 942975 h 4440238"/>
                  <a:gd name="connsiteX19" fmla="*/ 6753225 w 8971757"/>
                  <a:gd name="connsiteY19" fmla="*/ 942975 h 4440238"/>
                  <a:gd name="connsiteX20" fmla="*/ 6719888 w 8971757"/>
                  <a:gd name="connsiteY20" fmla="*/ 973931 h 4440238"/>
                  <a:gd name="connsiteX21" fmla="*/ 6619875 w 8971757"/>
                  <a:gd name="connsiteY21" fmla="*/ 973932 h 4440238"/>
                  <a:gd name="connsiteX22" fmla="*/ 6524625 w 8971757"/>
                  <a:gd name="connsiteY22" fmla="*/ 1028700 h 4440238"/>
                  <a:gd name="connsiteX23" fmla="*/ 6443663 w 8971757"/>
                  <a:gd name="connsiteY23" fmla="*/ 1038225 h 4440238"/>
                  <a:gd name="connsiteX24" fmla="*/ 6403181 w 8971757"/>
                  <a:gd name="connsiteY24" fmla="*/ 1071563 h 4440238"/>
                  <a:gd name="connsiteX25" fmla="*/ 6353175 w 8971757"/>
                  <a:gd name="connsiteY25" fmla="*/ 1076325 h 4440238"/>
                  <a:gd name="connsiteX26" fmla="*/ 6231732 w 8971757"/>
                  <a:gd name="connsiteY26" fmla="*/ 1169194 h 4440238"/>
                  <a:gd name="connsiteX27" fmla="*/ 6172200 w 8971757"/>
                  <a:gd name="connsiteY27" fmla="*/ 1173956 h 4440238"/>
                  <a:gd name="connsiteX28" fmla="*/ 6119813 w 8971757"/>
                  <a:gd name="connsiteY28" fmla="*/ 1138238 h 4440238"/>
                  <a:gd name="connsiteX29" fmla="*/ 6093619 w 8971757"/>
                  <a:gd name="connsiteY29" fmla="*/ 1173956 h 4440238"/>
                  <a:gd name="connsiteX30" fmla="*/ 5895975 w 8971757"/>
                  <a:gd name="connsiteY30" fmla="*/ 1166813 h 4440238"/>
                  <a:gd name="connsiteX31" fmla="*/ 5834063 w 8971757"/>
                  <a:gd name="connsiteY31" fmla="*/ 1121569 h 4440238"/>
                  <a:gd name="connsiteX32" fmla="*/ 5636419 w 8971757"/>
                  <a:gd name="connsiteY32" fmla="*/ 1138238 h 4440238"/>
                  <a:gd name="connsiteX33" fmla="*/ 5548313 w 8971757"/>
                  <a:gd name="connsiteY33" fmla="*/ 1054893 h 4440238"/>
                  <a:gd name="connsiteX34" fmla="*/ 5472113 w 8971757"/>
                  <a:gd name="connsiteY34" fmla="*/ 1009650 h 4440238"/>
                  <a:gd name="connsiteX35" fmla="*/ 5474493 w 8971757"/>
                  <a:gd name="connsiteY35" fmla="*/ 952500 h 4440238"/>
                  <a:gd name="connsiteX36" fmla="*/ 5455444 w 8971757"/>
                  <a:gd name="connsiteY36" fmla="*/ 909637 h 4440238"/>
                  <a:gd name="connsiteX37" fmla="*/ 5360194 w 8971757"/>
                  <a:gd name="connsiteY37" fmla="*/ 912019 h 4440238"/>
                  <a:gd name="connsiteX38" fmla="*/ 5264944 w 8971757"/>
                  <a:gd name="connsiteY38" fmla="*/ 890588 h 4440238"/>
                  <a:gd name="connsiteX39" fmla="*/ 5195887 w 8971757"/>
                  <a:gd name="connsiteY39" fmla="*/ 823912 h 4440238"/>
                  <a:gd name="connsiteX40" fmla="*/ 5160169 w 8971757"/>
                  <a:gd name="connsiteY40" fmla="*/ 781050 h 4440238"/>
                  <a:gd name="connsiteX41" fmla="*/ 5079206 w 8971757"/>
                  <a:gd name="connsiteY41" fmla="*/ 757237 h 4440238"/>
                  <a:gd name="connsiteX42" fmla="*/ 5005388 w 8971757"/>
                  <a:gd name="connsiteY42" fmla="*/ 769143 h 4440238"/>
                  <a:gd name="connsiteX43" fmla="*/ 4948237 w 8971757"/>
                  <a:gd name="connsiteY43" fmla="*/ 716756 h 4440238"/>
                  <a:gd name="connsiteX44" fmla="*/ 4852988 w 8971757"/>
                  <a:gd name="connsiteY44" fmla="*/ 728663 h 4440238"/>
                  <a:gd name="connsiteX45" fmla="*/ 4800600 w 8971757"/>
                  <a:gd name="connsiteY45" fmla="*/ 702469 h 4440238"/>
                  <a:gd name="connsiteX46" fmla="*/ 4719638 w 8971757"/>
                  <a:gd name="connsiteY46" fmla="*/ 745331 h 4440238"/>
                  <a:gd name="connsiteX47" fmla="*/ 4581525 w 8971757"/>
                  <a:gd name="connsiteY47" fmla="*/ 769144 h 4440238"/>
                  <a:gd name="connsiteX48" fmla="*/ 4452938 w 8971757"/>
                  <a:gd name="connsiteY48" fmla="*/ 862013 h 4440238"/>
                  <a:gd name="connsiteX49" fmla="*/ 4405312 w 8971757"/>
                  <a:gd name="connsiteY49" fmla="*/ 823913 h 4440238"/>
                  <a:gd name="connsiteX50" fmla="*/ 4383881 w 8971757"/>
                  <a:gd name="connsiteY50" fmla="*/ 854868 h 4440238"/>
                  <a:gd name="connsiteX51" fmla="*/ 4310063 w 8971757"/>
                  <a:gd name="connsiteY51" fmla="*/ 804863 h 4440238"/>
                  <a:gd name="connsiteX52" fmla="*/ 4271963 w 8971757"/>
                  <a:gd name="connsiteY52" fmla="*/ 812006 h 4440238"/>
                  <a:gd name="connsiteX53" fmla="*/ 4250531 w 8971757"/>
                  <a:gd name="connsiteY53" fmla="*/ 773906 h 4440238"/>
                  <a:gd name="connsiteX54" fmla="*/ 4191000 w 8971757"/>
                  <a:gd name="connsiteY54" fmla="*/ 778669 h 4440238"/>
                  <a:gd name="connsiteX55" fmla="*/ 4145756 w 8971757"/>
                  <a:gd name="connsiteY55" fmla="*/ 750094 h 4440238"/>
                  <a:gd name="connsiteX56" fmla="*/ 4107656 w 8971757"/>
                  <a:gd name="connsiteY56" fmla="*/ 747713 h 4440238"/>
                  <a:gd name="connsiteX57" fmla="*/ 4088606 w 8971757"/>
                  <a:gd name="connsiteY57" fmla="*/ 700087 h 4440238"/>
                  <a:gd name="connsiteX58" fmla="*/ 4074319 w 8971757"/>
                  <a:gd name="connsiteY58" fmla="*/ 669131 h 4440238"/>
                  <a:gd name="connsiteX59" fmla="*/ 4029075 w 8971757"/>
                  <a:gd name="connsiteY59" fmla="*/ 678656 h 4440238"/>
                  <a:gd name="connsiteX60" fmla="*/ 4010025 w 8971757"/>
                  <a:gd name="connsiteY60" fmla="*/ 642938 h 4440238"/>
                  <a:gd name="connsiteX61" fmla="*/ 4031457 w 8971757"/>
                  <a:gd name="connsiteY61" fmla="*/ 588169 h 4440238"/>
                  <a:gd name="connsiteX62" fmla="*/ 4000500 w 8971757"/>
                  <a:gd name="connsiteY62" fmla="*/ 561975 h 4440238"/>
                  <a:gd name="connsiteX63" fmla="*/ 4017169 w 8971757"/>
                  <a:gd name="connsiteY63" fmla="*/ 519113 h 4440238"/>
                  <a:gd name="connsiteX64" fmla="*/ 3990975 w 8971757"/>
                  <a:gd name="connsiteY64" fmla="*/ 476250 h 4440238"/>
                  <a:gd name="connsiteX65" fmla="*/ 3986213 w 8971757"/>
                  <a:gd name="connsiteY65" fmla="*/ 414338 h 4440238"/>
                  <a:gd name="connsiteX66" fmla="*/ 4010025 w 8971757"/>
                  <a:gd name="connsiteY66" fmla="*/ 350043 h 4440238"/>
                  <a:gd name="connsiteX67" fmla="*/ 3971925 w 8971757"/>
                  <a:gd name="connsiteY67" fmla="*/ 352425 h 4440238"/>
                  <a:gd name="connsiteX68" fmla="*/ 3852863 w 8971757"/>
                  <a:gd name="connsiteY68" fmla="*/ 295275 h 4440238"/>
                  <a:gd name="connsiteX69" fmla="*/ 3814762 w 8971757"/>
                  <a:gd name="connsiteY69" fmla="*/ 300037 h 4440238"/>
                  <a:gd name="connsiteX70" fmla="*/ 3609975 w 8971757"/>
                  <a:gd name="connsiteY70" fmla="*/ 190500 h 4440238"/>
                  <a:gd name="connsiteX71" fmla="*/ 3505200 w 8971757"/>
                  <a:gd name="connsiteY71" fmla="*/ 159544 h 4440238"/>
                  <a:gd name="connsiteX72" fmla="*/ 3440906 w 8971757"/>
                  <a:gd name="connsiteY72" fmla="*/ 169068 h 4440238"/>
                  <a:gd name="connsiteX73" fmla="*/ 3409950 w 8971757"/>
                  <a:gd name="connsiteY73" fmla="*/ 104775 h 4440238"/>
                  <a:gd name="connsiteX74" fmla="*/ 3352800 w 8971757"/>
                  <a:gd name="connsiteY74" fmla="*/ 104775 h 4440238"/>
                  <a:gd name="connsiteX75" fmla="*/ 3214687 w 8971757"/>
                  <a:gd name="connsiteY75" fmla="*/ 0 h 4440238"/>
                  <a:gd name="connsiteX76" fmla="*/ 3181350 w 8971757"/>
                  <a:gd name="connsiteY76" fmla="*/ 59532 h 4440238"/>
                  <a:gd name="connsiteX77" fmla="*/ 3126581 w 8971757"/>
                  <a:gd name="connsiteY77" fmla="*/ 128588 h 4440238"/>
                  <a:gd name="connsiteX78" fmla="*/ 3083719 w 8971757"/>
                  <a:gd name="connsiteY78" fmla="*/ 145256 h 4440238"/>
                  <a:gd name="connsiteX79" fmla="*/ 3052763 w 8971757"/>
                  <a:gd name="connsiteY79" fmla="*/ 138113 h 4440238"/>
                  <a:gd name="connsiteX80" fmla="*/ 3028950 w 8971757"/>
                  <a:gd name="connsiteY80" fmla="*/ 166688 h 4440238"/>
                  <a:gd name="connsiteX81" fmla="*/ 3002756 w 8971757"/>
                  <a:gd name="connsiteY81" fmla="*/ 245269 h 4440238"/>
                  <a:gd name="connsiteX82" fmla="*/ 2959894 w 8971757"/>
                  <a:gd name="connsiteY82" fmla="*/ 242888 h 4440238"/>
                  <a:gd name="connsiteX83" fmla="*/ 2928937 w 8971757"/>
                  <a:gd name="connsiteY83" fmla="*/ 304800 h 4440238"/>
                  <a:gd name="connsiteX84" fmla="*/ 2924175 w 8971757"/>
                  <a:gd name="connsiteY84" fmla="*/ 369094 h 4440238"/>
                  <a:gd name="connsiteX85" fmla="*/ 2897982 w 8971757"/>
                  <a:gd name="connsiteY85" fmla="*/ 407194 h 4440238"/>
                  <a:gd name="connsiteX86" fmla="*/ 2924175 w 8971757"/>
                  <a:gd name="connsiteY86" fmla="*/ 466725 h 4440238"/>
                  <a:gd name="connsiteX87" fmla="*/ 2926556 w 8971757"/>
                  <a:gd name="connsiteY87" fmla="*/ 535781 h 4440238"/>
                  <a:gd name="connsiteX88" fmla="*/ 2955131 w 8971757"/>
                  <a:gd name="connsiteY88" fmla="*/ 588169 h 4440238"/>
                  <a:gd name="connsiteX89" fmla="*/ 8971757 w 8971757"/>
                  <a:gd name="connsiteY89" fmla="*/ 4440238 h 4440238"/>
                  <a:gd name="connsiteX90" fmla="*/ 2381 w 8971757"/>
                  <a:gd name="connsiteY90" fmla="*/ 4411661 h 4440238"/>
                  <a:gd name="connsiteX91" fmla="*/ 0 w 8971757"/>
                  <a:gd name="connsiteY91" fmla="*/ 709613 h 4440238"/>
                  <a:gd name="connsiteX92" fmla="*/ 76200 w 8971757"/>
                  <a:gd name="connsiteY92" fmla="*/ 692944 h 4440238"/>
                  <a:gd name="connsiteX93" fmla="*/ 119063 w 8971757"/>
                  <a:gd name="connsiteY93" fmla="*/ 721519 h 4440238"/>
                  <a:gd name="connsiteX94" fmla="*/ 215900 w 8971757"/>
                  <a:gd name="connsiteY94" fmla="*/ 712788 h 4440238"/>
                  <a:gd name="connsiteX95" fmla="*/ 261938 w 8971757"/>
                  <a:gd name="connsiteY95" fmla="*/ 740568 h 4440238"/>
                  <a:gd name="connsiteX96" fmla="*/ 228600 w 8971757"/>
                  <a:gd name="connsiteY96" fmla="*/ 769144 h 4440238"/>
                  <a:gd name="connsiteX97" fmla="*/ 233363 w 8971757"/>
                  <a:gd name="connsiteY97" fmla="*/ 812006 h 4440238"/>
                  <a:gd name="connsiteX98" fmla="*/ 200025 w 8971757"/>
                  <a:gd name="connsiteY98" fmla="*/ 816769 h 4440238"/>
                  <a:gd name="connsiteX99" fmla="*/ 204788 w 8971757"/>
                  <a:gd name="connsiteY99" fmla="*/ 840581 h 4440238"/>
                  <a:gd name="connsiteX100" fmla="*/ 261937 w 8971757"/>
                  <a:gd name="connsiteY100" fmla="*/ 914400 h 4440238"/>
                  <a:gd name="connsiteX101" fmla="*/ 223838 w 8971757"/>
                  <a:gd name="connsiteY101" fmla="*/ 962025 h 4440238"/>
                  <a:gd name="connsiteX102" fmla="*/ 278606 w 8971757"/>
                  <a:gd name="connsiteY102" fmla="*/ 997744 h 4440238"/>
                  <a:gd name="connsiteX103" fmla="*/ 369094 w 8971757"/>
                  <a:gd name="connsiteY103" fmla="*/ 1085850 h 4440238"/>
                  <a:gd name="connsiteX104" fmla="*/ 371475 w 8971757"/>
                  <a:gd name="connsiteY104" fmla="*/ 1145381 h 4440238"/>
                  <a:gd name="connsiteX105" fmla="*/ 507206 w 8971757"/>
                  <a:gd name="connsiteY105" fmla="*/ 1278732 h 4440238"/>
                  <a:gd name="connsiteX106" fmla="*/ 561975 w 8971757"/>
                  <a:gd name="connsiteY106" fmla="*/ 1254919 h 4440238"/>
                  <a:gd name="connsiteX107" fmla="*/ 600075 w 8971757"/>
                  <a:gd name="connsiteY107" fmla="*/ 1281112 h 4440238"/>
                  <a:gd name="connsiteX108" fmla="*/ 614363 w 8971757"/>
                  <a:gd name="connsiteY108" fmla="*/ 1331118 h 4440238"/>
                  <a:gd name="connsiteX109" fmla="*/ 657225 w 8971757"/>
                  <a:gd name="connsiteY109" fmla="*/ 1366838 h 4440238"/>
                  <a:gd name="connsiteX110" fmla="*/ 697706 w 8971757"/>
                  <a:gd name="connsiteY110" fmla="*/ 1354931 h 4440238"/>
                  <a:gd name="connsiteX111" fmla="*/ 716756 w 8971757"/>
                  <a:gd name="connsiteY111" fmla="*/ 1412081 h 4440238"/>
                  <a:gd name="connsiteX112" fmla="*/ 764381 w 8971757"/>
                  <a:gd name="connsiteY112" fmla="*/ 1454944 h 4440238"/>
                  <a:gd name="connsiteX113" fmla="*/ 788194 w 8971757"/>
                  <a:gd name="connsiteY113" fmla="*/ 1557338 h 4440238"/>
                  <a:gd name="connsiteX114" fmla="*/ 785813 w 8971757"/>
                  <a:gd name="connsiteY114" fmla="*/ 1604963 h 4440238"/>
                  <a:gd name="connsiteX115" fmla="*/ 821531 w 8971757"/>
                  <a:gd name="connsiteY115" fmla="*/ 1704975 h 4440238"/>
                  <a:gd name="connsiteX116" fmla="*/ 866775 w 8971757"/>
                  <a:gd name="connsiteY116" fmla="*/ 1762125 h 4440238"/>
                  <a:gd name="connsiteX117" fmla="*/ 883443 w 8971757"/>
                  <a:gd name="connsiteY117" fmla="*/ 1919287 h 4440238"/>
                  <a:gd name="connsiteX118" fmla="*/ 850106 w 8971757"/>
                  <a:gd name="connsiteY118" fmla="*/ 1981200 h 4440238"/>
                  <a:gd name="connsiteX119" fmla="*/ 819150 w 8971757"/>
                  <a:gd name="connsiteY119" fmla="*/ 2057400 h 4440238"/>
                  <a:gd name="connsiteX120" fmla="*/ 833438 w 8971757"/>
                  <a:gd name="connsiteY120" fmla="*/ 2114550 h 4440238"/>
                  <a:gd name="connsiteX121" fmla="*/ 735806 w 8971757"/>
                  <a:gd name="connsiteY121" fmla="*/ 2221707 h 4440238"/>
                  <a:gd name="connsiteX122" fmla="*/ 692944 w 8971757"/>
                  <a:gd name="connsiteY122" fmla="*/ 2336006 h 4440238"/>
                  <a:gd name="connsiteX123" fmla="*/ 726281 w 8971757"/>
                  <a:gd name="connsiteY123" fmla="*/ 2376488 h 4440238"/>
                  <a:gd name="connsiteX124" fmla="*/ 709613 w 8971757"/>
                  <a:gd name="connsiteY124" fmla="*/ 2405063 h 4440238"/>
                  <a:gd name="connsiteX125" fmla="*/ 740569 w 8971757"/>
                  <a:gd name="connsiteY125" fmla="*/ 2462213 h 4440238"/>
                  <a:gd name="connsiteX126" fmla="*/ 769144 w 8971757"/>
                  <a:gd name="connsiteY126" fmla="*/ 2462213 h 4440238"/>
                  <a:gd name="connsiteX127" fmla="*/ 931069 w 8971757"/>
                  <a:gd name="connsiteY127" fmla="*/ 2564606 h 4440238"/>
                  <a:gd name="connsiteX128" fmla="*/ 1035844 w 8971757"/>
                  <a:gd name="connsiteY128" fmla="*/ 2562225 h 4440238"/>
                  <a:gd name="connsiteX129" fmla="*/ 1114425 w 8971757"/>
                  <a:gd name="connsiteY129" fmla="*/ 2616994 h 4440238"/>
                  <a:gd name="connsiteX130" fmla="*/ 1245393 w 8971757"/>
                  <a:gd name="connsiteY130" fmla="*/ 2619375 h 4440238"/>
                  <a:gd name="connsiteX131" fmla="*/ 1435893 w 8971757"/>
                  <a:gd name="connsiteY131" fmla="*/ 2688431 h 4440238"/>
                  <a:gd name="connsiteX132" fmla="*/ 1638300 w 8971757"/>
                  <a:gd name="connsiteY132" fmla="*/ 2838450 h 4440238"/>
                  <a:gd name="connsiteX133" fmla="*/ 1671637 w 8971757"/>
                  <a:gd name="connsiteY133" fmla="*/ 2905125 h 4440238"/>
                  <a:gd name="connsiteX134" fmla="*/ 1838325 w 8971757"/>
                  <a:gd name="connsiteY134" fmla="*/ 3031331 h 4440238"/>
                  <a:gd name="connsiteX135" fmla="*/ 1909763 w 8971757"/>
                  <a:gd name="connsiteY135" fmla="*/ 3026569 h 4440238"/>
                  <a:gd name="connsiteX136" fmla="*/ 1945482 w 8971757"/>
                  <a:gd name="connsiteY136" fmla="*/ 3050381 h 4440238"/>
                  <a:gd name="connsiteX137" fmla="*/ 1916906 w 8971757"/>
                  <a:gd name="connsiteY137" fmla="*/ 3090863 h 4440238"/>
                  <a:gd name="connsiteX138" fmla="*/ 1924050 w 8971757"/>
                  <a:gd name="connsiteY138" fmla="*/ 3143250 h 4440238"/>
                  <a:gd name="connsiteX139" fmla="*/ 1976438 w 8971757"/>
                  <a:gd name="connsiteY139" fmla="*/ 3169444 h 4440238"/>
                  <a:gd name="connsiteX140" fmla="*/ 2038350 w 8971757"/>
                  <a:gd name="connsiteY140" fmla="*/ 3393282 h 4440238"/>
                  <a:gd name="connsiteX141" fmla="*/ 2028825 w 8971757"/>
                  <a:gd name="connsiteY141" fmla="*/ 3457575 h 4440238"/>
                  <a:gd name="connsiteX142" fmla="*/ 2164556 w 8971757"/>
                  <a:gd name="connsiteY142" fmla="*/ 3624263 h 4440238"/>
                  <a:gd name="connsiteX143" fmla="*/ 2183606 w 8971757"/>
                  <a:gd name="connsiteY143" fmla="*/ 3674269 h 4440238"/>
                  <a:gd name="connsiteX144" fmla="*/ 2157413 w 8971757"/>
                  <a:gd name="connsiteY144" fmla="*/ 3693319 h 4440238"/>
                  <a:gd name="connsiteX145" fmla="*/ 2259806 w 8971757"/>
                  <a:gd name="connsiteY145" fmla="*/ 3702844 h 4440238"/>
                  <a:gd name="connsiteX146" fmla="*/ 2371725 w 8971757"/>
                  <a:gd name="connsiteY146" fmla="*/ 3690938 h 4440238"/>
                  <a:gd name="connsiteX147" fmla="*/ 2650331 w 8971757"/>
                  <a:gd name="connsiteY147" fmla="*/ 3774281 h 4440238"/>
                  <a:gd name="connsiteX148" fmla="*/ 3057525 w 8971757"/>
                  <a:gd name="connsiteY148" fmla="*/ 3855244 h 4440238"/>
                  <a:gd name="connsiteX149" fmla="*/ 3255169 w 8971757"/>
                  <a:gd name="connsiteY149" fmla="*/ 3824287 h 4440238"/>
                  <a:gd name="connsiteX150" fmla="*/ 3300413 w 8971757"/>
                  <a:gd name="connsiteY150" fmla="*/ 3836193 h 4440238"/>
                  <a:gd name="connsiteX151" fmla="*/ 3355181 w 8971757"/>
                  <a:gd name="connsiteY151" fmla="*/ 3812382 h 4440238"/>
                  <a:gd name="connsiteX152" fmla="*/ 3748087 w 8971757"/>
                  <a:gd name="connsiteY152" fmla="*/ 3902869 h 4440238"/>
                  <a:gd name="connsiteX153" fmla="*/ 3831432 w 8971757"/>
                  <a:gd name="connsiteY153" fmla="*/ 4000500 h 4440238"/>
                  <a:gd name="connsiteX154" fmla="*/ 3950494 w 8971757"/>
                  <a:gd name="connsiteY154" fmla="*/ 4071938 h 4440238"/>
                  <a:gd name="connsiteX155" fmla="*/ 4010025 w 8971757"/>
                  <a:gd name="connsiteY155" fmla="*/ 4055269 h 4440238"/>
                  <a:gd name="connsiteX156" fmla="*/ 4360068 w 8971757"/>
                  <a:gd name="connsiteY156" fmla="*/ 4229100 h 4440238"/>
                  <a:gd name="connsiteX157" fmla="*/ 4586288 w 8971757"/>
                  <a:gd name="connsiteY157" fmla="*/ 4200525 h 4440238"/>
                  <a:gd name="connsiteX158" fmla="*/ 4595813 w 8971757"/>
                  <a:gd name="connsiteY158" fmla="*/ 4279106 h 4440238"/>
                  <a:gd name="connsiteX159" fmla="*/ 4681538 w 8971757"/>
                  <a:gd name="connsiteY159" fmla="*/ 4274343 h 4440238"/>
                  <a:gd name="connsiteX160" fmla="*/ 4760119 w 8971757"/>
                  <a:gd name="connsiteY160" fmla="*/ 4305300 h 4440238"/>
                  <a:gd name="connsiteX161" fmla="*/ 4802981 w 8971757"/>
                  <a:gd name="connsiteY161" fmla="*/ 4245769 h 4440238"/>
                  <a:gd name="connsiteX162" fmla="*/ 5474494 w 8971757"/>
                  <a:gd name="connsiteY162" fmla="*/ 3926681 h 4440238"/>
                  <a:gd name="connsiteX163" fmla="*/ 5562600 w 8971757"/>
                  <a:gd name="connsiteY163" fmla="*/ 3955257 h 4440238"/>
                  <a:gd name="connsiteX164" fmla="*/ 5693569 w 8971757"/>
                  <a:gd name="connsiteY164" fmla="*/ 3926681 h 4440238"/>
                  <a:gd name="connsiteX165" fmla="*/ 5872162 w 8971757"/>
                  <a:gd name="connsiteY165" fmla="*/ 3943350 h 4440238"/>
                  <a:gd name="connsiteX166" fmla="*/ 5929313 w 8971757"/>
                  <a:gd name="connsiteY166" fmla="*/ 3917157 h 4440238"/>
                  <a:gd name="connsiteX167" fmla="*/ 6062662 w 8971757"/>
                  <a:gd name="connsiteY167" fmla="*/ 3914775 h 4440238"/>
                  <a:gd name="connsiteX168" fmla="*/ 6196012 w 8971757"/>
                  <a:gd name="connsiteY168" fmla="*/ 3817144 h 4440238"/>
                  <a:gd name="connsiteX169" fmla="*/ 6262687 w 8971757"/>
                  <a:gd name="connsiteY169" fmla="*/ 3810000 h 4440238"/>
                  <a:gd name="connsiteX170" fmla="*/ 6360319 w 8971757"/>
                  <a:gd name="connsiteY170" fmla="*/ 3736181 h 4440238"/>
                  <a:gd name="connsiteX171" fmla="*/ 6434138 w 8971757"/>
                  <a:gd name="connsiteY171" fmla="*/ 3667125 h 4440238"/>
                  <a:gd name="connsiteX172" fmla="*/ 6443663 w 8971757"/>
                  <a:gd name="connsiteY172" fmla="*/ 3605213 h 4440238"/>
                  <a:gd name="connsiteX173" fmla="*/ 6477000 w 8971757"/>
                  <a:gd name="connsiteY173" fmla="*/ 3536156 h 4440238"/>
                  <a:gd name="connsiteX174" fmla="*/ 6629400 w 8971757"/>
                  <a:gd name="connsiteY174" fmla="*/ 3429000 h 4440238"/>
                  <a:gd name="connsiteX175" fmla="*/ 6662738 w 8971757"/>
                  <a:gd name="connsiteY175" fmla="*/ 3433763 h 4440238"/>
                  <a:gd name="connsiteX176" fmla="*/ 6715125 w 8971757"/>
                  <a:gd name="connsiteY176" fmla="*/ 3355181 h 4440238"/>
                  <a:gd name="connsiteX177" fmla="*/ 6762750 w 8971757"/>
                  <a:gd name="connsiteY177" fmla="*/ 3317081 h 4440238"/>
                  <a:gd name="connsiteX178" fmla="*/ 6748463 w 8971757"/>
                  <a:gd name="connsiteY178" fmla="*/ 3248025 h 4440238"/>
                  <a:gd name="connsiteX179" fmla="*/ 6698456 w 8971757"/>
                  <a:gd name="connsiteY179" fmla="*/ 3217068 h 4440238"/>
                  <a:gd name="connsiteX180" fmla="*/ 6638925 w 8971757"/>
                  <a:gd name="connsiteY180" fmla="*/ 3162300 h 4440238"/>
                  <a:gd name="connsiteX181" fmla="*/ 6619875 w 8971757"/>
                  <a:gd name="connsiteY181" fmla="*/ 3105150 h 4440238"/>
                  <a:gd name="connsiteX182" fmla="*/ 6584156 w 8971757"/>
                  <a:gd name="connsiteY182" fmla="*/ 3071813 h 4440238"/>
                  <a:gd name="connsiteX183" fmla="*/ 6610350 w 8971757"/>
                  <a:gd name="connsiteY183" fmla="*/ 3019425 h 4440238"/>
                  <a:gd name="connsiteX184" fmla="*/ 6650831 w 8971757"/>
                  <a:gd name="connsiteY184" fmla="*/ 2840831 h 4440238"/>
                  <a:gd name="connsiteX185" fmla="*/ 6691313 w 8971757"/>
                  <a:gd name="connsiteY185" fmla="*/ 2774156 h 4440238"/>
                  <a:gd name="connsiteX186" fmla="*/ 6836569 w 8971757"/>
                  <a:gd name="connsiteY186" fmla="*/ 2757487 h 4440238"/>
                  <a:gd name="connsiteX187" fmla="*/ 6905625 w 8971757"/>
                  <a:gd name="connsiteY187" fmla="*/ 2814638 h 4440238"/>
                  <a:gd name="connsiteX188" fmla="*/ 6981825 w 8971757"/>
                  <a:gd name="connsiteY188" fmla="*/ 2838450 h 4440238"/>
                  <a:gd name="connsiteX189" fmla="*/ 7186612 w 8971757"/>
                  <a:gd name="connsiteY189" fmla="*/ 2843213 h 4440238"/>
                  <a:gd name="connsiteX190" fmla="*/ 7362825 w 8971757"/>
                  <a:gd name="connsiteY190" fmla="*/ 2705100 h 4440238"/>
                  <a:gd name="connsiteX191" fmla="*/ 7419975 w 8971757"/>
                  <a:gd name="connsiteY191" fmla="*/ 2614612 h 4440238"/>
                  <a:gd name="connsiteX192" fmla="*/ 7446169 w 8971757"/>
                  <a:gd name="connsiteY192" fmla="*/ 2531269 h 4440238"/>
                  <a:gd name="connsiteX193" fmla="*/ 7577137 w 8971757"/>
                  <a:gd name="connsiteY193" fmla="*/ 2531269 h 4440238"/>
                  <a:gd name="connsiteX194" fmla="*/ 7750969 w 8971757"/>
                  <a:gd name="connsiteY194" fmla="*/ 2474118 h 4440238"/>
                  <a:gd name="connsiteX195" fmla="*/ 7810500 w 8971757"/>
                  <a:gd name="connsiteY195" fmla="*/ 2362200 h 4440238"/>
                  <a:gd name="connsiteX196" fmla="*/ 7874794 w 8971757"/>
                  <a:gd name="connsiteY196" fmla="*/ 2326481 h 4440238"/>
                  <a:gd name="connsiteX197" fmla="*/ 7853363 w 8971757"/>
                  <a:gd name="connsiteY197" fmla="*/ 2281238 h 4440238"/>
                  <a:gd name="connsiteX198" fmla="*/ 7931944 w 8971757"/>
                  <a:gd name="connsiteY198" fmla="*/ 2112168 h 4440238"/>
                  <a:gd name="connsiteX199" fmla="*/ 7986713 w 8971757"/>
                  <a:gd name="connsiteY199" fmla="*/ 2052638 h 4440238"/>
                  <a:gd name="connsiteX200" fmla="*/ 8024813 w 8971757"/>
                  <a:gd name="connsiteY200" fmla="*/ 2047875 h 4440238"/>
                  <a:gd name="connsiteX201" fmla="*/ 8070056 w 8971757"/>
                  <a:gd name="connsiteY201" fmla="*/ 2052638 h 4440238"/>
                  <a:gd name="connsiteX202" fmla="*/ 8134350 w 8971757"/>
                  <a:gd name="connsiteY202" fmla="*/ 2019300 h 4440238"/>
                  <a:gd name="connsiteX203" fmla="*/ 8143875 w 8971757"/>
                  <a:gd name="connsiteY203" fmla="*/ 1955006 h 4440238"/>
                  <a:gd name="connsiteX204" fmla="*/ 8184355 w 8971757"/>
                  <a:gd name="connsiteY204" fmla="*/ 1919288 h 4440238"/>
                  <a:gd name="connsiteX205" fmla="*/ 8243888 w 8971757"/>
                  <a:gd name="connsiteY205" fmla="*/ 1959768 h 4440238"/>
                  <a:gd name="connsiteX206" fmla="*/ 8270082 w 8971757"/>
                  <a:gd name="connsiteY206" fmla="*/ 1909762 h 4440238"/>
                  <a:gd name="connsiteX207" fmla="*/ 8365331 w 8971757"/>
                  <a:gd name="connsiteY207" fmla="*/ 1840706 h 4440238"/>
                  <a:gd name="connsiteX208" fmla="*/ 8427244 w 8971757"/>
                  <a:gd name="connsiteY208" fmla="*/ 1847850 h 4440238"/>
                  <a:gd name="connsiteX209" fmla="*/ 8477250 w 8971757"/>
                  <a:gd name="connsiteY209" fmla="*/ 1828800 h 4440238"/>
                  <a:gd name="connsiteX210" fmla="*/ 8515350 w 8971757"/>
                  <a:gd name="connsiteY210" fmla="*/ 1800225 h 4440238"/>
                  <a:gd name="connsiteX211" fmla="*/ 8548688 w 8971757"/>
                  <a:gd name="connsiteY211" fmla="*/ 1797844 h 4440238"/>
                  <a:gd name="connsiteX212" fmla="*/ 8584406 w 8971757"/>
                  <a:gd name="connsiteY212" fmla="*/ 1828800 h 4440238"/>
                  <a:gd name="connsiteX213" fmla="*/ 8643938 w 8971757"/>
                  <a:gd name="connsiteY213" fmla="*/ 1828800 h 4440238"/>
                  <a:gd name="connsiteX214" fmla="*/ 8682037 w 8971757"/>
                  <a:gd name="connsiteY214" fmla="*/ 1809750 h 4440238"/>
                  <a:gd name="connsiteX215" fmla="*/ 8765381 w 8971757"/>
                  <a:gd name="connsiteY215" fmla="*/ 1812132 h 4440238"/>
                  <a:gd name="connsiteX216" fmla="*/ 8796338 w 8971757"/>
                  <a:gd name="connsiteY216" fmla="*/ 1766888 h 4440238"/>
                  <a:gd name="connsiteX217" fmla="*/ 8801100 w 8971757"/>
                  <a:gd name="connsiteY217" fmla="*/ 1704975 h 4440238"/>
                  <a:gd name="connsiteX218" fmla="*/ 8751093 w 8971757"/>
                  <a:gd name="connsiteY218" fmla="*/ 1664494 h 4440238"/>
                  <a:gd name="connsiteX219" fmla="*/ 8734425 w 8971757"/>
                  <a:gd name="connsiteY219" fmla="*/ 1609725 h 4440238"/>
                  <a:gd name="connsiteX220" fmla="*/ 8643938 w 8971757"/>
                  <a:gd name="connsiteY220" fmla="*/ 1547813 h 4440238"/>
                  <a:gd name="connsiteX221" fmla="*/ 8603456 w 8971757"/>
                  <a:gd name="connsiteY221" fmla="*/ 1526381 h 4440238"/>
                  <a:gd name="connsiteX222" fmla="*/ 8565356 w 8971757"/>
                  <a:gd name="connsiteY222" fmla="*/ 1481138 h 4440238"/>
                  <a:gd name="connsiteX223" fmla="*/ 8534400 w 8971757"/>
                  <a:gd name="connsiteY223" fmla="*/ 1478756 h 4440238"/>
                  <a:gd name="connsiteX224" fmla="*/ 8517731 w 8971757"/>
                  <a:gd name="connsiteY224" fmla="*/ 1426369 h 4440238"/>
                  <a:gd name="connsiteX225" fmla="*/ 8477250 w 8971757"/>
                  <a:gd name="connsiteY225" fmla="*/ 1409700 h 4440238"/>
                  <a:gd name="connsiteX226" fmla="*/ 8477250 w 8971757"/>
                  <a:gd name="connsiteY226" fmla="*/ 1409700 h 4440238"/>
                  <a:gd name="connsiteX227" fmla="*/ 8436769 w 8971757"/>
                  <a:gd name="connsiteY227" fmla="*/ 1414463 h 4440238"/>
                  <a:gd name="connsiteX228" fmla="*/ 8351043 w 8971757"/>
                  <a:gd name="connsiteY228" fmla="*/ 1340644 h 4440238"/>
                  <a:gd name="connsiteX229" fmla="*/ 8170069 w 8971757"/>
                  <a:gd name="connsiteY229" fmla="*/ 1340643 h 4440238"/>
                  <a:gd name="connsiteX230" fmla="*/ 8117681 w 8971757"/>
                  <a:gd name="connsiteY230" fmla="*/ 1378744 h 4440238"/>
                  <a:gd name="connsiteX231" fmla="*/ 8067675 w 8971757"/>
                  <a:gd name="connsiteY231" fmla="*/ 1457325 h 4440238"/>
                  <a:gd name="connsiteX232" fmla="*/ 8084344 w 8971757"/>
                  <a:gd name="connsiteY232" fmla="*/ 1478756 h 4440238"/>
                  <a:gd name="connsiteX233" fmla="*/ 8039100 w 8971757"/>
                  <a:gd name="connsiteY233" fmla="*/ 1528762 h 4440238"/>
                  <a:gd name="connsiteX234" fmla="*/ 7889081 w 8971757"/>
                  <a:gd name="connsiteY234" fmla="*/ 1452562 h 4440238"/>
                  <a:gd name="connsiteX235" fmla="*/ 7798594 w 8971757"/>
                  <a:gd name="connsiteY235" fmla="*/ 1488281 h 4440238"/>
                  <a:gd name="connsiteX236" fmla="*/ 7724775 w 8971757"/>
                  <a:gd name="connsiteY236" fmla="*/ 1485900 h 4440238"/>
                  <a:gd name="connsiteX237" fmla="*/ 7667625 w 8971757"/>
                  <a:gd name="connsiteY237" fmla="*/ 1581150 h 4440238"/>
                  <a:gd name="connsiteX238" fmla="*/ 7529513 w 8971757"/>
                  <a:gd name="connsiteY238" fmla="*/ 1483519 h 4440238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3002756 w 8971757"/>
                  <a:gd name="connsiteY81" fmla="*/ 381000 h 4575969"/>
                  <a:gd name="connsiteX82" fmla="*/ 2959894 w 8971757"/>
                  <a:gd name="connsiteY82" fmla="*/ 378619 h 4575969"/>
                  <a:gd name="connsiteX83" fmla="*/ 2928937 w 8971757"/>
                  <a:gd name="connsiteY83" fmla="*/ 440531 h 4575969"/>
                  <a:gd name="connsiteX84" fmla="*/ 2924175 w 8971757"/>
                  <a:gd name="connsiteY84" fmla="*/ 504825 h 4575969"/>
                  <a:gd name="connsiteX85" fmla="*/ 2897982 w 8971757"/>
                  <a:gd name="connsiteY85" fmla="*/ 542925 h 4575969"/>
                  <a:gd name="connsiteX86" fmla="*/ 2924175 w 8971757"/>
                  <a:gd name="connsiteY86" fmla="*/ 602456 h 4575969"/>
                  <a:gd name="connsiteX87" fmla="*/ 2926556 w 8971757"/>
                  <a:gd name="connsiteY87" fmla="*/ 671512 h 4575969"/>
                  <a:gd name="connsiteX88" fmla="*/ 8949531 w 8971757"/>
                  <a:gd name="connsiteY88" fmla="*/ 0 h 4575969"/>
                  <a:gd name="connsiteX89" fmla="*/ 8971757 w 8971757"/>
                  <a:gd name="connsiteY89" fmla="*/ 4575969 h 4575969"/>
                  <a:gd name="connsiteX90" fmla="*/ 2381 w 8971757"/>
                  <a:gd name="connsiteY90" fmla="*/ 4547392 h 4575969"/>
                  <a:gd name="connsiteX91" fmla="*/ 0 w 8971757"/>
                  <a:gd name="connsiteY91" fmla="*/ 845344 h 4575969"/>
                  <a:gd name="connsiteX92" fmla="*/ 76200 w 8971757"/>
                  <a:gd name="connsiteY92" fmla="*/ 828675 h 4575969"/>
                  <a:gd name="connsiteX93" fmla="*/ 119063 w 8971757"/>
                  <a:gd name="connsiteY93" fmla="*/ 857250 h 4575969"/>
                  <a:gd name="connsiteX94" fmla="*/ 215900 w 8971757"/>
                  <a:gd name="connsiteY94" fmla="*/ 848519 h 4575969"/>
                  <a:gd name="connsiteX95" fmla="*/ 261938 w 8971757"/>
                  <a:gd name="connsiteY95" fmla="*/ 876299 h 4575969"/>
                  <a:gd name="connsiteX96" fmla="*/ 228600 w 8971757"/>
                  <a:gd name="connsiteY96" fmla="*/ 904875 h 4575969"/>
                  <a:gd name="connsiteX97" fmla="*/ 233363 w 8971757"/>
                  <a:gd name="connsiteY97" fmla="*/ 947737 h 4575969"/>
                  <a:gd name="connsiteX98" fmla="*/ 200025 w 8971757"/>
                  <a:gd name="connsiteY98" fmla="*/ 952500 h 4575969"/>
                  <a:gd name="connsiteX99" fmla="*/ 204788 w 8971757"/>
                  <a:gd name="connsiteY99" fmla="*/ 976312 h 4575969"/>
                  <a:gd name="connsiteX100" fmla="*/ 261937 w 8971757"/>
                  <a:gd name="connsiteY100" fmla="*/ 1050131 h 4575969"/>
                  <a:gd name="connsiteX101" fmla="*/ 223838 w 8971757"/>
                  <a:gd name="connsiteY101" fmla="*/ 1097756 h 4575969"/>
                  <a:gd name="connsiteX102" fmla="*/ 278606 w 8971757"/>
                  <a:gd name="connsiteY102" fmla="*/ 1133475 h 4575969"/>
                  <a:gd name="connsiteX103" fmla="*/ 369094 w 8971757"/>
                  <a:gd name="connsiteY103" fmla="*/ 1221581 h 4575969"/>
                  <a:gd name="connsiteX104" fmla="*/ 371475 w 8971757"/>
                  <a:gd name="connsiteY104" fmla="*/ 1281112 h 4575969"/>
                  <a:gd name="connsiteX105" fmla="*/ 507206 w 8971757"/>
                  <a:gd name="connsiteY105" fmla="*/ 1414463 h 4575969"/>
                  <a:gd name="connsiteX106" fmla="*/ 561975 w 8971757"/>
                  <a:gd name="connsiteY106" fmla="*/ 1390650 h 4575969"/>
                  <a:gd name="connsiteX107" fmla="*/ 600075 w 8971757"/>
                  <a:gd name="connsiteY107" fmla="*/ 1416843 h 4575969"/>
                  <a:gd name="connsiteX108" fmla="*/ 614363 w 8971757"/>
                  <a:gd name="connsiteY108" fmla="*/ 1466849 h 4575969"/>
                  <a:gd name="connsiteX109" fmla="*/ 657225 w 8971757"/>
                  <a:gd name="connsiteY109" fmla="*/ 1502569 h 4575969"/>
                  <a:gd name="connsiteX110" fmla="*/ 697706 w 8971757"/>
                  <a:gd name="connsiteY110" fmla="*/ 1490662 h 4575969"/>
                  <a:gd name="connsiteX111" fmla="*/ 716756 w 8971757"/>
                  <a:gd name="connsiteY111" fmla="*/ 1547812 h 4575969"/>
                  <a:gd name="connsiteX112" fmla="*/ 764381 w 8971757"/>
                  <a:gd name="connsiteY112" fmla="*/ 1590675 h 4575969"/>
                  <a:gd name="connsiteX113" fmla="*/ 788194 w 8971757"/>
                  <a:gd name="connsiteY113" fmla="*/ 1693069 h 4575969"/>
                  <a:gd name="connsiteX114" fmla="*/ 785813 w 8971757"/>
                  <a:gd name="connsiteY114" fmla="*/ 1740694 h 4575969"/>
                  <a:gd name="connsiteX115" fmla="*/ 821531 w 8971757"/>
                  <a:gd name="connsiteY115" fmla="*/ 1840706 h 4575969"/>
                  <a:gd name="connsiteX116" fmla="*/ 866775 w 8971757"/>
                  <a:gd name="connsiteY116" fmla="*/ 1897856 h 4575969"/>
                  <a:gd name="connsiteX117" fmla="*/ 883443 w 8971757"/>
                  <a:gd name="connsiteY117" fmla="*/ 2055018 h 4575969"/>
                  <a:gd name="connsiteX118" fmla="*/ 850106 w 8971757"/>
                  <a:gd name="connsiteY118" fmla="*/ 2116931 h 4575969"/>
                  <a:gd name="connsiteX119" fmla="*/ 819150 w 8971757"/>
                  <a:gd name="connsiteY119" fmla="*/ 2193131 h 4575969"/>
                  <a:gd name="connsiteX120" fmla="*/ 833438 w 8971757"/>
                  <a:gd name="connsiteY120" fmla="*/ 2250281 h 4575969"/>
                  <a:gd name="connsiteX121" fmla="*/ 735806 w 8971757"/>
                  <a:gd name="connsiteY121" fmla="*/ 2357438 h 4575969"/>
                  <a:gd name="connsiteX122" fmla="*/ 692944 w 8971757"/>
                  <a:gd name="connsiteY122" fmla="*/ 2471737 h 4575969"/>
                  <a:gd name="connsiteX123" fmla="*/ 726281 w 8971757"/>
                  <a:gd name="connsiteY123" fmla="*/ 2512219 h 4575969"/>
                  <a:gd name="connsiteX124" fmla="*/ 709613 w 8971757"/>
                  <a:gd name="connsiteY124" fmla="*/ 2540794 h 4575969"/>
                  <a:gd name="connsiteX125" fmla="*/ 740569 w 8971757"/>
                  <a:gd name="connsiteY125" fmla="*/ 2597944 h 4575969"/>
                  <a:gd name="connsiteX126" fmla="*/ 769144 w 8971757"/>
                  <a:gd name="connsiteY126" fmla="*/ 2597944 h 4575969"/>
                  <a:gd name="connsiteX127" fmla="*/ 931069 w 8971757"/>
                  <a:gd name="connsiteY127" fmla="*/ 2700337 h 4575969"/>
                  <a:gd name="connsiteX128" fmla="*/ 1035844 w 8971757"/>
                  <a:gd name="connsiteY128" fmla="*/ 2697956 h 4575969"/>
                  <a:gd name="connsiteX129" fmla="*/ 1114425 w 8971757"/>
                  <a:gd name="connsiteY129" fmla="*/ 2752725 h 4575969"/>
                  <a:gd name="connsiteX130" fmla="*/ 1245393 w 8971757"/>
                  <a:gd name="connsiteY130" fmla="*/ 2755106 h 4575969"/>
                  <a:gd name="connsiteX131" fmla="*/ 1435893 w 8971757"/>
                  <a:gd name="connsiteY131" fmla="*/ 2824162 h 4575969"/>
                  <a:gd name="connsiteX132" fmla="*/ 1638300 w 8971757"/>
                  <a:gd name="connsiteY132" fmla="*/ 2974181 h 4575969"/>
                  <a:gd name="connsiteX133" fmla="*/ 1671637 w 8971757"/>
                  <a:gd name="connsiteY133" fmla="*/ 3040856 h 4575969"/>
                  <a:gd name="connsiteX134" fmla="*/ 1838325 w 8971757"/>
                  <a:gd name="connsiteY134" fmla="*/ 3167062 h 4575969"/>
                  <a:gd name="connsiteX135" fmla="*/ 1909763 w 8971757"/>
                  <a:gd name="connsiteY135" fmla="*/ 3162300 h 4575969"/>
                  <a:gd name="connsiteX136" fmla="*/ 1945482 w 8971757"/>
                  <a:gd name="connsiteY136" fmla="*/ 3186112 h 4575969"/>
                  <a:gd name="connsiteX137" fmla="*/ 1916906 w 8971757"/>
                  <a:gd name="connsiteY137" fmla="*/ 3226594 h 4575969"/>
                  <a:gd name="connsiteX138" fmla="*/ 1924050 w 8971757"/>
                  <a:gd name="connsiteY138" fmla="*/ 3278981 h 4575969"/>
                  <a:gd name="connsiteX139" fmla="*/ 1976438 w 8971757"/>
                  <a:gd name="connsiteY139" fmla="*/ 3305175 h 4575969"/>
                  <a:gd name="connsiteX140" fmla="*/ 2038350 w 8971757"/>
                  <a:gd name="connsiteY140" fmla="*/ 3529013 h 4575969"/>
                  <a:gd name="connsiteX141" fmla="*/ 2028825 w 8971757"/>
                  <a:gd name="connsiteY141" fmla="*/ 3593306 h 4575969"/>
                  <a:gd name="connsiteX142" fmla="*/ 2164556 w 8971757"/>
                  <a:gd name="connsiteY142" fmla="*/ 3759994 h 4575969"/>
                  <a:gd name="connsiteX143" fmla="*/ 2183606 w 8971757"/>
                  <a:gd name="connsiteY143" fmla="*/ 3810000 h 4575969"/>
                  <a:gd name="connsiteX144" fmla="*/ 2157413 w 8971757"/>
                  <a:gd name="connsiteY144" fmla="*/ 3829050 h 4575969"/>
                  <a:gd name="connsiteX145" fmla="*/ 2259806 w 8971757"/>
                  <a:gd name="connsiteY145" fmla="*/ 3838575 h 4575969"/>
                  <a:gd name="connsiteX146" fmla="*/ 2371725 w 8971757"/>
                  <a:gd name="connsiteY146" fmla="*/ 3826669 h 4575969"/>
                  <a:gd name="connsiteX147" fmla="*/ 2650331 w 8971757"/>
                  <a:gd name="connsiteY147" fmla="*/ 3910012 h 4575969"/>
                  <a:gd name="connsiteX148" fmla="*/ 3057525 w 8971757"/>
                  <a:gd name="connsiteY148" fmla="*/ 3990975 h 4575969"/>
                  <a:gd name="connsiteX149" fmla="*/ 3255169 w 8971757"/>
                  <a:gd name="connsiteY149" fmla="*/ 3960018 h 4575969"/>
                  <a:gd name="connsiteX150" fmla="*/ 3300413 w 8971757"/>
                  <a:gd name="connsiteY150" fmla="*/ 3971924 h 4575969"/>
                  <a:gd name="connsiteX151" fmla="*/ 3355181 w 8971757"/>
                  <a:gd name="connsiteY151" fmla="*/ 3948113 h 4575969"/>
                  <a:gd name="connsiteX152" fmla="*/ 3748087 w 8971757"/>
                  <a:gd name="connsiteY152" fmla="*/ 4038600 h 4575969"/>
                  <a:gd name="connsiteX153" fmla="*/ 3831432 w 8971757"/>
                  <a:gd name="connsiteY153" fmla="*/ 4136231 h 4575969"/>
                  <a:gd name="connsiteX154" fmla="*/ 3950494 w 8971757"/>
                  <a:gd name="connsiteY154" fmla="*/ 4207669 h 4575969"/>
                  <a:gd name="connsiteX155" fmla="*/ 4010025 w 8971757"/>
                  <a:gd name="connsiteY155" fmla="*/ 4191000 h 4575969"/>
                  <a:gd name="connsiteX156" fmla="*/ 4360068 w 8971757"/>
                  <a:gd name="connsiteY156" fmla="*/ 4364831 h 4575969"/>
                  <a:gd name="connsiteX157" fmla="*/ 4586288 w 8971757"/>
                  <a:gd name="connsiteY157" fmla="*/ 4336256 h 4575969"/>
                  <a:gd name="connsiteX158" fmla="*/ 4595813 w 8971757"/>
                  <a:gd name="connsiteY158" fmla="*/ 4414837 h 4575969"/>
                  <a:gd name="connsiteX159" fmla="*/ 4681538 w 8971757"/>
                  <a:gd name="connsiteY159" fmla="*/ 4410074 h 4575969"/>
                  <a:gd name="connsiteX160" fmla="*/ 4760119 w 8971757"/>
                  <a:gd name="connsiteY160" fmla="*/ 4441031 h 4575969"/>
                  <a:gd name="connsiteX161" fmla="*/ 4802981 w 8971757"/>
                  <a:gd name="connsiteY161" fmla="*/ 4381500 h 4575969"/>
                  <a:gd name="connsiteX162" fmla="*/ 5474494 w 8971757"/>
                  <a:gd name="connsiteY162" fmla="*/ 4062412 h 4575969"/>
                  <a:gd name="connsiteX163" fmla="*/ 5562600 w 8971757"/>
                  <a:gd name="connsiteY163" fmla="*/ 4090988 h 4575969"/>
                  <a:gd name="connsiteX164" fmla="*/ 5693569 w 8971757"/>
                  <a:gd name="connsiteY164" fmla="*/ 4062412 h 4575969"/>
                  <a:gd name="connsiteX165" fmla="*/ 5872162 w 8971757"/>
                  <a:gd name="connsiteY165" fmla="*/ 4079081 h 4575969"/>
                  <a:gd name="connsiteX166" fmla="*/ 5929313 w 8971757"/>
                  <a:gd name="connsiteY166" fmla="*/ 4052888 h 4575969"/>
                  <a:gd name="connsiteX167" fmla="*/ 6062662 w 8971757"/>
                  <a:gd name="connsiteY167" fmla="*/ 4050506 h 4575969"/>
                  <a:gd name="connsiteX168" fmla="*/ 6196012 w 8971757"/>
                  <a:gd name="connsiteY168" fmla="*/ 3952875 h 4575969"/>
                  <a:gd name="connsiteX169" fmla="*/ 6262687 w 8971757"/>
                  <a:gd name="connsiteY169" fmla="*/ 3945731 h 4575969"/>
                  <a:gd name="connsiteX170" fmla="*/ 6360319 w 8971757"/>
                  <a:gd name="connsiteY170" fmla="*/ 3871912 h 4575969"/>
                  <a:gd name="connsiteX171" fmla="*/ 6434138 w 8971757"/>
                  <a:gd name="connsiteY171" fmla="*/ 3802856 h 4575969"/>
                  <a:gd name="connsiteX172" fmla="*/ 6443663 w 8971757"/>
                  <a:gd name="connsiteY172" fmla="*/ 3740944 h 4575969"/>
                  <a:gd name="connsiteX173" fmla="*/ 6477000 w 8971757"/>
                  <a:gd name="connsiteY173" fmla="*/ 3671887 h 4575969"/>
                  <a:gd name="connsiteX174" fmla="*/ 6629400 w 8971757"/>
                  <a:gd name="connsiteY174" fmla="*/ 3564731 h 4575969"/>
                  <a:gd name="connsiteX175" fmla="*/ 6662738 w 8971757"/>
                  <a:gd name="connsiteY175" fmla="*/ 3569494 h 4575969"/>
                  <a:gd name="connsiteX176" fmla="*/ 6715125 w 8971757"/>
                  <a:gd name="connsiteY176" fmla="*/ 3490912 h 4575969"/>
                  <a:gd name="connsiteX177" fmla="*/ 6762750 w 8971757"/>
                  <a:gd name="connsiteY177" fmla="*/ 3452812 h 4575969"/>
                  <a:gd name="connsiteX178" fmla="*/ 6748463 w 8971757"/>
                  <a:gd name="connsiteY178" fmla="*/ 3383756 h 4575969"/>
                  <a:gd name="connsiteX179" fmla="*/ 6698456 w 8971757"/>
                  <a:gd name="connsiteY179" fmla="*/ 3352799 h 4575969"/>
                  <a:gd name="connsiteX180" fmla="*/ 6638925 w 8971757"/>
                  <a:gd name="connsiteY180" fmla="*/ 3298031 h 4575969"/>
                  <a:gd name="connsiteX181" fmla="*/ 6619875 w 8971757"/>
                  <a:gd name="connsiteY181" fmla="*/ 3240881 h 4575969"/>
                  <a:gd name="connsiteX182" fmla="*/ 6584156 w 8971757"/>
                  <a:gd name="connsiteY182" fmla="*/ 3207544 h 4575969"/>
                  <a:gd name="connsiteX183" fmla="*/ 6610350 w 8971757"/>
                  <a:gd name="connsiteY183" fmla="*/ 3155156 h 4575969"/>
                  <a:gd name="connsiteX184" fmla="*/ 6650831 w 8971757"/>
                  <a:gd name="connsiteY184" fmla="*/ 2976562 h 4575969"/>
                  <a:gd name="connsiteX185" fmla="*/ 6691313 w 8971757"/>
                  <a:gd name="connsiteY185" fmla="*/ 2909887 h 4575969"/>
                  <a:gd name="connsiteX186" fmla="*/ 6836569 w 8971757"/>
                  <a:gd name="connsiteY186" fmla="*/ 2893218 h 4575969"/>
                  <a:gd name="connsiteX187" fmla="*/ 6905625 w 8971757"/>
                  <a:gd name="connsiteY187" fmla="*/ 2950369 h 4575969"/>
                  <a:gd name="connsiteX188" fmla="*/ 6981825 w 8971757"/>
                  <a:gd name="connsiteY188" fmla="*/ 2974181 h 4575969"/>
                  <a:gd name="connsiteX189" fmla="*/ 7186612 w 8971757"/>
                  <a:gd name="connsiteY189" fmla="*/ 2978944 h 4575969"/>
                  <a:gd name="connsiteX190" fmla="*/ 7362825 w 8971757"/>
                  <a:gd name="connsiteY190" fmla="*/ 2840831 h 4575969"/>
                  <a:gd name="connsiteX191" fmla="*/ 7419975 w 8971757"/>
                  <a:gd name="connsiteY191" fmla="*/ 2750343 h 4575969"/>
                  <a:gd name="connsiteX192" fmla="*/ 7446169 w 8971757"/>
                  <a:gd name="connsiteY192" fmla="*/ 2667000 h 4575969"/>
                  <a:gd name="connsiteX193" fmla="*/ 7577137 w 8971757"/>
                  <a:gd name="connsiteY193" fmla="*/ 2667000 h 4575969"/>
                  <a:gd name="connsiteX194" fmla="*/ 7750969 w 8971757"/>
                  <a:gd name="connsiteY194" fmla="*/ 2609849 h 4575969"/>
                  <a:gd name="connsiteX195" fmla="*/ 7810500 w 8971757"/>
                  <a:gd name="connsiteY195" fmla="*/ 2497931 h 4575969"/>
                  <a:gd name="connsiteX196" fmla="*/ 7874794 w 8971757"/>
                  <a:gd name="connsiteY196" fmla="*/ 2462212 h 4575969"/>
                  <a:gd name="connsiteX197" fmla="*/ 7853363 w 8971757"/>
                  <a:gd name="connsiteY197" fmla="*/ 2416969 h 4575969"/>
                  <a:gd name="connsiteX198" fmla="*/ 7931944 w 8971757"/>
                  <a:gd name="connsiteY198" fmla="*/ 2247899 h 4575969"/>
                  <a:gd name="connsiteX199" fmla="*/ 7986713 w 8971757"/>
                  <a:gd name="connsiteY199" fmla="*/ 2188369 h 4575969"/>
                  <a:gd name="connsiteX200" fmla="*/ 8024813 w 8971757"/>
                  <a:gd name="connsiteY200" fmla="*/ 2183606 h 4575969"/>
                  <a:gd name="connsiteX201" fmla="*/ 8070056 w 8971757"/>
                  <a:gd name="connsiteY201" fmla="*/ 2188369 h 4575969"/>
                  <a:gd name="connsiteX202" fmla="*/ 8134350 w 8971757"/>
                  <a:gd name="connsiteY202" fmla="*/ 2155031 h 4575969"/>
                  <a:gd name="connsiteX203" fmla="*/ 8143875 w 8971757"/>
                  <a:gd name="connsiteY203" fmla="*/ 2090737 h 4575969"/>
                  <a:gd name="connsiteX204" fmla="*/ 8184355 w 8971757"/>
                  <a:gd name="connsiteY204" fmla="*/ 2055019 h 4575969"/>
                  <a:gd name="connsiteX205" fmla="*/ 8243888 w 8971757"/>
                  <a:gd name="connsiteY205" fmla="*/ 2095499 h 4575969"/>
                  <a:gd name="connsiteX206" fmla="*/ 8270082 w 8971757"/>
                  <a:gd name="connsiteY206" fmla="*/ 2045493 h 4575969"/>
                  <a:gd name="connsiteX207" fmla="*/ 8365331 w 8971757"/>
                  <a:gd name="connsiteY207" fmla="*/ 1976437 h 4575969"/>
                  <a:gd name="connsiteX208" fmla="*/ 8427244 w 8971757"/>
                  <a:gd name="connsiteY208" fmla="*/ 1983581 h 4575969"/>
                  <a:gd name="connsiteX209" fmla="*/ 8477250 w 8971757"/>
                  <a:gd name="connsiteY209" fmla="*/ 1964531 h 4575969"/>
                  <a:gd name="connsiteX210" fmla="*/ 8515350 w 8971757"/>
                  <a:gd name="connsiteY210" fmla="*/ 1935956 h 4575969"/>
                  <a:gd name="connsiteX211" fmla="*/ 8548688 w 8971757"/>
                  <a:gd name="connsiteY211" fmla="*/ 1933575 h 4575969"/>
                  <a:gd name="connsiteX212" fmla="*/ 8584406 w 8971757"/>
                  <a:gd name="connsiteY212" fmla="*/ 1964531 h 4575969"/>
                  <a:gd name="connsiteX213" fmla="*/ 8643938 w 8971757"/>
                  <a:gd name="connsiteY213" fmla="*/ 1964531 h 4575969"/>
                  <a:gd name="connsiteX214" fmla="*/ 8682037 w 8971757"/>
                  <a:gd name="connsiteY214" fmla="*/ 1945481 h 4575969"/>
                  <a:gd name="connsiteX215" fmla="*/ 8765381 w 8971757"/>
                  <a:gd name="connsiteY215" fmla="*/ 1947863 h 4575969"/>
                  <a:gd name="connsiteX216" fmla="*/ 8796338 w 8971757"/>
                  <a:gd name="connsiteY216" fmla="*/ 1902619 h 4575969"/>
                  <a:gd name="connsiteX217" fmla="*/ 8801100 w 8971757"/>
                  <a:gd name="connsiteY217" fmla="*/ 1840706 h 4575969"/>
                  <a:gd name="connsiteX218" fmla="*/ 8751093 w 8971757"/>
                  <a:gd name="connsiteY218" fmla="*/ 1800225 h 4575969"/>
                  <a:gd name="connsiteX219" fmla="*/ 8734425 w 8971757"/>
                  <a:gd name="connsiteY219" fmla="*/ 1745456 h 4575969"/>
                  <a:gd name="connsiteX220" fmla="*/ 8643938 w 8971757"/>
                  <a:gd name="connsiteY220" fmla="*/ 1683544 h 4575969"/>
                  <a:gd name="connsiteX221" fmla="*/ 8603456 w 8971757"/>
                  <a:gd name="connsiteY221" fmla="*/ 1662112 h 4575969"/>
                  <a:gd name="connsiteX222" fmla="*/ 8565356 w 8971757"/>
                  <a:gd name="connsiteY222" fmla="*/ 1616869 h 4575969"/>
                  <a:gd name="connsiteX223" fmla="*/ 8534400 w 8971757"/>
                  <a:gd name="connsiteY223" fmla="*/ 1614487 h 4575969"/>
                  <a:gd name="connsiteX224" fmla="*/ 8517731 w 8971757"/>
                  <a:gd name="connsiteY224" fmla="*/ 1562100 h 4575969"/>
                  <a:gd name="connsiteX225" fmla="*/ 8477250 w 8971757"/>
                  <a:gd name="connsiteY225" fmla="*/ 1545431 h 4575969"/>
                  <a:gd name="connsiteX226" fmla="*/ 8477250 w 8971757"/>
                  <a:gd name="connsiteY226" fmla="*/ 1545431 h 4575969"/>
                  <a:gd name="connsiteX227" fmla="*/ 8436769 w 8971757"/>
                  <a:gd name="connsiteY227" fmla="*/ 1550194 h 4575969"/>
                  <a:gd name="connsiteX228" fmla="*/ 8351043 w 8971757"/>
                  <a:gd name="connsiteY228" fmla="*/ 1476375 h 4575969"/>
                  <a:gd name="connsiteX229" fmla="*/ 8170069 w 8971757"/>
                  <a:gd name="connsiteY229" fmla="*/ 1476374 h 4575969"/>
                  <a:gd name="connsiteX230" fmla="*/ 8117681 w 8971757"/>
                  <a:gd name="connsiteY230" fmla="*/ 1514475 h 4575969"/>
                  <a:gd name="connsiteX231" fmla="*/ 8067675 w 8971757"/>
                  <a:gd name="connsiteY231" fmla="*/ 1593056 h 4575969"/>
                  <a:gd name="connsiteX232" fmla="*/ 8084344 w 8971757"/>
                  <a:gd name="connsiteY232" fmla="*/ 1614487 h 4575969"/>
                  <a:gd name="connsiteX233" fmla="*/ 8039100 w 8971757"/>
                  <a:gd name="connsiteY233" fmla="*/ 1664493 h 4575969"/>
                  <a:gd name="connsiteX234" fmla="*/ 7889081 w 8971757"/>
                  <a:gd name="connsiteY234" fmla="*/ 1588293 h 4575969"/>
                  <a:gd name="connsiteX235" fmla="*/ 7798594 w 8971757"/>
                  <a:gd name="connsiteY235" fmla="*/ 1624012 h 4575969"/>
                  <a:gd name="connsiteX236" fmla="*/ 7724775 w 8971757"/>
                  <a:gd name="connsiteY236" fmla="*/ 1621631 h 4575969"/>
                  <a:gd name="connsiteX237" fmla="*/ 7667625 w 8971757"/>
                  <a:gd name="connsiteY237" fmla="*/ 1716881 h 4575969"/>
                  <a:gd name="connsiteX238" fmla="*/ 7529513 w 8971757"/>
                  <a:gd name="connsiteY23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3002756 w 8971757"/>
                  <a:gd name="connsiteY81" fmla="*/ 381000 h 4575969"/>
                  <a:gd name="connsiteX82" fmla="*/ 2959894 w 8971757"/>
                  <a:gd name="connsiteY82" fmla="*/ 378619 h 4575969"/>
                  <a:gd name="connsiteX83" fmla="*/ 2928937 w 8971757"/>
                  <a:gd name="connsiteY83" fmla="*/ 440531 h 4575969"/>
                  <a:gd name="connsiteX84" fmla="*/ 2924175 w 8971757"/>
                  <a:gd name="connsiteY84" fmla="*/ 504825 h 4575969"/>
                  <a:gd name="connsiteX85" fmla="*/ 2897982 w 8971757"/>
                  <a:gd name="connsiteY85" fmla="*/ 542925 h 4575969"/>
                  <a:gd name="connsiteX86" fmla="*/ 2924175 w 8971757"/>
                  <a:gd name="connsiteY86" fmla="*/ 602456 h 4575969"/>
                  <a:gd name="connsiteX87" fmla="*/ 8412956 w 8971757"/>
                  <a:gd name="connsiteY87" fmla="*/ 23812 h 4575969"/>
                  <a:gd name="connsiteX88" fmla="*/ 8949531 w 8971757"/>
                  <a:gd name="connsiteY88" fmla="*/ 0 h 4575969"/>
                  <a:gd name="connsiteX89" fmla="*/ 8971757 w 8971757"/>
                  <a:gd name="connsiteY89" fmla="*/ 4575969 h 4575969"/>
                  <a:gd name="connsiteX90" fmla="*/ 2381 w 8971757"/>
                  <a:gd name="connsiteY90" fmla="*/ 4547392 h 4575969"/>
                  <a:gd name="connsiteX91" fmla="*/ 0 w 8971757"/>
                  <a:gd name="connsiteY91" fmla="*/ 845344 h 4575969"/>
                  <a:gd name="connsiteX92" fmla="*/ 76200 w 8971757"/>
                  <a:gd name="connsiteY92" fmla="*/ 828675 h 4575969"/>
                  <a:gd name="connsiteX93" fmla="*/ 119063 w 8971757"/>
                  <a:gd name="connsiteY93" fmla="*/ 857250 h 4575969"/>
                  <a:gd name="connsiteX94" fmla="*/ 215900 w 8971757"/>
                  <a:gd name="connsiteY94" fmla="*/ 848519 h 4575969"/>
                  <a:gd name="connsiteX95" fmla="*/ 261938 w 8971757"/>
                  <a:gd name="connsiteY95" fmla="*/ 876299 h 4575969"/>
                  <a:gd name="connsiteX96" fmla="*/ 228600 w 8971757"/>
                  <a:gd name="connsiteY96" fmla="*/ 904875 h 4575969"/>
                  <a:gd name="connsiteX97" fmla="*/ 233363 w 8971757"/>
                  <a:gd name="connsiteY97" fmla="*/ 947737 h 4575969"/>
                  <a:gd name="connsiteX98" fmla="*/ 200025 w 8971757"/>
                  <a:gd name="connsiteY98" fmla="*/ 952500 h 4575969"/>
                  <a:gd name="connsiteX99" fmla="*/ 204788 w 8971757"/>
                  <a:gd name="connsiteY99" fmla="*/ 976312 h 4575969"/>
                  <a:gd name="connsiteX100" fmla="*/ 261937 w 8971757"/>
                  <a:gd name="connsiteY100" fmla="*/ 1050131 h 4575969"/>
                  <a:gd name="connsiteX101" fmla="*/ 223838 w 8971757"/>
                  <a:gd name="connsiteY101" fmla="*/ 1097756 h 4575969"/>
                  <a:gd name="connsiteX102" fmla="*/ 278606 w 8971757"/>
                  <a:gd name="connsiteY102" fmla="*/ 1133475 h 4575969"/>
                  <a:gd name="connsiteX103" fmla="*/ 369094 w 8971757"/>
                  <a:gd name="connsiteY103" fmla="*/ 1221581 h 4575969"/>
                  <a:gd name="connsiteX104" fmla="*/ 371475 w 8971757"/>
                  <a:gd name="connsiteY104" fmla="*/ 1281112 h 4575969"/>
                  <a:gd name="connsiteX105" fmla="*/ 507206 w 8971757"/>
                  <a:gd name="connsiteY105" fmla="*/ 1414463 h 4575969"/>
                  <a:gd name="connsiteX106" fmla="*/ 561975 w 8971757"/>
                  <a:gd name="connsiteY106" fmla="*/ 1390650 h 4575969"/>
                  <a:gd name="connsiteX107" fmla="*/ 600075 w 8971757"/>
                  <a:gd name="connsiteY107" fmla="*/ 1416843 h 4575969"/>
                  <a:gd name="connsiteX108" fmla="*/ 614363 w 8971757"/>
                  <a:gd name="connsiteY108" fmla="*/ 1466849 h 4575969"/>
                  <a:gd name="connsiteX109" fmla="*/ 657225 w 8971757"/>
                  <a:gd name="connsiteY109" fmla="*/ 1502569 h 4575969"/>
                  <a:gd name="connsiteX110" fmla="*/ 697706 w 8971757"/>
                  <a:gd name="connsiteY110" fmla="*/ 1490662 h 4575969"/>
                  <a:gd name="connsiteX111" fmla="*/ 716756 w 8971757"/>
                  <a:gd name="connsiteY111" fmla="*/ 1547812 h 4575969"/>
                  <a:gd name="connsiteX112" fmla="*/ 764381 w 8971757"/>
                  <a:gd name="connsiteY112" fmla="*/ 1590675 h 4575969"/>
                  <a:gd name="connsiteX113" fmla="*/ 788194 w 8971757"/>
                  <a:gd name="connsiteY113" fmla="*/ 1693069 h 4575969"/>
                  <a:gd name="connsiteX114" fmla="*/ 785813 w 8971757"/>
                  <a:gd name="connsiteY114" fmla="*/ 1740694 h 4575969"/>
                  <a:gd name="connsiteX115" fmla="*/ 821531 w 8971757"/>
                  <a:gd name="connsiteY115" fmla="*/ 1840706 h 4575969"/>
                  <a:gd name="connsiteX116" fmla="*/ 866775 w 8971757"/>
                  <a:gd name="connsiteY116" fmla="*/ 1897856 h 4575969"/>
                  <a:gd name="connsiteX117" fmla="*/ 883443 w 8971757"/>
                  <a:gd name="connsiteY117" fmla="*/ 2055018 h 4575969"/>
                  <a:gd name="connsiteX118" fmla="*/ 850106 w 8971757"/>
                  <a:gd name="connsiteY118" fmla="*/ 2116931 h 4575969"/>
                  <a:gd name="connsiteX119" fmla="*/ 819150 w 8971757"/>
                  <a:gd name="connsiteY119" fmla="*/ 2193131 h 4575969"/>
                  <a:gd name="connsiteX120" fmla="*/ 833438 w 8971757"/>
                  <a:gd name="connsiteY120" fmla="*/ 2250281 h 4575969"/>
                  <a:gd name="connsiteX121" fmla="*/ 735806 w 8971757"/>
                  <a:gd name="connsiteY121" fmla="*/ 2357438 h 4575969"/>
                  <a:gd name="connsiteX122" fmla="*/ 692944 w 8971757"/>
                  <a:gd name="connsiteY122" fmla="*/ 2471737 h 4575969"/>
                  <a:gd name="connsiteX123" fmla="*/ 726281 w 8971757"/>
                  <a:gd name="connsiteY123" fmla="*/ 2512219 h 4575969"/>
                  <a:gd name="connsiteX124" fmla="*/ 709613 w 8971757"/>
                  <a:gd name="connsiteY124" fmla="*/ 2540794 h 4575969"/>
                  <a:gd name="connsiteX125" fmla="*/ 740569 w 8971757"/>
                  <a:gd name="connsiteY125" fmla="*/ 2597944 h 4575969"/>
                  <a:gd name="connsiteX126" fmla="*/ 769144 w 8971757"/>
                  <a:gd name="connsiteY126" fmla="*/ 2597944 h 4575969"/>
                  <a:gd name="connsiteX127" fmla="*/ 931069 w 8971757"/>
                  <a:gd name="connsiteY127" fmla="*/ 2700337 h 4575969"/>
                  <a:gd name="connsiteX128" fmla="*/ 1035844 w 8971757"/>
                  <a:gd name="connsiteY128" fmla="*/ 2697956 h 4575969"/>
                  <a:gd name="connsiteX129" fmla="*/ 1114425 w 8971757"/>
                  <a:gd name="connsiteY129" fmla="*/ 2752725 h 4575969"/>
                  <a:gd name="connsiteX130" fmla="*/ 1245393 w 8971757"/>
                  <a:gd name="connsiteY130" fmla="*/ 2755106 h 4575969"/>
                  <a:gd name="connsiteX131" fmla="*/ 1435893 w 8971757"/>
                  <a:gd name="connsiteY131" fmla="*/ 2824162 h 4575969"/>
                  <a:gd name="connsiteX132" fmla="*/ 1638300 w 8971757"/>
                  <a:gd name="connsiteY132" fmla="*/ 2974181 h 4575969"/>
                  <a:gd name="connsiteX133" fmla="*/ 1671637 w 8971757"/>
                  <a:gd name="connsiteY133" fmla="*/ 3040856 h 4575969"/>
                  <a:gd name="connsiteX134" fmla="*/ 1838325 w 8971757"/>
                  <a:gd name="connsiteY134" fmla="*/ 3167062 h 4575969"/>
                  <a:gd name="connsiteX135" fmla="*/ 1909763 w 8971757"/>
                  <a:gd name="connsiteY135" fmla="*/ 3162300 h 4575969"/>
                  <a:gd name="connsiteX136" fmla="*/ 1945482 w 8971757"/>
                  <a:gd name="connsiteY136" fmla="*/ 3186112 h 4575969"/>
                  <a:gd name="connsiteX137" fmla="*/ 1916906 w 8971757"/>
                  <a:gd name="connsiteY137" fmla="*/ 3226594 h 4575969"/>
                  <a:gd name="connsiteX138" fmla="*/ 1924050 w 8971757"/>
                  <a:gd name="connsiteY138" fmla="*/ 3278981 h 4575969"/>
                  <a:gd name="connsiteX139" fmla="*/ 1976438 w 8971757"/>
                  <a:gd name="connsiteY139" fmla="*/ 3305175 h 4575969"/>
                  <a:gd name="connsiteX140" fmla="*/ 2038350 w 8971757"/>
                  <a:gd name="connsiteY140" fmla="*/ 3529013 h 4575969"/>
                  <a:gd name="connsiteX141" fmla="*/ 2028825 w 8971757"/>
                  <a:gd name="connsiteY141" fmla="*/ 3593306 h 4575969"/>
                  <a:gd name="connsiteX142" fmla="*/ 2164556 w 8971757"/>
                  <a:gd name="connsiteY142" fmla="*/ 3759994 h 4575969"/>
                  <a:gd name="connsiteX143" fmla="*/ 2183606 w 8971757"/>
                  <a:gd name="connsiteY143" fmla="*/ 3810000 h 4575969"/>
                  <a:gd name="connsiteX144" fmla="*/ 2157413 w 8971757"/>
                  <a:gd name="connsiteY144" fmla="*/ 3829050 h 4575969"/>
                  <a:gd name="connsiteX145" fmla="*/ 2259806 w 8971757"/>
                  <a:gd name="connsiteY145" fmla="*/ 3838575 h 4575969"/>
                  <a:gd name="connsiteX146" fmla="*/ 2371725 w 8971757"/>
                  <a:gd name="connsiteY146" fmla="*/ 3826669 h 4575969"/>
                  <a:gd name="connsiteX147" fmla="*/ 2650331 w 8971757"/>
                  <a:gd name="connsiteY147" fmla="*/ 3910012 h 4575969"/>
                  <a:gd name="connsiteX148" fmla="*/ 3057525 w 8971757"/>
                  <a:gd name="connsiteY148" fmla="*/ 3990975 h 4575969"/>
                  <a:gd name="connsiteX149" fmla="*/ 3255169 w 8971757"/>
                  <a:gd name="connsiteY149" fmla="*/ 3960018 h 4575969"/>
                  <a:gd name="connsiteX150" fmla="*/ 3300413 w 8971757"/>
                  <a:gd name="connsiteY150" fmla="*/ 3971924 h 4575969"/>
                  <a:gd name="connsiteX151" fmla="*/ 3355181 w 8971757"/>
                  <a:gd name="connsiteY151" fmla="*/ 3948113 h 4575969"/>
                  <a:gd name="connsiteX152" fmla="*/ 3748087 w 8971757"/>
                  <a:gd name="connsiteY152" fmla="*/ 4038600 h 4575969"/>
                  <a:gd name="connsiteX153" fmla="*/ 3831432 w 8971757"/>
                  <a:gd name="connsiteY153" fmla="*/ 4136231 h 4575969"/>
                  <a:gd name="connsiteX154" fmla="*/ 3950494 w 8971757"/>
                  <a:gd name="connsiteY154" fmla="*/ 4207669 h 4575969"/>
                  <a:gd name="connsiteX155" fmla="*/ 4010025 w 8971757"/>
                  <a:gd name="connsiteY155" fmla="*/ 4191000 h 4575969"/>
                  <a:gd name="connsiteX156" fmla="*/ 4360068 w 8971757"/>
                  <a:gd name="connsiteY156" fmla="*/ 4364831 h 4575969"/>
                  <a:gd name="connsiteX157" fmla="*/ 4586288 w 8971757"/>
                  <a:gd name="connsiteY157" fmla="*/ 4336256 h 4575969"/>
                  <a:gd name="connsiteX158" fmla="*/ 4595813 w 8971757"/>
                  <a:gd name="connsiteY158" fmla="*/ 4414837 h 4575969"/>
                  <a:gd name="connsiteX159" fmla="*/ 4681538 w 8971757"/>
                  <a:gd name="connsiteY159" fmla="*/ 4410074 h 4575969"/>
                  <a:gd name="connsiteX160" fmla="*/ 4760119 w 8971757"/>
                  <a:gd name="connsiteY160" fmla="*/ 4441031 h 4575969"/>
                  <a:gd name="connsiteX161" fmla="*/ 4802981 w 8971757"/>
                  <a:gd name="connsiteY161" fmla="*/ 4381500 h 4575969"/>
                  <a:gd name="connsiteX162" fmla="*/ 5474494 w 8971757"/>
                  <a:gd name="connsiteY162" fmla="*/ 4062412 h 4575969"/>
                  <a:gd name="connsiteX163" fmla="*/ 5562600 w 8971757"/>
                  <a:gd name="connsiteY163" fmla="*/ 4090988 h 4575969"/>
                  <a:gd name="connsiteX164" fmla="*/ 5693569 w 8971757"/>
                  <a:gd name="connsiteY164" fmla="*/ 4062412 h 4575969"/>
                  <a:gd name="connsiteX165" fmla="*/ 5872162 w 8971757"/>
                  <a:gd name="connsiteY165" fmla="*/ 4079081 h 4575969"/>
                  <a:gd name="connsiteX166" fmla="*/ 5929313 w 8971757"/>
                  <a:gd name="connsiteY166" fmla="*/ 4052888 h 4575969"/>
                  <a:gd name="connsiteX167" fmla="*/ 6062662 w 8971757"/>
                  <a:gd name="connsiteY167" fmla="*/ 4050506 h 4575969"/>
                  <a:gd name="connsiteX168" fmla="*/ 6196012 w 8971757"/>
                  <a:gd name="connsiteY168" fmla="*/ 3952875 h 4575969"/>
                  <a:gd name="connsiteX169" fmla="*/ 6262687 w 8971757"/>
                  <a:gd name="connsiteY169" fmla="*/ 3945731 h 4575969"/>
                  <a:gd name="connsiteX170" fmla="*/ 6360319 w 8971757"/>
                  <a:gd name="connsiteY170" fmla="*/ 3871912 h 4575969"/>
                  <a:gd name="connsiteX171" fmla="*/ 6434138 w 8971757"/>
                  <a:gd name="connsiteY171" fmla="*/ 3802856 h 4575969"/>
                  <a:gd name="connsiteX172" fmla="*/ 6443663 w 8971757"/>
                  <a:gd name="connsiteY172" fmla="*/ 3740944 h 4575969"/>
                  <a:gd name="connsiteX173" fmla="*/ 6477000 w 8971757"/>
                  <a:gd name="connsiteY173" fmla="*/ 3671887 h 4575969"/>
                  <a:gd name="connsiteX174" fmla="*/ 6629400 w 8971757"/>
                  <a:gd name="connsiteY174" fmla="*/ 3564731 h 4575969"/>
                  <a:gd name="connsiteX175" fmla="*/ 6662738 w 8971757"/>
                  <a:gd name="connsiteY175" fmla="*/ 3569494 h 4575969"/>
                  <a:gd name="connsiteX176" fmla="*/ 6715125 w 8971757"/>
                  <a:gd name="connsiteY176" fmla="*/ 3490912 h 4575969"/>
                  <a:gd name="connsiteX177" fmla="*/ 6762750 w 8971757"/>
                  <a:gd name="connsiteY177" fmla="*/ 3452812 h 4575969"/>
                  <a:gd name="connsiteX178" fmla="*/ 6748463 w 8971757"/>
                  <a:gd name="connsiteY178" fmla="*/ 3383756 h 4575969"/>
                  <a:gd name="connsiteX179" fmla="*/ 6698456 w 8971757"/>
                  <a:gd name="connsiteY179" fmla="*/ 3352799 h 4575969"/>
                  <a:gd name="connsiteX180" fmla="*/ 6638925 w 8971757"/>
                  <a:gd name="connsiteY180" fmla="*/ 3298031 h 4575969"/>
                  <a:gd name="connsiteX181" fmla="*/ 6619875 w 8971757"/>
                  <a:gd name="connsiteY181" fmla="*/ 3240881 h 4575969"/>
                  <a:gd name="connsiteX182" fmla="*/ 6584156 w 8971757"/>
                  <a:gd name="connsiteY182" fmla="*/ 3207544 h 4575969"/>
                  <a:gd name="connsiteX183" fmla="*/ 6610350 w 8971757"/>
                  <a:gd name="connsiteY183" fmla="*/ 3155156 h 4575969"/>
                  <a:gd name="connsiteX184" fmla="*/ 6650831 w 8971757"/>
                  <a:gd name="connsiteY184" fmla="*/ 2976562 h 4575969"/>
                  <a:gd name="connsiteX185" fmla="*/ 6691313 w 8971757"/>
                  <a:gd name="connsiteY185" fmla="*/ 2909887 h 4575969"/>
                  <a:gd name="connsiteX186" fmla="*/ 6836569 w 8971757"/>
                  <a:gd name="connsiteY186" fmla="*/ 2893218 h 4575969"/>
                  <a:gd name="connsiteX187" fmla="*/ 6905625 w 8971757"/>
                  <a:gd name="connsiteY187" fmla="*/ 2950369 h 4575969"/>
                  <a:gd name="connsiteX188" fmla="*/ 6981825 w 8971757"/>
                  <a:gd name="connsiteY188" fmla="*/ 2974181 h 4575969"/>
                  <a:gd name="connsiteX189" fmla="*/ 7186612 w 8971757"/>
                  <a:gd name="connsiteY189" fmla="*/ 2978944 h 4575969"/>
                  <a:gd name="connsiteX190" fmla="*/ 7362825 w 8971757"/>
                  <a:gd name="connsiteY190" fmla="*/ 2840831 h 4575969"/>
                  <a:gd name="connsiteX191" fmla="*/ 7419975 w 8971757"/>
                  <a:gd name="connsiteY191" fmla="*/ 2750343 h 4575969"/>
                  <a:gd name="connsiteX192" fmla="*/ 7446169 w 8971757"/>
                  <a:gd name="connsiteY192" fmla="*/ 2667000 h 4575969"/>
                  <a:gd name="connsiteX193" fmla="*/ 7577137 w 8971757"/>
                  <a:gd name="connsiteY193" fmla="*/ 2667000 h 4575969"/>
                  <a:gd name="connsiteX194" fmla="*/ 7750969 w 8971757"/>
                  <a:gd name="connsiteY194" fmla="*/ 2609849 h 4575969"/>
                  <a:gd name="connsiteX195" fmla="*/ 7810500 w 8971757"/>
                  <a:gd name="connsiteY195" fmla="*/ 2497931 h 4575969"/>
                  <a:gd name="connsiteX196" fmla="*/ 7874794 w 8971757"/>
                  <a:gd name="connsiteY196" fmla="*/ 2462212 h 4575969"/>
                  <a:gd name="connsiteX197" fmla="*/ 7853363 w 8971757"/>
                  <a:gd name="connsiteY197" fmla="*/ 2416969 h 4575969"/>
                  <a:gd name="connsiteX198" fmla="*/ 7931944 w 8971757"/>
                  <a:gd name="connsiteY198" fmla="*/ 2247899 h 4575969"/>
                  <a:gd name="connsiteX199" fmla="*/ 7986713 w 8971757"/>
                  <a:gd name="connsiteY199" fmla="*/ 2188369 h 4575969"/>
                  <a:gd name="connsiteX200" fmla="*/ 8024813 w 8971757"/>
                  <a:gd name="connsiteY200" fmla="*/ 2183606 h 4575969"/>
                  <a:gd name="connsiteX201" fmla="*/ 8070056 w 8971757"/>
                  <a:gd name="connsiteY201" fmla="*/ 2188369 h 4575969"/>
                  <a:gd name="connsiteX202" fmla="*/ 8134350 w 8971757"/>
                  <a:gd name="connsiteY202" fmla="*/ 2155031 h 4575969"/>
                  <a:gd name="connsiteX203" fmla="*/ 8143875 w 8971757"/>
                  <a:gd name="connsiteY203" fmla="*/ 2090737 h 4575969"/>
                  <a:gd name="connsiteX204" fmla="*/ 8184355 w 8971757"/>
                  <a:gd name="connsiteY204" fmla="*/ 2055019 h 4575969"/>
                  <a:gd name="connsiteX205" fmla="*/ 8243888 w 8971757"/>
                  <a:gd name="connsiteY205" fmla="*/ 2095499 h 4575969"/>
                  <a:gd name="connsiteX206" fmla="*/ 8270082 w 8971757"/>
                  <a:gd name="connsiteY206" fmla="*/ 2045493 h 4575969"/>
                  <a:gd name="connsiteX207" fmla="*/ 8365331 w 8971757"/>
                  <a:gd name="connsiteY207" fmla="*/ 1976437 h 4575969"/>
                  <a:gd name="connsiteX208" fmla="*/ 8427244 w 8971757"/>
                  <a:gd name="connsiteY208" fmla="*/ 1983581 h 4575969"/>
                  <a:gd name="connsiteX209" fmla="*/ 8477250 w 8971757"/>
                  <a:gd name="connsiteY209" fmla="*/ 1964531 h 4575969"/>
                  <a:gd name="connsiteX210" fmla="*/ 8515350 w 8971757"/>
                  <a:gd name="connsiteY210" fmla="*/ 1935956 h 4575969"/>
                  <a:gd name="connsiteX211" fmla="*/ 8548688 w 8971757"/>
                  <a:gd name="connsiteY211" fmla="*/ 1933575 h 4575969"/>
                  <a:gd name="connsiteX212" fmla="*/ 8584406 w 8971757"/>
                  <a:gd name="connsiteY212" fmla="*/ 1964531 h 4575969"/>
                  <a:gd name="connsiteX213" fmla="*/ 8643938 w 8971757"/>
                  <a:gd name="connsiteY213" fmla="*/ 1964531 h 4575969"/>
                  <a:gd name="connsiteX214" fmla="*/ 8682037 w 8971757"/>
                  <a:gd name="connsiteY214" fmla="*/ 1945481 h 4575969"/>
                  <a:gd name="connsiteX215" fmla="*/ 8765381 w 8971757"/>
                  <a:gd name="connsiteY215" fmla="*/ 1947863 h 4575969"/>
                  <a:gd name="connsiteX216" fmla="*/ 8796338 w 8971757"/>
                  <a:gd name="connsiteY216" fmla="*/ 1902619 h 4575969"/>
                  <a:gd name="connsiteX217" fmla="*/ 8801100 w 8971757"/>
                  <a:gd name="connsiteY217" fmla="*/ 1840706 h 4575969"/>
                  <a:gd name="connsiteX218" fmla="*/ 8751093 w 8971757"/>
                  <a:gd name="connsiteY218" fmla="*/ 1800225 h 4575969"/>
                  <a:gd name="connsiteX219" fmla="*/ 8734425 w 8971757"/>
                  <a:gd name="connsiteY219" fmla="*/ 1745456 h 4575969"/>
                  <a:gd name="connsiteX220" fmla="*/ 8643938 w 8971757"/>
                  <a:gd name="connsiteY220" fmla="*/ 1683544 h 4575969"/>
                  <a:gd name="connsiteX221" fmla="*/ 8603456 w 8971757"/>
                  <a:gd name="connsiteY221" fmla="*/ 1662112 h 4575969"/>
                  <a:gd name="connsiteX222" fmla="*/ 8565356 w 8971757"/>
                  <a:gd name="connsiteY222" fmla="*/ 1616869 h 4575969"/>
                  <a:gd name="connsiteX223" fmla="*/ 8534400 w 8971757"/>
                  <a:gd name="connsiteY223" fmla="*/ 1614487 h 4575969"/>
                  <a:gd name="connsiteX224" fmla="*/ 8517731 w 8971757"/>
                  <a:gd name="connsiteY224" fmla="*/ 1562100 h 4575969"/>
                  <a:gd name="connsiteX225" fmla="*/ 8477250 w 8971757"/>
                  <a:gd name="connsiteY225" fmla="*/ 1545431 h 4575969"/>
                  <a:gd name="connsiteX226" fmla="*/ 8477250 w 8971757"/>
                  <a:gd name="connsiteY226" fmla="*/ 1545431 h 4575969"/>
                  <a:gd name="connsiteX227" fmla="*/ 8436769 w 8971757"/>
                  <a:gd name="connsiteY227" fmla="*/ 1550194 h 4575969"/>
                  <a:gd name="connsiteX228" fmla="*/ 8351043 w 8971757"/>
                  <a:gd name="connsiteY228" fmla="*/ 1476375 h 4575969"/>
                  <a:gd name="connsiteX229" fmla="*/ 8170069 w 8971757"/>
                  <a:gd name="connsiteY229" fmla="*/ 1476374 h 4575969"/>
                  <a:gd name="connsiteX230" fmla="*/ 8117681 w 8971757"/>
                  <a:gd name="connsiteY230" fmla="*/ 1514475 h 4575969"/>
                  <a:gd name="connsiteX231" fmla="*/ 8067675 w 8971757"/>
                  <a:gd name="connsiteY231" fmla="*/ 1593056 h 4575969"/>
                  <a:gd name="connsiteX232" fmla="*/ 8084344 w 8971757"/>
                  <a:gd name="connsiteY232" fmla="*/ 1614487 h 4575969"/>
                  <a:gd name="connsiteX233" fmla="*/ 8039100 w 8971757"/>
                  <a:gd name="connsiteY233" fmla="*/ 1664493 h 4575969"/>
                  <a:gd name="connsiteX234" fmla="*/ 7889081 w 8971757"/>
                  <a:gd name="connsiteY234" fmla="*/ 1588293 h 4575969"/>
                  <a:gd name="connsiteX235" fmla="*/ 7798594 w 8971757"/>
                  <a:gd name="connsiteY235" fmla="*/ 1624012 h 4575969"/>
                  <a:gd name="connsiteX236" fmla="*/ 7724775 w 8971757"/>
                  <a:gd name="connsiteY236" fmla="*/ 1621631 h 4575969"/>
                  <a:gd name="connsiteX237" fmla="*/ 7667625 w 8971757"/>
                  <a:gd name="connsiteY237" fmla="*/ 1716881 h 4575969"/>
                  <a:gd name="connsiteX238" fmla="*/ 7529513 w 8971757"/>
                  <a:gd name="connsiteY23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3002756 w 8971757"/>
                  <a:gd name="connsiteY81" fmla="*/ 381000 h 4575969"/>
                  <a:gd name="connsiteX82" fmla="*/ 2959894 w 8971757"/>
                  <a:gd name="connsiteY82" fmla="*/ 378619 h 4575969"/>
                  <a:gd name="connsiteX83" fmla="*/ 2928937 w 8971757"/>
                  <a:gd name="connsiteY83" fmla="*/ 440531 h 4575969"/>
                  <a:gd name="connsiteX84" fmla="*/ 2924175 w 8971757"/>
                  <a:gd name="connsiteY84" fmla="*/ 504825 h 4575969"/>
                  <a:gd name="connsiteX85" fmla="*/ 2897982 w 8971757"/>
                  <a:gd name="connsiteY85" fmla="*/ 542925 h 4575969"/>
                  <a:gd name="connsiteX86" fmla="*/ 8412956 w 8971757"/>
                  <a:gd name="connsiteY86" fmla="*/ 23812 h 4575969"/>
                  <a:gd name="connsiteX87" fmla="*/ 8949531 w 8971757"/>
                  <a:gd name="connsiteY87" fmla="*/ 0 h 4575969"/>
                  <a:gd name="connsiteX88" fmla="*/ 8971757 w 8971757"/>
                  <a:gd name="connsiteY88" fmla="*/ 4575969 h 4575969"/>
                  <a:gd name="connsiteX89" fmla="*/ 2381 w 8971757"/>
                  <a:gd name="connsiteY89" fmla="*/ 4547392 h 4575969"/>
                  <a:gd name="connsiteX90" fmla="*/ 0 w 8971757"/>
                  <a:gd name="connsiteY90" fmla="*/ 845344 h 4575969"/>
                  <a:gd name="connsiteX91" fmla="*/ 76200 w 8971757"/>
                  <a:gd name="connsiteY91" fmla="*/ 828675 h 4575969"/>
                  <a:gd name="connsiteX92" fmla="*/ 119063 w 8971757"/>
                  <a:gd name="connsiteY92" fmla="*/ 857250 h 4575969"/>
                  <a:gd name="connsiteX93" fmla="*/ 215900 w 8971757"/>
                  <a:gd name="connsiteY93" fmla="*/ 848519 h 4575969"/>
                  <a:gd name="connsiteX94" fmla="*/ 261938 w 8971757"/>
                  <a:gd name="connsiteY94" fmla="*/ 876299 h 4575969"/>
                  <a:gd name="connsiteX95" fmla="*/ 228600 w 8971757"/>
                  <a:gd name="connsiteY95" fmla="*/ 904875 h 4575969"/>
                  <a:gd name="connsiteX96" fmla="*/ 233363 w 8971757"/>
                  <a:gd name="connsiteY96" fmla="*/ 947737 h 4575969"/>
                  <a:gd name="connsiteX97" fmla="*/ 200025 w 8971757"/>
                  <a:gd name="connsiteY97" fmla="*/ 952500 h 4575969"/>
                  <a:gd name="connsiteX98" fmla="*/ 204788 w 8971757"/>
                  <a:gd name="connsiteY98" fmla="*/ 976312 h 4575969"/>
                  <a:gd name="connsiteX99" fmla="*/ 261937 w 8971757"/>
                  <a:gd name="connsiteY99" fmla="*/ 1050131 h 4575969"/>
                  <a:gd name="connsiteX100" fmla="*/ 223838 w 8971757"/>
                  <a:gd name="connsiteY100" fmla="*/ 1097756 h 4575969"/>
                  <a:gd name="connsiteX101" fmla="*/ 278606 w 8971757"/>
                  <a:gd name="connsiteY101" fmla="*/ 1133475 h 4575969"/>
                  <a:gd name="connsiteX102" fmla="*/ 369094 w 8971757"/>
                  <a:gd name="connsiteY102" fmla="*/ 1221581 h 4575969"/>
                  <a:gd name="connsiteX103" fmla="*/ 371475 w 8971757"/>
                  <a:gd name="connsiteY103" fmla="*/ 1281112 h 4575969"/>
                  <a:gd name="connsiteX104" fmla="*/ 507206 w 8971757"/>
                  <a:gd name="connsiteY104" fmla="*/ 1414463 h 4575969"/>
                  <a:gd name="connsiteX105" fmla="*/ 561975 w 8971757"/>
                  <a:gd name="connsiteY105" fmla="*/ 1390650 h 4575969"/>
                  <a:gd name="connsiteX106" fmla="*/ 600075 w 8971757"/>
                  <a:gd name="connsiteY106" fmla="*/ 1416843 h 4575969"/>
                  <a:gd name="connsiteX107" fmla="*/ 614363 w 8971757"/>
                  <a:gd name="connsiteY107" fmla="*/ 1466849 h 4575969"/>
                  <a:gd name="connsiteX108" fmla="*/ 657225 w 8971757"/>
                  <a:gd name="connsiteY108" fmla="*/ 1502569 h 4575969"/>
                  <a:gd name="connsiteX109" fmla="*/ 697706 w 8971757"/>
                  <a:gd name="connsiteY109" fmla="*/ 1490662 h 4575969"/>
                  <a:gd name="connsiteX110" fmla="*/ 716756 w 8971757"/>
                  <a:gd name="connsiteY110" fmla="*/ 1547812 h 4575969"/>
                  <a:gd name="connsiteX111" fmla="*/ 764381 w 8971757"/>
                  <a:gd name="connsiteY111" fmla="*/ 1590675 h 4575969"/>
                  <a:gd name="connsiteX112" fmla="*/ 788194 w 8971757"/>
                  <a:gd name="connsiteY112" fmla="*/ 1693069 h 4575969"/>
                  <a:gd name="connsiteX113" fmla="*/ 785813 w 8971757"/>
                  <a:gd name="connsiteY113" fmla="*/ 1740694 h 4575969"/>
                  <a:gd name="connsiteX114" fmla="*/ 821531 w 8971757"/>
                  <a:gd name="connsiteY114" fmla="*/ 1840706 h 4575969"/>
                  <a:gd name="connsiteX115" fmla="*/ 866775 w 8971757"/>
                  <a:gd name="connsiteY115" fmla="*/ 1897856 h 4575969"/>
                  <a:gd name="connsiteX116" fmla="*/ 883443 w 8971757"/>
                  <a:gd name="connsiteY116" fmla="*/ 2055018 h 4575969"/>
                  <a:gd name="connsiteX117" fmla="*/ 850106 w 8971757"/>
                  <a:gd name="connsiteY117" fmla="*/ 2116931 h 4575969"/>
                  <a:gd name="connsiteX118" fmla="*/ 819150 w 8971757"/>
                  <a:gd name="connsiteY118" fmla="*/ 2193131 h 4575969"/>
                  <a:gd name="connsiteX119" fmla="*/ 833438 w 8971757"/>
                  <a:gd name="connsiteY119" fmla="*/ 2250281 h 4575969"/>
                  <a:gd name="connsiteX120" fmla="*/ 735806 w 8971757"/>
                  <a:gd name="connsiteY120" fmla="*/ 2357438 h 4575969"/>
                  <a:gd name="connsiteX121" fmla="*/ 692944 w 8971757"/>
                  <a:gd name="connsiteY121" fmla="*/ 2471737 h 4575969"/>
                  <a:gd name="connsiteX122" fmla="*/ 726281 w 8971757"/>
                  <a:gd name="connsiteY122" fmla="*/ 2512219 h 4575969"/>
                  <a:gd name="connsiteX123" fmla="*/ 709613 w 8971757"/>
                  <a:gd name="connsiteY123" fmla="*/ 2540794 h 4575969"/>
                  <a:gd name="connsiteX124" fmla="*/ 740569 w 8971757"/>
                  <a:gd name="connsiteY124" fmla="*/ 2597944 h 4575969"/>
                  <a:gd name="connsiteX125" fmla="*/ 769144 w 8971757"/>
                  <a:gd name="connsiteY125" fmla="*/ 2597944 h 4575969"/>
                  <a:gd name="connsiteX126" fmla="*/ 931069 w 8971757"/>
                  <a:gd name="connsiteY126" fmla="*/ 2700337 h 4575969"/>
                  <a:gd name="connsiteX127" fmla="*/ 1035844 w 8971757"/>
                  <a:gd name="connsiteY127" fmla="*/ 2697956 h 4575969"/>
                  <a:gd name="connsiteX128" fmla="*/ 1114425 w 8971757"/>
                  <a:gd name="connsiteY128" fmla="*/ 2752725 h 4575969"/>
                  <a:gd name="connsiteX129" fmla="*/ 1245393 w 8971757"/>
                  <a:gd name="connsiteY129" fmla="*/ 2755106 h 4575969"/>
                  <a:gd name="connsiteX130" fmla="*/ 1435893 w 8971757"/>
                  <a:gd name="connsiteY130" fmla="*/ 2824162 h 4575969"/>
                  <a:gd name="connsiteX131" fmla="*/ 1638300 w 8971757"/>
                  <a:gd name="connsiteY131" fmla="*/ 2974181 h 4575969"/>
                  <a:gd name="connsiteX132" fmla="*/ 1671637 w 8971757"/>
                  <a:gd name="connsiteY132" fmla="*/ 3040856 h 4575969"/>
                  <a:gd name="connsiteX133" fmla="*/ 1838325 w 8971757"/>
                  <a:gd name="connsiteY133" fmla="*/ 3167062 h 4575969"/>
                  <a:gd name="connsiteX134" fmla="*/ 1909763 w 8971757"/>
                  <a:gd name="connsiteY134" fmla="*/ 3162300 h 4575969"/>
                  <a:gd name="connsiteX135" fmla="*/ 1945482 w 8971757"/>
                  <a:gd name="connsiteY135" fmla="*/ 3186112 h 4575969"/>
                  <a:gd name="connsiteX136" fmla="*/ 1916906 w 8971757"/>
                  <a:gd name="connsiteY136" fmla="*/ 3226594 h 4575969"/>
                  <a:gd name="connsiteX137" fmla="*/ 1924050 w 8971757"/>
                  <a:gd name="connsiteY137" fmla="*/ 3278981 h 4575969"/>
                  <a:gd name="connsiteX138" fmla="*/ 1976438 w 8971757"/>
                  <a:gd name="connsiteY138" fmla="*/ 3305175 h 4575969"/>
                  <a:gd name="connsiteX139" fmla="*/ 2038350 w 8971757"/>
                  <a:gd name="connsiteY139" fmla="*/ 3529013 h 4575969"/>
                  <a:gd name="connsiteX140" fmla="*/ 2028825 w 8971757"/>
                  <a:gd name="connsiteY140" fmla="*/ 3593306 h 4575969"/>
                  <a:gd name="connsiteX141" fmla="*/ 2164556 w 8971757"/>
                  <a:gd name="connsiteY141" fmla="*/ 3759994 h 4575969"/>
                  <a:gd name="connsiteX142" fmla="*/ 2183606 w 8971757"/>
                  <a:gd name="connsiteY142" fmla="*/ 3810000 h 4575969"/>
                  <a:gd name="connsiteX143" fmla="*/ 2157413 w 8971757"/>
                  <a:gd name="connsiteY143" fmla="*/ 3829050 h 4575969"/>
                  <a:gd name="connsiteX144" fmla="*/ 2259806 w 8971757"/>
                  <a:gd name="connsiteY144" fmla="*/ 3838575 h 4575969"/>
                  <a:gd name="connsiteX145" fmla="*/ 2371725 w 8971757"/>
                  <a:gd name="connsiteY145" fmla="*/ 3826669 h 4575969"/>
                  <a:gd name="connsiteX146" fmla="*/ 2650331 w 8971757"/>
                  <a:gd name="connsiteY146" fmla="*/ 3910012 h 4575969"/>
                  <a:gd name="connsiteX147" fmla="*/ 3057525 w 8971757"/>
                  <a:gd name="connsiteY147" fmla="*/ 3990975 h 4575969"/>
                  <a:gd name="connsiteX148" fmla="*/ 3255169 w 8971757"/>
                  <a:gd name="connsiteY148" fmla="*/ 3960018 h 4575969"/>
                  <a:gd name="connsiteX149" fmla="*/ 3300413 w 8971757"/>
                  <a:gd name="connsiteY149" fmla="*/ 3971924 h 4575969"/>
                  <a:gd name="connsiteX150" fmla="*/ 3355181 w 8971757"/>
                  <a:gd name="connsiteY150" fmla="*/ 3948113 h 4575969"/>
                  <a:gd name="connsiteX151" fmla="*/ 3748087 w 8971757"/>
                  <a:gd name="connsiteY151" fmla="*/ 4038600 h 4575969"/>
                  <a:gd name="connsiteX152" fmla="*/ 3831432 w 8971757"/>
                  <a:gd name="connsiteY152" fmla="*/ 4136231 h 4575969"/>
                  <a:gd name="connsiteX153" fmla="*/ 3950494 w 8971757"/>
                  <a:gd name="connsiteY153" fmla="*/ 4207669 h 4575969"/>
                  <a:gd name="connsiteX154" fmla="*/ 4010025 w 8971757"/>
                  <a:gd name="connsiteY154" fmla="*/ 4191000 h 4575969"/>
                  <a:gd name="connsiteX155" fmla="*/ 4360068 w 8971757"/>
                  <a:gd name="connsiteY155" fmla="*/ 4364831 h 4575969"/>
                  <a:gd name="connsiteX156" fmla="*/ 4586288 w 8971757"/>
                  <a:gd name="connsiteY156" fmla="*/ 4336256 h 4575969"/>
                  <a:gd name="connsiteX157" fmla="*/ 4595813 w 8971757"/>
                  <a:gd name="connsiteY157" fmla="*/ 4414837 h 4575969"/>
                  <a:gd name="connsiteX158" fmla="*/ 4681538 w 8971757"/>
                  <a:gd name="connsiteY158" fmla="*/ 4410074 h 4575969"/>
                  <a:gd name="connsiteX159" fmla="*/ 4760119 w 8971757"/>
                  <a:gd name="connsiteY159" fmla="*/ 4441031 h 4575969"/>
                  <a:gd name="connsiteX160" fmla="*/ 4802981 w 8971757"/>
                  <a:gd name="connsiteY160" fmla="*/ 4381500 h 4575969"/>
                  <a:gd name="connsiteX161" fmla="*/ 5474494 w 8971757"/>
                  <a:gd name="connsiteY161" fmla="*/ 4062412 h 4575969"/>
                  <a:gd name="connsiteX162" fmla="*/ 5562600 w 8971757"/>
                  <a:gd name="connsiteY162" fmla="*/ 4090988 h 4575969"/>
                  <a:gd name="connsiteX163" fmla="*/ 5693569 w 8971757"/>
                  <a:gd name="connsiteY163" fmla="*/ 4062412 h 4575969"/>
                  <a:gd name="connsiteX164" fmla="*/ 5872162 w 8971757"/>
                  <a:gd name="connsiteY164" fmla="*/ 4079081 h 4575969"/>
                  <a:gd name="connsiteX165" fmla="*/ 5929313 w 8971757"/>
                  <a:gd name="connsiteY165" fmla="*/ 4052888 h 4575969"/>
                  <a:gd name="connsiteX166" fmla="*/ 6062662 w 8971757"/>
                  <a:gd name="connsiteY166" fmla="*/ 4050506 h 4575969"/>
                  <a:gd name="connsiteX167" fmla="*/ 6196012 w 8971757"/>
                  <a:gd name="connsiteY167" fmla="*/ 3952875 h 4575969"/>
                  <a:gd name="connsiteX168" fmla="*/ 6262687 w 8971757"/>
                  <a:gd name="connsiteY168" fmla="*/ 3945731 h 4575969"/>
                  <a:gd name="connsiteX169" fmla="*/ 6360319 w 8971757"/>
                  <a:gd name="connsiteY169" fmla="*/ 3871912 h 4575969"/>
                  <a:gd name="connsiteX170" fmla="*/ 6434138 w 8971757"/>
                  <a:gd name="connsiteY170" fmla="*/ 3802856 h 4575969"/>
                  <a:gd name="connsiteX171" fmla="*/ 6443663 w 8971757"/>
                  <a:gd name="connsiteY171" fmla="*/ 3740944 h 4575969"/>
                  <a:gd name="connsiteX172" fmla="*/ 6477000 w 8971757"/>
                  <a:gd name="connsiteY172" fmla="*/ 3671887 h 4575969"/>
                  <a:gd name="connsiteX173" fmla="*/ 6629400 w 8971757"/>
                  <a:gd name="connsiteY173" fmla="*/ 3564731 h 4575969"/>
                  <a:gd name="connsiteX174" fmla="*/ 6662738 w 8971757"/>
                  <a:gd name="connsiteY174" fmla="*/ 3569494 h 4575969"/>
                  <a:gd name="connsiteX175" fmla="*/ 6715125 w 8971757"/>
                  <a:gd name="connsiteY175" fmla="*/ 3490912 h 4575969"/>
                  <a:gd name="connsiteX176" fmla="*/ 6762750 w 8971757"/>
                  <a:gd name="connsiteY176" fmla="*/ 3452812 h 4575969"/>
                  <a:gd name="connsiteX177" fmla="*/ 6748463 w 8971757"/>
                  <a:gd name="connsiteY177" fmla="*/ 3383756 h 4575969"/>
                  <a:gd name="connsiteX178" fmla="*/ 6698456 w 8971757"/>
                  <a:gd name="connsiteY178" fmla="*/ 3352799 h 4575969"/>
                  <a:gd name="connsiteX179" fmla="*/ 6638925 w 8971757"/>
                  <a:gd name="connsiteY179" fmla="*/ 3298031 h 4575969"/>
                  <a:gd name="connsiteX180" fmla="*/ 6619875 w 8971757"/>
                  <a:gd name="connsiteY180" fmla="*/ 3240881 h 4575969"/>
                  <a:gd name="connsiteX181" fmla="*/ 6584156 w 8971757"/>
                  <a:gd name="connsiteY181" fmla="*/ 3207544 h 4575969"/>
                  <a:gd name="connsiteX182" fmla="*/ 6610350 w 8971757"/>
                  <a:gd name="connsiteY182" fmla="*/ 3155156 h 4575969"/>
                  <a:gd name="connsiteX183" fmla="*/ 6650831 w 8971757"/>
                  <a:gd name="connsiteY183" fmla="*/ 2976562 h 4575969"/>
                  <a:gd name="connsiteX184" fmla="*/ 6691313 w 8971757"/>
                  <a:gd name="connsiteY184" fmla="*/ 2909887 h 4575969"/>
                  <a:gd name="connsiteX185" fmla="*/ 6836569 w 8971757"/>
                  <a:gd name="connsiteY185" fmla="*/ 2893218 h 4575969"/>
                  <a:gd name="connsiteX186" fmla="*/ 6905625 w 8971757"/>
                  <a:gd name="connsiteY186" fmla="*/ 2950369 h 4575969"/>
                  <a:gd name="connsiteX187" fmla="*/ 6981825 w 8971757"/>
                  <a:gd name="connsiteY187" fmla="*/ 2974181 h 4575969"/>
                  <a:gd name="connsiteX188" fmla="*/ 7186612 w 8971757"/>
                  <a:gd name="connsiteY188" fmla="*/ 2978944 h 4575969"/>
                  <a:gd name="connsiteX189" fmla="*/ 7362825 w 8971757"/>
                  <a:gd name="connsiteY189" fmla="*/ 2840831 h 4575969"/>
                  <a:gd name="connsiteX190" fmla="*/ 7419975 w 8971757"/>
                  <a:gd name="connsiteY190" fmla="*/ 2750343 h 4575969"/>
                  <a:gd name="connsiteX191" fmla="*/ 7446169 w 8971757"/>
                  <a:gd name="connsiteY191" fmla="*/ 2667000 h 4575969"/>
                  <a:gd name="connsiteX192" fmla="*/ 7577137 w 8971757"/>
                  <a:gd name="connsiteY192" fmla="*/ 2667000 h 4575969"/>
                  <a:gd name="connsiteX193" fmla="*/ 7750969 w 8971757"/>
                  <a:gd name="connsiteY193" fmla="*/ 2609849 h 4575969"/>
                  <a:gd name="connsiteX194" fmla="*/ 7810500 w 8971757"/>
                  <a:gd name="connsiteY194" fmla="*/ 2497931 h 4575969"/>
                  <a:gd name="connsiteX195" fmla="*/ 7874794 w 8971757"/>
                  <a:gd name="connsiteY195" fmla="*/ 2462212 h 4575969"/>
                  <a:gd name="connsiteX196" fmla="*/ 7853363 w 8971757"/>
                  <a:gd name="connsiteY196" fmla="*/ 2416969 h 4575969"/>
                  <a:gd name="connsiteX197" fmla="*/ 7931944 w 8971757"/>
                  <a:gd name="connsiteY197" fmla="*/ 2247899 h 4575969"/>
                  <a:gd name="connsiteX198" fmla="*/ 7986713 w 8971757"/>
                  <a:gd name="connsiteY198" fmla="*/ 2188369 h 4575969"/>
                  <a:gd name="connsiteX199" fmla="*/ 8024813 w 8971757"/>
                  <a:gd name="connsiteY199" fmla="*/ 2183606 h 4575969"/>
                  <a:gd name="connsiteX200" fmla="*/ 8070056 w 8971757"/>
                  <a:gd name="connsiteY200" fmla="*/ 2188369 h 4575969"/>
                  <a:gd name="connsiteX201" fmla="*/ 8134350 w 8971757"/>
                  <a:gd name="connsiteY201" fmla="*/ 2155031 h 4575969"/>
                  <a:gd name="connsiteX202" fmla="*/ 8143875 w 8971757"/>
                  <a:gd name="connsiteY202" fmla="*/ 2090737 h 4575969"/>
                  <a:gd name="connsiteX203" fmla="*/ 8184355 w 8971757"/>
                  <a:gd name="connsiteY203" fmla="*/ 2055019 h 4575969"/>
                  <a:gd name="connsiteX204" fmla="*/ 8243888 w 8971757"/>
                  <a:gd name="connsiteY204" fmla="*/ 2095499 h 4575969"/>
                  <a:gd name="connsiteX205" fmla="*/ 8270082 w 8971757"/>
                  <a:gd name="connsiteY205" fmla="*/ 2045493 h 4575969"/>
                  <a:gd name="connsiteX206" fmla="*/ 8365331 w 8971757"/>
                  <a:gd name="connsiteY206" fmla="*/ 1976437 h 4575969"/>
                  <a:gd name="connsiteX207" fmla="*/ 8427244 w 8971757"/>
                  <a:gd name="connsiteY207" fmla="*/ 1983581 h 4575969"/>
                  <a:gd name="connsiteX208" fmla="*/ 8477250 w 8971757"/>
                  <a:gd name="connsiteY208" fmla="*/ 1964531 h 4575969"/>
                  <a:gd name="connsiteX209" fmla="*/ 8515350 w 8971757"/>
                  <a:gd name="connsiteY209" fmla="*/ 1935956 h 4575969"/>
                  <a:gd name="connsiteX210" fmla="*/ 8548688 w 8971757"/>
                  <a:gd name="connsiteY210" fmla="*/ 1933575 h 4575969"/>
                  <a:gd name="connsiteX211" fmla="*/ 8584406 w 8971757"/>
                  <a:gd name="connsiteY211" fmla="*/ 1964531 h 4575969"/>
                  <a:gd name="connsiteX212" fmla="*/ 8643938 w 8971757"/>
                  <a:gd name="connsiteY212" fmla="*/ 1964531 h 4575969"/>
                  <a:gd name="connsiteX213" fmla="*/ 8682037 w 8971757"/>
                  <a:gd name="connsiteY213" fmla="*/ 1945481 h 4575969"/>
                  <a:gd name="connsiteX214" fmla="*/ 8765381 w 8971757"/>
                  <a:gd name="connsiteY214" fmla="*/ 1947863 h 4575969"/>
                  <a:gd name="connsiteX215" fmla="*/ 8796338 w 8971757"/>
                  <a:gd name="connsiteY215" fmla="*/ 1902619 h 4575969"/>
                  <a:gd name="connsiteX216" fmla="*/ 8801100 w 8971757"/>
                  <a:gd name="connsiteY216" fmla="*/ 1840706 h 4575969"/>
                  <a:gd name="connsiteX217" fmla="*/ 8751093 w 8971757"/>
                  <a:gd name="connsiteY217" fmla="*/ 1800225 h 4575969"/>
                  <a:gd name="connsiteX218" fmla="*/ 8734425 w 8971757"/>
                  <a:gd name="connsiteY218" fmla="*/ 1745456 h 4575969"/>
                  <a:gd name="connsiteX219" fmla="*/ 8643938 w 8971757"/>
                  <a:gd name="connsiteY219" fmla="*/ 1683544 h 4575969"/>
                  <a:gd name="connsiteX220" fmla="*/ 8603456 w 8971757"/>
                  <a:gd name="connsiteY220" fmla="*/ 1662112 h 4575969"/>
                  <a:gd name="connsiteX221" fmla="*/ 8565356 w 8971757"/>
                  <a:gd name="connsiteY221" fmla="*/ 1616869 h 4575969"/>
                  <a:gd name="connsiteX222" fmla="*/ 8534400 w 8971757"/>
                  <a:gd name="connsiteY222" fmla="*/ 1614487 h 4575969"/>
                  <a:gd name="connsiteX223" fmla="*/ 8517731 w 8971757"/>
                  <a:gd name="connsiteY223" fmla="*/ 1562100 h 4575969"/>
                  <a:gd name="connsiteX224" fmla="*/ 8477250 w 8971757"/>
                  <a:gd name="connsiteY224" fmla="*/ 1545431 h 4575969"/>
                  <a:gd name="connsiteX225" fmla="*/ 8477250 w 8971757"/>
                  <a:gd name="connsiteY225" fmla="*/ 1545431 h 4575969"/>
                  <a:gd name="connsiteX226" fmla="*/ 8436769 w 8971757"/>
                  <a:gd name="connsiteY226" fmla="*/ 1550194 h 4575969"/>
                  <a:gd name="connsiteX227" fmla="*/ 8351043 w 8971757"/>
                  <a:gd name="connsiteY227" fmla="*/ 1476375 h 4575969"/>
                  <a:gd name="connsiteX228" fmla="*/ 8170069 w 8971757"/>
                  <a:gd name="connsiteY228" fmla="*/ 1476374 h 4575969"/>
                  <a:gd name="connsiteX229" fmla="*/ 8117681 w 8971757"/>
                  <a:gd name="connsiteY229" fmla="*/ 1514475 h 4575969"/>
                  <a:gd name="connsiteX230" fmla="*/ 8067675 w 8971757"/>
                  <a:gd name="connsiteY230" fmla="*/ 1593056 h 4575969"/>
                  <a:gd name="connsiteX231" fmla="*/ 8084344 w 8971757"/>
                  <a:gd name="connsiteY231" fmla="*/ 1614487 h 4575969"/>
                  <a:gd name="connsiteX232" fmla="*/ 8039100 w 8971757"/>
                  <a:gd name="connsiteY232" fmla="*/ 1664493 h 4575969"/>
                  <a:gd name="connsiteX233" fmla="*/ 7889081 w 8971757"/>
                  <a:gd name="connsiteY233" fmla="*/ 1588293 h 4575969"/>
                  <a:gd name="connsiteX234" fmla="*/ 7798594 w 8971757"/>
                  <a:gd name="connsiteY234" fmla="*/ 1624012 h 4575969"/>
                  <a:gd name="connsiteX235" fmla="*/ 7724775 w 8971757"/>
                  <a:gd name="connsiteY235" fmla="*/ 1621631 h 4575969"/>
                  <a:gd name="connsiteX236" fmla="*/ 7667625 w 8971757"/>
                  <a:gd name="connsiteY236" fmla="*/ 1716881 h 4575969"/>
                  <a:gd name="connsiteX237" fmla="*/ 7529513 w 8971757"/>
                  <a:gd name="connsiteY23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3002756 w 8971757"/>
                  <a:gd name="connsiteY81" fmla="*/ 381000 h 4575969"/>
                  <a:gd name="connsiteX82" fmla="*/ 2959894 w 8971757"/>
                  <a:gd name="connsiteY82" fmla="*/ 378619 h 4575969"/>
                  <a:gd name="connsiteX83" fmla="*/ 2928937 w 8971757"/>
                  <a:gd name="connsiteY83" fmla="*/ 440531 h 4575969"/>
                  <a:gd name="connsiteX84" fmla="*/ 2924175 w 8971757"/>
                  <a:gd name="connsiteY84" fmla="*/ 504825 h 4575969"/>
                  <a:gd name="connsiteX85" fmla="*/ 8412956 w 8971757"/>
                  <a:gd name="connsiteY85" fmla="*/ 23812 h 4575969"/>
                  <a:gd name="connsiteX86" fmla="*/ 8949531 w 8971757"/>
                  <a:gd name="connsiteY86" fmla="*/ 0 h 4575969"/>
                  <a:gd name="connsiteX87" fmla="*/ 8971757 w 8971757"/>
                  <a:gd name="connsiteY87" fmla="*/ 4575969 h 4575969"/>
                  <a:gd name="connsiteX88" fmla="*/ 2381 w 8971757"/>
                  <a:gd name="connsiteY88" fmla="*/ 4547392 h 4575969"/>
                  <a:gd name="connsiteX89" fmla="*/ 0 w 8971757"/>
                  <a:gd name="connsiteY89" fmla="*/ 845344 h 4575969"/>
                  <a:gd name="connsiteX90" fmla="*/ 76200 w 8971757"/>
                  <a:gd name="connsiteY90" fmla="*/ 828675 h 4575969"/>
                  <a:gd name="connsiteX91" fmla="*/ 119063 w 8971757"/>
                  <a:gd name="connsiteY91" fmla="*/ 857250 h 4575969"/>
                  <a:gd name="connsiteX92" fmla="*/ 215900 w 8971757"/>
                  <a:gd name="connsiteY92" fmla="*/ 848519 h 4575969"/>
                  <a:gd name="connsiteX93" fmla="*/ 261938 w 8971757"/>
                  <a:gd name="connsiteY93" fmla="*/ 876299 h 4575969"/>
                  <a:gd name="connsiteX94" fmla="*/ 228600 w 8971757"/>
                  <a:gd name="connsiteY94" fmla="*/ 904875 h 4575969"/>
                  <a:gd name="connsiteX95" fmla="*/ 233363 w 8971757"/>
                  <a:gd name="connsiteY95" fmla="*/ 947737 h 4575969"/>
                  <a:gd name="connsiteX96" fmla="*/ 200025 w 8971757"/>
                  <a:gd name="connsiteY96" fmla="*/ 952500 h 4575969"/>
                  <a:gd name="connsiteX97" fmla="*/ 204788 w 8971757"/>
                  <a:gd name="connsiteY97" fmla="*/ 976312 h 4575969"/>
                  <a:gd name="connsiteX98" fmla="*/ 261937 w 8971757"/>
                  <a:gd name="connsiteY98" fmla="*/ 1050131 h 4575969"/>
                  <a:gd name="connsiteX99" fmla="*/ 223838 w 8971757"/>
                  <a:gd name="connsiteY99" fmla="*/ 1097756 h 4575969"/>
                  <a:gd name="connsiteX100" fmla="*/ 278606 w 8971757"/>
                  <a:gd name="connsiteY100" fmla="*/ 1133475 h 4575969"/>
                  <a:gd name="connsiteX101" fmla="*/ 369094 w 8971757"/>
                  <a:gd name="connsiteY101" fmla="*/ 1221581 h 4575969"/>
                  <a:gd name="connsiteX102" fmla="*/ 371475 w 8971757"/>
                  <a:gd name="connsiteY102" fmla="*/ 1281112 h 4575969"/>
                  <a:gd name="connsiteX103" fmla="*/ 507206 w 8971757"/>
                  <a:gd name="connsiteY103" fmla="*/ 1414463 h 4575969"/>
                  <a:gd name="connsiteX104" fmla="*/ 561975 w 8971757"/>
                  <a:gd name="connsiteY104" fmla="*/ 1390650 h 4575969"/>
                  <a:gd name="connsiteX105" fmla="*/ 600075 w 8971757"/>
                  <a:gd name="connsiteY105" fmla="*/ 1416843 h 4575969"/>
                  <a:gd name="connsiteX106" fmla="*/ 614363 w 8971757"/>
                  <a:gd name="connsiteY106" fmla="*/ 1466849 h 4575969"/>
                  <a:gd name="connsiteX107" fmla="*/ 657225 w 8971757"/>
                  <a:gd name="connsiteY107" fmla="*/ 1502569 h 4575969"/>
                  <a:gd name="connsiteX108" fmla="*/ 697706 w 8971757"/>
                  <a:gd name="connsiteY108" fmla="*/ 1490662 h 4575969"/>
                  <a:gd name="connsiteX109" fmla="*/ 716756 w 8971757"/>
                  <a:gd name="connsiteY109" fmla="*/ 1547812 h 4575969"/>
                  <a:gd name="connsiteX110" fmla="*/ 764381 w 8971757"/>
                  <a:gd name="connsiteY110" fmla="*/ 1590675 h 4575969"/>
                  <a:gd name="connsiteX111" fmla="*/ 788194 w 8971757"/>
                  <a:gd name="connsiteY111" fmla="*/ 1693069 h 4575969"/>
                  <a:gd name="connsiteX112" fmla="*/ 785813 w 8971757"/>
                  <a:gd name="connsiteY112" fmla="*/ 1740694 h 4575969"/>
                  <a:gd name="connsiteX113" fmla="*/ 821531 w 8971757"/>
                  <a:gd name="connsiteY113" fmla="*/ 1840706 h 4575969"/>
                  <a:gd name="connsiteX114" fmla="*/ 866775 w 8971757"/>
                  <a:gd name="connsiteY114" fmla="*/ 1897856 h 4575969"/>
                  <a:gd name="connsiteX115" fmla="*/ 883443 w 8971757"/>
                  <a:gd name="connsiteY115" fmla="*/ 2055018 h 4575969"/>
                  <a:gd name="connsiteX116" fmla="*/ 850106 w 8971757"/>
                  <a:gd name="connsiteY116" fmla="*/ 2116931 h 4575969"/>
                  <a:gd name="connsiteX117" fmla="*/ 819150 w 8971757"/>
                  <a:gd name="connsiteY117" fmla="*/ 2193131 h 4575969"/>
                  <a:gd name="connsiteX118" fmla="*/ 833438 w 8971757"/>
                  <a:gd name="connsiteY118" fmla="*/ 2250281 h 4575969"/>
                  <a:gd name="connsiteX119" fmla="*/ 735806 w 8971757"/>
                  <a:gd name="connsiteY119" fmla="*/ 2357438 h 4575969"/>
                  <a:gd name="connsiteX120" fmla="*/ 692944 w 8971757"/>
                  <a:gd name="connsiteY120" fmla="*/ 2471737 h 4575969"/>
                  <a:gd name="connsiteX121" fmla="*/ 726281 w 8971757"/>
                  <a:gd name="connsiteY121" fmla="*/ 2512219 h 4575969"/>
                  <a:gd name="connsiteX122" fmla="*/ 709613 w 8971757"/>
                  <a:gd name="connsiteY122" fmla="*/ 2540794 h 4575969"/>
                  <a:gd name="connsiteX123" fmla="*/ 740569 w 8971757"/>
                  <a:gd name="connsiteY123" fmla="*/ 2597944 h 4575969"/>
                  <a:gd name="connsiteX124" fmla="*/ 769144 w 8971757"/>
                  <a:gd name="connsiteY124" fmla="*/ 2597944 h 4575969"/>
                  <a:gd name="connsiteX125" fmla="*/ 931069 w 8971757"/>
                  <a:gd name="connsiteY125" fmla="*/ 2700337 h 4575969"/>
                  <a:gd name="connsiteX126" fmla="*/ 1035844 w 8971757"/>
                  <a:gd name="connsiteY126" fmla="*/ 2697956 h 4575969"/>
                  <a:gd name="connsiteX127" fmla="*/ 1114425 w 8971757"/>
                  <a:gd name="connsiteY127" fmla="*/ 2752725 h 4575969"/>
                  <a:gd name="connsiteX128" fmla="*/ 1245393 w 8971757"/>
                  <a:gd name="connsiteY128" fmla="*/ 2755106 h 4575969"/>
                  <a:gd name="connsiteX129" fmla="*/ 1435893 w 8971757"/>
                  <a:gd name="connsiteY129" fmla="*/ 2824162 h 4575969"/>
                  <a:gd name="connsiteX130" fmla="*/ 1638300 w 8971757"/>
                  <a:gd name="connsiteY130" fmla="*/ 2974181 h 4575969"/>
                  <a:gd name="connsiteX131" fmla="*/ 1671637 w 8971757"/>
                  <a:gd name="connsiteY131" fmla="*/ 3040856 h 4575969"/>
                  <a:gd name="connsiteX132" fmla="*/ 1838325 w 8971757"/>
                  <a:gd name="connsiteY132" fmla="*/ 3167062 h 4575969"/>
                  <a:gd name="connsiteX133" fmla="*/ 1909763 w 8971757"/>
                  <a:gd name="connsiteY133" fmla="*/ 3162300 h 4575969"/>
                  <a:gd name="connsiteX134" fmla="*/ 1945482 w 8971757"/>
                  <a:gd name="connsiteY134" fmla="*/ 3186112 h 4575969"/>
                  <a:gd name="connsiteX135" fmla="*/ 1916906 w 8971757"/>
                  <a:gd name="connsiteY135" fmla="*/ 3226594 h 4575969"/>
                  <a:gd name="connsiteX136" fmla="*/ 1924050 w 8971757"/>
                  <a:gd name="connsiteY136" fmla="*/ 3278981 h 4575969"/>
                  <a:gd name="connsiteX137" fmla="*/ 1976438 w 8971757"/>
                  <a:gd name="connsiteY137" fmla="*/ 3305175 h 4575969"/>
                  <a:gd name="connsiteX138" fmla="*/ 2038350 w 8971757"/>
                  <a:gd name="connsiteY138" fmla="*/ 3529013 h 4575969"/>
                  <a:gd name="connsiteX139" fmla="*/ 2028825 w 8971757"/>
                  <a:gd name="connsiteY139" fmla="*/ 3593306 h 4575969"/>
                  <a:gd name="connsiteX140" fmla="*/ 2164556 w 8971757"/>
                  <a:gd name="connsiteY140" fmla="*/ 3759994 h 4575969"/>
                  <a:gd name="connsiteX141" fmla="*/ 2183606 w 8971757"/>
                  <a:gd name="connsiteY141" fmla="*/ 3810000 h 4575969"/>
                  <a:gd name="connsiteX142" fmla="*/ 2157413 w 8971757"/>
                  <a:gd name="connsiteY142" fmla="*/ 3829050 h 4575969"/>
                  <a:gd name="connsiteX143" fmla="*/ 2259806 w 8971757"/>
                  <a:gd name="connsiteY143" fmla="*/ 3838575 h 4575969"/>
                  <a:gd name="connsiteX144" fmla="*/ 2371725 w 8971757"/>
                  <a:gd name="connsiteY144" fmla="*/ 3826669 h 4575969"/>
                  <a:gd name="connsiteX145" fmla="*/ 2650331 w 8971757"/>
                  <a:gd name="connsiteY145" fmla="*/ 3910012 h 4575969"/>
                  <a:gd name="connsiteX146" fmla="*/ 3057525 w 8971757"/>
                  <a:gd name="connsiteY146" fmla="*/ 3990975 h 4575969"/>
                  <a:gd name="connsiteX147" fmla="*/ 3255169 w 8971757"/>
                  <a:gd name="connsiteY147" fmla="*/ 3960018 h 4575969"/>
                  <a:gd name="connsiteX148" fmla="*/ 3300413 w 8971757"/>
                  <a:gd name="connsiteY148" fmla="*/ 3971924 h 4575969"/>
                  <a:gd name="connsiteX149" fmla="*/ 3355181 w 8971757"/>
                  <a:gd name="connsiteY149" fmla="*/ 3948113 h 4575969"/>
                  <a:gd name="connsiteX150" fmla="*/ 3748087 w 8971757"/>
                  <a:gd name="connsiteY150" fmla="*/ 4038600 h 4575969"/>
                  <a:gd name="connsiteX151" fmla="*/ 3831432 w 8971757"/>
                  <a:gd name="connsiteY151" fmla="*/ 4136231 h 4575969"/>
                  <a:gd name="connsiteX152" fmla="*/ 3950494 w 8971757"/>
                  <a:gd name="connsiteY152" fmla="*/ 4207669 h 4575969"/>
                  <a:gd name="connsiteX153" fmla="*/ 4010025 w 8971757"/>
                  <a:gd name="connsiteY153" fmla="*/ 4191000 h 4575969"/>
                  <a:gd name="connsiteX154" fmla="*/ 4360068 w 8971757"/>
                  <a:gd name="connsiteY154" fmla="*/ 4364831 h 4575969"/>
                  <a:gd name="connsiteX155" fmla="*/ 4586288 w 8971757"/>
                  <a:gd name="connsiteY155" fmla="*/ 4336256 h 4575969"/>
                  <a:gd name="connsiteX156" fmla="*/ 4595813 w 8971757"/>
                  <a:gd name="connsiteY156" fmla="*/ 4414837 h 4575969"/>
                  <a:gd name="connsiteX157" fmla="*/ 4681538 w 8971757"/>
                  <a:gd name="connsiteY157" fmla="*/ 4410074 h 4575969"/>
                  <a:gd name="connsiteX158" fmla="*/ 4760119 w 8971757"/>
                  <a:gd name="connsiteY158" fmla="*/ 4441031 h 4575969"/>
                  <a:gd name="connsiteX159" fmla="*/ 4802981 w 8971757"/>
                  <a:gd name="connsiteY159" fmla="*/ 4381500 h 4575969"/>
                  <a:gd name="connsiteX160" fmla="*/ 5474494 w 8971757"/>
                  <a:gd name="connsiteY160" fmla="*/ 4062412 h 4575969"/>
                  <a:gd name="connsiteX161" fmla="*/ 5562600 w 8971757"/>
                  <a:gd name="connsiteY161" fmla="*/ 4090988 h 4575969"/>
                  <a:gd name="connsiteX162" fmla="*/ 5693569 w 8971757"/>
                  <a:gd name="connsiteY162" fmla="*/ 4062412 h 4575969"/>
                  <a:gd name="connsiteX163" fmla="*/ 5872162 w 8971757"/>
                  <a:gd name="connsiteY163" fmla="*/ 4079081 h 4575969"/>
                  <a:gd name="connsiteX164" fmla="*/ 5929313 w 8971757"/>
                  <a:gd name="connsiteY164" fmla="*/ 4052888 h 4575969"/>
                  <a:gd name="connsiteX165" fmla="*/ 6062662 w 8971757"/>
                  <a:gd name="connsiteY165" fmla="*/ 4050506 h 4575969"/>
                  <a:gd name="connsiteX166" fmla="*/ 6196012 w 8971757"/>
                  <a:gd name="connsiteY166" fmla="*/ 3952875 h 4575969"/>
                  <a:gd name="connsiteX167" fmla="*/ 6262687 w 8971757"/>
                  <a:gd name="connsiteY167" fmla="*/ 3945731 h 4575969"/>
                  <a:gd name="connsiteX168" fmla="*/ 6360319 w 8971757"/>
                  <a:gd name="connsiteY168" fmla="*/ 3871912 h 4575969"/>
                  <a:gd name="connsiteX169" fmla="*/ 6434138 w 8971757"/>
                  <a:gd name="connsiteY169" fmla="*/ 3802856 h 4575969"/>
                  <a:gd name="connsiteX170" fmla="*/ 6443663 w 8971757"/>
                  <a:gd name="connsiteY170" fmla="*/ 3740944 h 4575969"/>
                  <a:gd name="connsiteX171" fmla="*/ 6477000 w 8971757"/>
                  <a:gd name="connsiteY171" fmla="*/ 3671887 h 4575969"/>
                  <a:gd name="connsiteX172" fmla="*/ 6629400 w 8971757"/>
                  <a:gd name="connsiteY172" fmla="*/ 3564731 h 4575969"/>
                  <a:gd name="connsiteX173" fmla="*/ 6662738 w 8971757"/>
                  <a:gd name="connsiteY173" fmla="*/ 3569494 h 4575969"/>
                  <a:gd name="connsiteX174" fmla="*/ 6715125 w 8971757"/>
                  <a:gd name="connsiteY174" fmla="*/ 3490912 h 4575969"/>
                  <a:gd name="connsiteX175" fmla="*/ 6762750 w 8971757"/>
                  <a:gd name="connsiteY175" fmla="*/ 3452812 h 4575969"/>
                  <a:gd name="connsiteX176" fmla="*/ 6748463 w 8971757"/>
                  <a:gd name="connsiteY176" fmla="*/ 3383756 h 4575969"/>
                  <a:gd name="connsiteX177" fmla="*/ 6698456 w 8971757"/>
                  <a:gd name="connsiteY177" fmla="*/ 3352799 h 4575969"/>
                  <a:gd name="connsiteX178" fmla="*/ 6638925 w 8971757"/>
                  <a:gd name="connsiteY178" fmla="*/ 3298031 h 4575969"/>
                  <a:gd name="connsiteX179" fmla="*/ 6619875 w 8971757"/>
                  <a:gd name="connsiteY179" fmla="*/ 3240881 h 4575969"/>
                  <a:gd name="connsiteX180" fmla="*/ 6584156 w 8971757"/>
                  <a:gd name="connsiteY180" fmla="*/ 3207544 h 4575969"/>
                  <a:gd name="connsiteX181" fmla="*/ 6610350 w 8971757"/>
                  <a:gd name="connsiteY181" fmla="*/ 3155156 h 4575969"/>
                  <a:gd name="connsiteX182" fmla="*/ 6650831 w 8971757"/>
                  <a:gd name="connsiteY182" fmla="*/ 2976562 h 4575969"/>
                  <a:gd name="connsiteX183" fmla="*/ 6691313 w 8971757"/>
                  <a:gd name="connsiteY183" fmla="*/ 2909887 h 4575969"/>
                  <a:gd name="connsiteX184" fmla="*/ 6836569 w 8971757"/>
                  <a:gd name="connsiteY184" fmla="*/ 2893218 h 4575969"/>
                  <a:gd name="connsiteX185" fmla="*/ 6905625 w 8971757"/>
                  <a:gd name="connsiteY185" fmla="*/ 2950369 h 4575969"/>
                  <a:gd name="connsiteX186" fmla="*/ 6981825 w 8971757"/>
                  <a:gd name="connsiteY186" fmla="*/ 2974181 h 4575969"/>
                  <a:gd name="connsiteX187" fmla="*/ 7186612 w 8971757"/>
                  <a:gd name="connsiteY187" fmla="*/ 2978944 h 4575969"/>
                  <a:gd name="connsiteX188" fmla="*/ 7362825 w 8971757"/>
                  <a:gd name="connsiteY188" fmla="*/ 2840831 h 4575969"/>
                  <a:gd name="connsiteX189" fmla="*/ 7419975 w 8971757"/>
                  <a:gd name="connsiteY189" fmla="*/ 2750343 h 4575969"/>
                  <a:gd name="connsiteX190" fmla="*/ 7446169 w 8971757"/>
                  <a:gd name="connsiteY190" fmla="*/ 2667000 h 4575969"/>
                  <a:gd name="connsiteX191" fmla="*/ 7577137 w 8971757"/>
                  <a:gd name="connsiteY191" fmla="*/ 2667000 h 4575969"/>
                  <a:gd name="connsiteX192" fmla="*/ 7750969 w 8971757"/>
                  <a:gd name="connsiteY192" fmla="*/ 2609849 h 4575969"/>
                  <a:gd name="connsiteX193" fmla="*/ 7810500 w 8971757"/>
                  <a:gd name="connsiteY193" fmla="*/ 2497931 h 4575969"/>
                  <a:gd name="connsiteX194" fmla="*/ 7874794 w 8971757"/>
                  <a:gd name="connsiteY194" fmla="*/ 2462212 h 4575969"/>
                  <a:gd name="connsiteX195" fmla="*/ 7853363 w 8971757"/>
                  <a:gd name="connsiteY195" fmla="*/ 2416969 h 4575969"/>
                  <a:gd name="connsiteX196" fmla="*/ 7931944 w 8971757"/>
                  <a:gd name="connsiteY196" fmla="*/ 2247899 h 4575969"/>
                  <a:gd name="connsiteX197" fmla="*/ 7986713 w 8971757"/>
                  <a:gd name="connsiteY197" fmla="*/ 2188369 h 4575969"/>
                  <a:gd name="connsiteX198" fmla="*/ 8024813 w 8971757"/>
                  <a:gd name="connsiteY198" fmla="*/ 2183606 h 4575969"/>
                  <a:gd name="connsiteX199" fmla="*/ 8070056 w 8971757"/>
                  <a:gd name="connsiteY199" fmla="*/ 2188369 h 4575969"/>
                  <a:gd name="connsiteX200" fmla="*/ 8134350 w 8971757"/>
                  <a:gd name="connsiteY200" fmla="*/ 2155031 h 4575969"/>
                  <a:gd name="connsiteX201" fmla="*/ 8143875 w 8971757"/>
                  <a:gd name="connsiteY201" fmla="*/ 2090737 h 4575969"/>
                  <a:gd name="connsiteX202" fmla="*/ 8184355 w 8971757"/>
                  <a:gd name="connsiteY202" fmla="*/ 2055019 h 4575969"/>
                  <a:gd name="connsiteX203" fmla="*/ 8243888 w 8971757"/>
                  <a:gd name="connsiteY203" fmla="*/ 2095499 h 4575969"/>
                  <a:gd name="connsiteX204" fmla="*/ 8270082 w 8971757"/>
                  <a:gd name="connsiteY204" fmla="*/ 2045493 h 4575969"/>
                  <a:gd name="connsiteX205" fmla="*/ 8365331 w 8971757"/>
                  <a:gd name="connsiteY205" fmla="*/ 1976437 h 4575969"/>
                  <a:gd name="connsiteX206" fmla="*/ 8427244 w 8971757"/>
                  <a:gd name="connsiteY206" fmla="*/ 1983581 h 4575969"/>
                  <a:gd name="connsiteX207" fmla="*/ 8477250 w 8971757"/>
                  <a:gd name="connsiteY207" fmla="*/ 1964531 h 4575969"/>
                  <a:gd name="connsiteX208" fmla="*/ 8515350 w 8971757"/>
                  <a:gd name="connsiteY208" fmla="*/ 1935956 h 4575969"/>
                  <a:gd name="connsiteX209" fmla="*/ 8548688 w 8971757"/>
                  <a:gd name="connsiteY209" fmla="*/ 1933575 h 4575969"/>
                  <a:gd name="connsiteX210" fmla="*/ 8584406 w 8971757"/>
                  <a:gd name="connsiteY210" fmla="*/ 1964531 h 4575969"/>
                  <a:gd name="connsiteX211" fmla="*/ 8643938 w 8971757"/>
                  <a:gd name="connsiteY211" fmla="*/ 1964531 h 4575969"/>
                  <a:gd name="connsiteX212" fmla="*/ 8682037 w 8971757"/>
                  <a:gd name="connsiteY212" fmla="*/ 1945481 h 4575969"/>
                  <a:gd name="connsiteX213" fmla="*/ 8765381 w 8971757"/>
                  <a:gd name="connsiteY213" fmla="*/ 1947863 h 4575969"/>
                  <a:gd name="connsiteX214" fmla="*/ 8796338 w 8971757"/>
                  <a:gd name="connsiteY214" fmla="*/ 1902619 h 4575969"/>
                  <a:gd name="connsiteX215" fmla="*/ 8801100 w 8971757"/>
                  <a:gd name="connsiteY215" fmla="*/ 1840706 h 4575969"/>
                  <a:gd name="connsiteX216" fmla="*/ 8751093 w 8971757"/>
                  <a:gd name="connsiteY216" fmla="*/ 1800225 h 4575969"/>
                  <a:gd name="connsiteX217" fmla="*/ 8734425 w 8971757"/>
                  <a:gd name="connsiteY217" fmla="*/ 1745456 h 4575969"/>
                  <a:gd name="connsiteX218" fmla="*/ 8643938 w 8971757"/>
                  <a:gd name="connsiteY218" fmla="*/ 1683544 h 4575969"/>
                  <a:gd name="connsiteX219" fmla="*/ 8603456 w 8971757"/>
                  <a:gd name="connsiteY219" fmla="*/ 1662112 h 4575969"/>
                  <a:gd name="connsiteX220" fmla="*/ 8565356 w 8971757"/>
                  <a:gd name="connsiteY220" fmla="*/ 1616869 h 4575969"/>
                  <a:gd name="connsiteX221" fmla="*/ 8534400 w 8971757"/>
                  <a:gd name="connsiteY221" fmla="*/ 1614487 h 4575969"/>
                  <a:gd name="connsiteX222" fmla="*/ 8517731 w 8971757"/>
                  <a:gd name="connsiteY222" fmla="*/ 1562100 h 4575969"/>
                  <a:gd name="connsiteX223" fmla="*/ 8477250 w 8971757"/>
                  <a:gd name="connsiteY223" fmla="*/ 1545431 h 4575969"/>
                  <a:gd name="connsiteX224" fmla="*/ 8477250 w 8971757"/>
                  <a:gd name="connsiteY224" fmla="*/ 1545431 h 4575969"/>
                  <a:gd name="connsiteX225" fmla="*/ 8436769 w 8971757"/>
                  <a:gd name="connsiteY225" fmla="*/ 1550194 h 4575969"/>
                  <a:gd name="connsiteX226" fmla="*/ 8351043 w 8971757"/>
                  <a:gd name="connsiteY226" fmla="*/ 1476375 h 4575969"/>
                  <a:gd name="connsiteX227" fmla="*/ 8170069 w 8971757"/>
                  <a:gd name="connsiteY227" fmla="*/ 1476374 h 4575969"/>
                  <a:gd name="connsiteX228" fmla="*/ 8117681 w 8971757"/>
                  <a:gd name="connsiteY228" fmla="*/ 1514475 h 4575969"/>
                  <a:gd name="connsiteX229" fmla="*/ 8067675 w 8971757"/>
                  <a:gd name="connsiteY229" fmla="*/ 1593056 h 4575969"/>
                  <a:gd name="connsiteX230" fmla="*/ 8084344 w 8971757"/>
                  <a:gd name="connsiteY230" fmla="*/ 1614487 h 4575969"/>
                  <a:gd name="connsiteX231" fmla="*/ 8039100 w 8971757"/>
                  <a:gd name="connsiteY231" fmla="*/ 1664493 h 4575969"/>
                  <a:gd name="connsiteX232" fmla="*/ 7889081 w 8971757"/>
                  <a:gd name="connsiteY232" fmla="*/ 1588293 h 4575969"/>
                  <a:gd name="connsiteX233" fmla="*/ 7798594 w 8971757"/>
                  <a:gd name="connsiteY233" fmla="*/ 1624012 h 4575969"/>
                  <a:gd name="connsiteX234" fmla="*/ 7724775 w 8971757"/>
                  <a:gd name="connsiteY234" fmla="*/ 1621631 h 4575969"/>
                  <a:gd name="connsiteX235" fmla="*/ 7667625 w 8971757"/>
                  <a:gd name="connsiteY235" fmla="*/ 1716881 h 4575969"/>
                  <a:gd name="connsiteX236" fmla="*/ 7529513 w 8971757"/>
                  <a:gd name="connsiteY23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3002756 w 8971757"/>
                  <a:gd name="connsiteY81" fmla="*/ 381000 h 4575969"/>
                  <a:gd name="connsiteX82" fmla="*/ 2959894 w 8971757"/>
                  <a:gd name="connsiteY82" fmla="*/ 378619 h 4575969"/>
                  <a:gd name="connsiteX83" fmla="*/ 2928937 w 8971757"/>
                  <a:gd name="connsiteY83" fmla="*/ 440531 h 4575969"/>
                  <a:gd name="connsiteX84" fmla="*/ 8412956 w 8971757"/>
                  <a:gd name="connsiteY84" fmla="*/ 23812 h 4575969"/>
                  <a:gd name="connsiteX85" fmla="*/ 8949531 w 8971757"/>
                  <a:gd name="connsiteY85" fmla="*/ 0 h 4575969"/>
                  <a:gd name="connsiteX86" fmla="*/ 8971757 w 8971757"/>
                  <a:gd name="connsiteY86" fmla="*/ 4575969 h 4575969"/>
                  <a:gd name="connsiteX87" fmla="*/ 2381 w 8971757"/>
                  <a:gd name="connsiteY87" fmla="*/ 4547392 h 4575969"/>
                  <a:gd name="connsiteX88" fmla="*/ 0 w 8971757"/>
                  <a:gd name="connsiteY88" fmla="*/ 845344 h 4575969"/>
                  <a:gd name="connsiteX89" fmla="*/ 76200 w 8971757"/>
                  <a:gd name="connsiteY89" fmla="*/ 828675 h 4575969"/>
                  <a:gd name="connsiteX90" fmla="*/ 119063 w 8971757"/>
                  <a:gd name="connsiteY90" fmla="*/ 857250 h 4575969"/>
                  <a:gd name="connsiteX91" fmla="*/ 215900 w 8971757"/>
                  <a:gd name="connsiteY91" fmla="*/ 848519 h 4575969"/>
                  <a:gd name="connsiteX92" fmla="*/ 261938 w 8971757"/>
                  <a:gd name="connsiteY92" fmla="*/ 876299 h 4575969"/>
                  <a:gd name="connsiteX93" fmla="*/ 228600 w 8971757"/>
                  <a:gd name="connsiteY93" fmla="*/ 904875 h 4575969"/>
                  <a:gd name="connsiteX94" fmla="*/ 233363 w 8971757"/>
                  <a:gd name="connsiteY94" fmla="*/ 947737 h 4575969"/>
                  <a:gd name="connsiteX95" fmla="*/ 200025 w 8971757"/>
                  <a:gd name="connsiteY95" fmla="*/ 952500 h 4575969"/>
                  <a:gd name="connsiteX96" fmla="*/ 204788 w 8971757"/>
                  <a:gd name="connsiteY96" fmla="*/ 976312 h 4575969"/>
                  <a:gd name="connsiteX97" fmla="*/ 261937 w 8971757"/>
                  <a:gd name="connsiteY97" fmla="*/ 1050131 h 4575969"/>
                  <a:gd name="connsiteX98" fmla="*/ 223838 w 8971757"/>
                  <a:gd name="connsiteY98" fmla="*/ 1097756 h 4575969"/>
                  <a:gd name="connsiteX99" fmla="*/ 278606 w 8971757"/>
                  <a:gd name="connsiteY99" fmla="*/ 1133475 h 4575969"/>
                  <a:gd name="connsiteX100" fmla="*/ 369094 w 8971757"/>
                  <a:gd name="connsiteY100" fmla="*/ 1221581 h 4575969"/>
                  <a:gd name="connsiteX101" fmla="*/ 371475 w 8971757"/>
                  <a:gd name="connsiteY101" fmla="*/ 1281112 h 4575969"/>
                  <a:gd name="connsiteX102" fmla="*/ 507206 w 8971757"/>
                  <a:gd name="connsiteY102" fmla="*/ 1414463 h 4575969"/>
                  <a:gd name="connsiteX103" fmla="*/ 561975 w 8971757"/>
                  <a:gd name="connsiteY103" fmla="*/ 1390650 h 4575969"/>
                  <a:gd name="connsiteX104" fmla="*/ 600075 w 8971757"/>
                  <a:gd name="connsiteY104" fmla="*/ 1416843 h 4575969"/>
                  <a:gd name="connsiteX105" fmla="*/ 614363 w 8971757"/>
                  <a:gd name="connsiteY105" fmla="*/ 1466849 h 4575969"/>
                  <a:gd name="connsiteX106" fmla="*/ 657225 w 8971757"/>
                  <a:gd name="connsiteY106" fmla="*/ 1502569 h 4575969"/>
                  <a:gd name="connsiteX107" fmla="*/ 697706 w 8971757"/>
                  <a:gd name="connsiteY107" fmla="*/ 1490662 h 4575969"/>
                  <a:gd name="connsiteX108" fmla="*/ 716756 w 8971757"/>
                  <a:gd name="connsiteY108" fmla="*/ 1547812 h 4575969"/>
                  <a:gd name="connsiteX109" fmla="*/ 764381 w 8971757"/>
                  <a:gd name="connsiteY109" fmla="*/ 1590675 h 4575969"/>
                  <a:gd name="connsiteX110" fmla="*/ 788194 w 8971757"/>
                  <a:gd name="connsiteY110" fmla="*/ 1693069 h 4575969"/>
                  <a:gd name="connsiteX111" fmla="*/ 785813 w 8971757"/>
                  <a:gd name="connsiteY111" fmla="*/ 1740694 h 4575969"/>
                  <a:gd name="connsiteX112" fmla="*/ 821531 w 8971757"/>
                  <a:gd name="connsiteY112" fmla="*/ 1840706 h 4575969"/>
                  <a:gd name="connsiteX113" fmla="*/ 866775 w 8971757"/>
                  <a:gd name="connsiteY113" fmla="*/ 1897856 h 4575969"/>
                  <a:gd name="connsiteX114" fmla="*/ 883443 w 8971757"/>
                  <a:gd name="connsiteY114" fmla="*/ 2055018 h 4575969"/>
                  <a:gd name="connsiteX115" fmla="*/ 850106 w 8971757"/>
                  <a:gd name="connsiteY115" fmla="*/ 2116931 h 4575969"/>
                  <a:gd name="connsiteX116" fmla="*/ 819150 w 8971757"/>
                  <a:gd name="connsiteY116" fmla="*/ 2193131 h 4575969"/>
                  <a:gd name="connsiteX117" fmla="*/ 833438 w 8971757"/>
                  <a:gd name="connsiteY117" fmla="*/ 2250281 h 4575969"/>
                  <a:gd name="connsiteX118" fmla="*/ 735806 w 8971757"/>
                  <a:gd name="connsiteY118" fmla="*/ 2357438 h 4575969"/>
                  <a:gd name="connsiteX119" fmla="*/ 692944 w 8971757"/>
                  <a:gd name="connsiteY119" fmla="*/ 2471737 h 4575969"/>
                  <a:gd name="connsiteX120" fmla="*/ 726281 w 8971757"/>
                  <a:gd name="connsiteY120" fmla="*/ 2512219 h 4575969"/>
                  <a:gd name="connsiteX121" fmla="*/ 709613 w 8971757"/>
                  <a:gd name="connsiteY121" fmla="*/ 2540794 h 4575969"/>
                  <a:gd name="connsiteX122" fmla="*/ 740569 w 8971757"/>
                  <a:gd name="connsiteY122" fmla="*/ 2597944 h 4575969"/>
                  <a:gd name="connsiteX123" fmla="*/ 769144 w 8971757"/>
                  <a:gd name="connsiteY123" fmla="*/ 2597944 h 4575969"/>
                  <a:gd name="connsiteX124" fmla="*/ 931069 w 8971757"/>
                  <a:gd name="connsiteY124" fmla="*/ 2700337 h 4575969"/>
                  <a:gd name="connsiteX125" fmla="*/ 1035844 w 8971757"/>
                  <a:gd name="connsiteY125" fmla="*/ 2697956 h 4575969"/>
                  <a:gd name="connsiteX126" fmla="*/ 1114425 w 8971757"/>
                  <a:gd name="connsiteY126" fmla="*/ 2752725 h 4575969"/>
                  <a:gd name="connsiteX127" fmla="*/ 1245393 w 8971757"/>
                  <a:gd name="connsiteY127" fmla="*/ 2755106 h 4575969"/>
                  <a:gd name="connsiteX128" fmla="*/ 1435893 w 8971757"/>
                  <a:gd name="connsiteY128" fmla="*/ 2824162 h 4575969"/>
                  <a:gd name="connsiteX129" fmla="*/ 1638300 w 8971757"/>
                  <a:gd name="connsiteY129" fmla="*/ 2974181 h 4575969"/>
                  <a:gd name="connsiteX130" fmla="*/ 1671637 w 8971757"/>
                  <a:gd name="connsiteY130" fmla="*/ 3040856 h 4575969"/>
                  <a:gd name="connsiteX131" fmla="*/ 1838325 w 8971757"/>
                  <a:gd name="connsiteY131" fmla="*/ 3167062 h 4575969"/>
                  <a:gd name="connsiteX132" fmla="*/ 1909763 w 8971757"/>
                  <a:gd name="connsiteY132" fmla="*/ 3162300 h 4575969"/>
                  <a:gd name="connsiteX133" fmla="*/ 1945482 w 8971757"/>
                  <a:gd name="connsiteY133" fmla="*/ 3186112 h 4575969"/>
                  <a:gd name="connsiteX134" fmla="*/ 1916906 w 8971757"/>
                  <a:gd name="connsiteY134" fmla="*/ 3226594 h 4575969"/>
                  <a:gd name="connsiteX135" fmla="*/ 1924050 w 8971757"/>
                  <a:gd name="connsiteY135" fmla="*/ 3278981 h 4575969"/>
                  <a:gd name="connsiteX136" fmla="*/ 1976438 w 8971757"/>
                  <a:gd name="connsiteY136" fmla="*/ 3305175 h 4575969"/>
                  <a:gd name="connsiteX137" fmla="*/ 2038350 w 8971757"/>
                  <a:gd name="connsiteY137" fmla="*/ 3529013 h 4575969"/>
                  <a:gd name="connsiteX138" fmla="*/ 2028825 w 8971757"/>
                  <a:gd name="connsiteY138" fmla="*/ 3593306 h 4575969"/>
                  <a:gd name="connsiteX139" fmla="*/ 2164556 w 8971757"/>
                  <a:gd name="connsiteY139" fmla="*/ 3759994 h 4575969"/>
                  <a:gd name="connsiteX140" fmla="*/ 2183606 w 8971757"/>
                  <a:gd name="connsiteY140" fmla="*/ 3810000 h 4575969"/>
                  <a:gd name="connsiteX141" fmla="*/ 2157413 w 8971757"/>
                  <a:gd name="connsiteY141" fmla="*/ 3829050 h 4575969"/>
                  <a:gd name="connsiteX142" fmla="*/ 2259806 w 8971757"/>
                  <a:gd name="connsiteY142" fmla="*/ 3838575 h 4575969"/>
                  <a:gd name="connsiteX143" fmla="*/ 2371725 w 8971757"/>
                  <a:gd name="connsiteY143" fmla="*/ 3826669 h 4575969"/>
                  <a:gd name="connsiteX144" fmla="*/ 2650331 w 8971757"/>
                  <a:gd name="connsiteY144" fmla="*/ 3910012 h 4575969"/>
                  <a:gd name="connsiteX145" fmla="*/ 3057525 w 8971757"/>
                  <a:gd name="connsiteY145" fmla="*/ 3990975 h 4575969"/>
                  <a:gd name="connsiteX146" fmla="*/ 3255169 w 8971757"/>
                  <a:gd name="connsiteY146" fmla="*/ 3960018 h 4575969"/>
                  <a:gd name="connsiteX147" fmla="*/ 3300413 w 8971757"/>
                  <a:gd name="connsiteY147" fmla="*/ 3971924 h 4575969"/>
                  <a:gd name="connsiteX148" fmla="*/ 3355181 w 8971757"/>
                  <a:gd name="connsiteY148" fmla="*/ 3948113 h 4575969"/>
                  <a:gd name="connsiteX149" fmla="*/ 3748087 w 8971757"/>
                  <a:gd name="connsiteY149" fmla="*/ 4038600 h 4575969"/>
                  <a:gd name="connsiteX150" fmla="*/ 3831432 w 8971757"/>
                  <a:gd name="connsiteY150" fmla="*/ 4136231 h 4575969"/>
                  <a:gd name="connsiteX151" fmla="*/ 3950494 w 8971757"/>
                  <a:gd name="connsiteY151" fmla="*/ 4207669 h 4575969"/>
                  <a:gd name="connsiteX152" fmla="*/ 4010025 w 8971757"/>
                  <a:gd name="connsiteY152" fmla="*/ 4191000 h 4575969"/>
                  <a:gd name="connsiteX153" fmla="*/ 4360068 w 8971757"/>
                  <a:gd name="connsiteY153" fmla="*/ 4364831 h 4575969"/>
                  <a:gd name="connsiteX154" fmla="*/ 4586288 w 8971757"/>
                  <a:gd name="connsiteY154" fmla="*/ 4336256 h 4575969"/>
                  <a:gd name="connsiteX155" fmla="*/ 4595813 w 8971757"/>
                  <a:gd name="connsiteY155" fmla="*/ 4414837 h 4575969"/>
                  <a:gd name="connsiteX156" fmla="*/ 4681538 w 8971757"/>
                  <a:gd name="connsiteY156" fmla="*/ 4410074 h 4575969"/>
                  <a:gd name="connsiteX157" fmla="*/ 4760119 w 8971757"/>
                  <a:gd name="connsiteY157" fmla="*/ 4441031 h 4575969"/>
                  <a:gd name="connsiteX158" fmla="*/ 4802981 w 8971757"/>
                  <a:gd name="connsiteY158" fmla="*/ 4381500 h 4575969"/>
                  <a:gd name="connsiteX159" fmla="*/ 5474494 w 8971757"/>
                  <a:gd name="connsiteY159" fmla="*/ 4062412 h 4575969"/>
                  <a:gd name="connsiteX160" fmla="*/ 5562600 w 8971757"/>
                  <a:gd name="connsiteY160" fmla="*/ 4090988 h 4575969"/>
                  <a:gd name="connsiteX161" fmla="*/ 5693569 w 8971757"/>
                  <a:gd name="connsiteY161" fmla="*/ 4062412 h 4575969"/>
                  <a:gd name="connsiteX162" fmla="*/ 5872162 w 8971757"/>
                  <a:gd name="connsiteY162" fmla="*/ 4079081 h 4575969"/>
                  <a:gd name="connsiteX163" fmla="*/ 5929313 w 8971757"/>
                  <a:gd name="connsiteY163" fmla="*/ 4052888 h 4575969"/>
                  <a:gd name="connsiteX164" fmla="*/ 6062662 w 8971757"/>
                  <a:gd name="connsiteY164" fmla="*/ 4050506 h 4575969"/>
                  <a:gd name="connsiteX165" fmla="*/ 6196012 w 8971757"/>
                  <a:gd name="connsiteY165" fmla="*/ 3952875 h 4575969"/>
                  <a:gd name="connsiteX166" fmla="*/ 6262687 w 8971757"/>
                  <a:gd name="connsiteY166" fmla="*/ 3945731 h 4575969"/>
                  <a:gd name="connsiteX167" fmla="*/ 6360319 w 8971757"/>
                  <a:gd name="connsiteY167" fmla="*/ 3871912 h 4575969"/>
                  <a:gd name="connsiteX168" fmla="*/ 6434138 w 8971757"/>
                  <a:gd name="connsiteY168" fmla="*/ 3802856 h 4575969"/>
                  <a:gd name="connsiteX169" fmla="*/ 6443663 w 8971757"/>
                  <a:gd name="connsiteY169" fmla="*/ 3740944 h 4575969"/>
                  <a:gd name="connsiteX170" fmla="*/ 6477000 w 8971757"/>
                  <a:gd name="connsiteY170" fmla="*/ 3671887 h 4575969"/>
                  <a:gd name="connsiteX171" fmla="*/ 6629400 w 8971757"/>
                  <a:gd name="connsiteY171" fmla="*/ 3564731 h 4575969"/>
                  <a:gd name="connsiteX172" fmla="*/ 6662738 w 8971757"/>
                  <a:gd name="connsiteY172" fmla="*/ 3569494 h 4575969"/>
                  <a:gd name="connsiteX173" fmla="*/ 6715125 w 8971757"/>
                  <a:gd name="connsiteY173" fmla="*/ 3490912 h 4575969"/>
                  <a:gd name="connsiteX174" fmla="*/ 6762750 w 8971757"/>
                  <a:gd name="connsiteY174" fmla="*/ 3452812 h 4575969"/>
                  <a:gd name="connsiteX175" fmla="*/ 6748463 w 8971757"/>
                  <a:gd name="connsiteY175" fmla="*/ 3383756 h 4575969"/>
                  <a:gd name="connsiteX176" fmla="*/ 6698456 w 8971757"/>
                  <a:gd name="connsiteY176" fmla="*/ 3352799 h 4575969"/>
                  <a:gd name="connsiteX177" fmla="*/ 6638925 w 8971757"/>
                  <a:gd name="connsiteY177" fmla="*/ 3298031 h 4575969"/>
                  <a:gd name="connsiteX178" fmla="*/ 6619875 w 8971757"/>
                  <a:gd name="connsiteY178" fmla="*/ 3240881 h 4575969"/>
                  <a:gd name="connsiteX179" fmla="*/ 6584156 w 8971757"/>
                  <a:gd name="connsiteY179" fmla="*/ 3207544 h 4575969"/>
                  <a:gd name="connsiteX180" fmla="*/ 6610350 w 8971757"/>
                  <a:gd name="connsiteY180" fmla="*/ 3155156 h 4575969"/>
                  <a:gd name="connsiteX181" fmla="*/ 6650831 w 8971757"/>
                  <a:gd name="connsiteY181" fmla="*/ 2976562 h 4575969"/>
                  <a:gd name="connsiteX182" fmla="*/ 6691313 w 8971757"/>
                  <a:gd name="connsiteY182" fmla="*/ 2909887 h 4575969"/>
                  <a:gd name="connsiteX183" fmla="*/ 6836569 w 8971757"/>
                  <a:gd name="connsiteY183" fmla="*/ 2893218 h 4575969"/>
                  <a:gd name="connsiteX184" fmla="*/ 6905625 w 8971757"/>
                  <a:gd name="connsiteY184" fmla="*/ 2950369 h 4575969"/>
                  <a:gd name="connsiteX185" fmla="*/ 6981825 w 8971757"/>
                  <a:gd name="connsiteY185" fmla="*/ 2974181 h 4575969"/>
                  <a:gd name="connsiteX186" fmla="*/ 7186612 w 8971757"/>
                  <a:gd name="connsiteY186" fmla="*/ 2978944 h 4575969"/>
                  <a:gd name="connsiteX187" fmla="*/ 7362825 w 8971757"/>
                  <a:gd name="connsiteY187" fmla="*/ 2840831 h 4575969"/>
                  <a:gd name="connsiteX188" fmla="*/ 7419975 w 8971757"/>
                  <a:gd name="connsiteY188" fmla="*/ 2750343 h 4575969"/>
                  <a:gd name="connsiteX189" fmla="*/ 7446169 w 8971757"/>
                  <a:gd name="connsiteY189" fmla="*/ 2667000 h 4575969"/>
                  <a:gd name="connsiteX190" fmla="*/ 7577137 w 8971757"/>
                  <a:gd name="connsiteY190" fmla="*/ 2667000 h 4575969"/>
                  <a:gd name="connsiteX191" fmla="*/ 7750969 w 8971757"/>
                  <a:gd name="connsiteY191" fmla="*/ 2609849 h 4575969"/>
                  <a:gd name="connsiteX192" fmla="*/ 7810500 w 8971757"/>
                  <a:gd name="connsiteY192" fmla="*/ 2497931 h 4575969"/>
                  <a:gd name="connsiteX193" fmla="*/ 7874794 w 8971757"/>
                  <a:gd name="connsiteY193" fmla="*/ 2462212 h 4575969"/>
                  <a:gd name="connsiteX194" fmla="*/ 7853363 w 8971757"/>
                  <a:gd name="connsiteY194" fmla="*/ 2416969 h 4575969"/>
                  <a:gd name="connsiteX195" fmla="*/ 7931944 w 8971757"/>
                  <a:gd name="connsiteY195" fmla="*/ 2247899 h 4575969"/>
                  <a:gd name="connsiteX196" fmla="*/ 7986713 w 8971757"/>
                  <a:gd name="connsiteY196" fmla="*/ 2188369 h 4575969"/>
                  <a:gd name="connsiteX197" fmla="*/ 8024813 w 8971757"/>
                  <a:gd name="connsiteY197" fmla="*/ 2183606 h 4575969"/>
                  <a:gd name="connsiteX198" fmla="*/ 8070056 w 8971757"/>
                  <a:gd name="connsiteY198" fmla="*/ 2188369 h 4575969"/>
                  <a:gd name="connsiteX199" fmla="*/ 8134350 w 8971757"/>
                  <a:gd name="connsiteY199" fmla="*/ 2155031 h 4575969"/>
                  <a:gd name="connsiteX200" fmla="*/ 8143875 w 8971757"/>
                  <a:gd name="connsiteY200" fmla="*/ 2090737 h 4575969"/>
                  <a:gd name="connsiteX201" fmla="*/ 8184355 w 8971757"/>
                  <a:gd name="connsiteY201" fmla="*/ 2055019 h 4575969"/>
                  <a:gd name="connsiteX202" fmla="*/ 8243888 w 8971757"/>
                  <a:gd name="connsiteY202" fmla="*/ 2095499 h 4575969"/>
                  <a:gd name="connsiteX203" fmla="*/ 8270082 w 8971757"/>
                  <a:gd name="connsiteY203" fmla="*/ 2045493 h 4575969"/>
                  <a:gd name="connsiteX204" fmla="*/ 8365331 w 8971757"/>
                  <a:gd name="connsiteY204" fmla="*/ 1976437 h 4575969"/>
                  <a:gd name="connsiteX205" fmla="*/ 8427244 w 8971757"/>
                  <a:gd name="connsiteY205" fmla="*/ 1983581 h 4575969"/>
                  <a:gd name="connsiteX206" fmla="*/ 8477250 w 8971757"/>
                  <a:gd name="connsiteY206" fmla="*/ 1964531 h 4575969"/>
                  <a:gd name="connsiteX207" fmla="*/ 8515350 w 8971757"/>
                  <a:gd name="connsiteY207" fmla="*/ 1935956 h 4575969"/>
                  <a:gd name="connsiteX208" fmla="*/ 8548688 w 8971757"/>
                  <a:gd name="connsiteY208" fmla="*/ 1933575 h 4575969"/>
                  <a:gd name="connsiteX209" fmla="*/ 8584406 w 8971757"/>
                  <a:gd name="connsiteY209" fmla="*/ 1964531 h 4575969"/>
                  <a:gd name="connsiteX210" fmla="*/ 8643938 w 8971757"/>
                  <a:gd name="connsiteY210" fmla="*/ 1964531 h 4575969"/>
                  <a:gd name="connsiteX211" fmla="*/ 8682037 w 8971757"/>
                  <a:gd name="connsiteY211" fmla="*/ 1945481 h 4575969"/>
                  <a:gd name="connsiteX212" fmla="*/ 8765381 w 8971757"/>
                  <a:gd name="connsiteY212" fmla="*/ 1947863 h 4575969"/>
                  <a:gd name="connsiteX213" fmla="*/ 8796338 w 8971757"/>
                  <a:gd name="connsiteY213" fmla="*/ 1902619 h 4575969"/>
                  <a:gd name="connsiteX214" fmla="*/ 8801100 w 8971757"/>
                  <a:gd name="connsiteY214" fmla="*/ 1840706 h 4575969"/>
                  <a:gd name="connsiteX215" fmla="*/ 8751093 w 8971757"/>
                  <a:gd name="connsiteY215" fmla="*/ 1800225 h 4575969"/>
                  <a:gd name="connsiteX216" fmla="*/ 8734425 w 8971757"/>
                  <a:gd name="connsiteY216" fmla="*/ 1745456 h 4575969"/>
                  <a:gd name="connsiteX217" fmla="*/ 8643938 w 8971757"/>
                  <a:gd name="connsiteY217" fmla="*/ 1683544 h 4575969"/>
                  <a:gd name="connsiteX218" fmla="*/ 8603456 w 8971757"/>
                  <a:gd name="connsiteY218" fmla="*/ 1662112 h 4575969"/>
                  <a:gd name="connsiteX219" fmla="*/ 8565356 w 8971757"/>
                  <a:gd name="connsiteY219" fmla="*/ 1616869 h 4575969"/>
                  <a:gd name="connsiteX220" fmla="*/ 8534400 w 8971757"/>
                  <a:gd name="connsiteY220" fmla="*/ 1614487 h 4575969"/>
                  <a:gd name="connsiteX221" fmla="*/ 8517731 w 8971757"/>
                  <a:gd name="connsiteY221" fmla="*/ 1562100 h 4575969"/>
                  <a:gd name="connsiteX222" fmla="*/ 8477250 w 8971757"/>
                  <a:gd name="connsiteY222" fmla="*/ 1545431 h 4575969"/>
                  <a:gd name="connsiteX223" fmla="*/ 8477250 w 8971757"/>
                  <a:gd name="connsiteY223" fmla="*/ 1545431 h 4575969"/>
                  <a:gd name="connsiteX224" fmla="*/ 8436769 w 8971757"/>
                  <a:gd name="connsiteY224" fmla="*/ 1550194 h 4575969"/>
                  <a:gd name="connsiteX225" fmla="*/ 8351043 w 8971757"/>
                  <a:gd name="connsiteY225" fmla="*/ 1476375 h 4575969"/>
                  <a:gd name="connsiteX226" fmla="*/ 8170069 w 8971757"/>
                  <a:gd name="connsiteY226" fmla="*/ 1476374 h 4575969"/>
                  <a:gd name="connsiteX227" fmla="*/ 8117681 w 8971757"/>
                  <a:gd name="connsiteY227" fmla="*/ 1514475 h 4575969"/>
                  <a:gd name="connsiteX228" fmla="*/ 8067675 w 8971757"/>
                  <a:gd name="connsiteY228" fmla="*/ 1593056 h 4575969"/>
                  <a:gd name="connsiteX229" fmla="*/ 8084344 w 8971757"/>
                  <a:gd name="connsiteY229" fmla="*/ 1614487 h 4575969"/>
                  <a:gd name="connsiteX230" fmla="*/ 8039100 w 8971757"/>
                  <a:gd name="connsiteY230" fmla="*/ 1664493 h 4575969"/>
                  <a:gd name="connsiteX231" fmla="*/ 7889081 w 8971757"/>
                  <a:gd name="connsiteY231" fmla="*/ 1588293 h 4575969"/>
                  <a:gd name="connsiteX232" fmla="*/ 7798594 w 8971757"/>
                  <a:gd name="connsiteY232" fmla="*/ 1624012 h 4575969"/>
                  <a:gd name="connsiteX233" fmla="*/ 7724775 w 8971757"/>
                  <a:gd name="connsiteY233" fmla="*/ 1621631 h 4575969"/>
                  <a:gd name="connsiteX234" fmla="*/ 7667625 w 8971757"/>
                  <a:gd name="connsiteY234" fmla="*/ 1716881 h 4575969"/>
                  <a:gd name="connsiteX235" fmla="*/ 7529513 w 8971757"/>
                  <a:gd name="connsiteY23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3002756 w 8971757"/>
                  <a:gd name="connsiteY81" fmla="*/ 381000 h 4575969"/>
                  <a:gd name="connsiteX82" fmla="*/ 2959894 w 8971757"/>
                  <a:gd name="connsiteY82" fmla="*/ 378619 h 4575969"/>
                  <a:gd name="connsiteX83" fmla="*/ 8412956 w 8971757"/>
                  <a:gd name="connsiteY83" fmla="*/ 23812 h 4575969"/>
                  <a:gd name="connsiteX84" fmla="*/ 8949531 w 8971757"/>
                  <a:gd name="connsiteY84" fmla="*/ 0 h 4575969"/>
                  <a:gd name="connsiteX85" fmla="*/ 8971757 w 8971757"/>
                  <a:gd name="connsiteY85" fmla="*/ 4575969 h 4575969"/>
                  <a:gd name="connsiteX86" fmla="*/ 2381 w 8971757"/>
                  <a:gd name="connsiteY86" fmla="*/ 4547392 h 4575969"/>
                  <a:gd name="connsiteX87" fmla="*/ 0 w 8971757"/>
                  <a:gd name="connsiteY87" fmla="*/ 845344 h 4575969"/>
                  <a:gd name="connsiteX88" fmla="*/ 76200 w 8971757"/>
                  <a:gd name="connsiteY88" fmla="*/ 828675 h 4575969"/>
                  <a:gd name="connsiteX89" fmla="*/ 119063 w 8971757"/>
                  <a:gd name="connsiteY89" fmla="*/ 857250 h 4575969"/>
                  <a:gd name="connsiteX90" fmla="*/ 215900 w 8971757"/>
                  <a:gd name="connsiteY90" fmla="*/ 848519 h 4575969"/>
                  <a:gd name="connsiteX91" fmla="*/ 261938 w 8971757"/>
                  <a:gd name="connsiteY91" fmla="*/ 876299 h 4575969"/>
                  <a:gd name="connsiteX92" fmla="*/ 228600 w 8971757"/>
                  <a:gd name="connsiteY92" fmla="*/ 904875 h 4575969"/>
                  <a:gd name="connsiteX93" fmla="*/ 233363 w 8971757"/>
                  <a:gd name="connsiteY93" fmla="*/ 947737 h 4575969"/>
                  <a:gd name="connsiteX94" fmla="*/ 200025 w 8971757"/>
                  <a:gd name="connsiteY94" fmla="*/ 952500 h 4575969"/>
                  <a:gd name="connsiteX95" fmla="*/ 204788 w 8971757"/>
                  <a:gd name="connsiteY95" fmla="*/ 976312 h 4575969"/>
                  <a:gd name="connsiteX96" fmla="*/ 261937 w 8971757"/>
                  <a:gd name="connsiteY96" fmla="*/ 1050131 h 4575969"/>
                  <a:gd name="connsiteX97" fmla="*/ 223838 w 8971757"/>
                  <a:gd name="connsiteY97" fmla="*/ 1097756 h 4575969"/>
                  <a:gd name="connsiteX98" fmla="*/ 278606 w 8971757"/>
                  <a:gd name="connsiteY98" fmla="*/ 1133475 h 4575969"/>
                  <a:gd name="connsiteX99" fmla="*/ 369094 w 8971757"/>
                  <a:gd name="connsiteY99" fmla="*/ 1221581 h 4575969"/>
                  <a:gd name="connsiteX100" fmla="*/ 371475 w 8971757"/>
                  <a:gd name="connsiteY100" fmla="*/ 1281112 h 4575969"/>
                  <a:gd name="connsiteX101" fmla="*/ 507206 w 8971757"/>
                  <a:gd name="connsiteY101" fmla="*/ 1414463 h 4575969"/>
                  <a:gd name="connsiteX102" fmla="*/ 561975 w 8971757"/>
                  <a:gd name="connsiteY102" fmla="*/ 1390650 h 4575969"/>
                  <a:gd name="connsiteX103" fmla="*/ 600075 w 8971757"/>
                  <a:gd name="connsiteY103" fmla="*/ 1416843 h 4575969"/>
                  <a:gd name="connsiteX104" fmla="*/ 614363 w 8971757"/>
                  <a:gd name="connsiteY104" fmla="*/ 1466849 h 4575969"/>
                  <a:gd name="connsiteX105" fmla="*/ 657225 w 8971757"/>
                  <a:gd name="connsiteY105" fmla="*/ 1502569 h 4575969"/>
                  <a:gd name="connsiteX106" fmla="*/ 697706 w 8971757"/>
                  <a:gd name="connsiteY106" fmla="*/ 1490662 h 4575969"/>
                  <a:gd name="connsiteX107" fmla="*/ 716756 w 8971757"/>
                  <a:gd name="connsiteY107" fmla="*/ 1547812 h 4575969"/>
                  <a:gd name="connsiteX108" fmla="*/ 764381 w 8971757"/>
                  <a:gd name="connsiteY108" fmla="*/ 1590675 h 4575969"/>
                  <a:gd name="connsiteX109" fmla="*/ 788194 w 8971757"/>
                  <a:gd name="connsiteY109" fmla="*/ 1693069 h 4575969"/>
                  <a:gd name="connsiteX110" fmla="*/ 785813 w 8971757"/>
                  <a:gd name="connsiteY110" fmla="*/ 1740694 h 4575969"/>
                  <a:gd name="connsiteX111" fmla="*/ 821531 w 8971757"/>
                  <a:gd name="connsiteY111" fmla="*/ 1840706 h 4575969"/>
                  <a:gd name="connsiteX112" fmla="*/ 866775 w 8971757"/>
                  <a:gd name="connsiteY112" fmla="*/ 1897856 h 4575969"/>
                  <a:gd name="connsiteX113" fmla="*/ 883443 w 8971757"/>
                  <a:gd name="connsiteY113" fmla="*/ 2055018 h 4575969"/>
                  <a:gd name="connsiteX114" fmla="*/ 850106 w 8971757"/>
                  <a:gd name="connsiteY114" fmla="*/ 2116931 h 4575969"/>
                  <a:gd name="connsiteX115" fmla="*/ 819150 w 8971757"/>
                  <a:gd name="connsiteY115" fmla="*/ 2193131 h 4575969"/>
                  <a:gd name="connsiteX116" fmla="*/ 833438 w 8971757"/>
                  <a:gd name="connsiteY116" fmla="*/ 2250281 h 4575969"/>
                  <a:gd name="connsiteX117" fmla="*/ 735806 w 8971757"/>
                  <a:gd name="connsiteY117" fmla="*/ 2357438 h 4575969"/>
                  <a:gd name="connsiteX118" fmla="*/ 692944 w 8971757"/>
                  <a:gd name="connsiteY118" fmla="*/ 2471737 h 4575969"/>
                  <a:gd name="connsiteX119" fmla="*/ 726281 w 8971757"/>
                  <a:gd name="connsiteY119" fmla="*/ 2512219 h 4575969"/>
                  <a:gd name="connsiteX120" fmla="*/ 709613 w 8971757"/>
                  <a:gd name="connsiteY120" fmla="*/ 2540794 h 4575969"/>
                  <a:gd name="connsiteX121" fmla="*/ 740569 w 8971757"/>
                  <a:gd name="connsiteY121" fmla="*/ 2597944 h 4575969"/>
                  <a:gd name="connsiteX122" fmla="*/ 769144 w 8971757"/>
                  <a:gd name="connsiteY122" fmla="*/ 2597944 h 4575969"/>
                  <a:gd name="connsiteX123" fmla="*/ 931069 w 8971757"/>
                  <a:gd name="connsiteY123" fmla="*/ 2700337 h 4575969"/>
                  <a:gd name="connsiteX124" fmla="*/ 1035844 w 8971757"/>
                  <a:gd name="connsiteY124" fmla="*/ 2697956 h 4575969"/>
                  <a:gd name="connsiteX125" fmla="*/ 1114425 w 8971757"/>
                  <a:gd name="connsiteY125" fmla="*/ 2752725 h 4575969"/>
                  <a:gd name="connsiteX126" fmla="*/ 1245393 w 8971757"/>
                  <a:gd name="connsiteY126" fmla="*/ 2755106 h 4575969"/>
                  <a:gd name="connsiteX127" fmla="*/ 1435893 w 8971757"/>
                  <a:gd name="connsiteY127" fmla="*/ 2824162 h 4575969"/>
                  <a:gd name="connsiteX128" fmla="*/ 1638300 w 8971757"/>
                  <a:gd name="connsiteY128" fmla="*/ 2974181 h 4575969"/>
                  <a:gd name="connsiteX129" fmla="*/ 1671637 w 8971757"/>
                  <a:gd name="connsiteY129" fmla="*/ 3040856 h 4575969"/>
                  <a:gd name="connsiteX130" fmla="*/ 1838325 w 8971757"/>
                  <a:gd name="connsiteY130" fmla="*/ 3167062 h 4575969"/>
                  <a:gd name="connsiteX131" fmla="*/ 1909763 w 8971757"/>
                  <a:gd name="connsiteY131" fmla="*/ 3162300 h 4575969"/>
                  <a:gd name="connsiteX132" fmla="*/ 1945482 w 8971757"/>
                  <a:gd name="connsiteY132" fmla="*/ 3186112 h 4575969"/>
                  <a:gd name="connsiteX133" fmla="*/ 1916906 w 8971757"/>
                  <a:gd name="connsiteY133" fmla="*/ 3226594 h 4575969"/>
                  <a:gd name="connsiteX134" fmla="*/ 1924050 w 8971757"/>
                  <a:gd name="connsiteY134" fmla="*/ 3278981 h 4575969"/>
                  <a:gd name="connsiteX135" fmla="*/ 1976438 w 8971757"/>
                  <a:gd name="connsiteY135" fmla="*/ 3305175 h 4575969"/>
                  <a:gd name="connsiteX136" fmla="*/ 2038350 w 8971757"/>
                  <a:gd name="connsiteY136" fmla="*/ 3529013 h 4575969"/>
                  <a:gd name="connsiteX137" fmla="*/ 2028825 w 8971757"/>
                  <a:gd name="connsiteY137" fmla="*/ 3593306 h 4575969"/>
                  <a:gd name="connsiteX138" fmla="*/ 2164556 w 8971757"/>
                  <a:gd name="connsiteY138" fmla="*/ 3759994 h 4575969"/>
                  <a:gd name="connsiteX139" fmla="*/ 2183606 w 8971757"/>
                  <a:gd name="connsiteY139" fmla="*/ 3810000 h 4575969"/>
                  <a:gd name="connsiteX140" fmla="*/ 2157413 w 8971757"/>
                  <a:gd name="connsiteY140" fmla="*/ 3829050 h 4575969"/>
                  <a:gd name="connsiteX141" fmla="*/ 2259806 w 8971757"/>
                  <a:gd name="connsiteY141" fmla="*/ 3838575 h 4575969"/>
                  <a:gd name="connsiteX142" fmla="*/ 2371725 w 8971757"/>
                  <a:gd name="connsiteY142" fmla="*/ 3826669 h 4575969"/>
                  <a:gd name="connsiteX143" fmla="*/ 2650331 w 8971757"/>
                  <a:gd name="connsiteY143" fmla="*/ 3910012 h 4575969"/>
                  <a:gd name="connsiteX144" fmla="*/ 3057525 w 8971757"/>
                  <a:gd name="connsiteY144" fmla="*/ 3990975 h 4575969"/>
                  <a:gd name="connsiteX145" fmla="*/ 3255169 w 8971757"/>
                  <a:gd name="connsiteY145" fmla="*/ 3960018 h 4575969"/>
                  <a:gd name="connsiteX146" fmla="*/ 3300413 w 8971757"/>
                  <a:gd name="connsiteY146" fmla="*/ 3971924 h 4575969"/>
                  <a:gd name="connsiteX147" fmla="*/ 3355181 w 8971757"/>
                  <a:gd name="connsiteY147" fmla="*/ 3948113 h 4575969"/>
                  <a:gd name="connsiteX148" fmla="*/ 3748087 w 8971757"/>
                  <a:gd name="connsiteY148" fmla="*/ 4038600 h 4575969"/>
                  <a:gd name="connsiteX149" fmla="*/ 3831432 w 8971757"/>
                  <a:gd name="connsiteY149" fmla="*/ 4136231 h 4575969"/>
                  <a:gd name="connsiteX150" fmla="*/ 3950494 w 8971757"/>
                  <a:gd name="connsiteY150" fmla="*/ 4207669 h 4575969"/>
                  <a:gd name="connsiteX151" fmla="*/ 4010025 w 8971757"/>
                  <a:gd name="connsiteY151" fmla="*/ 4191000 h 4575969"/>
                  <a:gd name="connsiteX152" fmla="*/ 4360068 w 8971757"/>
                  <a:gd name="connsiteY152" fmla="*/ 4364831 h 4575969"/>
                  <a:gd name="connsiteX153" fmla="*/ 4586288 w 8971757"/>
                  <a:gd name="connsiteY153" fmla="*/ 4336256 h 4575969"/>
                  <a:gd name="connsiteX154" fmla="*/ 4595813 w 8971757"/>
                  <a:gd name="connsiteY154" fmla="*/ 4414837 h 4575969"/>
                  <a:gd name="connsiteX155" fmla="*/ 4681538 w 8971757"/>
                  <a:gd name="connsiteY155" fmla="*/ 4410074 h 4575969"/>
                  <a:gd name="connsiteX156" fmla="*/ 4760119 w 8971757"/>
                  <a:gd name="connsiteY156" fmla="*/ 4441031 h 4575969"/>
                  <a:gd name="connsiteX157" fmla="*/ 4802981 w 8971757"/>
                  <a:gd name="connsiteY157" fmla="*/ 4381500 h 4575969"/>
                  <a:gd name="connsiteX158" fmla="*/ 5474494 w 8971757"/>
                  <a:gd name="connsiteY158" fmla="*/ 4062412 h 4575969"/>
                  <a:gd name="connsiteX159" fmla="*/ 5562600 w 8971757"/>
                  <a:gd name="connsiteY159" fmla="*/ 4090988 h 4575969"/>
                  <a:gd name="connsiteX160" fmla="*/ 5693569 w 8971757"/>
                  <a:gd name="connsiteY160" fmla="*/ 4062412 h 4575969"/>
                  <a:gd name="connsiteX161" fmla="*/ 5872162 w 8971757"/>
                  <a:gd name="connsiteY161" fmla="*/ 4079081 h 4575969"/>
                  <a:gd name="connsiteX162" fmla="*/ 5929313 w 8971757"/>
                  <a:gd name="connsiteY162" fmla="*/ 4052888 h 4575969"/>
                  <a:gd name="connsiteX163" fmla="*/ 6062662 w 8971757"/>
                  <a:gd name="connsiteY163" fmla="*/ 4050506 h 4575969"/>
                  <a:gd name="connsiteX164" fmla="*/ 6196012 w 8971757"/>
                  <a:gd name="connsiteY164" fmla="*/ 3952875 h 4575969"/>
                  <a:gd name="connsiteX165" fmla="*/ 6262687 w 8971757"/>
                  <a:gd name="connsiteY165" fmla="*/ 3945731 h 4575969"/>
                  <a:gd name="connsiteX166" fmla="*/ 6360319 w 8971757"/>
                  <a:gd name="connsiteY166" fmla="*/ 3871912 h 4575969"/>
                  <a:gd name="connsiteX167" fmla="*/ 6434138 w 8971757"/>
                  <a:gd name="connsiteY167" fmla="*/ 3802856 h 4575969"/>
                  <a:gd name="connsiteX168" fmla="*/ 6443663 w 8971757"/>
                  <a:gd name="connsiteY168" fmla="*/ 3740944 h 4575969"/>
                  <a:gd name="connsiteX169" fmla="*/ 6477000 w 8971757"/>
                  <a:gd name="connsiteY169" fmla="*/ 3671887 h 4575969"/>
                  <a:gd name="connsiteX170" fmla="*/ 6629400 w 8971757"/>
                  <a:gd name="connsiteY170" fmla="*/ 3564731 h 4575969"/>
                  <a:gd name="connsiteX171" fmla="*/ 6662738 w 8971757"/>
                  <a:gd name="connsiteY171" fmla="*/ 3569494 h 4575969"/>
                  <a:gd name="connsiteX172" fmla="*/ 6715125 w 8971757"/>
                  <a:gd name="connsiteY172" fmla="*/ 3490912 h 4575969"/>
                  <a:gd name="connsiteX173" fmla="*/ 6762750 w 8971757"/>
                  <a:gd name="connsiteY173" fmla="*/ 3452812 h 4575969"/>
                  <a:gd name="connsiteX174" fmla="*/ 6748463 w 8971757"/>
                  <a:gd name="connsiteY174" fmla="*/ 3383756 h 4575969"/>
                  <a:gd name="connsiteX175" fmla="*/ 6698456 w 8971757"/>
                  <a:gd name="connsiteY175" fmla="*/ 3352799 h 4575969"/>
                  <a:gd name="connsiteX176" fmla="*/ 6638925 w 8971757"/>
                  <a:gd name="connsiteY176" fmla="*/ 3298031 h 4575969"/>
                  <a:gd name="connsiteX177" fmla="*/ 6619875 w 8971757"/>
                  <a:gd name="connsiteY177" fmla="*/ 3240881 h 4575969"/>
                  <a:gd name="connsiteX178" fmla="*/ 6584156 w 8971757"/>
                  <a:gd name="connsiteY178" fmla="*/ 3207544 h 4575969"/>
                  <a:gd name="connsiteX179" fmla="*/ 6610350 w 8971757"/>
                  <a:gd name="connsiteY179" fmla="*/ 3155156 h 4575969"/>
                  <a:gd name="connsiteX180" fmla="*/ 6650831 w 8971757"/>
                  <a:gd name="connsiteY180" fmla="*/ 2976562 h 4575969"/>
                  <a:gd name="connsiteX181" fmla="*/ 6691313 w 8971757"/>
                  <a:gd name="connsiteY181" fmla="*/ 2909887 h 4575969"/>
                  <a:gd name="connsiteX182" fmla="*/ 6836569 w 8971757"/>
                  <a:gd name="connsiteY182" fmla="*/ 2893218 h 4575969"/>
                  <a:gd name="connsiteX183" fmla="*/ 6905625 w 8971757"/>
                  <a:gd name="connsiteY183" fmla="*/ 2950369 h 4575969"/>
                  <a:gd name="connsiteX184" fmla="*/ 6981825 w 8971757"/>
                  <a:gd name="connsiteY184" fmla="*/ 2974181 h 4575969"/>
                  <a:gd name="connsiteX185" fmla="*/ 7186612 w 8971757"/>
                  <a:gd name="connsiteY185" fmla="*/ 2978944 h 4575969"/>
                  <a:gd name="connsiteX186" fmla="*/ 7362825 w 8971757"/>
                  <a:gd name="connsiteY186" fmla="*/ 2840831 h 4575969"/>
                  <a:gd name="connsiteX187" fmla="*/ 7419975 w 8971757"/>
                  <a:gd name="connsiteY187" fmla="*/ 2750343 h 4575969"/>
                  <a:gd name="connsiteX188" fmla="*/ 7446169 w 8971757"/>
                  <a:gd name="connsiteY188" fmla="*/ 2667000 h 4575969"/>
                  <a:gd name="connsiteX189" fmla="*/ 7577137 w 8971757"/>
                  <a:gd name="connsiteY189" fmla="*/ 2667000 h 4575969"/>
                  <a:gd name="connsiteX190" fmla="*/ 7750969 w 8971757"/>
                  <a:gd name="connsiteY190" fmla="*/ 2609849 h 4575969"/>
                  <a:gd name="connsiteX191" fmla="*/ 7810500 w 8971757"/>
                  <a:gd name="connsiteY191" fmla="*/ 2497931 h 4575969"/>
                  <a:gd name="connsiteX192" fmla="*/ 7874794 w 8971757"/>
                  <a:gd name="connsiteY192" fmla="*/ 2462212 h 4575969"/>
                  <a:gd name="connsiteX193" fmla="*/ 7853363 w 8971757"/>
                  <a:gd name="connsiteY193" fmla="*/ 2416969 h 4575969"/>
                  <a:gd name="connsiteX194" fmla="*/ 7931944 w 8971757"/>
                  <a:gd name="connsiteY194" fmla="*/ 2247899 h 4575969"/>
                  <a:gd name="connsiteX195" fmla="*/ 7986713 w 8971757"/>
                  <a:gd name="connsiteY195" fmla="*/ 2188369 h 4575969"/>
                  <a:gd name="connsiteX196" fmla="*/ 8024813 w 8971757"/>
                  <a:gd name="connsiteY196" fmla="*/ 2183606 h 4575969"/>
                  <a:gd name="connsiteX197" fmla="*/ 8070056 w 8971757"/>
                  <a:gd name="connsiteY197" fmla="*/ 2188369 h 4575969"/>
                  <a:gd name="connsiteX198" fmla="*/ 8134350 w 8971757"/>
                  <a:gd name="connsiteY198" fmla="*/ 2155031 h 4575969"/>
                  <a:gd name="connsiteX199" fmla="*/ 8143875 w 8971757"/>
                  <a:gd name="connsiteY199" fmla="*/ 2090737 h 4575969"/>
                  <a:gd name="connsiteX200" fmla="*/ 8184355 w 8971757"/>
                  <a:gd name="connsiteY200" fmla="*/ 2055019 h 4575969"/>
                  <a:gd name="connsiteX201" fmla="*/ 8243888 w 8971757"/>
                  <a:gd name="connsiteY201" fmla="*/ 2095499 h 4575969"/>
                  <a:gd name="connsiteX202" fmla="*/ 8270082 w 8971757"/>
                  <a:gd name="connsiteY202" fmla="*/ 2045493 h 4575969"/>
                  <a:gd name="connsiteX203" fmla="*/ 8365331 w 8971757"/>
                  <a:gd name="connsiteY203" fmla="*/ 1976437 h 4575969"/>
                  <a:gd name="connsiteX204" fmla="*/ 8427244 w 8971757"/>
                  <a:gd name="connsiteY204" fmla="*/ 1983581 h 4575969"/>
                  <a:gd name="connsiteX205" fmla="*/ 8477250 w 8971757"/>
                  <a:gd name="connsiteY205" fmla="*/ 1964531 h 4575969"/>
                  <a:gd name="connsiteX206" fmla="*/ 8515350 w 8971757"/>
                  <a:gd name="connsiteY206" fmla="*/ 1935956 h 4575969"/>
                  <a:gd name="connsiteX207" fmla="*/ 8548688 w 8971757"/>
                  <a:gd name="connsiteY207" fmla="*/ 1933575 h 4575969"/>
                  <a:gd name="connsiteX208" fmla="*/ 8584406 w 8971757"/>
                  <a:gd name="connsiteY208" fmla="*/ 1964531 h 4575969"/>
                  <a:gd name="connsiteX209" fmla="*/ 8643938 w 8971757"/>
                  <a:gd name="connsiteY209" fmla="*/ 1964531 h 4575969"/>
                  <a:gd name="connsiteX210" fmla="*/ 8682037 w 8971757"/>
                  <a:gd name="connsiteY210" fmla="*/ 1945481 h 4575969"/>
                  <a:gd name="connsiteX211" fmla="*/ 8765381 w 8971757"/>
                  <a:gd name="connsiteY211" fmla="*/ 1947863 h 4575969"/>
                  <a:gd name="connsiteX212" fmla="*/ 8796338 w 8971757"/>
                  <a:gd name="connsiteY212" fmla="*/ 1902619 h 4575969"/>
                  <a:gd name="connsiteX213" fmla="*/ 8801100 w 8971757"/>
                  <a:gd name="connsiteY213" fmla="*/ 1840706 h 4575969"/>
                  <a:gd name="connsiteX214" fmla="*/ 8751093 w 8971757"/>
                  <a:gd name="connsiteY214" fmla="*/ 1800225 h 4575969"/>
                  <a:gd name="connsiteX215" fmla="*/ 8734425 w 8971757"/>
                  <a:gd name="connsiteY215" fmla="*/ 1745456 h 4575969"/>
                  <a:gd name="connsiteX216" fmla="*/ 8643938 w 8971757"/>
                  <a:gd name="connsiteY216" fmla="*/ 1683544 h 4575969"/>
                  <a:gd name="connsiteX217" fmla="*/ 8603456 w 8971757"/>
                  <a:gd name="connsiteY217" fmla="*/ 1662112 h 4575969"/>
                  <a:gd name="connsiteX218" fmla="*/ 8565356 w 8971757"/>
                  <a:gd name="connsiteY218" fmla="*/ 1616869 h 4575969"/>
                  <a:gd name="connsiteX219" fmla="*/ 8534400 w 8971757"/>
                  <a:gd name="connsiteY219" fmla="*/ 1614487 h 4575969"/>
                  <a:gd name="connsiteX220" fmla="*/ 8517731 w 8971757"/>
                  <a:gd name="connsiteY220" fmla="*/ 1562100 h 4575969"/>
                  <a:gd name="connsiteX221" fmla="*/ 8477250 w 8971757"/>
                  <a:gd name="connsiteY221" fmla="*/ 1545431 h 4575969"/>
                  <a:gd name="connsiteX222" fmla="*/ 8477250 w 8971757"/>
                  <a:gd name="connsiteY222" fmla="*/ 1545431 h 4575969"/>
                  <a:gd name="connsiteX223" fmla="*/ 8436769 w 8971757"/>
                  <a:gd name="connsiteY223" fmla="*/ 1550194 h 4575969"/>
                  <a:gd name="connsiteX224" fmla="*/ 8351043 w 8971757"/>
                  <a:gd name="connsiteY224" fmla="*/ 1476375 h 4575969"/>
                  <a:gd name="connsiteX225" fmla="*/ 8170069 w 8971757"/>
                  <a:gd name="connsiteY225" fmla="*/ 1476374 h 4575969"/>
                  <a:gd name="connsiteX226" fmla="*/ 8117681 w 8971757"/>
                  <a:gd name="connsiteY226" fmla="*/ 1514475 h 4575969"/>
                  <a:gd name="connsiteX227" fmla="*/ 8067675 w 8971757"/>
                  <a:gd name="connsiteY227" fmla="*/ 1593056 h 4575969"/>
                  <a:gd name="connsiteX228" fmla="*/ 8084344 w 8971757"/>
                  <a:gd name="connsiteY228" fmla="*/ 1614487 h 4575969"/>
                  <a:gd name="connsiteX229" fmla="*/ 8039100 w 8971757"/>
                  <a:gd name="connsiteY229" fmla="*/ 1664493 h 4575969"/>
                  <a:gd name="connsiteX230" fmla="*/ 7889081 w 8971757"/>
                  <a:gd name="connsiteY230" fmla="*/ 1588293 h 4575969"/>
                  <a:gd name="connsiteX231" fmla="*/ 7798594 w 8971757"/>
                  <a:gd name="connsiteY231" fmla="*/ 1624012 h 4575969"/>
                  <a:gd name="connsiteX232" fmla="*/ 7724775 w 8971757"/>
                  <a:gd name="connsiteY232" fmla="*/ 1621631 h 4575969"/>
                  <a:gd name="connsiteX233" fmla="*/ 7667625 w 8971757"/>
                  <a:gd name="connsiteY233" fmla="*/ 1716881 h 4575969"/>
                  <a:gd name="connsiteX234" fmla="*/ 7529513 w 8971757"/>
                  <a:gd name="connsiteY23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3002756 w 8971757"/>
                  <a:gd name="connsiteY81" fmla="*/ 381000 h 4575969"/>
                  <a:gd name="connsiteX82" fmla="*/ 8412956 w 8971757"/>
                  <a:gd name="connsiteY82" fmla="*/ 23812 h 4575969"/>
                  <a:gd name="connsiteX83" fmla="*/ 8949531 w 8971757"/>
                  <a:gd name="connsiteY83" fmla="*/ 0 h 4575969"/>
                  <a:gd name="connsiteX84" fmla="*/ 8971757 w 8971757"/>
                  <a:gd name="connsiteY84" fmla="*/ 4575969 h 4575969"/>
                  <a:gd name="connsiteX85" fmla="*/ 2381 w 8971757"/>
                  <a:gd name="connsiteY85" fmla="*/ 4547392 h 4575969"/>
                  <a:gd name="connsiteX86" fmla="*/ 0 w 8971757"/>
                  <a:gd name="connsiteY86" fmla="*/ 845344 h 4575969"/>
                  <a:gd name="connsiteX87" fmla="*/ 76200 w 8971757"/>
                  <a:gd name="connsiteY87" fmla="*/ 828675 h 4575969"/>
                  <a:gd name="connsiteX88" fmla="*/ 119063 w 8971757"/>
                  <a:gd name="connsiteY88" fmla="*/ 857250 h 4575969"/>
                  <a:gd name="connsiteX89" fmla="*/ 215900 w 8971757"/>
                  <a:gd name="connsiteY89" fmla="*/ 848519 h 4575969"/>
                  <a:gd name="connsiteX90" fmla="*/ 261938 w 8971757"/>
                  <a:gd name="connsiteY90" fmla="*/ 876299 h 4575969"/>
                  <a:gd name="connsiteX91" fmla="*/ 228600 w 8971757"/>
                  <a:gd name="connsiteY91" fmla="*/ 904875 h 4575969"/>
                  <a:gd name="connsiteX92" fmla="*/ 233363 w 8971757"/>
                  <a:gd name="connsiteY92" fmla="*/ 947737 h 4575969"/>
                  <a:gd name="connsiteX93" fmla="*/ 200025 w 8971757"/>
                  <a:gd name="connsiteY93" fmla="*/ 952500 h 4575969"/>
                  <a:gd name="connsiteX94" fmla="*/ 204788 w 8971757"/>
                  <a:gd name="connsiteY94" fmla="*/ 976312 h 4575969"/>
                  <a:gd name="connsiteX95" fmla="*/ 261937 w 8971757"/>
                  <a:gd name="connsiteY95" fmla="*/ 1050131 h 4575969"/>
                  <a:gd name="connsiteX96" fmla="*/ 223838 w 8971757"/>
                  <a:gd name="connsiteY96" fmla="*/ 1097756 h 4575969"/>
                  <a:gd name="connsiteX97" fmla="*/ 278606 w 8971757"/>
                  <a:gd name="connsiteY97" fmla="*/ 1133475 h 4575969"/>
                  <a:gd name="connsiteX98" fmla="*/ 369094 w 8971757"/>
                  <a:gd name="connsiteY98" fmla="*/ 1221581 h 4575969"/>
                  <a:gd name="connsiteX99" fmla="*/ 371475 w 8971757"/>
                  <a:gd name="connsiteY99" fmla="*/ 1281112 h 4575969"/>
                  <a:gd name="connsiteX100" fmla="*/ 507206 w 8971757"/>
                  <a:gd name="connsiteY100" fmla="*/ 1414463 h 4575969"/>
                  <a:gd name="connsiteX101" fmla="*/ 561975 w 8971757"/>
                  <a:gd name="connsiteY101" fmla="*/ 1390650 h 4575969"/>
                  <a:gd name="connsiteX102" fmla="*/ 600075 w 8971757"/>
                  <a:gd name="connsiteY102" fmla="*/ 1416843 h 4575969"/>
                  <a:gd name="connsiteX103" fmla="*/ 614363 w 8971757"/>
                  <a:gd name="connsiteY103" fmla="*/ 1466849 h 4575969"/>
                  <a:gd name="connsiteX104" fmla="*/ 657225 w 8971757"/>
                  <a:gd name="connsiteY104" fmla="*/ 1502569 h 4575969"/>
                  <a:gd name="connsiteX105" fmla="*/ 697706 w 8971757"/>
                  <a:gd name="connsiteY105" fmla="*/ 1490662 h 4575969"/>
                  <a:gd name="connsiteX106" fmla="*/ 716756 w 8971757"/>
                  <a:gd name="connsiteY106" fmla="*/ 1547812 h 4575969"/>
                  <a:gd name="connsiteX107" fmla="*/ 764381 w 8971757"/>
                  <a:gd name="connsiteY107" fmla="*/ 1590675 h 4575969"/>
                  <a:gd name="connsiteX108" fmla="*/ 788194 w 8971757"/>
                  <a:gd name="connsiteY108" fmla="*/ 1693069 h 4575969"/>
                  <a:gd name="connsiteX109" fmla="*/ 785813 w 8971757"/>
                  <a:gd name="connsiteY109" fmla="*/ 1740694 h 4575969"/>
                  <a:gd name="connsiteX110" fmla="*/ 821531 w 8971757"/>
                  <a:gd name="connsiteY110" fmla="*/ 1840706 h 4575969"/>
                  <a:gd name="connsiteX111" fmla="*/ 866775 w 8971757"/>
                  <a:gd name="connsiteY111" fmla="*/ 1897856 h 4575969"/>
                  <a:gd name="connsiteX112" fmla="*/ 883443 w 8971757"/>
                  <a:gd name="connsiteY112" fmla="*/ 2055018 h 4575969"/>
                  <a:gd name="connsiteX113" fmla="*/ 850106 w 8971757"/>
                  <a:gd name="connsiteY113" fmla="*/ 2116931 h 4575969"/>
                  <a:gd name="connsiteX114" fmla="*/ 819150 w 8971757"/>
                  <a:gd name="connsiteY114" fmla="*/ 2193131 h 4575969"/>
                  <a:gd name="connsiteX115" fmla="*/ 833438 w 8971757"/>
                  <a:gd name="connsiteY115" fmla="*/ 2250281 h 4575969"/>
                  <a:gd name="connsiteX116" fmla="*/ 735806 w 8971757"/>
                  <a:gd name="connsiteY116" fmla="*/ 2357438 h 4575969"/>
                  <a:gd name="connsiteX117" fmla="*/ 692944 w 8971757"/>
                  <a:gd name="connsiteY117" fmla="*/ 2471737 h 4575969"/>
                  <a:gd name="connsiteX118" fmla="*/ 726281 w 8971757"/>
                  <a:gd name="connsiteY118" fmla="*/ 2512219 h 4575969"/>
                  <a:gd name="connsiteX119" fmla="*/ 709613 w 8971757"/>
                  <a:gd name="connsiteY119" fmla="*/ 2540794 h 4575969"/>
                  <a:gd name="connsiteX120" fmla="*/ 740569 w 8971757"/>
                  <a:gd name="connsiteY120" fmla="*/ 2597944 h 4575969"/>
                  <a:gd name="connsiteX121" fmla="*/ 769144 w 8971757"/>
                  <a:gd name="connsiteY121" fmla="*/ 2597944 h 4575969"/>
                  <a:gd name="connsiteX122" fmla="*/ 931069 w 8971757"/>
                  <a:gd name="connsiteY122" fmla="*/ 2700337 h 4575969"/>
                  <a:gd name="connsiteX123" fmla="*/ 1035844 w 8971757"/>
                  <a:gd name="connsiteY123" fmla="*/ 2697956 h 4575969"/>
                  <a:gd name="connsiteX124" fmla="*/ 1114425 w 8971757"/>
                  <a:gd name="connsiteY124" fmla="*/ 2752725 h 4575969"/>
                  <a:gd name="connsiteX125" fmla="*/ 1245393 w 8971757"/>
                  <a:gd name="connsiteY125" fmla="*/ 2755106 h 4575969"/>
                  <a:gd name="connsiteX126" fmla="*/ 1435893 w 8971757"/>
                  <a:gd name="connsiteY126" fmla="*/ 2824162 h 4575969"/>
                  <a:gd name="connsiteX127" fmla="*/ 1638300 w 8971757"/>
                  <a:gd name="connsiteY127" fmla="*/ 2974181 h 4575969"/>
                  <a:gd name="connsiteX128" fmla="*/ 1671637 w 8971757"/>
                  <a:gd name="connsiteY128" fmla="*/ 3040856 h 4575969"/>
                  <a:gd name="connsiteX129" fmla="*/ 1838325 w 8971757"/>
                  <a:gd name="connsiteY129" fmla="*/ 3167062 h 4575969"/>
                  <a:gd name="connsiteX130" fmla="*/ 1909763 w 8971757"/>
                  <a:gd name="connsiteY130" fmla="*/ 3162300 h 4575969"/>
                  <a:gd name="connsiteX131" fmla="*/ 1945482 w 8971757"/>
                  <a:gd name="connsiteY131" fmla="*/ 3186112 h 4575969"/>
                  <a:gd name="connsiteX132" fmla="*/ 1916906 w 8971757"/>
                  <a:gd name="connsiteY132" fmla="*/ 3226594 h 4575969"/>
                  <a:gd name="connsiteX133" fmla="*/ 1924050 w 8971757"/>
                  <a:gd name="connsiteY133" fmla="*/ 3278981 h 4575969"/>
                  <a:gd name="connsiteX134" fmla="*/ 1976438 w 8971757"/>
                  <a:gd name="connsiteY134" fmla="*/ 3305175 h 4575969"/>
                  <a:gd name="connsiteX135" fmla="*/ 2038350 w 8971757"/>
                  <a:gd name="connsiteY135" fmla="*/ 3529013 h 4575969"/>
                  <a:gd name="connsiteX136" fmla="*/ 2028825 w 8971757"/>
                  <a:gd name="connsiteY136" fmla="*/ 3593306 h 4575969"/>
                  <a:gd name="connsiteX137" fmla="*/ 2164556 w 8971757"/>
                  <a:gd name="connsiteY137" fmla="*/ 3759994 h 4575969"/>
                  <a:gd name="connsiteX138" fmla="*/ 2183606 w 8971757"/>
                  <a:gd name="connsiteY138" fmla="*/ 3810000 h 4575969"/>
                  <a:gd name="connsiteX139" fmla="*/ 2157413 w 8971757"/>
                  <a:gd name="connsiteY139" fmla="*/ 3829050 h 4575969"/>
                  <a:gd name="connsiteX140" fmla="*/ 2259806 w 8971757"/>
                  <a:gd name="connsiteY140" fmla="*/ 3838575 h 4575969"/>
                  <a:gd name="connsiteX141" fmla="*/ 2371725 w 8971757"/>
                  <a:gd name="connsiteY141" fmla="*/ 3826669 h 4575969"/>
                  <a:gd name="connsiteX142" fmla="*/ 2650331 w 8971757"/>
                  <a:gd name="connsiteY142" fmla="*/ 3910012 h 4575969"/>
                  <a:gd name="connsiteX143" fmla="*/ 3057525 w 8971757"/>
                  <a:gd name="connsiteY143" fmla="*/ 3990975 h 4575969"/>
                  <a:gd name="connsiteX144" fmla="*/ 3255169 w 8971757"/>
                  <a:gd name="connsiteY144" fmla="*/ 3960018 h 4575969"/>
                  <a:gd name="connsiteX145" fmla="*/ 3300413 w 8971757"/>
                  <a:gd name="connsiteY145" fmla="*/ 3971924 h 4575969"/>
                  <a:gd name="connsiteX146" fmla="*/ 3355181 w 8971757"/>
                  <a:gd name="connsiteY146" fmla="*/ 3948113 h 4575969"/>
                  <a:gd name="connsiteX147" fmla="*/ 3748087 w 8971757"/>
                  <a:gd name="connsiteY147" fmla="*/ 4038600 h 4575969"/>
                  <a:gd name="connsiteX148" fmla="*/ 3831432 w 8971757"/>
                  <a:gd name="connsiteY148" fmla="*/ 4136231 h 4575969"/>
                  <a:gd name="connsiteX149" fmla="*/ 3950494 w 8971757"/>
                  <a:gd name="connsiteY149" fmla="*/ 4207669 h 4575969"/>
                  <a:gd name="connsiteX150" fmla="*/ 4010025 w 8971757"/>
                  <a:gd name="connsiteY150" fmla="*/ 4191000 h 4575969"/>
                  <a:gd name="connsiteX151" fmla="*/ 4360068 w 8971757"/>
                  <a:gd name="connsiteY151" fmla="*/ 4364831 h 4575969"/>
                  <a:gd name="connsiteX152" fmla="*/ 4586288 w 8971757"/>
                  <a:gd name="connsiteY152" fmla="*/ 4336256 h 4575969"/>
                  <a:gd name="connsiteX153" fmla="*/ 4595813 w 8971757"/>
                  <a:gd name="connsiteY153" fmla="*/ 4414837 h 4575969"/>
                  <a:gd name="connsiteX154" fmla="*/ 4681538 w 8971757"/>
                  <a:gd name="connsiteY154" fmla="*/ 4410074 h 4575969"/>
                  <a:gd name="connsiteX155" fmla="*/ 4760119 w 8971757"/>
                  <a:gd name="connsiteY155" fmla="*/ 4441031 h 4575969"/>
                  <a:gd name="connsiteX156" fmla="*/ 4802981 w 8971757"/>
                  <a:gd name="connsiteY156" fmla="*/ 4381500 h 4575969"/>
                  <a:gd name="connsiteX157" fmla="*/ 5474494 w 8971757"/>
                  <a:gd name="connsiteY157" fmla="*/ 4062412 h 4575969"/>
                  <a:gd name="connsiteX158" fmla="*/ 5562600 w 8971757"/>
                  <a:gd name="connsiteY158" fmla="*/ 4090988 h 4575969"/>
                  <a:gd name="connsiteX159" fmla="*/ 5693569 w 8971757"/>
                  <a:gd name="connsiteY159" fmla="*/ 4062412 h 4575969"/>
                  <a:gd name="connsiteX160" fmla="*/ 5872162 w 8971757"/>
                  <a:gd name="connsiteY160" fmla="*/ 4079081 h 4575969"/>
                  <a:gd name="connsiteX161" fmla="*/ 5929313 w 8971757"/>
                  <a:gd name="connsiteY161" fmla="*/ 4052888 h 4575969"/>
                  <a:gd name="connsiteX162" fmla="*/ 6062662 w 8971757"/>
                  <a:gd name="connsiteY162" fmla="*/ 4050506 h 4575969"/>
                  <a:gd name="connsiteX163" fmla="*/ 6196012 w 8971757"/>
                  <a:gd name="connsiteY163" fmla="*/ 3952875 h 4575969"/>
                  <a:gd name="connsiteX164" fmla="*/ 6262687 w 8971757"/>
                  <a:gd name="connsiteY164" fmla="*/ 3945731 h 4575969"/>
                  <a:gd name="connsiteX165" fmla="*/ 6360319 w 8971757"/>
                  <a:gd name="connsiteY165" fmla="*/ 3871912 h 4575969"/>
                  <a:gd name="connsiteX166" fmla="*/ 6434138 w 8971757"/>
                  <a:gd name="connsiteY166" fmla="*/ 3802856 h 4575969"/>
                  <a:gd name="connsiteX167" fmla="*/ 6443663 w 8971757"/>
                  <a:gd name="connsiteY167" fmla="*/ 3740944 h 4575969"/>
                  <a:gd name="connsiteX168" fmla="*/ 6477000 w 8971757"/>
                  <a:gd name="connsiteY168" fmla="*/ 3671887 h 4575969"/>
                  <a:gd name="connsiteX169" fmla="*/ 6629400 w 8971757"/>
                  <a:gd name="connsiteY169" fmla="*/ 3564731 h 4575969"/>
                  <a:gd name="connsiteX170" fmla="*/ 6662738 w 8971757"/>
                  <a:gd name="connsiteY170" fmla="*/ 3569494 h 4575969"/>
                  <a:gd name="connsiteX171" fmla="*/ 6715125 w 8971757"/>
                  <a:gd name="connsiteY171" fmla="*/ 3490912 h 4575969"/>
                  <a:gd name="connsiteX172" fmla="*/ 6762750 w 8971757"/>
                  <a:gd name="connsiteY172" fmla="*/ 3452812 h 4575969"/>
                  <a:gd name="connsiteX173" fmla="*/ 6748463 w 8971757"/>
                  <a:gd name="connsiteY173" fmla="*/ 3383756 h 4575969"/>
                  <a:gd name="connsiteX174" fmla="*/ 6698456 w 8971757"/>
                  <a:gd name="connsiteY174" fmla="*/ 3352799 h 4575969"/>
                  <a:gd name="connsiteX175" fmla="*/ 6638925 w 8971757"/>
                  <a:gd name="connsiteY175" fmla="*/ 3298031 h 4575969"/>
                  <a:gd name="connsiteX176" fmla="*/ 6619875 w 8971757"/>
                  <a:gd name="connsiteY176" fmla="*/ 3240881 h 4575969"/>
                  <a:gd name="connsiteX177" fmla="*/ 6584156 w 8971757"/>
                  <a:gd name="connsiteY177" fmla="*/ 3207544 h 4575969"/>
                  <a:gd name="connsiteX178" fmla="*/ 6610350 w 8971757"/>
                  <a:gd name="connsiteY178" fmla="*/ 3155156 h 4575969"/>
                  <a:gd name="connsiteX179" fmla="*/ 6650831 w 8971757"/>
                  <a:gd name="connsiteY179" fmla="*/ 2976562 h 4575969"/>
                  <a:gd name="connsiteX180" fmla="*/ 6691313 w 8971757"/>
                  <a:gd name="connsiteY180" fmla="*/ 2909887 h 4575969"/>
                  <a:gd name="connsiteX181" fmla="*/ 6836569 w 8971757"/>
                  <a:gd name="connsiteY181" fmla="*/ 2893218 h 4575969"/>
                  <a:gd name="connsiteX182" fmla="*/ 6905625 w 8971757"/>
                  <a:gd name="connsiteY182" fmla="*/ 2950369 h 4575969"/>
                  <a:gd name="connsiteX183" fmla="*/ 6981825 w 8971757"/>
                  <a:gd name="connsiteY183" fmla="*/ 2974181 h 4575969"/>
                  <a:gd name="connsiteX184" fmla="*/ 7186612 w 8971757"/>
                  <a:gd name="connsiteY184" fmla="*/ 2978944 h 4575969"/>
                  <a:gd name="connsiteX185" fmla="*/ 7362825 w 8971757"/>
                  <a:gd name="connsiteY185" fmla="*/ 2840831 h 4575969"/>
                  <a:gd name="connsiteX186" fmla="*/ 7419975 w 8971757"/>
                  <a:gd name="connsiteY186" fmla="*/ 2750343 h 4575969"/>
                  <a:gd name="connsiteX187" fmla="*/ 7446169 w 8971757"/>
                  <a:gd name="connsiteY187" fmla="*/ 2667000 h 4575969"/>
                  <a:gd name="connsiteX188" fmla="*/ 7577137 w 8971757"/>
                  <a:gd name="connsiteY188" fmla="*/ 2667000 h 4575969"/>
                  <a:gd name="connsiteX189" fmla="*/ 7750969 w 8971757"/>
                  <a:gd name="connsiteY189" fmla="*/ 2609849 h 4575969"/>
                  <a:gd name="connsiteX190" fmla="*/ 7810500 w 8971757"/>
                  <a:gd name="connsiteY190" fmla="*/ 2497931 h 4575969"/>
                  <a:gd name="connsiteX191" fmla="*/ 7874794 w 8971757"/>
                  <a:gd name="connsiteY191" fmla="*/ 2462212 h 4575969"/>
                  <a:gd name="connsiteX192" fmla="*/ 7853363 w 8971757"/>
                  <a:gd name="connsiteY192" fmla="*/ 2416969 h 4575969"/>
                  <a:gd name="connsiteX193" fmla="*/ 7931944 w 8971757"/>
                  <a:gd name="connsiteY193" fmla="*/ 2247899 h 4575969"/>
                  <a:gd name="connsiteX194" fmla="*/ 7986713 w 8971757"/>
                  <a:gd name="connsiteY194" fmla="*/ 2188369 h 4575969"/>
                  <a:gd name="connsiteX195" fmla="*/ 8024813 w 8971757"/>
                  <a:gd name="connsiteY195" fmla="*/ 2183606 h 4575969"/>
                  <a:gd name="connsiteX196" fmla="*/ 8070056 w 8971757"/>
                  <a:gd name="connsiteY196" fmla="*/ 2188369 h 4575969"/>
                  <a:gd name="connsiteX197" fmla="*/ 8134350 w 8971757"/>
                  <a:gd name="connsiteY197" fmla="*/ 2155031 h 4575969"/>
                  <a:gd name="connsiteX198" fmla="*/ 8143875 w 8971757"/>
                  <a:gd name="connsiteY198" fmla="*/ 2090737 h 4575969"/>
                  <a:gd name="connsiteX199" fmla="*/ 8184355 w 8971757"/>
                  <a:gd name="connsiteY199" fmla="*/ 2055019 h 4575969"/>
                  <a:gd name="connsiteX200" fmla="*/ 8243888 w 8971757"/>
                  <a:gd name="connsiteY200" fmla="*/ 2095499 h 4575969"/>
                  <a:gd name="connsiteX201" fmla="*/ 8270082 w 8971757"/>
                  <a:gd name="connsiteY201" fmla="*/ 2045493 h 4575969"/>
                  <a:gd name="connsiteX202" fmla="*/ 8365331 w 8971757"/>
                  <a:gd name="connsiteY202" fmla="*/ 1976437 h 4575969"/>
                  <a:gd name="connsiteX203" fmla="*/ 8427244 w 8971757"/>
                  <a:gd name="connsiteY203" fmla="*/ 1983581 h 4575969"/>
                  <a:gd name="connsiteX204" fmla="*/ 8477250 w 8971757"/>
                  <a:gd name="connsiteY204" fmla="*/ 1964531 h 4575969"/>
                  <a:gd name="connsiteX205" fmla="*/ 8515350 w 8971757"/>
                  <a:gd name="connsiteY205" fmla="*/ 1935956 h 4575969"/>
                  <a:gd name="connsiteX206" fmla="*/ 8548688 w 8971757"/>
                  <a:gd name="connsiteY206" fmla="*/ 1933575 h 4575969"/>
                  <a:gd name="connsiteX207" fmla="*/ 8584406 w 8971757"/>
                  <a:gd name="connsiteY207" fmla="*/ 1964531 h 4575969"/>
                  <a:gd name="connsiteX208" fmla="*/ 8643938 w 8971757"/>
                  <a:gd name="connsiteY208" fmla="*/ 1964531 h 4575969"/>
                  <a:gd name="connsiteX209" fmla="*/ 8682037 w 8971757"/>
                  <a:gd name="connsiteY209" fmla="*/ 1945481 h 4575969"/>
                  <a:gd name="connsiteX210" fmla="*/ 8765381 w 8971757"/>
                  <a:gd name="connsiteY210" fmla="*/ 1947863 h 4575969"/>
                  <a:gd name="connsiteX211" fmla="*/ 8796338 w 8971757"/>
                  <a:gd name="connsiteY211" fmla="*/ 1902619 h 4575969"/>
                  <a:gd name="connsiteX212" fmla="*/ 8801100 w 8971757"/>
                  <a:gd name="connsiteY212" fmla="*/ 1840706 h 4575969"/>
                  <a:gd name="connsiteX213" fmla="*/ 8751093 w 8971757"/>
                  <a:gd name="connsiteY213" fmla="*/ 1800225 h 4575969"/>
                  <a:gd name="connsiteX214" fmla="*/ 8734425 w 8971757"/>
                  <a:gd name="connsiteY214" fmla="*/ 1745456 h 4575969"/>
                  <a:gd name="connsiteX215" fmla="*/ 8643938 w 8971757"/>
                  <a:gd name="connsiteY215" fmla="*/ 1683544 h 4575969"/>
                  <a:gd name="connsiteX216" fmla="*/ 8603456 w 8971757"/>
                  <a:gd name="connsiteY216" fmla="*/ 1662112 h 4575969"/>
                  <a:gd name="connsiteX217" fmla="*/ 8565356 w 8971757"/>
                  <a:gd name="connsiteY217" fmla="*/ 1616869 h 4575969"/>
                  <a:gd name="connsiteX218" fmla="*/ 8534400 w 8971757"/>
                  <a:gd name="connsiteY218" fmla="*/ 1614487 h 4575969"/>
                  <a:gd name="connsiteX219" fmla="*/ 8517731 w 8971757"/>
                  <a:gd name="connsiteY219" fmla="*/ 1562100 h 4575969"/>
                  <a:gd name="connsiteX220" fmla="*/ 8477250 w 8971757"/>
                  <a:gd name="connsiteY220" fmla="*/ 1545431 h 4575969"/>
                  <a:gd name="connsiteX221" fmla="*/ 8477250 w 8971757"/>
                  <a:gd name="connsiteY221" fmla="*/ 1545431 h 4575969"/>
                  <a:gd name="connsiteX222" fmla="*/ 8436769 w 8971757"/>
                  <a:gd name="connsiteY222" fmla="*/ 1550194 h 4575969"/>
                  <a:gd name="connsiteX223" fmla="*/ 8351043 w 8971757"/>
                  <a:gd name="connsiteY223" fmla="*/ 1476375 h 4575969"/>
                  <a:gd name="connsiteX224" fmla="*/ 8170069 w 8971757"/>
                  <a:gd name="connsiteY224" fmla="*/ 1476374 h 4575969"/>
                  <a:gd name="connsiteX225" fmla="*/ 8117681 w 8971757"/>
                  <a:gd name="connsiteY225" fmla="*/ 1514475 h 4575969"/>
                  <a:gd name="connsiteX226" fmla="*/ 8067675 w 8971757"/>
                  <a:gd name="connsiteY226" fmla="*/ 1593056 h 4575969"/>
                  <a:gd name="connsiteX227" fmla="*/ 8084344 w 8971757"/>
                  <a:gd name="connsiteY227" fmla="*/ 1614487 h 4575969"/>
                  <a:gd name="connsiteX228" fmla="*/ 8039100 w 8971757"/>
                  <a:gd name="connsiteY228" fmla="*/ 1664493 h 4575969"/>
                  <a:gd name="connsiteX229" fmla="*/ 7889081 w 8971757"/>
                  <a:gd name="connsiteY229" fmla="*/ 1588293 h 4575969"/>
                  <a:gd name="connsiteX230" fmla="*/ 7798594 w 8971757"/>
                  <a:gd name="connsiteY230" fmla="*/ 1624012 h 4575969"/>
                  <a:gd name="connsiteX231" fmla="*/ 7724775 w 8971757"/>
                  <a:gd name="connsiteY231" fmla="*/ 1621631 h 4575969"/>
                  <a:gd name="connsiteX232" fmla="*/ 7667625 w 8971757"/>
                  <a:gd name="connsiteY232" fmla="*/ 1716881 h 4575969"/>
                  <a:gd name="connsiteX233" fmla="*/ 7529513 w 8971757"/>
                  <a:gd name="connsiteY23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3028950 w 8971757"/>
                  <a:gd name="connsiteY80" fmla="*/ 302419 h 4575969"/>
                  <a:gd name="connsiteX81" fmla="*/ 8412956 w 8971757"/>
                  <a:gd name="connsiteY81" fmla="*/ 23812 h 4575969"/>
                  <a:gd name="connsiteX82" fmla="*/ 8949531 w 8971757"/>
                  <a:gd name="connsiteY82" fmla="*/ 0 h 4575969"/>
                  <a:gd name="connsiteX83" fmla="*/ 8971757 w 8971757"/>
                  <a:gd name="connsiteY83" fmla="*/ 4575969 h 4575969"/>
                  <a:gd name="connsiteX84" fmla="*/ 2381 w 8971757"/>
                  <a:gd name="connsiteY84" fmla="*/ 4547392 h 4575969"/>
                  <a:gd name="connsiteX85" fmla="*/ 0 w 8971757"/>
                  <a:gd name="connsiteY85" fmla="*/ 845344 h 4575969"/>
                  <a:gd name="connsiteX86" fmla="*/ 76200 w 8971757"/>
                  <a:gd name="connsiteY86" fmla="*/ 828675 h 4575969"/>
                  <a:gd name="connsiteX87" fmla="*/ 119063 w 8971757"/>
                  <a:gd name="connsiteY87" fmla="*/ 857250 h 4575969"/>
                  <a:gd name="connsiteX88" fmla="*/ 215900 w 8971757"/>
                  <a:gd name="connsiteY88" fmla="*/ 848519 h 4575969"/>
                  <a:gd name="connsiteX89" fmla="*/ 261938 w 8971757"/>
                  <a:gd name="connsiteY89" fmla="*/ 876299 h 4575969"/>
                  <a:gd name="connsiteX90" fmla="*/ 228600 w 8971757"/>
                  <a:gd name="connsiteY90" fmla="*/ 904875 h 4575969"/>
                  <a:gd name="connsiteX91" fmla="*/ 233363 w 8971757"/>
                  <a:gd name="connsiteY91" fmla="*/ 947737 h 4575969"/>
                  <a:gd name="connsiteX92" fmla="*/ 200025 w 8971757"/>
                  <a:gd name="connsiteY92" fmla="*/ 952500 h 4575969"/>
                  <a:gd name="connsiteX93" fmla="*/ 204788 w 8971757"/>
                  <a:gd name="connsiteY93" fmla="*/ 976312 h 4575969"/>
                  <a:gd name="connsiteX94" fmla="*/ 261937 w 8971757"/>
                  <a:gd name="connsiteY94" fmla="*/ 1050131 h 4575969"/>
                  <a:gd name="connsiteX95" fmla="*/ 223838 w 8971757"/>
                  <a:gd name="connsiteY95" fmla="*/ 1097756 h 4575969"/>
                  <a:gd name="connsiteX96" fmla="*/ 278606 w 8971757"/>
                  <a:gd name="connsiteY96" fmla="*/ 1133475 h 4575969"/>
                  <a:gd name="connsiteX97" fmla="*/ 369094 w 8971757"/>
                  <a:gd name="connsiteY97" fmla="*/ 1221581 h 4575969"/>
                  <a:gd name="connsiteX98" fmla="*/ 371475 w 8971757"/>
                  <a:gd name="connsiteY98" fmla="*/ 1281112 h 4575969"/>
                  <a:gd name="connsiteX99" fmla="*/ 507206 w 8971757"/>
                  <a:gd name="connsiteY99" fmla="*/ 1414463 h 4575969"/>
                  <a:gd name="connsiteX100" fmla="*/ 561975 w 8971757"/>
                  <a:gd name="connsiteY100" fmla="*/ 1390650 h 4575969"/>
                  <a:gd name="connsiteX101" fmla="*/ 600075 w 8971757"/>
                  <a:gd name="connsiteY101" fmla="*/ 1416843 h 4575969"/>
                  <a:gd name="connsiteX102" fmla="*/ 614363 w 8971757"/>
                  <a:gd name="connsiteY102" fmla="*/ 1466849 h 4575969"/>
                  <a:gd name="connsiteX103" fmla="*/ 657225 w 8971757"/>
                  <a:gd name="connsiteY103" fmla="*/ 1502569 h 4575969"/>
                  <a:gd name="connsiteX104" fmla="*/ 697706 w 8971757"/>
                  <a:gd name="connsiteY104" fmla="*/ 1490662 h 4575969"/>
                  <a:gd name="connsiteX105" fmla="*/ 716756 w 8971757"/>
                  <a:gd name="connsiteY105" fmla="*/ 1547812 h 4575969"/>
                  <a:gd name="connsiteX106" fmla="*/ 764381 w 8971757"/>
                  <a:gd name="connsiteY106" fmla="*/ 1590675 h 4575969"/>
                  <a:gd name="connsiteX107" fmla="*/ 788194 w 8971757"/>
                  <a:gd name="connsiteY107" fmla="*/ 1693069 h 4575969"/>
                  <a:gd name="connsiteX108" fmla="*/ 785813 w 8971757"/>
                  <a:gd name="connsiteY108" fmla="*/ 1740694 h 4575969"/>
                  <a:gd name="connsiteX109" fmla="*/ 821531 w 8971757"/>
                  <a:gd name="connsiteY109" fmla="*/ 1840706 h 4575969"/>
                  <a:gd name="connsiteX110" fmla="*/ 866775 w 8971757"/>
                  <a:gd name="connsiteY110" fmla="*/ 1897856 h 4575969"/>
                  <a:gd name="connsiteX111" fmla="*/ 883443 w 8971757"/>
                  <a:gd name="connsiteY111" fmla="*/ 2055018 h 4575969"/>
                  <a:gd name="connsiteX112" fmla="*/ 850106 w 8971757"/>
                  <a:gd name="connsiteY112" fmla="*/ 2116931 h 4575969"/>
                  <a:gd name="connsiteX113" fmla="*/ 819150 w 8971757"/>
                  <a:gd name="connsiteY113" fmla="*/ 2193131 h 4575969"/>
                  <a:gd name="connsiteX114" fmla="*/ 833438 w 8971757"/>
                  <a:gd name="connsiteY114" fmla="*/ 2250281 h 4575969"/>
                  <a:gd name="connsiteX115" fmla="*/ 735806 w 8971757"/>
                  <a:gd name="connsiteY115" fmla="*/ 2357438 h 4575969"/>
                  <a:gd name="connsiteX116" fmla="*/ 692944 w 8971757"/>
                  <a:gd name="connsiteY116" fmla="*/ 2471737 h 4575969"/>
                  <a:gd name="connsiteX117" fmla="*/ 726281 w 8971757"/>
                  <a:gd name="connsiteY117" fmla="*/ 2512219 h 4575969"/>
                  <a:gd name="connsiteX118" fmla="*/ 709613 w 8971757"/>
                  <a:gd name="connsiteY118" fmla="*/ 2540794 h 4575969"/>
                  <a:gd name="connsiteX119" fmla="*/ 740569 w 8971757"/>
                  <a:gd name="connsiteY119" fmla="*/ 2597944 h 4575969"/>
                  <a:gd name="connsiteX120" fmla="*/ 769144 w 8971757"/>
                  <a:gd name="connsiteY120" fmla="*/ 2597944 h 4575969"/>
                  <a:gd name="connsiteX121" fmla="*/ 931069 w 8971757"/>
                  <a:gd name="connsiteY121" fmla="*/ 2700337 h 4575969"/>
                  <a:gd name="connsiteX122" fmla="*/ 1035844 w 8971757"/>
                  <a:gd name="connsiteY122" fmla="*/ 2697956 h 4575969"/>
                  <a:gd name="connsiteX123" fmla="*/ 1114425 w 8971757"/>
                  <a:gd name="connsiteY123" fmla="*/ 2752725 h 4575969"/>
                  <a:gd name="connsiteX124" fmla="*/ 1245393 w 8971757"/>
                  <a:gd name="connsiteY124" fmla="*/ 2755106 h 4575969"/>
                  <a:gd name="connsiteX125" fmla="*/ 1435893 w 8971757"/>
                  <a:gd name="connsiteY125" fmla="*/ 2824162 h 4575969"/>
                  <a:gd name="connsiteX126" fmla="*/ 1638300 w 8971757"/>
                  <a:gd name="connsiteY126" fmla="*/ 2974181 h 4575969"/>
                  <a:gd name="connsiteX127" fmla="*/ 1671637 w 8971757"/>
                  <a:gd name="connsiteY127" fmla="*/ 3040856 h 4575969"/>
                  <a:gd name="connsiteX128" fmla="*/ 1838325 w 8971757"/>
                  <a:gd name="connsiteY128" fmla="*/ 3167062 h 4575969"/>
                  <a:gd name="connsiteX129" fmla="*/ 1909763 w 8971757"/>
                  <a:gd name="connsiteY129" fmla="*/ 3162300 h 4575969"/>
                  <a:gd name="connsiteX130" fmla="*/ 1945482 w 8971757"/>
                  <a:gd name="connsiteY130" fmla="*/ 3186112 h 4575969"/>
                  <a:gd name="connsiteX131" fmla="*/ 1916906 w 8971757"/>
                  <a:gd name="connsiteY131" fmla="*/ 3226594 h 4575969"/>
                  <a:gd name="connsiteX132" fmla="*/ 1924050 w 8971757"/>
                  <a:gd name="connsiteY132" fmla="*/ 3278981 h 4575969"/>
                  <a:gd name="connsiteX133" fmla="*/ 1976438 w 8971757"/>
                  <a:gd name="connsiteY133" fmla="*/ 3305175 h 4575969"/>
                  <a:gd name="connsiteX134" fmla="*/ 2038350 w 8971757"/>
                  <a:gd name="connsiteY134" fmla="*/ 3529013 h 4575969"/>
                  <a:gd name="connsiteX135" fmla="*/ 2028825 w 8971757"/>
                  <a:gd name="connsiteY135" fmla="*/ 3593306 h 4575969"/>
                  <a:gd name="connsiteX136" fmla="*/ 2164556 w 8971757"/>
                  <a:gd name="connsiteY136" fmla="*/ 3759994 h 4575969"/>
                  <a:gd name="connsiteX137" fmla="*/ 2183606 w 8971757"/>
                  <a:gd name="connsiteY137" fmla="*/ 3810000 h 4575969"/>
                  <a:gd name="connsiteX138" fmla="*/ 2157413 w 8971757"/>
                  <a:gd name="connsiteY138" fmla="*/ 3829050 h 4575969"/>
                  <a:gd name="connsiteX139" fmla="*/ 2259806 w 8971757"/>
                  <a:gd name="connsiteY139" fmla="*/ 3838575 h 4575969"/>
                  <a:gd name="connsiteX140" fmla="*/ 2371725 w 8971757"/>
                  <a:gd name="connsiteY140" fmla="*/ 3826669 h 4575969"/>
                  <a:gd name="connsiteX141" fmla="*/ 2650331 w 8971757"/>
                  <a:gd name="connsiteY141" fmla="*/ 3910012 h 4575969"/>
                  <a:gd name="connsiteX142" fmla="*/ 3057525 w 8971757"/>
                  <a:gd name="connsiteY142" fmla="*/ 3990975 h 4575969"/>
                  <a:gd name="connsiteX143" fmla="*/ 3255169 w 8971757"/>
                  <a:gd name="connsiteY143" fmla="*/ 3960018 h 4575969"/>
                  <a:gd name="connsiteX144" fmla="*/ 3300413 w 8971757"/>
                  <a:gd name="connsiteY144" fmla="*/ 3971924 h 4575969"/>
                  <a:gd name="connsiteX145" fmla="*/ 3355181 w 8971757"/>
                  <a:gd name="connsiteY145" fmla="*/ 3948113 h 4575969"/>
                  <a:gd name="connsiteX146" fmla="*/ 3748087 w 8971757"/>
                  <a:gd name="connsiteY146" fmla="*/ 4038600 h 4575969"/>
                  <a:gd name="connsiteX147" fmla="*/ 3831432 w 8971757"/>
                  <a:gd name="connsiteY147" fmla="*/ 4136231 h 4575969"/>
                  <a:gd name="connsiteX148" fmla="*/ 3950494 w 8971757"/>
                  <a:gd name="connsiteY148" fmla="*/ 4207669 h 4575969"/>
                  <a:gd name="connsiteX149" fmla="*/ 4010025 w 8971757"/>
                  <a:gd name="connsiteY149" fmla="*/ 4191000 h 4575969"/>
                  <a:gd name="connsiteX150" fmla="*/ 4360068 w 8971757"/>
                  <a:gd name="connsiteY150" fmla="*/ 4364831 h 4575969"/>
                  <a:gd name="connsiteX151" fmla="*/ 4586288 w 8971757"/>
                  <a:gd name="connsiteY151" fmla="*/ 4336256 h 4575969"/>
                  <a:gd name="connsiteX152" fmla="*/ 4595813 w 8971757"/>
                  <a:gd name="connsiteY152" fmla="*/ 4414837 h 4575969"/>
                  <a:gd name="connsiteX153" fmla="*/ 4681538 w 8971757"/>
                  <a:gd name="connsiteY153" fmla="*/ 4410074 h 4575969"/>
                  <a:gd name="connsiteX154" fmla="*/ 4760119 w 8971757"/>
                  <a:gd name="connsiteY154" fmla="*/ 4441031 h 4575969"/>
                  <a:gd name="connsiteX155" fmla="*/ 4802981 w 8971757"/>
                  <a:gd name="connsiteY155" fmla="*/ 4381500 h 4575969"/>
                  <a:gd name="connsiteX156" fmla="*/ 5474494 w 8971757"/>
                  <a:gd name="connsiteY156" fmla="*/ 4062412 h 4575969"/>
                  <a:gd name="connsiteX157" fmla="*/ 5562600 w 8971757"/>
                  <a:gd name="connsiteY157" fmla="*/ 4090988 h 4575969"/>
                  <a:gd name="connsiteX158" fmla="*/ 5693569 w 8971757"/>
                  <a:gd name="connsiteY158" fmla="*/ 4062412 h 4575969"/>
                  <a:gd name="connsiteX159" fmla="*/ 5872162 w 8971757"/>
                  <a:gd name="connsiteY159" fmla="*/ 4079081 h 4575969"/>
                  <a:gd name="connsiteX160" fmla="*/ 5929313 w 8971757"/>
                  <a:gd name="connsiteY160" fmla="*/ 4052888 h 4575969"/>
                  <a:gd name="connsiteX161" fmla="*/ 6062662 w 8971757"/>
                  <a:gd name="connsiteY161" fmla="*/ 4050506 h 4575969"/>
                  <a:gd name="connsiteX162" fmla="*/ 6196012 w 8971757"/>
                  <a:gd name="connsiteY162" fmla="*/ 3952875 h 4575969"/>
                  <a:gd name="connsiteX163" fmla="*/ 6262687 w 8971757"/>
                  <a:gd name="connsiteY163" fmla="*/ 3945731 h 4575969"/>
                  <a:gd name="connsiteX164" fmla="*/ 6360319 w 8971757"/>
                  <a:gd name="connsiteY164" fmla="*/ 3871912 h 4575969"/>
                  <a:gd name="connsiteX165" fmla="*/ 6434138 w 8971757"/>
                  <a:gd name="connsiteY165" fmla="*/ 3802856 h 4575969"/>
                  <a:gd name="connsiteX166" fmla="*/ 6443663 w 8971757"/>
                  <a:gd name="connsiteY166" fmla="*/ 3740944 h 4575969"/>
                  <a:gd name="connsiteX167" fmla="*/ 6477000 w 8971757"/>
                  <a:gd name="connsiteY167" fmla="*/ 3671887 h 4575969"/>
                  <a:gd name="connsiteX168" fmla="*/ 6629400 w 8971757"/>
                  <a:gd name="connsiteY168" fmla="*/ 3564731 h 4575969"/>
                  <a:gd name="connsiteX169" fmla="*/ 6662738 w 8971757"/>
                  <a:gd name="connsiteY169" fmla="*/ 3569494 h 4575969"/>
                  <a:gd name="connsiteX170" fmla="*/ 6715125 w 8971757"/>
                  <a:gd name="connsiteY170" fmla="*/ 3490912 h 4575969"/>
                  <a:gd name="connsiteX171" fmla="*/ 6762750 w 8971757"/>
                  <a:gd name="connsiteY171" fmla="*/ 3452812 h 4575969"/>
                  <a:gd name="connsiteX172" fmla="*/ 6748463 w 8971757"/>
                  <a:gd name="connsiteY172" fmla="*/ 3383756 h 4575969"/>
                  <a:gd name="connsiteX173" fmla="*/ 6698456 w 8971757"/>
                  <a:gd name="connsiteY173" fmla="*/ 3352799 h 4575969"/>
                  <a:gd name="connsiteX174" fmla="*/ 6638925 w 8971757"/>
                  <a:gd name="connsiteY174" fmla="*/ 3298031 h 4575969"/>
                  <a:gd name="connsiteX175" fmla="*/ 6619875 w 8971757"/>
                  <a:gd name="connsiteY175" fmla="*/ 3240881 h 4575969"/>
                  <a:gd name="connsiteX176" fmla="*/ 6584156 w 8971757"/>
                  <a:gd name="connsiteY176" fmla="*/ 3207544 h 4575969"/>
                  <a:gd name="connsiteX177" fmla="*/ 6610350 w 8971757"/>
                  <a:gd name="connsiteY177" fmla="*/ 3155156 h 4575969"/>
                  <a:gd name="connsiteX178" fmla="*/ 6650831 w 8971757"/>
                  <a:gd name="connsiteY178" fmla="*/ 2976562 h 4575969"/>
                  <a:gd name="connsiteX179" fmla="*/ 6691313 w 8971757"/>
                  <a:gd name="connsiteY179" fmla="*/ 2909887 h 4575969"/>
                  <a:gd name="connsiteX180" fmla="*/ 6836569 w 8971757"/>
                  <a:gd name="connsiteY180" fmla="*/ 2893218 h 4575969"/>
                  <a:gd name="connsiteX181" fmla="*/ 6905625 w 8971757"/>
                  <a:gd name="connsiteY181" fmla="*/ 2950369 h 4575969"/>
                  <a:gd name="connsiteX182" fmla="*/ 6981825 w 8971757"/>
                  <a:gd name="connsiteY182" fmla="*/ 2974181 h 4575969"/>
                  <a:gd name="connsiteX183" fmla="*/ 7186612 w 8971757"/>
                  <a:gd name="connsiteY183" fmla="*/ 2978944 h 4575969"/>
                  <a:gd name="connsiteX184" fmla="*/ 7362825 w 8971757"/>
                  <a:gd name="connsiteY184" fmla="*/ 2840831 h 4575969"/>
                  <a:gd name="connsiteX185" fmla="*/ 7419975 w 8971757"/>
                  <a:gd name="connsiteY185" fmla="*/ 2750343 h 4575969"/>
                  <a:gd name="connsiteX186" fmla="*/ 7446169 w 8971757"/>
                  <a:gd name="connsiteY186" fmla="*/ 2667000 h 4575969"/>
                  <a:gd name="connsiteX187" fmla="*/ 7577137 w 8971757"/>
                  <a:gd name="connsiteY187" fmla="*/ 2667000 h 4575969"/>
                  <a:gd name="connsiteX188" fmla="*/ 7750969 w 8971757"/>
                  <a:gd name="connsiteY188" fmla="*/ 2609849 h 4575969"/>
                  <a:gd name="connsiteX189" fmla="*/ 7810500 w 8971757"/>
                  <a:gd name="connsiteY189" fmla="*/ 2497931 h 4575969"/>
                  <a:gd name="connsiteX190" fmla="*/ 7874794 w 8971757"/>
                  <a:gd name="connsiteY190" fmla="*/ 2462212 h 4575969"/>
                  <a:gd name="connsiteX191" fmla="*/ 7853363 w 8971757"/>
                  <a:gd name="connsiteY191" fmla="*/ 2416969 h 4575969"/>
                  <a:gd name="connsiteX192" fmla="*/ 7931944 w 8971757"/>
                  <a:gd name="connsiteY192" fmla="*/ 2247899 h 4575969"/>
                  <a:gd name="connsiteX193" fmla="*/ 7986713 w 8971757"/>
                  <a:gd name="connsiteY193" fmla="*/ 2188369 h 4575969"/>
                  <a:gd name="connsiteX194" fmla="*/ 8024813 w 8971757"/>
                  <a:gd name="connsiteY194" fmla="*/ 2183606 h 4575969"/>
                  <a:gd name="connsiteX195" fmla="*/ 8070056 w 8971757"/>
                  <a:gd name="connsiteY195" fmla="*/ 2188369 h 4575969"/>
                  <a:gd name="connsiteX196" fmla="*/ 8134350 w 8971757"/>
                  <a:gd name="connsiteY196" fmla="*/ 2155031 h 4575969"/>
                  <a:gd name="connsiteX197" fmla="*/ 8143875 w 8971757"/>
                  <a:gd name="connsiteY197" fmla="*/ 2090737 h 4575969"/>
                  <a:gd name="connsiteX198" fmla="*/ 8184355 w 8971757"/>
                  <a:gd name="connsiteY198" fmla="*/ 2055019 h 4575969"/>
                  <a:gd name="connsiteX199" fmla="*/ 8243888 w 8971757"/>
                  <a:gd name="connsiteY199" fmla="*/ 2095499 h 4575969"/>
                  <a:gd name="connsiteX200" fmla="*/ 8270082 w 8971757"/>
                  <a:gd name="connsiteY200" fmla="*/ 2045493 h 4575969"/>
                  <a:gd name="connsiteX201" fmla="*/ 8365331 w 8971757"/>
                  <a:gd name="connsiteY201" fmla="*/ 1976437 h 4575969"/>
                  <a:gd name="connsiteX202" fmla="*/ 8427244 w 8971757"/>
                  <a:gd name="connsiteY202" fmla="*/ 1983581 h 4575969"/>
                  <a:gd name="connsiteX203" fmla="*/ 8477250 w 8971757"/>
                  <a:gd name="connsiteY203" fmla="*/ 1964531 h 4575969"/>
                  <a:gd name="connsiteX204" fmla="*/ 8515350 w 8971757"/>
                  <a:gd name="connsiteY204" fmla="*/ 1935956 h 4575969"/>
                  <a:gd name="connsiteX205" fmla="*/ 8548688 w 8971757"/>
                  <a:gd name="connsiteY205" fmla="*/ 1933575 h 4575969"/>
                  <a:gd name="connsiteX206" fmla="*/ 8584406 w 8971757"/>
                  <a:gd name="connsiteY206" fmla="*/ 1964531 h 4575969"/>
                  <a:gd name="connsiteX207" fmla="*/ 8643938 w 8971757"/>
                  <a:gd name="connsiteY207" fmla="*/ 1964531 h 4575969"/>
                  <a:gd name="connsiteX208" fmla="*/ 8682037 w 8971757"/>
                  <a:gd name="connsiteY208" fmla="*/ 1945481 h 4575969"/>
                  <a:gd name="connsiteX209" fmla="*/ 8765381 w 8971757"/>
                  <a:gd name="connsiteY209" fmla="*/ 1947863 h 4575969"/>
                  <a:gd name="connsiteX210" fmla="*/ 8796338 w 8971757"/>
                  <a:gd name="connsiteY210" fmla="*/ 1902619 h 4575969"/>
                  <a:gd name="connsiteX211" fmla="*/ 8801100 w 8971757"/>
                  <a:gd name="connsiteY211" fmla="*/ 1840706 h 4575969"/>
                  <a:gd name="connsiteX212" fmla="*/ 8751093 w 8971757"/>
                  <a:gd name="connsiteY212" fmla="*/ 1800225 h 4575969"/>
                  <a:gd name="connsiteX213" fmla="*/ 8734425 w 8971757"/>
                  <a:gd name="connsiteY213" fmla="*/ 1745456 h 4575969"/>
                  <a:gd name="connsiteX214" fmla="*/ 8643938 w 8971757"/>
                  <a:gd name="connsiteY214" fmla="*/ 1683544 h 4575969"/>
                  <a:gd name="connsiteX215" fmla="*/ 8603456 w 8971757"/>
                  <a:gd name="connsiteY215" fmla="*/ 1662112 h 4575969"/>
                  <a:gd name="connsiteX216" fmla="*/ 8565356 w 8971757"/>
                  <a:gd name="connsiteY216" fmla="*/ 1616869 h 4575969"/>
                  <a:gd name="connsiteX217" fmla="*/ 8534400 w 8971757"/>
                  <a:gd name="connsiteY217" fmla="*/ 1614487 h 4575969"/>
                  <a:gd name="connsiteX218" fmla="*/ 8517731 w 8971757"/>
                  <a:gd name="connsiteY218" fmla="*/ 1562100 h 4575969"/>
                  <a:gd name="connsiteX219" fmla="*/ 8477250 w 8971757"/>
                  <a:gd name="connsiteY219" fmla="*/ 1545431 h 4575969"/>
                  <a:gd name="connsiteX220" fmla="*/ 8477250 w 8971757"/>
                  <a:gd name="connsiteY220" fmla="*/ 1545431 h 4575969"/>
                  <a:gd name="connsiteX221" fmla="*/ 8436769 w 8971757"/>
                  <a:gd name="connsiteY221" fmla="*/ 1550194 h 4575969"/>
                  <a:gd name="connsiteX222" fmla="*/ 8351043 w 8971757"/>
                  <a:gd name="connsiteY222" fmla="*/ 1476375 h 4575969"/>
                  <a:gd name="connsiteX223" fmla="*/ 8170069 w 8971757"/>
                  <a:gd name="connsiteY223" fmla="*/ 1476374 h 4575969"/>
                  <a:gd name="connsiteX224" fmla="*/ 8117681 w 8971757"/>
                  <a:gd name="connsiteY224" fmla="*/ 1514475 h 4575969"/>
                  <a:gd name="connsiteX225" fmla="*/ 8067675 w 8971757"/>
                  <a:gd name="connsiteY225" fmla="*/ 1593056 h 4575969"/>
                  <a:gd name="connsiteX226" fmla="*/ 8084344 w 8971757"/>
                  <a:gd name="connsiteY226" fmla="*/ 1614487 h 4575969"/>
                  <a:gd name="connsiteX227" fmla="*/ 8039100 w 8971757"/>
                  <a:gd name="connsiteY227" fmla="*/ 1664493 h 4575969"/>
                  <a:gd name="connsiteX228" fmla="*/ 7889081 w 8971757"/>
                  <a:gd name="connsiteY228" fmla="*/ 1588293 h 4575969"/>
                  <a:gd name="connsiteX229" fmla="*/ 7798594 w 8971757"/>
                  <a:gd name="connsiteY229" fmla="*/ 1624012 h 4575969"/>
                  <a:gd name="connsiteX230" fmla="*/ 7724775 w 8971757"/>
                  <a:gd name="connsiteY230" fmla="*/ 1621631 h 4575969"/>
                  <a:gd name="connsiteX231" fmla="*/ 7667625 w 8971757"/>
                  <a:gd name="connsiteY231" fmla="*/ 1716881 h 4575969"/>
                  <a:gd name="connsiteX232" fmla="*/ 7529513 w 8971757"/>
                  <a:gd name="connsiteY23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3052763 w 8971757"/>
                  <a:gd name="connsiteY79" fmla="*/ 273844 h 4575969"/>
                  <a:gd name="connsiteX80" fmla="*/ 8412956 w 8971757"/>
                  <a:gd name="connsiteY80" fmla="*/ 23812 h 4575969"/>
                  <a:gd name="connsiteX81" fmla="*/ 8949531 w 8971757"/>
                  <a:gd name="connsiteY81" fmla="*/ 0 h 4575969"/>
                  <a:gd name="connsiteX82" fmla="*/ 8971757 w 8971757"/>
                  <a:gd name="connsiteY82" fmla="*/ 4575969 h 4575969"/>
                  <a:gd name="connsiteX83" fmla="*/ 2381 w 8971757"/>
                  <a:gd name="connsiteY83" fmla="*/ 4547392 h 4575969"/>
                  <a:gd name="connsiteX84" fmla="*/ 0 w 8971757"/>
                  <a:gd name="connsiteY84" fmla="*/ 845344 h 4575969"/>
                  <a:gd name="connsiteX85" fmla="*/ 76200 w 8971757"/>
                  <a:gd name="connsiteY85" fmla="*/ 828675 h 4575969"/>
                  <a:gd name="connsiteX86" fmla="*/ 119063 w 8971757"/>
                  <a:gd name="connsiteY86" fmla="*/ 857250 h 4575969"/>
                  <a:gd name="connsiteX87" fmla="*/ 215900 w 8971757"/>
                  <a:gd name="connsiteY87" fmla="*/ 848519 h 4575969"/>
                  <a:gd name="connsiteX88" fmla="*/ 261938 w 8971757"/>
                  <a:gd name="connsiteY88" fmla="*/ 876299 h 4575969"/>
                  <a:gd name="connsiteX89" fmla="*/ 228600 w 8971757"/>
                  <a:gd name="connsiteY89" fmla="*/ 904875 h 4575969"/>
                  <a:gd name="connsiteX90" fmla="*/ 233363 w 8971757"/>
                  <a:gd name="connsiteY90" fmla="*/ 947737 h 4575969"/>
                  <a:gd name="connsiteX91" fmla="*/ 200025 w 8971757"/>
                  <a:gd name="connsiteY91" fmla="*/ 952500 h 4575969"/>
                  <a:gd name="connsiteX92" fmla="*/ 204788 w 8971757"/>
                  <a:gd name="connsiteY92" fmla="*/ 976312 h 4575969"/>
                  <a:gd name="connsiteX93" fmla="*/ 261937 w 8971757"/>
                  <a:gd name="connsiteY93" fmla="*/ 1050131 h 4575969"/>
                  <a:gd name="connsiteX94" fmla="*/ 223838 w 8971757"/>
                  <a:gd name="connsiteY94" fmla="*/ 1097756 h 4575969"/>
                  <a:gd name="connsiteX95" fmla="*/ 278606 w 8971757"/>
                  <a:gd name="connsiteY95" fmla="*/ 1133475 h 4575969"/>
                  <a:gd name="connsiteX96" fmla="*/ 369094 w 8971757"/>
                  <a:gd name="connsiteY96" fmla="*/ 1221581 h 4575969"/>
                  <a:gd name="connsiteX97" fmla="*/ 371475 w 8971757"/>
                  <a:gd name="connsiteY97" fmla="*/ 1281112 h 4575969"/>
                  <a:gd name="connsiteX98" fmla="*/ 507206 w 8971757"/>
                  <a:gd name="connsiteY98" fmla="*/ 1414463 h 4575969"/>
                  <a:gd name="connsiteX99" fmla="*/ 561975 w 8971757"/>
                  <a:gd name="connsiteY99" fmla="*/ 1390650 h 4575969"/>
                  <a:gd name="connsiteX100" fmla="*/ 600075 w 8971757"/>
                  <a:gd name="connsiteY100" fmla="*/ 1416843 h 4575969"/>
                  <a:gd name="connsiteX101" fmla="*/ 614363 w 8971757"/>
                  <a:gd name="connsiteY101" fmla="*/ 1466849 h 4575969"/>
                  <a:gd name="connsiteX102" fmla="*/ 657225 w 8971757"/>
                  <a:gd name="connsiteY102" fmla="*/ 1502569 h 4575969"/>
                  <a:gd name="connsiteX103" fmla="*/ 697706 w 8971757"/>
                  <a:gd name="connsiteY103" fmla="*/ 1490662 h 4575969"/>
                  <a:gd name="connsiteX104" fmla="*/ 716756 w 8971757"/>
                  <a:gd name="connsiteY104" fmla="*/ 1547812 h 4575969"/>
                  <a:gd name="connsiteX105" fmla="*/ 764381 w 8971757"/>
                  <a:gd name="connsiteY105" fmla="*/ 1590675 h 4575969"/>
                  <a:gd name="connsiteX106" fmla="*/ 788194 w 8971757"/>
                  <a:gd name="connsiteY106" fmla="*/ 1693069 h 4575969"/>
                  <a:gd name="connsiteX107" fmla="*/ 785813 w 8971757"/>
                  <a:gd name="connsiteY107" fmla="*/ 1740694 h 4575969"/>
                  <a:gd name="connsiteX108" fmla="*/ 821531 w 8971757"/>
                  <a:gd name="connsiteY108" fmla="*/ 1840706 h 4575969"/>
                  <a:gd name="connsiteX109" fmla="*/ 866775 w 8971757"/>
                  <a:gd name="connsiteY109" fmla="*/ 1897856 h 4575969"/>
                  <a:gd name="connsiteX110" fmla="*/ 883443 w 8971757"/>
                  <a:gd name="connsiteY110" fmla="*/ 2055018 h 4575969"/>
                  <a:gd name="connsiteX111" fmla="*/ 850106 w 8971757"/>
                  <a:gd name="connsiteY111" fmla="*/ 2116931 h 4575969"/>
                  <a:gd name="connsiteX112" fmla="*/ 819150 w 8971757"/>
                  <a:gd name="connsiteY112" fmla="*/ 2193131 h 4575969"/>
                  <a:gd name="connsiteX113" fmla="*/ 833438 w 8971757"/>
                  <a:gd name="connsiteY113" fmla="*/ 2250281 h 4575969"/>
                  <a:gd name="connsiteX114" fmla="*/ 735806 w 8971757"/>
                  <a:gd name="connsiteY114" fmla="*/ 2357438 h 4575969"/>
                  <a:gd name="connsiteX115" fmla="*/ 692944 w 8971757"/>
                  <a:gd name="connsiteY115" fmla="*/ 2471737 h 4575969"/>
                  <a:gd name="connsiteX116" fmla="*/ 726281 w 8971757"/>
                  <a:gd name="connsiteY116" fmla="*/ 2512219 h 4575969"/>
                  <a:gd name="connsiteX117" fmla="*/ 709613 w 8971757"/>
                  <a:gd name="connsiteY117" fmla="*/ 2540794 h 4575969"/>
                  <a:gd name="connsiteX118" fmla="*/ 740569 w 8971757"/>
                  <a:gd name="connsiteY118" fmla="*/ 2597944 h 4575969"/>
                  <a:gd name="connsiteX119" fmla="*/ 769144 w 8971757"/>
                  <a:gd name="connsiteY119" fmla="*/ 2597944 h 4575969"/>
                  <a:gd name="connsiteX120" fmla="*/ 931069 w 8971757"/>
                  <a:gd name="connsiteY120" fmla="*/ 2700337 h 4575969"/>
                  <a:gd name="connsiteX121" fmla="*/ 1035844 w 8971757"/>
                  <a:gd name="connsiteY121" fmla="*/ 2697956 h 4575969"/>
                  <a:gd name="connsiteX122" fmla="*/ 1114425 w 8971757"/>
                  <a:gd name="connsiteY122" fmla="*/ 2752725 h 4575969"/>
                  <a:gd name="connsiteX123" fmla="*/ 1245393 w 8971757"/>
                  <a:gd name="connsiteY123" fmla="*/ 2755106 h 4575969"/>
                  <a:gd name="connsiteX124" fmla="*/ 1435893 w 8971757"/>
                  <a:gd name="connsiteY124" fmla="*/ 2824162 h 4575969"/>
                  <a:gd name="connsiteX125" fmla="*/ 1638300 w 8971757"/>
                  <a:gd name="connsiteY125" fmla="*/ 2974181 h 4575969"/>
                  <a:gd name="connsiteX126" fmla="*/ 1671637 w 8971757"/>
                  <a:gd name="connsiteY126" fmla="*/ 3040856 h 4575969"/>
                  <a:gd name="connsiteX127" fmla="*/ 1838325 w 8971757"/>
                  <a:gd name="connsiteY127" fmla="*/ 3167062 h 4575969"/>
                  <a:gd name="connsiteX128" fmla="*/ 1909763 w 8971757"/>
                  <a:gd name="connsiteY128" fmla="*/ 3162300 h 4575969"/>
                  <a:gd name="connsiteX129" fmla="*/ 1945482 w 8971757"/>
                  <a:gd name="connsiteY129" fmla="*/ 3186112 h 4575969"/>
                  <a:gd name="connsiteX130" fmla="*/ 1916906 w 8971757"/>
                  <a:gd name="connsiteY130" fmla="*/ 3226594 h 4575969"/>
                  <a:gd name="connsiteX131" fmla="*/ 1924050 w 8971757"/>
                  <a:gd name="connsiteY131" fmla="*/ 3278981 h 4575969"/>
                  <a:gd name="connsiteX132" fmla="*/ 1976438 w 8971757"/>
                  <a:gd name="connsiteY132" fmla="*/ 3305175 h 4575969"/>
                  <a:gd name="connsiteX133" fmla="*/ 2038350 w 8971757"/>
                  <a:gd name="connsiteY133" fmla="*/ 3529013 h 4575969"/>
                  <a:gd name="connsiteX134" fmla="*/ 2028825 w 8971757"/>
                  <a:gd name="connsiteY134" fmla="*/ 3593306 h 4575969"/>
                  <a:gd name="connsiteX135" fmla="*/ 2164556 w 8971757"/>
                  <a:gd name="connsiteY135" fmla="*/ 3759994 h 4575969"/>
                  <a:gd name="connsiteX136" fmla="*/ 2183606 w 8971757"/>
                  <a:gd name="connsiteY136" fmla="*/ 3810000 h 4575969"/>
                  <a:gd name="connsiteX137" fmla="*/ 2157413 w 8971757"/>
                  <a:gd name="connsiteY137" fmla="*/ 3829050 h 4575969"/>
                  <a:gd name="connsiteX138" fmla="*/ 2259806 w 8971757"/>
                  <a:gd name="connsiteY138" fmla="*/ 3838575 h 4575969"/>
                  <a:gd name="connsiteX139" fmla="*/ 2371725 w 8971757"/>
                  <a:gd name="connsiteY139" fmla="*/ 3826669 h 4575969"/>
                  <a:gd name="connsiteX140" fmla="*/ 2650331 w 8971757"/>
                  <a:gd name="connsiteY140" fmla="*/ 3910012 h 4575969"/>
                  <a:gd name="connsiteX141" fmla="*/ 3057525 w 8971757"/>
                  <a:gd name="connsiteY141" fmla="*/ 3990975 h 4575969"/>
                  <a:gd name="connsiteX142" fmla="*/ 3255169 w 8971757"/>
                  <a:gd name="connsiteY142" fmla="*/ 3960018 h 4575969"/>
                  <a:gd name="connsiteX143" fmla="*/ 3300413 w 8971757"/>
                  <a:gd name="connsiteY143" fmla="*/ 3971924 h 4575969"/>
                  <a:gd name="connsiteX144" fmla="*/ 3355181 w 8971757"/>
                  <a:gd name="connsiteY144" fmla="*/ 3948113 h 4575969"/>
                  <a:gd name="connsiteX145" fmla="*/ 3748087 w 8971757"/>
                  <a:gd name="connsiteY145" fmla="*/ 4038600 h 4575969"/>
                  <a:gd name="connsiteX146" fmla="*/ 3831432 w 8971757"/>
                  <a:gd name="connsiteY146" fmla="*/ 4136231 h 4575969"/>
                  <a:gd name="connsiteX147" fmla="*/ 3950494 w 8971757"/>
                  <a:gd name="connsiteY147" fmla="*/ 4207669 h 4575969"/>
                  <a:gd name="connsiteX148" fmla="*/ 4010025 w 8971757"/>
                  <a:gd name="connsiteY148" fmla="*/ 4191000 h 4575969"/>
                  <a:gd name="connsiteX149" fmla="*/ 4360068 w 8971757"/>
                  <a:gd name="connsiteY149" fmla="*/ 4364831 h 4575969"/>
                  <a:gd name="connsiteX150" fmla="*/ 4586288 w 8971757"/>
                  <a:gd name="connsiteY150" fmla="*/ 4336256 h 4575969"/>
                  <a:gd name="connsiteX151" fmla="*/ 4595813 w 8971757"/>
                  <a:gd name="connsiteY151" fmla="*/ 4414837 h 4575969"/>
                  <a:gd name="connsiteX152" fmla="*/ 4681538 w 8971757"/>
                  <a:gd name="connsiteY152" fmla="*/ 4410074 h 4575969"/>
                  <a:gd name="connsiteX153" fmla="*/ 4760119 w 8971757"/>
                  <a:gd name="connsiteY153" fmla="*/ 4441031 h 4575969"/>
                  <a:gd name="connsiteX154" fmla="*/ 4802981 w 8971757"/>
                  <a:gd name="connsiteY154" fmla="*/ 4381500 h 4575969"/>
                  <a:gd name="connsiteX155" fmla="*/ 5474494 w 8971757"/>
                  <a:gd name="connsiteY155" fmla="*/ 4062412 h 4575969"/>
                  <a:gd name="connsiteX156" fmla="*/ 5562600 w 8971757"/>
                  <a:gd name="connsiteY156" fmla="*/ 4090988 h 4575969"/>
                  <a:gd name="connsiteX157" fmla="*/ 5693569 w 8971757"/>
                  <a:gd name="connsiteY157" fmla="*/ 4062412 h 4575969"/>
                  <a:gd name="connsiteX158" fmla="*/ 5872162 w 8971757"/>
                  <a:gd name="connsiteY158" fmla="*/ 4079081 h 4575969"/>
                  <a:gd name="connsiteX159" fmla="*/ 5929313 w 8971757"/>
                  <a:gd name="connsiteY159" fmla="*/ 4052888 h 4575969"/>
                  <a:gd name="connsiteX160" fmla="*/ 6062662 w 8971757"/>
                  <a:gd name="connsiteY160" fmla="*/ 4050506 h 4575969"/>
                  <a:gd name="connsiteX161" fmla="*/ 6196012 w 8971757"/>
                  <a:gd name="connsiteY161" fmla="*/ 3952875 h 4575969"/>
                  <a:gd name="connsiteX162" fmla="*/ 6262687 w 8971757"/>
                  <a:gd name="connsiteY162" fmla="*/ 3945731 h 4575969"/>
                  <a:gd name="connsiteX163" fmla="*/ 6360319 w 8971757"/>
                  <a:gd name="connsiteY163" fmla="*/ 3871912 h 4575969"/>
                  <a:gd name="connsiteX164" fmla="*/ 6434138 w 8971757"/>
                  <a:gd name="connsiteY164" fmla="*/ 3802856 h 4575969"/>
                  <a:gd name="connsiteX165" fmla="*/ 6443663 w 8971757"/>
                  <a:gd name="connsiteY165" fmla="*/ 3740944 h 4575969"/>
                  <a:gd name="connsiteX166" fmla="*/ 6477000 w 8971757"/>
                  <a:gd name="connsiteY166" fmla="*/ 3671887 h 4575969"/>
                  <a:gd name="connsiteX167" fmla="*/ 6629400 w 8971757"/>
                  <a:gd name="connsiteY167" fmla="*/ 3564731 h 4575969"/>
                  <a:gd name="connsiteX168" fmla="*/ 6662738 w 8971757"/>
                  <a:gd name="connsiteY168" fmla="*/ 3569494 h 4575969"/>
                  <a:gd name="connsiteX169" fmla="*/ 6715125 w 8971757"/>
                  <a:gd name="connsiteY169" fmla="*/ 3490912 h 4575969"/>
                  <a:gd name="connsiteX170" fmla="*/ 6762750 w 8971757"/>
                  <a:gd name="connsiteY170" fmla="*/ 3452812 h 4575969"/>
                  <a:gd name="connsiteX171" fmla="*/ 6748463 w 8971757"/>
                  <a:gd name="connsiteY171" fmla="*/ 3383756 h 4575969"/>
                  <a:gd name="connsiteX172" fmla="*/ 6698456 w 8971757"/>
                  <a:gd name="connsiteY172" fmla="*/ 3352799 h 4575969"/>
                  <a:gd name="connsiteX173" fmla="*/ 6638925 w 8971757"/>
                  <a:gd name="connsiteY173" fmla="*/ 3298031 h 4575969"/>
                  <a:gd name="connsiteX174" fmla="*/ 6619875 w 8971757"/>
                  <a:gd name="connsiteY174" fmla="*/ 3240881 h 4575969"/>
                  <a:gd name="connsiteX175" fmla="*/ 6584156 w 8971757"/>
                  <a:gd name="connsiteY175" fmla="*/ 3207544 h 4575969"/>
                  <a:gd name="connsiteX176" fmla="*/ 6610350 w 8971757"/>
                  <a:gd name="connsiteY176" fmla="*/ 3155156 h 4575969"/>
                  <a:gd name="connsiteX177" fmla="*/ 6650831 w 8971757"/>
                  <a:gd name="connsiteY177" fmla="*/ 2976562 h 4575969"/>
                  <a:gd name="connsiteX178" fmla="*/ 6691313 w 8971757"/>
                  <a:gd name="connsiteY178" fmla="*/ 2909887 h 4575969"/>
                  <a:gd name="connsiteX179" fmla="*/ 6836569 w 8971757"/>
                  <a:gd name="connsiteY179" fmla="*/ 2893218 h 4575969"/>
                  <a:gd name="connsiteX180" fmla="*/ 6905625 w 8971757"/>
                  <a:gd name="connsiteY180" fmla="*/ 2950369 h 4575969"/>
                  <a:gd name="connsiteX181" fmla="*/ 6981825 w 8971757"/>
                  <a:gd name="connsiteY181" fmla="*/ 2974181 h 4575969"/>
                  <a:gd name="connsiteX182" fmla="*/ 7186612 w 8971757"/>
                  <a:gd name="connsiteY182" fmla="*/ 2978944 h 4575969"/>
                  <a:gd name="connsiteX183" fmla="*/ 7362825 w 8971757"/>
                  <a:gd name="connsiteY183" fmla="*/ 2840831 h 4575969"/>
                  <a:gd name="connsiteX184" fmla="*/ 7419975 w 8971757"/>
                  <a:gd name="connsiteY184" fmla="*/ 2750343 h 4575969"/>
                  <a:gd name="connsiteX185" fmla="*/ 7446169 w 8971757"/>
                  <a:gd name="connsiteY185" fmla="*/ 2667000 h 4575969"/>
                  <a:gd name="connsiteX186" fmla="*/ 7577137 w 8971757"/>
                  <a:gd name="connsiteY186" fmla="*/ 2667000 h 4575969"/>
                  <a:gd name="connsiteX187" fmla="*/ 7750969 w 8971757"/>
                  <a:gd name="connsiteY187" fmla="*/ 2609849 h 4575969"/>
                  <a:gd name="connsiteX188" fmla="*/ 7810500 w 8971757"/>
                  <a:gd name="connsiteY188" fmla="*/ 2497931 h 4575969"/>
                  <a:gd name="connsiteX189" fmla="*/ 7874794 w 8971757"/>
                  <a:gd name="connsiteY189" fmla="*/ 2462212 h 4575969"/>
                  <a:gd name="connsiteX190" fmla="*/ 7853363 w 8971757"/>
                  <a:gd name="connsiteY190" fmla="*/ 2416969 h 4575969"/>
                  <a:gd name="connsiteX191" fmla="*/ 7931944 w 8971757"/>
                  <a:gd name="connsiteY191" fmla="*/ 2247899 h 4575969"/>
                  <a:gd name="connsiteX192" fmla="*/ 7986713 w 8971757"/>
                  <a:gd name="connsiteY192" fmla="*/ 2188369 h 4575969"/>
                  <a:gd name="connsiteX193" fmla="*/ 8024813 w 8971757"/>
                  <a:gd name="connsiteY193" fmla="*/ 2183606 h 4575969"/>
                  <a:gd name="connsiteX194" fmla="*/ 8070056 w 8971757"/>
                  <a:gd name="connsiteY194" fmla="*/ 2188369 h 4575969"/>
                  <a:gd name="connsiteX195" fmla="*/ 8134350 w 8971757"/>
                  <a:gd name="connsiteY195" fmla="*/ 2155031 h 4575969"/>
                  <a:gd name="connsiteX196" fmla="*/ 8143875 w 8971757"/>
                  <a:gd name="connsiteY196" fmla="*/ 2090737 h 4575969"/>
                  <a:gd name="connsiteX197" fmla="*/ 8184355 w 8971757"/>
                  <a:gd name="connsiteY197" fmla="*/ 2055019 h 4575969"/>
                  <a:gd name="connsiteX198" fmla="*/ 8243888 w 8971757"/>
                  <a:gd name="connsiteY198" fmla="*/ 2095499 h 4575969"/>
                  <a:gd name="connsiteX199" fmla="*/ 8270082 w 8971757"/>
                  <a:gd name="connsiteY199" fmla="*/ 2045493 h 4575969"/>
                  <a:gd name="connsiteX200" fmla="*/ 8365331 w 8971757"/>
                  <a:gd name="connsiteY200" fmla="*/ 1976437 h 4575969"/>
                  <a:gd name="connsiteX201" fmla="*/ 8427244 w 8971757"/>
                  <a:gd name="connsiteY201" fmla="*/ 1983581 h 4575969"/>
                  <a:gd name="connsiteX202" fmla="*/ 8477250 w 8971757"/>
                  <a:gd name="connsiteY202" fmla="*/ 1964531 h 4575969"/>
                  <a:gd name="connsiteX203" fmla="*/ 8515350 w 8971757"/>
                  <a:gd name="connsiteY203" fmla="*/ 1935956 h 4575969"/>
                  <a:gd name="connsiteX204" fmla="*/ 8548688 w 8971757"/>
                  <a:gd name="connsiteY204" fmla="*/ 1933575 h 4575969"/>
                  <a:gd name="connsiteX205" fmla="*/ 8584406 w 8971757"/>
                  <a:gd name="connsiteY205" fmla="*/ 1964531 h 4575969"/>
                  <a:gd name="connsiteX206" fmla="*/ 8643938 w 8971757"/>
                  <a:gd name="connsiteY206" fmla="*/ 1964531 h 4575969"/>
                  <a:gd name="connsiteX207" fmla="*/ 8682037 w 8971757"/>
                  <a:gd name="connsiteY207" fmla="*/ 1945481 h 4575969"/>
                  <a:gd name="connsiteX208" fmla="*/ 8765381 w 8971757"/>
                  <a:gd name="connsiteY208" fmla="*/ 1947863 h 4575969"/>
                  <a:gd name="connsiteX209" fmla="*/ 8796338 w 8971757"/>
                  <a:gd name="connsiteY209" fmla="*/ 1902619 h 4575969"/>
                  <a:gd name="connsiteX210" fmla="*/ 8801100 w 8971757"/>
                  <a:gd name="connsiteY210" fmla="*/ 1840706 h 4575969"/>
                  <a:gd name="connsiteX211" fmla="*/ 8751093 w 8971757"/>
                  <a:gd name="connsiteY211" fmla="*/ 1800225 h 4575969"/>
                  <a:gd name="connsiteX212" fmla="*/ 8734425 w 8971757"/>
                  <a:gd name="connsiteY212" fmla="*/ 1745456 h 4575969"/>
                  <a:gd name="connsiteX213" fmla="*/ 8643938 w 8971757"/>
                  <a:gd name="connsiteY213" fmla="*/ 1683544 h 4575969"/>
                  <a:gd name="connsiteX214" fmla="*/ 8603456 w 8971757"/>
                  <a:gd name="connsiteY214" fmla="*/ 1662112 h 4575969"/>
                  <a:gd name="connsiteX215" fmla="*/ 8565356 w 8971757"/>
                  <a:gd name="connsiteY215" fmla="*/ 1616869 h 4575969"/>
                  <a:gd name="connsiteX216" fmla="*/ 8534400 w 8971757"/>
                  <a:gd name="connsiteY216" fmla="*/ 1614487 h 4575969"/>
                  <a:gd name="connsiteX217" fmla="*/ 8517731 w 8971757"/>
                  <a:gd name="connsiteY217" fmla="*/ 1562100 h 4575969"/>
                  <a:gd name="connsiteX218" fmla="*/ 8477250 w 8971757"/>
                  <a:gd name="connsiteY218" fmla="*/ 1545431 h 4575969"/>
                  <a:gd name="connsiteX219" fmla="*/ 8477250 w 8971757"/>
                  <a:gd name="connsiteY219" fmla="*/ 1545431 h 4575969"/>
                  <a:gd name="connsiteX220" fmla="*/ 8436769 w 8971757"/>
                  <a:gd name="connsiteY220" fmla="*/ 1550194 h 4575969"/>
                  <a:gd name="connsiteX221" fmla="*/ 8351043 w 8971757"/>
                  <a:gd name="connsiteY221" fmla="*/ 1476375 h 4575969"/>
                  <a:gd name="connsiteX222" fmla="*/ 8170069 w 8971757"/>
                  <a:gd name="connsiteY222" fmla="*/ 1476374 h 4575969"/>
                  <a:gd name="connsiteX223" fmla="*/ 8117681 w 8971757"/>
                  <a:gd name="connsiteY223" fmla="*/ 1514475 h 4575969"/>
                  <a:gd name="connsiteX224" fmla="*/ 8067675 w 8971757"/>
                  <a:gd name="connsiteY224" fmla="*/ 1593056 h 4575969"/>
                  <a:gd name="connsiteX225" fmla="*/ 8084344 w 8971757"/>
                  <a:gd name="connsiteY225" fmla="*/ 1614487 h 4575969"/>
                  <a:gd name="connsiteX226" fmla="*/ 8039100 w 8971757"/>
                  <a:gd name="connsiteY226" fmla="*/ 1664493 h 4575969"/>
                  <a:gd name="connsiteX227" fmla="*/ 7889081 w 8971757"/>
                  <a:gd name="connsiteY227" fmla="*/ 1588293 h 4575969"/>
                  <a:gd name="connsiteX228" fmla="*/ 7798594 w 8971757"/>
                  <a:gd name="connsiteY228" fmla="*/ 1624012 h 4575969"/>
                  <a:gd name="connsiteX229" fmla="*/ 7724775 w 8971757"/>
                  <a:gd name="connsiteY229" fmla="*/ 1621631 h 4575969"/>
                  <a:gd name="connsiteX230" fmla="*/ 7667625 w 8971757"/>
                  <a:gd name="connsiteY230" fmla="*/ 1716881 h 4575969"/>
                  <a:gd name="connsiteX231" fmla="*/ 7529513 w 8971757"/>
                  <a:gd name="connsiteY23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3083719 w 8971757"/>
                  <a:gd name="connsiteY78" fmla="*/ 280987 h 4575969"/>
                  <a:gd name="connsiteX79" fmla="*/ 8412956 w 8971757"/>
                  <a:gd name="connsiteY79" fmla="*/ 23812 h 4575969"/>
                  <a:gd name="connsiteX80" fmla="*/ 8949531 w 8971757"/>
                  <a:gd name="connsiteY80" fmla="*/ 0 h 4575969"/>
                  <a:gd name="connsiteX81" fmla="*/ 8971757 w 8971757"/>
                  <a:gd name="connsiteY81" fmla="*/ 4575969 h 4575969"/>
                  <a:gd name="connsiteX82" fmla="*/ 2381 w 8971757"/>
                  <a:gd name="connsiteY82" fmla="*/ 4547392 h 4575969"/>
                  <a:gd name="connsiteX83" fmla="*/ 0 w 8971757"/>
                  <a:gd name="connsiteY83" fmla="*/ 845344 h 4575969"/>
                  <a:gd name="connsiteX84" fmla="*/ 76200 w 8971757"/>
                  <a:gd name="connsiteY84" fmla="*/ 828675 h 4575969"/>
                  <a:gd name="connsiteX85" fmla="*/ 119063 w 8971757"/>
                  <a:gd name="connsiteY85" fmla="*/ 857250 h 4575969"/>
                  <a:gd name="connsiteX86" fmla="*/ 215900 w 8971757"/>
                  <a:gd name="connsiteY86" fmla="*/ 848519 h 4575969"/>
                  <a:gd name="connsiteX87" fmla="*/ 261938 w 8971757"/>
                  <a:gd name="connsiteY87" fmla="*/ 876299 h 4575969"/>
                  <a:gd name="connsiteX88" fmla="*/ 228600 w 8971757"/>
                  <a:gd name="connsiteY88" fmla="*/ 904875 h 4575969"/>
                  <a:gd name="connsiteX89" fmla="*/ 233363 w 8971757"/>
                  <a:gd name="connsiteY89" fmla="*/ 947737 h 4575969"/>
                  <a:gd name="connsiteX90" fmla="*/ 200025 w 8971757"/>
                  <a:gd name="connsiteY90" fmla="*/ 952500 h 4575969"/>
                  <a:gd name="connsiteX91" fmla="*/ 204788 w 8971757"/>
                  <a:gd name="connsiteY91" fmla="*/ 976312 h 4575969"/>
                  <a:gd name="connsiteX92" fmla="*/ 261937 w 8971757"/>
                  <a:gd name="connsiteY92" fmla="*/ 1050131 h 4575969"/>
                  <a:gd name="connsiteX93" fmla="*/ 223838 w 8971757"/>
                  <a:gd name="connsiteY93" fmla="*/ 1097756 h 4575969"/>
                  <a:gd name="connsiteX94" fmla="*/ 278606 w 8971757"/>
                  <a:gd name="connsiteY94" fmla="*/ 1133475 h 4575969"/>
                  <a:gd name="connsiteX95" fmla="*/ 369094 w 8971757"/>
                  <a:gd name="connsiteY95" fmla="*/ 1221581 h 4575969"/>
                  <a:gd name="connsiteX96" fmla="*/ 371475 w 8971757"/>
                  <a:gd name="connsiteY96" fmla="*/ 1281112 h 4575969"/>
                  <a:gd name="connsiteX97" fmla="*/ 507206 w 8971757"/>
                  <a:gd name="connsiteY97" fmla="*/ 1414463 h 4575969"/>
                  <a:gd name="connsiteX98" fmla="*/ 561975 w 8971757"/>
                  <a:gd name="connsiteY98" fmla="*/ 1390650 h 4575969"/>
                  <a:gd name="connsiteX99" fmla="*/ 600075 w 8971757"/>
                  <a:gd name="connsiteY99" fmla="*/ 1416843 h 4575969"/>
                  <a:gd name="connsiteX100" fmla="*/ 614363 w 8971757"/>
                  <a:gd name="connsiteY100" fmla="*/ 1466849 h 4575969"/>
                  <a:gd name="connsiteX101" fmla="*/ 657225 w 8971757"/>
                  <a:gd name="connsiteY101" fmla="*/ 1502569 h 4575969"/>
                  <a:gd name="connsiteX102" fmla="*/ 697706 w 8971757"/>
                  <a:gd name="connsiteY102" fmla="*/ 1490662 h 4575969"/>
                  <a:gd name="connsiteX103" fmla="*/ 716756 w 8971757"/>
                  <a:gd name="connsiteY103" fmla="*/ 1547812 h 4575969"/>
                  <a:gd name="connsiteX104" fmla="*/ 764381 w 8971757"/>
                  <a:gd name="connsiteY104" fmla="*/ 1590675 h 4575969"/>
                  <a:gd name="connsiteX105" fmla="*/ 788194 w 8971757"/>
                  <a:gd name="connsiteY105" fmla="*/ 1693069 h 4575969"/>
                  <a:gd name="connsiteX106" fmla="*/ 785813 w 8971757"/>
                  <a:gd name="connsiteY106" fmla="*/ 1740694 h 4575969"/>
                  <a:gd name="connsiteX107" fmla="*/ 821531 w 8971757"/>
                  <a:gd name="connsiteY107" fmla="*/ 1840706 h 4575969"/>
                  <a:gd name="connsiteX108" fmla="*/ 866775 w 8971757"/>
                  <a:gd name="connsiteY108" fmla="*/ 1897856 h 4575969"/>
                  <a:gd name="connsiteX109" fmla="*/ 883443 w 8971757"/>
                  <a:gd name="connsiteY109" fmla="*/ 2055018 h 4575969"/>
                  <a:gd name="connsiteX110" fmla="*/ 850106 w 8971757"/>
                  <a:gd name="connsiteY110" fmla="*/ 2116931 h 4575969"/>
                  <a:gd name="connsiteX111" fmla="*/ 819150 w 8971757"/>
                  <a:gd name="connsiteY111" fmla="*/ 2193131 h 4575969"/>
                  <a:gd name="connsiteX112" fmla="*/ 833438 w 8971757"/>
                  <a:gd name="connsiteY112" fmla="*/ 2250281 h 4575969"/>
                  <a:gd name="connsiteX113" fmla="*/ 735806 w 8971757"/>
                  <a:gd name="connsiteY113" fmla="*/ 2357438 h 4575969"/>
                  <a:gd name="connsiteX114" fmla="*/ 692944 w 8971757"/>
                  <a:gd name="connsiteY114" fmla="*/ 2471737 h 4575969"/>
                  <a:gd name="connsiteX115" fmla="*/ 726281 w 8971757"/>
                  <a:gd name="connsiteY115" fmla="*/ 2512219 h 4575969"/>
                  <a:gd name="connsiteX116" fmla="*/ 709613 w 8971757"/>
                  <a:gd name="connsiteY116" fmla="*/ 2540794 h 4575969"/>
                  <a:gd name="connsiteX117" fmla="*/ 740569 w 8971757"/>
                  <a:gd name="connsiteY117" fmla="*/ 2597944 h 4575969"/>
                  <a:gd name="connsiteX118" fmla="*/ 769144 w 8971757"/>
                  <a:gd name="connsiteY118" fmla="*/ 2597944 h 4575969"/>
                  <a:gd name="connsiteX119" fmla="*/ 931069 w 8971757"/>
                  <a:gd name="connsiteY119" fmla="*/ 2700337 h 4575969"/>
                  <a:gd name="connsiteX120" fmla="*/ 1035844 w 8971757"/>
                  <a:gd name="connsiteY120" fmla="*/ 2697956 h 4575969"/>
                  <a:gd name="connsiteX121" fmla="*/ 1114425 w 8971757"/>
                  <a:gd name="connsiteY121" fmla="*/ 2752725 h 4575969"/>
                  <a:gd name="connsiteX122" fmla="*/ 1245393 w 8971757"/>
                  <a:gd name="connsiteY122" fmla="*/ 2755106 h 4575969"/>
                  <a:gd name="connsiteX123" fmla="*/ 1435893 w 8971757"/>
                  <a:gd name="connsiteY123" fmla="*/ 2824162 h 4575969"/>
                  <a:gd name="connsiteX124" fmla="*/ 1638300 w 8971757"/>
                  <a:gd name="connsiteY124" fmla="*/ 2974181 h 4575969"/>
                  <a:gd name="connsiteX125" fmla="*/ 1671637 w 8971757"/>
                  <a:gd name="connsiteY125" fmla="*/ 3040856 h 4575969"/>
                  <a:gd name="connsiteX126" fmla="*/ 1838325 w 8971757"/>
                  <a:gd name="connsiteY126" fmla="*/ 3167062 h 4575969"/>
                  <a:gd name="connsiteX127" fmla="*/ 1909763 w 8971757"/>
                  <a:gd name="connsiteY127" fmla="*/ 3162300 h 4575969"/>
                  <a:gd name="connsiteX128" fmla="*/ 1945482 w 8971757"/>
                  <a:gd name="connsiteY128" fmla="*/ 3186112 h 4575969"/>
                  <a:gd name="connsiteX129" fmla="*/ 1916906 w 8971757"/>
                  <a:gd name="connsiteY129" fmla="*/ 3226594 h 4575969"/>
                  <a:gd name="connsiteX130" fmla="*/ 1924050 w 8971757"/>
                  <a:gd name="connsiteY130" fmla="*/ 3278981 h 4575969"/>
                  <a:gd name="connsiteX131" fmla="*/ 1976438 w 8971757"/>
                  <a:gd name="connsiteY131" fmla="*/ 3305175 h 4575969"/>
                  <a:gd name="connsiteX132" fmla="*/ 2038350 w 8971757"/>
                  <a:gd name="connsiteY132" fmla="*/ 3529013 h 4575969"/>
                  <a:gd name="connsiteX133" fmla="*/ 2028825 w 8971757"/>
                  <a:gd name="connsiteY133" fmla="*/ 3593306 h 4575969"/>
                  <a:gd name="connsiteX134" fmla="*/ 2164556 w 8971757"/>
                  <a:gd name="connsiteY134" fmla="*/ 3759994 h 4575969"/>
                  <a:gd name="connsiteX135" fmla="*/ 2183606 w 8971757"/>
                  <a:gd name="connsiteY135" fmla="*/ 3810000 h 4575969"/>
                  <a:gd name="connsiteX136" fmla="*/ 2157413 w 8971757"/>
                  <a:gd name="connsiteY136" fmla="*/ 3829050 h 4575969"/>
                  <a:gd name="connsiteX137" fmla="*/ 2259806 w 8971757"/>
                  <a:gd name="connsiteY137" fmla="*/ 3838575 h 4575969"/>
                  <a:gd name="connsiteX138" fmla="*/ 2371725 w 8971757"/>
                  <a:gd name="connsiteY138" fmla="*/ 3826669 h 4575969"/>
                  <a:gd name="connsiteX139" fmla="*/ 2650331 w 8971757"/>
                  <a:gd name="connsiteY139" fmla="*/ 3910012 h 4575969"/>
                  <a:gd name="connsiteX140" fmla="*/ 3057525 w 8971757"/>
                  <a:gd name="connsiteY140" fmla="*/ 3990975 h 4575969"/>
                  <a:gd name="connsiteX141" fmla="*/ 3255169 w 8971757"/>
                  <a:gd name="connsiteY141" fmla="*/ 3960018 h 4575969"/>
                  <a:gd name="connsiteX142" fmla="*/ 3300413 w 8971757"/>
                  <a:gd name="connsiteY142" fmla="*/ 3971924 h 4575969"/>
                  <a:gd name="connsiteX143" fmla="*/ 3355181 w 8971757"/>
                  <a:gd name="connsiteY143" fmla="*/ 3948113 h 4575969"/>
                  <a:gd name="connsiteX144" fmla="*/ 3748087 w 8971757"/>
                  <a:gd name="connsiteY144" fmla="*/ 4038600 h 4575969"/>
                  <a:gd name="connsiteX145" fmla="*/ 3831432 w 8971757"/>
                  <a:gd name="connsiteY145" fmla="*/ 4136231 h 4575969"/>
                  <a:gd name="connsiteX146" fmla="*/ 3950494 w 8971757"/>
                  <a:gd name="connsiteY146" fmla="*/ 4207669 h 4575969"/>
                  <a:gd name="connsiteX147" fmla="*/ 4010025 w 8971757"/>
                  <a:gd name="connsiteY147" fmla="*/ 4191000 h 4575969"/>
                  <a:gd name="connsiteX148" fmla="*/ 4360068 w 8971757"/>
                  <a:gd name="connsiteY148" fmla="*/ 4364831 h 4575969"/>
                  <a:gd name="connsiteX149" fmla="*/ 4586288 w 8971757"/>
                  <a:gd name="connsiteY149" fmla="*/ 4336256 h 4575969"/>
                  <a:gd name="connsiteX150" fmla="*/ 4595813 w 8971757"/>
                  <a:gd name="connsiteY150" fmla="*/ 4414837 h 4575969"/>
                  <a:gd name="connsiteX151" fmla="*/ 4681538 w 8971757"/>
                  <a:gd name="connsiteY151" fmla="*/ 4410074 h 4575969"/>
                  <a:gd name="connsiteX152" fmla="*/ 4760119 w 8971757"/>
                  <a:gd name="connsiteY152" fmla="*/ 4441031 h 4575969"/>
                  <a:gd name="connsiteX153" fmla="*/ 4802981 w 8971757"/>
                  <a:gd name="connsiteY153" fmla="*/ 4381500 h 4575969"/>
                  <a:gd name="connsiteX154" fmla="*/ 5474494 w 8971757"/>
                  <a:gd name="connsiteY154" fmla="*/ 4062412 h 4575969"/>
                  <a:gd name="connsiteX155" fmla="*/ 5562600 w 8971757"/>
                  <a:gd name="connsiteY155" fmla="*/ 4090988 h 4575969"/>
                  <a:gd name="connsiteX156" fmla="*/ 5693569 w 8971757"/>
                  <a:gd name="connsiteY156" fmla="*/ 4062412 h 4575969"/>
                  <a:gd name="connsiteX157" fmla="*/ 5872162 w 8971757"/>
                  <a:gd name="connsiteY157" fmla="*/ 4079081 h 4575969"/>
                  <a:gd name="connsiteX158" fmla="*/ 5929313 w 8971757"/>
                  <a:gd name="connsiteY158" fmla="*/ 4052888 h 4575969"/>
                  <a:gd name="connsiteX159" fmla="*/ 6062662 w 8971757"/>
                  <a:gd name="connsiteY159" fmla="*/ 4050506 h 4575969"/>
                  <a:gd name="connsiteX160" fmla="*/ 6196012 w 8971757"/>
                  <a:gd name="connsiteY160" fmla="*/ 3952875 h 4575969"/>
                  <a:gd name="connsiteX161" fmla="*/ 6262687 w 8971757"/>
                  <a:gd name="connsiteY161" fmla="*/ 3945731 h 4575969"/>
                  <a:gd name="connsiteX162" fmla="*/ 6360319 w 8971757"/>
                  <a:gd name="connsiteY162" fmla="*/ 3871912 h 4575969"/>
                  <a:gd name="connsiteX163" fmla="*/ 6434138 w 8971757"/>
                  <a:gd name="connsiteY163" fmla="*/ 3802856 h 4575969"/>
                  <a:gd name="connsiteX164" fmla="*/ 6443663 w 8971757"/>
                  <a:gd name="connsiteY164" fmla="*/ 3740944 h 4575969"/>
                  <a:gd name="connsiteX165" fmla="*/ 6477000 w 8971757"/>
                  <a:gd name="connsiteY165" fmla="*/ 3671887 h 4575969"/>
                  <a:gd name="connsiteX166" fmla="*/ 6629400 w 8971757"/>
                  <a:gd name="connsiteY166" fmla="*/ 3564731 h 4575969"/>
                  <a:gd name="connsiteX167" fmla="*/ 6662738 w 8971757"/>
                  <a:gd name="connsiteY167" fmla="*/ 3569494 h 4575969"/>
                  <a:gd name="connsiteX168" fmla="*/ 6715125 w 8971757"/>
                  <a:gd name="connsiteY168" fmla="*/ 3490912 h 4575969"/>
                  <a:gd name="connsiteX169" fmla="*/ 6762750 w 8971757"/>
                  <a:gd name="connsiteY169" fmla="*/ 3452812 h 4575969"/>
                  <a:gd name="connsiteX170" fmla="*/ 6748463 w 8971757"/>
                  <a:gd name="connsiteY170" fmla="*/ 3383756 h 4575969"/>
                  <a:gd name="connsiteX171" fmla="*/ 6698456 w 8971757"/>
                  <a:gd name="connsiteY171" fmla="*/ 3352799 h 4575969"/>
                  <a:gd name="connsiteX172" fmla="*/ 6638925 w 8971757"/>
                  <a:gd name="connsiteY172" fmla="*/ 3298031 h 4575969"/>
                  <a:gd name="connsiteX173" fmla="*/ 6619875 w 8971757"/>
                  <a:gd name="connsiteY173" fmla="*/ 3240881 h 4575969"/>
                  <a:gd name="connsiteX174" fmla="*/ 6584156 w 8971757"/>
                  <a:gd name="connsiteY174" fmla="*/ 3207544 h 4575969"/>
                  <a:gd name="connsiteX175" fmla="*/ 6610350 w 8971757"/>
                  <a:gd name="connsiteY175" fmla="*/ 3155156 h 4575969"/>
                  <a:gd name="connsiteX176" fmla="*/ 6650831 w 8971757"/>
                  <a:gd name="connsiteY176" fmla="*/ 2976562 h 4575969"/>
                  <a:gd name="connsiteX177" fmla="*/ 6691313 w 8971757"/>
                  <a:gd name="connsiteY177" fmla="*/ 2909887 h 4575969"/>
                  <a:gd name="connsiteX178" fmla="*/ 6836569 w 8971757"/>
                  <a:gd name="connsiteY178" fmla="*/ 2893218 h 4575969"/>
                  <a:gd name="connsiteX179" fmla="*/ 6905625 w 8971757"/>
                  <a:gd name="connsiteY179" fmla="*/ 2950369 h 4575969"/>
                  <a:gd name="connsiteX180" fmla="*/ 6981825 w 8971757"/>
                  <a:gd name="connsiteY180" fmla="*/ 2974181 h 4575969"/>
                  <a:gd name="connsiteX181" fmla="*/ 7186612 w 8971757"/>
                  <a:gd name="connsiteY181" fmla="*/ 2978944 h 4575969"/>
                  <a:gd name="connsiteX182" fmla="*/ 7362825 w 8971757"/>
                  <a:gd name="connsiteY182" fmla="*/ 2840831 h 4575969"/>
                  <a:gd name="connsiteX183" fmla="*/ 7419975 w 8971757"/>
                  <a:gd name="connsiteY183" fmla="*/ 2750343 h 4575969"/>
                  <a:gd name="connsiteX184" fmla="*/ 7446169 w 8971757"/>
                  <a:gd name="connsiteY184" fmla="*/ 2667000 h 4575969"/>
                  <a:gd name="connsiteX185" fmla="*/ 7577137 w 8971757"/>
                  <a:gd name="connsiteY185" fmla="*/ 2667000 h 4575969"/>
                  <a:gd name="connsiteX186" fmla="*/ 7750969 w 8971757"/>
                  <a:gd name="connsiteY186" fmla="*/ 2609849 h 4575969"/>
                  <a:gd name="connsiteX187" fmla="*/ 7810500 w 8971757"/>
                  <a:gd name="connsiteY187" fmla="*/ 2497931 h 4575969"/>
                  <a:gd name="connsiteX188" fmla="*/ 7874794 w 8971757"/>
                  <a:gd name="connsiteY188" fmla="*/ 2462212 h 4575969"/>
                  <a:gd name="connsiteX189" fmla="*/ 7853363 w 8971757"/>
                  <a:gd name="connsiteY189" fmla="*/ 2416969 h 4575969"/>
                  <a:gd name="connsiteX190" fmla="*/ 7931944 w 8971757"/>
                  <a:gd name="connsiteY190" fmla="*/ 2247899 h 4575969"/>
                  <a:gd name="connsiteX191" fmla="*/ 7986713 w 8971757"/>
                  <a:gd name="connsiteY191" fmla="*/ 2188369 h 4575969"/>
                  <a:gd name="connsiteX192" fmla="*/ 8024813 w 8971757"/>
                  <a:gd name="connsiteY192" fmla="*/ 2183606 h 4575969"/>
                  <a:gd name="connsiteX193" fmla="*/ 8070056 w 8971757"/>
                  <a:gd name="connsiteY193" fmla="*/ 2188369 h 4575969"/>
                  <a:gd name="connsiteX194" fmla="*/ 8134350 w 8971757"/>
                  <a:gd name="connsiteY194" fmla="*/ 2155031 h 4575969"/>
                  <a:gd name="connsiteX195" fmla="*/ 8143875 w 8971757"/>
                  <a:gd name="connsiteY195" fmla="*/ 2090737 h 4575969"/>
                  <a:gd name="connsiteX196" fmla="*/ 8184355 w 8971757"/>
                  <a:gd name="connsiteY196" fmla="*/ 2055019 h 4575969"/>
                  <a:gd name="connsiteX197" fmla="*/ 8243888 w 8971757"/>
                  <a:gd name="connsiteY197" fmla="*/ 2095499 h 4575969"/>
                  <a:gd name="connsiteX198" fmla="*/ 8270082 w 8971757"/>
                  <a:gd name="connsiteY198" fmla="*/ 2045493 h 4575969"/>
                  <a:gd name="connsiteX199" fmla="*/ 8365331 w 8971757"/>
                  <a:gd name="connsiteY199" fmla="*/ 1976437 h 4575969"/>
                  <a:gd name="connsiteX200" fmla="*/ 8427244 w 8971757"/>
                  <a:gd name="connsiteY200" fmla="*/ 1983581 h 4575969"/>
                  <a:gd name="connsiteX201" fmla="*/ 8477250 w 8971757"/>
                  <a:gd name="connsiteY201" fmla="*/ 1964531 h 4575969"/>
                  <a:gd name="connsiteX202" fmla="*/ 8515350 w 8971757"/>
                  <a:gd name="connsiteY202" fmla="*/ 1935956 h 4575969"/>
                  <a:gd name="connsiteX203" fmla="*/ 8548688 w 8971757"/>
                  <a:gd name="connsiteY203" fmla="*/ 1933575 h 4575969"/>
                  <a:gd name="connsiteX204" fmla="*/ 8584406 w 8971757"/>
                  <a:gd name="connsiteY204" fmla="*/ 1964531 h 4575969"/>
                  <a:gd name="connsiteX205" fmla="*/ 8643938 w 8971757"/>
                  <a:gd name="connsiteY205" fmla="*/ 1964531 h 4575969"/>
                  <a:gd name="connsiteX206" fmla="*/ 8682037 w 8971757"/>
                  <a:gd name="connsiteY206" fmla="*/ 1945481 h 4575969"/>
                  <a:gd name="connsiteX207" fmla="*/ 8765381 w 8971757"/>
                  <a:gd name="connsiteY207" fmla="*/ 1947863 h 4575969"/>
                  <a:gd name="connsiteX208" fmla="*/ 8796338 w 8971757"/>
                  <a:gd name="connsiteY208" fmla="*/ 1902619 h 4575969"/>
                  <a:gd name="connsiteX209" fmla="*/ 8801100 w 8971757"/>
                  <a:gd name="connsiteY209" fmla="*/ 1840706 h 4575969"/>
                  <a:gd name="connsiteX210" fmla="*/ 8751093 w 8971757"/>
                  <a:gd name="connsiteY210" fmla="*/ 1800225 h 4575969"/>
                  <a:gd name="connsiteX211" fmla="*/ 8734425 w 8971757"/>
                  <a:gd name="connsiteY211" fmla="*/ 1745456 h 4575969"/>
                  <a:gd name="connsiteX212" fmla="*/ 8643938 w 8971757"/>
                  <a:gd name="connsiteY212" fmla="*/ 1683544 h 4575969"/>
                  <a:gd name="connsiteX213" fmla="*/ 8603456 w 8971757"/>
                  <a:gd name="connsiteY213" fmla="*/ 1662112 h 4575969"/>
                  <a:gd name="connsiteX214" fmla="*/ 8565356 w 8971757"/>
                  <a:gd name="connsiteY214" fmla="*/ 1616869 h 4575969"/>
                  <a:gd name="connsiteX215" fmla="*/ 8534400 w 8971757"/>
                  <a:gd name="connsiteY215" fmla="*/ 1614487 h 4575969"/>
                  <a:gd name="connsiteX216" fmla="*/ 8517731 w 8971757"/>
                  <a:gd name="connsiteY216" fmla="*/ 1562100 h 4575969"/>
                  <a:gd name="connsiteX217" fmla="*/ 8477250 w 8971757"/>
                  <a:gd name="connsiteY217" fmla="*/ 1545431 h 4575969"/>
                  <a:gd name="connsiteX218" fmla="*/ 8477250 w 8971757"/>
                  <a:gd name="connsiteY218" fmla="*/ 1545431 h 4575969"/>
                  <a:gd name="connsiteX219" fmla="*/ 8436769 w 8971757"/>
                  <a:gd name="connsiteY219" fmla="*/ 1550194 h 4575969"/>
                  <a:gd name="connsiteX220" fmla="*/ 8351043 w 8971757"/>
                  <a:gd name="connsiteY220" fmla="*/ 1476375 h 4575969"/>
                  <a:gd name="connsiteX221" fmla="*/ 8170069 w 8971757"/>
                  <a:gd name="connsiteY221" fmla="*/ 1476374 h 4575969"/>
                  <a:gd name="connsiteX222" fmla="*/ 8117681 w 8971757"/>
                  <a:gd name="connsiteY222" fmla="*/ 1514475 h 4575969"/>
                  <a:gd name="connsiteX223" fmla="*/ 8067675 w 8971757"/>
                  <a:gd name="connsiteY223" fmla="*/ 1593056 h 4575969"/>
                  <a:gd name="connsiteX224" fmla="*/ 8084344 w 8971757"/>
                  <a:gd name="connsiteY224" fmla="*/ 1614487 h 4575969"/>
                  <a:gd name="connsiteX225" fmla="*/ 8039100 w 8971757"/>
                  <a:gd name="connsiteY225" fmla="*/ 1664493 h 4575969"/>
                  <a:gd name="connsiteX226" fmla="*/ 7889081 w 8971757"/>
                  <a:gd name="connsiteY226" fmla="*/ 1588293 h 4575969"/>
                  <a:gd name="connsiteX227" fmla="*/ 7798594 w 8971757"/>
                  <a:gd name="connsiteY227" fmla="*/ 1624012 h 4575969"/>
                  <a:gd name="connsiteX228" fmla="*/ 7724775 w 8971757"/>
                  <a:gd name="connsiteY228" fmla="*/ 1621631 h 4575969"/>
                  <a:gd name="connsiteX229" fmla="*/ 7667625 w 8971757"/>
                  <a:gd name="connsiteY229" fmla="*/ 1716881 h 4575969"/>
                  <a:gd name="connsiteX230" fmla="*/ 7529513 w 8971757"/>
                  <a:gd name="connsiteY23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3126581 w 8971757"/>
                  <a:gd name="connsiteY77" fmla="*/ 264319 h 4575969"/>
                  <a:gd name="connsiteX78" fmla="*/ 8412956 w 8971757"/>
                  <a:gd name="connsiteY78" fmla="*/ 23812 h 4575969"/>
                  <a:gd name="connsiteX79" fmla="*/ 8949531 w 8971757"/>
                  <a:gd name="connsiteY79" fmla="*/ 0 h 4575969"/>
                  <a:gd name="connsiteX80" fmla="*/ 8971757 w 8971757"/>
                  <a:gd name="connsiteY80" fmla="*/ 4575969 h 4575969"/>
                  <a:gd name="connsiteX81" fmla="*/ 2381 w 8971757"/>
                  <a:gd name="connsiteY81" fmla="*/ 4547392 h 4575969"/>
                  <a:gd name="connsiteX82" fmla="*/ 0 w 8971757"/>
                  <a:gd name="connsiteY82" fmla="*/ 845344 h 4575969"/>
                  <a:gd name="connsiteX83" fmla="*/ 76200 w 8971757"/>
                  <a:gd name="connsiteY83" fmla="*/ 828675 h 4575969"/>
                  <a:gd name="connsiteX84" fmla="*/ 119063 w 8971757"/>
                  <a:gd name="connsiteY84" fmla="*/ 857250 h 4575969"/>
                  <a:gd name="connsiteX85" fmla="*/ 215900 w 8971757"/>
                  <a:gd name="connsiteY85" fmla="*/ 848519 h 4575969"/>
                  <a:gd name="connsiteX86" fmla="*/ 261938 w 8971757"/>
                  <a:gd name="connsiteY86" fmla="*/ 876299 h 4575969"/>
                  <a:gd name="connsiteX87" fmla="*/ 228600 w 8971757"/>
                  <a:gd name="connsiteY87" fmla="*/ 904875 h 4575969"/>
                  <a:gd name="connsiteX88" fmla="*/ 233363 w 8971757"/>
                  <a:gd name="connsiteY88" fmla="*/ 947737 h 4575969"/>
                  <a:gd name="connsiteX89" fmla="*/ 200025 w 8971757"/>
                  <a:gd name="connsiteY89" fmla="*/ 952500 h 4575969"/>
                  <a:gd name="connsiteX90" fmla="*/ 204788 w 8971757"/>
                  <a:gd name="connsiteY90" fmla="*/ 976312 h 4575969"/>
                  <a:gd name="connsiteX91" fmla="*/ 261937 w 8971757"/>
                  <a:gd name="connsiteY91" fmla="*/ 1050131 h 4575969"/>
                  <a:gd name="connsiteX92" fmla="*/ 223838 w 8971757"/>
                  <a:gd name="connsiteY92" fmla="*/ 1097756 h 4575969"/>
                  <a:gd name="connsiteX93" fmla="*/ 278606 w 8971757"/>
                  <a:gd name="connsiteY93" fmla="*/ 1133475 h 4575969"/>
                  <a:gd name="connsiteX94" fmla="*/ 369094 w 8971757"/>
                  <a:gd name="connsiteY94" fmla="*/ 1221581 h 4575969"/>
                  <a:gd name="connsiteX95" fmla="*/ 371475 w 8971757"/>
                  <a:gd name="connsiteY95" fmla="*/ 1281112 h 4575969"/>
                  <a:gd name="connsiteX96" fmla="*/ 507206 w 8971757"/>
                  <a:gd name="connsiteY96" fmla="*/ 1414463 h 4575969"/>
                  <a:gd name="connsiteX97" fmla="*/ 561975 w 8971757"/>
                  <a:gd name="connsiteY97" fmla="*/ 1390650 h 4575969"/>
                  <a:gd name="connsiteX98" fmla="*/ 600075 w 8971757"/>
                  <a:gd name="connsiteY98" fmla="*/ 1416843 h 4575969"/>
                  <a:gd name="connsiteX99" fmla="*/ 614363 w 8971757"/>
                  <a:gd name="connsiteY99" fmla="*/ 1466849 h 4575969"/>
                  <a:gd name="connsiteX100" fmla="*/ 657225 w 8971757"/>
                  <a:gd name="connsiteY100" fmla="*/ 1502569 h 4575969"/>
                  <a:gd name="connsiteX101" fmla="*/ 697706 w 8971757"/>
                  <a:gd name="connsiteY101" fmla="*/ 1490662 h 4575969"/>
                  <a:gd name="connsiteX102" fmla="*/ 716756 w 8971757"/>
                  <a:gd name="connsiteY102" fmla="*/ 1547812 h 4575969"/>
                  <a:gd name="connsiteX103" fmla="*/ 764381 w 8971757"/>
                  <a:gd name="connsiteY103" fmla="*/ 1590675 h 4575969"/>
                  <a:gd name="connsiteX104" fmla="*/ 788194 w 8971757"/>
                  <a:gd name="connsiteY104" fmla="*/ 1693069 h 4575969"/>
                  <a:gd name="connsiteX105" fmla="*/ 785813 w 8971757"/>
                  <a:gd name="connsiteY105" fmla="*/ 1740694 h 4575969"/>
                  <a:gd name="connsiteX106" fmla="*/ 821531 w 8971757"/>
                  <a:gd name="connsiteY106" fmla="*/ 1840706 h 4575969"/>
                  <a:gd name="connsiteX107" fmla="*/ 866775 w 8971757"/>
                  <a:gd name="connsiteY107" fmla="*/ 1897856 h 4575969"/>
                  <a:gd name="connsiteX108" fmla="*/ 883443 w 8971757"/>
                  <a:gd name="connsiteY108" fmla="*/ 2055018 h 4575969"/>
                  <a:gd name="connsiteX109" fmla="*/ 850106 w 8971757"/>
                  <a:gd name="connsiteY109" fmla="*/ 2116931 h 4575969"/>
                  <a:gd name="connsiteX110" fmla="*/ 819150 w 8971757"/>
                  <a:gd name="connsiteY110" fmla="*/ 2193131 h 4575969"/>
                  <a:gd name="connsiteX111" fmla="*/ 833438 w 8971757"/>
                  <a:gd name="connsiteY111" fmla="*/ 2250281 h 4575969"/>
                  <a:gd name="connsiteX112" fmla="*/ 735806 w 8971757"/>
                  <a:gd name="connsiteY112" fmla="*/ 2357438 h 4575969"/>
                  <a:gd name="connsiteX113" fmla="*/ 692944 w 8971757"/>
                  <a:gd name="connsiteY113" fmla="*/ 2471737 h 4575969"/>
                  <a:gd name="connsiteX114" fmla="*/ 726281 w 8971757"/>
                  <a:gd name="connsiteY114" fmla="*/ 2512219 h 4575969"/>
                  <a:gd name="connsiteX115" fmla="*/ 709613 w 8971757"/>
                  <a:gd name="connsiteY115" fmla="*/ 2540794 h 4575969"/>
                  <a:gd name="connsiteX116" fmla="*/ 740569 w 8971757"/>
                  <a:gd name="connsiteY116" fmla="*/ 2597944 h 4575969"/>
                  <a:gd name="connsiteX117" fmla="*/ 769144 w 8971757"/>
                  <a:gd name="connsiteY117" fmla="*/ 2597944 h 4575969"/>
                  <a:gd name="connsiteX118" fmla="*/ 931069 w 8971757"/>
                  <a:gd name="connsiteY118" fmla="*/ 2700337 h 4575969"/>
                  <a:gd name="connsiteX119" fmla="*/ 1035844 w 8971757"/>
                  <a:gd name="connsiteY119" fmla="*/ 2697956 h 4575969"/>
                  <a:gd name="connsiteX120" fmla="*/ 1114425 w 8971757"/>
                  <a:gd name="connsiteY120" fmla="*/ 2752725 h 4575969"/>
                  <a:gd name="connsiteX121" fmla="*/ 1245393 w 8971757"/>
                  <a:gd name="connsiteY121" fmla="*/ 2755106 h 4575969"/>
                  <a:gd name="connsiteX122" fmla="*/ 1435893 w 8971757"/>
                  <a:gd name="connsiteY122" fmla="*/ 2824162 h 4575969"/>
                  <a:gd name="connsiteX123" fmla="*/ 1638300 w 8971757"/>
                  <a:gd name="connsiteY123" fmla="*/ 2974181 h 4575969"/>
                  <a:gd name="connsiteX124" fmla="*/ 1671637 w 8971757"/>
                  <a:gd name="connsiteY124" fmla="*/ 3040856 h 4575969"/>
                  <a:gd name="connsiteX125" fmla="*/ 1838325 w 8971757"/>
                  <a:gd name="connsiteY125" fmla="*/ 3167062 h 4575969"/>
                  <a:gd name="connsiteX126" fmla="*/ 1909763 w 8971757"/>
                  <a:gd name="connsiteY126" fmla="*/ 3162300 h 4575969"/>
                  <a:gd name="connsiteX127" fmla="*/ 1945482 w 8971757"/>
                  <a:gd name="connsiteY127" fmla="*/ 3186112 h 4575969"/>
                  <a:gd name="connsiteX128" fmla="*/ 1916906 w 8971757"/>
                  <a:gd name="connsiteY128" fmla="*/ 3226594 h 4575969"/>
                  <a:gd name="connsiteX129" fmla="*/ 1924050 w 8971757"/>
                  <a:gd name="connsiteY129" fmla="*/ 3278981 h 4575969"/>
                  <a:gd name="connsiteX130" fmla="*/ 1976438 w 8971757"/>
                  <a:gd name="connsiteY130" fmla="*/ 3305175 h 4575969"/>
                  <a:gd name="connsiteX131" fmla="*/ 2038350 w 8971757"/>
                  <a:gd name="connsiteY131" fmla="*/ 3529013 h 4575969"/>
                  <a:gd name="connsiteX132" fmla="*/ 2028825 w 8971757"/>
                  <a:gd name="connsiteY132" fmla="*/ 3593306 h 4575969"/>
                  <a:gd name="connsiteX133" fmla="*/ 2164556 w 8971757"/>
                  <a:gd name="connsiteY133" fmla="*/ 3759994 h 4575969"/>
                  <a:gd name="connsiteX134" fmla="*/ 2183606 w 8971757"/>
                  <a:gd name="connsiteY134" fmla="*/ 3810000 h 4575969"/>
                  <a:gd name="connsiteX135" fmla="*/ 2157413 w 8971757"/>
                  <a:gd name="connsiteY135" fmla="*/ 3829050 h 4575969"/>
                  <a:gd name="connsiteX136" fmla="*/ 2259806 w 8971757"/>
                  <a:gd name="connsiteY136" fmla="*/ 3838575 h 4575969"/>
                  <a:gd name="connsiteX137" fmla="*/ 2371725 w 8971757"/>
                  <a:gd name="connsiteY137" fmla="*/ 3826669 h 4575969"/>
                  <a:gd name="connsiteX138" fmla="*/ 2650331 w 8971757"/>
                  <a:gd name="connsiteY138" fmla="*/ 3910012 h 4575969"/>
                  <a:gd name="connsiteX139" fmla="*/ 3057525 w 8971757"/>
                  <a:gd name="connsiteY139" fmla="*/ 3990975 h 4575969"/>
                  <a:gd name="connsiteX140" fmla="*/ 3255169 w 8971757"/>
                  <a:gd name="connsiteY140" fmla="*/ 3960018 h 4575969"/>
                  <a:gd name="connsiteX141" fmla="*/ 3300413 w 8971757"/>
                  <a:gd name="connsiteY141" fmla="*/ 3971924 h 4575969"/>
                  <a:gd name="connsiteX142" fmla="*/ 3355181 w 8971757"/>
                  <a:gd name="connsiteY142" fmla="*/ 3948113 h 4575969"/>
                  <a:gd name="connsiteX143" fmla="*/ 3748087 w 8971757"/>
                  <a:gd name="connsiteY143" fmla="*/ 4038600 h 4575969"/>
                  <a:gd name="connsiteX144" fmla="*/ 3831432 w 8971757"/>
                  <a:gd name="connsiteY144" fmla="*/ 4136231 h 4575969"/>
                  <a:gd name="connsiteX145" fmla="*/ 3950494 w 8971757"/>
                  <a:gd name="connsiteY145" fmla="*/ 4207669 h 4575969"/>
                  <a:gd name="connsiteX146" fmla="*/ 4010025 w 8971757"/>
                  <a:gd name="connsiteY146" fmla="*/ 4191000 h 4575969"/>
                  <a:gd name="connsiteX147" fmla="*/ 4360068 w 8971757"/>
                  <a:gd name="connsiteY147" fmla="*/ 4364831 h 4575969"/>
                  <a:gd name="connsiteX148" fmla="*/ 4586288 w 8971757"/>
                  <a:gd name="connsiteY148" fmla="*/ 4336256 h 4575969"/>
                  <a:gd name="connsiteX149" fmla="*/ 4595813 w 8971757"/>
                  <a:gd name="connsiteY149" fmla="*/ 4414837 h 4575969"/>
                  <a:gd name="connsiteX150" fmla="*/ 4681538 w 8971757"/>
                  <a:gd name="connsiteY150" fmla="*/ 4410074 h 4575969"/>
                  <a:gd name="connsiteX151" fmla="*/ 4760119 w 8971757"/>
                  <a:gd name="connsiteY151" fmla="*/ 4441031 h 4575969"/>
                  <a:gd name="connsiteX152" fmla="*/ 4802981 w 8971757"/>
                  <a:gd name="connsiteY152" fmla="*/ 4381500 h 4575969"/>
                  <a:gd name="connsiteX153" fmla="*/ 5474494 w 8971757"/>
                  <a:gd name="connsiteY153" fmla="*/ 4062412 h 4575969"/>
                  <a:gd name="connsiteX154" fmla="*/ 5562600 w 8971757"/>
                  <a:gd name="connsiteY154" fmla="*/ 4090988 h 4575969"/>
                  <a:gd name="connsiteX155" fmla="*/ 5693569 w 8971757"/>
                  <a:gd name="connsiteY155" fmla="*/ 4062412 h 4575969"/>
                  <a:gd name="connsiteX156" fmla="*/ 5872162 w 8971757"/>
                  <a:gd name="connsiteY156" fmla="*/ 4079081 h 4575969"/>
                  <a:gd name="connsiteX157" fmla="*/ 5929313 w 8971757"/>
                  <a:gd name="connsiteY157" fmla="*/ 4052888 h 4575969"/>
                  <a:gd name="connsiteX158" fmla="*/ 6062662 w 8971757"/>
                  <a:gd name="connsiteY158" fmla="*/ 4050506 h 4575969"/>
                  <a:gd name="connsiteX159" fmla="*/ 6196012 w 8971757"/>
                  <a:gd name="connsiteY159" fmla="*/ 3952875 h 4575969"/>
                  <a:gd name="connsiteX160" fmla="*/ 6262687 w 8971757"/>
                  <a:gd name="connsiteY160" fmla="*/ 3945731 h 4575969"/>
                  <a:gd name="connsiteX161" fmla="*/ 6360319 w 8971757"/>
                  <a:gd name="connsiteY161" fmla="*/ 3871912 h 4575969"/>
                  <a:gd name="connsiteX162" fmla="*/ 6434138 w 8971757"/>
                  <a:gd name="connsiteY162" fmla="*/ 3802856 h 4575969"/>
                  <a:gd name="connsiteX163" fmla="*/ 6443663 w 8971757"/>
                  <a:gd name="connsiteY163" fmla="*/ 3740944 h 4575969"/>
                  <a:gd name="connsiteX164" fmla="*/ 6477000 w 8971757"/>
                  <a:gd name="connsiteY164" fmla="*/ 3671887 h 4575969"/>
                  <a:gd name="connsiteX165" fmla="*/ 6629400 w 8971757"/>
                  <a:gd name="connsiteY165" fmla="*/ 3564731 h 4575969"/>
                  <a:gd name="connsiteX166" fmla="*/ 6662738 w 8971757"/>
                  <a:gd name="connsiteY166" fmla="*/ 3569494 h 4575969"/>
                  <a:gd name="connsiteX167" fmla="*/ 6715125 w 8971757"/>
                  <a:gd name="connsiteY167" fmla="*/ 3490912 h 4575969"/>
                  <a:gd name="connsiteX168" fmla="*/ 6762750 w 8971757"/>
                  <a:gd name="connsiteY168" fmla="*/ 3452812 h 4575969"/>
                  <a:gd name="connsiteX169" fmla="*/ 6748463 w 8971757"/>
                  <a:gd name="connsiteY169" fmla="*/ 3383756 h 4575969"/>
                  <a:gd name="connsiteX170" fmla="*/ 6698456 w 8971757"/>
                  <a:gd name="connsiteY170" fmla="*/ 3352799 h 4575969"/>
                  <a:gd name="connsiteX171" fmla="*/ 6638925 w 8971757"/>
                  <a:gd name="connsiteY171" fmla="*/ 3298031 h 4575969"/>
                  <a:gd name="connsiteX172" fmla="*/ 6619875 w 8971757"/>
                  <a:gd name="connsiteY172" fmla="*/ 3240881 h 4575969"/>
                  <a:gd name="connsiteX173" fmla="*/ 6584156 w 8971757"/>
                  <a:gd name="connsiteY173" fmla="*/ 3207544 h 4575969"/>
                  <a:gd name="connsiteX174" fmla="*/ 6610350 w 8971757"/>
                  <a:gd name="connsiteY174" fmla="*/ 3155156 h 4575969"/>
                  <a:gd name="connsiteX175" fmla="*/ 6650831 w 8971757"/>
                  <a:gd name="connsiteY175" fmla="*/ 2976562 h 4575969"/>
                  <a:gd name="connsiteX176" fmla="*/ 6691313 w 8971757"/>
                  <a:gd name="connsiteY176" fmla="*/ 2909887 h 4575969"/>
                  <a:gd name="connsiteX177" fmla="*/ 6836569 w 8971757"/>
                  <a:gd name="connsiteY177" fmla="*/ 2893218 h 4575969"/>
                  <a:gd name="connsiteX178" fmla="*/ 6905625 w 8971757"/>
                  <a:gd name="connsiteY178" fmla="*/ 2950369 h 4575969"/>
                  <a:gd name="connsiteX179" fmla="*/ 6981825 w 8971757"/>
                  <a:gd name="connsiteY179" fmla="*/ 2974181 h 4575969"/>
                  <a:gd name="connsiteX180" fmla="*/ 7186612 w 8971757"/>
                  <a:gd name="connsiteY180" fmla="*/ 2978944 h 4575969"/>
                  <a:gd name="connsiteX181" fmla="*/ 7362825 w 8971757"/>
                  <a:gd name="connsiteY181" fmla="*/ 2840831 h 4575969"/>
                  <a:gd name="connsiteX182" fmla="*/ 7419975 w 8971757"/>
                  <a:gd name="connsiteY182" fmla="*/ 2750343 h 4575969"/>
                  <a:gd name="connsiteX183" fmla="*/ 7446169 w 8971757"/>
                  <a:gd name="connsiteY183" fmla="*/ 2667000 h 4575969"/>
                  <a:gd name="connsiteX184" fmla="*/ 7577137 w 8971757"/>
                  <a:gd name="connsiteY184" fmla="*/ 2667000 h 4575969"/>
                  <a:gd name="connsiteX185" fmla="*/ 7750969 w 8971757"/>
                  <a:gd name="connsiteY185" fmla="*/ 2609849 h 4575969"/>
                  <a:gd name="connsiteX186" fmla="*/ 7810500 w 8971757"/>
                  <a:gd name="connsiteY186" fmla="*/ 2497931 h 4575969"/>
                  <a:gd name="connsiteX187" fmla="*/ 7874794 w 8971757"/>
                  <a:gd name="connsiteY187" fmla="*/ 2462212 h 4575969"/>
                  <a:gd name="connsiteX188" fmla="*/ 7853363 w 8971757"/>
                  <a:gd name="connsiteY188" fmla="*/ 2416969 h 4575969"/>
                  <a:gd name="connsiteX189" fmla="*/ 7931944 w 8971757"/>
                  <a:gd name="connsiteY189" fmla="*/ 2247899 h 4575969"/>
                  <a:gd name="connsiteX190" fmla="*/ 7986713 w 8971757"/>
                  <a:gd name="connsiteY190" fmla="*/ 2188369 h 4575969"/>
                  <a:gd name="connsiteX191" fmla="*/ 8024813 w 8971757"/>
                  <a:gd name="connsiteY191" fmla="*/ 2183606 h 4575969"/>
                  <a:gd name="connsiteX192" fmla="*/ 8070056 w 8971757"/>
                  <a:gd name="connsiteY192" fmla="*/ 2188369 h 4575969"/>
                  <a:gd name="connsiteX193" fmla="*/ 8134350 w 8971757"/>
                  <a:gd name="connsiteY193" fmla="*/ 2155031 h 4575969"/>
                  <a:gd name="connsiteX194" fmla="*/ 8143875 w 8971757"/>
                  <a:gd name="connsiteY194" fmla="*/ 2090737 h 4575969"/>
                  <a:gd name="connsiteX195" fmla="*/ 8184355 w 8971757"/>
                  <a:gd name="connsiteY195" fmla="*/ 2055019 h 4575969"/>
                  <a:gd name="connsiteX196" fmla="*/ 8243888 w 8971757"/>
                  <a:gd name="connsiteY196" fmla="*/ 2095499 h 4575969"/>
                  <a:gd name="connsiteX197" fmla="*/ 8270082 w 8971757"/>
                  <a:gd name="connsiteY197" fmla="*/ 2045493 h 4575969"/>
                  <a:gd name="connsiteX198" fmla="*/ 8365331 w 8971757"/>
                  <a:gd name="connsiteY198" fmla="*/ 1976437 h 4575969"/>
                  <a:gd name="connsiteX199" fmla="*/ 8427244 w 8971757"/>
                  <a:gd name="connsiteY199" fmla="*/ 1983581 h 4575969"/>
                  <a:gd name="connsiteX200" fmla="*/ 8477250 w 8971757"/>
                  <a:gd name="connsiteY200" fmla="*/ 1964531 h 4575969"/>
                  <a:gd name="connsiteX201" fmla="*/ 8515350 w 8971757"/>
                  <a:gd name="connsiteY201" fmla="*/ 1935956 h 4575969"/>
                  <a:gd name="connsiteX202" fmla="*/ 8548688 w 8971757"/>
                  <a:gd name="connsiteY202" fmla="*/ 1933575 h 4575969"/>
                  <a:gd name="connsiteX203" fmla="*/ 8584406 w 8971757"/>
                  <a:gd name="connsiteY203" fmla="*/ 1964531 h 4575969"/>
                  <a:gd name="connsiteX204" fmla="*/ 8643938 w 8971757"/>
                  <a:gd name="connsiteY204" fmla="*/ 1964531 h 4575969"/>
                  <a:gd name="connsiteX205" fmla="*/ 8682037 w 8971757"/>
                  <a:gd name="connsiteY205" fmla="*/ 1945481 h 4575969"/>
                  <a:gd name="connsiteX206" fmla="*/ 8765381 w 8971757"/>
                  <a:gd name="connsiteY206" fmla="*/ 1947863 h 4575969"/>
                  <a:gd name="connsiteX207" fmla="*/ 8796338 w 8971757"/>
                  <a:gd name="connsiteY207" fmla="*/ 1902619 h 4575969"/>
                  <a:gd name="connsiteX208" fmla="*/ 8801100 w 8971757"/>
                  <a:gd name="connsiteY208" fmla="*/ 1840706 h 4575969"/>
                  <a:gd name="connsiteX209" fmla="*/ 8751093 w 8971757"/>
                  <a:gd name="connsiteY209" fmla="*/ 1800225 h 4575969"/>
                  <a:gd name="connsiteX210" fmla="*/ 8734425 w 8971757"/>
                  <a:gd name="connsiteY210" fmla="*/ 1745456 h 4575969"/>
                  <a:gd name="connsiteX211" fmla="*/ 8643938 w 8971757"/>
                  <a:gd name="connsiteY211" fmla="*/ 1683544 h 4575969"/>
                  <a:gd name="connsiteX212" fmla="*/ 8603456 w 8971757"/>
                  <a:gd name="connsiteY212" fmla="*/ 1662112 h 4575969"/>
                  <a:gd name="connsiteX213" fmla="*/ 8565356 w 8971757"/>
                  <a:gd name="connsiteY213" fmla="*/ 1616869 h 4575969"/>
                  <a:gd name="connsiteX214" fmla="*/ 8534400 w 8971757"/>
                  <a:gd name="connsiteY214" fmla="*/ 1614487 h 4575969"/>
                  <a:gd name="connsiteX215" fmla="*/ 8517731 w 8971757"/>
                  <a:gd name="connsiteY215" fmla="*/ 1562100 h 4575969"/>
                  <a:gd name="connsiteX216" fmla="*/ 8477250 w 8971757"/>
                  <a:gd name="connsiteY216" fmla="*/ 1545431 h 4575969"/>
                  <a:gd name="connsiteX217" fmla="*/ 8477250 w 8971757"/>
                  <a:gd name="connsiteY217" fmla="*/ 1545431 h 4575969"/>
                  <a:gd name="connsiteX218" fmla="*/ 8436769 w 8971757"/>
                  <a:gd name="connsiteY218" fmla="*/ 1550194 h 4575969"/>
                  <a:gd name="connsiteX219" fmla="*/ 8351043 w 8971757"/>
                  <a:gd name="connsiteY219" fmla="*/ 1476375 h 4575969"/>
                  <a:gd name="connsiteX220" fmla="*/ 8170069 w 8971757"/>
                  <a:gd name="connsiteY220" fmla="*/ 1476374 h 4575969"/>
                  <a:gd name="connsiteX221" fmla="*/ 8117681 w 8971757"/>
                  <a:gd name="connsiteY221" fmla="*/ 1514475 h 4575969"/>
                  <a:gd name="connsiteX222" fmla="*/ 8067675 w 8971757"/>
                  <a:gd name="connsiteY222" fmla="*/ 1593056 h 4575969"/>
                  <a:gd name="connsiteX223" fmla="*/ 8084344 w 8971757"/>
                  <a:gd name="connsiteY223" fmla="*/ 1614487 h 4575969"/>
                  <a:gd name="connsiteX224" fmla="*/ 8039100 w 8971757"/>
                  <a:gd name="connsiteY224" fmla="*/ 1664493 h 4575969"/>
                  <a:gd name="connsiteX225" fmla="*/ 7889081 w 8971757"/>
                  <a:gd name="connsiteY225" fmla="*/ 1588293 h 4575969"/>
                  <a:gd name="connsiteX226" fmla="*/ 7798594 w 8971757"/>
                  <a:gd name="connsiteY226" fmla="*/ 1624012 h 4575969"/>
                  <a:gd name="connsiteX227" fmla="*/ 7724775 w 8971757"/>
                  <a:gd name="connsiteY227" fmla="*/ 1621631 h 4575969"/>
                  <a:gd name="connsiteX228" fmla="*/ 7667625 w 8971757"/>
                  <a:gd name="connsiteY228" fmla="*/ 1716881 h 4575969"/>
                  <a:gd name="connsiteX229" fmla="*/ 7529513 w 8971757"/>
                  <a:gd name="connsiteY22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3181350 w 8971757"/>
                  <a:gd name="connsiteY76" fmla="*/ 195263 h 4575969"/>
                  <a:gd name="connsiteX77" fmla="*/ 8412956 w 8971757"/>
                  <a:gd name="connsiteY77" fmla="*/ 23812 h 4575969"/>
                  <a:gd name="connsiteX78" fmla="*/ 8949531 w 8971757"/>
                  <a:gd name="connsiteY78" fmla="*/ 0 h 4575969"/>
                  <a:gd name="connsiteX79" fmla="*/ 8971757 w 8971757"/>
                  <a:gd name="connsiteY79" fmla="*/ 4575969 h 4575969"/>
                  <a:gd name="connsiteX80" fmla="*/ 2381 w 8971757"/>
                  <a:gd name="connsiteY80" fmla="*/ 4547392 h 4575969"/>
                  <a:gd name="connsiteX81" fmla="*/ 0 w 8971757"/>
                  <a:gd name="connsiteY81" fmla="*/ 845344 h 4575969"/>
                  <a:gd name="connsiteX82" fmla="*/ 76200 w 8971757"/>
                  <a:gd name="connsiteY82" fmla="*/ 828675 h 4575969"/>
                  <a:gd name="connsiteX83" fmla="*/ 119063 w 8971757"/>
                  <a:gd name="connsiteY83" fmla="*/ 857250 h 4575969"/>
                  <a:gd name="connsiteX84" fmla="*/ 215900 w 8971757"/>
                  <a:gd name="connsiteY84" fmla="*/ 848519 h 4575969"/>
                  <a:gd name="connsiteX85" fmla="*/ 261938 w 8971757"/>
                  <a:gd name="connsiteY85" fmla="*/ 876299 h 4575969"/>
                  <a:gd name="connsiteX86" fmla="*/ 228600 w 8971757"/>
                  <a:gd name="connsiteY86" fmla="*/ 904875 h 4575969"/>
                  <a:gd name="connsiteX87" fmla="*/ 233363 w 8971757"/>
                  <a:gd name="connsiteY87" fmla="*/ 947737 h 4575969"/>
                  <a:gd name="connsiteX88" fmla="*/ 200025 w 8971757"/>
                  <a:gd name="connsiteY88" fmla="*/ 952500 h 4575969"/>
                  <a:gd name="connsiteX89" fmla="*/ 204788 w 8971757"/>
                  <a:gd name="connsiteY89" fmla="*/ 976312 h 4575969"/>
                  <a:gd name="connsiteX90" fmla="*/ 261937 w 8971757"/>
                  <a:gd name="connsiteY90" fmla="*/ 1050131 h 4575969"/>
                  <a:gd name="connsiteX91" fmla="*/ 223838 w 8971757"/>
                  <a:gd name="connsiteY91" fmla="*/ 1097756 h 4575969"/>
                  <a:gd name="connsiteX92" fmla="*/ 278606 w 8971757"/>
                  <a:gd name="connsiteY92" fmla="*/ 1133475 h 4575969"/>
                  <a:gd name="connsiteX93" fmla="*/ 369094 w 8971757"/>
                  <a:gd name="connsiteY93" fmla="*/ 1221581 h 4575969"/>
                  <a:gd name="connsiteX94" fmla="*/ 371475 w 8971757"/>
                  <a:gd name="connsiteY94" fmla="*/ 1281112 h 4575969"/>
                  <a:gd name="connsiteX95" fmla="*/ 507206 w 8971757"/>
                  <a:gd name="connsiteY95" fmla="*/ 1414463 h 4575969"/>
                  <a:gd name="connsiteX96" fmla="*/ 561975 w 8971757"/>
                  <a:gd name="connsiteY96" fmla="*/ 1390650 h 4575969"/>
                  <a:gd name="connsiteX97" fmla="*/ 600075 w 8971757"/>
                  <a:gd name="connsiteY97" fmla="*/ 1416843 h 4575969"/>
                  <a:gd name="connsiteX98" fmla="*/ 614363 w 8971757"/>
                  <a:gd name="connsiteY98" fmla="*/ 1466849 h 4575969"/>
                  <a:gd name="connsiteX99" fmla="*/ 657225 w 8971757"/>
                  <a:gd name="connsiteY99" fmla="*/ 1502569 h 4575969"/>
                  <a:gd name="connsiteX100" fmla="*/ 697706 w 8971757"/>
                  <a:gd name="connsiteY100" fmla="*/ 1490662 h 4575969"/>
                  <a:gd name="connsiteX101" fmla="*/ 716756 w 8971757"/>
                  <a:gd name="connsiteY101" fmla="*/ 1547812 h 4575969"/>
                  <a:gd name="connsiteX102" fmla="*/ 764381 w 8971757"/>
                  <a:gd name="connsiteY102" fmla="*/ 1590675 h 4575969"/>
                  <a:gd name="connsiteX103" fmla="*/ 788194 w 8971757"/>
                  <a:gd name="connsiteY103" fmla="*/ 1693069 h 4575969"/>
                  <a:gd name="connsiteX104" fmla="*/ 785813 w 8971757"/>
                  <a:gd name="connsiteY104" fmla="*/ 1740694 h 4575969"/>
                  <a:gd name="connsiteX105" fmla="*/ 821531 w 8971757"/>
                  <a:gd name="connsiteY105" fmla="*/ 1840706 h 4575969"/>
                  <a:gd name="connsiteX106" fmla="*/ 866775 w 8971757"/>
                  <a:gd name="connsiteY106" fmla="*/ 1897856 h 4575969"/>
                  <a:gd name="connsiteX107" fmla="*/ 883443 w 8971757"/>
                  <a:gd name="connsiteY107" fmla="*/ 2055018 h 4575969"/>
                  <a:gd name="connsiteX108" fmla="*/ 850106 w 8971757"/>
                  <a:gd name="connsiteY108" fmla="*/ 2116931 h 4575969"/>
                  <a:gd name="connsiteX109" fmla="*/ 819150 w 8971757"/>
                  <a:gd name="connsiteY109" fmla="*/ 2193131 h 4575969"/>
                  <a:gd name="connsiteX110" fmla="*/ 833438 w 8971757"/>
                  <a:gd name="connsiteY110" fmla="*/ 2250281 h 4575969"/>
                  <a:gd name="connsiteX111" fmla="*/ 735806 w 8971757"/>
                  <a:gd name="connsiteY111" fmla="*/ 2357438 h 4575969"/>
                  <a:gd name="connsiteX112" fmla="*/ 692944 w 8971757"/>
                  <a:gd name="connsiteY112" fmla="*/ 2471737 h 4575969"/>
                  <a:gd name="connsiteX113" fmla="*/ 726281 w 8971757"/>
                  <a:gd name="connsiteY113" fmla="*/ 2512219 h 4575969"/>
                  <a:gd name="connsiteX114" fmla="*/ 709613 w 8971757"/>
                  <a:gd name="connsiteY114" fmla="*/ 2540794 h 4575969"/>
                  <a:gd name="connsiteX115" fmla="*/ 740569 w 8971757"/>
                  <a:gd name="connsiteY115" fmla="*/ 2597944 h 4575969"/>
                  <a:gd name="connsiteX116" fmla="*/ 769144 w 8971757"/>
                  <a:gd name="connsiteY116" fmla="*/ 2597944 h 4575969"/>
                  <a:gd name="connsiteX117" fmla="*/ 931069 w 8971757"/>
                  <a:gd name="connsiteY117" fmla="*/ 2700337 h 4575969"/>
                  <a:gd name="connsiteX118" fmla="*/ 1035844 w 8971757"/>
                  <a:gd name="connsiteY118" fmla="*/ 2697956 h 4575969"/>
                  <a:gd name="connsiteX119" fmla="*/ 1114425 w 8971757"/>
                  <a:gd name="connsiteY119" fmla="*/ 2752725 h 4575969"/>
                  <a:gd name="connsiteX120" fmla="*/ 1245393 w 8971757"/>
                  <a:gd name="connsiteY120" fmla="*/ 2755106 h 4575969"/>
                  <a:gd name="connsiteX121" fmla="*/ 1435893 w 8971757"/>
                  <a:gd name="connsiteY121" fmla="*/ 2824162 h 4575969"/>
                  <a:gd name="connsiteX122" fmla="*/ 1638300 w 8971757"/>
                  <a:gd name="connsiteY122" fmla="*/ 2974181 h 4575969"/>
                  <a:gd name="connsiteX123" fmla="*/ 1671637 w 8971757"/>
                  <a:gd name="connsiteY123" fmla="*/ 3040856 h 4575969"/>
                  <a:gd name="connsiteX124" fmla="*/ 1838325 w 8971757"/>
                  <a:gd name="connsiteY124" fmla="*/ 3167062 h 4575969"/>
                  <a:gd name="connsiteX125" fmla="*/ 1909763 w 8971757"/>
                  <a:gd name="connsiteY125" fmla="*/ 3162300 h 4575969"/>
                  <a:gd name="connsiteX126" fmla="*/ 1945482 w 8971757"/>
                  <a:gd name="connsiteY126" fmla="*/ 3186112 h 4575969"/>
                  <a:gd name="connsiteX127" fmla="*/ 1916906 w 8971757"/>
                  <a:gd name="connsiteY127" fmla="*/ 3226594 h 4575969"/>
                  <a:gd name="connsiteX128" fmla="*/ 1924050 w 8971757"/>
                  <a:gd name="connsiteY128" fmla="*/ 3278981 h 4575969"/>
                  <a:gd name="connsiteX129" fmla="*/ 1976438 w 8971757"/>
                  <a:gd name="connsiteY129" fmla="*/ 3305175 h 4575969"/>
                  <a:gd name="connsiteX130" fmla="*/ 2038350 w 8971757"/>
                  <a:gd name="connsiteY130" fmla="*/ 3529013 h 4575969"/>
                  <a:gd name="connsiteX131" fmla="*/ 2028825 w 8971757"/>
                  <a:gd name="connsiteY131" fmla="*/ 3593306 h 4575969"/>
                  <a:gd name="connsiteX132" fmla="*/ 2164556 w 8971757"/>
                  <a:gd name="connsiteY132" fmla="*/ 3759994 h 4575969"/>
                  <a:gd name="connsiteX133" fmla="*/ 2183606 w 8971757"/>
                  <a:gd name="connsiteY133" fmla="*/ 3810000 h 4575969"/>
                  <a:gd name="connsiteX134" fmla="*/ 2157413 w 8971757"/>
                  <a:gd name="connsiteY134" fmla="*/ 3829050 h 4575969"/>
                  <a:gd name="connsiteX135" fmla="*/ 2259806 w 8971757"/>
                  <a:gd name="connsiteY135" fmla="*/ 3838575 h 4575969"/>
                  <a:gd name="connsiteX136" fmla="*/ 2371725 w 8971757"/>
                  <a:gd name="connsiteY136" fmla="*/ 3826669 h 4575969"/>
                  <a:gd name="connsiteX137" fmla="*/ 2650331 w 8971757"/>
                  <a:gd name="connsiteY137" fmla="*/ 3910012 h 4575969"/>
                  <a:gd name="connsiteX138" fmla="*/ 3057525 w 8971757"/>
                  <a:gd name="connsiteY138" fmla="*/ 3990975 h 4575969"/>
                  <a:gd name="connsiteX139" fmla="*/ 3255169 w 8971757"/>
                  <a:gd name="connsiteY139" fmla="*/ 3960018 h 4575969"/>
                  <a:gd name="connsiteX140" fmla="*/ 3300413 w 8971757"/>
                  <a:gd name="connsiteY140" fmla="*/ 3971924 h 4575969"/>
                  <a:gd name="connsiteX141" fmla="*/ 3355181 w 8971757"/>
                  <a:gd name="connsiteY141" fmla="*/ 3948113 h 4575969"/>
                  <a:gd name="connsiteX142" fmla="*/ 3748087 w 8971757"/>
                  <a:gd name="connsiteY142" fmla="*/ 4038600 h 4575969"/>
                  <a:gd name="connsiteX143" fmla="*/ 3831432 w 8971757"/>
                  <a:gd name="connsiteY143" fmla="*/ 4136231 h 4575969"/>
                  <a:gd name="connsiteX144" fmla="*/ 3950494 w 8971757"/>
                  <a:gd name="connsiteY144" fmla="*/ 4207669 h 4575969"/>
                  <a:gd name="connsiteX145" fmla="*/ 4010025 w 8971757"/>
                  <a:gd name="connsiteY145" fmla="*/ 4191000 h 4575969"/>
                  <a:gd name="connsiteX146" fmla="*/ 4360068 w 8971757"/>
                  <a:gd name="connsiteY146" fmla="*/ 4364831 h 4575969"/>
                  <a:gd name="connsiteX147" fmla="*/ 4586288 w 8971757"/>
                  <a:gd name="connsiteY147" fmla="*/ 4336256 h 4575969"/>
                  <a:gd name="connsiteX148" fmla="*/ 4595813 w 8971757"/>
                  <a:gd name="connsiteY148" fmla="*/ 4414837 h 4575969"/>
                  <a:gd name="connsiteX149" fmla="*/ 4681538 w 8971757"/>
                  <a:gd name="connsiteY149" fmla="*/ 4410074 h 4575969"/>
                  <a:gd name="connsiteX150" fmla="*/ 4760119 w 8971757"/>
                  <a:gd name="connsiteY150" fmla="*/ 4441031 h 4575969"/>
                  <a:gd name="connsiteX151" fmla="*/ 4802981 w 8971757"/>
                  <a:gd name="connsiteY151" fmla="*/ 4381500 h 4575969"/>
                  <a:gd name="connsiteX152" fmla="*/ 5474494 w 8971757"/>
                  <a:gd name="connsiteY152" fmla="*/ 4062412 h 4575969"/>
                  <a:gd name="connsiteX153" fmla="*/ 5562600 w 8971757"/>
                  <a:gd name="connsiteY153" fmla="*/ 4090988 h 4575969"/>
                  <a:gd name="connsiteX154" fmla="*/ 5693569 w 8971757"/>
                  <a:gd name="connsiteY154" fmla="*/ 4062412 h 4575969"/>
                  <a:gd name="connsiteX155" fmla="*/ 5872162 w 8971757"/>
                  <a:gd name="connsiteY155" fmla="*/ 4079081 h 4575969"/>
                  <a:gd name="connsiteX156" fmla="*/ 5929313 w 8971757"/>
                  <a:gd name="connsiteY156" fmla="*/ 4052888 h 4575969"/>
                  <a:gd name="connsiteX157" fmla="*/ 6062662 w 8971757"/>
                  <a:gd name="connsiteY157" fmla="*/ 4050506 h 4575969"/>
                  <a:gd name="connsiteX158" fmla="*/ 6196012 w 8971757"/>
                  <a:gd name="connsiteY158" fmla="*/ 3952875 h 4575969"/>
                  <a:gd name="connsiteX159" fmla="*/ 6262687 w 8971757"/>
                  <a:gd name="connsiteY159" fmla="*/ 3945731 h 4575969"/>
                  <a:gd name="connsiteX160" fmla="*/ 6360319 w 8971757"/>
                  <a:gd name="connsiteY160" fmla="*/ 3871912 h 4575969"/>
                  <a:gd name="connsiteX161" fmla="*/ 6434138 w 8971757"/>
                  <a:gd name="connsiteY161" fmla="*/ 3802856 h 4575969"/>
                  <a:gd name="connsiteX162" fmla="*/ 6443663 w 8971757"/>
                  <a:gd name="connsiteY162" fmla="*/ 3740944 h 4575969"/>
                  <a:gd name="connsiteX163" fmla="*/ 6477000 w 8971757"/>
                  <a:gd name="connsiteY163" fmla="*/ 3671887 h 4575969"/>
                  <a:gd name="connsiteX164" fmla="*/ 6629400 w 8971757"/>
                  <a:gd name="connsiteY164" fmla="*/ 3564731 h 4575969"/>
                  <a:gd name="connsiteX165" fmla="*/ 6662738 w 8971757"/>
                  <a:gd name="connsiteY165" fmla="*/ 3569494 h 4575969"/>
                  <a:gd name="connsiteX166" fmla="*/ 6715125 w 8971757"/>
                  <a:gd name="connsiteY166" fmla="*/ 3490912 h 4575969"/>
                  <a:gd name="connsiteX167" fmla="*/ 6762750 w 8971757"/>
                  <a:gd name="connsiteY167" fmla="*/ 3452812 h 4575969"/>
                  <a:gd name="connsiteX168" fmla="*/ 6748463 w 8971757"/>
                  <a:gd name="connsiteY168" fmla="*/ 3383756 h 4575969"/>
                  <a:gd name="connsiteX169" fmla="*/ 6698456 w 8971757"/>
                  <a:gd name="connsiteY169" fmla="*/ 3352799 h 4575969"/>
                  <a:gd name="connsiteX170" fmla="*/ 6638925 w 8971757"/>
                  <a:gd name="connsiteY170" fmla="*/ 3298031 h 4575969"/>
                  <a:gd name="connsiteX171" fmla="*/ 6619875 w 8971757"/>
                  <a:gd name="connsiteY171" fmla="*/ 3240881 h 4575969"/>
                  <a:gd name="connsiteX172" fmla="*/ 6584156 w 8971757"/>
                  <a:gd name="connsiteY172" fmla="*/ 3207544 h 4575969"/>
                  <a:gd name="connsiteX173" fmla="*/ 6610350 w 8971757"/>
                  <a:gd name="connsiteY173" fmla="*/ 3155156 h 4575969"/>
                  <a:gd name="connsiteX174" fmla="*/ 6650831 w 8971757"/>
                  <a:gd name="connsiteY174" fmla="*/ 2976562 h 4575969"/>
                  <a:gd name="connsiteX175" fmla="*/ 6691313 w 8971757"/>
                  <a:gd name="connsiteY175" fmla="*/ 2909887 h 4575969"/>
                  <a:gd name="connsiteX176" fmla="*/ 6836569 w 8971757"/>
                  <a:gd name="connsiteY176" fmla="*/ 2893218 h 4575969"/>
                  <a:gd name="connsiteX177" fmla="*/ 6905625 w 8971757"/>
                  <a:gd name="connsiteY177" fmla="*/ 2950369 h 4575969"/>
                  <a:gd name="connsiteX178" fmla="*/ 6981825 w 8971757"/>
                  <a:gd name="connsiteY178" fmla="*/ 2974181 h 4575969"/>
                  <a:gd name="connsiteX179" fmla="*/ 7186612 w 8971757"/>
                  <a:gd name="connsiteY179" fmla="*/ 2978944 h 4575969"/>
                  <a:gd name="connsiteX180" fmla="*/ 7362825 w 8971757"/>
                  <a:gd name="connsiteY180" fmla="*/ 2840831 h 4575969"/>
                  <a:gd name="connsiteX181" fmla="*/ 7419975 w 8971757"/>
                  <a:gd name="connsiteY181" fmla="*/ 2750343 h 4575969"/>
                  <a:gd name="connsiteX182" fmla="*/ 7446169 w 8971757"/>
                  <a:gd name="connsiteY182" fmla="*/ 2667000 h 4575969"/>
                  <a:gd name="connsiteX183" fmla="*/ 7577137 w 8971757"/>
                  <a:gd name="connsiteY183" fmla="*/ 2667000 h 4575969"/>
                  <a:gd name="connsiteX184" fmla="*/ 7750969 w 8971757"/>
                  <a:gd name="connsiteY184" fmla="*/ 2609849 h 4575969"/>
                  <a:gd name="connsiteX185" fmla="*/ 7810500 w 8971757"/>
                  <a:gd name="connsiteY185" fmla="*/ 2497931 h 4575969"/>
                  <a:gd name="connsiteX186" fmla="*/ 7874794 w 8971757"/>
                  <a:gd name="connsiteY186" fmla="*/ 2462212 h 4575969"/>
                  <a:gd name="connsiteX187" fmla="*/ 7853363 w 8971757"/>
                  <a:gd name="connsiteY187" fmla="*/ 2416969 h 4575969"/>
                  <a:gd name="connsiteX188" fmla="*/ 7931944 w 8971757"/>
                  <a:gd name="connsiteY188" fmla="*/ 2247899 h 4575969"/>
                  <a:gd name="connsiteX189" fmla="*/ 7986713 w 8971757"/>
                  <a:gd name="connsiteY189" fmla="*/ 2188369 h 4575969"/>
                  <a:gd name="connsiteX190" fmla="*/ 8024813 w 8971757"/>
                  <a:gd name="connsiteY190" fmla="*/ 2183606 h 4575969"/>
                  <a:gd name="connsiteX191" fmla="*/ 8070056 w 8971757"/>
                  <a:gd name="connsiteY191" fmla="*/ 2188369 h 4575969"/>
                  <a:gd name="connsiteX192" fmla="*/ 8134350 w 8971757"/>
                  <a:gd name="connsiteY192" fmla="*/ 2155031 h 4575969"/>
                  <a:gd name="connsiteX193" fmla="*/ 8143875 w 8971757"/>
                  <a:gd name="connsiteY193" fmla="*/ 2090737 h 4575969"/>
                  <a:gd name="connsiteX194" fmla="*/ 8184355 w 8971757"/>
                  <a:gd name="connsiteY194" fmla="*/ 2055019 h 4575969"/>
                  <a:gd name="connsiteX195" fmla="*/ 8243888 w 8971757"/>
                  <a:gd name="connsiteY195" fmla="*/ 2095499 h 4575969"/>
                  <a:gd name="connsiteX196" fmla="*/ 8270082 w 8971757"/>
                  <a:gd name="connsiteY196" fmla="*/ 2045493 h 4575969"/>
                  <a:gd name="connsiteX197" fmla="*/ 8365331 w 8971757"/>
                  <a:gd name="connsiteY197" fmla="*/ 1976437 h 4575969"/>
                  <a:gd name="connsiteX198" fmla="*/ 8427244 w 8971757"/>
                  <a:gd name="connsiteY198" fmla="*/ 1983581 h 4575969"/>
                  <a:gd name="connsiteX199" fmla="*/ 8477250 w 8971757"/>
                  <a:gd name="connsiteY199" fmla="*/ 1964531 h 4575969"/>
                  <a:gd name="connsiteX200" fmla="*/ 8515350 w 8971757"/>
                  <a:gd name="connsiteY200" fmla="*/ 1935956 h 4575969"/>
                  <a:gd name="connsiteX201" fmla="*/ 8548688 w 8971757"/>
                  <a:gd name="connsiteY201" fmla="*/ 1933575 h 4575969"/>
                  <a:gd name="connsiteX202" fmla="*/ 8584406 w 8971757"/>
                  <a:gd name="connsiteY202" fmla="*/ 1964531 h 4575969"/>
                  <a:gd name="connsiteX203" fmla="*/ 8643938 w 8971757"/>
                  <a:gd name="connsiteY203" fmla="*/ 1964531 h 4575969"/>
                  <a:gd name="connsiteX204" fmla="*/ 8682037 w 8971757"/>
                  <a:gd name="connsiteY204" fmla="*/ 1945481 h 4575969"/>
                  <a:gd name="connsiteX205" fmla="*/ 8765381 w 8971757"/>
                  <a:gd name="connsiteY205" fmla="*/ 1947863 h 4575969"/>
                  <a:gd name="connsiteX206" fmla="*/ 8796338 w 8971757"/>
                  <a:gd name="connsiteY206" fmla="*/ 1902619 h 4575969"/>
                  <a:gd name="connsiteX207" fmla="*/ 8801100 w 8971757"/>
                  <a:gd name="connsiteY207" fmla="*/ 1840706 h 4575969"/>
                  <a:gd name="connsiteX208" fmla="*/ 8751093 w 8971757"/>
                  <a:gd name="connsiteY208" fmla="*/ 1800225 h 4575969"/>
                  <a:gd name="connsiteX209" fmla="*/ 8734425 w 8971757"/>
                  <a:gd name="connsiteY209" fmla="*/ 1745456 h 4575969"/>
                  <a:gd name="connsiteX210" fmla="*/ 8643938 w 8971757"/>
                  <a:gd name="connsiteY210" fmla="*/ 1683544 h 4575969"/>
                  <a:gd name="connsiteX211" fmla="*/ 8603456 w 8971757"/>
                  <a:gd name="connsiteY211" fmla="*/ 1662112 h 4575969"/>
                  <a:gd name="connsiteX212" fmla="*/ 8565356 w 8971757"/>
                  <a:gd name="connsiteY212" fmla="*/ 1616869 h 4575969"/>
                  <a:gd name="connsiteX213" fmla="*/ 8534400 w 8971757"/>
                  <a:gd name="connsiteY213" fmla="*/ 1614487 h 4575969"/>
                  <a:gd name="connsiteX214" fmla="*/ 8517731 w 8971757"/>
                  <a:gd name="connsiteY214" fmla="*/ 1562100 h 4575969"/>
                  <a:gd name="connsiteX215" fmla="*/ 8477250 w 8971757"/>
                  <a:gd name="connsiteY215" fmla="*/ 1545431 h 4575969"/>
                  <a:gd name="connsiteX216" fmla="*/ 8477250 w 8971757"/>
                  <a:gd name="connsiteY216" fmla="*/ 1545431 h 4575969"/>
                  <a:gd name="connsiteX217" fmla="*/ 8436769 w 8971757"/>
                  <a:gd name="connsiteY217" fmla="*/ 1550194 h 4575969"/>
                  <a:gd name="connsiteX218" fmla="*/ 8351043 w 8971757"/>
                  <a:gd name="connsiteY218" fmla="*/ 1476375 h 4575969"/>
                  <a:gd name="connsiteX219" fmla="*/ 8170069 w 8971757"/>
                  <a:gd name="connsiteY219" fmla="*/ 1476374 h 4575969"/>
                  <a:gd name="connsiteX220" fmla="*/ 8117681 w 8971757"/>
                  <a:gd name="connsiteY220" fmla="*/ 1514475 h 4575969"/>
                  <a:gd name="connsiteX221" fmla="*/ 8067675 w 8971757"/>
                  <a:gd name="connsiteY221" fmla="*/ 1593056 h 4575969"/>
                  <a:gd name="connsiteX222" fmla="*/ 8084344 w 8971757"/>
                  <a:gd name="connsiteY222" fmla="*/ 1614487 h 4575969"/>
                  <a:gd name="connsiteX223" fmla="*/ 8039100 w 8971757"/>
                  <a:gd name="connsiteY223" fmla="*/ 1664493 h 4575969"/>
                  <a:gd name="connsiteX224" fmla="*/ 7889081 w 8971757"/>
                  <a:gd name="connsiteY224" fmla="*/ 1588293 h 4575969"/>
                  <a:gd name="connsiteX225" fmla="*/ 7798594 w 8971757"/>
                  <a:gd name="connsiteY225" fmla="*/ 1624012 h 4575969"/>
                  <a:gd name="connsiteX226" fmla="*/ 7724775 w 8971757"/>
                  <a:gd name="connsiteY226" fmla="*/ 1621631 h 4575969"/>
                  <a:gd name="connsiteX227" fmla="*/ 7667625 w 8971757"/>
                  <a:gd name="connsiteY227" fmla="*/ 1716881 h 4575969"/>
                  <a:gd name="connsiteX228" fmla="*/ 7529513 w 8971757"/>
                  <a:gd name="connsiteY22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3214687 w 8971757"/>
                  <a:gd name="connsiteY75" fmla="*/ 135731 h 4575969"/>
                  <a:gd name="connsiteX76" fmla="*/ 8412956 w 8971757"/>
                  <a:gd name="connsiteY76" fmla="*/ 23812 h 4575969"/>
                  <a:gd name="connsiteX77" fmla="*/ 8949531 w 8971757"/>
                  <a:gd name="connsiteY77" fmla="*/ 0 h 4575969"/>
                  <a:gd name="connsiteX78" fmla="*/ 8971757 w 8971757"/>
                  <a:gd name="connsiteY78" fmla="*/ 4575969 h 4575969"/>
                  <a:gd name="connsiteX79" fmla="*/ 2381 w 8971757"/>
                  <a:gd name="connsiteY79" fmla="*/ 4547392 h 4575969"/>
                  <a:gd name="connsiteX80" fmla="*/ 0 w 8971757"/>
                  <a:gd name="connsiteY80" fmla="*/ 845344 h 4575969"/>
                  <a:gd name="connsiteX81" fmla="*/ 76200 w 8971757"/>
                  <a:gd name="connsiteY81" fmla="*/ 828675 h 4575969"/>
                  <a:gd name="connsiteX82" fmla="*/ 119063 w 8971757"/>
                  <a:gd name="connsiteY82" fmla="*/ 857250 h 4575969"/>
                  <a:gd name="connsiteX83" fmla="*/ 215900 w 8971757"/>
                  <a:gd name="connsiteY83" fmla="*/ 848519 h 4575969"/>
                  <a:gd name="connsiteX84" fmla="*/ 261938 w 8971757"/>
                  <a:gd name="connsiteY84" fmla="*/ 876299 h 4575969"/>
                  <a:gd name="connsiteX85" fmla="*/ 228600 w 8971757"/>
                  <a:gd name="connsiteY85" fmla="*/ 904875 h 4575969"/>
                  <a:gd name="connsiteX86" fmla="*/ 233363 w 8971757"/>
                  <a:gd name="connsiteY86" fmla="*/ 947737 h 4575969"/>
                  <a:gd name="connsiteX87" fmla="*/ 200025 w 8971757"/>
                  <a:gd name="connsiteY87" fmla="*/ 952500 h 4575969"/>
                  <a:gd name="connsiteX88" fmla="*/ 204788 w 8971757"/>
                  <a:gd name="connsiteY88" fmla="*/ 976312 h 4575969"/>
                  <a:gd name="connsiteX89" fmla="*/ 261937 w 8971757"/>
                  <a:gd name="connsiteY89" fmla="*/ 1050131 h 4575969"/>
                  <a:gd name="connsiteX90" fmla="*/ 223838 w 8971757"/>
                  <a:gd name="connsiteY90" fmla="*/ 1097756 h 4575969"/>
                  <a:gd name="connsiteX91" fmla="*/ 278606 w 8971757"/>
                  <a:gd name="connsiteY91" fmla="*/ 1133475 h 4575969"/>
                  <a:gd name="connsiteX92" fmla="*/ 369094 w 8971757"/>
                  <a:gd name="connsiteY92" fmla="*/ 1221581 h 4575969"/>
                  <a:gd name="connsiteX93" fmla="*/ 371475 w 8971757"/>
                  <a:gd name="connsiteY93" fmla="*/ 1281112 h 4575969"/>
                  <a:gd name="connsiteX94" fmla="*/ 507206 w 8971757"/>
                  <a:gd name="connsiteY94" fmla="*/ 1414463 h 4575969"/>
                  <a:gd name="connsiteX95" fmla="*/ 561975 w 8971757"/>
                  <a:gd name="connsiteY95" fmla="*/ 1390650 h 4575969"/>
                  <a:gd name="connsiteX96" fmla="*/ 600075 w 8971757"/>
                  <a:gd name="connsiteY96" fmla="*/ 1416843 h 4575969"/>
                  <a:gd name="connsiteX97" fmla="*/ 614363 w 8971757"/>
                  <a:gd name="connsiteY97" fmla="*/ 1466849 h 4575969"/>
                  <a:gd name="connsiteX98" fmla="*/ 657225 w 8971757"/>
                  <a:gd name="connsiteY98" fmla="*/ 1502569 h 4575969"/>
                  <a:gd name="connsiteX99" fmla="*/ 697706 w 8971757"/>
                  <a:gd name="connsiteY99" fmla="*/ 1490662 h 4575969"/>
                  <a:gd name="connsiteX100" fmla="*/ 716756 w 8971757"/>
                  <a:gd name="connsiteY100" fmla="*/ 1547812 h 4575969"/>
                  <a:gd name="connsiteX101" fmla="*/ 764381 w 8971757"/>
                  <a:gd name="connsiteY101" fmla="*/ 1590675 h 4575969"/>
                  <a:gd name="connsiteX102" fmla="*/ 788194 w 8971757"/>
                  <a:gd name="connsiteY102" fmla="*/ 1693069 h 4575969"/>
                  <a:gd name="connsiteX103" fmla="*/ 785813 w 8971757"/>
                  <a:gd name="connsiteY103" fmla="*/ 1740694 h 4575969"/>
                  <a:gd name="connsiteX104" fmla="*/ 821531 w 8971757"/>
                  <a:gd name="connsiteY104" fmla="*/ 1840706 h 4575969"/>
                  <a:gd name="connsiteX105" fmla="*/ 866775 w 8971757"/>
                  <a:gd name="connsiteY105" fmla="*/ 1897856 h 4575969"/>
                  <a:gd name="connsiteX106" fmla="*/ 883443 w 8971757"/>
                  <a:gd name="connsiteY106" fmla="*/ 2055018 h 4575969"/>
                  <a:gd name="connsiteX107" fmla="*/ 850106 w 8971757"/>
                  <a:gd name="connsiteY107" fmla="*/ 2116931 h 4575969"/>
                  <a:gd name="connsiteX108" fmla="*/ 819150 w 8971757"/>
                  <a:gd name="connsiteY108" fmla="*/ 2193131 h 4575969"/>
                  <a:gd name="connsiteX109" fmla="*/ 833438 w 8971757"/>
                  <a:gd name="connsiteY109" fmla="*/ 2250281 h 4575969"/>
                  <a:gd name="connsiteX110" fmla="*/ 735806 w 8971757"/>
                  <a:gd name="connsiteY110" fmla="*/ 2357438 h 4575969"/>
                  <a:gd name="connsiteX111" fmla="*/ 692944 w 8971757"/>
                  <a:gd name="connsiteY111" fmla="*/ 2471737 h 4575969"/>
                  <a:gd name="connsiteX112" fmla="*/ 726281 w 8971757"/>
                  <a:gd name="connsiteY112" fmla="*/ 2512219 h 4575969"/>
                  <a:gd name="connsiteX113" fmla="*/ 709613 w 8971757"/>
                  <a:gd name="connsiteY113" fmla="*/ 2540794 h 4575969"/>
                  <a:gd name="connsiteX114" fmla="*/ 740569 w 8971757"/>
                  <a:gd name="connsiteY114" fmla="*/ 2597944 h 4575969"/>
                  <a:gd name="connsiteX115" fmla="*/ 769144 w 8971757"/>
                  <a:gd name="connsiteY115" fmla="*/ 2597944 h 4575969"/>
                  <a:gd name="connsiteX116" fmla="*/ 931069 w 8971757"/>
                  <a:gd name="connsiteY116" fmla="*/ 2700337 h 4575969"/>
                  <a:gd name="connsiteX117" fmla="*/ 1035844 w 8971757"/>
                  <a:gd name="connsiteY117" fmla="*/ 2697956 h 4575969"/>
                  <a:gd name="connsiteX118" fmla="*/ 1114425 w 8971757"/>
                  <a:gd name="connsiteY118" fmla="*/ 2752725 h 4575969"/>
                  <a:gd name="connsiteX119" fmla="*/ 1245393 w 8971757"/>
                  <a:gd name="connsiteY119" fmla="*/ 2755106 h 4575969"/>
                  <a:gd name="connsiteX120" fmla="*/ 1435893 w 8971757"/>
                  <a:gd name="connsiteY120" fmla="*/ 2824162 h 4575969"/>
                  <a:gd name="connsiteX121" fmla="*/ 1638300 w 8971757"/>
                  <a:gd name="connsiteY121" fmla="*/ 2974181 h 4575969"/>
                  <a:gd name="connsiteX122" fmla="*/ 1671637 w 8971757"/>
                  <a:gd name="connsiteY122" fmla="*/ 3040856 h 4575969"/>
                  <a:gd name="connsiteX123" fmla="*/ 1838325 w 8971757"/>
                  <a:gd name="connsiteY123" fmla="*/ 3167062 h 4575969"/>
                  <a:gd name="connsiteX124" fmla="*/ 1909763 w 8971757"/>
                  <a:gd name="connsiteY124" fmla="*/ 3162300 h 4575969"/>
                  <a:gd name="connsiteX125" fmla="*/ 1945482 w 8971757"/>
                  <a:gd name="connsiteY125" fmla="*/ 3186112 h 4575969"/>
                  <a:gd name="connsiteX126" fmla="*/ 1916906 w 8971757"/>
                  <a:gd name="connsiteY126" fmla="*/ 3226594 h 4575969"/>
                  <a:gd name="connsiteX127" fmla="*/ 1924050 w 8971757"/>
                  <a:gd name="connsiteY127" fmla="*/ 3278981 h 4575969"/>
                  <a:gd name="connsiteX128" fmla="*/ 1976438 w 8971757"/>
                  <a:gd name="connsiteY128" fmla="*/ 3305175 h 4575969"/>
                  <a:gd name="connsiteX129" fmla="*/ 2038350 w 8971757"/>
                  <a:gd name="connsiteY129" fmla="*/ 3529013 h 4575969"/>
                  <a:gd name="connsiteX130" fmla="*/ 2028825 w 8971757"/>
                  <a:gd name="connsiteY130" fmla="*/ 3593306 h 4575969"/>
                  <a:gd name="connsiteX131" fmla="*/ 2164556 w 8971757"/>
                  <a:gd name="connsiteY131" fmla="*/ 3759994 h 4575969"/>
                  <a:gd name="connsiteX132" fmla="*/ 2183606 w 8971757"/>
                  <a:gd name="connsiteY132" fmla="*/ 3810000 h 4575969"/>
                  <a:gd name="connsiteX133" fmla="*/ 2157413 w 8971757"/>
                  <a:gd name="connsiteY133" fmla="*/ 3829050 h 4575969"/>
                  <a:gd name="connsiteX134" fmla="*/ 2259806 w 8971757"/>
                  <a:gd name="connsiteY134" fmla="*/ 3838575 h 4575969"/>
                  <a:gd name="connsiteX135" fmla="*/ 2371725 w 8971757"/>
                  <a:gd name="connsiteY135" fmla="*/ 3826669 h 4575969"/>
                  <a:gd name="connsiteX136" fmla="*/ 2650331 w 8971757"/>
                  <a:gd name="connsiteY136" fmla="*/ 3910012 h 4575969"/>
                  <a:gd name="connsiteX137" fmla="*/ 3057525 w 8971757"/>
                  <a:gd name="connsiteY137" fmla="*/ 3990975 h 4575969"/>
                  <a:gd name="connsiteX138" fmla="*/ 3255169 w 8971757"/>
                  <a:gd name="connsiteY138" fmla="*/ 3960018 h 4575969"/>
                  <a:gd name="connsiteX139" fmla="*/ 3300413 w 8971757"/>
                  <a:gd name="connsiteY139" fmla="*/ 3971924 h 4575969"/>
                  <a:gd name="connsiteX140" fmla="*/ 3355181 w 8971757"/>
                  <a:gd name="connsiteY140" fmla="*/ 3948113 h 4575969"/>
                  <a:gd name="connsiteX141" fmla="*/ 3748087 w 8971757"/>
                  <a:gd name="connsiteY141" fmla="*/ 4038600 h 4575969"/>
                  <a:gd name="connsiteX142" fmla="*/ 3831432 w 8971757"/>
                  <a:gd name="connsiteY142" fmla="*/ 4136231 h 4575969"/>
                  <a:gd name="connsiteX143" fmla="*/ 3950494 w 8971757"/>
                  <a:gd name="connsiteY143" fmla="*/ 4207669 h 4575969"/>
                  <a:gd name="connsiteX144" fmla="*/ 4010025 w 8971757"/>
                  <a:gd name="connsiteY144" fmla="*/ 4191000 h 4575969"/>
                  <a:gd name="connsiteX145" fmla="*/ 4360068 w 8971757"/>
                  <a:gd name="connsiteY145" fmla="*/ 4364831 h 4575969"/>
                  <a:gd name="connsiteX146" fmla="*/ 4586288 w 8971757"/>
                  <a:gd name="connsiteY146" fmla="*/ 4336256 h 4575969"/>
                  <a:gd name="connsiteX147" fmla="*/ 4595813 w 8971757"/>
                  <a:gd name="connsiteY147" fmla="*/ 4414837 h 4575969"/>
                  <a:gd name="connsiteX148" fmla="*/ 4681538 w 8971757"/>
                  <a:gd name="connsiteY148" fmla="*/ 4410074 h 4575969"/>
                  <a:gd name="connsiteX149" fmla="*/ 4760119 w 8971757"/>
                  <a:gd name="connsiteY149" fmla="*/ 4441031 h 4575969"/>
                  <a:gd name="connsiteX150" fmla="*/ 4802981 w 8971757"/>
                  <a:gd name="connsiteY150" fmla="*/ 4381500 h 4575969"/>
                  <a:gd name="connsiteX151" fmla="*/ 5474494 w 8971757"/>
                  <a:gd name="connsiteY151" fmla="*/ 4062412 h 4575969"/>
                  <a:gd name="connsiteX152" fmla="*/ 5562600 w 8971757"/>
                  <a:gd name="connsiteY152" fmla="*/ 4090988 h 4575969"/>
                  <a:gd name="connsiteX153" fmla="*/ 5693569 w 8971757"/>
                  <a:gd name="connsiteY153" fmla="*/ 4062412 h 4575969"/>
                  <a:gd name="connsiteX154" fmla="*/ 5872162 w 8971757"/>
                  <a:gd name="connsiteY154" fmla="*/ 4079081 h 4575969"/>
                  <a:gd name="connsiteX155" fmla="*/ 5929313 w 8971757"/>
                  <a:gd name="connsiteY155" fmla="*/ 4052888 h 4575969"/>
                  <a:gd name="connsiteX156" fmla="*/ 6062662 w 8971757"/>
                  <a:gd name="connsiteY156" fmla="*/ 4050506 h 4575969"/>
                  <a:gd name="connsiteX157" fmla="*/ 6196012 w 8971757"/>
                  <a:gd name="connsiteY157" fmla="*/ 3952875 h 4575969"/>
                  <a:gd name="connsiteX158" fmla="*/ 6262687 w 8971757"/>
                  <a:gd name="connsiteY158" fmla="*/ 3945731 h 4575969"/>
                  <a:gd name="connsiteX159" fmla="*/ 6360319 w 8971757"/>
                  <a:gd name="connsiteY159" fmla="*/ 3871912 h 4575969"/>
                  <a:gd name="connsiteX160" fmla="*/ 6434138 w 8971757"/>
                  <a:gd name="connsiteY160" fmla="*/ 3802856 h 4575969"/>
                  <a:gd name="connsiteX161" fmla="*/ 6443663 w 8971757"/>
                  <a:gd name="connsiteY161" fmla="*/ 3740944 h 4575969"/>
                  <a:gd name="connsiteX162" fmla="*/ 6477000 w 8971757"/>
                  <a:gd name="connsiteY162" fmla="*/ 3671887 h 4575969"/>
                  <a:gd name="connsiteX163" fmla="*/ 6629400 w 8971757"/>
                  <a:gd name="connsiteY163" fmla="*/ 3564731 h 4575969"/>
                  <a:gd name="connsiteX164" fmla="*/ 6662738 w 8971757"/>
                  <a:gd name="connsiteY164" fmla="*/ 3569494 h 4575969"/>
                  <a:gd name="connsiteX165" fmla="*/ 6715125 w 8971757"/>
                  <a:gd name="connsiteY165" fmla="*/ 3490912 h 4575969"/>
                  <a:gd name="connsiteX166" fmla="*/ 6762750 w 8971757"/>
                  <a:gd name="connsiteY166" fmla="*/ 3452812 h 4575969"/>
                  <a:gd name="connsiteX167" fmla="*/ 6748463 w 8971757"/>
                  <a:gd name="connsiteY167" fmla="*/ 3383756 h 4575969"/>
                  <a:gd name="connsiteX168" fmla="*/ 6698456 w 8971757"/>
                  <a:gd name="connsiteY168" fmla="*/ 3352799 h 4575969"/>
                  <a:gd name="connsiteX169" fmla="*/ 6638925 w 8971757"/>
                  <a:gd name="connsiteY169" fmla="*/ 3298031 h 4575969"/>
                  <a:gd name="connsiteX170" fmla="*/ 6619875 w 8971757"/>
                  <a:gd name="connsiteY170" fmla="*/ 3240881 h 4575969"/>
                  <a:gd name="connsiteX171" fmla="*/ 6584156 w 8971757"/>
                  <a:gd name="connsiteY171" fmla="*/ 3207544 h 4575969"/>
                  <a:gd name="connsiteX172" fmla="*/ 6610350 w 8971757"/>
                  <a:gd name="connsiteY172" fmla="*/ 3155156 h 4575969"/>
                  <a:gd name="connsiteX173" fmla="*/ 6650831 w 8971757"/>
                  <a:gd name="connsiteY173" fmla="*/ 2976562 h 4575969"/>
                  <a:gd name="connsiteX174" fmla="*/ 6691313 w 8971757"/>
                  <a:gd name="connsiteY174" fmla="*/ 2909887 h 4575969"/>
                  <a:gd name="connsiteX175" fmla="*/ 6836569 w 8971757"/>
                  <a:gd name="connsiteY175" fmla="*/ 2893218 h 4575969"/>
                  <a:gd name="connsiteX176" fmla="*/ 6905625 w 8971757"/>
                  <a:gd name="connsiteY176" fmla="*/ 2950369 h 4575969"/>
                  <a:gd name="connsiteX177" fmla="*/ 6981825 w 8971757"/>
                  <a:gd name="connsiteY177" fmla="*/ 2974181 h 4575969"/>
                  <a:gd name="connsiteX178" fmla="*/ 7186612 w 8971757"/>
                  <a:gd name="connsiteY178" fmla="*/ 2978944 h 4575969"/>
                  <a:gd name="connsiteX179" fmla="*/ 7362825 w 8971757"/>
                  <a:gd name="connsiteY179" fmla="*/ 2840831 h 4575969"/>
                  <a:gd name="connsiteX180" fmla="*/ 7419975 w 8971757"/>
                  <a:gd name="connsiteY180" fmla="*/ 2750343 h 4575969"/>
                  <a:gd name="connsiteX181" fmla="*/ 7446169 w 8971757"/>
                  <a:gd name="connsiteY181" fmla="*/ 2667000 h 4575969"/>
                  <a:gd name="connsiteX182" fmla="*/ 7577137 w 8971757"/>
                  <a:gd name="connsiteY182" fmla="*/ 2667000 h 4575969"/>
                  <a:gd name="connsiteX183" fmla="*/ 7750969 w 8971757"/>
                  <a:gd name="connsiteY183" fmla="*/ 2609849 h 4575969"/>
                  <a:gd name="connsiteX184" fmla="*/ 7810500 w 8971757"/>
                  <a:gd name="connsiteY184" fmla="*/ 2497931 h 4575969"/>
                  <a:gd name="connsiteX185" fmla="*/ 7874794 w 8971757"/>
                  <a:gd name="connsiteY185" fmla="*/ 2462212 h 4575969"/>
                  <a:gd name="connsiteX186" fmla="*/ 7853363 w 8971757"/>
                  <a:gd name="connsiteY186" fmla="*/ 2416969 h 4575969"/>
                  <a:gd name="connsiteX187" fmla="*/ 7931944 w 8971757"/>
                  <a:gd name="connsiteY187" fmla="*/ 2247899 h 4575969"/>
                  <a:gd name="connsiteX188" fmla="*/ 7986713 w 8971757"/>
                  <a:gd name="connsiteY188" fmla="*/ 2188369 h 4575969"/>
                  <a:gd name="connsiteX189" fmla="*/ 8024813 w 8971757"/>
                  <a:gd name="connsiteY189" fmla="*/ 2183606 h 4575969"/>
                  <a:gd name="connsiteX190" fmla="*/ 8070056 w 8971757"/>
                  <a:gd name="connsiteY190" fmla="*/ 2188369 h 4575969"/>
                  <a:gd name="connsiteX191" fmla="*/ 8134350 w 8971757"/>
                  <a:gd name="connsiteY191" fmla="*/ 2155031 h 4575969"/>
                  <a:gd name="connsiteX192" fmla="*/ 8143875 w 8971757"/>
                  <a:gd name="connsiteY192" fmla="*/ 2090737 h 4575969"/>
                  <a:gd name="connsiteX193" fmla="*/ 8184355 w 8971757"/>
                  <a:gd name="connsiteY193" fmla="*/ 2055019 h 4575969"/>
                  <a:gd name="connsiteX194" fmla="*/ 8243888 w 8971757"/>
                  <a:gd name="connsiteY194" fmla="*/ 2095499 h 4575969"/>
                  <a:gd name="connsiteX195" fmla="*/ 8270082 w 8971757"/>
                  <a:gd name="connsiteY195" fmla="*/ 2045493 h 4575969"/>
                  <a:gd name="connsiteX196" fmla="*/ 8365331 w 8971757"/>
                  <a:gd name="connsiteY196" fmla="*/ 1976437 h 4575969"/>
                  <a:gd name="connsiteX197" fmla="*/ 8427244 w 8971757"/>
                  <a:gd name="connsiteY197" fmla="*/ 1983581 h 4575969"/>
                  <a:gd name="connsiteX198" fmla="*/ 8477250 w 8971757"/>
                  <a:gd name="connsiteY198" fmla="*/ 1964531 h 4575969"/>
                  <a:gd name="connsiteX199" fmla="*/ 8515350 w 8971757"/>
                  <a:gd name="connsiteY199" fmla="*/ 1935956 h 4575969"/>
                  <a:gd name="connsiteX200" fmla="*/ 8548688 w 8971757"/>
                  <a:gd name="connsiteY200" fmla="*/ 1933575 h 4575969"/>
                  <a:gd name="connsiteX201" fmla="*/ 8584406 w 8971757"/>
                  <a:gd name="connsiteY201" fmla="*/ 1964531 h 4575969"/>
                  <a:gd name="connsiteX202" fmla="*/ 8643938 w 8971757"/>
                  <a:gd name="connsiteY202" fmla="*/ 1964531 h 4575969"/>
                  <a:gd name="connsiteX203" fmla="*/ 8682037 w 8971757"/>
                  <a:gd name="connsiteY203" fmla="*/ 1945481 h 4575969"/>
                  <a:gd name="connsiteX204" fmla="*/ 8765381 w 8971757"/>
                  <a:gd name="connsiteY204" fmla="*/ 1947863 h 4575969"/>
                  <a:gd name="connsiteX205" fmla="*/ 8796338 w 8971757"/>
                  <a:gd name="connsiteY205" fmla="*/ 1902619 h 4575969"/>
                  <a:gd name="connsiteX206" fmla="*/ 8801100 w 8971757"/>
                  <a:gd name="connsiteY206" fmla="*/ 1840706 h 4575969"/>
                  <a:gd name="connsiteX207" fmla="*/ 8751093 w 8971757"/>
                  <a:gd name="connsiteY207" fmla="*/ 1800225 h 4575969"/>
                  <a:gd name="connsiteX208" fmla="*/ 8734425 w 8971757"/>
                  <a:gd name="connsiteY208" fmla="*/ 1745456 h 4575969"/>
                  <a:gd name="connsiteX209" fmla="*/ 8643938 w 8971757"/>
                  <a:gd name="connsiteY209" fmla="*/ 1683544 h 4575969"/>
                  <a:gd name="connsiteX210" fmla="*/ 8603456 w 8971757"/>
                  <a:gd name="connsiteY210" fmla="*/ 1662112 h 4575969"/>
                  <a:gd name="connsiteX211" fmla="*/ 8565356 w 8971757"/>
                  <a:gd name="connsiteY211" fmla="*/ 1616869 h 4575969"/>
                  <a:gd name="connsiteX212" fmla="*/ 8534400 w 8971757"/>
                  <a:gd name="connsiteY212" fmla="*/ 1614487 h 4575969"/>
                  <a:gd name="connsiteX213" fmla="*/ 8517731 w 8971757"/>
                  <a:gd name="connsiteY213" fmla="*/ 1562100 h 4575969"/>
                  <a:gd name="connsiteX214" fmla="*/ 8477250 w 8971757"/>
                  <a:gd name="connsiteY214" fmla="*/ 1545431 h 4575969"/>
                  <a:gd name="connsiteX215" fmla="*/ 8477250 w 8971757"/>
                  <a:gd name="connsiteY215" fmla="*/ 1545431 h 4575969"/>
                  <a:gd name="connsiteX216" fmla="*/ 8436769 w 8971757"/>
                  <a:gd name="connsiteY216" fmla="*/ 1550194 h 4575969"/>
                  <a:gd name="connsiteX217" fmla="*/ 8351043 w 8971757"/>
                  <a:gd name="connsiteY217" fmla="*/ 1476375 h 4575969"/>
                  <a:gd name="connsiteX218" fmla="*/ 8170069 w 8971757"/>
                  <a:gd name="connsiteY218" fmla="*/ 1476374 h 4575969"/>
                  <a:gd name="connsiteX219" fmla="*/ 8117681 w 8971757"/>
                  <a:gd name="connsiteY219" fmla="*/ 1514475 h 4575969"/>
                  <a:gd name="connsiteX220" fmla="*/ 8067675 w 8971757"/>
                  <a:gd name="connsiteY220" fmla="*/ 1593056 h 4575969"/>
                  <a:gd name="connsiteX221" fmla="*/ 8084344 w 8971757"/>
                  <a:gd name="connsiteY221" fmla="*/ 1614487 h 4575969"/>
                  <a:gd name="connsiteX222" fmla="*/ 8039100 w 8971757"/>
                  <a:gd name="connsiteY222" fmla="*/ 1664493 h 4575969"/>
                  <a:gd name="connsiteX223" fmla="*/ 7889081 w 8971757"/>
                  <a:gd name="connsiteY223" fmla="*/ 1588293 h 4575969"/>
                  <a:gd name="connsiteX224" fmla="*/ 7798594 w 8971757"/>
                  <a:gd name="connsiteY224" fmla="*/ 1624012 h 4575969"/>
                  <a:gd name="connsiteX225" fmla="*/ 7724775 w 8971757"/>
                  <a:gd name="connsiteY225" fmla="*/ 1621631 h 4575969"/>
                  <a:gd name="connsiteX226" fmla="*/ 7667625 w 8971757"/>
                  <a:gd name="connsiteY226" fmla="*/ 1716881 h 4575969"/>
                  <a:gd name="connsiteX227" fmla="*/ 7529513 w 8971757"/>
                  <a:gd name="connsiteY22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3352800 w 8971757"/>
                  <a:gd name="connsiteY74" fmla="*/ 240506 h 4575969"/>
                  <a:gd name="connsiteX75" fmla="*/ 8412956 w 8971757"/>
                  <a:gd name="connsiteY75" fmla="*/ 23812 h 4575969"/>
                  <a:gd name="connsiteX76" fmla="*/ 8949531 w 8971757"/>
                  <a:gd name="connsiteY76" fmla="*/ 0 h 4575969"/>
                  <a:gd name="connsiteX77" fmla="*/ 8971757 w 8971757"/>
                  <a:gd name="connsiteY77" fmla="*/ 4575969 h 4575969"/>
                  <a:gd name="connsiteX78" fmla="*/ 2381 w 8971757"/>
                  <a:gd name="connsiteY78" fmla="*/ 4547392 h 4575969"/>
                  <a:gd name="connsiteX79" fmla="*/ 0 w 8971757"/>
                  <a:gd name="connsiteY79" fmla="*/ 845344 h 4575969"/>
                  <a:gd name="connsiteX80" fmla="*/ 76200 w 8971757"/>
                  <a:gd name="connsiteY80" fmla="*/ 828675 h 4575969"/>
                  <a:gd name="connsiteX81" fmla="*/ 119063 w 8971757"/>
                  <a:gd name="connsiteY81" fmla="*/ 857250 h 4575969"/>
                  <a:gd name="connsiteX82" fmla="*/ 215900 w 8971757"/>
                  <a:gd name="connsiteY82" fmla="*/ 848519 h 4575969"/>
                  <a:gd name="connsiteX83" fmla="*/ 261938 w 8971757"/>
                  <a:gd name="connsiteY83" fmla="*/ 876299 h 4575969"/>
                  <a:gd name="connsiteX84" fmla="*/ 228600 w 8971757"/>
                  <a:gd name="connsiteY84" fmla="*/ 904875 h 4575969"/>
                  <a:gd name="connsiteX85" fmla="*/ 233363 w 8971757"/>
                  <a:gd name="connsiteY85" fmla="*/ 947737 h 4575969"/>
                  <a:gd name="connsiteX86" fmla="*/ 200025 w 8971757"/>
                  <a:gd name="connsiteY86" fmla="*/ 952500 h 4575969"/>
                  <a:gd name="connsiteX87" fmla="*/ 204788 w 8971757"/>
                  <a:gd name="connsiteY87" fmla="*/ 976312 h 4575969"/>
                  <a:gd name="connsiteX88" fmla="*/ 261937 w 8971757"/>
                  <a:gd name="connsiteY88" fmla="*/ 1050131 h 4575969"/>
                  <a:gd name="connsiteX89" fmla="*/ 223838 w 8971757"/>
                  <a:gd name="connsiteY89" fmla="*/ 1097756 h 4575969"/>
                  <a:gd name="connsiteX90" fmla="*/ 278606 w 8971757"/>
                  <a:gd name="connsiteY90" fmla="*/ 1133475 h 4575969"/>
                  <a:gd name="connsiteX91" fmla="*/ 369094 w 8971757"/>
                  <a:gd name="connsiteY91" fmla="*/ 1221581 h 4575969"/>
                  <a:gd name="connsiteX92" fmla="*/ 371475 w 8971757"/>
                  <a:gd name="connsiteY92" fmla="*/ 1281112 h 4575969"/>
                  <a:gd name="connsiteX93" fmla="*/ 507206 w 8971757"/>
                  <a:gd name="connsiteY93" fmla="*/ 1414463 h 4575969"/>
                  <a:gd name="connsiteX94" fmla="*/ 561975 w 8971757"/>
                  <a:gd name="connsiteY94" fmla="*/ 1390650 h 4575969"/>
                  <a:gd name="connsiteX95" fmla="*/ 600075 w 8971757"/>
                  <a:gd name="connsiteY95" fmla="*/ 1416843 h 4575969"/>
                  <a:gd name="connsiteX96" fmla="*/ 614363 w 8971757"/>
                  <a:gd name="connsiteY96" fmla="*/ 1466849 h 4575969"/>
                  <a:gd name="connsiteX97" fmla="*/ 657225 w 8971757"/>
                  <a:gd name="connsiteY97" fmla="*/ 1502569 h 4575969"/>
                  <a:gd name="connsiteX98" fmla="*/ 697706 w 8971757"/>
                  <a:gd name="connsiteY98" fmla="*/ 1490662 h 4575969"/>
                  <a:gd name="connsiteX99" fmla="*/ 716756 w 8971757"/>
                  <a:gd name="connsiteY99" fmla="*/ 1547812 h 4575969"/>
                  <a:gd name="connsiteX100" fmla="*/ 764381 w 8971757"/>
                  <a:gd name="connsiteY100" fmla="*/ 1590675 h 4575969"/>
                  <a:gd name="connsiteX101" fmla="*/ 788194 w 8971757"/>
                  <a:gd name="connsiteY101" fmla="*/ 1693069 h 4575969"/>
                  <a:gd name="connsiteX102" fmla="*/ 785813 w 8971757"/>
                  <a:gd name="connsiteY102" fmla="*/ 1740694 h 4575969"/>
                  <a:gd name="connsiteX103" fmla="*/ 821531 w 8971757"/>
                  <a:gd name="connsiteY103" fmla="*/ 1840706 h 4575969"/>
                  <a:gd name="connsiteX104" fmla="*/ 866775 w 8971757"/>
                  <a:gd name="connsiteY104" fmla="*/ 1897856 h 4575969"/>
                  <a:gd name="connsiteX105" fmla="*/ 883443 w 8971757"/>
                  <a:gd name="connsiteY105" fmla="*/ 2055018 h 4575969"/>
                  <a:gd name="connsiteX106" fmla="*/ 850106 w 8971757"/>
                  <a:gd name="connsiteY106" fmla="*/ 2116931 h 4575969"/>
                  <a:gd name="connsiteX107" fmla="*/ 819150 w 8971757"/>
                  <a:gd name="connsiteY107" fmla="*/ 2193131 h 4575969"/>
                  <a:gd name="connsiteX108" fmla="*/ 833438 w 8971757"/>
                  <a:gd name="connsiteY108" fmla="*/ 2250281 h 4575969"/>
                  <a:gd name="connsiteX109" fmla="*/ 735806 w 8971757"/>
                  <a:gd name="connsiteY109" fmla="*/ 2357438 h 4575969"/>
                  <a:gd name="connsiteX110" fmla="*/ 692944 w 8971757"/>
                  <a:gd name="connsiteY110" fmla="*/ 2471737 h 4575969"/>
                  <a:gd name="connsiteX111" fmla="*/ 726281 w 8971757"/>
                  <a:gd name="connsiteY111" fmla="*/ 2512219 h 4575969"/>
                  <a:gd name="connsiteX112" fmla="*/ 709613 w 8971757"/>
                  <a:gd name="connsiteY112" fmla="*/ 2540794 h 4575969"/>
                  <a:gd name="connsiteX113" fmla="*/ 740569 w 8971757"/>
                  <a:gd name="connsiteY113" fmla="*/ 2597944 h 4575969"/>
                  <a:gd name="connsiteX114" fmla="*/ 769144 w 8971757"/>
                  <a:gd name="connsiteY114" fmla="*/ 2597944 h 4575969"/>
                  <a:gd name="connsiteX115" fmla="*/ 931069 w 8971757"/>
                  <a:gd name="connsiteY115" fmla="*/ 2700337 h 4575969"/>
                  <a:gd name="connsiteX116" fmla="*/ 1035844 w 8971757"/>
                  <a:gd name="connsiteY116" fmla="*/ 2697956 h 4575969"/>
                  <a:gd name="connsiteX117" fmla="*/ 1114425 w 8971757"/>
                  <a:gd name="connsiteY117" fmla="*/ 2752725 h 4575969"/>
                  <a:gd name="connsiteX118" fmla="*/ 1245393 w 8971757"/>
                  <a:gd name="connsiteY118" fmla="*/ 2755106 h 4575969"/>
                  <a:gd name="connsiteX119" fmla="*/ 1435893 w 8971757"/>
                  <a:gd name="connsiteY119" fmla="*/ 2824162 h 4575969"/>
                  <a:gd name="connsiteX120" fmla="*/ 1638300 w 8971757"/>
                  <a:gd name="connsiteY120" fmla="*/ 2974181 h 4575969"/>
                  <a:gd name="connsiteX121" fmla="*/ 1671637 w 8971757"/>
                  <a:gd name="connsiteY121" fmla="*/ 3040856 h 4575969"/>
                  <a:gd name="connsiteX122" fmla="*/ 1838325 w 8971757"/>
                  <a:gd name="connsiteY122" fmla="*/ 3167062 h 4575969"/>
                  <a:gd name="connsiteX123" fmla="*/ 1909763 w 8971757"/>
                  <a:gd name="connsiteY123" fmla="*/ 3162300 h 4575969"/>
                  <a:gd name="connsiteX124" fmla="*/ 1945482 w 8971757"/>
                  <a:gd name="connsiteY124" fmla="*/ 3186112 h 4575969"/>
                  <a:gd name="connsiteX125" fmla="*/ 1916906 w 8971757"/>
                  <a:gd name="connsiteY125" fmla="*/ 3226594 h 4575969"/>
                  <a:gd name="connsiteX126" fmla="*/ 1924050 w 8971757"/>
                  <a:gd name="connsiteY126" fmla="*/ 3278981 h 4575969"/>
                  <a:gd name="connsiteX127" fmla="*/ 1976438 w 8971757"/>
                  <a:gd name="connsiteY127" fmla="*/ 3305175 h 4575969"/>
                  <a:gd name="connsiteX128" fmla="*/ 2038350 w 8971757"/>
                  <a:gd name="connsiteY128" fmla="*/ 3529013 h 4575969"/>
                  <a:gd name="connsiteX129" fmla="*/ 2028825 w 8971757"/>
                  <a:gd name="connsiteY129" fmla="*/ 3593306 h 4575969"/>
                  <a:gd name="connsiteX130" fmla="*/ 2164556 w 8971757"/>
                  <a:gd name="connsiteY130" fmla="*/ 3759994 h 4575969"/>
                  <a:gd name="connsiteX131" fmla="*/ 2183606 w 8971757"/>
                  <a:gd name="connsiteY131" fmla="*/ 3810000 h 4575969"/>
                  <a:gd name="connsiteX132" fmla="*/ 2157413 w 8971757"/>
                  <a:gd name="connsiteY132" fmla="*/ 3829050 h 4575969"/>
                  <a:gd name="connsiteX133" fmla="*/ 2259806 w 8971757"/>
                  <a:gd name="connsiteY133" fmla="*/ 3838575 h 4575969"/>
                  <a:gd name="connsiteX134" fmla="*/ 2371725 w 8971757"/>
                  <a:gd name="connsiteY134" fmla="*/ 3826669 h 4575969"/>
                  <a:gd name="connsiteX135" fmla="*/ 2650331 w 8971757"/>
                  <a:gd name="connsiteY135" fmla="*/ 3910012 h 4575969"/>
                  <a:gd name="connsiteX136" fmla="*/ 3057525 w 8971757"/>
                  <a:gd name="connsiteY136" fmla="*/ 3990975 h 4575969"/>
                  <a:gd name="connsiteX137" fmla="*/ 3255169 w 8971757"/>
                  <a:gd name="connsiteY137" fmla="*/ 3960018 h 4575969"/>
                  <a:gd name="connsiteX138" fmla="*/ 3300413 w 8971757"/>
                  <a:gd name="connsiteY138" fmla="*/ 3971924 h 4575969"/>
                  <a:gd name="connsiteX139" fmla="*/ 3355181 w 8971757"/>
                  <a:gd name="connsiteY139" fmla="*/ 3948113 h 4575969"/>
                  <a:gd name="connsiteX140" fmla="*/ 3748087 w 8971757"/>
                  <a:gd name="connsiteY140" fmla="*/ 4038600 h 4575969"/>
                  <a:gd name="connsiteX141" fmla="*/ 3831432 w 8971757"/>
                  <a:gd name="connsiteY141" fmla="*/ 4136231 h 4575969"/>
                  <a:gd name="connsiteX142" fmla="*/ 3950494 w 8971757"/>
                  <a:gd name="connsiteY142" fmla="*/ 4207669 h 4575969"/>
                  <a:gd name="connsiteX143" fmla="*/ 4010025 w 8971757"/>
                  <a:gd name="connsiteY143" fmla="*/ 4191000 h 4575969"/>
                  <a:gd name="connsiteX144" fmla="*/ 4360068 w 8971757"/>
                  <a:gd name="connsiteY144" fmla="*/ 4364831 h 4575969"/>
                  <a:gd name="connsiteX145" fmla="*/ 4586288 w 8971757"/>
                  <a:gd name="connsiteY145" fmla="*/ 4336256 h 4575969"/>
                  <a:gd name="connsiteX146" fmla="*/ 4595813 w 8971757"/>
                  <a:gd name="connsiteY146" fmla="*/ 4414837 h 4575969"/>
                  <a:gd name="connsiteX147" fmla="*/ 4681538 w 8971757"/>
                  <a:gd name="connsiteY147" fmla="*/ 4410074 h 4575969"/>
                  <a:gd name="connsiteX148" fmla="*/ 4760119 w 8971757"/>
                  <a:gd name="connsiteY148" fmla="*/ 4441031 h 4575969"/>
                  <a:gd name="connsiteX149" fmla="*/ 4802981 w 8971757"/>
                  <a:gd name="connsiteY149" fmla="*/ 4381500 h 4575969"/>
                  <a:gd name="connsiteX150" fmla="*/ 5474494 w 8971757"/>
                  <a:gd name="connsiteY150" fmla="*/ 4062412 h 4575969"/>
                  <a:gd name="connsiteX151" fmla="*/ 5562600 w 8971757"/>
                  <a:gd name="connsiteY151" fmla="*/ 4090988 h 4575969"/>
                  <a:gd name="connsiteX152" fmla="*/ 5693569 w 8971757"/>
                  <a:gd name="connsiteY152" fmla="*/ 4062412 h 4575969"/>
                  <a:gd name="connsiteX153" fmla="*/ 5872162 w 8971757"/>
                  <a:gd name="connsiteY153" fmla="*/ 4079081 h 4575969"/>
                  <a:gd name="connsiteX154" fmla="*/ 5929313 w 8971757"/>
                  <a:gd name="connsiteY154" fmla="*/ 4052888 h 4575969"/>
                  <a:gd name="connsiteX155" fmla="*/ 6062662 w 8971757"/>
                  <a:gd name="connsiteY155" fmla="*/ 4050506 h 4575969"/>
                  <a:gd name="connsiteX156" fmla="*/ 6196012 w 8971757"/>
                  <a:gd name="connsiteY156" fmla="*/ 3952875 h 4575969"/>
                  <a:gd name="connsiteX157" fmla="*/ 6262687 w 8971757"/>
                  <a:gd name="connsiteY157" fmla="*/ 3945731 h 4575969"/>
                  <a:gd name="connsiteX158" fmla="*/ 6360319 w 8971757"/>
                  <a:gd name="connsiteY158" fmla="*/ 3871912 h 4575969"/>
                  <a:gd name="connsiteX159" fmla="*/ 6434138 w 8971757"/>
                  <a:gd name="connsiteY159" fmla="*/ 3802856 h 4575969"/>
                  <a:gd name="connsiteX160" fmla="*/ 6443663 w 8971757"/>
                  <a:gd name="connsiteY160" fmla="*/ 3740944 h 4575969"/>
                  <a:gd name="connsiteX161" fmla="*/ 6477000 w 8971757"/>
                  <a:gd name="connsiteY161" fmla="*/ 3671887 h 4575969"/>
                  <a:gd name="connsiteX162" fmla="*/ 6629400 w 8971757"/>
                  <a:gd name="connsiteY162" fmla="*/ 3564731 h 4575969"/>
                  <a:gd name="connsiteX163" fmla="*/ 6662738 w 8971757"/>
                  <a:gd name="connsiteY163" fmla="*/ 3569494 h 4575969"/>
                  <a:gd name="connsiteX164" fmla="*/ 6715125 w 8971757"/>
                  <a:gd name="connsiteY164" fmla="*/ 3490912 h 4575969"/>
                  <a:gd name="connsiteX165" fmla="*/ 6762750 w 8971757"/>
                  <a:gd name="connsiteY165" fmla="*/ 3452812 h 4575969"/>
                  <a:gd name="connsiteX166" fmla="*/ 6748463 w 8971757"/>
                  <a:gd name="connsiteY166" fmla="*/ 3383756 h 4575969"/>
                  <a:gd name="connsiteX167" fmla="*/ 6698456 w 8971757"/>
                  <a:gd name="connsiteY167" fmla="*/ 3352799 h 4575969"/>
                  <a:gd name="connsiteX168" fmla="*/ 6638925 w 8971757"/>
                  <a:gd name="connsiteY168" fmla="*/ 3298031 h 4575969"/>
                  <a:gd name="connsiteX169" fmla="*/ 6619875 w 8971757"/>
                  <a:gd name="connsiteY169" fmla="*/ 3240881 h 4575969"/>
                  <a:gd name="connsiteX170" fmla="*/ 6584156 w 8971757"/>
                  <a:gd name="connsiteY170" fmla="*/ 3207544 h 4575969"/>
                  <a:gd name="connsiteX171" fmla="*/ 6610350 w 8971757"/>
                  <a:gd name="connsiteY171" fmla="*/ 3155156 h 4575969"/>
                  <a:gd name="connsiteX172" fmla="*/ 6650831 w 8971757"/>
                  <a:gd name="connsiteY172" fmla="*/ 2976562 h 4575969"/>
                  <a:gd name="connsiteX173" fmla="*/ 6691313 w 8971757"/>
                  <a:gd name="connsiteY173" fmla="*/ 2909887 h 4575969"/>
                  <a:gd name="connsiteX174" fmla="*/ 6836569 w 8971757"/>
                  <a:gd name="connsiteY174" fmla="*/ 2893218 h 4575969"/>
                  <a:gd name="connsiteX175" fmla="*/ 6905625 w 8971757"/>
                  <a:gd name="connsiteY175" fmla="*/ 2950369 h 4575969"/>
                  <a:gd name="connsiteX176" fmla="*/ 6981825 w 8971757"/>
                  <a:gd name="connsiteY176" fmla="*/ 2974181 h 4575969"/>
                  <a:gd name="connsiteX177" fmla="*/ 7186612 w 8971757"/>
                  <a:gd name="connsiteY177" fmla="*/ 2978944 h 4575969"/>
                  <a:gd name="connsiteX178" fmla="*/ 7362825 w 8971757"/>
                  <a:gd name="connsiteY178" fmla="*/ 2840831 h 4575969"/>
                  <a:gd name="connsiteX179" fmla="*/ 7419975 w 8971757"/>
                  <a:gd name="connsiteY179" fmla="*/ 2750343 h 4575969"/>
                  <a:gd name="connsiteX180" fmla="*/ 7446169 w 8971757"/>
                  <a:gd name="connsiteY180" fmla="*/ 2667000 h 4575969"/>
                  <a:gd name="connsiteX181" fmla="*/ 7577137 w 8971757"/>
                  <a:gd name="connsiteY181" fmla="*/ 2667000 h 4575969"/>
                  <a:gd name="connsiteX182" fmla="*/ 7750969 w 8971757"/>
                  <a:gd name="connsiteY182" fmla="*/ 2609849 h 4575969"/>
                  <a:gd name="connsiteX183" fmla="*/ 7810500 w 8971757"/>
                  <a:gd name="connsiteY183" fmla="*/ 2497931 h 4575969"/>
                  <a:gd name="connsiteX184" fmla="*/ 7874794 w 8971757"/>
                  <a:gd name="connsiteY184" fmla="*/ 2462212 h 4575969"/>
                  <a:gd name="connsiteX185" fmla="*/ 7853363 w 8971757"/>
                  <a:gd name="connsiteY185" fmla="*/ 2416969 h 4575969"/>
                  <a:gd name="connsiteX186" fmla="*/ 7931944 w 8971757"/>
                  <a:gd name="connsiteY186" fmla="*/ 2247899 h 4575969"/>
                  <a:gd name="connsiteX187" fmla="*/ 7986713 w 8971757"/>
                  <a:gd name="connsiteY187" fmla="*/ 2188369 h 4575969"/>
                  <a:gd name="connsiteX188" fmla="*/ 8024813 w 8971757"/>
                  <a:gd name="connsiteY188" fmla="*/ 2183606 h 4575969"/>
                  <a:gd name="connsiteX189" fmla="*/ 8070056 w 8971757"/>
                  <a:gd name="connsiteY189" fmla="*/ 2188369 h 4575969"/>
                  <a:gd name="connsiteX190" fmla="*/ 8134350 w 8971757"/>
                  <a:gd name="connsiteY190" fmla="*/ 2155031 h 4575969"/>
                  <a:gd name="connsiteX191" fmla="*/ 8143875 w 8971757"/>
                  <a:gd name="connsiteY191" fmla="*/ 2090737 h 4575969"/>
                  <a:gd name="connsiteX192" fmla="*/ 8184355 w 8971757"/>
                  <a:gd name="connsiteY192" fmla="*/ 2055019 h 4575969"/>
                  <a:gd name="connsiteX193" fmla="*/ 8243888 w 8971757"/>
                  <a:gd name="connsiteY193" fmla="*/ 2095499 h 4575969"/>
                  <a:gd name="connsiteX194" fmla="*/ 8270082 w 8971757"/>
                  <a:gd name="connsiteY194" fmla="*/ 2045493 h 4575969"/>
                  <a:gd name="connsiteX195" fmla="*/ 8365331 w 8971757"/>
                  <a:gd name="connsiteY195" fmla="*/ 1976437 h 4575969"/>
                  <a:gd name="connsiteX196" fmla="*/ 8427244 w 8971757"/>
                  <a:gd name="connsiteY196" fmla="*/ 1983581 h 4575969"/>
                  <a:gd name="connsiteX197" fmla="*/ 8477250 w 8971757"/>
                  <a:gd name="connsiteY197" fmla="*/ 1964531 h 4575969"/>
                  <a:gd name="connsiteX198" fmla="*/ 8515350 w 8971757"/>
                  <a:gd name="connsiteY198" fmla="*/ 1935956 h 4575969"/>
                  <a:gd name="connsiteX199" fmla="*/ 8548688 w 8971757"/>
                  <a:gd name="connsiteY199" fmla="*/ 1933575 h 4575969"/>
                  <a:gd name="connsiteX200" fmla="*/ 8584406 w 8971757"/>
                  <a:gd name="connsiteY200" fmla="*/ 1964531 h 4575969"/>
                  <a:gd name="connsiteX201" fmla="*/ 8643938 w 8971757"/>
                  <a:gd name="connsiteY201" fmla="*/ 1964531 h 4575969"/>
                  <a:gd name="connsiteX202" fmla="*/ 8682037 w 8971757"/>
                  <a:gd name="connsiteY202" fmla="*/ 1945481 h 4575969"/>
                  <a:gd name="connsiteX203" fmla="*/ 8765381 w 8971757"/>
                  <a:gd name="connsiteY203" fmla="*/ 1947863 h 4575969"/>
                  <a:gd name="connsiteX204" fmla="*/ 8796338 w 8971757"/>
                  <a:gd name="connsiteY204" fmla="*/ 1902619 h 4575969"/>
                  <a:gd name="connsiteX205" fmla="*/ 8801100 w 8971757"/>
                  <a:gd name="connsiteY205" fmla="*/ 1840706 h 4575969"/>
                  <a:gd name="connsiteX206" fmla="*/ 8751093 w 8971757"/>
                  <a:gd name="connsiteY206" fmla="*/ 1800225 h 4575969"/>
                  <a:gd name="connsiteX207" fmla="*/ 8734425 w 8971757"/>
                  <a:gd name="connsiteY207" fmla="*/ 1745456 h 4575969"/>
                  <a:gd name="connsiteX208" fmla="*/ 8643938 w 8971757"/>
                  <a:gd name="connsiteY208" fmla="*/ 1683544 h 4575969"/>
                  <a:gd name="connsiteX209" fmla="*/ 8603456 w 8971757"/>
                  <a:gd name="connsiteY209" fmla="*/ 1662112 h 4575969"/>
                  <a:gd name="connsiteX210" fmla="*/ 8565356 w 8971757"/>
                  <a:gd name="connsiteY210" fmla="*/ 1616869 h 4575969"/>
                  <a:gd name="connsiteX211" fmla="*/ 8534400 w 8971757"/>
                  <a:gd name="connsiteY211" fmla="*/ 1614487 h 4575969"/>
                  <a:gd name="connsiteX212" fmla="*/ 8517731 w 8971757"/>
                  <a:gd name="connsiteY212" fmla="*/ 1562100 h 4575969"/>
                  <a:gd name="connsiteX213" fmla="*/ 8477250 w 8971757"/>
                  <a:gd name="connsiteY213" fmla="*/ 1545431 h 4575969"/>
                  <a:gd name="connsiteX214" fmla="*/ 8477250 w 8971757"/>
                  <a:gd name="connsiteY214" fmla="*/ 1545431 h 4575969"/>
                  <a:gd name="connsiteX215" fmla="*/ 8436769 w 8971757"/>
                  <a:gd name="connsiteY215" fmla="*/ 1550194 h 4575969"/>
                  <a:gd name="connsiteX216" fmla="*/ 8351043 w 8971757"/>
                  <a:gd name="connsiteY216" fmla="*/ 1476375 h 4575969"/>
                  <a:gd name="connsiteX217" fmla="*/ 8170069 w 8971757"/>
                  <a:gd name="connsiteY217" fmla="*/ 1476374 h 4575969"/>
                  <a:gd name="connsiteX218" fmla="*/ 8117681 w 8971757"/>
                  <a:gd name="connsiteY218" fmla="*/ 1514475 h 4575969"/>
                  <a:gd name="connsiteX219" fmla="*/ 8067675 w 8971757"/>
                  <a:gd name="connsiteY219" fmla="*/ 1593056 h 4575969"/>
                  <a:gd name="connsiteX220" fmla="*/ 8084344 w 8971757"/>
                  <a:gd name="connsiteY220" fmla="*/ 1614487 h 4575969"/>
                  <a:gd name="connsiteX221" fmla="*/ 8039100 w 8971757"/>
                  <a:gd name="connsiteY221" fmla="*/ 1664493 h 4575969"/>
                  <a:gd name="connsiteX222" fmla="*/ 7889081 w 8971757"/>
                  <a:gd name="connsiteY222" fmla="*/ 1588293 h 4575969"/>
                  <a:gd name="connsiteX223" fmla="*/ 7798594 w 8971757"/>
                  <a:gd name="connsiteY223" fmla="*/ 1624012 h 4575969"/>
                  <a:gd name="connsiteX224" fmla="*/ 7724775 w 8971757"/>
                  <a:gd name="connsiteY224" fmla="*/ 1621631 h 4575969"/>
                  <a:gd name="connsiteX225" fmla="*/ 7667625 w 8971757"/>
                  <a:gd name="connsiteY225" fmla="*/ 1716881 h 4575969"/>
                  <a:gd name="connsiteX226" fmla="*/ 7529513 w 8971757"/>
                  <a:gd name="connsiteY22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3409950 w 8971757"/>
                  <a:gd name="connsiteY73" fmla="*/ 240506 h 4575969"/>
                  <a:gd name="connsiteX74" fmla="*/ 8412956 w 8971757"/>
                  <a:gd name="connsiteY74" fmla="*/ 23812 h 4575969"/>
                  <a:gd name="connsiteX75" fmla="*/ 8949531 w 8971757"/>
                  <a:gd name="connsiteY75" fmla="*/ 0 h 4575969"/>
                  <a:gd name="connsiteX76" fmla="*/ 8971757 w 8971757"/>
                  <a:gd name="connsiteY76" fmla="*/ 4575969 h 4575969"/>
                  <a:gd name="connsiteX77" fmla="*/ 2381 w 8971757"/>
                  <a:gd name="connsiteY77" fmla="*/ 4547392 h 4575969"/>
                  <a:gd name="connsiteX78" fmla="*/ 0 w 8971757"/>
                  <a:gd name="connsiteY78" fmla="*/ 845344 h 4575969"/>
                  <a:gd name="connsiteX79" fmla="*/ 76200 w 8971757"/>
                  <a:gd name="connsiteY79" fmla="*/ 828675 h 4575969"/>
                  <a:gd name="connsiteX80" fmla="*/ 119063 w 8971757"/>
                  <a:gd name="connsiteY80" fmla="*/ 857250 h 4575969"/>
                  <a:gd name="connsiteX81" fmla="*/ 215900 w 8971757"/>
                  <a:gd name="connsiteY81" fmla="*/ 848519 h 4575969"/>
                  <a:gd name="connsiteX82" fmla="*/ 261938 w 8971757"/>
                  <a:gd name="connsiteY82" fmla="*/ 876299 h 4575969"/>
                  <a:gd name="connsiteX83" fmla="*/ 228600 w 8971757"/>
                  <a:gd name="connsiteY83" fmla="*/ 904875 h 4575969"/>
                  <a:gd name="connsiteX84" fmla="*/ 233363 w 8971757"/>
                  <a:gd name="connsiteY84" fmla="*/ 947737 h 4575969"/>
                  <a:gd name="connsiteX85" fmla="*/ 200025 w 8971757"/>
                  <a:gd name="connsiteY85" fmla="*/ 952500 h 4575969"/>
                  <a:gd name="connsiteX86" fmla="*/ 204788 w 8971757"/>
                  <a:gd name="connsiteY86" fmla="*/ 976312 h 4575969"/>
                  <a:gd name="connsiteX87" fmla="*/ 261937 w 8971757"/>
                  <a:gd name="connsiteY87" fmla="*/ 1050131 h 4575969"/>
                  <a:gd name="connsiteX88" fmla="*/ 223838 w 8971757"/>
                  <a:gd name="connsiteY88" fmla="*/ 1097756 h 4575969"/>
                  <a:gd name="connsiteX89" fmla="*/ 278606 w 8971757"/>
                  <a:gd name="connsiteY89" fmla="*/ 1133475 h 4575969"/>
                  <a:gd name="connsiteX90" fmla="*/ 369094 w 8971757"/>
                  <a:gd name="connsiteY90" fmla="*/ 1221581 h 4575969"/>
                  <a:gd name="connsiteX91" fmla="*/ 371475 w 8971757"/>
                  <a:gd name="connsiteY91" fmla="*/ 1281112 h 4575969"/>
                  <a:gd name="connsiteX92" fmla="*/ 507206 w 8971757"/>
                  <a:gd name="connsiteY92" fmla="*/ 1414463 h 4575969"/>
                  <a:gd name="connsiteX93" fmla="*/ 561975 w 8971757"/>
                  <a:gd name="connsiteY93" fmla="*/ 1390650 h 4575969"/>
                  <a:gd name="connsiteX94" fmla="*/ 600075 w 8971757"/>
                  <a:gd name="connsiteY94" fmla="*/ 1416843 h 4575969"/>
                  <a:gd name="connsiteX95" fmla="*/ 614363 w 8971757"/>
                  <a:gd name="connsiteY95" fmla="*/ 1466849 h 4575969"/>
                  <a:gd name="connsiteX96" fmla="*/ 657225 w 8971757"/>
                  <a:gd name="connsiteY96" fmla="*/ 1502569 h 4575969"/>
                  <a:gd name="connsiteX97" fmla="*/ 697706 w 8971757"/>
                  <a:gd name="connsiteY97" fmla="*/ 1490662 h 4575969"/>
                  <a:gd name="connsiteX98" fmla="*/ 716756 w 8971757"/>
                  <a:gd name="connsiteY98" fmla="*/ 1547812 h 4575969"/>
                  <a:gd name="connsiteX99" fmla="*/ 764381 w 8971757"/>
                  <a:gd name="connsiteY99" fmla="*/ 1590675 h 4575969"/>
                  <a:gd name="connsiteX100" fmla="*/ 788194 w 8971757"/>
                  <a:gd name="connsiteY100" fmla="*/ 1693069 h 4575969"/>
                  <a:gd name="connsiteX101" fmla="*/ 785813 w 8971757"/>
                  <a:gd name="connsiteY101" fmla="*/ 1740694 h 4575969"/>
                  <a:gd name="connsiteX102" fmla="*/ 821531 w 8971757"/>
                  <a:gd name="connsiteY102" fmla="*/ 1840706 h 4575969"/>
                  <a:gd name="connsiteX103" fmla="*/ 866775 w 8971757"/>
                  <a:gd name="connsiteY103" fmla="*/ 1897856 h 4575969"/>
                  <a:gd name="connsiteX104" fmla="*/ 883443 w 8971757"/>
                  <a:gd name="connsiteY104" fmla="*/ 2055018 h 4575969"/>
                  <a:gd name="connsiteX105" fmla="*/ 850106 w 8971757"/>
                  <a:gd name="connsiteY105" fmla="*/ 2116931 h 4575969"/>
                  <a:gd name="connsiteX106" fmla="*/ 819150 w 8971757"/>
                  <a:gd name="connsiteY106" fmla="*/ 2193131 h 4575969"/>
                  <a:gd name="connsiteX107" fmla="*/ 833438 w 8971757"/>
                  <a:gd name="connsiteY107" fmla="*/ 2250281 h 4575969"/>
                  <a:gd name="connsiteX108" fmla="*/ 735806 w 8971757"/>
                  <a:gd name="connsiteY108" fmla="*/ 2357438 h 4575969"/>
                  <a:gd name="connsiteX109" fmla="*/ 692944 w 8971757"/>
                  <a:gd name="connsiteY109" fmla="*/ 2471737 h 4575969"/>
                  <a:gd name="connsiteX110" fmla="*/ 726281 w 8971757"/>
                  <a:gd name="connsiteY110" fmla="*/ 2512219 h 4575969"/>
                  <a:gd name="connsiteX111" fmla="*/ 709613 w 8971757"/>
                  <a:gd name="connsiteY111" fmla="*/ 2540794 h 4575969"/>
                  <a:gd name="connsiteX112" fmla="*/ 740569 w 8971757"/>
                  <a:gd name="connsiteY112" fmla="*/ 2597944 h 4575969"/>
                  <a:gd name="connsiteX113" fmla="*/ 769144 w 8971757"/>
                  <a:gd name="connsiteY113" fmla="*/ 2597944 h 4575969"/>
                  <a:gd name="connsiteX114" fmla="*/ 931069 w 8971757"/>
                  <a:gd name="connsiteY114" fmla="*/ 2700337 h 4575969"/>
                  <a:gd name="connsiteX115" fmla="*/ 1035844 w 8971757"/>
                  <a:gd name="connsiteY115" fmla="*/ 2697956 h 4575969"/>
                  <a:gd name="connsiteX116" fmla="*/ 1114425 w 8971757"/>
                  <a:gd name="connsiteY116" fmla="*/ 2752725 h 4575969"/>
                  <a:gd name="connsiteX117" fmla="*/ 1245393 w 8971757"/>
                  <a:gd name="connsiteY117" fmla="*/ 2755106 h 4575969"/>
                  <a:gd name="connsiteX118" fmla="*/ 1435893 w 8971757"/>
                  <a:gd name="connsiteY118" fmla="*/ 2824162 h 4575969"/>
                  <a:gd name="connsiteX119" fmla="*/ 1638300 w 8971757"/>
                  <a:gd name="connsiteY119" fmla="*/ 2974181 h 4575969"/>
                  <a:gd name="connsiteX120" fmla="*/ 1671637 w 8971757"/>
                  <a:gd name="connsiteY120" fmla="*/ 3040856 h 4575969"/>
                  <a:gd name="connsiteX121" fmla="*/ 1838325 w 8971757"/>
                  <a:gd name="connsiteY121" fmla="*/ 3167062 h 4575969"/>
                  <a:gd name="connsiteX122" fmla="*/ 1909763 w 8971757"/>
                  <a:gd name="connsiteY122" fmla="*/ 3162300 h 4575969"/>
                  <a:gd name="connsiteX123" fmla="*/ 1945482 w 8971757"/>
                  <a:gd name="connsiteY123" fmla="*/ 3186112 h 4575969"/>
                  <a:gd name="connsiteX124" fmla="*/ 1916906 w 8971757"/>
                  <a:gd name="connsiteY124" fmla="*/ 3226594 h 4575969"/>
                  <a:gd name="connsiteX125" fmla="*/ 1924050 w 8971757"/>
                  <a:gd name="connsiteY125" fmla="*/ 3278981 h 4575969"/>
                  <a:gd name="connsiteX126" fmla="*/ 1976438 w 8971757"/>
                  <a:gd name="connsiteY126" fmla="*/ 3305175 h 4575969"/>
                  <a:gd name="connsiteX127" fmla="*/ 2038350 w 8971757"/>
                  <a:gd name="connsiteY127" fmla="*/ 3529013 h 4575969"/>
                  <a:gd name="connsiteX128" fmla="*/ 2028825 w 8971757"/>
                  <a:gd name="connsiteY128" fmla="*/ 3593306 h 4575969"/>
                  <a:gd name="connsiteX129" fmla="*/ 2164556 w 8971757"/>
                  <a:gd name="connsiteY129" fmla="*/ 3759994 h 4575969"/>
                  <a:gd name="connsiteX130" fmla="*/ 2183606 w 8971757"/>
                  <a:gd name="connsiteY130" fmla="*/ 3810000 h 4575969"/>
                  <a:gd name="connsiteX131" fmla="*/ 2157413 w 8971757"/>
                  <a:gd name="connsiteY131" fmla="*/ 3829050 h 4575969"/>
                  <a:gd name="connsiteX132" fmla="*/ 2259806 w 8971757"/>
                  <a:gd name="connsiteY132" fmla="*/ 3838575 h 4575969"/>
                  <a:gd name="connsiteX133" fmla="*/ 2371725 w 8971757"/>
                  <a:gd name="connsiteY133" fmla="*/ 3826669 h 4575969"/>
                  <a:gd name="connsiteX134" fmla="*/ 2650331 w 8971757"/>
                  <a:gd name="connsiteY134" fmla="*/ 3910012 h 4575969"/>
                  <a:gd name="connsiteX135" fmla="*/ 3057525 w 8971757"/>
                  <a:gd name="connsiteY135" fmla="*/ 3990975 h 4575969"/>
                  <a:gd name="connsiteX136" fmla="*/ 3255169 w 8971757"/>
                  <a:gd name="connsiteY136" fmla="*/ 3960018 h 4575969"/>
                  <a:gd name="connsiteX137" fmla="*/ 3300413 w 8971757"/>
                  <a:gd name="connsiteY137" fmla="*/ 3971924 h 4575969"/>
                  <a:gd name="connsiteX138" fmla="*/ 3355181 w 8971757"/>
                  <a:gd name="connsiteY138" fmla="*/ 3948113 h 4575969"/>
                  <a:gd name="connsiteX139" fmla="*/ 3748087 w 8971757"/>
                  <a:gd name="connsiteY139" fmla="*/ 4038600 h 4575969"/>
                  <a:gd name="connsiteX140" fmla="*/ 3831432 w 8971757"/>
                  <a:gd name="connsiteY140" fmla="*/ 4136231 h 4575969"/>
                  <a:gd name="connsiteX141" fmla="*/ 3950494 w 8971757"/>
                  <a:gd name="connsiteY141" fmla="*/ 4207669 h 4575969"/>
                  <a:gd name="connsiteX142" fmla="*/ 4010025 w 8971757"/>
                  <a:gd name="connsiteY142" fmla="*/ 4191000 h 4575969"/>
                  <a:gd name="connsiteX143" fmla="*/ 4360068 w 8971757"/>
                  <a:gd name="connsiteY143" fmla="*/ 4364831 h 4575969"/>
                  <a:gd name="connsiteX144" fmla="*/ 4586288 w 8971757"/>
                  <a:gd name="connsiteY144" fmla="*/ 4336256 h 4575969"/>
                  <a:gd name="connsiteX145" fmla="*/ 4595813 w 8971757"/>
                  <a:gd name="connsiteY145" fmla="*/ 4414837 h 4575969"/>
                  <a:gd name="connsiteX146" fmla="*/ 4681538 w 8971757"/>
                  <a:gd name="connsiteY146" fmla="*/ 4410074 h 4575969"/>
                  <a:gd name="connsiteX147" fmla="*/ 4760119 w 8971757"/>
                  <a:gd name="connsiteY147" fmla="*/ 4441031 h 4575969"/>
                  <a:gd name="connsiteX148" fmla="*/ 4802981 w 8971757"/>
                  <a:gd name="connsiteY148" fmla="*/ 4381500 h 4575969"/>
                  <a:gd name="connsiteX149" fmla="*/ 5474494 w 8971757"/>
                  <a:gd name="connsiteY149" fmla="*/ 4062412 h 4575969"/>
                  <a:gd name="connsiteX150" fmla="*/ 5562600 w 8971757"/>
                  <a:gd name="connsiteY150" fmla="*/ 4090988 h 4575969"/>
                  <a:gd name="connsiteX151" fmla="*/ 5693569 w 8971757"/>
                  <a:gd name="connsiteY151" fmla="*/ 4062412 h 4575969"/>
                  <a:gd name="connsiteX152" fmla="*/ 5872162 w 8971757"/>
                  <a:gd name="connsiteY152" fmla="*/ 4079081 h 4575969"/>
                  <a:gd name="connsiteX153" fmla="*/ 5929313 w 8971757"/>
                  <a:gd name="connsiteY153" fmla="*/ 4052888 h 4575969"/>
                  <a:gd name="connsiteX154" fmla="*/ 6062662 w 8971757"/>
                  <a:gd name="connsiteY154" fmla="*/ 4050506 h 4575969"/>
                  <a:gd name="connsiteX155" fmla="*/ 6196012 w 8971757"/>
                  <a:gd name="connsiteY155" fmla="*/ 3952875 h 4575969"/>
                  <a:gd name="connsiteX156" fmla="*/ 6262687 w 8971757"/>
                  <a:gd name="connsiteY156" fmla="*/ 3945731 h 4575969"/>
                  <a:gd name="connsiteX157" fmla="*/ 6360319 w 8971757"/>
                  <a:gd name="connsiteY157" fmla="*/ 3871912 h 4575969"/>
                  <a:gd name="connsiteX158" fmla="*/ 6434138 w 8971757"/>
                  <a:gd name="connsiteY158" fmla="*/ 3802856 h 4575969"/>
                  <a:gd name="connsiteX159" fmla="*/ 6443663 w 8971757"/>
                  <a:gd name="connsiteY159" fmla="*/ 3740944 h 4575969"/>
                  <a:gd name="connsiteX160" fmla="*/ 6477000 w 8971757"/>
                  <a:gd name="connsiteY160" fmla="*/ 3671887 h 4575969"/>
                  <a:gd name="connsiteX161" fmla="*/ 6629400 w 8971757"/>
                  <a:gd name="connsiteY161" fmla="*/ 3564731 h 4575969"/>
                  <a:gd name="connsiteX162" fmla="*/ 6662738 w 8971757"/>
                  <a:gd name="connsiteY162" fmla="*/ 3569494 h 4575969"/>
                  <a:gd name="connsiteX163" fmla="*/ 6715125 w 8971757"/>
                  <a:gd name="connsiteY163" fmla="*/ 3490912 h 4575969"/>
                  <a:gd name="connsiteX164" fmla="*/ 6762750 w 8971757"/>
                  <a:gd name="connsiteY164" fmla="*/ 3452812 h 4575969"/>
                  <a:gd name="connsiteX165" fmla="*/ 6748463 w 8971757"/>
                  <a:gd name="connsiteY165" fmla="*/ 3383756 h 4575969"/>
                  <a:gd name="connsiteX166" fmla="*/ 6698456 w 8971757"/>
                  <a:gd name="connsiteY166" fmla="*/ 3352799 h 4575969"/>
                  <a:gd name="connsiteX167" fmla="*/ 6638925 w 8971757"/>
                  <a:gd name="connsiteY167" fmla="*/ 3298031 h 4575969"/>
                  <a:gd name="connsiteX168" fmla="*/ 6619875 w 8971757"/>
                  <a:gd name="connsiteY168" fmla="*/ 3240881 h 4575969"/>
                  <a:gd name="connsiteX169" fmla="*/ 6584156 w 8971757"/>
                  <a:gd name="connsiteY169" fmla="*/ 3207544 h 4575969"/>
                  <a:gd name="connsiteX170" fmla="*/ 6610350 w 8971757"/>
                  <a:gd name="connsiteY170" fmla="*/ 3155156 h 4575969"/>
                  <a:gd name="connsiteX171" fmla="*/ 6650831 w 8971757"/>
                  <a:gd name="connsiteY171" fmla="*/ 2976562 h 4575969"/>
                  <a:gd name="connsiteX172" fmla="*/ 6691313 w 8971757"/>
                  <a:gd name="connsiteY172" fmla="*/ 2909887 h 4575969"/>
                  <a:gd name="connsiteX173" fmla="*/ 6836569 w 8971757"/>
                  <a:gd name="connsiteY173" fmla="*/ 2893218 h 4575969"/>
                  <a:gd name="connsiteX174" fmla="*/ 6905625 w 8971757"/>
                  <a:gd name="connsiteY174" fmla="*/ 2950369 h 4575969"/>
                  <a:gd name="connsiteX175" fmla="*/ 6981825 w 8971757"/>
                  <a:gd name="connsiteY175" fmla="*/ 2974181 h 4575969"/>
                  <a:gd name="connsiteX176" fmla="*/ 7186612 w 8971757"/>
                  <a:gd name="connsiteY176" fmla="*/ 2978944 h 4575969"/>
                  <a:gd name="connsiteX177" fmla="*/ 7362825 w 8971757"/>
                  <a:gd name="connsiteY177" fmla="*/ 2840831 h 4575969"/>
                  <a:gd name="connsiteX178" fmla="*/ 7419975 w 8971757"/>
                  <a:gd name="connsiteY178" fmla="*/ 2750343 h 4575969"/>
                  <a:gd name="connsiteX179" fmla="*/ 7446169 w 8971757"/>
                  <a:gd name="connsiteY179" fmla="*/ 2667000 h 4575969"/>
                  <a:gd name="connsiteX180" fmla="*/ 7577137 w 8971757"/>
                  <a:gd name="connsiteY180" fmla="*/ 2667000 h 4575969"/>
                  <a:gd name="connsiteX181" fmla="*/ 7750969 w 8971757"/>
                  <a:gd name="connsiteY181" fmla="*/ 2609849 h 4575969"/>
                  <a:gd name="connsiteX182" fmla="*/ 7810500 w 8971757"/>
                  <a:gd name="connsiteY182" fmla="*/ 2497931 h 4575969"/>
                  <a:gd name="connsiteX183" fmla="*/ 7874794 w 8971757"/>
                  <a:gd name="connsiteY183" fmla="*/ 2462212 h 4575969"/>
                  <a:gd name="connsiteX184" fmla="*/ 7853363 w 8971757"/>
                  <a:gd name="connsiteY184" fmla="*/ 2416969 h 4575969"/>
                  <a:gd name="connsiteX185" fmla="*/ 7931944 w 8971757"/>
                  <a:gd name="connsiteY185" fmla="*/ 2247899 h 4575969"/>
                  <a:gd name="connsiteX186" fmla="*/ 7986713 w 8971757"/>
                  <a:gd name="connsiteY186" fmla="*/ 2188369 h 4575969"/>
                  <a:gd name="connsiteX187" fmla="*/ 8024813 w 8971757"/>
                  <a:gd name="connsiteY187" fmla="*/ 2183606 h 4575969"/>
                  <a:gd name="connsiteX188" fmla="*/ 8070056 w 8971757"/>
                  <a:gd name="connsiteY188" fmla="*/ 2188369 h 4575969"/>
                  <a:gd name="connsiteX189" fmla="*/ 8134350 w 8971757"/>
                  <a:gd name="connsiteY189" fmla="*/ 2155031 h 4575969"/>
                  <a:gd name="connsiteX190" fmla="*/ 8143875 w 8971757"/>
                  <a:gd name="connsiteY190" fmla="*/ 2090737 h 4575969"/>
                  <a:gd name="connsiteX191" fmla="*/ 8184355 w 8971757"/>
                  <a:gd name="connsiteY191" fmla="*/ 2055019 h 4575969"/>
                  <a:gd name="connsiteX192" fmla="*/ 8243888 w 8971757"/>
                  <a:gd name="connsiteY192" fmla="*/ 2095499 h 4575969"/>
                  <a:gd name="connsiteX193" fmla="*/ 8270082 w 8971757"/>
                  <a:gd name="connsiteY193" fmla="*/ 2045493 h 4575969"/>
                  <a:gd name="connsiteX194" fmla="*/ 8365331 w 8971757"/>
                  <a:gd name="connsiteY194" fmla="*/ 1976437 h 4575969"/>
                  <a:gd name="connsiteX195" fmla="*/ 8427244 w 8971757"/>
                  <a:gd name="connsiteY195" fmla="*/ 1983581 h 4575969"/>
                  <a:gd name="connsiteX196" fmla="*/ 8477250 w 8971757"/>
                  <a:gd name="connsiteY196" fmla="*/ 1964531 h 4575969"/>
                  <a:gd name="connsiteX197" fmla="*/ 8515350 w 8971757"/>
                  <a:gd name="connsiteY197" fmla="*/ 1935956 h 4575969"/>
                  <a:gd name="connsiteX198" fmla="*/ 8548688 w 8971757"/>
                  <a:gd name="connsiteY198" fmla="*/ 1933575 h 4575969"/>
                  <a:gd name="connsiteX199" fmla="*/ 8584406 w 8971757"/>
                  <a:gd name="connsiteY199" fmla="*/ 1964531 h 4575969"/>
                  <a:gd name="connsiteX200" fmla="*/ 8643938 w 8971757"/>
                  <a:gd name="connsiteY200" fmla="*/ 1964531 h 4575969"/>
                  <a:gd name="connsiteX201" fmla="*/ 8682037 w 8971757"/>
                  <a:gd name="connsiteY201" fmla="*/ 1945481 h 4575969"/>
                  <a:gd name="connsiteX202" fmla="*/ 8765381 w 8971757"/>
                  <a:gd name="connsiteY202" fmla="*/ 1947863 h 4575969"/>
                  <a:gd name="connsiteX203" fmla="*/ 8796338 w 8971757"/>
                  <a:gd name="connsiteY203" fmla="*/ 1902619 h 4575969"/>
                  <a:gd name="connsiteX204" fmla="*/ 8801100 w 8971757"/>
                  <a:gd name="connsiteY204" fmla="*/ 1840706 h 4575969"/>
                  <a:gd name="connsiteX205" fmla="*/ 8751093 w 8971757"/>
                  <a:gd name="connsiteY205" fmla="*/ 1800225 h 4575969"/>
                  <a:gd name="connsiteX206" fmla="*/ 8734425 w 8971757"/>
                  <a:gd name="connsiteY206" fmla="*/ 1745456 h 4575969"/>
                  <a:gd name="connsiteX207" fmla="*/ 8643938 w 8971757"/>
                  <a:gd name="connsiteY207" fmla="*/ 1683544 h 4575969"/>
                  <a:gd name="connsiteX208" fmla="*/ 8603456 w 8971757"/>
                  <a:gd name="connsiteY208" fmla="*/ 1662112 h 4575969"/>
                  <a:gd name="connsiteX209" fmla="*/ 8565356 w 8971757"/>
                  <a:gd name="connsiteY209" fmla="*/ 1616869 h 4575969"/>
                  <a:gd name="connsiteX210" fmla="*/ 8534400 w 8971757"/>
                  <a:gd name="connsiteY210" fmla="*/ 1614487 h 4575969"/>
                  <a:gd name="connsiteX211" fmla="*/ 8517731 w 8971757"/>
                  <a:gd name="connsiteY211" fmla="*/ 1562100 h 4575969"/>
                  <a:gd name="connsiteX212" fmla="*/ 8477250 w 8971757"/>
                  <a:gd name="connsiteY212" fmla="*/ 1545431 h 4575969"/>
                  <a:gd name="connsiteX213" fmla="*/ 8477250 w 8971757"/>
                  <a:gd name="connsiteY213" fmla="*/ 1545431 h 4575969"/>
                  <a:gd name="connsiteX214" fmla="*/ 8436769 w 8971757"/>
                  <a:gd name="connsiteY214" fmla="*/ 1550194 h 4575969"/>
                  <a:gd name="connsiteX215" fmla="*/ 8351043 w 8971757"/>
                  <a:gd name="connsiteY215" fmla="*/ 1476375 h 4575969"/>
                  <a:gd name="connsiteX216" fmla="*/ 8170069 w 8971757"/>
                  <a:gd name="connsiteY216" fmla="*/ 1476374 h 4575969"/>
                  <a:gd name="connsiteX217" fmla="*/ 8117681 w 8971757"/>
                  <a:gd name="connsiteY217" fmla="*/ 1514475 h 4575969"/>
                  <a:gd name="connsiteX218" fmla="*/ 8067675 w 8971757"/>
                  <a:gd name="connsiteY218" fmla="*/ 1593056 h 4575969"/>
                  <a:gd name="connsiteX219" fmla="*/ 8084344 w 8971757"/>
                  <a:gd name="connsiteY219" fmla="*/ 1614487 h 4575969"/>
                  <a:gd name="connsiteX220" fmla="*/ 8039100 w 8971757"/>
                  <a:gd name="connsiteY220" fmla="*/ 1664493 h 4575969"/>
                  <a:gd name="connsiteX221" fmla="*/ 7889081 w 8971757"/>
                  <a:gd name="connsiteY221" fmla="*/ 1588293 h 4575969"/>
                  <a:gd name="connsiteX222" fmla="*/ 7798594 w 8971757"/>
                  <a:gd name="connsiteY222" fmla="*/ 1624012 h 4575969"/>
                  <a:gd name="connsiteX223" fmla="*/ 7724775 w 8971757"/>
                  <a:gd name="connsiteY223" fmla="*/ 1621631 h 4575969"/>
                  <a:gd name="connsiteX224" fmla="*/ 7667625 w 8971757"/>
                  <a:gd name="connsiteY224" fmla="*/ 1716881 h 4575969"/>
                  <a:gd name="connsiteX225" fmla="*/ 7529513 w 8971757"/>
                  <a:gd name="connsiteY22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3440906 w 8971757"/>
                  <a:gd name="connsiteY72" fmla="*/ 304799 h 4575969"/>
                  <a:gd name="connsiteX73" fmla="*/ 8412956 w 8971757"/>
                  <a:gd name="connsiteY73" fmla="*/ 23812 h 4575969"/>
                  <a:gd name="connsiteX74" fmla="*/ 8949531 w 8971757"/>
                  <a:gd name="connsiteY74" fmla="*/ 0 h 4575969"/>
                  <a:gd name="connsiteX75" fmla="*/ 8971757 w 8971757"/>
                  <a:gd name="connsiteY75" fmla="*/ 4575969 h 4575969"/>
                  <a:gd name="connsiteX76" fmla="*/ 2381 w 8971757"/>
                  <a:gd name="connsiteY76" fmla="*/ 4547392 h 4575969"/>
                  <a:gd name="connsiteX77" fmla="*/ 0 w 8971757"/>
                  <a:gd name="connsiteY77" fmla="*/ 845344 h 4575969"/>
                  <a:gd name="connsiteX78" fmla="*/ 76200 w 8971757"/>
                  <a:gd name="connsiteY78" fmla="*/ 828675 h 4575969"/>
                  <a:gd name="connsiteX79" fmla="*/ 119063 w 8971757"/>
                  <a:gd name="connsiteY79" fmla="*/ 857250 h 4575969"/>
                  <a:gd name="connsiteX80" fmla="*/ 215900 w 8971757"/>
                  <a:gd name="connsiteY80" fmla="*/ 848519 h 4575969"/>
                  <a:gd name="connsiteX81" fmla="*/ 261938 w 8971757"/>
                  <a:gd name="connsiteY81" fmla="*/ 876299 h 4575969"/>
                  <a:gd name="connsiteX82" fmla="*/ 228600 w 8971757"/>
                  <a:gd name="connsiteY82" fmla="*/ 904875 h 4575969"/>
                  <a:gd name="connsiteX83" fmla="*/ 233363 w 8971757"/>
                  <a:gd name="connsiteY83" fmla="*/ 947737 h 4575969"/>
                  <a:gd name="connsiteX84" fmla="*/ 200025 w 8971757"/>
                  <a:gd name="connsiteY84" fmla="*/ 952500 h 4575969"/>
                  <a:gd name="connsiteX85" fmla="*/ 204788 w 8971757"/>
                  <a:gd name="connsiteY85" fmla="*/ 976312 h 4575969"/>
                  <a:gd name="connsiteX86" fmla="*/ 261937 w 8971757"/>
                  <a:gd name="connsiteY86" fmla="*/ 1050131 h 4575969"/>
                  <a:gd name="connsiteX87" fmla="*/ 223838 w 8971757"/>
                  <a:gd name="connsiteY87" fmla="*/ 1097756 h 4575969"/>
                  <a:gd name="connsiteX88" fmla="*/ 278606 w 8971757"/>
                  <a:gd name="connsiteY88" fmla="*/ 1133475 h 4575969"/>
                  <a:gd name="connsiteX89" fmla="*/ 369094 w 8971757"/>
                  <a:gd name="connsiteY89" fmla="*/ 1221581 h 4575969"/>
                  <a:gd name="connsiteX90" fmla="*/ 371475 w 8971757"/>
                  <a:gd name="connsiteY90" fmla="*/ 1281112 h 4575969"/>
                  <a:gd name="connsiteX91" fmla="*/ 507206 w 8971757"/>
                  <a:gd name="connsiteY91" fmla="*/ 1414463 h 4575969"/>
                  <a:gd name="connsiteX92" fmla="*/ 561975 w 8971757"/>
                  <a:gd name="connsiteY92" fmla="*/ 1390650 h 4575969"/>
                  <a:gd name="connsiteX93" fmla="*/ 600075 w 8971757"/>
                  <a:gd name="connsiteY93" fmla="*/ 1416843 h 4575969"/>
                  <a:gd name="connsiteX94" fmla="*/ 614363 w 8971757"/>
                  <a:gd name="connsiteY94" fmla="*/ 1466849 h 4575969"/>
                  <a:gd name="connsiteX95" fmla="*/ 657225 w 8971757"/>
                  <a:gd name="connsiteY95" fmla="*/ 1502569 h 4575969"/>
                  <a:gd name="connsiteX96" fmla="*/ 697706 w 8971757"/>
                  <a:gd name="connsiteY96" fmla="*/ 1490662 h 4575969"/>
                  <a:gd name="connsiteX97" fmla="*/ 716756 w 8971757"/>
                  <a:gd name="connsiteY97" fmla="*/ 1547812 h 4575969"/>
                  <a:gd name="connsiteX98" fmla="*/ 764381 w 8971757"/>
                  <a:gd name="connsiteY98" fmla="*/ 1590675 h 4575969"/>
                  <a:gd name="connsiteX99" fmla="*/ 788194 w 8971757"/>
                  <a:gd name="connsiteY99" fmla="*/ 1693069 h 4575969"/>
                  <a:gd name="connsiteX100" fmla="*/ 785813 w 8971757"/>
                  <a:gd name="connsiteY100" fmla="*/ 1740694 h 4575969"/>
                  <a:gd name="connsiteX101" fmla="*/ 821531 w 8971757"/>
                  <a:gd name="connsiteY101" fmla="*/ 1840706 h 4575969"/>
                  <a:gd name="connsiteX102" fmla="*/ 866775 w 8971757"/>
                  <a:gd name="connsiteY102" fmla="*/ 1897856 h 4575969"/>
                  <a:gd name="connsiteX103" fmla="*/ 883443 w 8971757"/>
                  <a:gd name="connsiteY103" fmla="*/ 2055018 h 4575969"/>
                  <a:gd name="connsiteX104" fmla="*/ 850106 w 8971757"/>
                  <a:gd name="connsiteY104" fmla="*/ 2116931 h 4575969"/>
                  <a:gd name="connsiteX105" fmla="*/ 819150 w 8971757"/>
                  <a:gd name="connsiteY105" fmla="*/ 2193131 h 4575969"/>
                  <a:gd name="connsiteX106" fmla="*/ 833438 w 8971757"/>
                  <a:gd name="connsiteY106" fmla="*/ 2250281 h 4575969"/>
                  <a:gd name="connsiteX107" fmla="*/ 735806 w 8971757"/>
                  <a:gd name="connsiteY107" fmla="*/ 2357438 h 4575969"/>
                  <a:gd name="connsiteX108" fmla="*/ 692944 w 8971757"/>
                  <a:gd name="connsiteY108" fmla="*/ 2471737 h 4575969"/>
                  <a:gd name="connsiteX109" fmla="*/ 726281 w 8971757"/>
                  <a:gd name="connsiteY109" fmla="*/ 2512219 h 4575969"/>
                  <a:gd name="connsiteX110" fmla="*/ 709613 w 8971757"/>
                  <a:gd name="connsiteY110" fmla="*/ 2540794 h 4575969"/>
                  <a:gd name="connsiteX111" fmla="*/ 740569 w 8971757"/>
                  <a:gd name="connsiteY111" fmla="*/ 2597944 h 4575969"/>
                  <a:gd name="connsiteX112" fmla="*/ 769144 w 8971757"/>
                  <a:gd name="connsiteY112" fmla="*/ 2597944 h 4575969"/>
                  <a:gd name="connsiteX113" fmla="*/ 931069 w 8971757"/>
                  <a:gd name="connsiteY113" fmla="*/ 2700337 h 4575969"/>
                  <a:gd name="connsiteX114" fmla="*/ 1035844 w 8971757"/>
                  <a:gd name="connsiteY114" fmla="*/ 2697956 h 4575969"/>
                  <a:gd name="connsiteX115" fmla="*/ 1114425 w 8971757"/>
                  <a:gd name="connsiteY115" fmla="*/ 2752725 h 4575969"/>
                  <a:gd name="connsiteX116" fmla="*/ 1245393 w 8971757"/>
                  <a:gd name="connsiteY116" fmla="*/ 2755106 h 4575969"/>
                  <a:gd name="connsiteX117" fmla="*/ 1435893 w 8971757"/>
                  <a:gd name="connsiteY117" fmla="*/ 2824162 h 4575969"/>
                  <a:gd name="connsiteX118" fmla="*/ 1638300 w 8971757"/>
                  <a:gd name="connsiteY118" fmla="*/ 2974181 h 4575969"/>
                  <a:gd name="connsiteX119" fmla="*/ 1671637 w 8971757"/>
                  <a:gd name="connsiteY119" fmla="*/ 3040856 h 4575969"/>
                  <a:gd name="connsiteX120" fmla="*/ 1838325 w 8971757"/>
                  <a:gd name="connsiteY120" fmla="*/ 3167062 h 4575969"/>
                  <a:gd name="connsiteX121" fmla="*/ 1909763 w 8971757"/>
                  <a:gd name="connsiteY121" fmla="*/ 3162300 h 4575969"/>
                  <a:gd name="connsiteX122" fmla="*/ 1945482 w 8971757"/>
                  <a:gd name="connsiteY122" fmla="*/ 3186112 h 4575969"/>
                  <a:gd name="connsiteX123" fmla="*/ 1916906 w 8971757"/>
                  <a:gd name="connsiteY123" fmla="*/ 3226594 h 4575969"/>
                  <a:gd name="connsiteX124" fmla="*/ 1924050 w 8971757"/>
                  <a:gd name="connsiteY124" fmla="*/ 3278981 h 4575969"/>
                  <a:gd name="connsiteX125" fmla="*/ 1976438 w 8971757"/>
                  <a:gd name="connsiteY125" fmla="*/ 3305175 h 4575969"/>
                  <a:gd name="connsiteX126" fmla="*/ 2038350 w 8971757"/>
                  <a:gd name="connsiteY126" fmla="*/ 3529013 h 4575969"/>
                  <a:gd name="connsiteX127" fmla="*/ 2028825 w 8971757"/>
                  <a:gd name="connsiteY127" fmla="*/ 3593306 h 4575969"/>
                  <a:gd name="connsiteX128" fmla="*/ 2164556 w 8971757"/>
                  <a:gd name="connsiteY128" fmla="*/ 3759994 h 4575969"/>
                  <a:gd name="connsiteX129" fmla="*/ 2183606 w 8971757"/>
                  <a:gd name="connsiteY129" fmla="*/ 3810000 h 4575969"/>
                  <a:gd name="connsiteX130" fmla="*/ 2157413 w 8971757"/>
                  <a:gd name="connsiteY130" fmla="*/ 3829050 h 4575969"/>
                  <a:gd name="connsiteX131" fmla="*/ 2259806 w 8971757"/>
                  <a:gd name="connsiteY131" fmla="*/ 3838575 h 4575969"/>
                  <a:gd name="connsiteX132" fmla="*/ 2371725 w 8971757"/>
                  <a:gd name="connsiteY132" fmla="*/ 3826669 h 4575969"/>
                  <a:gd name="connsiteX133" fmla="*/ 2650331 w 8971757"/>
                  <a:gd name="connsiteY133" fmla="*/ 3910012 h 4575969"/>
                  <a:gd name="connsiteX134" fmla="*/ 3057525 w 8971757"/>
                  <a:gd name="connsiteY134" fmla="*/ 3990975 h 4575969"/>
                  <a:gd name="connsiteX135" fmla="*/ 3255169 w 8971757"/>
                  <a:gd name="connsiteY135" fmla="*/ 3960018 h 4575969"/>
                  <a:gd name="connsiteX136" fmla="*/ 3300413 w 8971757"/>
                  <a:gd name="connsiteY136" fmla="*/ 3971924 h 4575969"/>
                  <a:gd name="connsiteX137" fmla="*/ 3355181 w 8971757"/>
                  <a:gd name="connsiteY137" fmla="*/ 3948113 h 4575969"/>
                  <a:gd name="connsiteX138" fmla="*/ 3748087 w 8971757"/>
                  <a:gd name="connsiteY138" fmla="*/ 4038600 h 4575969"/>
                  <a:gd name="connsiteX139" fmla="*/ 3831432 w 8971757"/>
                  <a:gd name="connsiteY139" fmla="*/ 4136231 h 4575969"/>
                  <a:gd name="connsiteX140" fmla="*/ 3950494 w 8971757"/>
                  <a:gd name="connsiteY140" fmla="*/ 4207669 h 4575969"/>
                  <a:gd name="connsiteX141" fmla="*/ 4010025 w 8971757"/>
                  <a:gd name="connsiteY141" fmla="*/ 4191000 h 4575969"/>
                  <a:gd name="connsiteX142" fmla="*/ 4360068 w 8971757"/>
                  <a:gd name="connsiteY142" fmla="*/ 4364831 h 4575969"/>
                  <a:gd name="connsiteX143" fmla="*/ 4586288 w 8971757"/>
                  <a:gd name="connsiteY143" fmla="*/ 4336256 h 4575969"/>
                  <a:gd name="connsiteX144" fmla="*/ 4595813 w 8971757"/>
                  <a:gd name="connsiteY144" fmla="*/ 4414837 h 4575969"/>
                  <a:gd name="connsiteX145" fmla="*/ 4681538 w 8971757"/>
                  <a:gd name="connsiteY145" fmla="*/ 4410074 h 4575969"/>
                  <a:gd name="connsiteX146" fmla="*/ 4760119 w 8971757"/>
                  <a:gd name="connsiteY146" fmla="*/ 4441031 h 4575969"/>
                  <a:gd name="connsiteX147" fmla="*/ 4802981 w 8971757"/>
                  <a:gd name="connsiteY147" fmla="*/ 4381500 h 4575969"/>
                  <a:gd name="connsiteX148" fmla="*/ 5474494 w 8971757"/>
                  <a:gd name="connsiteY148" fmla="*/ 4062412 h 4575969"/>
                  <a:gd name="connsiteX149" fmla="*/ 5562600 w 8971757"/>
                  <a:gd name="connsiteY149" fmla="*/ 4090988 h 4575969"/>
                  <a:gd name="connsiteX150" fmla="*/ 5693569 w 8971757"/>
                  <a:gd name="connsiteY150" fmla="*/ 4062412 h 4575969"/>
                  <a:gd name="connsiteX151" fmla="*/ 5872162 w 8971757"/>
                  <a:gd name="connsiteY151" fmla="*/ 4079081 h 4575969"/>
                  <a:gd name="connsiteX152" fmla="*/ 5929313 w 8971757"/>
                  <a:gd name="connsiteY152" fmla="*/ 4052888 h 4575969"/>
                  <a:gd name="connsiteX153" fmla="*/ 6062662 w 8971757"/>
                  <a:gd name="connsiteY153" fmla="*/ 4050506 h 4575969"/>
                  <a:gd name="connsiteX154" fmla="*/ 6196012 w 8971757"/>
                  <a:gd name="connsiteY154" fmla="*/ 3952875 h 4575969"/>
                  <a:gd name="connsiteX155" fmla="*/ 6262687 w 8971757"/>
                  <a:gd name="connsiteY155" fmla="*/ 3945731 h 4575969"/>
                  <a:gd name="connsiteX156" fmla="*/ 6360319 w 8971757"/>
                  <a:gd name="connsiteY156" fmla="*/ 3871912 h 4575969"/>
                  <a:gd name="connsiteX157" fmla="*/ 6434138 w 8971757"/>
                  <a:gd name="connsiteY157" fmla="*/ 3802856 h 4575969"/>
                  <a:gd name="connsiteX158" fmla="*/ 6443663 w 8971757"/>
                  <a:gd name="connsiteY158" fmla="*/ 3740944 h 4575969"/>
                  <a:gd name="connsiteX159" fmla="*/ 6477000 w 8971757"/>
                  <a:gd name="connsiteY159" fmla="*/ 3671887 h 4575969"/>
                  <a:gd name="connsiteX160" fmla="*/ 6629400 w 8971757"/>
                  <a:gd name="connsiteY160" fmla="*/ 3564731 h 4575969"/>
                  <a:gd name="connsiteX161" fmla="*/ 6662738 w 8971757"/>
                  <a:gd name="connsiteY161" fmla="*/ 3569494 h 4575969"/>
                  <a:gd name="connsiteX162" fmla="*/ 6715125 w 8971757"/>
                  <a:gd name="connsiteY162" fmla="*/ 3490912 h 4575969"/>
                  <a:gd name="connsiteX163" fmla="*/ 6762750 w 8971757"/>
                  <a:gd name="connsiteY163" fmla="*/ 3452812 h 4575969"/>
                  <a:gd name="connsiteX164" fmla="*/ 6748463 w 8971757"/>
                  <a:gd name="connsiteY164" fmla="*/ 3383756 h 4575969"/>
                  <a:gd name="connsiteX165" fmla="*/ 6698456 w 8971757"/>
                  <a:gd name="connsiteY165" fmla="*/ 3352799 h 4575969"/>
                  <a:gd name="connsiteX166" fmla="*/ 6638925 w 8971757"/>
                  <a:gd name="connsiteY166" fmla="*/ 3298031 h 4575969"/>
                  <a:gd name="connsiteX167" fmla="*/ 6619875 w 8971757"/>
                  <a:gd name="connsiteY167" fmla="*/ 3240881 h 4575969"/>
                  <a:gd name="connsiteX168" fmla="*/ 6584156 w 8971757"/>
                  <a:gd name="connsiteY168" fmla="*/ 3207544 h 4575969"/>
                  <a:gd name="connsiteX169" fmla="*/ 6610350 w 8971757"/>
                  <a:gd name="connsiteY169" fmla="*/ 3155156 h 4575969"/>
                  <a:gd name="connsiteX170" fmla="*/ 6650831 w 8971757"/>
                  <a:gd name="connsiteY170" fmla="*/ 2976562 h 4575969"/>
                  <a:gd name="connsiteX171" fmla="*/ 6691313 w 8971757"/>
                  <a:gd name="connsiteY171" fmla="*/ 2909887 h 4575969"/>
                  <a:gd name="connsiteX172" fmla="*/ 6836569 w 8971757"/>
                  <a:gd name="connsiteY172" fmla="*/ 2893218 h 4575969"/>
                  <a:gd name="connsiteX173" fmla="*/ 6905625 w 8971757"/>
                  <a:gd name="connsiteY173" fmla="*/ 2950369 h 4575969"/>
                  <a:gd name="connsiteX174" fmla="*/ 6981825 w 8971757"/>
                  <a:gd name="connsiteY174" fmla="*/ 2974181 h 4575969"/>
                  <a:gd name="connsiteX175" fmla="*/ 7186612 w 8971757"/>
                  <a:gd name="connsiteY175" fmla="*/ 2978944 h 4575969"/>
                  <a:gd name="connsiteX176" fmla="*/ 7362825 w 8971757"/>
                  <a:gd name="connsiteY176" fmla="*/ 2840831 h 4575969"/>
                  <a:gd name="connsiteX177" fmla="*/ 7419975 w 8971757"/>
                  <a:gd name="connsiteY177" fmla="*/ 2750343 h 4575969"/>
                  <a:gd name="connsiteX178" fmla="*/ 7446169 w 8971757"/>
                  <a:gd name="connsiteY178" fmla="*/ 2667000 h 4575969"/>
                  <a:gd name="connsiteX179" fmla="*/ 7577137 w 8971757"/>
                  <a:gd name="connsiteY179" fmla="*/ 2667000 h 4575969"/>
                  <a:gd name="connsiteX180" fmla="*/ 7750969 w 8971757"/>
                  <a:gd name="connsiteY180" fmla="*/ 2609849 h 4575969"/>
                  <a:gd name="connsiteX181" fmla="*/ 7810500 w 8971757"/>
                  <a:gd name="connsiteY181" fmla="*/ 2497931 h 4575969"/>
                  <a:gd name="connsiteX182" fmla="*/ 7874794 w 8971757"/>
                  <a:gd name="connsiteY182" fmla="*/ 2462212 h 4575969"/>
                  <a:gd name="connsiteX183" fmla="*/ 7853363 w 8971757"/>
                  <a:gd name="connsiteY183" fmla="*/ 2416969 h 4575969"/>
                  <a:gd name="connsiteX184" fmla="*/ 7931944 w 8971757"/>
                  <a:gd name="connsiteY184" fmla="*/ 2247899 h 4575969"/>
                  <a:gd name="connsiteX185" fmla="*/ 7986713 w 8971757"/>
                  <a:gd name="connsiteY185" fmla="*/ 2188369 h 4575969"/>
                  <a:gd name="connsiteX186" fmla="*/ 8024813 w 8971757"/>
                  <a:gd name="connsiteY186" fmla="*/ 2183606 h 4575969"/>
                  <a:gd name="connsiteX187" fmla="*/ 8070056 w 8971757"/>
                  <a:gd name="connsiteY187" fmla="*/ 2188369 h 4575969"/>
                  <a:gd name="connsiteX188" fmla="*/ 8134350 w 8971757"/>
                  <a:gd name="connsiteY188" fmla="*/ 2155031 h 4575969"/>
                  <a:gd name="connsiteX189" fmla="*/ 8143875 w 8971757"/>
                  <a:gd name="connsiteY189" fmla="*/ 2090737 h 4575969"/>
                  <a:gd name="connsiteX190" fmla="*/ 8184355 w 8971757"/>
                  <a:gd name="connsiteY190" fmla="*/ 2055019 h 4575969"/>
                  <a:gd name="connsiteX191" fmla="*/ 8243888 w 8971757"/>
                  <a:gd name="connsiteY191" fmla="*/ 2095499 h 4575969"/>
                  <a:gd name="connsiteX192" fmla="*/ 8270082 w 8971757"/>
                  <a:gd name="connsiteY192" fmla="*/ 2045493 h 4575969"/>
                  <a:gd name="connsiteX193" fmla="*/ 8365331 w 8971757"/>
                  <a:gd name="connsiteY193" fmla="*/ 1976437 h 4575969"/>
                  <a:gd name="connsiteX194" fmla="*/ 8427244 w 8971757"/>
                  <a:gd name="connsiteY194" fmla="*/ 1983581 h 4575969"/>
                  <a:gd name="connsiteX195" fmla="*/ 8477250 w 8971757"/>
                  <a:gd name="connsiteY195" fmla="*/ 1964531 h 4575969"/>
                  <a:gd name="connsiteX196" fmla="*/ 8515350 w 8971757"/>
                  <a:gd name="connsiteY196" fmla="*/ 1935956 h 4575969"/>
                  <a:gd name="connsiteX197" fmla="*/ 8548688 w 8971757"/>
                  <a:gd name="connsiteY197" fmla="*/ 1933575 h 4575969"/>
                  <a:gd name="connsiteX198" fmla="*/ 8584406 w 8971757"/>
                  <a:gd name="connsiteY198" fmla="*/ 1964531 h 4575969"/>
                  <a:gd name="connsiteX199" fmla="*/ 8643938 w 8971757"/>
                  <a:gd name="connsiteY199" fmla="*/ 1964531 h 4575969"/>
                  <a:gd name="connsiteX200" fmla="*/ 8682037 w 8971757"/>
                  <a:gd name="connsiteY200" fmla="*/ 1945481 h 4575969"/>
                  <a:gd name="connsiteX201" fmla="*/ 8765381 w 8971757"/>
                  <a:gd name="connsiteY201" fmla="*/ 1947863 h 4575969"/>
                  <a:gd name="connsiteX202" fmla="*/ 8796338 w 8971757"/>
                  <a:gd name="connsiteY202" fmla="*/ 1902619 h 4575969"/>
                  <a:gd name="connsiteX203" fmla="*/ 8801100 w 8971757"/>
                  <a:gd name="connsiteY203" fmla="*/ 1840706 h 4575969"/>
                  <a:gd name="connsiteX204" fmla="*/ 8751093 w 8971757"/>
                  <a:gd name="connsiteY204" fmla="*/ 1800225 h 4575969"/>
                  <a:gd name="connsiteX205" fmla="*/ 8734425 w 8971757"/>
                  <a:gd name="connsiteY205" fmla="*/ 1745456 h 4575969"/>
                  <a:gd name="connsiteX206" fmla="*/ 8643938 w 8971757"/>
                  <a:gd name="connsiteY206" fmla="*/ 1683544 h 4575969"/>
                  <a:gd name="connsiteX207" fmla="*/ 8603456 w 8971757"/>
                  <a:gd name="connsiteY207" fmla="*/ 1662112 h 4575969"/>
                  <a:gd name="connsiteX208" fmla="*/ 8565356 w 8971757"/>
                  <a:gd name="connsiteY208" fmla="*/ 1616869 h 4575969"/>
                  <a:gd name="connsiteX209" fmla="*/ 8534400 w 8971757"/>
                  <a:gd name="connsiteY209" fmla="*/ 1614487 h 4575969"/>
                  <a:gd name="connsiteX210" fmla="*/ 8517731 w 8971757"/>
                  <a:gd name="connsiteY210" fmla="*/ 1562100 h 4575969"/>
                  <a:gd name="connsiteX211" fmla="*/ 8477250 w 8971757"/>
                  <a:gd name="connsiteY211" fmla="*/ 1545431 h 4575969"/>
                  <a:gd name="connsiteX212" fmla="*/ 8477250 w 8971757"/>
                  <a:gd name="connsiteY212" fmla="*/ 1545431 h 4575969"/>
                  <a:gd name="connsiteX213" fmla="*/ 8436769 w 8971757"/>
                  <a:gd name="connsiteY213" fmla="*/ 1550194 h 4575969"/>
                  <a:gd name="connsiteX214" fmla="*/ 8351043 w 8971757"/>
                  <a:gd name="connsiteY214" fmla="*/ 1476375 h 4575969"/>
                  <a:gd name="connsiteX215" fmla="*/ 8170069 w 8971757"/>
                  <a:gd name="connsiteY215" fmla="*/ 1476374 h 4575969"/>
                  <a:gd name="connsiteX216" fmla="*/ 8117681 w 8971757"/>
                  <a:gd name="connsiteY216" fmla="*/ 1514475 h 4575969"/>
                  <a:gd name="connsiteX217" fmla="*/ 8067675 w 8971757"/>
                  <a:gd name="connsiteY217" fmla="*/ 1593056 h 4575969"/>
                  <a:gd name="connsiteX218" fmla="*/ 8084344 w 8971757"/>
                  <a:gd name="connsiteY218" fmla="*/ 1614487 h 4575969"/>
                  <a:gd name="connsiteX219" fmla="*/ 8039100 w 8971757"/>
                  <a:gd name="connsiteY219" fmla="*/ 1664493 h 4575969"/>
                  <a:gd name="connsiteX220" fmla="*/ 7889081 w 8971757"/>
                  <a:gd name="connsiteY220" fmla="*/ 1588293 h 4575969"/>
                  <a:gd name="connsiteX221" fmla="*/ 7798594 w 8971757"/>
                  <a:gd name="connsiteY221" fmla="*/ 1624012 h 4575969"/>
                  <a:gd name="connsiteX222" fmla="*/ 7724775 w 8971757"/>
                  <a:gd name="connsiteY222" fmla="*/ 1621631 h 4575969"/>
                  <a:gd name="connsiteX223" fmla="*/ 7667625 w 8971757"/>
                  <a:gd name="connsiteY223" fmla="*/ 1716881 h 4575969"/>
                  <a:gd name="connsiteX224" fmla="*/ 7529513 w 8971757"/>
                  <a:gd name="connsiteY22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3505200 w 8971757"/>
                  <a:gd name="connsiteY71" fmla="*/ 295275 h 4575969"/>
                  <a:gd name="connsiteX72" fmla="*/ 8412956 w 8971757"/>
                  <a:gd name="connsiteY72" fmla="*/ 23812 h 4575969"/>
                  <a:gd name="connsiteX73" fmla="*/ 8949531 w 8971757"/>
                  <a:gd name="connsiteY73" fmla="*/ 0 h 4575969"/>
                  <a:gd name="connsiteX74" fmla="*/ 8971757 w 8971757"/>
                  <a:gd name="connsiteY74" fmla="*/ 4575969 h 4575969"/>
                  <a:gd name="connsiteX75" fmla="*/ 2381 w 8971757"/>
                  <a:gd name="connsiteY75" fmla="*/ 4547392 h 4575969"/>
                  <a:gd name="connsiteX76" fmla="*/ 0 w 8971757"/>
                  <a:gd name="connsiteY76" fmla="*/ 845344 h 4575969"/>
                  <a:gd name="connsiteX77" fmla="*/ 76200 w 8971757"/>
                  <a:gd name="connsiteY77" fmla="*/ 828675 h 4575969"/>
                  <a:gd name="connsiteX78" fmla="*/ 119063 w 8971757"/>
                  <a:gd name="connsiteY78" fmla="*/ 857250 h 4575969"/>
                  <a:gd name="connsiteX79" fmla="*/ 215900 w 8971757"/>
                  <a:gd name="connsiteY79" fmla="*/ 848519 h 4575969"/>
                  <a:gd name="connsiteX80" fmla="*/ 261938 w 8971757"/>
                  <a:gd name="connsiteY80" fmla="*/ 876299 h 4575969"/>
                  <a:gd name="connsiteX81" fmla="*/ 228600 w 8971757"/>
                  <a:gd name="connsiteY81" fmla="*/ 904875 h 4575969"/>
                  <a:gd name="connsiteX82" fmla="*/ 233363 w 8971757"/>
                  <a:gd name="connsiteY82" fmla="*/ 947737 h 4575969"/>
                  <a:gd name="connsiteX83" fmla="*/ 200025 w 8971757"/>
                  <a:gd name="connsiteY83" fmla="*/ 952500 h 4575969"/>
                  <a:gd name="connsiteX84" fmla="*/ 204788 w 8971757"/>
                  <a:gd name="connsiteY84" fmla="*/ 976312 h 4575969"/>
                  <a:gd name="connsiteX85" fmla="*/ 261937 w 8971757"/>
                  <a:gd name="connsiteY85" fmla="*/ 1050131 h 4575969"/>
                  <a:gd name="connsiteX86" fmla="*/ 223838 w 8971757"/>
                  <a:gd name="connsiteY86" fmla="*/ 1097756 h 4575969"/>
                  <a:gd name="connsiteX87" fmla="*/ 278606 w 8971757"/>
                  <a:gd name="connsiteY87" fmla="*/ 1133475 h 4575969"/>
                  <a:gd name="connsiteX88" fmla="*/ 369094 w 8971757"/>
                  <a:gd name="connsiteY88" fmla="*/ 1221581 h 4575969"/>
                  <a:gd name="connsiteX89" fmla="*/ 371475 w 8971757"/>
                  <a:gd name="connsiteY89" fmla="*/ 1281112 h 4575969"/>
                  <a:gd name="connsiteX90" fmla="*/ 507206 w 8971757"/>
                  <a:gd name="connsiteY90" fmla="*/ 1414463 h 4575969"/>
                  <a:gd name="connsiteX91" fmla="*/ 561975 w 8971757"/>
                  <a:gd name="connsiteY91" fmla="*/ 1390650 h 4575969"/>
                  <a:gd name="connsiteX92" fmla="*/ 600075 w 8971757"/>
                  <a:gd name="connsiteY92" fmla="*/ 1416843 h 4575969"/>
                  <a:gd name="connsiteX93" fmla="*/ 614363 w 8971757"/>
                  <a:gd name="connsiteY93" fmla="*/ 1466849 h 4575969"/>
                  <a:gd name="connsiteX94" fmla="*/ 657225 w 8971757"/>
                  <a:gd name="connsiteY94" fmla="*/ 1502569 h 4575969"/>
                  <a:gd name="connsiteX95" fmla="*/ 697706 w 8971757"/>
                  <a:gd name="connsiteY95" fmla="*/ 1490662 h 4575969"/>
                  <a:gd name="connsiteX96" fmla="*/ 716756 w 8971757"/>
                  <a:gd name="connsiteY96" fmla="*/ 1547812 h 4575969"/>
                  <a:gd name="connsiteX97" fmla="*/ 764381 w 8971757"/>
                  <a:gd name="connsiteY97" fmla="*/ 1590675 h 4575969"/>
                  <a:gd name="connsiteX98" fmla="*/ 788194 w 8971757"/>
                  <a:gd name="connsiteY98" fmla="*/ 1693069 h 4575969"/>
                  <a:gd name="connsiteX99" fmla="*/ 785813 w 8971757"/>
                  <a:gd name="connsiteY99" fmla="*/ 1740694 h 4575969"/>
                  <a:gd name="connsiteX100" fmla="*/ 821531 w 8971757"/>
                  <a:gd name="connsiteY100" fmla="*/ 1840706 h 4575969"/>
                  <a:gd name="connsiteX101" fmla="*/ 866775 w 8971757"/>
                  <a:gd name="connsiteY101" fmla="*/ 1897856 h 4575969"/>
                  <a:gd name="connsiteX102" fmla="*/ 883443 w 8971757"/>
                  <a:gd name="connsiteY102" fmla="*/ 2055018 h 4575969"/>
                  <a:gd name="connsiteX103" fmla="*/ 850106 w 8971757"/>
                  <a:gd name="connsiteY103" fmla="*/ 2116931 h 4575969"/>
                  <a:gd name="connsiteX104" fmla="*/ 819150 w 8971757"/>
                  <a:gd name="connsiteY104" fmla="*/ 2193131 h 4575969"/>
                  <a:gd name="connsiteX105" fmla="*/ 833438 w 8971757"/>
                  <a:gd name="connsiteY105" fmla="*/ 2250281 h 4575969"/>
                  <a:gd name="connsiteX106" fmla="*/ 735806 w 8971757"/>
                  <a:gd name="connsiteY106" fmla="*/ 2357438 h 4575969"/>
                  <a:gd name="connsiteX107" fmla="*/ 692944 w 8971757"/>
                  <a:gd name="connsiteY107" fmla="*/ 2471737 h 4575969"/>
                  <a:gd name="connsiteX108" fmla="*/ 726281 w 8971757"/>
                  <a:gd name="connsiteY108" fmla="*/ 2512219 h 4575969"/>
                  <a:gd name="connsiteX109" fmla="*/ 709613 w 8971757"/>
                  <a:gd name="connsiteY109" fmla="*/ 2540794 h 4575969"/>
                  <a:gd name="connsiteX110" fmla="*/ 740569 w 8971757"/>
                  <a:gd name="connsiteY110" fmla="*/ 2597944 h 4575969"/>
                  <a:gd name="connsiteX111" fmla="*/ 769144 w 8971757"/>
                  <a:gd name="connsiteY111" fmla="*/ 2597944 h 4575969"/>
                  <a:gd name="connsiteX112" fmla="*/ 931069 w 8971757"/>
                  <a:gd name="connsiteY112" fmla="*/ 2700337 h 4575969"/>
                  <a:gd name="connsiteX113" fmla="*/ 1035844 w 8971757"/>
                  <a:gd name="connsiteY113" fmla="*/ 2697956 h 4575969"/>
                  <a:gd name="connsiteX114" fmla="*/ 1114425 w 8971757"/>
                  <a:gd name="connsiteY114" fmla="*/ 2752725 h 4575969"/>
                  <a:gd name="connsiteX115" fmla="*/ 1245393 w 8971757"/>
                  <a:gd name="connsiteY115" fmla="*/ 2755106 h 4575969"/>
                  <a:gd name="connsiteX116" fmla="*/ 1435893 w 8971757"/>
                  <a:gd name="connsiteY116" fmla="*/ 2824162 h 4575969"/>
                  <a:gd name="connsiteX117" fmla="*/ 1638300 w 8971757"/>
                  <a:gd name="connsiteY117" fmla="*/ 2974181 h 4575969"/>
                  <a:gd name="connsiteX118" fmla="*/ 1671637 w 8971757"/>
                  <a:gd name="connsiteY118" fmla="*/ 3040856 h 4575969"/>
                  <a:gd name="connsiteX119" fmla="*/ 1838325 w 8971757"/>
                  <a:gd name="connsiteY119" fmla="*/ 3167062 h 4575969"/>
                  <a:gd name="connsiteX120" fmla="*/ 1909763 w 8971757"/>
                  <a:gd name="connsiteY120" fmla="*/ 3162300 h 4575969"/>
                  <a:gd name="connsiteX121" fmla="*/ 1945482 w 8971757"/>
                  <a:gd name="connsiteY121" fmla="*/ 3186112 h 4575969"/>
                  <a:gd name="connsiteX122" fmla="*/ 1916906 w 8971757"/>
                  <a:gd name="connsiteY122" fmla="*/ 3226594 h 4575969"/>
                  <a:gd name="connsiteX123" fmla="*/ 1924050 w 8971757"/>
                  <a:gd name="connsiteY123" fmla="*/ 3278981 h 4575969"/>
                  <a:gd name="connsiteX124" fmla="*/ 1976438 w 8971757"/>
                  <a:gd name="connsiteY124" fmla="*/ 3305175 h 4575969"/>
                  <a:gd name="connsiteX125" fmla="*/ 2038350 w 8971757"/>
                  <a:gd name="connsiteY125" fmla="*/ 3529013 h 4575969"/>
                  <a:gd name="connsiteX126" fmla="*/ 2028825 w 8971757"/>
                  <a:gd name="connsiteY126" fmla="*/ 3593306 h 4575969"/>
                  <a:gd name="connsiteX127" fmla="*/ 2164556 w 8971757"/>
                  <a:gd name="connsiteY127" fmla="*/ 3759994 h 4575969"/>
                  <a:gd name="connsiteX128" fmla="*/ 2183606 w 8971757"/>
                  <a:gd name="connsiteY128" fmla="*/ 3810000 h 4575969"/>
                  <a:gd name="connsiteX129" fmla="*/ 2157413 w 8971757"/>
                  <a:gd name="connsiteY129" fmla="*/ 3829050 h 4575969"/>
                  <a:gd name="connsiteX130" fmla="*/ 2259806 w 8971757"/>
                  <a:gd name="connsiteY130" fmla="*/ 3838575 h 4575969"/>
                  <a:gd name="connsiteX131" fmla="*/ 2371725 w 8971757"/>
                  <a:gd name="connsiteY131" fmla="*/ 3826669 h 4575969"/>
                  <a:gd name="connsiteX132" fmla="*/ 2650331 w 8971757"/>
                  <a:gd name="connsiteY132" fmla="*/ 3910012 h 4575969"/>
                  <a:gd name="connsiteX133" fmla="*/ 3057525 w 8971757"/>
                  <a:gd name="connsiteY133" fmla="*/ 3990975 h 4575969"/>
                  <a:gd name="connsiteX134" fmla="*/ 3255169 w 8971757"/>
                  <a:gd name="connsiteY134" fmla="*/ 3960018 h 4575969"/>
                  <a:gd name="connsiteX135" fmla="*/ 3300413 w 8971757"/>
                  <a:gd name="connsiteY135" fmla="*/ 3971924 h 4575969"/>
                  <a:gd name="connsiteX136" fmla="*/ 3355181 w 8971757"/>
                  <a:gd name="connsiteY136" fmla="*/ 3948113 h 4575969"/>
                  <a:gd name="connsiteX137" fmla="*/ 3748087 w 8971757"/>
                  <a:gd name="connsiteY137" fmla="*/ 4038600 h 4575969"/>
                  <a:gd name="connsiteX138" fmla="*/ 3831432 w 8971757"/>
                  <a:gd name="connsiteY138" fmla="*/ 4136231 h 4575969"/>
                  <a:gd name="connsiteX139" fmla="*/ 3950494 w 8971757"/>
                  <a:gd name="connsiteY139" fmla="*/ 4207669 h 4575969"/>
                  <a:gd name="connsiteX140" fmla="*/ 4010025 w 8971757"/>
                  <a:gd name="connsiteY140" fmla="*/ 4191000 h 4575969"/>
                  <a:gd name="connsiteX141" fmla="*/ 4360068 w 8971757"/>
                  <a:gd name="connsiteY141" fmla="*/ 4364831 h 4575969"/>
                  <a:gd name="connsiteX142" fmla="*/ 4586288 w 8971757"/>
                  <a:gd name="connsiteY142" fmla="*/ 4336256 h 4575969"/>
                  <a:gd name="connsiteX143" fmla="*/ 4595813 w 8971757"/>
                  <a:gd name="connsiteY143" fmla="*/ 4414837 h 4575969"/>
                  <a:gd name="connsiteX144" fmla="*/ 4681538 w 8971757"/>
                  <a:gd name="connsiteY144" fmla="*/ 4410074 h 4575969"/>
                  <a:gd name="connsiteX145" fmla="*/ 4760119 w 8971757"/>
                  <a:gd name="connsiteY145" fmla="*/ 4441031 h 4575969"/>
                  <a:gd name="connsiteX146" fmla="*/ 4802981 w 8971757"/>
                  <a:gd name="connsiteY146" fmla="*/ 4381500 h 4575969"/>
                  <a:gd name="connsiteX147" fmla="*/ 5474494 w 8971757"/>
                  <a:gd name="connsiteY147" fmla="*/ 4062412 h 4575969"/>
                  <a:gd name="connsiteX148" fmla="*/ 5562600 w 8971757"/>
                  <a:gd name="connsiteY148" fmla="*/ 4090988 h 4575969"/>
                  <a:gd name="connsiteX149" fmla="*/ 5693569 w 8971757"/>
                  <a:gd name="connsiteY149" fmla="*/ 4062412 h 4575969"/>
                  <a:gd name="connsiteX150" fmla="*/ 5872162 w 8971757"/>
                  <a:gd name="connsiteY150" fmla="*/ 4079081 h 4575969"/>
                  <a:gd name="connsiteX151" fmla="*/ 5929313 w 8971757"/>
                  <a:gd name="connsiteY151" fmla="*/ 4052888 h 4575969"/>
                  <a:gd name="connsiteX152" fmla="*/ 6062662 w 8971757"/>
                  <a:gd name="connsiteY152" fmla="*/ 4050506 h 4575969"/>
                  <a:gd name="connsiteX153" fmla="*/ 6196012 w 8971757"/>
                  <a:gd name="connsiteY153" fmla="*/ 3952875 h 4575969"/>
                  <a:gd name="connsiteX154" fmla="*/ 6262687 w 8971757"/>
                  <a:gd name="connsiteY154" fmla="*/ 3945731 h 4575969"/>
                  <a:gd name="connsiteX155" fmla="*/ 6360319 w 8971757"/>
                  <a:gd name="connsiteY155" fmla="*/ 3871912 h 4575969"/>
                  <a:gd name="connsiteX156" fmla="*/ 6434138 w 8971757"/>
                  <a:gd name="connsiteY156" fmla="*/ 3802856 h 4575969"/>
                  <a:gd name="connsiteX157" fmla="*/ 6443663 w 8971757"/>
                  <a:gd name="connsiteY157" fmla="*/ 3740944 h 4575969"/>
                  <a:gd name="connsiteX158" fmla="*/ 6477000 w 8971757"/>
                  <a:gd name="connsiteY158" fmla="*/ 3671887 h 4575969"/>
                  <a:gd name="connsiteX159" fmla="*/ 6629400 w 8971757"/>
                  <a:gd name="connsiteY159" fmla="*/ 3564731 h 4575969"/>
                  <a:gd name="connsiteX160" fmla="*/ 6662738 w 8971757"/>
                  <a:gd name="connsiteY160" fmla="*/ 3569494 h 4575969"/>
                  <a:gd name="connsiteX161" fmla="*/ 6715125 w 8971757"/>
                  <a:gd name="connsiteY161" fmla="*/ 3490912 h 4575969"/>
                  <a:gd name="connsiteX162" fmla="*/ 6762750 w 8971757"/>
                  <a:gd name="connsiteY162" fmla="*/ 3452812 h 4575969"/>
                  <a:gd name="connsiteX163" fmla="*/ 6748463 w 8971757"/>
                  <a:gd name="connsiteY163" fmla="*/ 3383756 h 4575969"/>
                  <a:gd name="connsiteX164" fmla="*/ 6698456 w 8971757"/>
                  <a:gd name="connsiteY164" fmla="*/ 3352799 h 4575969"/>
                  <a:gd name="connsiteX165" fmla="*/ 6638925 w 8971757"/>
                  <a:gd name="connsiteY165" fmla="*/ 3298031 h 4575969"/>
                  <a:gd name="connsiteX166" fmla="*/ 6619875 w 8971757"/>
                  <a:gd name="connsiteY166" fmla="*/ 3240881 h 4575969"/>
                  <a:gd name="connsiteX167" fmla="*/ 6584156 w 8971757"/>
                  <a:gd name="connsiteY167" fmla="*/ 3207544 h 4575969"/>
                  <a:gd name="connsiteX168" fmla="*/ 6610350 w 8971757"/>
                  <a:gd name="connsiteY168" fmla="*/ 3155156 h 4575969"/>
                  <a:gd name="connsiteX169" fmla="*/ 6650831 w 8971757"/>
                  <a:gd name="connsiteY169" fmla="*/ 2976562 h 4575969"/>
                  <a:gd name="connsiteX170" fmla="*/ 6691313 w 8971757"/>
                  <a:gd name="connsiteY170" fmla="*/ 2909887 h 4575969"/>
                  <a:gd name="connsiteX171" fmla="*/ 6836569 w 8971757"/>
                  <a:gd name="connsiteY171" fmla="*/ 2893218 h 4575969"/>
                  <a:gd name="connsiteX172" fmla="*/ 6905625 w 8971757"/>
                  <a:gd name="connsiteY172" fmla="*/ 2950369 h 4575969"/>
                  <a:gd name="connsiteX173" fmla="*/ 6981825 w 8971757"/>
                  <a:gd name="connsiteY173" fmla="*/ 2974181 h 4575969"/>
                  <a:gd name="connsiteX174" fmla="*/ 7186612 w 8971757"/>
                  <a:gd name="connsiteY174" fmla="*/ 2978944 h 4575969"/>
                  <a:gd name="connsiteX175" fmla="*/ 7362825 w 8971757"/>
                  <a:gd name="connsiteY175" fmla="*/ 2840831 h 4575969"/>
                  <a:gd name="connsiteX176" fmla="*/ 7419975 w 8971757"/>
                  <a:gd name="connsiteY176" fmla="*/ 2750343 h 4575969"/>
                  <a:gd name="connsiteX177" fmla="*/ 7446169 w 8971757"/>
                  <a:gd name="connsiteY177" fmla="*/ 2667000 h 4575969"/>
                  <a:gd name="connsiteX178" fmla="*/ 7577137 w 8971757"/>
                  <a:gd name="connsiteY178" fmla="*/ 2667000 h 4575969"/>
                  <a:gd name="connsiteX179" fmla="*/ 7750969 w 8971757"/>
                  <a:gd name="connsiteY179" fmla="*/ 2609849 h 4575969"/>
                  <a:gd name="connsiteX180" fmla="*/ 7810500 w 8971757"/>
                  <a:gd name="connsiteY180" fmla="*/ 2497931 h 4575969"/>
                  <a:gd name="connsiteX181" fmla="*/ 7874794 w 8971757"/>
                  <a:gd name="connsiteY181" fmla="*/ 2462212 h 4575969"/>
                  <a:gd name="connsiteX182" fmla="*/ 7853363 w 8971757"/>
                  <a:gd name="connsiteY182" fmla="*/ 2416969 h 4575969"/>
                  <a:gd name="connsiteX183" fmla="*/ 7931944 w 8971757"/>
                  <a:gd name="connsiteY183" fmla="*/ 2247899 h 4575969"/>
                  <a:gd name="connsiteX184" fmla="*/ 7986713 w 8971757"/>
                  <a:gd name="connsiteY184" fmla="*/ 2188369 h 4575969"/>
                  <a:gd name="connsiteX185" fmla="*/ 8024813 w 8971757"/>
                  <a:gd name="connsiteY185" fmla="*/ 2183606 h 4575969"/>
                  <a:gd name="connsiteX186" fmla="*/ 8070056 w 8971757"/>
                  <a:gd name="connsiteY186" fmla="*/ 2188369 h 4575969"/>
                  <a:gd name="connsiteX187" fmla="*/ 8134350 w 8971757"/>
                  <a:gd name="connsiteY187" fmla="*/ 2155031 h 4575969"/>
                  <a:gd name="connsiteX188" fmla="*/ 8143875 w 8971757"/>
                  <a:gd name="connsiteY188" fmla="*/ 2090737 h 4575969"/>
                  <a:gd name="connsiteX189" fmla="*/ 8184355 w 8971757"/>
                  <a:gd name="connsiteY189" fmla="*/ 2055019 h 4575969"/>
                  <a:gd name="connsiteX190" fmla="*/ 8243888 w 8971757"/>
                  <a:gd name="connsiteY190" fmla="*/ 2095499 h 4575969"/>
                  <a:gd name="connsiteX191" fmla="*/ 8270082 w 8971757"/>
                  <a:gd name="connsiteY191" fmla="*/ 2045493 h 4575969"/>
                  <a:gd name="connsiteX192" fmla="*/ 8365331 w 8971757"/>
                  <a:gd name="connsiteY192" fmla="*/ 1976437 h 4575969"/>
                  <a:gd name="connsiteX193" fmla="*/ 8427244 w 8971757"/>
                  <a:gd name="connsiteY193" fmla="*/ 1983581 h 4575969"/>
                  <a:gd name="connsiteX194" fmla="*/ 8477250 w 8971757"/>
                  <a:gd name="connsiteY194" fmla="*/ 1964531 h 4575969"/>
                  <a:gd name="connsiteX195" fmla="*/ 8515350 w 8971757"/>
                  <a:gd name="connsiteY195" fmla="*/ 1935956 h 4575969"/>
                  <a:gd name="connsiteX196" fmla="*/ 8548688 w 8971757"/>
                  <a:gd name="connsiteY196" fmla="*/ 1933575 h 4575969"/>
                  <a:gd name="connsiteX197" fmla="*/ 8584406 w 8971757"/>
                  <a:gd name="connsiteY197" fmla="*/ 1964531 h 4575969"/>
                  <a:gd name="connsiteX198" fmla="*/ 8643938 w 8971757"/>
                  <a:gd name="connsiteY198" fmla="*/ 1964531 h 4575969"/>
                  <a:gd name="connsiteX199" fmla="*/ 8682037 w 8971757"/>
                  <a:gd name="connsiteY199" fmla="*/ 1945481 h 4575969"/>
                  <a:gd name="connsiteX200" fmla="*/ 8765381 w 8971757"/>
                  <a:gd name="connsiteY200" fmla="*/ 1947863 h 4575969"/>
                  <a:gd name="connsiteX201" fmla="*/ 8796338 w 8971757"/>
                  <a:gd name="connsiteY201" fmla="*/ 1902619 h 4575969"/>
                  <a:gd name="connsiteX202" fmla="*/ 8801100 w 8971757"/>
                  <a:gd name="connsiteY202" fmla="*/ 1840706 h 4575969"/>
                  <a:gd name="connsiteX203" fmla="*/ 8751093 w 8971757"/>
                  <a:gd name="connsiteY203" fmla="*/ 1800225 h 4575969"/>
                  <a:gd name="connsiteX204" fmla="*/ 8734425 w 8971757"/>
                  <a:gd name="connsiteY204" fmla="*/ 1745456 h 4575969"/>
                  <a:gd name="connsiteX205" fmla="*/ 8643938 w 8971757"/>
                  <a:gd name="connsiteY205" fmla="*/ 1683544 h 4575969"/>
                  <a:gd name="connsiteX206" fmla="*/ 8603456 w 8971757"/>
                  <a:gd name="connsiteY206" fmla="*/ 1662112 h 4575969"/>
                  <a:gd name="connsiteX207" fmla="*/ 8565356 w 8971757"/>
                  <a:gd name="connsiteY207" fmla="*/ 1616869 h 4575969"/>
                  <a:gd name="connsiteX208" fmla="*/ 8534400 w 8971757"/>
                  <a:gd name="connsiteY208" fmla="*/ 1614487 h 4575969"/>
                  <a:gd name="connsiteX209" fmla="*/ 8517731 w 8971757"/>
                  <a:gd name="connsiteY209" fmla="*/ 1562100 h 4575969"/>
                  <a:gd name="connsiteX210" fmla="*/ 8477250 w 8971757"/>
                  <a:gd name="connsiteY210" fmla="*/ 1545431 h 4575969"/>
                  <a:gd name="connsiteX211" fmla="*/ 8477250 w 8971757"/>
                  <a:gd name="connsiteY211" fmla="*/ 1545431 h 4575969"/>
                  <a:gd name="connsiteX212" fmla="*/ 8436769 w 8971757"/>
                  <a:gd name="connsiteY212" fmla="*/ 1550194 h 4575969"/>
                  <a:gd name="connsiteX213" fmla="*/ 8351043 w 8971757"/>
                  <a:gd name="connsiteY213" fmla="*/ 1476375 h 4575969"/>
                  <a:gd name="connsiteX214" fmla="*/ 8170069 w 8971757"/>
                  <a:gd name="connsiteY214" fmla="*/ 1476374 h 4575969"/>
                  <a:gd name="connsiteX215" fmla="*/ 8117681 w 8971757"/>
                  <a:gd name="connsiteY215" fmla="*/ 1514475 h 4575969"/>
                  <a:gd name="connsiteX216" fmla="*/ 8067675 w 8971757"/>
                  <a:gd name="connsiteY216" fmla="*/ 1593056 h 4575969"/>
                  <a:gd name="connsiteX217" fmla="*/ 8084344 w 8971757"/>
                  <a:gd name="connsiteY217" fmla="*/ 1614487 h 4575969"/>
                  <a:gd name="connsiteX218" fmla="*/ 8039100 w 8971757"/>
                  <a:gd name="connsiteY218" fmla="*/ 1664493 h 4575969"/>
                  <a:gd name="connsiteX219" fmla="*/ 7889081 w 8971757"/>
                  <a:gd name="connsiteY219" fmla="*/ 1588293 h 4575969"/>
                  <a:gd name="connsiteX220" fmla="*/ 7798594 w 8971757"/>
                  <a:gd name="connsiteY220" fmla="*/ 1624012 h 4575969"/>
                  <a:gd name="connsiteX221" fmla="*/ 7724775 w 8971757"/>
                  <a:gd name="connsiteY221" fmla="*/ 1621631 h 4575969"/>
                  <a:gd name="connsiteX222" fmla="*/ 7667625 w 8971757"/>
                  <a:gd name="connsiteY222" fmla="*/ 1716881 h 4575969"/>
                  <a:gd name="connsiteX223" fmla="*/ 7529513 w 8971757"/>
                  <a:gd name="connsiteY22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3609975 w 8971757"/>
                  <a:gd name="connsiteY70" fmla="*/ 326231 h 4575969"/>
                  <a:gd name="connsiteX71" fmla="*/ 8412956 w 8971757"/>
                  <a:gd name="connsiteY71" fmla="*/ 23812 h 4575969"/>
                  <a:gd name="connsiteX72" fmla="*/ 8949531 w 8971757"/>
                  <a:gd name="connsiteY72" fmla="*/ 0 h 4575969"/>
                  <a:gd name="connsiteX73" fmla="*/ 8971757 w 8971757"/>
                  <a:gd name="connsiteY73" fmla="*/ 4575969 h 4575969"/>
                  <a:gd name="connsiteX74" fmla="*/ 2381 w 8971757"/>
                  <a:gd name="connsiteY74" fmla="*/ 4547392 h 4575969"/>
                  <a:gd name="connsiteX75" fmla="*/ 0 w 8971757"/>
                  <a:gd name="connsiteY75" fmla="*/ 845344 h 4575969"/>
                  <a:gd name="connsiteX76" fmla="*/ 76200 w 8971757"/>
                  <a:gd name="connsiteY76" fmla="*/ 828675 h 4575969"/>
                  <a:gd name="connsiteX77" fmla="*/ 119063 w 8971757"/>
                  <a:gd name="connsiteY77" fmla="*/ 857250 h 4575969"/>
                  <a:gd name="connsiteX78" fmla="*/ 215900 w 8971757"/>
                  <a:gd name="connsiteY78" fmla="*/ 848519 h 4575969"/>
                  <a:gd name="connsiteX79" fmla="*/ 261938 w 8971757"/>
                  <a:gd name="connsiteY79" fmla="*/ 876299 h 4575969"/>
                  <a:gd name="connsiteX80" fmla="*/ 228600 w 8971757"/>
                  <a:gd name="connsiteY80" fmla="*/ 904875 h 4575969"/>
                  <a:gd name="connsiteX81" fmla="*/ 233363 w 8971757"/>
                  <a:gd name="connsiteY81" fmla="*/ 947737 h 4575969"/>
                  <a:gd name="connsiteX82" fmla="*/ 200025 w 8971757"/>
                  <a:gd name="connsiteY82" fmla="*/ 952500 h 4575969"/>
                  <a:gd name="connsiteX83" fmla="*/ 204788 w 8971757"/>
                  <a:gd name="connsiteY83" fmla="*/ 976312 h 4575969"/>
                  <a:gd name="connsiteX84" fmla="*/ 261937 w 8971757"/>
                  <a:gd name="connsiteY84" fmla="*/ 1050131 h 4575969"/>
                  <a:gd name="connsiteX85" fmla="*/ 223838 w 8971757"/>
                  <a:gd name="connsiteY85" fmla="*/ 1097756 h 4575969"/>
                  <a:gd name="connsiteX86" fmla="*/ 278606 w 8971757"/>
                  <a:gd name="connsiteY86" fmla="*/ 1133475 h 4575969"/>
                  <a:gd name="connsiteX87" fmla="*/ 369094 w 8971757"/>
                  <a:gd name="connsiteY87" fmla="*/ 1221581 h 4575969"/>
                  <a:gd name="connsiteX88" fmla="*/ 371475 w 8971757"/>
                  <a:gd name="connsiteY88" fmla="*/ 1281112 h 4575969"/>
                  <a:gd name="connsiteX89" fmla="*/ 507206 w 8971757"/>
                  <a:gd name="connsiteY89" fmla="*/ 1414463 h 4575969"/>
                  <a:gd name="connsiteX90" fmla="*/ 561975 w 8971757"/>
                  <a:gd name="connsiteY90" fmla="*/ 1390650 h 4575969"/>
                  <a:gd name="connsiteX91" fmla="*/ 600075 w 8971757"/>
                  <a:gd name="connsiteY91" fmla="*/ 1416843 h 4575969"/>
                  <a:gd name="connsiteX92" fmla="*/ 614363 w 8971757"/>
                  <a:gd name="connsiteY92" fmla="*/ 1466849 h 4575969"/>
                  <a:gd name="connsiteX93" fmla="*/ 657225 w 8971757"/>
                  <a:gd name="connsiteY93" fmla="*/ 1502569 h 4575969"/>
                  <a:gd name="connsiteX94" fmla="*/ 697706 w 8971757"/>
                  <a:gd name="connsiteY94" fmla="*/ 1490662 h 4575969"/>
                  <a:gd name="connsiteX95" fmla="*/ 716756 w 8971757"/>
                  <a:gd name="connsiteY95" fmla="*/ 1547812 h 4575969"/>
                  <a:gd name="connsiteX96" fmla="*/ 764381 w 8971757"/>
                  <a:gd name="connsiteY96" fmla="*/ 1590675 h 4575969"/>
                  <a:gd name="connsiteX97" fmla="*/ 788194 w 8971757"/>
                  <a:gd name="connsiteY97" fmla="*/ 1693069 h 4575969"/>
                  <a:gd name="connsiteX98" fmla="*/ 785813 w 8971757"/>
                  <a:gd name="connsiteY98" fmla="*/ 1740694 h 4575969"/>
                  <a:gd name="connsiteX99" fmla="*/ 821531 w 8971757"/>
                  <a:gd name="connsiteY99" fmla="*/ 1840706 h 4575969"/>
                  <a:gd name="connsiteX100" fmla="*/ 866775 w 8971757"/>
                  <a:gd name="connsiteY100" fmla="*/ 1897856 h 4575969"/>
                  <a:gd name="connsiteX101" fmla="*/ 883443 w 8971757"/>
                  <a:gd name="connsiteY101" fmla="*/ 2055018 h 4575969"/>
                  <a:gd name="connsiteX102" fmla="*/ 850106 w 8971757"/>
                  <a:gd name="connsiteY102" fmla="*/ 2116931 h 4575969"/>
                  <a:gd name="connsiteX103" fmla="*/ 819150 w 8971757"/>
                  <a:gd name="connsiteY103" fmla="*/ 2193131 h 4575969"/>
                  <a:gd name="connsiteX104" fmla="*/ 833438 w 8971757"/>
                  <a:gd name="connsiteY104" fmla="*/ 2250281 h 4575969"/>
                  <a:gd name="connsiteX105" fmla="*/ 735806 w 8971757"/>
                  <a:gd name="connsiteY105" fmla="*/ 2357438 h 4575969"/>
                  <a:gd name="connsiteX106" fmla="*/ 692944 w 8971757"/>
                  <a:gd name="connsiteY106" fmla="*/ 2471737 h 4575969"/>
                  <a:gd name="connsiteX107" fmla="*/ 726281 w 8971757"/>
                  <a:gd name="connsiteY107" fmla="*/ 2512219 h 4575969"/>
                  <a:gd name="connsiteX108" fmla="*/ 709613 w 8971757"/>
                  <a:gd name="connsiteY108" fmla="*/ 2540794 h 4575969"/>
                  <a:gd name="connsiteX109" fmla="*/ 740569 w 8971757"/>
                  <a:gd name="connsiteY109" fmla="*/ 2597944 h 4575969"/>
                  <a:gd name="connsiteX110" fmla="*/ 769144 w 8971757"/>
                  <a:gd name="connsiteY110" fmla="*/ 2597944 h 4575969"/>
                  <a:gd name="connsiteX111" fmla="*/ 931069 w 8971757"/>
                  <a:gd name="connsiteY111" fmla="*/ 2700337 h 4575969"/>
                  <a:gd name="connsiteX112" fmla="*/ 1035844 w 8971757"/>
                  <a:gd name="connsiteY112" fmla="*/ 2697956 h 4575969"/>
                  <a:gd name="connsiteX113" fmla="*/ 1114425 w 8971757"/>
                  <a:gd name="connsiteY113" fmla="*/ 2752725 h 4575969"/>
                  <a:gd name="connsiteX114" fmla="*/ 1245393 w 8971757"/>
                  <a:gd name="connsiteY114" fmla="*/ 2755106 h 4575969"/>
                  <a:gd name="connsiteX115" fmla="*/ 1435893 w 8971757"/>
                  <a:gd name="connsiteY115" fmla="*/ 2824162 h 4575969"/>
                  <a:gd name="connsiteX116" fmla="*/ 1638300 w 8971757"/>
                  <a:gd name="connsiteY116" fmla="*/ 2974181 h 4575969"/>
                  <a:gd name="connsiteX117" fmla="*/ 1671637 w 8971757"/>
                  <a:gd name="connsiteY117" fmla="*/ 3040856 h 4575969"/>
                  <a:gd name="connsiteX118" fmla="*/ 1838325 w 8971757"/>
                  <a:gd name="connsiteY118" fmla="*/ 3167062 h 4575969"/>
                  <a:gd name="connsiteX119" fmla="*/ 1909763 w 8971757"/>
                  <a:gd name="connsiteY119" fmla="*/ 3162300 h 4575969"/>
                  <a:gd name="connsiteX120" fmla="*/ 1945482 w 8971757"/>
                  <a:gd name="connsiteY120" fmla="*/ 3186112 h 4575969"/>
                  <a:gd name="connsiteX121" fmla="*/ 1916906 w 8971757"/>
                  <a:gd name="connsiteY121" fmla="*/ 3226594 h 4575969"/>
                  <a:gd name="connsiteX122" fmla="*/ 1924050 w 8971757"/>
                  <a:gd name="connsiteY122" fmla="*/ 3278981 h 4575969"/>
                  <a:gd name="connsiteX123" fmla="*/ 1976438 w 8971757"/>
                  <a:gd name="connsiteY123" fmla="*/ 3305175 h 4575969"/>
                  <a:gd name="connsiteX124" fmla="*/ 2038350 w 8971757"/>
                  <a:gd name="connsiteY124" fmla="*/ 3529013 h 4575969"/>
                  <a:gd name="connsiteX125" fmla="*/ 2028825 w 8971757"/>
                  <a:gd name="connsiteY125" fmla="*/ 3593306 h 4575969"/>
                  <a:gd name="connsiteX126" fmla="*/ 2164556 w 8971757"/>
                  <a:gd name="connsiteY126" fmla="*/ 3759994 h 4575969"/>
                  <a:gd name="connsiteX127" fmla="*/ 2183606 w 8971757"/>
                  <a:gd name="connsiteY127" fmla="*/ 3810000 h 4575969"/>
                  <a:gd name="connsiteX128" fmla="*/ 2157413 w 8971757"/>
                  <a:gd name="connsiteY128" fmla="*/ 3829050 h 4575969"/>
                  <a:gd name="connsiteX129" fmla="*/ 2259806 w 8971757"/>
                  <a:gd name="connsiteY129" fmla="*/ 3838575 h 4575969"/>
                  <a:gd name="connsiteX130" fmla="*/ 2371725 w 8971757"/>
                  <a:gd name="connsiteY130" fmla="*/ 3826669 h 4575969"/>
                  <a:gd name="connsiteX131" fmla="*/ 2650331 w 8971757"/>
                  <a:gd name="connsiteY131" fmla="*/ 3910012 h 4575969"/>
                  <a:gd name="connsiteX132" fmla="*/ 3057525 w 8971757"/>
                  <a:gd name="connsiteY132" fmla="*/ 3990975 h 4575969"/>
                  <a:gd name="connsiteX133" fmla="*/ 3255169 w 8971757"/>
                  <a:gd name="connsiteY133" fmla="*/ 3960018 h 4575969"/>
                  <a:gd name="connsiteX134" fmla="*/ 3300413 w 8971757"/>
                  <a:gd name="connsiteY134" fmla="*/ 3971924 h 4575969"/>
                  <a:gd name="connsiteX135" fmla="*/ 3355181 w 8971757"/>
                  <a:gd name="connsiteY135" fmla="*/ 3948113 h 4575969"/>
                  <a:gd name="connsiteX136" fmla="*/ 3748087 w 8971757"/>
                  <a:gd name="connsiteY136" fmla="*/ 4038600 h 4575969"/>
                  <a:gd name="connsiteX137" fmla="*/ 3831432 w 8971757"/>
                  <a:gd name="connsiteY137" fmla="*/ 4136231 h 4575969"/>
                  <a:gd name="connsiteX138" fmla="*/ 3950494 w 8971757"/>
                  <a:gd name="connsiteY138" fmla="*/ 4207669 h 4575969"/>
                  <a:gd name="connsiteX139" fmla="*/ 4010025 w 8971757"/>
                  <a:gd name="connsiteY139" fmla="*/ 4191000 h 4575969"/>
                  <a:gd name="connsiteX140" fmla="*/ 4360068 w 8971757"/>
                  <a:gd name="connsiteY140" fmla="*/ 4364831 h 4575969"/>
                  <a:gd name="connsiteX141" fmla="*/ 4586288 w 8971757"/>
                  <a:gd name="connsiteY141" fmla="*/ 4336256 h 4575969"/>
                  <a:gd name="connsiteX142" fmla="*/ 4595813 w 8971757"/>
                  <a:gd name="connsiteY142" fmla="*/ 4414837 h 4575969"/>
                  <a:gd name="connsiteX143" fmla="*/ 4681538 w 8971757"/>
                  <a:gd name="connsiteY143" fmla="*/ 4410074 h 4575969"/>
                  <a:gd name="connsiteX144" fmla="*/ 4760119 w 8971757"/>
                  <a:gd name="connsiteY144" fmla="*/ 4441031 h 4575969"/>
                  <a:gd name="connsiteX145" fmla="*/ 4802981 w 8971757"/>
                  <a:gd name="connsiteY145" fmla="*/ 4381500 h 4575969"/>
                  <a:gd name="connsiteX146" fmla="*/ 5474494 w 8971757"/>
                  <a:gd name="connsiteY146" fmla="*/ 4062412 h 4575969"/>
                  <a:gd name="connsiteX147" fmla="*/ 5562600 w 8971757"/>
                  <a:gd name="connsiteY147" fmla="*/ 4090988 h 4575969"/>
                  <a:gd name="connsiteX148" fmla="*/ 5693569 w 8971757"/>
                  <a:gd name="connsiteY148" fmla="*/ 4062412 h 4575969"/>
                  <a:gd name="connsiteX149" fmla="*/ 5872162 w 8971757"/>
                  <a:gd name="connsiteY149" fmla="*/ 4079081 h 4575969"/>
                  <a:gd name="connsiteX150" fmla="*/ 5929313 w 8971757"/>
                  <a:gd name="connsiteY150" fmla="*/ 4052888 h 4575969"/>
                  <a:gd name="connsiteX151" fmla="*/ 6062662 w 8971757"/>
                  <a:gd name="connsiteY151" fmla="*/ 4050506 h 4575969"/>
                  <a:gd name="connsiteX152" fmla="*/ 6196012 w 8971757"/>
                  <a:gd name="connsiteY152" fmla="*/ 3952875 h 4575969"/>
                  <a:gd name="connsiteX153" fmla="*/ 6262687 w 8971757"/>
                  <a:gd name="connsiteY153" fmla="*/ 3945731 h 4575969"/>
                  <a:gd name="connsiteX154" fmla="*/ 6360319 w 8971757"/>
                  <a:gd name="connsiteY154" fmla="*/ 3871912 h 4575969"/>
                  <a:gd name="connsiteX155" fmla="*/ 6434138 w 8971757"/>
                  <a:gd name="connsiteY155" fmla="*/ 3802856 h 4575969"/>
                  <a:gd name="connsiteX156" fmla="*/ 6443663 w 8971757"/>
                  <a:gd name="connsiteY156" fmla="*/ 3740944 h 4575969"/>
                  <a:gd name="connsiteX157" fmla="*/ 6477000 w 8971757"/>
                  <a:gd name="connsiteY157" fmla="*/ 3671887 h 4575969"/>
                  <a:gd name="connsiteX158" fmla="*/ 6629400 w 8971757"/>
                  <a:gd name="connsiteY158" fmla="*/ 3564731 h 4575969"/>
                  <a:gd name="connsiteX159" fmla="*/ 6662738 w 8971757"/>
                  <a:gd name="connsiteY159" fmla="*/ 3569494 h 4575969"/>
                  <a:gd name="connsiteX160" fmla="*/ 6715125 w 8971757"/>
                  <a:gd name="connsiteY160" fmla="*/ 3490912 h 4575969"/>
                  <a:gd name="connsiteX161" fmla="*/ 6762750 w 8971757"/>
                  <a:gd name="connsiteY161" fmla="*/ 3452812 h 4575969"/>
                  <a:gd name="connsiteX162" fmla="*/ 6748463 w 8971757"/>
                  <a:gd name="connsiteY162" fmla="*/ 3383756 h 4575969"/>
                  <a:gd name="connsiteX163" fmla="*/ 6698456 w 8971757"/>
                  <a:gd name="connsiteY163" fmla="*/ 3352799 h 4575969"/>
                  <a:gd name="connsiteX164" fmla="*/ 6638925 w 8971757"/>
                  <a:gd name="connsiteY164" fmla="*/ 3298031 h 4575969"/>
                  <a:gd name="connsiteX165" fmla="*/ 6619875 w 8971757"/>
                  <a:gd name="connsiteY165" fmla="*/ 3240881 h 4575969"/>
                  <a:gd name="connsiteX166" fmla="*/ 6584156 w 8971757"/>
                  <a:gd name="connsiteY166" fmla="*/ 3207544 h 4575969"/>
                  <a:gd name="connsiteX167" fmla="*/ 6610350 w 8971757"/>
                  <a:gd name="connsiteY167" fmla="*/ 3155156 h 4575969"/>
                  <a:gd name="connsiteX168" fmla="*/ 6650831 w 8971757"/>
                  <a:gd name="connsiteY168" fmla="*/ 2976562 h 4575969"/>
                  <a:gd name="connsiteX169" fmla="*/ 6691313 w 8971757"/>
                  <a:gd name="connsiteY169" fmla="*/ 2909887 h 4575969"/>
                  <a:gd name="connsiteX170" fmla="*/ 6836569 w 8971757"/>
                  <a:gd name="connsiteY170" fmla="*/ 2893218 h 4575969"/>
                  <a:gd name="connsiteX171" fmla="*/ 6905625 w 8971757"/>
                  <a:gd name="connsiteY171" fmla="*/ 2950369 h 4575969"/>
                  <a:gd name="connsiteX172" fmla="*/ 6981825 w 8971757"/>
                  <a:gd name="connsiteY172" fmla="*/ 2974181 h 4575969"/>
                  <a:gd name="connsiteX173" fmla="*/ 7186612 w 8971757"/>
                  <a:gd name="connsiteY173" fmla="*/ 2978944 h 4575969"/>
                  <a:gd name="connsiteX174" fmla="*/ 7362825 w 8971757"/>
                  <a:gd name="connsiteY174" fmla="*/ 2840831 h 4575969"/>
                  <a:gd name="connsiteX175" fmla="*/ 7419975 w 8971757"/>
                  <a:gd name="connsiteY175" fmla="*/ 2750343 h 4575969"/>
                  <a:gd name="connsiteX176" fmla="*/ 7446169 w 8971757"/>
                  <a:gd name="connsiteY176" fmla="*/ 2667000 h 4575969"/>
                  <a:gd name="connsiteX177" fmla="*/ 7577137 w 8971757"/>
                  <a:gd name="connsiteY177" fmla="*/ 2667000 h 4575969"/>
                  <a:gd name="connsiteX178" fmla="*/ 7750969 w 8971757"/>
                  <a:gd name="connsiteY178" fmla="*/ 2609849 h 4575969"/>
                  <a:gd name="connsiteX179" fmla="*/ 7810500 w 8971757"/>
                  <a:gd name="connsiteY179" fmla="*/ 2497931 h 4575969"/>
                  <a:gd name="connsiteX180" fmla="*/ 7874794 w 8971757"/>
                  <a:gd name="connsiteY180" fmla="*/ 2462212 h 4575969"/>
                  <a:gd name="connsiteX181" fmla="*/ 7853363 w 8971757"/>
                  <a:gd name="connsiteY181" fmla="*/ 2416969 h 4575969"/>
                  <a:gd name="connsiteX182" fmla="*/ 7931944 w 8971757"/>
                  <a:gd name="connsiteY182" fmla="*/ 2247899 h 4575969"/>
                  <a:gd name="connsiteX183" fmla="*/ 7986713 w 8971757"/>
                  <a:gd name="connsiteY183" fmla="*/ 2188369 h 4575969"/>
                  <a:gd name="connsiteX184" fmla="*/ 8024813 w 8971757"/>
                  <a:gd name="connsiteY184" fmla="*/ 2183606 h 4575969"/>
                  <a:gd name="connsiteX185" fmla="*/ 8070056 w 8971757"/>
                  <a:gd name="connsiteY185" fmla="*/ 2188369 h 4575969"/>
                  <a:gd name="connsiteX186" fmla="*/ 8134350 w 8971757"/>
                  <a:gd name="connsiteY186" fmla="*/ 2155031 h 4575969"/>
                  <a:gd name="connsiteX187" fmla="*/ 8143875 w 8971757"/>
                  <a:gd name="connsiteY187" fmla="*/ 2090737 h 4575969"/>
                  <a:gd name="connsiteX188" fmla="*/ 8184355 w 8971757"/>
                  <a:gd name="connsiteY188" fmla="*/ 2055019 h 4575969"/>
                  <a:gd name="connsiteX189" fmla="*/ 8243888 w 8971757"/>
                  <a:gd name="connsiteY189" fmla="*/ 2095499 h 4575969"/>
                  <a:gd name="connsiteX190" fmla="*/ 8270082 w 8971757"/>
                  <a:gd name="connsiteY190" fmla="*/ 2045493 h 4575969"/>
                  <a:gd name="connsiteX191" fmla="*/ 8365331 w 8971757"/>
                  <a:gd name="connsiteY191" fmla="*/ 1976437 h 4575969"/>
                  <a:gd name="connsiteX192" fmla="*/ 8427244 w 8971757"/>
                  <a:gd name="connsiteY192" fmla="*/ 1983581 h 4575969"/>
                  <a:gd name="connsiteX193" fmla="*/ 8477250 w 8971757"/>
                  <a:gd name="connsiteY193" fmla="*/ 1964531 h 4575969"/>
                  <a:gd name="connsiteX194" fmla="*/ 8515350 w 8971757"/>
                  <a:gd name="connsiteY194" fmla="*/ 1935956 h 4575969"/>
                  <a:gd name="connsiteX195" fmla="*/ 8548688 w 8971757"/>
                  <a:gd name="connsiteY195" fmla="*/ 1933575 h 4575969"/>
                  <a:gd name="connsiteX196" fmla="*/ 8584406 w 8971757"/>
                  <a:gd name="connsiteY196" fmla="*/ 1964531 h 4575969"/>
                  <a:gd name="connsiteX197" fmla="*/ 8643938 w 8971757"/>
                  <a:gd name="connsiteY197" fmla="*/ 1964531 h 4575969"/>
                  <a:gd name="connsiteX198" fmla="*/ 8682037 w 8971757"/>
                  <a:gd name="connsiteY198" fmla="*/ 1945481 h 4575969"/>
                  <a:gd name="connsiteX199" fmla="*/ 8765381 w 8971757"/>
                  <a:gd name="connsiteY199" fmla="*/ 1947863 h 4575969"/>
                  <a:gd name="connsiteX200" fmla="*/ 8796338 w 8971757"/>
                  <a:gd name="connsiteY200" fmla="*/ 1902619 h 4575969"/>
                  <a:gd name="connsiteX201" fmla="*/ 8801100 w 8971757"/>
                  <a:gd name="connsiteY201" fmla="*/ 1840706 h 4575969"/>
                  <a:gd name="connsiteX202" fmla="*/ 8751093 w 8971757"/>
                  <a:gd name="connsiteY202" fmla="*/ 1800225 h 4575969"/>
                  <a:gd name="connsiteX203" fmla="*/ 8734425 w 8971757"/>
                  <a:gd name="connsiteY203" fmla="*/ 1745456 h 4575969"/>
                  <a:gd name="connsiteX204" fmla="*/ 8643938 w 8971757"/>
                  <a:gd name="connsiteY204" fmla="*/ 1683544 h 4575969"/>
                  <a:gd name="connsiteX205" fmla="*/ 8603456 w 8971757"/>
                  <a:gd name="connsiteY205" fmla="*/ 1662112 h 4575969"/>
                  <a:gd name="connsiteX206" fmla="*/ 8565356 w 8971757"/>
                  <a:gd name="connsiteY206" fmla="*/ 1616869 h 4575969"/>
                  <a:gd name="connsiteX207" fmla="*/ 8534400 w 8971757"/>
                  <a:gd name="connsiteY207" fmla="*/ 1614487 h 4575969"/>
                  <a:gd name="connsiteX208" fmla="*/ 8517731 w 8971757"/>
                  <a:gd name="connsiteY208" fmla="*/ 1562100 h 4575969"/>
                  <a:gd name="connsiteX209" fmla="*/ 8477250 w 8971757"/>
                  <a:gd name="connsiteY209" fmla="*/ 1545431 h 4575969"/>
                  <a:gd name="connsiteX210" fmla="*/ 8477250 w 8971757"/>
                  <a:gd name="connsiteY210" fmla="*/ 1545431 h 4575969"/>
                  <a:gd name="connsiteX211" fmla="*/ 8436769 w 8971757"/>
                  <a:gd name="connsiteY211" fmla="*/ 1550194 h 4575969"/>
                  <a:gd name="connsiteX212" fmla="*/ 8351043 w 8971757"/>
                  <a:gd name="connsiteY212" fmla="*/ 1476375 h 4575969"/>
                  <a:gd name="connsiteX213" fmla="*/ 8170069 w 8971757"/>
                  <a:gd name="connsiteY213" fmla="*/ 1476374 h 4575969"/>
                  <a:gd name="connsiteX214" fmla="*/ 8117681 w 8971757"/>
                  <a:gd name="connsiteY214" fmla="*/ 1514475 h 4575969"/>
                  <a:gd name="connsiteX215" fmla="*/ 8067675 w 8971757"/>
                  <a:gd name="connsiteY215" fmla="*/ 1593056 h 4575969"/>
                  <a:gd name="connsiteX216" fmla="*/ 8084344 w 8971757"/>
                  <a:gd name="connsiteY216" fmla="*/ 1614487 h 4575969"/>
                  <a:gd name="connsiteX217" fmla="*/ 8039100 w 8971757"/>
                  <a:gd name="connsiteY217" fmla="*/ 1664493 h 4575969"/>
                  <a:gd name="connsiteX218" fmla="*/ 7889081 w 8971757"/>
                  <a:gd name="connsiteY218" fmla="*/ 1588293 h 4575969"/>
                  <a:gd name="connsiteX219" fmla="*/ 7798594 w 8971757"/>
                  <a:gd name="connsiteY219" fmla="*/ 1624012 h 4575969"/>
                  <a:gd name="connsiteX220" fmla="*/ 7724775 w 8971757"/>
                  <a:gd name="connsiteY220" fmla="*/ 1621631 h 4575969"/>
                  <a:gd name="connsiteX221" fmla="*/ 7667625 w 8971757"/>
                  <a:gd name="connsiteY221" fmla="*/ 1716881 h 4575969"/>
                  <a:gd name="connsiteX222" fmla="*/ 7529513 w 8971757"/>
                  <a:gd name="connsiteY22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3814762 w 8971757"/>
                  <a:gd name="connsiteY69" fmla="*/ 435768 h 4575969"/>
                  <a:gd name="connsiteX70" fmla="*/ 8412956 w 8971757"/>
                  <a:gd name="connsiteY70" fmla="*/ 23812 h 4575969"/>
                  <a:gd name="connsiteX71" fmla="*/ 8949531 w 8971757"/>
                  <a:gd name="connsiteY71" fmla="*/ 0 h 4575969"/>
                  <a:gd name="connsiteX72" fmla="*/ 8971757 w 8971757"/>
                  <a:gd name="connsiteY72" fmla="*/ 4575969 h 4575969"/>
                  <a:gd name="connsiteX73" fmla="*/ 2381 w 8971757"/>
                  <a:gd name="connsiteY73" fmla="*/ 4547392 h 4575969"/>
                  <a:gd name="connsiteX74" fmla="*/ 0 w 8971757"/>
                  <a:gd name="connsiteY74" fmla="*/ 845344 h 4575969"/>
                  <a:gd name="connsiteX75" fmla="*/ 76200 w 8971757"/>
                  <a:gd name="connsiteY75" fmla="*/ 828675 h 4575969"/>
                  <a:gd name="connsiteX76" fmla="*/ 119063 w 8971757"/>
                  <a:gd name="connsiteY76" fmla="*/ 857250 h 4575969"/>
                  <a:gd name="connsiteX77" fmla="*/ 215900 w 8971757"/>
                  <a:gd name="connsiteY77" fmla="*/ 848519 h 4575969"/>
                  <a:gd name="connsiteX78" fmla="*/ 261938 w 8971757"/>
                  <a:gd name="connsiteY78" fmla="*/ 876299 h 4575969"/>
                  <a:gd name="connsiteX79" fmla="*/ 228600 w 8971757"/>
                  <a:gd name="connsiteY79" fmla="*/ 904875 h 4575969"/>
                  <a:gd name="connsiteX80" fmla="*/ 233363 w 8971757"/>
                  <a:gd name="connsiteY80" fmla="*/ 947737 h 4575969"/>
                  <a:gd name="connsiteX81" fmla="*/ 200025 w 8971757"/>
                  <a:gd name="connsiteY81" fmla="*/ 952500 h 4575969"/>
                  <a:gd name="connsiteX82" fmla="*/ 204788 w 8971757"/>
                  <a:gd name="connsiteY82" fmla="*/ 976312 h 4575969"/>
                  <a:gd name="connsiteX83" fmla="*/ 261937 w 8971757"/>
                  <a:gd name="connsiteY83" fmla="*/ 1050131 h 4575969"/>
                  <a:gd name="connsiteX84" fmla="*/ 223838 w 8971757"/>
                  <a:gd name="connsiteY84" fmla="*/ 1097756 h 4575969"/>
                  <a:gd name="connsiteX85" fmla="*/ 278606 w 8971757"/>
                  <a:gd name="connsiteY85" fmla="*/ 1133475 h 4575969"/>
                  <a:gd name="connsiteX86" fmla="*/ 369094 w 8971757"/>
                  <a:gd name="connsiteY86" fmla="*/ 1221581 h 4575969"/>
                  <a:gd name="connsiteX87" fmla="*/ 371475 w 8971757"/>
                  <a:gd name="connsiteY87" fmla="*/ 1281112 h 4575969"/>
                  <a:gd name="connsiteX88" fmla="*/ 507206 w 8971757"/>
                  <a:gd name="connsiteY88" fmla="*/ 1414463 h 4575969"/>
                  <a:gd name="connsiteX89" fmla="*/ 561975 w 8971757"/>
                  <a:gd name="connsiteY89" fmla="*/ 1390650 h 4575969"/>
                  <a:gd name="connsiteX90" fmla="*/ 600075 w 8971757"/>
                  <a:gd name="connsiteY90" fmla="*/ 1416843 h 4575969"/>
                  <a:gd name="connsiteX91" fmla="*/ 614363 w 8971757"/>
                  <a:gd name="connsiteY91" fmla="*/ 1466849 h 4575969"/>
                  <a:gd name="connsiteX92" fmla="*/ 657225 w 8971757"/>
                  <a:gd name="connsiteY92" fmla="*/ 1502569 h 4575969"/>
                  <a:gd name="connsiteX93" fmla="*/ 697706 w 8971757"/>
                  <a:gd name="connsiteY93" fmla="*/ 1490662 h 4575969"/>
                  <a:gd name="connsiteX94" fmla="*/ 716756 w 8971757"/>
                  <a:gd name="connsiteY94" fmla="*/ 1547812 h 4575969"/>
                  <a:gd name="connsiteX95" fmla="*/ 764381 w 8971757"/>
                  <a:gd name="connsiteY95" fmla="*/ 1590675 h 4575969"/>
                  <a:gd name="connsiteX96" fmla="*/ 788194 w 8971757"/>
                  <a:gd name="connsiteY96" fmla="*/ 1693069 h 4575969"/>
                  <a:gd name="connsiteX97" fmla="*/ 785813 w 8971757"/>
                  <a:gd name="connsiteY97" fmla="*/ 1740694 h 4575969"/>
                  <a:gd name="connsiteX98" fmla="*/ 821531 w 8971757"/>
                  <a:gd name="connsiteY98" fmla="*/ 1840706 h 4575969"/>
                  <a:gd name="connsiteX99" fmla="*/ 866775 w 8971757"/>
                  <a:gd name="connsiteY99" fmla="*/ 1897856 h 4575969"/>
                  <a:gd name="connsiteX100" fmla="*/ 883443 w 8971757"/>
                  <a:gd name="connsiteY100" fmla="*/ 2055018 h 4575969"/>
                  <a:gd name="connsiteX101" fmla="*/ 850106 w 8971757"/>
                  <a:gd name="connsiteY101" fmla="*/ 2116931 h 4575969"/>
                  <a:gd name="connsiteX102" fmla="*/ 819150 w 8971757"/>
                  <a:gd name="connsiteY102" fmla="*/ 2193131 h 4575969"/>
                  <a:gd name="connsiteX103" fmla="*/ 833438 w 8971757"/>
                  <a:gd name="connsiteY103" fmla="*/ 2250281 h 4575969"/>
                  <a:gd name="connsiteX104" fmla="*/ 735806 w 8971757"/>
                  <a:gd name="connsiteY104" fmla="*/ 2357438 h 4575969"/>
                  <a:gd name="connsiteX105" fmla="*/ 692944 w 8971757"/>
                  <a:gd name="connsiteY105" fmla="*/ 2471737 h 4575969"/>
                  <a:gd name="connsiteX106" fmla="*/ 726281 w 8971757"/>
                  <a:gd name="connsiteY106" fmla="*/ 2512219 h 4575969"/>
                  <a:gd name="connsiteX107" fmla="*/ 709613 w 8971757"/>
                  <a:gd name="connsiteY107" fmla="*/ 2540794 h 4575969"/>
                  <a:gd name="connsiteX108" fmla="*/ 740569 w 8971757"/>
                  <a:gd name="connsiteY108" fmla="*/ 2597944 h 4575969"/>
                  <a:gd name="connsiteX109" fmla="*/ 769144 w 8971757"/>
                  <a:gd name="connsiteY109" fmla="*/ 2597944 h 4575969"/>
                  <a:gd name="connsiteX110" fmla="*/ 931069 w 8971757"/>
                  <a:gd name="connsiteY110" fmla="*/ 2700337 h 4575969"/>
                  <a:gd name="connsiteX111" fmla="*/ 1035844 w 8971757"/>
                  <a:gd name="connsiteY111" fmla="*/ 2697956 h 4575969"/>
                  <a:gd name="connsiteX112" fmla="*/ 1114425 w 8971757"/>
                  <a:gd name="connsiteY112" fmla="*/ 2752725 h 4575969"/>
                  <a:gd name="connsiteX113" fmla="*/ 1245393 w 8971757"/>
                  <a:gd name="connsiteY113" fmla="*/ 2755106 h 4575969"/>
                  <a:gd name="connsiteX114" fmla="*/ 1435893 w 8971757"/>
                  <a:gd name="connsiteY114" fmla="*/ 2824162 h 4575969"/>
                  <a:gd name="connsiteX115" fmla="*/ 1638300 w 8971757"/>
                  <a:gd name="connsiteY115" fmla="*/ 2974181 h 4575969"/>
                  <a:gd name="connsiteX116" fmla="*/ 1671637 w 8971757"/>
                  <a:gd name="connsiteY116" fmla="*/ 3040856 h 4575969"/>
                  <a:gd name="connsiteX117" fmla="*/ 1838325 w 8971757"/>
                  <a:gd name="connsiteY117" fmla="*/ 3167062 h 4575969"/>
                  <a:gd name="connsiteX118" fmla="*/ 1909763 w 8971757"/>
                  <a:gd name="connsiteY118" fmla="*/ 3162300 h 4575969"/>
                  <a:gd name="connsiteX119" fmla="*/ 1945482 w 8971757"/>
                  <a:gd name="connsiteY119" fmla="*/ 3186112 h 4575969"/>
                  <a:gd name="connsiteX120" fmla="*/ 1916906 w 8971757"/>
                  <a:gd name="connsiteY120" fmla="*/ 3226594 h 4575969"/>
                  <a:gd name="connsiteX121" fmla="*/ 1924050 w 8971757"/>
                  <a:gd name="connsiteY121" fmla="*/ 3278981 h 4575969"/>
                  <a:gd name="connsiteX122" fmla="*/ 1976438 w 8971757"/>
                  <a:gd name="connsiteY122" fmla="*/ 3305175 h 4575969"/>
                  <a:gd name="connsiteX123" fmla="*/ 2038350 w 8971757"/>
                  <a:gd name="connsiteY123" fmla="*/ 3529013 h 4575969"/>
                  <a:gd name="connsiteX124" fmla="*/ 2028825 w 8971757"/>
                  <a:gd name="connsiteY124" fmla="*/ 3593306 h 4575969"/>
                  <a:gd name="connsiteX125" fmla="*/ 2164556 w 8971757"/>
                  <a:gd name="connsiteY125" fmla="*/ 3759994 h 4575969"/>
                  <a:gd name="connsiteX126" fmla="*/ 2183606 w 8971757"/>
                  <a:gd name="connsiteY126" fmla="*/ 3810000 h 4575969"/>
                  <a:gd name="connsiteX127" fmla="*/ 2157413 w 8971757"/>
                  <a:gd name="connsiteY127" fmla="*/ 3829050 h 4575969"/>
                  <a:gd name="connsiteX128" fmla="*/ 2259806 w 8971757"/>
                  <a:gd name="connsiteY128" fmla="*/ 3838575 h 4575969"/>
                  <a:gd name="connsiteX129" fmla="*/ 2371725 w 8971757"/>
                  <a:gd name="connsiteY129" fmla="*/ 3826669 h 4575969"/>
                  <a:gd name="connsiteX130" fmla="*/ 2650331 w 8971757"/>
                  <a:gd name="connsiteY130" fmla="*/ 3910012 h 4575969"/>
                  <a:gd name="connsiteX131" fmla="*/ 3057525 w 8971757"/>
                  <a:gd name="connsiteY131" fmla="*/ 3990975 h 4575969"/>
                  <a:gd name="connsiteX132" fmla="*/ 3255169 w 8971757"/>
                  <a:gd name="connsiteY132" fmla="*/ 3960018 h 4575969"/>
                  <a:gd name="connsiteX133" fmla="*/ 3300413 w 8971757"/>
                  <a:gd name="connsiteY133" fmla="*/ 3971924 h 4575969"/>
                  <a:gd name="connsiteX134" fmla="*/ 3355181 w 8971757"/>
                  <a:gd name="connsiteY134" fmla="*/ 3948113 h 4575969"/>
                  <a:gd name="connsiteX135" fmla="*/ 3748087 w 8971757"/>
                  <a:gd name="connsiteY135" fmla="*/ 4038600 h 4575969"/>
                  <a:gd name="connsiteX136" fmla="*/ 3831432 w 8971757"/>
                  <a:gd name="connsiteY136" fmla="*/ 4136231 h 4575969"/>
                  <a:gd name="connsiteX137" fmla="*/ 3950494 w 8971757"/>
                  <a:gd name="connsiteY137" fmla="*/ 4207669 h 4575969"/>
                  <a:gd name="connsiteX138" fmla="*/ 4010025 w 8971757"/>
                  <a:gd name="connsiteY138" fmla="*/ 4191000 h 4575969"/>
                  <a:gd name="connsiteX139" fmla="*/ 4360068 w 8971757"/>
                  <a:gd name="connsiteY139" fmla="*/ 4364831 h 4575969"/>
                  <a:gd name="connsiteX140" fmla="*/ 4586288 w 8971757"/>
                  <a:gd name="connsiteY140" fmla="*/ 4336256 h 4575969"/>
                  <a:gd name="connsiteX141" fmla="*/ 4595813 w 8971757"/>
                  <a:gd name="connsiteY141" fmla="*/ 4414837 h 4575969"/>
                  <a:gd name="connsiteX142" fmla="*/ 4681538 w 8971757"/>
                  <a:gd name="connsiteY142" fmla="*/ 4410074 h 4575969"/>
                  <a:gd name="connsiteX143" fmla="*/ 4760119 w 8971757"/>
                  <a:gd name="connsiteY143" fmla="*/ 4441031 h 4575969"/>
                  <a:gd name="connsiteX144" fmla="*/ 4802981 w 8971757"/>
                  <a:gd name="connsiteY144" fmla="*/ 4381500 h 4575969"/>
                  <a:gd name="connsiteX145" fmla="*/ 5474494 w 8971757"/>
                  <a:gd name="connsiteY145" fmla="*/ 4062412 h 4575969"/>
                  <a:gd name="connsiteX146" fmla="*/ 5562600 w 8971757"/>
                  <a:gd name="connsiteY146" fmla="*/ 4090988 h 4575969"/>
                  <a:gd name="connsiteX147" fmla="*/ 5693569 w 8971757"/>
                  <a:gd name="connsiteY147" fmla="*/ 4062412 h 4575969"/>
                  <a:gd name="connsiteX148" fmla="*/ 5872162 w 8971757"/>
                  <a:gd name="connsiteY148" fmla="*/ 4079081 h 4575969"/>
                  <a:gd name="connsiteX149" fmla="*/ 5929313 w 8971757"/>
                  <a:gd name="connsiteY149" fmla="*/ 4052888 h 4575969"/>
                  <a:gd name="connsiteX150" fmla="*/ 6062662 w 8971757"/>
                  <a:gd name="connsiteY150" fmla="*/ 4050506 h 4575969"/>
                  <a:gd name="connsiteX151" fmla="*/ 6196012 w 8971757"/>
                  <a:gd name="connsiteY151" fmla="*/ 3952875 h 4575969"/>
                  <a:gd name="connsiteX152" fmla="*/ 6262687 w 8971757"/>
                  <a:gd name="connsiteY152" fmla="*/ 3945731 h 4575969"/>
                  <a:gd name="connsiteX153" fmla="*/ 6360319 w 8971757"/>
                  <a:gd name="connsiteY153" fmla="*/ 3871912 h 4575969"/>
                  <a:gd name="connsiteX154" fmla="*/ 6434138 w 8971757"/>
                  <a:gd name="connsiteY154" fmla="*/ 3802856 h 4575969"/>
                  <a:gd name="connsiteX155" fmla="*/ 6443663 w 8971757"/>
                  <a:gd name="connsiteY155" fmla="*/ 3740944 h 4575969"/>
                  <a:gd name="connsiteX156" fmla="*/ 6477000 w 8971757"/>
                  <a:gd name="connsiteY156" fmla="*/ 3671887 h 4575969"/>
                  <a:gd name="connsiteX157" fmla="*/ 6629400 w 8971757"/>
                  <a:gd name="connsiteY157" fmla="*/ 3564731 h 4575969"/>
                  <a:gd name="connsiteX158" fmla="*/ 6662738 w 8971757"/>
                  <a:gd name="connsiteY158" fmla="*/ 3569494 h 4575969"/>
                  <a:gd name="connsiteX159" fmla="*/ 6715125 w 8971757"/>
                  <a:gd name="connsiteY159" fmla="*/ 3490912 h 4575969"/>
                  <a:gd name="connsiteX160" fmla="*/ 6762750 w 8971757"/>
                  <a:gd name="connsiteY160" fmla="*/ 3452812 h 4575969"/>
                  <a:gd name="connsiteX161" fmla="*/ 6748463 w 8971757"/>
                  <a:gd name="connsiteY161" fmla="*/ 3383756 h 4575969"/>
                  <a:gd name="connsiteX162" fmla="*/ 6698456 w 8971757"/>
                  <a:gd name="connsiteY162" fmla="*/ 3352799 h 4575969"/>
                  <a:gd name="connsiteX163" fmla="*/ 6638925 w 8971757"/>
                  <a:gd name="connsiteY163" fmla="*/ 3298031 h 4575969"/>
                  <a:gd name="connsiteX164" fmla="*/ 6619875 w 8971757"/>
                  <a:gd name="connsiteY164" fmla="*/ 3240881 h 4575969"/>
                  <a:gd name="connsiteX165" fmla="*/ 6584156 w 8971757"/>
                  <a:gd name="connsiteY165" fmla="*/ 3207544 h 4575969"/>
                  <a:gd name="connsiteX166" fmla="*/ 6610350 w 8971757"/>
                  <a:gd name="connsiteY166" fmla="*/ 3155156 h 4575969"/>
                  <a:gd name="connsiteX167" fmla="*/ 6650831 w 8971757"/>
                  <a:gd name="connsiteY167" fmla="*/ 2976562 h 4575969"/>
                  <a:gd name="connsiteX168" fmla="*/ 6691313 w 8971757"/>
                  <a:gd name="connsiteY168" fmla="*/ 2909887 h 4575969"/>
                  <a:gd name="connsiteX169" fmla="*/ 6836569 w 8971757"/>
                  <a:gd name="connsiteY169" fmla="*/ 2893218 h 4575969"/>
                  <a:gd name="connsiteX170" fmla="*/ 6905625 w 8971757"/>
                  <a:gd name="connsiteY170" fmla="*/ 2950369 h 4575969"/>
                  <a:gd name="connsiteX171" fmla="*/ 6981825 w 8971757"/>
                  <a:gd name="connsiteY171" fmla="*/ 2974181 h 4575969"/>
                  <a:gd name="connsiteX172" fmla="*/ 7186612 w 8971757"/>
                  <a:gd name="connsiteY172" fmla="*/ 2978944 h 4575969"/>
                  <a:gd name="connsiteX173" fmla="*/ 7362825 w 8971757"/>
                  <a:gd name="connsiteY173" fmla="*/ 2840831 h 4575969"/>
                  <a:gd name="connsiteX174" fmla="*/ 7419975 w 8971757"/>
                  <a:gd name="connsiteY174" fmla="*/ 2750343 h 4575969"/>
                  <a:gd name="connsiteX175" fmla="*/ 7446169 w 8971757"/>
                  <a:gd name="connsiteY175" fmla="*/ 2667000 h 4575969"/>
                  <a:gd name="connsiteX176" fmla="*/ 7577137 w 8971757"/>
                  <a:gd name="connsiteY176" fmla="*/ 2667000 h 4575969"/>
                  <a:gd name="connsiteX177" fmla="*/ 7750969 w 8971757"/>
                  <a:gd name="connsiteY177" fmla="*/ 2609849 h 4575969"/>
                  <a:gd name="connsiteX178" fmla="*/ 7810500 w 8971757"/>
                  <a:gd name="connsiteY178" fmla="*/ 2497931 h 4575969"/>
                  <a:gd name="connsiteX179" fmla="*/ 7874794 w 8971757"/>
                  <a:gd name="connsiteY179" fmla="*/ 2462212 h 4575969"/>
                  <a:gd name="connsiteX180" fmla="*/ 7853363 w 8971757"/>
                  <a:gd name="connsiteY180" fmla="*/ 2416969 h 4575969"/>
                  <a:gd name="connsiteX181" fmla="*/ 7931944 w 8971757"/>
                  <a:gd name="connsiteY181" fmla="*/ 2247899 h 4575969"/>
                  <a:gd name="connsiteX182" fmla="*/ 7986713 w 8971757"/>
                  <a:gd name="connsiteY182" fmla="*/ 2188369 h 4575969"/>
                  <a:gd name="connsiteX183" fmla="*/ 8024813 w 8971757"/>
                  <a:gd name="connsiteY183" fmla="*/ 2183606 h 4575969"/>
                  <a:gd name="connsiteX184" fmla="*/ 8070056 w 8971757"/>
                  <a:gd name="connsiteY184" fmla="*/ 2188369 h 4575969"/>
                  <a:gd name="connsiteX185" fmla="*/ 8134350 w 8971757"/>
                  <a:gd name="connsiteY185" fmla="*/ 2155031 h 4575969"/>
                  <a:gd name="connsiteX186" fmla="*/ 8143875 w 8971757"/>
                  <a:gd name="connsiteY186" fmla="*/ 2090737 h 4575969"/>
                  <a:gd name="connsiteX187" fmla="*/ 8184355 w 8971757"/>
                  <a:gd name="connsiteY187" fmla="*/ 2055019 h 4575969"/>
                  <a:gd name="connsiteX188" fmla="*/ 8243888 w 8971757"/>
                  <a:gd name="connsiteY188" fmla="*/ 2095499 h 4575969"/>
                  <a:gd name="connsiteX189" fmla="*/ 8270082 w 8971757"/>
                  <a:gd name="connsiteY189" fmla="*/ 2045493 h 4575969"/>
                  <a:gd name="connsiteX190" fmla="*/ 8365331 w 8971757"/>
                  <a:gd name="connsiteY190" fmla="*/ 1976437 h 4575969"/>
                  <a:gd name="connsiteX191" fmla="*/ 8427244 w 8971757"/>
                  <a:gd name="connsiteY191" fmla="*/ 1983581 h 4575969"/>
                  <a:gd name="connsiteX192" fmla="*/ 8477250 w 8971757"/>
                  <a:gd name="connsiteY192" fmla="*/ 1964531 h 4575969"/>
                  <a:gd name="connsiteX193" fmla="*/ 8515350 w 8971757"/>
                  <a:gd name="connsiteY193" fmla="*/ 1935956 h 4575969"/>
                  <a:gd name="connsiteX194" fmla="*/ 8548688 w 8971757"/>
                  <a:gd name="connsiteY194" fmla="*/ 1933575 h 4575969"/>
                  <a:gd name="connsiteX195" fmla="*/ 8584406 w 8971757"/>
                  <a:gd name="connsiteY195" fmla="*/ 1964531 h 4575969"/>
                  <a:gd name="connsiteX196" fmla="*/ 8643938 w 8971757"/>
                  <a:gd name="connsiteY196" fmla="*/ 1964531 h 4575969"/>
                  <a:gd name="connsiteX197" fmla="*/ 8682037 w 8971757"/>
                  <a:gd name="connsiteY197" fmla="*/ 1945481 h 4575969"/>
                  <a:gd name="connsiteX198" fmla="*/ 8765381 w 8971757"/>
                  <a:gd name="connsiteY198" fmla="*/ 1947863 h 4575969"/>
                  <a:gd name="connsiteX199" fmla="*/ 8796338 w 8971757"/>
                  <a:gd name="connsiteY199" fmla="*/ 1902619 h 4575969"/>
                  <a:gd name="connsiteX200" fmla="*/ 8801100 w 8971757"/>
                  <a:gd name="connsiteY200" fmla="*/ 1840706 h 4575969"/>
                  <a:gd name="connsiteX201" fmla="*/ 8751093 w 8971757"/>
                  <a:gd name="connsiteY201" fmla="*/ 1800225 h 4575969"/>
                  <a:gd name="connsiteX202" fmla="*/ 8734425 w 8971757"/>
                  <a:gd name="connsiteY202" fmla="*/ 1745456 h 4575969"/>
                  <a:gd name="connsiteX203" fmla="*/ 8643938 w 8971757"/>
                  <a:gd name="connsiteY203" fmla="*/ 1683544 h 4575969"/>
                  <a:gd name="connsiteX204" fmla="*/ 8603456 w 8971757"/>
                  <a:gd name="connsiteY204" fmla="*/ 1662112 h 4575969"/>
                  <a:gd name="connsiteX205" fmla="*/ 8565356 w 8971757"/>
                  <a:gd name="connsiteY205" fmla="*/ 1616869 h 4575969"/>
                  <a:gd name="connsiteX206" fmla="*/ 8534400 w 8971757"/>
                  <a:gd name="connsiteY206" fmla="*/ 1614487 h 4575969"/>
                  <a:gd name="connsiteX207" fmla="*/ 8517731 w 8971757"/>
                  <a:gd name="connsiteY207" fmla="*/ 1562100 h 4575969"/>
                  <a:gd name="connsiteX208" fmla="*/ 8477250 w 8971757"/>
                  <a:gd name="connsiteY208" fmla="*/ 1545431 h 4575969"/>
                  <a:gd name="connsiteX209" fmla="*/ 8477250 w 8971757"/>
                  <a:gd name="connsiteY209" fmla="*/ 1545431 h 4575969"/>
                  <a:gd name="connsiteX210" fmla="*/ 8436769 w 8971757"/>
                  <a:gd name="connsiteY210" fmla="*/ 1550194 h 4575969"/>
                  <a:gd name="connsiteX211" fmla="*/ 8351043 w 8971757"/>
                  <a:gd name="connsiteY211" fmla="*/ 1476375 h 4575969"/>
                  <a:gd name="connsiteX212" fmla="*/ 8170069 w 8971757"/>
                  <a:gd name="connsiteY212" fmla="*/ 1476374 h 4575969"/>
                  <a:gd name="connsiteX213" fmla="*/ 8117681 w 8971757"/>
                  <a:gd name="connsiteY213" fmla="*/ 1514475 h 4575969"/>
                  <a:gd name="connsiteX214" fmla="*/ 8067675 w 8971757"/>
                  <a:gd name="connsiteY214" fmla="*/ 1593056 h 4575969"/>
                  <a:gd name="connsiteX215" fmla="*/ 8084344 w 8971757"/>
                  <a:gd name="connsiteY215" fmla="*/ 1614487 h 4575969"/>
                  <a:gd name="connsiteX216" fmla="*/ 8039100 w 8971757"/>
                  <a:gd name="connsiteY216" fmla="*/ 1664493 h 4575969"/>
                  <a:gd name="connsiteX217" fmla="*/ 7889081 w 8971757"/>
                  <a:gd name="connsiteY217" fmla="*/ 1588293 h 4575969"/>
                  <a:gd name="connsiteX218" fmla="*/ 7798594 w 8971757"/>
                  <a:gd name="connsiteY218" fmla="*/ 1624012 h 4575969"/>
                  <a:gd name="connsiteX219" fmla="*/ 7724775 w 8971757"/>
                  <a:gd name="connsiteY219" fmla="*/ 1621631 h 4575969"/>
                  <a:gd name="connsiteX220" fmla="*/ 7667625 w 8971757"/>
                  <a:gd name="connsiteY220" fmla="*/ 1716881 h 4575969"/>
                  <a:gd name="connsiteX221" fmla="*/ 7529513 w 8971757"/>
                  <a:gd name="connsiteY22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3852863 w 8971757"/>
                  <a:gd name="connsiteY68" fmla="*/ 431006 h 4575969"/>
                  <a:gd name="connsiteX69" fmla="*/ 8412956 w 8971757"/>
                  <a:gd name="connsiteY69" fmla="*/ 23812 h 4575969"/>
                  <a:gd name="connsiteX70" fmla="*/ 8949531 w 8971757"/>
                  <a:gd name="connsiteY70" fmla="*/ 0 h 4575969"/>
                  <a:gd name="connsiteX71" fmla="*/ 8971757 w 8971757"/>
                  <a:gd name="connsiteY71" fmla="*/ 4575969 h 4575969"/>
                  <a:gd name="connsiteX72" fmla="*/ 2381 w 8971757"/>
                  <a:gd name="connsiteY72" fmla="*/ 4547392 h 4575969"/>
                  <a:gd name="connsiteX73" fmla="*/ 0 w 8971757"/>
                  <a:gd name="connsiteY73" fmla="*/ 845344 h 4575969"/>
                  <a:gd name="connsiteX74" fmla="*/ 76200 w 8971757"/>
                  <a:gd name="connsiteY74" fmla="*/ 828675 h 4575969"/>
                  <a:gd name="connsiteX75" fmla="*/ 119063 w 8971757"/>
                  <a:gd name="connsiteY75" fmla="*/ 857250 h 4575969"/>
                  <a:gd name="connsiteX76" fmla="*/ 215900 w 8971757"/>
                  <a:gd name="connsiteY76" fmla="*/ 848519 h 4575969"/>
                  <a:gd name="connsiteX77" fmla="*/ 261938 w 8971757"/>
                  <a:gd name="connsiteY77" fmla="*/ 876299 h 4575969"/>
                  <a:gd name="connsiteX78" fmla="*/ 228600 w 8971757"/>
                  <a:gd name="connsiteY78" fmla="*/ 904875 h 4575969"/>
                  <a:gd name="connsiteX79" fmla="*/ 233363 w 8971757"/>
                  <a:gd name="connsiteY79" fmla="*/ 947737 h 4575969"/>
                  <a:gd name="connsiteX80" fmla="*/ 200025 w 8971757"/>
                  <a:gd name="connsiteY80" fmla="*/ 952500 h 4575969"/>
                  <a:gd name="connsiteX81" fmla="*/ 204788 w 8971757"/>
                  <a:gd name="connsiteY81" fmla="*/ 976312 h 4575969"/>
                  <a:gd name="connsiteX82" fmla="*/ 261937 w 8971757"/>
                  <a:gd name="connsiteY82" fmla="*/ 1050131 h 4575969"/>
                  <a:gd name="connsiteX83" fmla="*/ 223838 w 8971757"/>
                  <a:gd name="connsiteY83" fmla="*/ 1097756 h 4575969"/>
                  <a:gd name="connsiteX84" fmla="*/ 278606 w 8971757"/>
                  <a:gd name="connsiteY84" fmla="*/ 1133475 h 4575969"/>
                  <a:gd name="connsiteX85" fmla="*/ 369094 w 8971757"/>
                  <a:gd name="connsiteY85" fmla="*/ 1221581 h 4575969"/>
                  <a:gd name="connsiteX86" fmla="*/ 371475 w 8971757"/>
                  <a:gd name="connsiteY86" fmla="*/ 1281112 h 4575969"/>
                  <a:gd name="connsiteX87" fmla="*/ 507206 w 8971757"/>
                  <a:gd name="connsiteY87" fmla="*/ 1414463 h 4575969"/>
                  <a:gd name="connsiteX88" fmla="*/ 561975 w 8971757"/>
                  <a:gd name="connsiteY88" fmla="*/ 1390650 h 4575969"/>
                  <a:gd name="connsiteX89" fmla="*/ 600075 w 8971757"/>
                  <a:gd name="connsiteY89" fmla="*/ 1416843 h 4575969"/>
                  <a:gd name="connsiteX90" fmla="*/ 614363 w 8971757"/>
                  <a:gd name="connsiteY90" fmla="*/ 1466849 h 4575969"/>
                  <a:gd name="connsiteX91" fmla="*/ 657225 w 8971757"/>
                  <a:gd name="connsiteY91" fmla="*/ 1502569 h 4575969"/>
                  <a:gd name="connsiteX92" fmla="*/ 697706 w 8971757"/>
                  <a:gd name="connsiteY92" fmla="*/ 1490662 h 4575969"/>
                  <a:gd name="connsiteX93" fmla="*/ 716756 w 8971757"/>
                  <a:gd name="connsiteY93" fmla="*/ 1547812 h 4575969"/>
                  <a:gd name="connsiteX94" fmla="*/ 764381 w 8971757"/>
                  <a:gd name="connsiteY94" fmla="*/ 1590675 h 4575969"/>
                  <a:gd name="connsiteX95" fmla="*/ 788194 w 8971757"/>
                  <a:gd name="connsiteY95" fmla="*/ 1693069 h 4575969"/>
                  <a:gd name="connsiteX96" fmla="*/ 785813 w 8971757"/>
                  <a:gd name="connsiteY96" fmla="*/ 1740694 h 4575969"/>
                  <a:gd name="connsiteX97" fmla="*/ 821531 w 8971757"/>
                  <a:gd name="connsiteY97" fmla="*/ 1840706 h 4575969"/>
                  <a:gd name="connsiteX98" fmla="*/ 866775 w 8971757"/>
                  <a:gd name="connsiteY98" fmla="*/ 1897856 h 4575969"/>
                  <a:gd name="connsiteX99" fmla="*/ 883443 w 8971757"/>
                  <a:gd name="connsiteY99" fmla="*/ 2055018 h 4575969"/>
                  <a:gd name="connsiteX100" fmla="*/ 850106 w 8971757"/>
                  <a:gd name="connsiteY100" fmla="*/ 2116931 h 4575969"/>
                  <a:gd name="connsiteX101" fmla="*/ 819150 w 8971757"/>
                  <a:gd name="connsiteY101" fmla="*/ 2193131 h 4575969"/>
                  <a:gd name="connsiteX102" fmla="*/ 833438 w 8971757"/>
                  <a:gd name="connsiteY102" fmla="*/ 2250281 h 4575969"/>
                  <a:gd name="connsiteX103" fmla="*/ 735806 w 8971757"/>
                  <a:gd name="connsiteY103" fmla="*/ 2357438 h 4575969"/>
                  <a:gd name="connsiteX104" fmla="*/ 692944 w 8971757"/>
                  <a:gd name="connsiteY104" fmla="*/ 2471737 h 4575969"/>
                  <a:gd name="connsiteX105" fmla="*/ 726281 w 8971757"/>
                  <a:gd name="connsiteY105" fmla="*/ 2512219 h 4575969"/>
                  <a:gd name="connsiteX106" fmla="*/ 709613 w 8971757"/>
                  <a:gd name="connsiteY106" fmla="*/ 2540794 h 4575969"/>
                  <a:gd name="connsiteX107" fmla="*/ 740569 w 8971757"/>
                  <a:gd name="connsiteY107" fmla="*/ 2597944 h 4575969"/>
                  <a:gd name="connsiteX108" fmla="*/ 769144 w 8971757"/>
                  <a:gd name="connsiteY108" fmla="*/ 2597944 h 4575969"/>
                  <a:gd name="connsiteX109" fmla="*/ 931069 w 8971757"/>
                  <a:gd name="connsiteY109" fmla="*/ 2700337 h 4575969"/>
                  <a:gd name="connsiteX110" fmla="*/ 1035844 w 8971757"/>
                  <a:gd name="connsiteY110" fmla="*/ 2697956 h 4575969"/>
                  <a:gd name="connsiteX111" fmla="*/ 1114425 w 8971757"/>
                  <a:gd name="connsiteY111" fmla="*/ 2752725 h 4575969"/>
                  <a:gd name="connsiteX112" fmla="*/ 1245393 w 8971757"/>
                  <a:gd name="connsiteY112" fmla="*/ 2755106 h 4575969"/>
                  <a:gd name="connsiteX113" fmla="*/ 1435893 w 8971757"/>
                  <a:gd name="connsiteY113" fmla="*/ 2824162 h 4575969"/>
                  <a:gd name="connsiteX114" fmla="*/ 1638300 w 8971757"/>
                  <a:gd name="connsiteY114" fmla="*/ 2974181 h 4575969"/>
                  <a:gd name="connsiteX115" fmla="*/ 1671637 w 8971757"/>
                  <a:gd name="connsiteY115" fmla="*/ 3040856 h 4575969"/>
                  <a:gd name="connsiteX116" fmla="*/ 1838325 w 8971757"/>
                  <a:gd name="connsiteY116" fmla="*/ 3167062 h 4575969"/>
                  <a:gd name="connsiteX117" fmla="*/ 1909763 w 8971757"/>
                  <a:gd name="connsiteY117" fmla="*/ 3162300 h 4575969"/>
                  <a:gd name="connsiteX118" fmla="*/ 1945482 w 8971757"/>
                  <a:gd name="connsiteY118" fmla="*/ 3186112 h 4575969"/>
                  <a:gd name="connsiteX119" fmla="*/ 1916906 w 8971757"/>
                  <a:gd name="connsiteY119" fmla="*/ 3226594 h 4575969"/>
                  <a:gd name="connsiteX120" fmla="*/ 1924050 w 8971757"/>
                  <a:gd name="connsiteY120" fmla="*/ 3278981 h 4575969"/>
                  <a:gd name="connsiteX121" fmla="*/ 1976438 w 8971757"/>
                  <a:gd name="connsiteY121" fmla="*/ 3305175 h 4575969"/>
                  <a:gd name="connsiteX122" fmla="*/ 2038350 w 8971757"/>
                  <a:gd name="connsiteY122" fmla="*/ 3529013 h 4575969"/>
                  <a:gd name="connsiteX123" fmla="*/ 2028825 w 8971757"/>
                  <a:gd name="connsiteY123" fmla="*/ 3593306 h 4575969"/>
                  <a:gd name="connsiteX124" fmla="*/ 2164556 w 8971757"/>
                  <a:gd name="connsiteY124" fmla="*/ 3759994 h 4575969"/>
                  <a:gd name="connsiteX125" fmla="*/ 2183606 w 8971757"/>
                  <a:gd name="connsiteY125" fmla="*/ 3810000 h 4575969"/>
                  <a:gd name="connsiteX126" fmla="*/ 2157413 w 8971757"/>
                  <a:gd name="connsiteY126" fmla="*/ 3829050 h 4575969"/>
                  <a:gd name="connsiteX127" fmla="*/ 2259806 w 8971757"/>
                  <a:gd name="connsiteY127" fmla="*/ 3838575 h 4575969"/>
                  <a:gd name="connsiteX128" fmla="*/ 2371725 w 8971757"/>
                  <a:gd name="connsiteY128" fmla="*/ 3826669 h 4575969"/>
                  <a:gd name="connsiteX129" fmla="*/ 2650331 w 8971757"/>
                  <a:gd name="connsiteY129" fmla="*/ 3910012 h 4575969"/>
                  <a:gd name="connsiteX130" fmla="*/ 3057525 w 8971757"/>
                  <a:gd name="connsiteY130" fmla="*/ 3990975 h 4575969"/>
                  <a:gd name="connsiteX131" fmla="*/ 3255169 w 8971757"/>
                  <a:gd name="connsiteY131" fmla="*/ 3960018 h 4575969"/>
                  <a:gd name="connsiteX132" fmla="*/ 3300413 w 8971757"/>
                  <a:gd name="connsiteY132" fmla="*/ 3971924 h 4575969"/>
                  <a:gd name="connsiteX133" fmla="*/ 3355181 w 8971757"/>
                  <a:gd name="connsiteY133" fmla="*/ 3948113 h 4575969"/>
                  <a:gd name="connsiteX134" fmla="*/ 3748087 w 8971757"/>
                  <a:gd name="connsiteY134" fmla="*/ 4038600 h 4575969"/>
                  <a:gd name="connsiteX135" fmla="*/ 3831432 w 8971757"/>
                  <a:gd name="connsiteY135" fmla="*/ 4136231 h 4575969"/>
                  <a:gd name="connsiteX136" fmla="*/ 3950494 w 8971757"/>
                  <a:gd name="connsiteY136" fmla="*/ 4207669 h 4575969"/>
                  <a:gd name="connsiteX137" fmla="*/ 4010025 w 8971757"/>
                  <a:gd name="connsiteY137" fmla="*/ 4191000 h 4575969"/>
                  <a:gd name="connsiteX138" fmla="*/ 4360068 w 8971757"/>
                  <a:gd name="connsiteY138" fmla="*/ 4364831 h 4575969"/>
                  <a:gd name="connsiteX139" fmla="*/ 4586288 w 8971757"/>
                  <a:gd name="connsiteY139" fmla="*/ 4336256 h 4575969"/>
                  <a:gd name="connsiteX140" fmla="*/ 4595813 w 8971757"/>
                  <a:gd name="connsiteY140" fmla="*/ 4414837 h 4575969"/>
                  <a:gd name="connsiteX141" fmla="*/ 4681538 w 8971757"/>
                  <a:gd name="connsiteY141" fmla="*/ 4410074 h 4575969"/>
                  <a:gd name="connsiteX142" fmla="*/ 4760119 w 8971757"/>
                  <a:gd name="connsiteY142" fmla="*/ 4441031 h 4575969"/>
                  <a:gd name="connsiteX143" fmla="*/ 4802981 w 8971757"/>
                  <a:gd name="connsiteY143" fmla="*/ 4381500 h 4575969"/>
                  <a:gd name="connsiteX144" fmla="*/ 5474494 w 8971757"/>
                  <a:gd name="connsiteY144" fmla="*/ 4062412 h 4575969"/>
                  <a:gd name="connsiteX145" fmla="*/ 5562600 w 8971757"/>
                  <a:gd name="connsiteY145" fmla="*/ 4090988 h 4575969"/>
                  <a:gd name="connsiteX146" fmla="*/ 5693569 w 8971757"/>
                  <a:gd name="connsiteY146" fmla="*/ 4062412 h 4575969"/>
                  <a:gd name="connsiteX147" fmla="*/ 5872162 w 8971757"/>
                  <a:gd name="connsiteY147" fmla="*/ 4079081 h 4575969"/>
                  <a:gd name="connsiteX148" fmla="*/ 5929313 w 8971757"/>
                  <a:gd name="connsiteY148" fmla="*/ 4052888 h 4575969"/>
                  <a:gd name="connsiteX149" fmla="*/ 6062662 w 8971757"/>
                  <a:gd name="connsiteY149" fmla="*/ 4050506 h 4575969"/>
                  <a:gd name="connsiteX150" fmla="*/ 6196012 w 8971757"/>
                  <a:gd name="connsiteY150" fmla="*/ 3952875 h 4575969"/>
                  <a:gd name="connsiteX151" fmla="*/ 6262687 w 8971757"/>
                  <a:gd name="connsiteY151" fmla="*/ 3945731 h 4575969"/>
                  <a:gd name="connsiteX152" fmla="*/ 6360319 w 8971757"/>
                  <a:gd name="connsiteY152" fmla="*/ 3871912 h 4575969"/>
                  <a:gd name="connsiteX153" fmla="*/ 6434138 w 8971757"/>
                  <a:gd name="connsiteY153" fmla="*/ 3802856 h 4575969"/>
                  <a:gd name="connsiteX154" fmla="*/ 6443663 w 8971757"/>
                  <a:gd name="connsiteY154" fmla="*/ 3740944 h 4575969"/>
                  <a:gd name="connsiteX155" fmla="*/ 6477000 w 8971757"/>
                  <a:gd name="connsiteY155" fmla="*/ 3671887 h 4575969"/>
                  <a:gd name="connsiteX156" fmla="*/ 6629400 w 8971757"/>
                  <a:gd name="connsiteY156" fmla="*/ 3564731 h 4575969"/>
                  <a:gd name="connsiteX157" fmla="*/ 6662738 w 8971757"/>
                  <a:gd name="connsiteY157" fmla="*/ 3569494 h 4575969"/>
                  <a:gd name="connsiteX158" fmla="*/ 6715125 w 8971757"/>
                  <a:gd name="connsiteY158" fmla="*/ 3490912 h 4575969"/>
                  <a:gd name="connsiteX159" fmla="*/ 6762750 w 8971757"/>
                  <a:gd name="connsiteY159" fmla="*/ 3452812 h 4575969"/>
                  <a:gd name="connsiteX160" fmla="*/ 6748463 w 8971757"/>
                  <a:gd name="connsiteY160" fmla="*/ 3383756 h 4575969"/>
                  <a:gd name="connsiteX161" fmla="*/ 6698456 w 8971757"/>
                  <a:gd name="connsiteY161" fmla="*/ 3352799 h 4575969"/>
                  <a:gd name="connsiteX162" fmla="*/ 6638925 w 8971757"/>
                  <a:gd name="connsiteY162" fmla="*/ 3298031 h 4575969"/>
                  <a:gd name="connsiteX163" fmla="*/ 6619875 w 8971757"/>
                  <a:gd name="connsiteY163" fmla="*/ 3240881 h 4575969"/>
                  <a:gd name="connsiteX164" fmla="*/ 6584156 w 8971757"/>
                  <a:gd name="connsiteY164" fmla="*/ 3207544 h 4575969"/>
                  <a:gd name="connsiteX165" fmla="*/ 6610350 w 8971757"/>
                  <a:gd name="connsiteY165" fmla="*/ 3155156 h 4575969"/>
                  <a:gd name="connsiteX166" fmla="*/ 6650831 w 8971757"/>
                  <a:gd name="connsiteY166" fmla="*/ 2976562 h 4575969"/>
                  <a:gd name="connsiteX167" fmla="*/ 6691313 w 8971757"/>
                  <a:gd name="connsiteY167" fmla="*/ 2909887 h 4575969"/>
                  <a:gd name="connsiteX168" fmla="*/ 6836569 w 8971757"/>
                  <a:gd name="connsiteY168" fmla="*/ 2893218 h 4575969"/>
                  <a:gd name="connsiteX169" fmla="*/ 6905625 w 8971757"/>
                  <a:gd name="connsiteY169" fmla="*/ 2950369 h 4575969"/>
                  <a:gd name="connsiteX170" fmla="*/ 6981825 w 8971757"/>
                  <a:gd name="connsiteY170" fmla="*/ 2974181 h 4575969"/>
                  <a:gd name="connsiteX171" fmla="*/ 7186612 w 8971757"/>
                  <a:gd name="connsiteY171" fmla="*/ 2978944 h 4575969"/>
                  <a:gd name="connsiteX172" fmla="*/ 7362825 w 8971757"/>
                  <a:gd name="connsiteY172" fmla="*/ 2840831 h 4575969"/>
                  <a:gd name="connsiteX173" fmla="*/ 7419975 w 8971757"/>
                  <a:gd name="connsiteY173" fmla="*/ 2750343 h 4575969"/>
                  <a:gd name="connsiteX174" fmla="*/ 7446169 w 8971757"/>
                  <a:gd name="connsiteY174" fmla="*/ 2667000 h 4575969"/>
                  <a:gd name="connsiteX175" fmla="*/ 7577137 w 8971757"/>
                  <a:gd name="connsiteY175" fmla="*/ 2667000 h 4575969"/>
                  <a:gd name="connsiteX176" fmla="*/ 7750969 w 8971757"/>
                  <a:gd name="connsiteY176" fmla="*/ 2609849 h 4575969"/>
                  <a:gd name="connsiteX177" fmla="*/ 7810500 w 8971757"/>
                  <a:gd name="connsiteY177" fmla="*/ 2497931 h 4575969"/>
                  <a:gd name="connsiteX178" fmla="*/ 7874794 w 8971757"/>
                  <a:gd name="connsiteY178" fmla="*/ 2462212 h 4575969"/>
                  <a:gd name="connsiteX179" fmla="*/ 7853363 w 8971757"/>
                  <a:gd name="connsiteY179" fmla="*/ 2416969 h 4575969"/>
                  <a:gd name="connsiteX180" fmla="*/ 7931944 w 8971757"/>
                  <a:gd name="connsiteY180" fmla="*/ 2247899 h 4575969"/>
                  <a:gd name="connsiteX181" fmla="*/ 7986713 w 8971757"/>
                  <a:gd name="connsiteY181" fmla="*/ 2188369 h 4575969"/>
                  <a:gd name="connsiteX182" fmla="*/ 8024813 w 8971757"/>
                  <a:gd name="connsiteY182" fmla="*/ 2183606 h 4575969"/>
                  <a:gd name="connsiteX183" fmla="*/ 8070056 w 8971757"/>
                  <a:gd name="connsiteY183" fmla="*/ 2188369 h 4575969"/>
                  <a:gd name="connsiteX184" fmla="*/ 8134350 w 8971757"/>
                  <a:gd name="connsiteY184" fmla="*/ 2155031 h 4575969"/>
                  <a:gd name="connsiteX185" fmla="*/ 8143875 w 8971757"/>
                  <a:gd name="connsiteY185" fmla="*/ 2090737 h 4575969"/>
                  <a:gd name="connsiteX186" fmla="*/ 8184355 w 8971757"/>
                  <a:gd name="connsiteY186" fmla="*/ 2055019 h 4575969"/>
                  <a:gd name="connsiteX187" fmla="*/ 8243888 w 8971757"/>
                  <a:gd name="connsiteY187" fmla="*/ 2095499 h 4575969"/>
                  <a:gd name="connsiteX188" fmla="*/ 8270082 w 8971757"/>
                  <a:gd name="connsiteY188" fmla="*/ 2045493 h 4575969"/>
                  <a:gd name="connsiteX189" fmla="*/ 8365331 w 8971757"/>
                  <a:gd name="connsiteY189" fmla="*/ 1976437 h 4575969"/>
                  <a:gd name="connsiteX190" fmla="*/ 8427244 w 8971757"/>
                  <a:gd name="connsiteY190" fmla="*/ 1983581 h 4575969"/>
                  <a:gd name="connsiteX191" fmla="*/ 8477250 w 8971757"/>
                  <a:gd name="connsiteY191" fmla="*/ 1964531 h 4575969"/>
                  <a:gd name="connsiteX192" fmla="*/ 8515350 w 8971757"/>
                  <a:gd name="connsiteY192" fmla="*/ 1935956 h 4575969"/>
                  <a:gd name="connsiteX193" fmla="*/ 8548688 w 8971757"/>
                  <a:gd name="connsiteY193" fmla="*/ 1933575 h 4575969"/>
                  <a:gd name="connsiteX194" fmla="*/ 8584406 w 8971757"/>
                  <a:gd name="connsiteY194" fmla="*/ 1964531 h 4575969"/>
                  <a:gd name="connsiteX195" fmla="*/ 8643938 w 8971757"/>
                  <a:gd name="connsiteY195" fmla="*/ 1964531 h 4575969"/>
                  <a:gd name="connsiteX196" fmla="*/ 8682037 w 8971757"/>
                  <a:gd name="connsiteY196" fmla="*/ 1945481 h 4575969"/>
                  <a:gd name="connsiteX197" fmla="*/ 8765381 w 8971757"/>
                  <a:gd name="connsiteY197" fmla="*/ 1947863 h 4575969"/>
                  <a:gd name="connsiteX198" fmla="*/ 8796338 w 8971757"/>
                  <a:gd name="connsiteY198" fmla="*/ 1902619 h 4575969"/>
                  <a:gd name="connsiteX199" fmla="*/ 8801100 w 8971757"/>
                  <a:gd name="connsiteY199" fmla="*/ 1840706 h 4575969"/>
                  <a:gd name="connsiteX200" fmla="*/ 8751093 w 8971757"/>
                  <a:gd name="connsiteY200" fmla="*/ 1800225 h 4575969"/>
                  <a:gd name="connsiteX201" fmla="*/ 8734425 w 8971757"/>
                  <a:gd name="connsiteY201" fmla="*/ 1745456 h 4575969"/>
                  <a:gd name="connsiteX202" fmla="*/ 8643938 w 8971757"/>
                  <a:gd name="connsiteY202" fmla="*/ 1683544 h 4575969"/>
                  <a:gd name="connsiteX203" fmla="*/ 8603456 w 8971757"/>
                  <a:gd name="connsiteY203" fmla="*/ 1662112 h 4575969"/>
                  <a:gd name="connsiteX204" fmla="*/ 8565356 w 8971757"/>
                  <a:gd name="connsiteY204" fmla="*/ 1616869 h 4575969"/>
                  <a:gd name="connsiteX205" fmla="*/ 8534400 w 8971757"/>
                  <a:gd name="connsiteY205" fmla="*/ 1614487 h 4575969"/>
                  <a:gd name="connsiteX206" fmla="*/ 8517731 w 8971757"/>
                  <a:gd name="connsiteY206" fmla="*/ 1562100 h 4575969"/>
                  <a:gd name="connsiteX207" fmla="*/ 8477250 w 8971757"/>
                  <a:gd name="connsiteY207" fmla="*/ 1545431 h 4575969"/>
                  <a:gd name="connsiteX208" fmla="*/ 8477250 w 8971757"/>
                  <a:gd name="connsiteY208" fmla="*/ 1545431 h 4575969"/>
                  <a:gd name="connsiteX209" fmla="*/ 8436769 w 8971757"/>
                  <a:gd name="connsiteY209" fmla="*/ 1550194 h 4575969"/>
                  <a:gd name="connsiteX210" fmla="*/ 8351043 w 8971757"/>
                  <a:gd name="connsiteY210" fmla="*/ 1476375 h 4575969"/>
                  <a:gd name="connsiteX211" fmla="*/ 8170069 w 8971757"/>
                  <a:gd name="connsiteY211" fmla="*/ 1476374 h 4575969"/>
                  <a:gd name="connsiteX212" fmla="*/ 8117681 w 8971757"/>
                  <a:gd name="connsiteY212" fmla="*/ 1514475 h 4575969"/>
                  <a:gd name="connsiteX213" fmla="*/ 8067675 w 8971757"/>
                  <a:gd name="connsiteY213" fmla="*/ 1593056 h 4575969"/>
                  <a:gd name="connsiteX214" fmla="*/ 8084344 w 8971757"/>
                  <a:gd name="connsiteY214" fmla="*/ 1614487 h 4575969"/>
                  <a:gd name="connsiteX215" fmla="*/ 8039100 w 8971757"/>
                  <a:gd name="connsiteY215" fmla="*/ 1664493 h 4575969"/>
                  <a:gd name="connsiteX216" fmla="*/ 7889081 w 8971757"/>
                  <a:gd name="connsiteY216" fmla="*/ 1588293 h 4575969"/>
                  <a:gd name="connsiteX217" fmla="*/ 7798594 w 8971757"/>
                  <a:gd name="connsiteY217" fmla="*/ 1624012 h 4575969"/>
                  <a:gd name="connsiteX218" fmla="*/ 7724775 w 8971757"/>
                  <a:gd name="connsiteY218" fmla="*/ 1621631 h 4575969"/>
                  <a:gd name="connsiteX219" fmla="*/ 7667625 w 8971757"/>
                  <a:gd name="connsiteY219" fmla="*/ 1716881 h 4575969"/>
                  <a:gd name="connsiteX220" fmla="*/ 7529513 w 8971757"/>
                  <a:gd name="connsiteY22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3971925 w 8971757"/>
                  <a:gd name="connsiteY67" fmla="*/ 488156 h 4575969"/>
                  <a:gd name="connsiteX68" fmla="*/ 8412956 w 8971757"/>
                  <a:gd name="connsiteY68" fmla="*/ 23812 h 4575969"/>
                  <a:gd name="connsiteX69" fmla="*/ 8949531 w 8971757"/>
                  <a:gd name="connsiteY69" fmla="*/ 0 h 4575969"/>
                  <a:gd name="connsiteX70" fmla="*/ 8971757 w 8971757"/>
                  <a:gd name="connsiteY70" fmla="*/ 4575969 h 4575969"/>
                  <a:gd name="connsiteX71" fmla="*/ 2381 w 8971757"/>
                  <a:gd name="connsiteY71" fmla="*/ 4547392 h 4575969"/>
                  <a:gd name="connsiteX72" fmla="*/ 0 w 8971757"/>
                  <a:gd name="connsiteY72" fmla="*/ 845344 h 4575969"/>
                  <a:gd name="connsiteX73" fmla="*/ 76200 w 8971757"/>
                  <a:gd name="connsiteY73" fmla="*/ 828675 h 4575969"/>
                  <a:gd name="connsiteX74" fmla="*/ 119063 w 8971757"/>
                  <a:gd name="connsiteY74" fmla="*/ 857250 h 4575969"/>
                  <a:gd name="connsiteX75" fmla="*/ 215900 w 8971757"/>
                  <a:gd name="connsiteY75" fmla="*/ 848519 h 4575969"/>
                  <a:gd name="connsiteX76" fmla="*/ 261938 w 8971757"/>
                  <a:gd name="connsiteY76" fmla="*/ 876299 h 4575969"/>
                  <a:gd name="connsiteX77" fmla="*/ 228600 w 8971757"/>
                  <a:gd name="connsiteY77" fmla="*/ 904875 h 4575969"/>
                  <a:gd name="connsiteX78" fmla="*/ 233363 w 8971757"/>
                  <a:gd name="connsiteY78" fmla="*/ 947737 h 4575969"/>
                  <a:gd name="connsiteX79" fmla="*/ 200025 w 8971757"/>
                  <a:gd name="connsiteY79" fmla="*/ 952500 h 4575969"/>
                  <a:gd name="connsiteX80" fmla="*/ 204788 w 8971757"/>
                  <a:gd name="connsiteY80" fmla="*/ 976312 h 4575969"/>
                  <a:gd name="connsiteX81" fmla="*/ 261937 w 8971757"/>
                  <a:gd name="connsiteY81" fmla="*/ 1050131 h 4575969"/>
                  <a:gd name="connsiteX82" fmla="*/ 223838 w 8971757"/>
                  <a:gd name="connsiteY82" fmla="*/ 1097756 h 4575969"/>
                  <a:gd name="connsiteX83" fmla="*/ 278606 w 8971757"/>
                  <a:gd name="connsiteY83" fmla="*/ 1133475 h 4575969"/>
                  <a:gd name="connsiteX84" fmla="*/ 369094 w 8971757"/>
                  <a:gd name="connsiteY84" fmla="*/ 1221581 h 4575969"/>
                  <a:gd name="connsiteX85" fmla="*/ 371475 w 8971757"/>
                  <a:gd name="connsiteY85" fmla="*/ 1281112 h 4575969"/>
                  <a:gd name="connsiteX86" fmla="*/ 507206 w 8971757"/>
                  <a:gd name="connsiteY86" fmla="*/ 1414463 h 4575969"/>
                  <a:gd name="connsiteX87" fmla="*/ 561975 w 8971757"/>
                  <a:gd name="connsiteY87" fmla="*/ 1390650 h 4575969"/>
                  <a:gd name="connsiteX88" fmla="*/ 600075 w 8971757"/>
                  <a:gd name="connsiteY88" fmla="*/ 1416843 h 4575969"/>
                  <a:gd name="connsiteX89" fmla="*/ 614363 w 8971757"/>
                  <a:gd name="connsiteY89" fmla="*/ 1466849 h 4575969"/>
                  <a:gd name="connsiteX90" fmla="*/ 657225 w 8971757"/>
                  <a:gd name="connsiteY90" fmla="*/ 1502569 h 4575969"/>
                  <a:gd name="connsiteX91" fmla="*/ 697706 w 8971757"/>
                  <a:gd name="connsiteY91" fmla="*/ 1490662 h 4575969"/>
                  <a:gd name="connsiteX92" fmla="*/ 716756 w 8971757"/>
                  <a:gd name="connsiteY92" fmla="*/ 1547812 h 4575969"/>
                  <a:gd name="connsiteX93" fmla="*/ 764381 w 8971757"/>
                  <a:gd name="connsiteY93" fmla="*/ 1590675 h 4575969"/>
                  <a:gd name="connsiteX94" fmla="*/ 788194 w 8971757"/>
                  <a:gd name="connsiteY94" fmla="*/ 1693069 h 4575969"/>
                  <a:gd name="connsiteX95" fmla="*/ 785813 w 8971757"/>
                  <a:gd name="connsiteY95" fmla="*/ 1740694 h 4575969"/>
                  <a:gd name="connsiteX96" fmla="*/ 821531 w 8971757"/>
                  <a:gd name="connsiteY96" fmla="*/ 1840706 h 4575969"/>
                  <a:gd name="connsiteX97" fmla="*/ 866775 w 8971757"/>
                  <a:gd name="connsiteY97" fmla="*/ 1897856 h 4575969"/>
                  <a:gd name="connsiteX98" fmla="*/ 883443 w 8971757"/>
                  <a:gd name="connsiteY98" fmla="*/ 2055018 h 4575969"/>
                  <a:gd name="connsiteX99" fmla="*/ 850106 w 8971757"/>
                  <a:gd name="connsiteY99" fmla="*/ 2116931 h 4575969"/>
                  <a:gd name="connsiteX100" fmla="*/ 819150 w 8971757"/>
                  <a:gd name="connsiteY100" fmla="*/ 2193131 h 4575969"/>
                  <a:gd name="connsiteX101" fmla="*/ 833438 w 8971757"/>
                  <a:gd name="connsiteY101" fmla="*/ 2250281 h 4575969"/>
                  <a:gd name="connsiteX102" fmla="*/ 735806 w 8971757"/>
                  <a:gd name="connsiteY102" fmla="*/ 2357438 h 4575969"/>
                  <a:gd name="connsiteX103" fmla="*/ 692944 w 8971757"/>
                  <a:gd name="connsiteY103" fmla="*/ 2471737 h 4575969"/>
                  <a:gd name="connsiteX104" fmla="*/ 726281 w 8971757"/>
                  <a:gd name="connsiteY104" fmla="*/ 2512219 h 4575969"/>
                  <a:gd name="connsiteX105" fmla="*/ 709613 w 8971757"/>
                  <a:gd name="connsiteY105" fmla="*/ 2540794 h 4575969"/>
                  <a:gd name="connsiteX106" fmla="*/ 740569 w 8971757"/>
                  <a:gd name="connsiteY106" fmla="*/ 2597944 h 4575969"/>
                  <a:gd name="connsiteX107" fmla="*/ 769144 w 8971757"/>
                  <a:gd name="connsiteY107" fmla="*/ 2597944 h 4575969"/>
                  <a:gd name="connsiteX108" fmla="*/ 931069 w 8971757"/>
                  <a:gd name="connsiteY108" fmla="*/ 2700337 h 4575969"/>
                  <a:gd name="connsiteX109" fmla="*/ 1035844 w 8971757"/>
                  <a:gd name="connsiteY109" fmla="*/ 2697956 h 4575969"/>
                  <a:gd name="connsiteX110" fmla="*/ 1114425 w 8971757"/>
                  <a:gd name="connsiteY110" fmla="*/ 2752725 h 4575969"/>
                  <a:gd name="connsiteX111" fmla="*/ 1245393 w 8971757"/>
                  <a:gd name="connsiteY111" fmla="*/ 2755106 h 4575969"/>
                  <a:gd name="connsiteX112" fmla="*/ 1435893 w 8971757"/>
                  <a:gd name="connsiteY112" fmla="*/ 2824162 h 4575969"/>
                  <a:gd name="connsiteX113" fmla="*/ 1638300 w 8971757"/>
                  <a:gd name="connsiteY113" fmla="*/ 2974181 h 4575969"/>
                  <a:gd name="connsiteX114" fmla="*/ 1671637 w 8971757"/>
                  <a:gd name="connsiteY114" fmla="*/ 3040856 h 4575969"/>
                  <a:gd name="connsiteX115" fmla="*/ 1838325 w 8971757"/>
                  <a:gd name="connsiteY115" fmla="*/ 3167062 h 4575969"/>
                  <a:gd name="connsiteX116" fmla="*/ 1909763 w 8971757"/>
                  <a:gd name="connsiteY116" fmla="*/ 3162300 h 4575969"/>
                  <a:gd name="connsiteX117" fmla="*/ 1945482 w 8971757"/>
                  <a:gd name="connsiteY117" fmla="*/ 3186112 h 4575969"/>
                  <a:gd name="connsiteX118" fmla="*/ 1916906 w 8971757"/>
                  <a:gd name="connsiteY118" fmla="*/ 3226594 h 4575969"/>
                  <a:gd name="connsiteX119" fmla="*/ 1924050 w 8971757"/>
                  <a:gd name="connsiteY119" fmla="*/ 3278981 h 4575969"/>
                  <a:gd name="connsiteX120" fmla="*/ 1976438 w 8971757"/>
                  <a:gd name="connsiteY120" fmla="*/ 3305175 h 4575969"/>
                  <a:gd name="connsiteX121" fmla="*/ 2038350 w 8971757"/>
                  <a:gd name="connsiteY121" fmla="*/ 3529013 h 4575969"/>
                  <a:gd name="connsiteX122" fmla="*/ 2028825 w 8971757"/>
                  <a:gd name="connsiteY122" fmla="*/ 3593306 h 4575969"/>
                  <a:gd name="connsiteX123" fmla="*/ 2164556 w 8971757"/>
                  <a:gd name="connsiteY123" fmla="*/ 3759994 h 4575969"/>
                  <a:gd name="connsiteX124" fmla="*/ 2183606 w 8971757"/>
                  <a:gd name="connsiteY124" fmla="*/ 3810000 h 4575969"/>
                  <a:gd name="connsiteX125" fmla="*/ 2157413 w 8971757"/>
                  <a:gd name="connsiteY125" fmla="*/ 3829050 h 4575969"/>
                  <a:gd name="connsiteX126" fmla="*/ 2259806 w 8971757"/>
                  <a:gd name="connsiteY126" fmla="*/ 3838575 h 4575969"/>
                  <a:gd name="connsiteX127" fmla="*/ 2371725 w 8971757"/>
                  <a:gd name="connsiteY127" fmla="*/ 3826669 h 4575969"/>
                  <a:gd name="connsiteX128" fmla="*/ 2650331 w 8971757"/>
                  <a:gd name="connsiteY128" fmla="*/ 3910012 h 4575969"/>
                  <a:gd name="connsiteX129" fmla="*/ 3057525 w 8971757"/>
                  <a:gd name="connsiteY129" fmla="*/ 3990975 h 4575969"/>
                  <a:gd name="connsiteX130" fmla="*/ 3255169 w 8971757"/>
                  <a:gd name="connsiteY130" fmla="*/ 3960018 h 4575969"/>
                  <a:gd name="connsiteX131" fmla="*/ 3300413 w 8971757"/>
                  <a:gd name="connsiteY131" fmla="*/ 3971924 h 4575969"/>
                  <a:gd name="connsiteX132" fmla="*/ 3355181 w 8971757"/>
                  <a:gd name="connsiteY132" fmla="*/ 3948113 h 4575969"/>
                  <a:gd name="connsiteX133" fmla="*/ 3748087 w 8971757"/>
                  <a:gd name="connsiteY133" fmla="*/ 4038600 h 4575969"/>
                  <a:gd name="connsiteX134" fmla="*/ 3831432 w 8971757"/>
                  <a:gd name="connsiteY134" fmla="*/ 4136231 h 4575969"/>
                  <a:gd name="connsiteX135" fmla="*/ 3950494 w 8971757"/>
                  <a:gd name="connsiteY135" fmla="*/ 4207669 h 4575969"/>
                  <a:gd name="connsiteX136" fmla="*/ 4010025 w 8971757"/>
                  <a:gd name="connsiteY136" fmla="*/ 4191000 h 4575969"/>
                  <a:gd name="connsiteX137" fmla="*/ 4360068 w 8971757"/>
                  <a:gd name="connsiteY137" fmla="*/ 4364831 h 4575969"/>
                  <a:gd name="connsiteX138" fmla="*/ 4586288 w 8971757"/>
                  <a:gd name="connsiteY138" fmla="*/ 4336256 h 4575969"/>
                  <a:gd name="connsiteX139" fmla="*/ 4595813 w 8971757"/>
                  <a:gd name="connsiteY139" fmla="*/ 4414837 h 4575969"/>
                  <a:gd name="connsiteX140" fmla="*/ 4681538 w 8971757"/>
                  <a:gd name="connsiteY140" fmla="*/ 4410074 h 4575969"/>
                  <a:gd name="connsiteX141" fmla="*/ 4760119 w 8971757"/>
                  <a:gd name="connsiteY141" fmla="*/ 4441031 h 4575969"/>
                  <a:gd name="connsiteX142" fmla="*/ 4802981 w 8971757"/>
                  <a:gd name="connsiteY142" fmla="*/ 4381500 h 4575969"/>
                  <a:gd name="connsiteX143" fmla="*/ 5474494 w 8971757"/>
                  <a:gd name="connsiteY143" fmla="*/ 4062412 h 4575969"/>
                  <a:gd name="connsiteX144" fmla="*/ 5562600 w 8971757"/>
                  <a:gd name="connsiteY144" fmla="*/ 4090988 h 4575969"/>
                  <a:gd name="connsiteX145" fmla="*/ 5693569 w 8971757"/>
                  <a:gd name="connsiteY145" fmla="*/ 4062412 h 4575969"/>
                  <a:gd name="connsiteX146" fmla="*/ 5872162 w 8971757"/>
                  <a:gd name="connsiteY146" fmla="*/ 4079081 h 4575969"/>
                  <a:gd name="connsiteX147" fmla="*/ 5929313 w 8971757"/>
                  <a:gd name="connsiteY147" fmla="*/ 4052888 h 4575969"/>
                  <a:gd name="connsiteX148" fmla="*/ 6062662 w 8971757"/>
                  <a:gd name="connsiteY148" fmla="*/ 4050506 h 4575969"/>
                  <a:gd name="connsiteX149" fmla="*/ 6196012 w 8971757"/>
                  <a:gd name="connsiteY149" fmla="*/ 3952875 h 4575969"/>
                  <a:gd name="connsiteX150" fmla="*/ 6262687 w 8971757"/>
                  <a:gd name="connsiteY150" fmla="*/ 3945731 h 4575969"/>
                  <a:gd name="connsiteX151" fmla="*/ 6360319 w 8971757"/>
                  <a:gd name="connsiteY151" fmla="*/ 3871912 h 4575969"/>
                  <a:gd name="connsiteX152" fmla="*/ 6434138 w 8971757"/>
                  <a:gd name="connsiteY152" fmla="*/ 3802856 h 4575969"/>
                  <a:gd name="connsiteX153" fmla="*/ 6443663 w 8971757"/>
                  <a:gd name="connsiteY153" fmla="*/ 3740944 h 4575969"/>
                  <a:gd name="connsiteX154" fmla="*/ 6477000 w 8971757"/>
                  <a:gd name="connsiteY154" fmla="*/ 3671887 h 4575969"/>
                  <a:gd name="connsiteX155" fmla="*/ 6629400 w 8971757"/>
                  <a:gd name="connsiteY155" fmla="*/ 3564731 h 4575969"/>
                  <a:gd name="connsiteX156" fmla="*/ 6662738 w 8971757"/>
                  <a:gd name="connsiteY156" fmla="*/ 3569494 h 4575969"/>
                  <a:gd name="connsiteX157" fmla="*/ 6715125 w 8971757"/>
                  <a:gd name="connsiteY157" fmla="*/ 3490912 h 4575969"/>
                  <a:gd name="connsiteX158" fmla="*/ 6762750 w 8971757"/>
                  <a:gd name="connsiteY158" fmla="*/ 3452812 h 4575969"/>
                  <a:gd name="connsiteX159" fmla="*/ 6748463 w 8971757"/>
                  <a:gd name="connsiteY159" fmla="*/ 3383756 h 4575969"/>
                  <a:gd name="connsiteX160" fmla="*/ 6698456 w 8971757"/>
                  <a:gd name="connsiteY160" fmla="*/ 3352799 h 4575969"/>
                  <a:gd name="connsiteX161" fmla="*/ 6638925 w 8971757"/>
                  <a:gd name="connsiteY161" fmla="*/ 3298031 h 4575969"/>
                  <a:gd name="connsiteX162" fmla="*/ 6619875 w 8971757"/>
                  <a:gd name="connsiteY162" fmla="*/ 3240881 h 4575969"/>
                  <a:gd name="connsiteX163" fmla="*/ 6584156 w 8971757"/>
                  <a:gd name="connsiteY163" fmla="*/ 3207544 h 4575969"/>
                  <a:gd name="connsiteX164" fmla="*/ 6610350 w 8971757"/>
                  <a:gd name="connsiteY164" fmla="*/ 3155156 h 4575969"/>
                  <a:gd name="connsiteX165" fmla="*/ 6650831 w 8971757"/>
                  <a:gd name="connsiteY165" fmla="*/ 2976562 h 4575969"/>
                  <a:gd name="connsiteX166" fmla="*/ 6691313 w 8971757"/>
                  <a:gd name="connsiteY166" fmla="*/ 2909887 h 4575969"/>
                  <a:gd name="connsiteX167" fmla="*/ 6836569 w 8971757"/>
                  <a:gd name="connsiteY167" fmla="*/ 2893218 h 4575969"/>
                  <a:gd name="connsiteX168" fmla="*/ 6905625 w 8971757"/>
                  <a:gd name="connsiteY168" fmla="*/ 2950369 h 4575969"/>
                  <a:gd name="connsiteX169" fmla="*/ 6981825 w 8971757"/>
                  <a:gd name="connsiteY169" fmla="*/ 2974181 h 4575969"/>
                  <a:gd name="connsiteX170" fmla="*/ 7186612 w 8971757"/>
                  <a:gd name="connsiteY170" fmla="*/ 2978944 h 4575969"/>
                  <a:gd name="connsiteX171" fmla="*/ 7362825 w 8971757"/>
                  <a:gd name="connsiteY171" fmla="*/ 2840831 h 4575969"/>
                  <a:gd name="connsiteX172" fmla="*/ 7419975 w 8971757"/>
                  <a:gd name="connsiteY172" fmla="*/ 2750343 h 4575969"/>
                  <a:gd name="connsiteX173" fmla="*/ 7446169 w 8971757"/>
                  <a:gd name="connsiteY173" fmla="*/ 2667000 h 4575969"/>
                  <a:gd name="connsiteX174" fmla="*/ 7577137 w 8971757"/>
                  <a:gd name="connsiteY174" fmla="*/ 2667000 h 4575969"/>
                  <a:gd name="connsiteX175" fmla="*/ 7750969 w 8971757"/>
                  <a:gd name="connsiteY175" fmla="*/ 2609849 h 4575969"/>
                  <a:gd name="connsiteX176" fmla="*/ 7810500 w 8971757"/>
                  <a:gd name="connsiteY176" fmla="*/ 2497931 h 4575969"/>
                  <a:gd name="connsiteX177" fmla="*/ 7874794 w 8971757"/>
                  <a:gd name="connsiteY177" fmla="*/ 2462212 h 4575969"/>
                  <a:gd name="connsiteX178" fmla="*/ 7853363 w 8971757"/>
                  <a:gd name="connsiteY178" fmla="*/ 2416969 h 4575969"/>
                  <a:gd name="connsiteX179" fmla="*/ 7931944 w 8971757"/>
                  <a:gd name="connsiteY179" fmla="*/ 2247899 h 4575969"/>
                  <a:gd name="connsiteX180" fmla="*/ 7986713 w 8971757"/>
                  <a:gd name="connsiteY180" fmla="*/ 2188369 h 4575969"/>
                  <a:gd name="connsiteX181" fmla="*/ 8024813 w 8971757"/>
                  <a:gd name="connsiteY181" fmla="*/ 2183606 h 4575969"/>
                  <a:gd name="connsiteX182" fmla="*/ 8070056 w 8971757"/>
                  <a:gd name="connsiteY182" fmla="*/ 2188369 h 4575969"/>
                  <a:gd name="connsiteX183" fmla="*/ 8134350 w 8971757"/>
                  <a:gd name="connsiteY183" fmla="*/ 2155031 h 4575969"/>
                  <a:gd name="connsiteX184" fmla="*/ 8143875 w 8971757"/>
                  <a:gd name="connsiteY184" fmla="*/ 2090737 h 4575969"/>
                  <a:gd name="connsiteX185" fmla="*/ 8184355 w 8971757"/>
                  <a:gd name="connsiteY185" fmla="*/ 2055019 h 4575969"/>
                  <a:gd name="connsiteX186" fmla="*/ 8243888 w 8971757"/>
                  <a:gd name="connsiteY186" fmla="*/ 2095499 h 4575969"/>
                  <a:gd name="connsiteX187" fmla="*/ 8270082 w 8971757"/>
                  <a:gd name="connsiteY187" fmla="*/ 2045493 h 4575969"/>
                  <a:gd name="connsiteX188" fmla="*/ 8365331 w 8971757"/>
                  <a:gd name="connsiteY188" fmla="*/ 1976437 h 4575969"/>
                  <a:gd name="connsiteX189" fmla="*/ 8427244 w 8971757"/>
                  <a:gd name="connsiteY189" fmla="*/ 1983581 h 4575969"/>
                  <a:gd name="connsiteX190" fmla="*/ 8477250 w 8971757"/>
                  <a:gd name="connsiteY190" fmla="*/ 1964531 h 4575969"/>
                  <a:gd name="connsiteX191" fmla="*/ 8515350 w 8971757"/>
                  <a:gd name="connsiteY191" fmla="*/ 1935956 h 4575969"/>
                  <a:gd name="connsiteX192" fmla="*/ 8548688 w 8971757"/>
                  <a:gd name="connsiteY192" fmla="*/ 1933575 h 4575969"/>
                  <a:gd name="connsiteX193" fmla="*/ 8584406 w 8971757"/>
                  <a:gd name="connsiteY193" fmla="*/ 1964531 h 4575969"/>
                  <a:gd name="connsiteX194" fmla="*/ 8643938 w 8971757"/>
                  <a:gd name="connsiteY194" fmla="*/ 1964531 h 4575969"/>
                  <a:gd name="connsiteX195" fmla="*/ 8682037 w 8971757"/>
                  <a:gd name="connsiteY195" fmla="*/ 1945481 h 4575969"/>
                  <a:gd name="connsiteX196" fmla="*/ 8765381 w 8971757"/>
                  <a:gd name="connsiteY196" fmla="*/ 1947863 h 4575969"/>
                  <a:gd name="connsiteX197" fmla="*/ 8796338 w 8971757"/>
                  <a:gd name="connsiteY197" fmla="*/ 1902619 h 4575969"/>
                  <a:gd name="connsiteX198" fmla="*/ 8801100 w 8971757"/>
                  <a:gd name="connsiteY198" fmla="*/ 1840706 h 4575969"/>
                  <a:gd name="connsiteX199" fmla="*/ 8751093 w 8971757"/>
                  <a:gd name="connsiteY199" fmla="*/ 1800225 h 4575969"/>
                  <a:gd name="connsiteX200" fmla="*/ 8734425 w 8971757"/>
                  <a:gd name="connsiteY200" fmla="*/ 1745456 h 4575969"/>
                  <a:gd name="connsiteX201" fmla="*/ 8643938 w 8971757"/>
                  <a:gd name="connsiteY201" fmla="*/ 1683544 h 4575969"/>
                  <a:gd name="connsiteX202" fmla="*/ 8603456 w 8971757"/>
                  <a:gd name="connsiteY202" fmla="*/ 1662112 h 4575969"/>
                  <a:gd name="connsiteX203" fmla="*/ 8565356 w 8971757"/>
                  <a:gd name="connsiteY203" fmla="*/ 1616869 h 4575969"/>
                  <a:gd name="connsiteX204" fmla="*/ 8534400 w 8971757"/>
                  <a:gd name="connsiteY204" fmla="*/ 1614487 h 4575969"/>
                  <a:gd name="connsiteX205" fmla="*/ 8517731 w 8971757"/>
                  <a:gd name="connsiteY205" fmla="*/ 1562100 h 4575969"/>
                  <a:gd name="connsiteX206" fmla="*/ 8477250 w 8971757"/>
                  <a:gd name="connsiteY206" fmla="*/ 1545431 h 4575969"/>
                  <a:gd name="connsiteX207" fmla="*/ 8477250 w 8971757"/>
                  <a:gd name="connsiteY207" fmla="*/ 1545431 h 4575969"/>
                  <a:gd name="connsiteX208" fmla="*/ 8436769 w 8971757"/>
                  <a:gd name="connsiteY208" fmla="*/ 1550194 h 4575969"/>
                  <a:gd name="connsiteX209" fmla="*/ 8351043 w 8971757"/>
                  <a:gd name="connsiteY209" fmla="*/ 1476375 h 4575969"/>
                  <a:gd name="connsiteX210" fmla="*/ 8170069 w 8971757"/>
                  <a:gd name="connsiteY210" fmla="*/ 1476374 h 4575969"/>
                  <a:gd name="connsiteX211" fmla="*/ 8117681 w 8971757"/>
                  <a:gd name="connsiteY211" fmla="*/ 1514475 h 4575969"/>
                  <a:gd name="connsiteX212" fmla="*/ 8067675 w 8971757"/>
                  <a:gd name="connsiteY212" fmla="*/ 1593056 h 4575969"/>
                  <a:gd name="connsiteX213" fmla="*/ 8084344 w 8971757"/>
                  <a:gd name="connsiteY213" fmla="*/ 1614487 h 4575969"/>
                  <a:gd name="connsiteX214" fmla="*/ 8039100 w 8971757"/>
                  <a:gd name="connsiteY214" fmla="*/ 1664493 h 4575969"/>
                  <a:gd name="connsiteX215" fmla="*/ 7889081 w 8971757"/>
                  <a:gd name="connsiteY215" fmla="*/ 1588293 h 4575969"/>
                  <a:gd name="connsiteX216" fmla="*/ 7798594 w 8971757"/>
                  <a:gd name="connsiteY216" fmla="*/ 1624012 h 4575969"/>
                  <a:gd name="connsiteX217" fmla="*/ 7724775 w 8971757"/>
                  <a:gd name="connsiteY217" fmla="*/ 1621631 h 4575969"/>
                  <a:gd name="connsiteX218" fmla="*/ 7667625 w 8971757"/>
                  <a:gd name="connsiteY218" fmla="*/ 1716881 h 4575969"/>
                  <a:gd name="connsiteX219" fmla="*/ 7529513 w 8971757"/>
                  <a:gd name="connsiteY21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4010025 w 8971757"/>
                  <a:gd name="connsiteY66" fmla="*/ 485774 h 4575969"/>
                  <a:gd name="connsiteX67" fmla="*/ 8412956 w 8971757"/>
                  <a:gd name="connsiteY67" fmla="*/ 23812 h 4575969"/>
                  <a:gd name="connsiteX68" fmla="*/ 8949531 w 8971757"/>
                  <a:gd name="connsiteY68" fmla="*/ 0 h 4575969"/>
                  <a:gd name="connsiteX69" fmla="*/ 8971757 w 8971757"/>
                  <a:gd name="connsiteY69" fmla="*/ 4575969 h 4575969"/>
                  <a:gd name="connsiteX70" fmla="*/ 2381 w 8971757"/>
                  <a:gd name="connsiteY70" fmla="*/ 4547392 h 4575969"/>
                  <a:gd name="connsiteX71" fmla="*/ 0 w 8971757"/>
                  <a:gd name="connsiteY71" fmla="*/ 845344 h 4575969"/>
                  <a:gd name="connsiteX72" fmla="*/ 76200 w 8971757"/>
                  <a:gd name="connsiteY72" fmla="*/ 828675 h 4575969"/>
                  <a:gd name="connsiteX73" fmla="*/ 119063 w 8971757"/>
                  <a:gd name="connsiteY73" fmla="*/ 857250 h 4575969"/>
                  <a:gd name="connsiteX74" fmla="*/ 215900 w 8971757"/>
                  <a:gd name="connsiteY74" fmla="*/ 848519 h 4575969"/>
                  <a:gd name="connsiteX75" fmla="*/ 261938 w 8971757"/>
                  <a:gd name="connsiteY75" fmla="*/ 876299 h 4575969"/>
                  <a:gd name="connsiteX76" fmla="*/ 228600 w 8971757"/>
                  <a:gd name="connsiteY76" fmla="*/ 904875 h 4575969"/>
                  <a:gd name="connsiteX77" fmla="*/ 233363 w 8971757"/>
                  <a:gd name="connsiteY77" fmla="*/ 947737 h 4575969"/>
                  <a:gd name="connsiteX78" fmla="*/ 200025 w 8971757"/>
                  <a:gd name="connsiteY78" fmla="*/ 952500 h 4575969"/>
                  <a:gd name="connsiteX79" fmla="*/ 204788 w 8971757"/>
                  <a:gd name="connsiteY79" fmla="*/ 976312 h 4575969"/>
                  <a:gd name="connsiteX80" fmla="*/ 261937 w 8971757"/>
                  <a:gd name="connsiteY80" fmla="*/ 1050131 h 4575969"/>
                  <a:gd name="connsiteX81" fmla="*/ 223838 w 8971757"/>
                  <a:gd name="connsiteY81" fmla="*/ 1097756 h 4575969"/>
                  <a:gd name="connsiteX82" fmla="*/ 278606 w 8971757"/>
                  <a:gd name="connsiteY82" fmla="*/ 1133475 h 4575969"/>
                  <a:gd name="connsiteX83" fmla="*/ 369094 w 8971757"/>
                  <a:gd name="connsiteY83" fmla="*/ 1221581 h 4575969"/>
                  <a:gd name="connsiteX84" fmla="*/ 371475 w 8971757"/>
                  <a:gd name="connsiteY84" fmla="*/ 1281112 h 4575969"/>
                  <a:gd name="connsiteX85" fmla="*/ 507206 w 8971757"/>
                  <a:gd name="connsiteY85" fmla="*/ 1414463 h 4575969"/>
                  <a:gd name="connsiteX86" fmla="*/ 561975 w 8971757"/>
                  <a:gd name="connsiteY86" fmla="*/ 1390650 h 4575969"/>
                  <a:gd name="connsiteX87" fmla="*/ 600075 w 8971757"/>
                  <a:gd name="connsiteY87" fmla="*/ 1416843 h 4575969"/>
                  <a:gd name="connsiteX88" fmla="*/ 614363 w 8971757"/>
                  <a:gd name="connsiteY88" fmla="*/ 1466849 h 4575969"/>
                  <a:gd name="connsiteX89" fmla="*/ 657225 w 8971757"/>
                  <a:gd name="connsiteY89" fmla="*/ 1502569 h 4575969"/>
                  <a:gd name="connsiteX90" fmla="*/ 697706 w 8971757"/>
                  <a:gd name="connsiteY90" fmla="*/ 1490662 h 4575969"/>
                  <a:gd name="connsiteX91" fmla="*/ 716756 w 8971757"/>
                  <a:gd name="connsiteY91" fmla="*/ 1547812 h 4575969"/>
                  <a:gd name="connsiteX92" fmla="*/ 764381 w 8971757"/>
                  <a:gd name="connsiteY92" fmla="*/ 1590675 h 4575969"/>
                  <a:gd name="connsiteX93" fmla="*/ 788194 w 8971757"/>
                  <a:gd name="connsiteY93" fmla="*/ 1693069 h 4575969"/>
                  <a:gd name="connsiteX94" fmla="*/ 785813 w 8971757"/>
                  <a:gd name="connsiteY94" fmla="*/ 1740694 h 4575969"/>
                  <a:gd name="connsiteX95" fmla="*/ 821531 w 8971757"/>
                  <a:gd name="connsiteY95" fmla="*/ 1840706 h 4575969"/>
                  <a:gd name="connsiteX96" fmla="*/ 866775 w 8971757"/>
                  <a:gd name="connsiteY96" fmla="*/ 1897856 h 4575969"/>
                  <a:gd name="connsiteX97" fmla="*/ 883443 w 8971757"/>
                  <a:gd name="connsiteY97" fmla="*/ 2055018 h 4575969"/>
                  <a:gd name="connsiteX98" fmla="*/ 850106 w 8971757"/>
                  <a:gd name="connsiteY98" fmla="*/ 2116931 h 4575969"/>
                  <a:gd name="connsiteX99" fmla="*/ 819150 w 8971757"/>
                  <a:gd name="connsiteY99" fmla="*/ 2193131 h 4575969"/>
                  <a:gd name="connsiteX100" fmla="*/ 833438 w 8971757"/>
                  <a:gd name="connsiteY100" fmla="*/ 2250281 h 4575969"/>
                  <a:gd name="connsiteX101" fmla="*/ 735806 w 8971757"/>
                  <a:gd name="connsiteY101" fmla="*/ 2357438 h 4575969"/>
                  <a:gd name="connsiteX102" fmla="*/ 692944 w 8971757"/>
                  <a:gd name="connsiteY102" fmla="*/ 2471737 h 4575969"/>
                  <a:gd name="connsiteX103" fmla="*/ 726281 w 8971757"/>
                  <a:gd name="connsiteY103" fmla="*/ 2512219 h 4575969"/>
                  <a:gd name="connsiteX104" fmla="*/ 709613 w 8971757"/>
                  <a:gd name="connsiteY104" fmla="*/ 2540794 h 4575969"/>
                  <a:gd name="connsiteX105" fmla="*/ 740569 w 8971757"/>
                  <a:gd name="connsiteY105" fmla="*/ 2597944 h 4575969"/>
                  <a:gd name="connsiteX106" fmla="*/ 769144 w 8971757"/>
                  <a:gd name="connsiteY106" fmla="*/ 2597944 h 4575969"/>
                  <a:gd name="connsiteX107" fmla="*/ 931069 w 8971757"/>
                  <a:gd name="connsiteY107" fmla="*/ 2700337 h 4575969"/>
                  <a:gd name="connsiteX108" fmla="*/ 1035844 w 8971757"/>
                  <a:gd name="connsiteY108" fmla="*/ 2697956 h 4575969"/>
                  <a:gd name="connsiteX109" fmla="*/ 1114425 w 8971757"/>
                  <a:gd name="connsiteY109" fmla="*/ 2752725 h 4575969"/>
                  <a:gd name="connsiteX110" fmla="*/ 1245393 w 8971757"/>
                  <a:gd name="connsiteY110" fmla="*/ 2755106 h 4575969"/>
                  <a:gd name="connsiteX111" fmla="*/ 1435893 w 8971757"/>
                  <a:gd name="connsiteY111" fmla="*/ 2824162 h 4575969"/>
                  <a:gd name="connsiteX112" fmla="*/ 1638300 w 8971757"/>
                  <a:gd name="connsiteY112" fmla="*/ 2974181 h 4575969"/>
                  <a:gd name="connsiteX113" fmla="*/ 1671637 w 8971757"/>
                  <a:gd name="connsiteY113" fmla="*/ 3040856 h 4575969"/>
                  <a:gd name="connsiteX114" fmla="*/ 1838325 w 8971757"/>
                  <a:gd name="connsiteY114" fmla="*/ 3167062 h 4575969"/>
                  <a:gd name="connsiteX115" fmla="*/ 1909763 w 8971757"/>
                  <a:gd name="connsiteY115" fmla="*/ 3162300 h 4575969"/>
                  <a:gd name="connsiteX116" fmla="*/ 1945482 w 8971757"/>
                  <a:gd name="connsiteY116" fmla="*/ 3186112 h 4575969"/>
                  <a:gd name="connsiteX117" fmla="*/ 1916906 w 8971757"/>
                  <a:gd name="connsiteY117" fmla="*/ 3226594 h 4575969"/>
                  <a:gd name="connsiteX118" fmla="*/ 1924050 w 8971757"/>
                  <a:gd name="connsiteY118" fmla="*/ 3278981 h 4575969"/>
                  <a:gd name="connsiteX119" fmla="*/ 1976438 w 8971757"/>
                  <a:gd name="connsiteY119" fmla="*/ 3305175 h 4575969"/>
                  <a:gd name="connsiteX120" fmla="*/ 2038350 w 8971757"/>
                  <a:gd name="connsiteY120" fmla="*/ 3529013 h 4575969"/>
                  <a:gd name="connsiteX121" fmla="*/ 2028825 w 8971757"/>
                  <a:gd name="connsiteY121" fmla="*/ 3593306 h 4575969"/>
                  <a:gd name="connsiteX122" fmla="*/ 2164556 w 8971757"/>
                  <a:gd name="connsiteY122" fmla="*/ 3759994 h 4575969"/>
                  <a:gd name="connsiteX123" fmla="*/ 2183606 w 8971757"/>
                  <a:gd name="connsiteY123" fmla="*/ 3810000 h 4575969"/>
                  <a:gd name="connsiteX124" fmla="*/ 2157413 w 8971757"/>
                  <a:gd name="connsiteY124" fmla="*/ 3829050 h 4575969"/>
                  <a:gd name="connsiteX125" fmla="*/ 2259806 w 8971757"/>
                  <a:gd name="connsiteY125" fmla="*/ 3838575 h 4575969"/>
                  <a:gd name="connsiteX126" fmla="*/ 2371725 w 8971757"/>
                  <a:gd name="connsiteY126" fmla="*/ 3826669 h 4575969"/>
                  <a:gd name="connsiteX127" fmla="*/ 2650331 w 8971757"/>
                  <a:gd name="connsiteY127" fmla="*/ 3910012 h 4575969"/>
                  <a:gd name="connsiteX128" fmla="*/ 3057525 w 8971757"/>
                  <a:gd name="connsiteY128" fmla="*/ 3990975 h 4575969"/>
                  <a:gd name="connsiteX129" fmla="*/ 3255169 w 8971757"/>
                  <a:gd name="connsiteY129" fmla="*/ 3960018 h 4575969"/>
                  <a:gd name="connsiteX130" fmla="*/ 3300413 w 8971757"/>
                  <a:gd name="connsiteY130" fmla="*/ 3971924 h 4575969"/>
                  <a:gd name="connsiteX131" fmla="*/ 3355181 w 8971757"/>
                  <a:gd name="connsiteY131" fmla="*/ 3948113 h 4575969"/>
                  <a:gd name="connsiteX132" fmla="*/ 3748087 w 8971757"/>
                  <a:gd name="connsiteY132" fmla="*/ 4038600 h 4575969"/>
                  <a:gd name="connsiteX133" fmla="*/ 3831432 w 8971757"/>
                  <a:gd name="connsiteY133" fmla="*/ 4136231 h 4575969"/>
                  <a:gd name="connsiteX134" fmla="*/ 3950494 w 8971757"/>
                  <a:gd name="connsiteY134" fmla="*/ 4207669 h 4575969"/>
                  <a:gd name="connsiteX135" fmla="*/ 4010025 w 8971757"/>
                  <a:gd name="connsiteY135" fmla="*/ 4191000 h 4575969"/>
                  <a:gd name="connsiteX136" fmla="*/ 4360068 w 8971757"/>
                  <a:gd name="connsiteY136" fmla="*/ 4364831 h 4575969"/>
                  <a:gd name="connsiteX137" fmla="*/ 4586288 w 8971757"/>
                  <a:gd name="connsiteY137" fmla="*/ 4336256 h 4575969"/>
                  <a:gd name="connsiteX138" fmla="*/ 4595813 w 8971757"/>
                  <a:gd name="connsiteY138" fmla="*/ 4414837 h 4575969"/>
                  <a:gd name="connsiteX139" fmla="*/ 4681538 w 8971757"/>
                  <a:gd name="connsiteY139" fmla="*/ 4410074 h 4575969"/>
                  <a:gd name="connsiteX140" fmla="*/ 4760119 w 8971757"/>
                  <a:gd name="connsiteY140" fmla="*/ 4441031 h 4575969"/>
                  <a:gd name="connsiteX141" fmla="*/ 4802981 w 8971757"/>
                  <a:gd name="connsiteY141" fmla="*/ 4381500 h 4575969"/>
                  <a:gd name="connsiteX142" fmla="*/ 5474494 w 8971757"/>
                  <a:gd name="connsiteY142" fmla="*/ 4062412 h 4575969"/>
                  <a:gd name="connsiteX143" fmla="*/ 5562600 w 8971757"/>
                  <a:gd name="connsiteY143" fmla="*/ 4090988 h 4575969"/>
                  <a:gd name="connsiteX144" fmla="*/ 5693569 w 8971757"/>
                  <a:gd name="connsiteY144" fmla="*/ 4062412 h 4575969"/>
                  <a:gd name="connsiteX145" fmla="*/ 5872162 w 8971757"/>
                  <a:gd name="connsiteY145" fmla="*/ 4079081 h 4575969"/>
                  <a:gd name="connsiteX146" fmla="*/ 5929313 w 8971757"/>
                  <a:gd name="connsiteY146" fmla="*/ 4052888 h 4575969"/>
                  <a:gd name="connsiteX147" fmla="*/ 6062662 w 8971757"/>
                  <a:gd name="connsiteY147" fmla="*/ 4050506 h 4575969"/>
                  <a:gd name="connsiteX148" fmla="*/ 6196012 w 8971757"/>
                  <a:gd name="connsiteY148" fmla="*/ 3952875 h 4575969"/>
                  <a:gd name="connsiteX149" fmla="*/ 6262687 w 8971757"/>
                  <a:gd name="connsiteY149" fmla="*/ 3945731 h 4575969"/>
                  <a:gd name="connsiteX150" fmla="*/ 6360319 w 8971757"/>
                  <a:gd name="connsiteY150" fmla="*/ 3871912 h 4575969"/>
                  <a:gd name="connsiteX151" fmla="*/ 6434138 w 8971757"/>
                  <a:gd name="connsiteY151" fmla="*/ 3802856 h 4575969"/>
                  <a:gd name="connsiteX152" fmla="*/ 6443663 w 8971757"/>
                  <a:gd name="connsiteY152" fmla="*/ 3740944 h 4575969"/>
                  <a:gd name="connsiteX153" fmla="*/ 6477000 w 8971757"/>
                  <a:gd name="connsiteY153" fmla="*/ 3671887 h 4575969"/>
                  <a:gd name="connsiteX154" fmla="*/ 6629400 w 8971757"/>
                  <a:gd name="connsiteY154" fmla="*/ 3564731 h 4575969"/>
                  <a:gd name="connsiteX155" fmla="*/ 6662738 w 8971757"/>
                  <a:gd name="connsiteY155" fmla="*/ 3569494 h 4575969"/>
                  <a:gd name="connsiteX156" fmla="*/ 6715125 w 8971757"/>
                  <a:gd name="connsiteY156" fmla="*/ 3490912 h 4575969"/>
                  <a:gd name="connsiteX157" fmla="*/ 6762750 w 8971757"/>
                  <a:gd name="connsiteY157" fmla="*/ 3452812 h 4575969"/>
                  <a:gd name="connsiteX158" fmla="*/ 6748463 w 8971757"/>
                  <a:gd name="connsiteY158" fmla="*/ 3383756 h 4575969"/>
                  <a:gd name="connsiteX159" fmla="*/ 6698456 w 8971757"/>
                  <a:gd name="connsiteY159" fmla="*/ 3352799 h 4575969"/>
                  <a:gd name="connsiteX160" fmla="*/ 6638925 w 8971757"/>
                  <a:gd name="connsiteY160" fmla="*/ 3298031 h 4575969"/>
                  <a:gd name="connsiteX161" fmla="*/ 6619875 w 8971757"/>
                  <a:gd name="connsiteY161" fmla="*/ 3240881 h 4575969"/>
                  <a:gd name="connsiteX162" fmla="*/ 6584156 w 8971757"/>
                  <a:gd name="connsiteY162" fmla="*/ 3207544 h 4575969"/>
                  <a:gd name="connsiteX163" fmla="*/ 6610350 w 8971757"/>
                  <a:gd name="connsiteY163" fmla="*/ 3155156 h 4575969"/>
                  <a:gd name="connsiteX164" fmla="*/ 6650831 w 8971757"/>
                  <a:gd name="connsiteY164" fmla="*/ 2976562 h 4575969"/>
                  <a:gd name="connsiteX165" fmla="*/ 6691313 w 8971757"/>
                  <a:gd name="connsiteY165" fmla="*/ 2909887 h 4575969"/>
                  <a:gd name="connsiteX166" fmla="*/ 6836569 w 8971757"/>
                  <a:gd name="connsiteY166" fmla="*/ 2893218 h 4575969"/>
                  <a:gd name="connsiteX167" fmla="*/ 6905625 w 8971757"/>
                  <a:gd name="connsiteY167" fmla="*/ 2950369 h 4575969"/>
                  <a:gd name="connsiteX168" fmla="*/ 6981825 w 8971757"/>
                  <a:gd name="connsiteY168" fmla="*/ 2974181 h 4575969"/>
                  <a:gd name="connsiteX169" fmla="*/ 7186612 w 8971757"/>
                  <a:gd name="connsiteY169" fmla="*/ 2978944 h 4575969"/>
                  <a:gd name="connsiteX170" fmla="*/ 7362825 w 8971757"/>
                  <a:gd name="connsiteY170" fmla="*/ 2840831 h 4575969"/>
                  <a:gd name="connsiteX171" fmla="*/ 7419975 w 8971757"/>
                  <a:gd name="connsiteY171" fmla="*/ 2750343 h 4575969"/>
                  <a:gd name="connsiteX172" fmla="*/ 7446169 w 8971757"/>
                  <a:gd name="connsiteY172" fmla="*/ 2667000 h 4575969"/>
                  <a:gd name="connsiteX173" fmla="*/ 7577137 w 8971757"/>
                  <a:gd name="connsiteY173" fmla="*/ 2667000 h 4575969"/>
                  <a:gd name="connsiteX174" fmla="*/ 7750969 w 8971757"/>
                  <a:gd name="connsiteY174" fmla="*/ 2609849 h 4575969"/>
                  <a:gd name="connsiteX175" fmla="*/ 7810500 w 8971757"/>
                  <a:gd name="connsiteY175" fmla="*/ 2497931 h 4575969"/>
                  <a:gd name="connsiteX176" fmla="*/ 7874794 w 8971757"/>
                  <a:gd name="connsiteY176" fmla="*/ 2462212 h 4575969"/>
                  <a:gd name="connsiteX177" fmla="*/ 7853363 w 8971757"/>
                  <a:gd name="connsiteY177" fmla="*/ 2416969 h 4575969"/>
                  <a:gd name="connsiteX178" fmla="*/ 7931944 w 8971757"/>
                  <a:gd name="connsiteY178" fmla="*/ 2247899 h 4575969"/>
                  <a:gd name="connsiteX179" fmla="*/ 7986713 w 8971757"/>
                  <a:gd name="connsiteY179" fmla="*/ 2188369 h 4575969"/>
                  <a:gd name="connsiteX180" fmla="*/ 8024813 w 8971757"/>
                  <a:gd name="connsiteY180" fmla="*/ 2183606 h 4575969"/>
                  <a:gd name="connsiteX181" fmla="*/ 8070056 w 8971757"/>
                  <a:gd name="connsiteY181" fmla="*/ 2188369 h 4575969"/>
                  <a:gd name="connsiteX182" fmla="*/ 8134350 w 8971757"/>
                  <a:gd name="connsiteY182" fmla="*/ 2155031 h 4575969"/>
                  <a:gd name="connsiteX183" fmla="*/ 8143875 w 8971757"/>
                  <a:gd name="connsiteY183" fmla="*/ 2090737 h 4575969"/>
                  <a:gd name="connsiteX184" fmla="*/ 8184355 w 8971757"/>
                  <a:gd name="connsiteY184" fmla="*/ 2055019 h 4575969"/>
                  <a:gd name="connsiteX185" fmla="*/ 8243888 w 8971757"/>
                  <a:gd name="connsiteY185" fmla="*/ 2095499 h 4575969"/>
                  <a:gd name="connsiteX186" fmla="*/ 8270082 w 8971757"/>
                  <a:gd name="connsiteY186" fmla="*/ 2045493 h 4575969"/>
                  <a:gd name="connsiteX187" fmla="*/ 8365331 w 8971757"/>
                  <a:gd name="connsiteY187" fmla="*/ 1976437 h 4575969"/>
                  <a:gd name="connsiteX188" fmla="*/ 8427244 w 8971757"/>
                  <a:gd name="connsiteY188" fmla="*/ 1983581 h 4575969"/>
                  <a:gd name="connsiteX189" fmla="*/ 8477250 w 8971757"/>
                  <a:gd name="connsiteY189" fmla="*/ 1964531 h 4575969"/>
                  <a:gd name="connsiteX190" fmla="*/ 8515350 w 8971757"/>
                  <a:gd name="connsiteY190" fmla="*/ 1935956 h 4575969"/>
                  <a:gd name="connsiteX191" fmla="*/ 8548688 w 8971757"/>
                  <a:gd name="connsiteY191" fmla="*/ 1933575 h 4575969"/>
                  <a:gd name="connsiteX192" fmla="*/ 8584406 w 8971757"/>
                  <a:gd name="connsiteY192" fmla="*/ 1964531 h 4575969"/>
                  <a:gd name="connsiteX193" fmla="*/ 8643938 w 8971757"/>
                  <a:gd name="connsiteY193" fmla="*/ 1964531 h 4575969"/>
                  <a:gd name="connsiteX194" fmla="*/ 8682037 w 8971757"/>
                  <a:gd name="connsiteY194" fmla="*/ 1945481 h 4575969"/>
                  <a:gd name="connsiteX195" fmla="*/ 8765381 w 8971757"/>
                  <a:gd name="connsiteY195" fmla="*/ 1947863 h 4575969"/>
                  <a:gd name="connsiteX196" fmla="*/ 8796338 w 8971757"/>
                  <a:gd name="connsiteY196" fmla="*/ 1902619 h 4575969"/>
                  <a:gd name="connsiteX197" fmla="*/ 8801100 w 8971757"/>
                  <a:gd name="connsiteY197" fmla="*/ 1840706 h 4575969"/>
                  <a:gd name="connsiteX198" fmla="*/ 8751093 w 8971757"/>
                  <a:gd name="connsiteY198" fmla="*/ 1800225 h 4575969"/>
                  <a:gd name="connsiteX199" fmla="*/ 8734425 w 8971757"/>
                  <a:gd name="connsiteY199" fmla="*/ 1745456 h 4575969"/>
                  <a:gd name="connsiteX200" fmla="*/ 8643938 w 8971757"/>
                  <a:gd name="connsiteY200" fmla="*/ 1683544 h 4575969"/>
                  <a:gd name="connsiteX201" fmla="*/ 8603456 w 8971757"/>
                  <a:gd name="connsiteY201" fmla="*/ 1662112 h 4575969"/>
                  <a:gd name="connsiteX202" fmla="*/ 8565356 w 8971757"/>
                  <a:gd name="connsiteY202" fmla="*/ 1616869 h 4575969"/>
                  <a:gd name="connsiteX203" fmla="*/ 8534400 w 8971757"/>
                  <a:gd name="connsiteY203" fmla="*/ 1614487 h 4575969"/>
                  <a:gd name="connsiteX204" fmla="*/ 8517731 w 8971757"/>
                  <a:gd name="connsiteY204" fmla="*/ 1562100 h 4575969"/>
                  <a:gd name="connsiteX205" fmla="*/ 8477250 w 8971757"/>
                  <a:gd name="connsiteY205" fmla="*/ 1545431 h 4575969"/>
                  <a:gd name="connsiteX206" fmla="*/ 8477250 w 8971757"/>
                  <a:gd name="connsiteY206" fmla="*/ 1545431 h 4575969"/>
                  <a:gd name="connsiteX207" fmla="*/ 8436769 w 8971757"/>
                  <a:gd name="connsiteY207" fmla="*/ 1550194 h 4575969"/>
                  <a:gd name="connsiteX208" fmla="*/ 8351043 w 8971757"/>
                  <a:gd name="connsiteY208" fmla="*/ 1476375 h 4575969"/>
                  <a:gd name="connsiteX209" fmla="*/ 8170069 w 8971757"/>
                  <a:gd name="connsiteY209" fmla="*/ 1476374 h 4575969"/>
                  <a:gd name="connsiteX210" fmla="*/ 8117681 w 8971757"/>
                  <a:gd name="connsiteY210" fmla="*/ 1514475 h 4575969"/>
                  <a:gd name="connsiteX211" fmla="*/ 8067675 w 8971757"/>
                  <a:gd name="connsiteY211" fmla="*/ 1593056 h 4575969"/>
                  <a:gd name="connsiteX212" fmla="*/ 8084344 w 8971757"/>
                  <a:gd name="connsiteY212" fmla="*/ 1614487 h 4575969"/>
                  <a:gd name="connsiteX213" fmla="*/ 8039100 w 8971757"/>
                  <a:gd name="connsiteY213" fmla="*/ 1664493 h 4575969"/>
                  <a:gd name="connsiteX214" fmla="*/ 7889081 w 8971757"/>
                  <a:gd name="connsiteY214" fmla="*/ 1588293 h 4575969"/>
                  <a:gd name="connsiteX215" fmla="*/ 7798594 w 8971757"/>
                  <a:gd name="connsiteY215" fmla="*/ 1624012 h 4575969"/>
                  <a:gd name="connsiteX216" fmla="*/ 7724775 w 8971757"/>
                  <a:gd name="connsiteY216" fmla="*/ 1621631 h 4575969"/>
                  <a:gd name="connsiteX217" fmla="*/ 7667625 w 8971757"/>
                  <a:gd name="connsiteY217" fmla="*/ 1716881 h 4575969"/>
                  <a:gd name="connsiteX218" fmla="*/ 7529513 w 8971757"/>
                  <a:gd name="connsiteY21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3986213 w 8971757"/>
                  <a:gd name="connsiteY65" fmla="*/ 550069 h 4575969"/>
                  <a:gd name="connsiteX66" fmla="*/ 8412956 w 8971757"/>
                  <a:gd name="connsiteY66" fmla="*/ 23812 h 4575969"/>
                  <a:gd name="connsiteX67" fmla="*/ 8949531 w 8971757"/>
                  <a:gd name="connsiteY67" fmla="*/ 0 h 4575969"/>
                  <a:gd name="connsiteX68" fmla="*/ 8971757 w 8971757"/>
                  <a:gd name="connsiteY68" fmla="*/ 4575969 h 4575969"/>
                  <a:gd name="connsiteX69" fmla="*/ 2381 w 8971757"/>
                  <a:gd name="connsiteY69" fmla="*/ 4547392 h 4575969"/>
                  <a:gd name="connsiteX70" fmla="*/ 0 w 8971757"/>
                  <a:gd name="connsiteY70" fmla="*/ 845344 h 4575969"/>
                  <a:gd name="connsiteX71" fmla="*/ 76200 w 8971757"/>
                  <a:gd name="connsiteY71" fmla="*/ 828675 h 4575969"/>
                  <a:gd name="connsiteX72" fmla="*/ 119063 w 8971757"/>
                  <a:gd name="connsiteY72" fmla="*/ 857250 h 4575969"/>
                  <a:gd name="connsiteX73" fmla="*/ 215900 w 8971757"/>
                  <a:gd name="connsiteY73" fmla="*/ 848519 h 4575969"/>
                  <a:gd name="connsiteX74" fmla="*/ 261938 w 8971757"/>
                  <a:gd name="connsiteY74" fmla="*/ 876299 h 4575969"/>
                  <a:gd name="connsiteX75" fmla="*/ 228600 w 8971757"/>
                  <a:gd name="connsiteY75" fmla="*/ 904875 h 4575969"/>
                  <a:gd name="connsiteX76" fmla="*/ 233363 w 8971757"/>
                  <a:gd name="connsiteY76" fmla="*/ 947737 h 4575969"/>
                  <a:gd name="connsiteX77" fmla="*/ 200025 w 8971757"/>
                  <a:gd name="connsiteY77" fmla="*/ 952500 h 4575969"/>
                  <a:gd name="connsiteX78" fmla="*/ 204788 w 8971757"/>
                  <a:gd name="connsiteY78" fmla="*/ 976312 h 4575969"/>
                  <a:gd name="connsiteX79" fmla="*/ 261937 w 8971757"/>
                  <a:gd name="connsiteY79" fmla="*/ 1050131 h 4575969"/>
                  <a:gd name="connsiteX80" fmla="*/ 223838 w 8971757"/>
                  <a:gd name="connsiteY80" fmla="*/ 1097756 h 4575969"/>
                  <a:gd name="connsiteX81" fmla="*/ 278606 w 8971757"/>
                  <a:gd name="connsiteY81" fmla="*/ 1133475 h 4575969"/>
                  <a:gd name="connsiteX82" fmla="*/ 369094 w 8971757"/>
                  <a:gd name="connsiteY82" fmla="*/ 1221581 h 4575969"/>
                  <a:gd name="connsiteX83" fmla="*/ 371475 w 8971757"/>
                  <a:gd name="connsiteY83" fmla="*/ 1281112 h 4575969"/>
                  <a:gd name="connsiteX84" fmla="*/ 507206 w 8971757"/>
                  <a:gd name="connsiteY84" fmla="*/ 1414463 h 4575969"/>
                  <a:gd name="connsiteX85" fmla="*/ 561975 w 8971757"/>
                  <a:gd name="connsiteY85" fmla="*/ 1390650 h 4575969"/>
                  <a:gd name="connsiteX86" fmla="*/ 600075 w 8971757"/>
                  <a:gd name="connsiteY86" fmla="*/ 1416843 h 4575969"/>
                  <a:gd name="connsiteX87" fmla="*/ 614363 w 8971757"/>
                  <a:gd name="connsiteY87" fmla="*/ 1466849 h 4575969"/>
                  <a:gd name="connsiteX88" fmla="*/ 657225 w 8971757"/>
                  <a:gd name="connsiteY88" fmla="*/ 1502569 h 4575969"/>
                  <a:gd name="connsiteX89" fmla="*/ 697706 w 8971757"/>
                  <a:gd name="connsiteY89" fmla="*/ 1490662 h 4575969"/>
                  <a:gd name="connsiteX90" fmla="*/ 716756 w 8971757"/>
                  <a:gd name="connsiteY90" fmla="*/ 1547812 h 4575969"/>
                  <a:gd name="connsiteX91" fmla="*/ 764381 w 8971757"/>
                  <a:gd name="connsiteY91" fmla="*/ 1590675 h 4575969"/>
                  <a:gd name="connsiteX92" fmla="*/ 788194 w 8971757"/>
                  <a:gd name="connsiteY92" fmla="*/ 1693069 h 4575969"/>
                  <a:gd name="connsiteX93" fmla="*/ 785813 w 8971757"/>
                  <a:gd name="connsiteY93" fmla="*/ 1740694 h 4575969"/>
                  <a:gd name="connsiteX94" fmla="*/ 821531 w 8971757"/>
                  <a:gd name="connsiteY94" fmla="*/ 1840706 h 4575969"/>
                  <a:gd name="connsiteX95" fmla="*/ 866775 w 8971757"/>
                  <a:gd name="connsiteY95" fmla="*/ 1897856 h 4575969"/>
                  <a:gd name="connsiteX96" fmla="*/ 883443 w 8971757"/>
                  <a:gd name="connsiteY96" fmla="*/ 2055018 h 4575969"/>
                  <a:gd name="connsiteX97" fmla="*/ 850106 w 8971757"/>
                  <a:gd name="connsiteY97" fmla="*/ 2116931 h 4575969"/>
                  <a:gd name="connsiteX98" fmla="*/ 819150 w 8971757"/>
                  <a:gd name="connsiteY98" fmla="*/ 2193131 h 4575969"/>
                  <a:gd name="connsiteX99" fmla="*/ 833438 w 8971757"/>
                  <a:gd name="connsiteY99" fmla="*/ 2250281 h 4575969"/>
                  <a:gd name="connsiteX100" fmla="*/ 735806 w 8971757"/>
                  <a:gd name="connsiteY100" fmla="*/ 2357438 h 4575969"/>
                  <a:gd name="connsiteX101" fmla="*/ 692944 w 8971757"/>
                  <a:gd name="connsiteY101" fmla="*/ 2471737 h 4575969"/>
                  <a:gd name="connsiteX102" fmla="*/ 726281 w 8971757"/>
                  <a:gd name="connsiteY102" fmla="*/ 2512219 h 4575969"/>
                  <a:gd name="connsiteX103" fmla="*/ 709613 w 8971757"/>
                  <a:gd name="connsiteY103" fmla="*/ 2540794 h 4575969"/>
                  <a:gd name="connsiteX104" fmla="*/ 740569 w 8971757"/>
                  <a:gd name="connsiteY104" fmla="*/ 2597944 h 4575969"/>
                  <a:gd name="connsiteX105" fmla="*/ 769144 w 8971757"/>
                  <a:gd name="connsiteY105" fmla="*/ 2597944 h 4575969"/>
                  <a:gd name="connsiteX106" fmla="*/ 931069 w 8971757"/>
                  <a:gd name="connsiteY106" fmla="*/ 2700337 h 4575969"/>
                  <a:gd name="connsiteX107" fmla="*/ 1035844 w 8971757"/>
                  <a:gd name="connsiteY107" fmla="*/ 2697956 h 4575969"/>
                  <a:gd name="connsiteX108" fmla="*/ 1114425 w 8971757"/>
                  <a:gd name="connsiteY108" fmla="*/ 2752725 h 4575969"/>
                  <a:gd name="connsiteX109" fmla="*/ 1245393 w 8971757"/>
                  <a:gd name="connsiteY109" fmla="*/ 2755106 h 4575969"/>
                  <a:gd name="connsiteX110" fmla="*/ 1435893 w 8971757"/>
                  <a:gd name="connsiteY110" fmla="*/ 2824162 h 4575969"/>
                  <a:gd name="connsiteX111" fmla="*/ 1638300 w 8971757"/>
                  <a:gd name="connsiteY111" fmla="*/ 2974181 h 4575969"/>
                  <a:gd name="connsiteX112" fmla="*/ 1671637 w 8971757"/>
                  <a:gd name="connsiteY112" fmla="*/ 3040856 h 4575969"/>
                  <a:gd name="connsiteX113" fmla="*/ 1838325 w 8971757"/>
                  <a:gd name="connsiteY113" fmla="*/ 3167062 h 4575969"/>
                  <a:gd name="connsiteX114" fmla="*/ 1909763 w 8971757"/>
                  <a:gd name="connsiteY114" fmla="*/ 3162300 h 4575969"/>
                  <a:gd name="connsiteX115" fmla="*/ 1945482 w 8971757"/>
                  <a:gd name="connsiteY115" fmla="*/ 3186112 h 4575969"/>
                  <a:gd name="connsiteX116" fmla="*/ 1916906 w 8971757"/>
                  <a:gd name="connsiteY116" fmla="*/ 3226594 h 4575969"/>
                  <a:gd name="connsiteX117" fmla="*/ 1924050 w 8971757"/>
                  <a:gd name="connsiteY117" fmla="*/ 3278981 h 4575969"/>
                  <a:gd name="connsiteX118" fmla="*/ 1976438 w 8971757"/>
                  <a:gd name="connsiteY118" fmla="*/ 3305175 h 4575969"/>
                  <a:gd name="connsiteX119" fmla="*/ 2038350 w 8971757"/>
                  <a:gd name="connsiteY119" fmla="*/ 3529013 h 4575969"/>
                  <a:gd name="connsiteX120" fmla="*/ 2028825 w 8971757"/>
                  <a:gd name="connsiteY120" fmla="*/ 3593306 h 4575969"/>
                  <a:gd name="connsiteX121" fmla="*/ 2164556 w 8971757"/>
                  <a:gd name="connsiteY121" fmla="*/ 3759994 h 4575969"/>
                  <a:gd name="connsiteX122" fmla="*/ 2183606 w 8971757"/>
                  <a:gd name="connsiteY122" fmla="*/ 3810000 h 4575969"/>
                  <a:gd name="connsiteX123" fmla="*/ 2157413 w 8971757"/>
                  <a:gd name="connsiteY123" fmla="*/ 3829050 h 4575969"/>
                  <a:gd name="connsiteX124" fmla="*/ 2259806 w 8971757"/>
                  <a:gd name="connsiteY124" fmla="*/ 3838575 h 4575969"/>
                  <a:gd name="connsiteX125" fmla="*/ 2371725 w 8971757"/>
                  <a:gd name="connsiteY125" fmla="*/ 3826669 h 4575969"/>
                  <a:gd name="connsiteX126" fmla="*/ 2650331 w 8971757"/>
                  <a:gd name="connsiteY126" fmla="*/ 3910012 h 4575969"/>
                  <a:gd name="connsiteX127" fmla="*/ 3057525 w 8971757"/>
                  <a:gd name="connsiteY127" fmla="*/ 3990975 h 4575969"/>
                  <a:gd name="connsiteX128" fmla="*/ 3255169 w 8971757"/>
                  <a:gd name="connsiteY128" fmla="*/ 3960018 h 4575969"/>
                  <a:gd name="connsiteX129" fmla="*/ 3300413 w 8971757"/>
                  <a:gd name="connsiteY129" fmla="*/ 3971924 h 4575969"/>
                  <a:gd name="connsiteX130" fmla="*/ 3355181 w 8971757"/>
                  <a:gd name="connsiteY130" fmla="*/ 3948113 h 4575969"/>
                  <a:gd name="connsiteX131" fmla="*/ 3748087 w 8971757"/>
                  <a:gd name="connsiteY131" fmla="*/ 4038600 h 4575969"/>
                  <a:gd name="connsiteX132" fmla="*/ 3831432 w 8971757"/>
                  <a:gd name="connsiteY132" fmla="*/ 4136231 h 4575969"/>
                  <a:gd name="connsiteX133" fmla="*/ 3950494 w 8971757"/>
                  <a:gd name="connsiteY133" fmla="*/ 4207669 h 4575969"/>
                  <a:gd name="connsiteX134" fmla="*/ 4010025 w 8971757"/>
                  <a:gd name="connsiteY134" fmla="*/ 4191000 h 4575969"/>
                  <a:gd name="connsiteX135" fmla="*/ 4360068 w 8971757"/>
                  <a:gd name="connsiteY135" fmla="*/ 4364831 h 4575969"/>
                  <a:gd name="connsiteX136" fmla="*/ 4586288 w 8971757"/>
                  <a:gd name="connsiteY136" fmla="*/ 4336256 h 4575969"/>
                  <a:gd name="connsiteX137" fmla="*/ 4595813 w 8971757"/>
                  <a:gd name="connsiteY137" fmla="*/ 4414837 h 4575969"/>
                  <a:gd name="connsiteX138" fmla="*/ 4681538 w 8971757"/>
                  <a:gd name="connsiteY138" fmla="*/ 4410074 h 4575969"/>
                  <a:gd name="connsiteX139" fmla="*/ 4760119 w 8971757"/>
                  <a:gd name="connsiteY139" fmla="*/ 4441031 h 4575969"/>
                  <a:gd name="connsiteX140" fmla="*/ 4802981 w 8971757"/>
                  <a:gd name="connsiteY140" fmla="*/ 4381500 h 4575969"/>
                  <a:gd name="connsiteX141" fmla="*/ 5474494 w 8971757"/>
                  <a:gd name="connsiteY141" fmla="*/ 4062412 h 4575969"/>
                  <a:gd name="connsiteX142" fmla="*/ 5562600 w 8971757"/>
                  <a:gd name="connsiteY142" fmla="*/ 4090988 h 4575969"/>
                  <a:gd name="connsiteX143" fmla="*/ 5693569 w 8971757"/>
                  <a:gd name="connsiteY143" fmla="*/ 4062412 h 4575969"/>
                  <a:gd name="connsiteX144" fmla="*/ 5872162 w 8971757"/>
                  <a:gd name="connsiteY144" fmla="*/ 4079081 h 4575969"/>
                  <a:gd name="connsiteX145" fmla="*/ 5929313 w 8971757"/>
                  <a:gd name="connsiteY145" fmla="*/ 4052888 h 4575969"/>
                  <a:gd name="connsiteX146" fmla="*/ 6062662 w 8971757"/>
                  <a:gd name="connsiteY146" fmla="*/ 4050506 h 4575969"/>
                  <a:gd name="connsiteX147" fmla="*/ 6196012 w 8971757"/>
                  <a:gd name="connsiteY147" fmla="*/ 3952875 h 4575969"/>
                  <a:gd name="connsiteX148" fmla="*/ 6262687 w 8971757"/>
                  <a:gd name="connsiteY148" fmla="*/ 3945731 h 4575969"/>
                  <a:gd name="connsiteX149" fmla="*/ 6360319 w 8971757"/>
                  <a:gd name="connsiteY149" fmla="*/ 3871912 h 4575969"/>
                  <a:gd name="connsiteX150" fmla="*/ 6434138 w 8971757"/>
                  <a:gd name="connsiteY150" fmla="*/ 3802856 h 4575969"/>
                  <a:gd name="connsiteX151" fmla="*/ 6443663 w 8971757"/>
                  <a:gd name="connsiteY151" fmla="*/ 3740944 h 4575969"/>
                  <a:gd name="connsiteX152" fmla="*/ 6477000 w 8971757"/>
                  <a:gd name="connsiteY152" fmla="*/ 3671887 h 4575969"/>
                  <a:gd name="connsiteX153" fmla="*/ 6629400 w 8971757"/>
                  <a:gd name="connsiteY153" fmla="*/ 3564731 h 4575969"/>
                  <a:gd name="connsiteX154" fmla="*/ 6662738 w 8971757"/>
                  <a:gd name="connsiteY154" fmla="*/ 3569494 h 4575969"/>
                  <a:gd name="connsiteX155" fmla="*/ 6715125 w 8971757"/>
                  <a:gd name="connsiteY155" fmla="*/ 3490912 h 4575969"/>
                  <a:gd name="connsiteX156" fmla="*/ 6762750 w 8971757"/>
                  <a:gd name="connsiteY156" fmla="*/ 3452812 h 4575969"/>
                  <a:gd name="connsiteX157" fmla="*/ 6748463 w 8971757"/>
                  <a:gd name="connsiteY157" fmla="*/ 3383756 h 4575969"/>
                  <a:gd name="connsiteX158" fmla="*/ 6698456 w 8971757"/>
                  <a:gd name="connsiteY158" fmla="*/ 3352799 h 4575969"/>
                  <a:gd name="connsiteX159" fmla="*/ 6638925 w 8971757"/>
                  <a:gd name="connsiteY159" fmla="*/ 3298031 h 4575969"/>
                  <a:gd name="connsiteX160" fmla="*/ 6619875 w 8971757"/>
                  <a:gd name="connsiteY160" fmla="*/ 3240881 h 4575969"/>
                  <a:gd name="connsiteX161" fmla="*/ 6584156 w 8971757"/>
                  <a:gd name="connsiteY161" fmla="*/ 3207544 h 4575969"/>
                  <a:gd name="connsiteX162" fmla="*/ 6610350 w 8971757"/>
                  <a:gd name="connsiteY162" fmla="*/ 3155156 h 4575969"/>
                  <a:gd name="connsiteX163" fmla="*/ 6650831 w 8971757"/>
                  <a:gd name="connsiteY163" fmla="*/ 2976562 h 4575969"/>
                  <a:gd name="connsiteX164" fmla="*/ 6691313 w 8971757"/>
                  <a:gd name="connsiteY164" fmla="*/ 2909887 h 4575969"/>
                  <a:gd name="connsiteX165" fmla="*/ 6836569 w 8971757"/>
                  <a:gd name="connsiteY165" fmla="*/ 2893218 h 4575969"/>
                  <a:gd name="connsiteX166" fmla="*/ 6905625 w 8971757"/>
                  <a:gd name="connsiteY166" fmla="*/ 2950369 h 4575969"/>
                  <a:gd name="connsiteX167" fmla="*/ 6981825 w 8971757"/>
                  <a:gd name="connsiteY167" fmla="*/ 2974181 h 4575969"/>
                  <a:gd name="connsiteX168" fmla="*/ 7186612 w 8971757"/>
                  <a:gd name="connsiteY168" fmla="*/ 2978944 h 4575969"/>
                  <a:gd name="connsiteX169" fmla="*/ 7362825 w 8971757"/>
                  <a:gd name="connsiteY169" fmla="*/ 2840831 h 4575969"/>
                  <a:gd name="connsiteX170" fmla="*/ 7419975 w 8971757"/>
                  <a:gd name="connsiteY170" fmla="*/ 2750343 h 4575969"/>
                  <a:gd name="connsiteX171" fmla="*/ 7446169 w 8971757"/>
                  <a:gd name="connsiteY171" fmla="*/ 2667000 h 4575969"/>
                  <a:gd name="connsiteX172" fmla="*/ 7577137 w 8971757"/>
                  <a:gd name="connsiteY172" fmla="*/ 2667000 h 4575969"/>
                  <a:gd name="connsiteX173" fmla="*/ 7750969 w 8971757"/>
                  <a:gd name="connsiteY173" fmla="*/ 2609849 h 4575969"/>
                  <a:gd name="connsiteX174" fmla="*/ 7810500 w 8971757"/>
                  <a:gd name="connsiteY174" fmla="*/ 2497931 h 4575969"/>
                  <a:gd name="connsiteX175" fmla="*/ 7874794 w 8971757"/>
                  <a:gd name="connsiteY175" fmla="*/ 2462212 h 4575969"/>
                  <a:gd name="connsiteX176" fmla="*/ 7853363 w 8971757"/>
                  <a:gd name="connsiteY176" fmla="*/ 2416969 h 4575969"/>
                  <a:gd name="connsiteX177" fmla="*/ 7931944 w 8971757"/>
                  <a:gd name="connsiteY177" fmla="*/ 2247899 h 4575969"/>
                  <a:gd name="connsiteX178" fmla="*/ 7986713 w 8971757"/>
                  <a:gd name="connsiteY178" fmla="*/ 2188369 h 4575969"/>
                  <a:gd name="connsiteX179" fmla="*/ 8024813 w 8971757"/>
                  <a:gd name="connsiteY179" fmla="*/ 2183606 h 4575969"/>
                  <a:gd name="connsiteX180" fmla="*/ 8070056 w 8971757"/>
                  <a:gd name="connsiteY180" fmla="*/ 2188369 h 4575969"/>
                  <a:gd name="connsiteX181" fmla="*/ 8134350 w 8971757"/>
                  <a:gd name="connsiteY181" fmla="*/ 2155031 h 4575969"/>
                  <a:gd name="connsiteX182" fmla="*/ 8143875 w 8971757"/>
                  <a:gd name="connsiteY182" fmla="*/ 2090737 h 4575969"/>
                  <a:gd name="connsiteX183" fmla="*/ 8184355 w 8971757"/>
                  <a:gd name="connsiteY183" fmla="*/ 2055019 h 4575969"/>
                  <a:gd name="connsiteX184" fmla="*/ 8243888 w 8971757"/>
                  <a:gd name="connsiteY184" fmla="*/ 2095499 h 4575969"/>
                  <a:gd name="connsiteX185" fmla="*/ 8270082 w 8971757"/>
                  <a:gd name="connsiteY185" fmla="*/ 2045493 h 4575969"/>
                  <a:gd name="connsiteX186" fmla="*/ 8365331 w 8971757"/>
                  <a:gd name="connsiteY186" fmla="*/ 1976437 h 4575969"/>
                  <a:gd name="connsiteX187" fmla="*/ 8427244 w 8971757"/>
                  <a:gd name="connsiteY187" fmla="*/ 1983581 h 4575969"/>
                  <a:gd name="connsiteX188" fmla="*/ 8477250 w 8971757"/>
                  <a:gd name="connsiteY188" fmla="*/ 1964531 h 4575969"/>
                  <a:gd name="connsiteX189" fmla="*/ 8515350 w 8971757"/>
                  <a:gd name="connsiteY189" fmla="*/ 1935956 h 4575969"/>
                  <a:gd name="connsiteX190" fmla="*/ 8548688 w 8971757"/>
                  <a:gd name="connsiteY190" fmla="*/ 1933575 h 4575969"/>
                  <a:gd name="connsiteX191" fmla="*/ 8584406 w 8971757"/>
                  <a:gd name="connsiteY191" fmla="*/ 1964531 h 4575969"/>
                  <a:gd name="connsiteX192" fmla="*/ 8643938 w 8971757"/>
                  <a:gd name="connsiteY192" fmla="*/ 1964531 h 4575969"/>
                  <a:gd name="connsiteX193" fmla="*/ 8682037 w 8971757"/>
                  <a:gd name="connsiteY193" fmla="*/ 1945481 h 4575969"/>
                  <a:gd name="connsiteX194" fmla="*/ 8765381 w 8971757"/>
                  <a:gd name="connsiteY194" fmla="*/ 1947863 h 4575969"/>
                  <a:gd name="connsiteX195" fmla="*/ 8796338 w 8971757"/>
                  <a:gd name="connsiteY195" fmla="*/ 1902619 h 4575969"/>
                  <a:gd name="connsiteX196" fmla="*/ 8801100 w 8971757"/>
                  <a:gd name="connsiteY196" fmla="*/ 1840706 h 4575969"/>
                  <a:gd name="connsiteX197" fmla="*/ 8751093 w 8971757"/>
                  <a:gd name="connsiteY197" fmla="*/ 1800225 h 4575969"/>
                  <a:gd name="connsiteX198" fmla="*/ 8734425 w 8971757"/>
                  <a:gd name="connsiteY198" fmla="*/ 1745456 h 4575969"/>
                  <a:gd name="connsiteX199" fmla="*/ 8643938 w 8971757"/>
                  <a:gd name="connsiteY199" fmla="*/ 1683544 h 4575969"/>
                  <a:gd name="connsiteX200" fmla="*/ 8603456 w 8971757"/>
                  <a:gd name="connsiteY200" fmla="*/ 1662112 h 4575969"/>
                  <a:gd name="connsiteX201" fmla="*/ 8565356 w 8971757"/>
                  <a:gd name="connsiteY201" fmla="*/ 1616869 h 4575969"/>
                  <a:gd name="connsiteX202" fmla="*/ 8534400 w 8971757"/>
                  <a:gd name="connsiteY202" fmla="*/ 1614487 h 4575969"/>
                  <a:gd name="connsiteX203" fmla="*/ 8517731 w 8971757"/>
                  <a:gd name="connsiteY203" fmla="*/ 1562100 h 4575969"/>
                  <a:gd name="connsiteX204" fmla="*/ 8477250 w 8971757"/>
                  <a:gd name="connsiteY204" fmla="*/ 1545431 h 4575969"/>
                  <a:gd name="connsiteX205" fmla="*/ 8477250 w 8971757"/>
                  <a:gd name="connsiteY205" fmla="*/ 1545431 h 4575969"/>
                  <a:gd name="connsiteX206" fmla="*/ 8436769 w 8971757"/>
                  <a:gd name="connsiteY206" fmla="*/ 1550194 h 4575969"/>
                  <a:gd name="connsiteX207" fmla="*/ 8351043 w 8971757"/>
                  <a:gd name="connsiteY207" fmla="*/ 1476375 h 4575969"/>
                  <a:gd name="connsiteX208" fmla="*/ 8170069 w 8971757"/>
                  <a:gd name="connsiteY208" fmla="*/ 1476374 h 4575969"/>
                  <a:gd name="connsiteX209" fmla="*/ 8117681 w 8971757"/>
                  <a:gd name="connsiteY209" fmla="*/ 1514475 h 4575969"/>
                  <a:gd name="connsiteX210" fmla="*/ 8067675 w 8971757"/>
                  <a:gd name="connsiteY210" fmla="*/ 1593056 h 4575969"/>
                  <a:gd name="connsiteX211" fmla="*/ 8084344 w 8971757"/>
                  <a:gd name="connsiteY211" fmla="*/ 1614487 h 4575969"/>
                  <a:gd name="connsiteX212" fmla="*/ 8039100 w 8971757"/>
                  <a:gd name="connsiteY212" fmla="*/ 1664493 h 4575969"/>
                  <a:gd name="connsiteX213" fmla="*/ 7889081 w 8971757"/>
                  <a:gd name="connsiteY213" fmla="*/ 1588293 h 4575969"/>
                  <a:gd name="connsiteX214" fmla="*/ 7798594 w 8971757"/>
                  <a:gd name="connsiteY214" fmla="*/ 1624012 h 4575969"/>
                  <a:gd name="connsiteX215" fmla="*/ 7724775 w 8971757"/>
                  <a:gd name="connsiteY215" fmla="*/ 1621631 h 4575969"/>
                  <a:gd name="connsiteX216" fmla="*/ 7667625 w 8971757"/>
                  <a:gd name="connsiteY216" fmla="*/ 1716881 h 4575969"/>
                  <a:gd name="connsiteX217" fmla="*/ 7529513 w 8971757"/>
                  <a:gd name="connsiteY21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3990975 w 8971757"/>
                  <a:gd name="connsiteY64" fmla="*/ 611981 h 4575969"/>
                  <a:gd name="connsiteX65" fmla="*/ 8412956 w 8971757"/>
                  <a:gd name="connsiteY65" fmla="*/ 23812 h 4575969"/>
                  <a:gd name="connsiteX66" fmla="*/ 8949531 w 8971757"/>
                  <a:gd name="connsiteY66" fmla="*/ 0 h 4575969"/>
                  <a:gd name="connsiteX67" fmla="*/ 8971757 w 8971757"/>
                  <a:gd name="connsiteY67" fmla="*/ 4575969 h 4575969"/>
                  <a:gd name="connsiteX68" fmla="*/ 2381 w 8971757"/>
                  <a:gd name="connsiteY68" fmla="*/ 4547392 h 4575969"/>
                  <a:gd name="connsiteX69" fmla="*/ 0 w 8971757"/>
                  <a:gd name="connsiteY69" fmla="*/ 845344 h 4575969"/>
                  <a:gd name="connsiteX70" fmla="*/ 76200 w 8971757"/>
                  <a:gd name="connsiteY70" fmla="*/ 828675 h 4575969"/>
                  <a:gd name="connsiteX71" fmla="*/ 119063 w 8971757"/>
                  <a:gd name="connsiteY71" fmla="*/ 857250 h 4575969"/>
                  <a:gd name="connsiteX72" fmla="*/ 215900 w 8971757"/>
                  <a:gd name="connsiteY72" fmla="*/ 848519 h 4575969"/>
                  <a:gd name="connsiteX73" fmla="*/ 261938 w 8971757"/>
                  <a:gd name="connsiteY73" fmla="*/ 876299 h 4575969"/>
                  <a:gd name="connsiteX74" fmla="*/ 228600 w 8971757"/>
                  <a:gd name="connsiteY74" fmla="*/ 904875 h 4575969"/>
                  <a:gd name="connsiteX75" fmla="*/ 233363 w 8971757"/>
                  <a:gd name="connsiteY75" fmla="*/ 947737 h 4575969"/>
                  <a:gd name="connsiteX76" fmla="*/ 200025 w 8971757"/>
                  <a:gd name="connsiteY76" fmla="*/ 952500 h 4575969"/>
                  <a:gd name="connsiteX77" fmla="*/ 204788 w 8971757"/>
                  <a:gd name="connsiteY77" fmla="*/ 976312 h 4575969"/>
                  <a:gd name="connsiteX78" fmla="*/ 261937 w 8971757"/>
                  <a:gd name="connsiteY78" fmla="*/ 1050131 h 4575969"/>
                  <a:gd name="connsiteX79" fmla="*/ 223838 w 8971757"/>
                  <a:gd name="connsiteY79" fmla="*/ 1097756 h 4575969"/>
                  <a:gd name="connsiteX80" fmla="*/ 278606 w 8971757"/>
                  <a:gd name="connsiteY80" fmla="*/ 1133475 h 4575969"/>
                  <a:gd name="connsiteX81" fmla="*/ 369094 w 8971757"/>
                  <a:gd name="connsiteY81" fmla="*/ 1221581 h 4575969"/>
                  <a:gd name="connsiteX82" fmla="*/ 371475 w 8971757"/>
                  <a:gd name="connsiteY82" fmla="*/ 1281112 h 4575969"/>
                  <a:gd name="connsiteX83" fmla="*/ 507206 w 8971757"/>
                  <a:gd name="connsiteY83" fmla="*/ 1414463 h 4575969"/>
                  <a:gd name="connsiteX84" fmla="*/ 561975 w 8971757"/>
                  <a:gd name="connsiteY84" fmla="*/ 1390650 h 4575969"/>
                  <a:gd name="connsiteX85" fmla="*/ 600075 w 8971757"/>
                  <a:gd name="connsiteY85" fmla="*/ 1416843 h 4575969"/>
                  <a:gd name="connsiteX86" fmla="*/ 614363 w 8971757"/>
                  <a:gd name="connsiteY86" fmla="*/ 1466849 h 4575969"/>
                  <a:gd name="connsiteX87" fmla="*/ 657225 w 8971757"/>
                  <a:gd name="connsiteY87" fmla="*/ 1502569 h 4575969"/>
                  <a:gd name="connsiteX88" fmla="*/ 697706 w 8971757"/>
                  <a:gd name="connsiteY88" fmla="*/ 1490662 h 4575969"/>
                  <a:gd name="connsiteX89" fmla="*/ 716756 w 8971757"/>
                  <a:gd name="connsiteY89" fmla="*/ 1547812 h 4575969"/>
                  <a:gd name="connsiteX90" fmla="*/ 764381 w 8971757"/>
                  <a:gd name="connsiteY90" fmla="*/ 1590675 h 4575969"/>
                  <a:gd name="connsiteX91" fmla="*/ 788194 w 8971757"/>
                  <a:gd name="connsiteY91" fmla="*/ 1693069 h 4575969"/>
                  <a:gd name="connsiteX92" fmla="*/ 785813 w 8971757"/>
                  <a:gd name="connsiteY92" fmla="*/ 1740694 h 4575969"/>
                  <a:gd name="connsiteX93" fmla="*/ 821531 w 8971757"/>
                  <a:gd name="connsiteY93" fmla="*/ 1840706 h 4575969"/>
                  <a:gd name="connsiteX94" fmla="*/ 866775 w 8971757"/>
                  <a:gd name="connsiteY94" fmla="*/ 1897856 h 4575969"/>
                  <a:gd name="connsiteX95" fmla="*/ 883443 w 8971757"/>
                  <a:gd name="connsiteY95" fmla="*/ 2055018 h 4575969"/>
                  <a:gd name="connsiteX96" fmla="*/ 850106 w 8971757"/>
                  <a:gd name="connsiteY96" fmla="*/ 2116931 h 4575969"/>
                  <a:gd name="connsiteX97" fmla="*/ 819150 w 8971757"/>
                  <a:gd name="connsiteY97" fmla="*/ 2193131 h 4575969"/>
                  <a:gd name="connsiteX98" fmla="*/ 833438 w 8971757"/>
                  <a:gd name="connsiteY98" fmla="*/ 2250281 h 4575969"/>
                  <a:gd name="connsiteX99" fmla="*/ 735806 w 8971757"/>
                  <a:gd name="connsiteY99" fmla="*/ 2357438 h 4575969"/>
                  <a:gd name="connsiteX100" fmla="*/ 692944 w 8971757"/>
                  <a:gd name="connsiteY100" fmla="*/ 2471737 h 4575969"/>
                  <a:gd name="connsiteX101" fmla="*/ 726281 w 8971757"/>
                  <a:gd name="connsiteY101" fmla="*/ 2512219 h 4575969"/>
                  <a:gd name="connsiteX102" fmla="*/ 709613 w 8971757"/>
                  <a:gd name="connsiteY102" fmla="*/ 2540794 h 4575969"/>
                  <a:gd name="connsiteX103" fmla="*/ 740569 w 8971757"/>
                  <a:gd name="connsiteY103" fmla="*/ 2597944 h 4575969"/>
                  <a:gd name="connsiteX104" fmla="*/ 769144 w 8971757"/>
                  <a:gd name="connsiteY104" fmla="*/ 2597944 h 4575969"/>
                  <a:gd name="connsiteX105" fmla="*/ 931069 w 8971757"/>
                  <a:gd name="connsiteY105" fmla="*/ 2700337 h 4575969"/>
                  <a:gd name="connsiteX106" fmla="*/ 1035844 w 8971757"/>
                  <a:gd name="connsiteY106" fmla="*/ 2697956 h 4575969"/>
                  <a:gd name="connsiteX107" fmla="*/ 1114425 w 8971757"/>
                  <a:gd name="connsiteY107" fmla="*/ 2752725 h 4575969"/>
                  <a:gd name="connsiteX108" fmla="*/ 1245393 w 8971757"/>
                  <a:gd name="connsiteY108" fmla="*/ 2755106 h 4575969"/>
                  <a:gd name="connsiteX109" fmla="*/ 1435893 w 8971757"/>
                  <a:gd name="connsiteY109" fmla="*/ 2824162 h 4575969"/>
                  <a:gd name="connsiteX110" fmla="*/ 1638300 w 8971757"/>
                  <a:gd name="connsiteY110" fmla="*/ 2974181 h 4575969"/>
                  <a:gd name="connsiteX111" fmla="*/ 1671637 w 8971757"/>
                  <a:gd name="connsiteY111" fmla="*/ 3040856 h 4575969"/>
                  <a:gd name="connsiteX112" fmla="*/ 1838325 w 8971757"/>
                  <a:gd name="connsiteY112" fmla="*/ 3167062 h 4575969"/>
                  <a:gd name="connsiteX113" fmla="*/ 1909763 w 8971757"/>
                  <a:gd name="connsiteY113" fmla="*/ 3162300 h 4575969"/>
                  <a:gd name="connsiteX114" fmla="*/ 1945482 w 8971757"/>
                  <a:gd name="connsiteY114" fmla="*/ 3186112 h 4575969"/>
                  <a:gd name="connsiteX115" fmla="*/ 1916906 w 8971757"/>
                  <a:gd name="connsiteY115" fmla="*/ 3226594 h 4575969"/>
                  <a:gd name="connsiteX116" fmla="*/ 1924050 w 8971757"/>
                  <a:gd name="connsiteY116" fmla="*/ 3278981 h 4575969"/>
                  <a:gd name="connsiteX117" fmla="*/ 1976438 w 8971757"/>
                  <a:gd name="connsiteY117" fmla="*/ 3305175 h 4575969"/>
                  <a:gd name="connsiteX118" fmla="*/ 2038350 w 8971757"/>
                  <a:gd name="connsiteY118" fmla="*/ 3529013 h 4575969"/>
                  <a:gd name="connsiteX119" fmla="*/ 2028825 w 8971757"/>
                  <a:gd name="connsiteY119" fmla="*/ 3593306 h 4575969"/>
                  <a:gd name="connsiteX120" fmla="*/ 2164556 w 8971757"/>
                  <a:gd name="connsiteY120" fmla="*/ 3759994 h 4575969"/>
                  <a:gd name="connsiteX121" fmla="*/ 2183606 w 8971757"/>
                  <a:gd name="connsiteY121" fmla="*/ 3810000 h 4575969"/>
                  <a:gd name="connsiteX122" fmla="*/ 2157413 w 8971757"/>
                  <a:gd name="connsiteY122" fmla="*/ 3829050 h 4575969"/>
                  <a:gd name="connsiteX123" fmla="*/ 2259806 w 8971757"/>
                  <a:gd name="connsiteY123" fmla="*/ 3838575 h 4575969"/>
                  <a:gd name="connsiteX124" fmla="*/ 2371725 w 8971757"/>
                  <a:gd name="connsiteY124" fmla="*/ 3826669 h 4575969"/>
                  <a:gd name="connsiteX125" fmla="*/ 2650331 w 8971757"/>
                  <a:gd name="connsiteY125" fmla="*/ 3910012 h 4575969"/>
                  <a:gd name="connsiteX126" fmla="*/ 3057525 w 8971757"/>
                  <a:gd name="connsiteY126" fmla="*/ 3990975 h 4575969"/>
                  <a:gd name="connsiteX127" fmla="*/ 3255169 w 8971757"/>
                  <a:gd name="connsiteY127" fmla="*/ 3960018 h 4575969"/>
                  <a:gd name="connsiteX128" fmla="*/ 3300413 w 8971757"/>
                  <a:gd name="connsiteY128" fmla="*/ 3971924 h 4575969"/>
                  <a:gd name="connsiteX129" fmla="*/ 3355181 w 8971757"/>
                  <a:gd name="connsiteY129" fmla="*/ 3948113 h 4575969"/>
                  <a:gd name="connsiteX130" fmla="*/ 3748087 w 8971757"/>
                  <a:gd name="connsiteY130" fmla="*/ 4038600 h 4575969"/>
                  <a:gd name="connsiteX131" fmla="*/ 3831432 w 8971757"/>
                  <a:gd name="connsiteY131" fmla="*/ 4136231 h 4575969"/>
                  <a:gd name="connsiteX132" fmla="*/ 3950494 w 8971757"/>
                  <a:gd name="connsiteY132" fmla="*/ 4207669 h 4575969"/>
                  <a:gd name="connsiteX133" fmla="*/ 4010025 w 8971757"/>
                  <a:gd name="connsiteY133" fmla="*/ 4191000 h 4575969"/>
                  <a:gd name="connsiteX134" fmla="*/ 4360068 w 8971757"/>
                  <a:gd name="connsiteY134" fmla="*/ 4364831 h 4575969"/>
                  <a:gd name="connsiteX135" fmla="*/ 4586288 w 8971757"/>
                  <a:gd name="connsiteY135" fmla="*/ 4336256 h 4575969"/>
                  <a:gd name="connsiteX136" fmla="*/ 4595813 w 8971757"/>
                  <a:gd name="connsiteY136" fmla="*/ 4414837 h 4575969"/>
                  <a:gd name="connsiteX137" fmla="*/ 4681538 w 8971757"/>
                  <a:gd name="connsiteY137" fmla="*/ 4410074 h 4575969"/>
                  <a:gd name="connsiteX138" fmla="*/ 4760119 w 8971757"/>
                  <a:gd name="connsiteY138" fmla="*/ 4441031 h 4575969"/>
                  <a:gd name="connsiteX139" fmla="*/ 4802981 w 8971757"/>
                  <a:gd name="connsiteY139" fmla="*/ 4381500 h 4575969"/>
                  <a:gd name="connsiteX140" fmla="*/ 5474494 w 8971757"/>
                  <a:gd name="connsiteY140" fmla="*/ 4062412 h 4575969"/>
                  <a:gd name="connsiteX141" fmla="*/ 5562600 w 8971757"/>
                  <a:gd name="connsiteY141" fmla="*/ 4090988 h 4575969"/>
                  <a:gd name="connsiteX142" fmla="*/ 5693569 w 8971757"/>
                  <a:gd name="connsiteY142" fmla="*/ 4062412 h 4575969"/>
                  <a:gd name="connsiteX143" fmla="*/ 5872162 w 8971757"/>
                  <a:gd name="connsiteY143" fmla="*/ 4079081 h 4575969"/>
                  <a:gd name="connsiteX144" fmla="*/ 5929313 w 8971757"/>
                  <a:gd name="connsiteY144" fmla="*/ 4052888 h 4575969"/>
                  <a:gd name="connsiteX145" fmla="*/ 6062662 w 8971757"/>
                  <a:gd name="connsiteY145" fmla="*/ 4050506 h 4575969"/>
                  <a:gd name="connsiteX146" fmla="*/ 6196012 w 8971757"/>
                  <a:gd name="connsiteY146" fmla="*/ 3952875 h 4575969"/>
                  <a:gd name="connsiteX147" fmla="*/ 6262687 w 8971757"/>
                  <a:gd name="connsiteY147" fmla="*/ 3945731 h 4575969"/>
                  <a:gd name="connsiteX148" fmla="*/ 6360319 w 8971757"/>
                  <a:gd name="connsiteY148" fmla="*/ 3871912 h 4575969"/>
                  <a:gd name="connsiteX149" fmla="*/ 6434138 w 8971757"/>
                  <a:gd name="connsiteY149" fmla="*/ 3802856 h 4575969"/>
                  <a:gd name="connsiteX150" fmla="*/ 6443663 w 8971757"/>
                  <a:gd name="connsiteY150" fmla="*/ 3740944 h 4575969"/>
                  <a:gd name="connsiteX151" fmla="*/ 6477000 w 8971757"/>
                  <a:gd name="connsiteY151" fmla="*/ 3671887 h 4575969"/>
                  <a:gd name="connsiteX152" fmla="*/ 6629400 w 8971757"/>
                  <a:gd name="connsiteY152" fmla="*/ 3564731 h 4575969"/>
                  <a:gd name="connsiteX153" fmla="*/ 6662738 w 8971757"/>
                  <a:gd name="connsiteY153" fmla="*/ 3569494 h 4575969"/>
                  <a:gd name="connsiteX154" fmla="*/ 6715125 w 8971757"/>
                  <a:gd name="connsiteY154" fmla="*/ 3490912 h 4575969"/>
                  <a:gd name="connsiteX155" fmla="*/ 6762750 w 8971757"/>
                  <a:gd name="connsiteY155" fmla="*/ 3452812 h 4575969"/>
                  <a:gd name="connsiteX156" fmla="*/ 6748463 w 8971757"/>
                  <a:gd name="connsiteY156" fmla="*/ 3383756 h 4575969"/>
                  <a:gd name="connsiteX157" fmla="*/ 6698456 w 8971757"/>
                  <a:gd name="connsiteY157" fmla="*/ 3352799 h 4575969"/>
                  <a:gd name="connsiteX158" fmla="*/ 6638925 w 8971757"/>
                  <a:gd name="connsiteY158" fmla="*/ 3298031 h 4575969"/>
                  <a:gd name="connsiteX159" fmla="*/ 6619875 w 8971757"/>
                  <a:gd name="connsiteY159" fmla="*/ 3240881 h 4575969"/>
                  <a:gd name="connsiteX160" fmla="*/ 6584156 w 8971757"/>
                  <a:gd name="connsiteY160" fmla="*/ 3207544 h 4575969"/>
                  <a:gd name="connsiteX161" fmla="*/ 6610350 w 8971757"/>
                  <a:gd name="connsiteY161" fmla="*/ 3155156 h 4575969"/>
                  <a:gd name="connsiteX162" fmla="*/ 6650831 w 8971757"/>
                  <a:gd name="connsiteY162" fmla="*/ 2976562 h 4575969"/>
                  <a:gd name="connsiteX163" fmla="*/ 6691313 w 8971757"/>
                  <a:gd name="connsiteY163" fmla="*/ 2909887 h 4575969"/>
                  <a:gd name="connsiteX164" fmla="*/ 6836569 w 8971757"/>
                  <a:gd name="connsiteY164" fmla="*/ 2893218 h 4575969"/>
                  <a:gd name="connsiteX165" fmla="*/ 6905625 w 8971757"/>
                  <a:gd name="connsiteY165" fmla="*/ 2950369 h 4575969"/>
                  <a:gd name="connsiteX166" fmla="*/ 6981825 w 8971757"/>
                  <a:gd name="connsiteY166" fmla="*/ 2974181 h 4575969"/>
                  <a:gd name="connsiteX167" fmla="*/ 7186612 w 8971757"/>
                  <a:gd name="connsiteY167" fmla="*/ 2978944 h 4575969"/>
                  <a:gd name="connsiteX168" fmla="*/ 7362825 w 8971757"/>
                  <a:gd name="connsiteY168" fmla="*/ 2840831 h 4575969"/>
                  <a:gd name="connsiteX169" fmla="*/ 7419975 w 8971757"/>
                  <a:gd name="connsiteY169" fmla="*/ 2750343 h 4575969"/>
                  <a:gd name="connsiteX170" fmla="*/ 7446169 w 8971757"/>
                  <a:gd name="connsiteY170" fmla="*/ 2667000 h 4575969"/>
                  <a:gd name="connsiteX171" fmla="*/ 7577137 w 8971757"/>
                  <a:gd name="connsiteY171" fmla="*/ 2667000 h 4575969"/>
                  <a:gd name="connsiteX172" fmla="*/ 7750969 w 8971757"/>
                  <a:gd name="connsiteY172" fmla="*/ 2609849 h 4575969"/>
                  <a:gd name="connsiteX173" fmla="*/ 7810500 w 8971757"/>
                  <a:gd name="connsiteY173" fmla="*/ 2497931 h 4575969"/>
                  <a:gd name="connsiteX174" fmla="*/ 7874794 w 8971757"/>
                  <a:gd name="connsiteY174" fmla="*/ 2462212 h 4575969"/>
                  <a:gd name="connsiteX175" fmla="*/ 7853363 w 8971757"/>
                  <a:gd name="connsiteY175" fmla="*/ 2416969 h 4575969"/>
                  <a:gd name="connsiteX176" fmla="*/ 7931944 w 8971757"/>
                  <a:gd name="connsiteY176" fmla="*/ 2247899 h 4575969"/>
                  <a:gd name="connsiteX177" fmla="*/ 7986713 w 8971757"/>
                  <a:gd name="connsiteY177" fmla="*/ 2188369 h 4575969"/>
                  <a:gd name="connsiteX178" fmla="*/ 8024813 w 8971757"/>
                  <a:gd name="connsiteY178" fmla="*/ 2183606 h 4575969"/>
                  <a:gd name="connsiteX179" fmla="*/ 8070056 w 8971757"/>
                  <a:gd name="connsiteY179" fmla="*/ 2188369 h 4575969"/>
                  <a:gd name="connsiteX180" fmla="*/ 8134350 w 8971757"/>
                  <a:gd name="connsiteY180" fmla="*/ 2155031 h 4575969"/>
                  <a:gd name="connsiteX181" fmla="*/ 8143875 w 8971757"/>
                  <a:gd name="connsiteY181" fmla="*/ 2090737 h 4575969"/>
                  <a:gd name="connsiteX182" fmla="*/ 8184355 w 8971757"/>
                  <a:gd name="connsiteY182" fmla="*/ 2055019 h 4575969"/>
                  <a:gd name="connsiteX183" fmla="*/ 8243888 w 8971757"/>
                  <a:gd name="connsiteY183" fmla="*/ 2095499 h 4575969"/>
                  <a:gd name="connsiteX184" fmla="*/ 8270082 w 8971757"/>
                  <a:gd name="connsiteY184" fmla="*/ 2045493 h 4575969"/>
                  <a:gd name="connsiteX185" fmla="*/ 8365331 w 8971757"/>
                  <a:gd name="connsiteY185" fmla="*/ 1976437 h 4575969"/>
                  <a:gd name="connsiteX186" fmla="*/ 8427244 w 8971757"/>
                  <a:gd name="connsiteY186" fmla="*/ 1983581 h 4575969"/>
                  <a:gd name="connsiteX187" fmla="*/ 8477250 w 8971757"/>
                  <a:gd name="connsiteY187" fmla="*/ 1964531 h 4575969"/>
                  <a:gd name="connsiteX188" fmla="*/ 8515350 w 8971757"/>
                  <a:gd name="connsiteY188" fmla="*/ 1935956 h 4575969"/>
                  <a:gd name="connsiteX189" fmla="*/ 8548688 w 8971757"/>
                  <a:gd name="connsiteY189" fmla="*/ 1933575 h 4575969"/>
                  <a:gd name="connsiteX190" fmla="*/ 8584406 w 8971757"/>
                  <a:gd name="connsiteY190" fmla="*/ 1964531 h 4575969"/>
                  <a:gd name="connsiteX191" fmla="*/ 8643938 w 8971757"/>
                  <a:gd name="connsiteY191" fmla="*/ 1964531 h 4575969"/>
                  <a:gd name="connsiteX192" fmla="*/ 8682037 w 8971757"/>
                  <a:gd name="connsiteY192" fmla="*/ 1945481 h 4575969"/>
                  <a:gd name="connsiteX193" fmla="*/ 8765381 w 8971757"/>
                  <a:gd name="connsiteY193" fmla="*/ 1947863 h 4575969"/>
                  <a:gd name="connsiteX194" fmla="*/ 8796338 w 8971757"/>
                  <a:gd name="connsiteY194" fmla="*/ 1902619 h 4575969"/>
                  <a:gd name="connsiteX195" fmla="*/ 8801100 w 8971757"/>
                  <a:gd name="connsiteY195" fmla="*/ 1840706 h 4575969"/>
                  <a:gd name="connsiteX196" fmla="*/ 8751093 w 8971757"/>
                  <a:gd name="connsiteY196" fmla="*/ 1800225 h 4575969"/>
                  <a:gd name="connsiteX197" fmla="*/ 8734425 w 8971757"/>
                  <a:gd name="connsiteY197" fmla="*/ 1745456 h 4575969"/>
                  <a:gd name="connsiteX198" fmla="*/ 8643938 w 8971757"/>
                  <a:gd name="connsiteY198" fmla="*/ 1683544 h 4575969"/>
                  <a:gd name="connsiteX199" fmla="*/ 8603456 w 8971757"/>
                  <a:gd name="connsiteY199" fmla="*/ 1662112 h 4575969"/>
                  <a:gd name="connsiteX200" fmla="*/ 8565356 w 8971757"/>
                  <a:gd name="connsiteY200" fmla="*/ 1616869 h 4575969"/>
                  <a:gd name="connsiteX201" fmla="*/ 8534400 w 8971757"/>
                  <a:gd name="connsiteY201" fmla="*/ 1614487 h 4575969"/>
                  <a:gd name="connsiteX202" fmla="*/ 8517731 w 8971757"/>
                  <a:gd name="connsiteY202" fmla="*/ 1562100 h 4575969"/>
                  <a:gd name="connsiteX203" fmla="*/ 8477250 w 8971757"/>
                  <a:gd name="connsiteY203" fmla="*/ 1545431 h 4575969"/>
                  <a:gd name="connsiteX204" fmla="*/ 8477250 w 8971757"/>
                  <a:gd name="connsiteY204" fmla="*/ 1545431 h 4575969"/>
                  <a:gd name="connsiteX205" fmla="*/ 8436769 w 8971757"/>
                  <a:gd name="connsiteY205" fmla="*/ 1550194 h 4575969"/>
                  <a:gd name="connsiteX206" fmla="*/ 8351043 w 8971757"/>
                  <a:gd name="connsiteY206" fmla="*/ 1476375 h 4575969"/>
                  <a:gd name="connsiteX207" fmla="*/ 8170069 w 8971757"/>
                  <a:gd name="connsiteY207" fmla="*/ 1476374 h 4575969"/>
                  <a:gd name="connsiteX208" fmla="*/ 8117681 w 8971757"/>
                  <a:gd name="connsiteY208" fmla="*/ 1514475 h 4575969"/>
                  <a:gd name="connsiteX209" fmla="*/ 8067675 w 8971757"/>
                  <a:gd name="connsiteY209" fmla="*/ 1593056 h 4575969"/>
                  <a:gd name="connsiteX210" fmla="*/ 8084344 w 8971757"/>
                  <a:gd name="connsiteY210" fmla="*/ 1614487 h 4575969"/>
                  <a:gd name="connsiteX211" fmla="*/ 8039100 w 8971757"/>
                  <a:gd name="connsiteY211" fmla="*/ 1664493 h 4575969"/>
                  <a:gd name="connsiteX212" fmla="*/ 7889081 w 8971757"/>
                  <a:gd name="connsiteY212" fmla="*/ 1588293 h 4575969"/>
                  <a:gd name="connsiteX213" fmla="*/ 7798594 w 8971757"/>
                  <a:gd name="connsiteY213" fmla="*/ 1624012 h 4575969"/>
                  <a:gd name="connsiteX214" fmla="*/ 7724775 w 8971757"/>
                  <a:gd name="connsiteY214" fmla="*/ 1621631 h 4575969"/>
                  <a:gd name="connsiteX215" fmla="*/ 7667625 w 8971757"/>
                  <a:gd name="connsiteY215" fmla="*/ 1716881 h 4575969"/>
                  <a:gd name="connsiteX216" fmla="*/ 7529513 w 8971757"/>
                  <a:gd name="connsiteY21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4017169 w 8971757"/>
                  <a:gd name="connsiteY63" fmla="*/ 654844 h 4575969"/>
                  <a:gd name="connsiteX64" fmla="*/ 8412956 w 8971757"/>
                  <a:gd name="connsiteY64" fmla="*/ 23812 h 4575969"/>
                  <a:gd name="connsiteX65" fmla="*/ 8949531 w 8971757"/>
                  <a:gd name="connsiteY65" fmla="*/ 0 h 4575969"/>
                  <a:gd name="connsiteX66" fmla="*/ 8971757 w 8971757"/>
                  <a:gd name="connsiteY66" fmla="*/ 4575969 h 4575969"/>
                  <a:gd name="connsiteX67" fmla="*/ 2381 w 8971757"/>
                  <a:gd name="connsiteY67" fmla="*/ 4547392 h 4575969"/>
                  <a:gd name="connsiteX68" fmla="*/ 0 w 8971757"/>
                  <a:gd name="connsiteY68" fmla="*/ 845344 h 4575969"/>
                  <a:gd name="connsiteX69" fmla="*/ 76200 w 8971757"/>
                  <a:gd name="connsiteY69" fmla="*/ 828675 h 4575969"/>
                  <a:gd name="connsiteX70" fmla="*/ 119063 w 8971757"/>
                  <a:gd name="connsiteY70" fmla="*/ 857250 h 4575969"/>
                  <a:gd name="connsiteX71" fmla="*/ 215900 w 8971757"/>
                  <a:gd name="connsiteY71" fmla="*/ 848519 h 4575969"/>
                  <a:gd name="connsiteX72" fmla="*/ 261938 w 8971757"/>
                  <a:gd name="connsiteY72" fmla="*/ 876299 h 4575969"/>
                  <a:gd name="connsiteX73" fmla="*/ 228600 w 8971757"/>
                  <a:gd name="connsiteY73" fmla="*/ 904875 h 4575969"/>
                  <a:gd name="connsiteX74" fmla="*/ 233363 w 8971757"/>
                  <a:gd name="connsiteY74" fmla="*/ 947737 h 4575969"/>
                  <a:gd name="connsiteX75" fmla="*/ 200025 w 8971757"/>
                  <a:gd name="connsiteY75" fmla="*/ 952500 h 4575969"/>
                  <a:gd name="connsiteX76" fmla="*/ 204788 w 8971757"/>
                  <a:gd name="connsiteY76" fmla="*/ 976312 h 4575969"/>
                  <a:gd name="connsiteX77" fmla="*/ 261937 w 8971757"/>
                  <a:gd name="connsiteY77" fmla="*/ 1050131 h 4575969"/>
                  <a:gd name="connsiteX78" fmla="*/ 223838 w 8971757"/>
                  <a:gd name="connsiteY78" fmla="*/ 1097756 h 4575969"/>
                  <a:gd name="connsiteX79" fmla="*/ 278606 w 8971757"/>
                  <a:gd name="connsiteY79" fmla="*/ 1133475 h 4575969"/>
                  <a:gd name="connsiteX80" fmla="*/ 369094 w 8971757"/>
                  <a:gd name="connsiteY80" fmla="*/ 1221581 h 4575969"/>
                  <a:gd name="connsiteX81" fmla="*/ 371475 w 8971757"/>
                  <a:gd name="connsiteY81" fmla="*/ 1281112 h 4575969"/>
                  <a:gd name="connsiteX82" fmla="*/ 507206 w 8971757"/>
                  <a:gd name="connsiteY82" fmla="*/ 1414463 h 4575969"/>
                  <a:gd name="connsiteX83" fmla="*/ 561975 w 8971757"/>
                  <a:gd name="connsiteY83" fmla="*/ 1390650 h 4575969"/>
                  <a:gd name="connsiteX84" fmla="*/ 600075 w 8971757"/>
                  <a:gd name="connsiteY84" fmla="*/ 1416843 h 4575969"/>
                  <a:gd name="connsiteX85" fmla="*/ 614363 w 8971757"/>
                  <a:gd name="connsiteY85" fmla="*/ 1466849 h 4575969"/>
                  <a:gd name="connsiteX86" fmla="*/ 657225 w 8971757"/>
                  <a:gd name="connsiteY86" fmla="*/ 1502569 h 4575969"/>
                  <a:gd name="connsiteX87" fmla="*/ 697706 w 8971757"/>
                  <a:gd name="connsiteY87" fmla="*/ 1490662 h 4575969"/>
                  <a:gd name="connsiteX88" fmla="*/ 716756 w 8971757"/>
                  <a:gd name="connsiteY88" fmla="*/ 1547812 h 4575969"/>
                  <a:gd name="connsiteX89" fmla="*/ 764381 w 8971757"/>
                  <a:gd name="connsiteY89" fmla="*/ 1590675 h 4575969"/>
                  <a:gd name="connsiteX90" fmla="*/ 788194 w 8971757"/>
                  <a:gd name="connsiteY90" fmla="*/ 1693069 h 4575969"/>
                  <a:gd name="connsiteX91" fmla="*/ 785813 w 8971757"/>
                  <a:gd name="connsiteY91" fmla="*/ 1740694 h 4575969"/>
                  <a:gd name="connsiteX92" fmla="*/ 821531 w 8971757"/>
                  <a:gd name="connsiteY92" fmla="*/ 1840706 h 4575969"/>
                  <a:gd name="connsiteX93" fmla="*/ 866775 w 8971757"/>
                  <a:gd name="connsiteY93" fmla="*/ 1897856 h 4575969"/>
                  <a:gd name="connsiteX94" fmla="*/ 883443 w 8971757"/>
                  <a:gd name="connsiteY94" fmla="*/ 2055018 h 4575969"/>
                  <a:gd name="connsiteX95" fmla="*/ 850106 w 8971757"/>
                  <a:gd name="connsiteY95" fmla="*/ 2116931 h 4575969"/>
                  <a:gd name="connsiteX96" fmla="*/ 819150 w 8971757"/>
                  <a:gd name="connsiteY96" fmla="*/ 2193131 h 4575969"/>
                  <a:gd name="connsiteX97" fmla="*/ 833438 w 8971757"/>
                  <a:gd name="connsiteY97" fmla="*/ 2250281 h 4575969"/>
                  <a:gd name="connsiteX98" fmla="*/ 735806 w 8971757"/>
                  <a:gd name="connsiteY98" fmla="*/ 2357438 h 4575969"/>
                  <a:gd name="connsiteX99" fmla="*/ 692944 w 8971757"/>
                  <a:gd name="connsiteY99" fmla="*/ 2471737 h 4575969"/>
                  <a:gd name="connsiteX100" fmla="*/ 726281 w 8971757"/>
                  <a:gd name="connsiteY100" fmla="*/ 2512219 h 4575969"/>
                  <a:gd name="connsiteX101" fmla="*/ 709613 w 8971757"/>
                  <a:gd name="connsiteY101" fmla="*/ 2540794 h 4575969"/>
                  <a:gd name="connsiteX102" fmla="*/ 740569 w 8971757"/>
                  <a:gd name="connsiteY102" fmla="*/ 2597944 h 4575969"/>
                  <a:gd name="connsiteX103" fmla="*/ 769144 w 8971757"/>
                  <a:gd name="connsiteY103" fmla="*/ 2597944 h 4575969"/>
                  <a:gd name="connsiteX104" fmla="*/ 931069 w 8971757"/>
                  <a:gd name="connsiteY104" fmla="*/ 2700337 h 4575969"/>
                  <a:gd name="connsiteX105" fmla="*/ 1035844 w 8971757"/>
                  <a:gd name="connsiteY105" fmla="*/ 2697956 h 4575969"/>
                  <a:gd name="connsiteX106" fmla="*/ 1114425 w 8971757"/>
                  <a:gd name="connsiteY106" fmla="*/ 2752725 h 4575969"/>
                  <a:gd name="connsiteX107" fmla="*/ 1245393 w 8971757"/>
                  <a:gd name="connsiteY107" fmla="*/ 2755106 h 4575969"/>
                  <a:gd name="connsiteX108" fmla="*/ 1435893 w 8971757"/>
                  <a:gd name="connsiteY108" fmla="*/ 2824162 h 4575969"/>
                  <a:gd name="connsiteX109" fmla="*/ 1638300 w 8971757"/>
                  <a:gd name="connsiteY109" fmla="*/ 2974181 h 4575969"/>
                  <a:gd name="connsiteX110" fmla="*/ 1671637 w 8971757"/>
                  <a:gd name="connsiteY110" fmla="*/ 3040856 h 4575969"/>
                  <a:gd name="connsiteX111" fmla="*/ 1838325 w 8971757"/>
                  <a:gd name="connsiteY111" fmla="*/ 3167062 h 4575969"/>
                  <a:gd name="connsiteX112" fmla="*/ 1909763 w 8971757"/>
                  <a:gd name="connsiteY112" fmla="*/ 3162300 h 4575969"/>
                  <a:gd name="connsiteX113" fmla="*/ 1945482 w 8971757"/>
                  <a:gd name="connsiteY113" fmla="*/ 3186112 h 4575969"/>
                  <a:gd name="connsiteX114" fmla="*/ 1916906 w 8971757"/>
                  <a:gd name="connsiteY114" fmla="*/ 3226594 h 4575969"/>
                  <a:gd name="connsiteX115" fmla="*/ 1924050 w 8971757"/>
                  <a:gd name="connsiteY115" fmla="*/ 3278981 h 4575969"/>
                  <a:gd name="connsiteX116" fmla="*/ 1976438 w 8971757"/>
                  <a:gd name="connsiteY116" fmla="*/ 3305175 h 4575969"/>
                  <a:gd name="connsiteX117" fmla="*/ 2038350 w 8971757"/>
                  <a:gd name="connsiteY117" fmla="*/ 3529013 h 4575969"/>
                  <a:gd name="connsiteX118" fmla="*/ 2028825 w 8971757"/>
                  <a:gd name="connsiteY118" fmla="*/ 3593306 h 4575969"/>
                  <a:gd name="connsiteX119" fmla="*/ 2164556 w 8971757"/>
                  <a:gd name="connsiteY119" fmla="*/ 3759994 h 4575969"/>
                  <a:gd name="connsiteX120" fmla="*/ 2183606 w 8971757"/>
                  <a:gd name="connsiteY120" fmla="*/ 3810000 h 4575969"/>
                  <a:gd name="connsiteX121" fmla="*/ 2157413 w 8971757"/>
                  <a:gd name="connsiteY121" fmla="*/ 3829050 h 4575969"/>
                  <a:gd name="connsiteX122" fmla="*/ 2259806 w 8971757"/>
                  <a:gd name="connsiteY122" fmla="*/ 3838575 h 4575969"/>
                  <a:gd name="connsiteX123" fmla="*/ 2371725 w 8971757"/>
                  <a:gd name="connsiteY123" fmla="*/ 3826669 h 4575969"/>
                  <a:gd name="connsiteX124" fmla="*/ 2650331 w 8971757"/>
                  <a:gd name="connsiteY124" fmla="*/ 3910012 h 4575969"/>
                  <a:gd name="connsiteX125" fmla="*/ 3057525 w 8971757"/>
                  <a:gd name="connsiteY125" fmla="*/ 3990975 h 4575969"/>
                  <a:gd name="connsiteX126" fmla="*/ 3255169 w 8971757"/>
                  <a:gd name="connsiteY126" fmla="*/ 3960018 h 4575969"/>
                  <a:gd name="connsiteX127" fmla="*/ 3300413 w 8971757"/>
                  <a:gd name="connsiteY127" fmla="*/ 3971924 h 4575969"/>
                  <a:gd name="connsiteX128" fmla="*/ 3355181 w 8971757"/>
                  <a:gd name="connsiteY128" fmla="*/ 3948113 h 4575969"/>
                  <a:gd name="connsiteX129" fmla="*/ 3748087 w 8971757"/>
                  <a:gd name="connsiteY129" fmla="*/ 4038600 h 4575969"/>
                  <a:gd name="connsiteX130" fmla="*/ 3831432 w 8971757"/>
                  <a:gd name="connsiteY130" fmla="*/ 4136231 h 4575969"/>
                  <a:gd name="connsiteX131" fmla="*/ 3950494 w 8971757"/>
                  <a:gd name="connsiteY131" fmla="*/ 4207669 h 4575969"/>
                  <a:gd name="connsiteX132" fmla="*/ 4010025 w 8971757"/>
                  <a:gd name="connsiteY132" fmla="*/ 4191000 h 4575969"/>
                  <a:gd name="connsiteX133" fmla="*/ 4360068 w 8971757"/>
                  <a:gd name="connsiteY133" fmla="*/ 4364831 h 4575969"/>
                  <a:gd name="connsiteX134" fmla="*/ 4586288 w 8971757"/>
                  <a:gd name="connsiteY134" fmla="*/ 4336256 h 4575969"/>
                  <a:gd name="connsiteX135" fmla="*/ 4595813 w 8971757"/>
                  <a:gd name="connsiteY135" fmla="*/ 4414837 h 4575969"/>
                  <a:gd name="connsiteX136" fmla="*/ 4681538 w 8971757"/>
                  <a:gd name="connsiteY136" fmla="*/ 4410074 h 4575969"/>
                  <a:gd name="connsiteX137" fmla="*/ 4760119 w 8971757"/>
                  <a:gd name="connsiteY137" fmla="*/ 4441031 h 4575969"/>
                  <a:gd name="connsiteX138" fmla="*/ 4802981 w 8971757"/>
                  <a:gd name="connsiteY138" fmla="*/ 4381500 h 4575969"/>
                  <a:gd name="connsiteX139" fmla="*/ 5474494 w 8971757"/>
                  <a:gd name="connsiteY139" fmla="*/ 4062412 h 4575969"/>
                  <a:gd name="connsiteX140" fmla="*/ 5562600 w 8971757"/>
                  <a:gd name="connsiteY140" fmla="*/ 4090988 h 4575969"/>
                  <a:gd name="connsiteX141" fmla="*/ 5693569 w 8971757"/>
                  <a:gd name="connsiteY141" fmla="*/ 4062412 h 4575969"/>
                  <a:gd name="connsiteX142" fmla="*/ 5872162 w 8971757"/>
                  <a:gd name="connsiteY142" fmla="*/ 4079081 h 4575969"/>
                  <a:gd name="connsiteX143" fmla="*/ 5929313 w 8971757"/>
                  <a:gd name="connsiteY143" fmla="*/ 4052888 h 4575969"/>
                  <a:gd name="connsiteX144" fmla="*/ 6062662 w 8971757"/>
                  <a:gd name="connsiteY144" fmla="*/ 4050506 h 4575969"/>
                  <a:gd name="connsiteX145" fmla="*/ 6196012 w 8971757"/>
                  <a:gd name="connsiteY145" fmla="*/ 3952875 h 4575969"/>
                  <a:gd name="connsiteX146" fmla="*/ 6262687 w 8971757"/>
                  <a:gd name="connsiteY146" fmla="*/ 3945731 h 4575969"/>
                  <a:gd name="connsiteX147" fmla="*/ 6360319 w 8971757"/>
                  <a:gd name="connsiteY147" fmla="*/ 3871912 h 4575969"/>
                  <a:gd name="connsiteX148" fmla="*/ 6434138 w 8971757"/>
                  <a:gd name="connsiteY148" fmla="*/ 3802856 h 4575969"/>
                  <a:gd name="connsiteX149" fmla="*/ 6443663 w 8971757"/>
                  <a:gd name="connsiteY149" fmla="*/ 3740944 h 4575969"/>
                  <a:gd name="connsiteX150" fmla="*/ 6477000 w 8971757"/>
                  <a:gd name="connsiteY150" fmla="*/ 3671887 h 4575969"/>
                  <a:gd name="connsiteX151" fmla="*/ 6629400 w 8971757"/>
                  <a:gd name="connsiteY151" fmla="*/ 3564731 h 4575969"/>
                  <a:gd name="connsiteX152" fmla="*/ 6662738 w 8971757"/>
                  <a:gd name="connsiteY152" fmla="*/ 3569494 h 4575969"/>
                  <a:gd name="connsiteX153" fmla="*/ 6715125 w 8971757"/>
                  <a:gd name="connsiteY153" fmla="*/ 3490912 h 4575969"/>
                  <a:gd name="connsiteX154" fmla="*/ 6762750 w 8971757"/>
                  <a:gd name="connsiteY154" fmla="*/ 3452812 h 4575969"/>
                  <a:gd name="connsiteX155" fmla="*/ 6748463 w 8971757"/>
                  <a:gd name="connsiteY155" fmla="*/ 3383756 h 4575969"/>
                  <a:gd name="connsiteX156" fmla="*/ 6698456 w 8971757"/>
                  <a:gd name="connsiteY156" fmla="*/ 3352799 h 4575969"/>
                  <a:gd name="connsiteX157" fmla="*/ 6638925 w 8971757"/>
                  <a:gd name="connsiteY157" fmla="*/ 3298031 h 4575969"/>
                  <a:gd name="connsiteX158" fmla="*/ 6619875 w 8971757"/>
                  <a:gd name="connsiteY158" fmla="*/ 3240881 h 4575969"/>
                  <a:gd name="connsiteX159" fmla="*/ 6584156 w 8971757"/>
                  <a:gd name="connsiteY159" fmla="*/ 3207544 h 4575969"/>
                  <a:gd name="connsiteX160" fmla="*/ 6610350 w 8971757"/>
                  <a:gd name="connsiteY160" fmla="*/ 3155156 h 4575969"/>
                  <a:gd name="connsiteX161" fmla="*/ 6650831 w 8971757"/>
                  <a:gd name="connsiteY161" fmla="*/ 2976562 h 4575969"/>
                  <a:gd name="connsiteX162" fmla="*/ 6691313 w 8971757"/>
                  <a:gd name="connsiteY162" fmla="*/ 2909887 h 4575969"/>
                  <a:gd name="connsiteX163" fmla="*/ 6836569 w 8971757"/>
                  <a:gd name="connsiteY163" fmla="*/ 2893218 h 4575969"/>
                  <a:gd name="connsiteX164" fmla="*/ 6905625 w 8971757"/>
                  <a:gd name="connsiteY164" fmla="*/ 2950369 h 4575969"/>
                  <a:gd name="connsiteX165" fmla="*/ 6981825 w 8971757"/>
                  <a:gd name="connsiteY165" fmla="*/ 2974181 h 4575969"/>
                  <a:gd name="connsiteX166" fmla="*/ 7186612 w 8971757"/>
                  <a:gd name="connsiteY166" fmla="*/ 2978944 h 4575969"/>
                  <a:gd name="connsiteX167" fmla="*/ 7362825 w 8971757"/>
                  <a:gd name="connsiteY167" fmla="*/ 2840831 h 4575969"/>
                  <a:gd name="connsiteX168" fmla="*/ 7419975 w 8971757"/>
                  <a:gd name="connsiteY168" fmla="*/ 2750343 h 4575969"/>
                  <a:gd name="connsiteX169" fmla="*/ 7446169 w 8971757"/>
                  <a:gd name="connsiteY169" fmla="*/ 2667000 h 4575969"/>
                  <a:gd name="connsiteX170" fmla="*/ 7577137 w 8971757"/>
                  <a:gd name="connsiteY170" fmla="*/ 2667000 h 4575969"/>
                  <a:gd name="connsiteX171" fmla="*/ 7750969 w 8971757"/>
                  <a:gd name="connsiteY171" fmla="*/ 2609849 h 4575969"/>
                  <a:gd name="connsiteX172" fmla="*/ 7810500 w 8971757"/>
                  <a:gd name="connsiteY172" fmla="*/ 2497931 h 4575969"/>
                  <a:gd name="connsiteX173" fmla="*/ 7874794 w 8971757"/>
                  <a:gd name="connsiteY173" fmla="*/ 2462212 h 4575969"/>
                  <a:gd name="connsiteX174" fmla="*/ 7853363 w 8971757"/>
                  <a:gd name="connsiteY174" fmla="*/ 2416969 h 4575969"/>
                  <a:gd name="connsiteX175" fmla="*/ 7931944 w 8971757"/>
                  <a:gd name="connsiteY175" fmla="*/ 2247899 h 4575969"/>
                  <a:gd name="connsiteX176" fmla="*/ 7986713 w 8971757"/>
                  <a:gd name="connsiteY176" fmla="*/ 2188369 h 4575969"/>
                  <a:gd name="connsiteX177" fmla="*/ 8024813 w 8971757"/>
                  <a:gd name="connsiteY177" fmla="*/ 2183606 h 4575969"/>
                  <a:gd name="connsiteX178" fmla="*/ 8070056 w 8971757"/>
                  <a:gd name="connsiteY178" fmla="*/ 2188369 h 4575969"/>
                  <a:gd name="connsiteX179" fmla="*/ 8134350 w 8971757"/>
                  <a:gd name="connsiteY179" fmla="*/ 2155031 h 4575969"/>
                  <a:gd name="connsiteX180" fmla="*/ 8143875 w 8971757"/>
                  <a:gd name="connsiteY180" fmla="*/ 2090737 h 4575969"/>
                  <a:gd name="connsiteX181" fmla="*/ 8184355 w 8971757"/>
                  <a:gd name="connsiteY181" fmla="*/ 2055019 h 4575969"/>
                  <a:gd name="connsiteX182" fmla="*/ 8243888 w 8971757"/>
                  <a:gd name="connsiteY182" fmla="*/ 2095499 h 4575969"/>
                  <a:gd name="connsiteX183" fmla="*/ 8270082 w 8971757"/>
                  <a:gd name="connsiteY183" fmla="*/ 2045493 h 4575969"/>
                  <a:gd name="connsiteX184" fmla="*/ 8365331 w 8971757"/>
                  <a:gd name="connsiteY184" fmla="*/ 1976437 h 4575969"/>
                  <a:gd name="connsiteX185" fmla="*/ 8427244 w 8971757"/>
                  <a:gd name="connsiteY185" fmla="*/ 1983581 h 4575969"/>
                  <a:gd name="connsiteX186" fmla="*/ 8477250 w 8971757"/>
                  <a:gd name="connsiteY186" fmla="*/ 1964531 h 4575969"/>
                  <a:gd name="connsiteX187" fmla="*/ 8515350 w 8971757"/>
                  <a:gd name="connsiteY187" fmla="*/ 1935956 h 4575969"/>
                  <a:gd name="connsiteX188" fmla="*/ 8548688 w 8971757"/>
                  <a:gd name="connsiteY188" fmla="*/ 1933575 h 4575969"/>
                  <a:gd name="connsiteX189" fmla="*/ 8584406 w 8971757"/>
                  <a:gd name="connsiteY189" fmla="*/ 1964531 h 4575969"/>
                  <a:gd name="connsiteX190" fmla="*/ 8643938 w 8971757"/>
                  <a:gd name="connsiteY190" fmla="*/ 1964531 h 4575969"/>
                  <a:gd name="connsiteX191" fmla="*/ 8682037 w 8971757"/>
                  <a:gd name="connsiteY191" fmla="*/ 1945481 h 4575969"/>
                  <a:gd name="connsiteX192" fmla="*/ 8765381 w 8971757"/>
                  <a:gd name="connsiteY192" fmla="*/ 1947863 h 4575969"/>
                  <a:gd name="connsiteX193" fmla="*/ 8796338 w 8971757"/>
                  <a:gd name="connsiteY193" fmla="*/ 1902619 h 4575969"/>
                  <a:gd name="connsiteX194" fmla="*/ 8801100 w 8971757"/>
                  <a:gd name="connsiteY194" fmla="*/ 1840706 h 4575969"/>
                  <a:gd name="connsiteX195" fmla="*/ 8751093 w 8971757"/>
                  <a:gd name="connsiteY195" fmla="*/ 1800225 h 4575969"/>
                  <a:gd name="connsiteX196" fmla="*/ 8734425 w 8971757"/>
                  <a:gd name="connsiteY196" fmla="*/ 1745456 h 4575969"/>
                  <a:gd name="connsiteX197" fmla="*/ 8643938 w 8971757"/>
                  <a:gd name="connsiteY197" fmla="*/ 1683544 h 4575969"/>
                  <a:gd name="connsiteX198" fmla="*/ 8603456 w 8971757"/>
                  <a:gd name="connsiteY198" fmla="*/ 1662112 h 4575969"/>
                  <a:gd name="connsiteX199" fmla="*/ 8565356 w 8971757"/>
                  <a:gd name="connsiteY199" fmla="*/ 1616869 h 4575969"/>
                  <a:gd name="connsiteX200" fmla="*/ 8534400 w 8971757"/>
                  <a:gd name="connsiteY200" fmla="*/ 1614487 h 4575969"/>
                  <a:gd name="connsiteX201" fmla="*/ 8517731 w 8971757"/>
                  <a:gd name="connsiteY201" fmla="*/ 1562100 h 4575969"/>
                  <a:gd name="connsiteX202" fmla="*/ 8477250 w 8971757"/>
                  <a:gd name="connsiteY202" fmla="*/ 1545431 h 4575969"/>
                  <a:gd name="connsiteX203" fmla="*/ 8477250 w 8971757"/>
                  <a:gd name="connsiteY203" fmla="*/ 1545431 h 4575969"/>
                  <a:gd name="connsiteX204" fmla="*/ 8436769 w 8971757"/>
                  <a:gd name="connsiteY204" fmla="*/ 1550194 h 4575969"/>
                  <a:gd name="connsiteX205" fmla="*/ 8351043 w 8971757"/>
                  <a:gd name="connsiteY205" fmla="*/ 1476375 h 4575969"/>
                  <a:gd name="connsiteX206" fmla="*/ 8170069 w 8971757"/>
                  <a:gd name="connsiteY206" fmla="*/ 1476374 h 4575969"/>
                  <a:gd name="connsiteX207" fmla="*/ 8117681 w 8971757"/>
                  <a:gd name="connsiteY207" fmla="*/ 1514475 h 4575969"/>
                  <a:gd name="connsiteX208" fmla="*/ 8067675 w 8971757"/>
                  <a:gd name="connsiteY208" fmla="*/ 1593056 h 4575969"/>
                  <a:gd name="connsiteX209" fmla="*/ 8084344 w 8971757"/>
                  <a:gd name="connsiteY209" fmla="*/ 1614487 h 4575969"/>
                  <a:gd name="connsiteX210" fmla="*/ 8039100 w 8971757"/>
                  <a:gd name="connsiteY210" fmla="*/ 1664493 h 4575969"/>
                  <a:gd name="connsiteX211" fmla="*/ 7889081 w 8971757"/>
                  <a:gd name="connsiteY211" fmla="*/ 1588293 h 4575969"/>
                  <a:gd name="connsiteX212" fmla="*/ 7798594 w 8971757"/>
                  <a:gd name="connsiteY212" fmla="*/ 1624012 h 4575969"/>
                  <a:gd name="connsiteX213" fmla="*/ 7724775 w 8971757"/>
                  <a:gd name="connsiteY213" fmla="*/ 1621631 h 4575969"/>
                  <a:gd name="connsiteX214" fmla="*/ 7667625 w 8971757"/>
                  <a:gd name="connsiteY214" fmla="*/ 1716881 h 4575969"/>
                  <a:gd name="connsiteX215" fmla="*/ 7529513 w 8971757"/>
                  <a:gd name="connsiteY21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4000500 w 8971757"/>
                  <a:gd name="connsiteY62" fmla="*/ 697706 h 4575969"/>
                  <a:gd name="connsiteX63" fmla="*/ 8412956 w 8971757"/>
                  <a:gd name="connsiteY63" fmla="*/ 23812 h 4575969"/>
                  <a:gd name="connsiteX64" fmla="*/ 8949531 w 8971757"/>
                  <a:gd name="connsiteY64" fmla="*/ 0 h 4575969"/>
                  <a:gd name="connsiteX65" fmla="*/ 8971757 w 8971757"/>
                  <a:gd name="connsiteY65" fmla="*/ 4575969 h 4575969"/>
                  <a:gd name="connsiteX66" fmla="*/ 2381 w 8971757"/>
                  <a:gd name="connsiteY66" fmla="*/ 4547392 h 4575969"/>
                  <a:gd name="connsiteX67" fmla="*/ 0 w 8971757"/>
                  <a:gd name="connsiteY67" fmla="*/ 845344 h 4575969"/>
                  <a:gd name="connsiteX68" fmla="*/ 76200 w 8971757"/>
                  <a:gd name="connsiteY68" fmla="*/ 828675 h 4575969"/>
                  <a:gd name="connsiteX69" fmla="*/ 119063 w 8971757"/>
                  <a:gd name="connsiteY69" fmla="*/ 857250 h 4575969"/>
                  <a:gd name="connsiteX70" fmla="*/ 215900 w 8971757"/>
                  <a:gd name="connsiteY70" fmla="*/ 848519 h 4575969"/>
                  <a:gd name="connsiteX71" fmla="*/ 261938 w 8971757"/>
                  <a:gd name="connsiteY71" fmla="*/ 876299 h 4575969"/>
                  <a:gd name="connsiteX72" fmla="*/ 228600 w 8971757"/>
                  <a:gd name="connsiteY72" fmla="*/ 904875 h 4575969"/>
                  <a:gd name="connsiteX73" fmla="*/ 233363 w 8971757"/>
                  <a:gd name="connsiteY73" fmla="*/ 947737 h 4575969"/>
                  <a:gd name="connsiteX74" fmla="*/ 200025 w 8971757"/>
                  <a:gd name="connsiteY74" fmla="*/ 952500 h 4575969"/>
                  <a:gd name="connsiteX75" fmla="*/ 204788 w 8971757"/>
                  <a:gd name="connsiteY75" fmla="*/ 976312 h 4575969"/>
                  <a:gd name="connsiteX76" fmla="*/ 261937 w 8971757"/>
                  <a:gd name="connsiteY76" fmla="*/ 1050131 h 4575969"/>
                  <a:gd name="connsiteX77" fmla="*/ 223838 w 8971757"/>
                  <a:gd name="connsiteY77" fmla="*/ 1097756 h 4575969"/>
                  <a:gd name="connsiteX78" fmla="*/ 278606 w 8971757"/>
                  <a:gd name="connsiteY78" fmla="*/ 1133475 h 4575969"/>
                  <a:gd name="connsiteX79" fmla="*/ 369094 w 8971757"/>
                  <a:gd name="connsiteY79" fmla="*/ 1221581 h 4575969"/>
                  <a:gd name="connsiteX80" fmla="*/ 371475 w 8971757"/>
                  <a:gd name="connsiteY80" fmla="*/ 1281112 h 4575969"/>
                  <a:gd name="connsiteX81" fmla="*/ 507206 w 8971757"/>
                  <a:gd name="connsiteY81" fmla="*/ 1414463 h 4575969"/>
                  <a:gd name="connsiteX82" fmla="*/ 561975 w 8971757"/>
                  <a:gd name="connsiteY82" fmla="*/ 1390650 h 4575969"/>
                  <a:gd name="connsiteX83" fmla="*/ 600075 w 8971757"/>
                  <a:gd name="connsiteY83" fmla="*/ 1416843 h 4575969"/>
                  <a:gd name="connsiteX84" fmla="*/ 614363 w 8971757"/>
                  <a:gd name="connsiteY84" fmla="*/ 1466849 h 4575969"/>
                  <a:gd name="connsiteX85" fmla="*/ 657225 w 8971757"/>
                  <a:gd name="connsiteY85" fmla="*/ 1502569 h 4575969"/>
                  <a:gd name="connsiteX86" fmla="*/ 697706 w 8971757"/>
                  <a:gd name="connsiteY86" fmla="*/ 1490662 h 4575969"/>
                  <a:gd name="connsiteX87" fmla="*/ 716756 w 8971757"/>
                  <a:gd name="connsiteY87" fmla="*/ 1547812 h 4575969"/>
                  <a:gd name="connsiteX88" fmla="*/ 764381 w 8971757"/>
                  <a:gd name="connsiteY88" fmla="*/ 1590675 h 4575969"/>
                  <a:gd name="connsiteX89" fmla="*/ 788194 w 8971757"/>
                  <a:gd name="connsiteY89" fmla="*/ 1693069 h 4575969"/>
                  <a:gd name="connsiteX90" fmla="*/ 785813 w 8971757"/>
                  <a:gd name="connsiteY90" fmla="*/ 1740694 h 4575969"/>
                  <a:gd name="connsiteX91" fmla="*/ 821531 w 8971757"/>
                  <a:gd name="connsiteY91" fmla="*/ 1840706 h 4575969"/>
                  <a:gd name="connsiteX92" fmla="*/ 866775 w 8971757"/>
                  <a:gd name="connsiteY92" fmla="*/ 1897856 h 4575969"/>
                  <a:gd name="connsiteX93" fmla="*/ 883443 w 8971757"/>
                  <a:gd name="connsiteY93" fmla="*/ 2055018 h 4575969"/>
                  <a:gd name="connsiteX94" fmla="*/ 850106 w 8971757"/>
                  <a:gd name="connsiteY94" fmla="*/ 2116931 h 4575969"/>
                  <a:gd name="connsiteX95" fmla="*/ 819150 w 8971757"/>
                  <a:gd name="connsiteY95" fmla="*/ 2193131 h 4575969"/>
                  <a:gd name="connsiteX96" fmla="*/ 833438 w 8971757"/>
                  <a:gd name="connsiteY96" fmla="*/ 2250281 h 4575969"/>
                  <a:gd name="connsiteX97" fmla="*/ 735806 w 8971757"/>
                  <a:gd name="connsiteY97" fmla="*/ 2357438 h 4575969"/>
                  <a:gd name="connsiteX98" fmla="*/ 692944 w 8971757"/>
                  <a:gd name="connsiteY98" fmla="*/ 2471737 h 4575969"/>
                  <a:gd name="connsiteX99" fmla="*/ 726281 w 8971757"/>
                  <a:gd name="connsiteY99" fmla="*/ 2512219 h 4575969"/>
                  <a:gd name="connsiteX100" fmla="*/ 709613 w 8971757"/>
                  <a:gd name="connsiteY100" fmla="*/ 2540794 h 4575969"/>
                  <a:gd name="connsiteX101" fmla="*/ 740569 w 8971757"/>
                  <a:gd name="connsiteY101" fmla="*/ 2597944 h 4575969"/>
                  <a:gd name="connsiteX102" fmla="*/ 769144 w 8971757"/>
                  <a:gd name="connsiteY102" fmla="*/ 2597944 h 4575969"/>
                  <a:gd name="connsiteX103" fmla="*/ 931069 w 8971757"/>
                  <a:gd name="connsiteY103" fmla="*/ 2700337 h 4575969"/>
                  <a:gd name="connsiteX104" fmla="*/ 1035844 w 8971757"/>
                  <a:gd name="connsiteY104" fmla="*/ 2697956 h 4575969"/>
                  <a:gd name="connsiteX105" fmla="*/ 1114425 w 8971757"/>
                  <a:gd name="connsiteY105" fmla="*/ 2752725 h 4575969"/>
                  <a:gd name="connsiteX106" fmla="*/ 1245393 w 8971757"/>
                  <a:gd name="connsiteY106" fmla="*/ 2755106 h 4575969"/>
                  <a:gd name="connsiteX107" fmla="*/ 1435893 w 8971757"/>
                  <a:gd name="connsiteY107" fmla="*/ 2824162 h 4575969"/>
                  <a:gd name="connsiteX108" fmla="*/ 1638300 w 8971757"/>
                  <a:gd name="connsiteY108" fmla="*/ 2974181 h 4575969"/>
                  <a:gd name="connsiteX109" fmla="*/ 1671637 w 8971757"/>
                  <a:gd name="connsiteY109" fmla="*/ 3040856 h 4575969"/>
                  <a:gd name="connsiteX110" fmla="*/ 1838325 w 8971757"/>
                  <a:gd name="connsiteY110" fmla="*/ 3167062 h 4575969"/>
                  <a:gd name="connsiteX111" fmla="*/ 1909763 w 8971757"/>
                  <a:gd name="connsiteY111" fmla="*/ 3162300 h 4575969"/>
                  <a:gd name="connsiteX112" fmla="*/ 1945482 w 8971757"/>
                  <a:gd name="connsiteY112" fmla="*/ 3186112 h 4575969"/>
                  <a:gd name="connsiteX113" fmla="*/ 1916906 w 8971757"/>
                  <a:gd name="connsiteY113" fmla="*/ 3226594 h 4575969"/>
                  <a:gd name="connsiteX114" fmla="*/ 1924050 w 8971757"/>
                  <a:gd name="connsiteY114" fmla="*/ 3278981 h 4575969"/>
                  <a:gd name="connsiteX115" fmla="*/ 1976438 w 8971757"/>
                  <a:gd name="connsiteY115" fmla="*/ 3305175 h 4575969"/>
                  <a:gd name="connsiteX116" fmla="*/ 2038350 w 8971757"/>
                  <a:gd name="connsiteY116" fmla="*/ 3529013 h 4575969"/>
                  <a:gd name="connsiteX117" fmla="*/ 2028825 w 8971757"/>
                  <a:gd name="connsiteY117" fmla="*/ 3593306 h 4575969"/>
                  <a:gd name="connsiteX118" fmla="*/ 2164556 w 8971757"/>
                  <a:gd name="connsiteY118" fmla="*/ 3759994 h 4575969"/>
                  <a:gd name="connsiteX119" fmla="*/ 2183606 w 8971757"/>
                  <a:gd name="connsiteY119" fmla="*/ 3810000 h 4575969"/>
                  <a:gd name="connsiteX120" fmla="*/ 2157413 w 8971757"/>
                  <a:gd name="connsiteY120" fmla="*/ 3829050 h 4575969"/>
                  <a:gd name="connsiteX121" fmla="*/ 2259806 w 8971757"/>
                  <a:gd name="connsiteY121" fmla="*/ 3838575 h 4575969"/>
                  <a:gd name="connsiteX122" fmla="*/ 2371725 w 8971757"/>
                  <a:gd name="connsiteY122" fmla="*/ 3826669 h 4575969"/>
                  <a:gd name="connsiteX123" fmla="*/ 2650331 w 8971757"/>
                  <a:gd name="connsiteY123" fmla="*/ 3910012 h 4575969"/>
                  <a:gd name="connsiteX124" fmla="*/ 3057525 w 8971757"/>
                  <a:gd name="connsiteY124" fmla="*/ 3990975 h 4575969"/>
                  <a:gd name="connsiteX125" fmla="*/ 3255169 w 8971757"/>
                  <a:gd name="connsiteY125" fmla="*/ 3960018 h 4575969"/>
                  <a:gd name="connsiteX126" fmla="*/ 3300413 w 8971757"/>
                  <a:gd name="connsiteY126" fmla="*/ 3971924 h 4575969"/>
                  <a:gd name="connsiteX127" fmla="*/ 3355181 w 8971757"/>
                  <a:gd name="connsiteY127" fmla="*/ 3948113 h 4575969"/>
                  <a:gd name="connsiteX128" fmla="*/ 3748087 w 8971757"/>
                  <a:gd name="connsiteY128" fmla="*/ 4038600 h 4575969"/>
                  <a:gd name="connsiteX129" fmla="*/ 3831432 w 8971757"/>
                  <a:gd name="connsiteY129" fmla="*/ 4136231 h 4575969"/>
                  <a:gd name="connsiteX130" fmla="*/ 3950494 w 8971757"/>
                  <a:gd name="connsiteY130" fmla="*/ 4207669 h 4575969"/>
                  <a:gd name="connsiteX131" fmla="*/ 4010025 w 8971757"/>
                  <a:gd name="connsiteY131" fmla="*/ 4191000 h 4575969"/>
                  <a:gd name="connsiteX132" fmla="*/ 4360068 w 8971757"/>
                  <a:gd name="connsiteY132" fmla="*/ 4364831 h 4575969"/>
                  <a:gd name="connsiteX133" fmla="*/ 4586288 w 8971757"/>
                  <a:gd name="connsiteY133" fmla="*/ 4336256 h 4575969"/>
                  <a:gd name="connsiteX134" fmla="*/ 4595813 w 8971757"/>
                  <a:gd name="connsiteY134" fmla="*/ 4414837 h 4575969"/>
                  <a:gd name="connsiteX135" fmla="*/ 4681538 w 8971757"/>
                  <a:gd name="connsiteY135" fmla="*/ 4410074 h 4575969"/>
                  <a:gd name="connsiteX136" fmla="*/ 4760119 w 8971757"/>
                  <a:gd name="connsiteY136" fmla="*/ 4441031 h 4575969"/>
                  <a:gd name="connsiteX137" fmla="*/ 4802981 w 8971757"/>
                  <a:gd name="connsiteY137" fmla="*/ 4381500 h 4575969"/>
                  <a:gd name="connsiteX138" fmla="*/ 5474494 w 8971757"/>
                  <a:gd name="connsiteY138" fmla="*/ 4062412 h 4575969"/>
                  <a:gd name="connsiteX139" fmla="*/ 5562600 w 8971757"/>
                  <a:gd name="connsiteY139" fmla="*/ 4090988 h 4575969"/>
                  <a:gd name="connsiteX140" fmla="*/ 5693569 w 8971757"/>
                  <a:gd name="connsiteY140" fmla="*/ 4062412 h 4575969"/>
                  <a:gd name="connsiteX141" fmla="*/ 5872162 w 8971757"/>
                  <a:gd name="connsiteY141" fmla="*/ 4079081 h 4575969"/>
                  <a:gd name="connsiteX142" fmla="*/ 5929313 w 8971757"/>
                  <a:gd name="connsiteY142" fmla="*/ 4052888 h 4575969"/>
                  <a:gd name="connsiteX143" fmla="*/ 6062662 w 8971757"/>
                  <a:gd name="connsiteY143" fmla="*/ 4050506 h 4575969"/>
                  <a:gd name="connsiteX144" fmla="*/ 6196012 w 8971757"/>
                  <a:gd name="connsiteY144" fmla="*/ 3952875 h 4575969"/>
                  <a:gd name="connsiteX145" fmla="*/ 6262687 w 8971757"/>
                  <a:gd name="connsiteY145" fmla="*/ 3945731 h 4575969"/>
                  <a:gd name="connsiteX146" fmla="*/ 6360319 w 8971757"/>
                  <a:gd name="connsiteY146" fmla="*/ 3871912 h 4575969"/>
                  <a:gd name="connsiteX147" fmla="*/ 6434138 w 8971757"/>
                  <a:gd name="connsiteY147" fmla="*/ 3802856 h 4575969"/>
                  <a:gd name="connsiteX148" fmla="*/ 6443663 w 8971757"/>
                  <a:gd name="connsiteY148" fmla="*/ 3740944 h 4575969"/>
                  <a:gd name="connsiteX149" fmla="*/ 6477000 w 8971757"/>
                  <a:gd name="connsiteY149" fmla="*/ 3671887 h 4575969"/>
                  <a:gd name="connsiteX150" fmla="*/ 6629400 w 8971757"/>
                  <a:gd name="connsiteY150" fmla="*/ 3564731 h 4575969"/>
                  <a:gd name="connsiteX151" fmla="*/ 6662738 w 8971757"/>
                  <a:gd name="connsiteY151" fmla="*/ 3569494 h 4575969"/>
                  <a:gd name="connsiteX152" fmla="*/ 6715125 w 8971757"/>
                  <a:gd name="connsiteY152" fmla="*/ 3490912 h 4575969"/>
                  <a:gd name="connsiteX153" fmla="*/ 6762750 w 8971757"/>
                  <a:gd name="connsiteY153" fmla="*/ 3452812 h 4575969"/>
                  <a:gd name="connsiteX154" fmla="*/ 6748463 w 8971757"/>
                  <a:gd name="connsiteY154" fmla="*/ 3383756 h 4575969"/>
                  <a:gd name="connsiteX155" fmla="*/ 6698456 w 8971757"/>
                  <a:gd name="connsiteY155" fmla="*/ 3352799 h 4575969"/>
                  <a:gd name="connsiteX156" fmla="*/ 6638925 w 8971757"/>
                  <a:gd name="connsiteY156" fmla="*/ 3298031 h 4575969"/>
                  <a:gd name="connsiteX157" fmla="*/ 6619875 w 8971757"/>
                  <a:gd name="connsiteY157" fmla="*/ 3240881 h 4575969"/>
                  <a:gd name="connsiteX158" fmla="*/ 6584156 w 8971757"/>
                  <a:gd name="connsiteY158" fmla="*/ 3207544 h 4575969"/>
                  <a:gd name="connsiteX159" fmla="*/ 6610350 w 8971757"/>
                  <a:gd name="connsiteY159" fmla="*/ 3155156 h 4575969"/>
                  <a:gd name="connsiteX160" fmla="*/ 6650831 w 8971757"/>
                  <a:gd name="connsiteY160" fmla="*/ 2976562 h 4575969"/>
                  <a:gd name="connsiteX161" fmla="*/ 6691313 w 8971757"/>
                  <a:gd name="connsiteY161" fmla="*/ 2909887 h 4575969"/>
                  <a:gd name="connsiteX162" fmla="*/ 6836569 w 8971757"/>
                  <a:gd name="connsiteY162" fmla="*/ 2893218 h 4575969"/>
                  <a:gd name="connsiteX163" fmla="*/ 6905625 w 8971757"/>
                  <a:gd name="connsiteY163" fmla="*/ 2950369 h 4575969"/>
                  <a:gd name="connsiteX164" fmla="*/ 6981825 w 8971757"/>
                  <a:gd name="connsiteY164" fmla="*/ 2974181 h 4575969"/>
                  <a:gd name="connsiteX165" fmla="*/ 7186612 w 8971757"/>
                  <a:gd name="connsiteY165" fmla="*/ 2978944 h 4575969"/>
                  <a:gd name="connsiteX166" fmla="*/ 7362825 w 8971757"/>
                  <a:gd name="connsiteY166" fmla="*/ 2840831 h 4575969"/>
                  <a:gd name="connsiteX167" fmla="*/ 7419975 w 8971757"/>
                  <a:gd name="connsiteY167" fmla="*/ 2750343 h 4575969"/>
                  <a:gd name="connsiteX168" fmla="*/ 7446169 w 8971757"/>
                  <a:gd name="connsiteY168" fmla="*/ 2667000 h 4575969"/>
                  <a:gd name="connsiteX169" fmla="*/ 7577137 w 8971757"/>
                  <a:gd name="connsiteY169" fmla="*/ 2667000 h 4575969"/>
                  <a:gd name="connsiteX170" fmla="*/ 7750969 w 8971757"/>
                  <a:gd name="connsiteY170" fmla="*/ 2609849 h 4575969"/>
                  <a:gd name="connsiteX171" fmla="*/ 7810500 w 8971757"/>
                  <a:gd name="connsiteY171" fmla="*/ 2497931 h 4575969"/>
                  <a:gd name="connsiteX172" fmla="*/ 7874794 w 8971757"/>
                  <a:gd name="connsiteY172" fmla="*/ 2462212 h 4575969"/>
                  <a:gd name="connsiteX173" fmla="*/ 7853363 w 8971757"/>
                  <a:gd name="connsiteY173" fmla="*/ 2416969 h 4575969"/>
                  <a:gd name="connsiteX174" fmla="*/ 7931944 w 8971757"/>
                  <a:gd name="connsiteY174" fmla="*/ 2247899 h 4575969"/>
                  <a:gd name="connsiteX175" fmla="*/ 7986713 w 8971757"/>
                  <a:gd name="connsiteY175" fmla="*/ 2188369 h 4575969"/>
                  <a:gd name="connsiteX176" fmla="*/ 8024813 w 8971757"/>
                  <a:gd name="connsiteY176" fmla="*/ 2183606 h 4575969"/>
                  <a:gd name="connsiteX177" fmla="*/ 8070056 w 8971757"/>
                  <a:gd name="connsiteY177" fmla="*/ 2188369 h 4575969"/>
                  <a:gd name="connsiteX178" fmla="*/ 8134350 w 8971757"/>
                  <a:gd name="connsiteY178" fmla="*/ 2155031 h 4575969"/>
                  <a:gd name="connsiteX179" fmla="*/ 8143875 w 8971757"/>
                  <a:gd name="connsiteY179" fmla="*/ 2090737 h 4575969"/>
                  <a:gd name="connsiteX180" fmla="*/ 8184355 w 8971757"/>
                  <a:gd name="connsiteY180" fmla="*/ 2055019 h 4575969"/>
                  <a:gd name="connsiteX181" fmla="*/ 8243888 w 8971757"/>
                  <a:gd name="connsiteY181" fmla="*/ 2095499 h 4575969"/>
                  <a:gd name="connsiteX182" fmla="*/ 8270082 w 8971757"/>
                  <a:gd name="connsiteY182" fmla="*/ 2045493 h 4575969"/>
                  <a:gd name="connsiteX183" fmla="*/ 8365331 w 8971757"/>
                  <a:gd name="connsiteY183" fmla="*/ 1976437 h 4575969"/>
                  <a:gd name="connsiteX184" fmla="*/ 8427244 w 8971757"/>
                  <a:gd name="connsiteY184" fmla="*/ 1983581 h 4575969"/>
                  <a:gd name="connsiteX185" fmla="*/ 8477250 w 8971757"/>
                  <a:gd name="connsiteY185" fmla="*/ 1964531 h 4575969"/>
                  <a:gd name="connsiteX186" fmla="*/ 8515350 w 8971757"/>
                  <a:gd name="connsiteY186" fmla="*/ 1935956 h 4575969"/>
                  <a:gd name="connsiteX187" fmla="*/ 8548688 w 8971757"/>
                  <a:gd name="connsiteY187" fmla="*/ 1933575 h 4575969"/>
                  <a:gd name="connsiteX188" fmla="*/ 8584406 w 8971757"/>
                  <a:gd name="connsiteY188" fmla="*/ 1964531 h 4575969"/>
                  <a:gd name="connsiteX189" fmla="*/ 8643938 w 8971757"/>
                  <a:gd name="connsiteY189" fmla="*/ 1964531 h 4575969"/>
                  <a:gd name="connsiteX190" fmla="*/ 8682037 w 8971757"/>
                  <a:gd name="connsiteY190" fmla="*/ 1945481 h 4575969"/>
                  <a:gd name="connsiteX191" fmla="*/ 8765381 w 8971757"/>
                  <a:gd name="connsiteY191" fmla="*/ 1947863 h 4575969"/>
                  <a:gd name="connsiteX192" fmla="*/ 8796338 w 8971757"/>
                  <a:gd name="connsiteY192" fmla="*/ 1902619 h 4575969"/>
                  <a:gd name="connsiteX193" fmla="*/ 8801100 w 8971757"/>
                  <a:gd name="connsiteY193" fmla="*/ 1840706 h 4575969"/>
                  <a:gd name="connsiteX194" fmla="*/ 8751093 w 8971757"/>
                  <a:gd name="connsiteY194" fmla="*/ 1800225 h 4575969"/>
                  <a:gd name="connsiteX195" fmla="*/ 8734425 w 8971757"/>
                  <a:gd name="connsiteY195" fmla="*/ 1745456 h 4575969"/>
                  <a:gd name="connsiteX196" fmla="*/ 8643938 w 8971757"/>
                  <a:gd name="connsiteY196" fmla="*/ 1683544 h 4575969"/>
                  <a:gd name="connsiteX197" fmla="*/ 8603456 w 8971757"/>
                  <a:gd name="connsiteY197" fmla="*/ 1662112 h 4575969"/>
                  <a:gd name="connsiteX198" fmla="*/ 8565356 w 8971757"/>
                  <a:gd name="connsiteY198" fmla="*/ 1616869 h 4575969"/>
                  <a:gd name="connsiteX199" fmla="*/ 8534400 w 8971757"/>
                  <a:gd name="connsiteY199" fmla="*/ 1614487 h 4575969"/>
                  <a:gd name="connsiteX200" fmla="*/ 8517731 w 8971757"/>
                  <a:gd name="connsiteY200" fmla="*/ 1562100 h 4575969"/>
                  <a:gd name="connsiteX201" fmla="*/ 8477250 w 8971757"/>
                  <a:gd name="connsiteY201" fmla="*/ 1545431 h 4575969"/>
                  <a:gd name="connsiteX202" fmla="*/ 8477250 w 8971757"/>
                  <a:gd name="connsiteY202" fmla="*/ 1545431 h 4575969"/>
                  <a:gd name="connsiteX203" fmla="*/ 8436769 w 8971757"/>
                  <a:gd name="connsiteY203" fmla="*/ 1550194 h 4575969"/>
                  <a:gd name="connsiteX204" fmla="*/ 8351043 w 8971757"/>
                  <a:gd name="connsiteY204" fmla="*/ 1476375 h 4575969"/>
                  <a:gd name="connsiteX205" fmla="*/ 8170069 w 8971757"/>
                  <a:gd name="connsiteY205" fmla="*/ 1476374 h 4575969"/>
                  <a:gd name="connsiteX206" fmla="*/ 8117681 w 8971757"/>
                  <a:gd name="connsiteY206" fmla="*/ 1514475 h 4575969"/>
                  <a:gd name="connsiteX207" fmla="*/ 8067675 w 8971757"/>
                  <a:gd name="connsiteY207" fmla="*/ 1593056 h 4575969"/>
                  <a:gd name="connsiteX208" fmla="*/ 8084344 w 8971757"/>
                  <a:gd name="connsiteY208" fmla="*/ 1614487 h 4575969"/>
                  <a:gd name="connsiteX209" fmla="*/ 8039100 w 8971757"/>
                  <a:gd name="connsiteY209" fmla="*/ 1664493 h 4575969"/>
                  <a:gd name="connsiteX210" fmla="*/ 7889081 w 8971757"/>
                  <a:gd name="connsiteY210" fmla="*/ 1588293 h 4575969"/>
                  <a:gd name="connsiteX211" fmla="*/ 7798594 w 8971757"/>
                  <a:gd name="connsiteY211" fmla="*/ 1624012 h 4575969"/>
                  <a:gd name="connsiteX212" fmla="*/ 7724775 w 8971757"/>
                  <a:gd name="connsiteY212" fmla="*/ 1621631 h 4575969"/>
                  <a:gd name="connsiteX213" fmla="*/ 7667625 w 8971757"/>
                  <a:gd name="connsiteY213" fmla="*/ 1716881 h 4575969"/>
                  <a:gd name="connsiteX214" fmla="*/ 7529513 w 8971757"/>
                  <a:gd name="connsiteY21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4031457 w 8971757"/>
                  <a:gd name="connsiteY61" fmla="*/ 723900 h 4575969"/>
                  <a:gd name="connsiteX62" fmla="*/ 8412956 w 8971757"/>
                  <a:gd name="connsiteY62" fmla="*/ 23812 h 4575969"/>
                  <a:gd name="connsiteX63" fmla="*/ 8949531 w 8971757"/>
                  <a:gd name="connsiteY63" fmla="*/ 0 h 4575969"/>
                  <a:gd name="connsiteX64" fmla="*/ 8971757 w 8971757"/>
                  <a:gd name="connsiteY64" fmla="*/ 4575969 h 4575969"/>
                  <a:gd name="connsiteX65" fmla="*/ 2381 w 8971757"/>
                  <a:gd name="connsiteY65" fmla="*/ 4547392 h 4575969"/>
                  <a:gd name="connsiteX66" fmla="*/ 0 w 8971757"/>
                  <a:gd name="connsiteY66" fmla="*/ 845344 h 4575969"/>
                  <a:gd name="connsiteX67" fmla="*/ 76200 w 8971757"/>
                  <a:gd name="connsiteY67" fmla="*/ 828675 h 4575969"/>
                  <a:gd name="connsiteX68" fmla="*/ 119063 w 8971757"/>
                  <a:gd name="connsiteY68" fmla="*/ 857250 h 4575969"/>
                  <a:gd name="connsiteX69" fmla="*/ 215900 w 8971757"/>
                  <a:gd name="connsiteY69" fmla="*/ 848519 h 4575969"/>
                  <a:gd name="connsiteX70" fmla="*/ 261938 w 8971757"/>
                  <a:gd name="connsiteY70" fmla="*/ 876299 h 4575969"/>
                  <a:gd name="connsiteX71" fmla="*/ 228600 w 8971757"/>
                  <a:gd name="connsiteY71" fmla="*/ 904875 h 4575969"/>
                  <a:gd name="connsiteX72" fmla="*/ 233363 w 8971757"/>
                  <a:gd name="connsiteY72" fmla="*/ 947737 h 4575969"/>
                  <a:gd name="connsiteX73" fmla="*/ 200025 w 8971757"/>
                  <a:gd name="connsiteY73" fmla="*/ 952500 h 4575969"/>
                  <a:gd name="connsiteX74" fmla="*/ 204788 w 8971757"/>
                  <a:gd name="connsiteY74" fmla="*/ 976312 h 4575969"/>
                  <a:gd name="connsiteX75" fmla="*/ 261937 w 8971757"/>
                  <a:gd name="connsiteY75" fmla="*/ 1050131 h 4575969"/>
                  <a:gd name="connsiteX76" fmla="*/ 223838 w 8971757"/>
                  <a:gd name="connsiteY76" fmla="*/ 1097756 h 4575969"/>
                  <a:gd name="connsiteX77" fmla="*/ 278606 w 8971757"/>
                  <a:gd name="connsiteY77" fmla="*/ 1133475 h 4575969"/>
                  <a:gd name="connsiteX78" fmla="*/ 369094 w 8971757"/>
                  <a:gd name="connsiteY78" fmla="*/ 1221581 h 4575969"/>
                  <a:gd name="connsiteX79" fmla="*/ 371475 w 8971757"/>
                  <a:gd name="connsiteY79" fmla="*/ 1281112 h 4575969"/>
                  <a:gd name="connsiteX80" fmla="*/ 507206 w 8971757"/>
                  <a:gd name="connsiteY80" fmla="*/ 1414463 h 4575969"/>
                  <a:gd name="connsiteX81" fmla="*/ 561975 w 8971757"/>
                  <a:gd name="connsiteY81" fmla="*/ 1390650 h 4575969"/>
                  <a:gd name="connsiteX82" fmla="*/ 600075 w 8971757"/>
                  <a:gd name="connsiteY82" fmla="*/ 1416843 h 4575969"/>
                  <a:gd name="connsiteX83" fmla="*/ 614363 w 8971757"/>
                  <a:gd name="connsiteY83" fmla="*/ 1466849 h 4575969"/>
                  <a:gd name="connsiteX84" fmla="*/ 657225 w 8971757"/>
                  <a:gd name="connsiteY84" fmla="*/ 1502569 h 4575969"/>
                  <a:gd name="connsiteX85" fmla="*/ 697706 w 8971757"/>
                  <a:gd name="connsiteY85" fmla="*/ 1490662 h 4575969"/>
                  <a:gd name="connsiteX86" fmla="*/ 716756 w 8971757"/>
                  <a:gd name="connsiteY86" fmla="*/ 1547812 h 4575969"/>
                  <a:gd name="connsiteX87" fmla="*/ 764381 w 8971757"/>
                  <a:gd name="connsiteY87" fmla="*/ 1590675 h 4575969"/>
                  <a:gd name="connsiteX88" fmla="*/ 788194 w 8971757"/>
                  <a:gd name="connsiteY88" fmla="*/ 1693069 h 4575969"/>
                  <a:gd name="connsiteX89" fmla="*/ 785813 w 8971757"/>
                  <a:gd name="connsiteY89" fmla="*/ 1740694 h 4575969"/>
                  <a:gd name="connsiteX90" fmla="*/ 821531 w 8971757"/>
                  <a:gd name="connsiteY90" fmla="*/ 1840706 h 4575969"/>
                  <a:gd name="connsiteX91" fmla="*/ 866775 w 8971757"/>
                  <a:gd name="connsiteY91" fmla="*/ 1897856 h 4575969"/>
                  <a:gd name="connsiteX92" fmla="*/ 883443 w 8971757"/>
                  <a:gd name="connsiteY92" fmla="*/ 2055018 h 4575969"/>
                  <a:gd name="connsiteX93" fmla="*/ 850106 w 8971757"/>
                  <a:gd name="connsiteY93" fmla="*/ 2116931 h 4575969"/>
                  <a:gd name="connsiteX94" fmla="*/ 819150 w 8971757"/>
                  <a:gd name="connsiteY94" fmla="*/ 2193131 h 4575969"/>
                  <a:gd name="connsiteX95" fmla="*/ 833438 w 8971757"/>
                  <a:gd name="connsiteY95" fmla="*/ 2250281 h 4575969"/>
                  <a:gd name="connsiteX96" fmla="*/ 735806 w 8971757"/>
                  <a:gd name="connsiteY96" fmla="*/ 2357438 h 4575969"/>
                  <a:gd name="connsiteX97" fmla="*/ 692944 w 8971757"/>
                  <a:gd name="connsiteY97" fmla="*/ 2471737 h 4575969"/>
                  <a:gd name="connsiteX98" fmla="*/ 726281 w 8971757"/>
                  <a:gd name="connsiteY98" fmla="*/ 2512219 h 4575969"/>
                  <a:gd name="connsiteX99" fmla="*/ 709613 w 8971757"/>
                  <a:gd name="connsiteY99" fmla="*/ 2540794 h 4575969"/>
                  <a:gd name="connsiteX100" fmla="*/ 740569 w 8971757"/>
                  <a:gd name="connsiteY100" fmla="*/ 2597944 h 4575969"/>
                  <a:gd name="connsiteX101" fmla="*/ 769144 w 8971757"/>
                  <a:gd name="connsiteY101" fmla="*/ 2597944 h 4575969"/>
                  <a:gd name="connsiteX102" fmla="*/ 931069 w 8971757"/>
                  <a:gd name="connsiteY102" fmla="*/ 2700337 h 4575969"/>
                  <a:gd name="connsiteX103" fmla="*/ 1035844 w 8971757"/>
                  <a:gd name="connsiteY103" fmla="*/ 2697956 h 4575969"/>
                  <a:gd name="connsiteX104" fmla="*/ 1114425 w 8971757"/>
                  <a:gd name="connsiteY104" fmla="*/ 2752725 h 4575969"/>
                  <a:gd name="connsiteX105" fmla="*/ 1245393 w 8971757"/>
                  <a:gd name="connsiteY105" fmla="*/ 2755106 h 4575969"/>
                  <a:gd name="connsiteX106" fmla="*/ 1435893 w 8971757"/>
                  <a:gd name="connsiteY106" fmla="*/ 2824162 h 4575969"/>
                  <a:gd name="connsiteX107" fmla="*/ 1638300 w 8971757"/>
                  <a:gd name="connsiteY107" fmla="*/ 2974181 h 4575969"/>
                  <a:gd name="connsiteX108" fmla="*/ 1671637 w 8971757"/>
                  <a:gd name="connsiteY108" fmla="*/ 3040856 h 4575969"/>
                  <a:gd name="connsiteX109" fmla="*/ 1838325 w 8971757"/>
                  <a:gd name="connsiteY109" fmla="*/ 3167062 h 4575969"/>
                  <a:gd name="connsiteX110" fmla="*/ 1909763 w 8971757"/>
                  <a:gd name="connsiteY110" fmla="*/ 3162300 h 4575969"/>
                  <a:gd name="connsiteX111" fmla="*/ 1945482 w 8971757"/>
                  <a:gd name="connsiteY111" fmla="*/ 3186112 h 4575969"/>
                  <a:gd name="connsiteX112" fmla="*/ 1916906 w 8971757"/>
                  <a:gd name="connsiteY112" fmla="*/ 3226594 h 4575969"/>
                  <a:gd name="connsiteX113" fmla="*/ 1924050 w 8971757"/>
                  <a:gd name="connsiteY113" fmla="*/ 3278981 h 4575969"/>
                  <a:gd name="connsiteX114" fmla="*/ 1976438 w 8971757"/>
                  <a:gd name="connsiteY114" fmla="*/ 3305175 h 4575969"/>
                  <a:gd name="connsiteX115" fmla="*/ 2038350 w 8971757"/>
                  <a:gd name="connsiteY115" fmla="*/ 3529013 h 4575969"/>
                  <a:gd name="connsiteX116" fmla="*/ 2028825 w 8971757"/>
                  <a:gd name="connsiteY116" fmla="*/ 3593306 h 4575969"/>
                  <a:gd name="connsiteX117" fmla="*/ 2164556 w 8971757"/>
                  <a:gd name="connsiteY117" fmla="*/ 3759994 h 4575969"/>
                  <a:gd name="connsiteX118" fmla="*/ 2183606 w 8971757"/>
                  <a:gd name="connsiteY118" fmla="*/ 3810000 h 4575969"/>
                  <a:gd name="connsiteX119" fmla="*/ 2157413 w 8971757"/>
                  <a:gd name="connsiteY119" fmla="*/ 3829050 h 4575969"/>
                  <a:gd name="connsiteX120" fmla="*/ 2259806 w 8971757"/>
                  <a:gd name="connsiteY120" fmla="*/ 3838575 h 4575969"/>
                  <a:gd name="connsiteX121" fmla="*/ 2371725 w 8971757"/>
                  <a:gd name="connsiteY121" fmla="*/ 3826669 h 4575969"/>
                  <a:gd name="connsiteX122" fmla="*/ 2650331 w 8971757"/>
                  <a:gd name="connsiteY122" fmla="*/ 3910012 h 4575969"/>
                  <a:gd name="connsiteX123" fmla="*/ 3057525 w 8971757"/>
                  <a:gd name="connsiteY123" fmla="*/ 3990975 h 4575969"/>
                  <a:gd name="connsiteX124" fmla="*/ 3255169 w 8971757"/>
                  <a:gd name="connsiteY124" fmla="*/ 3960018 h 4575969"/>
                  <a:gd name="connsiteX125" fmla="*/ 3300413 w 8971757"/>
                  <a:gd name="connsiteY125" fmla="*/ 3971924 h 4575969"/>
                  <a:gd name="connsiteX126" fmla="*/ 3355181 w 8971757"/>
                  <a:gd name="connsiteY126" fmla="*/ 3948113 h 4575969"/>
                  <a:gd name="connsiteX127" fmla="*/ 3748087 w 8971757"/>
                  <a:gd name="connsiteY127" fmla="*/ 4038600 h 4575969"/>
                  <a:gd name="connsiteX128" fmla="*/ 3831432 w 8971757"/>
                  <a:gd name="connsiteY128" fmla="*/ 4136231 h 4575969"/>
                  <a:gd name="connsiteX129" fmla="*/ 3950494 w 8971757"/>
                  <a:gd name="connsiteY129" fmla="*/ 4207669 h 4575969"/>
                  <a:gd name="connsiteX130" fmla="*/ 4010025 w 8971757"/>
                  <a:gd name="connsiteY130" fmla="*/ 4191000 h 4575969"/>
                  <a:gd name="connsiteX131" fmla="*/ 4360068 w 8971757"/>
                  <a:gd name="connsiteY131" fmla="*/ 4364831 h 4575969"/>
                  <a:gd name="connsiteX132" fmla="*/ 4586288 w 8971757"/>
                  <a:gd name="connsiteY132" fmla="*/ 4336256 h 4575969"/>
                  <a:gd name="connsiteX133" fmla="*/ 4595813 w 8971757"/>
                  <a:gd name="connsiteY133" fmla="*/ 4414837 h 4575969"/>
                  <a:gd name="connsiteX134" fmla="*/ 4681538 w 8971757"/>
                  <a:gd name="connsiteY134" fmla="*/ 4410074 h 4575969"/>
                  <a:gd name="connsiteX135" fmla="*/ 4760119 w 8971757"/>
                  <a:gd name="connsiteY135" fmla="*/ 4441031 h 4575969"/>
                  <a:gd name="connsiteX136" fmla="*/ 4802981 w 8971757"/>
                  <a:gd name="connsiteY136" fmla="*/ 4381500 h 4575969"/>
                  <a:gd name="connsiteX137" fmla="*/ 5474494 w 8971757"/>
                  <a:gd name="connsiteY137" fmla="*/ 4062412 h 4575969"/>
                  <a:gd name="connsiteX138" fmla="*/ 5562600 w 8971757"/>
                  <a:gd name="connsiteY138" fmla="*/ 4090988 h 4575969"/>
                  <a:gd name="connsiteX139" fmla="*/ 5693569 w 8971757"/>
                  <a:gd name="connsiteY139" fmla="*/ 4062412 h 4575969"/>
                  <a:gd name="connsiteX140" fmla="*/ 5872162 w 8971757"/>
                  <a:gd name="connsiteY140" fmla="*/ 4079081 h 4575969"/>
                  <a:gd name="connsiteX141" fmla="*/ 5929313 w 8971757"/>
                  <a:gd name="connsiteY141" fmla="*/ 4052888 h 4575969"/>
                  <a:gd name="connsiteX142" fmla="*/ 6062662 w 8971757"/>
                  <a:gd name="connsiteY142" fmla="*/ 4050506 h 4575969"/>
                  <a:gd name="connsiteX143" fmla="*/ 6196012 w 8971757"/>
                  <a:gd name="connsiteY143" fmla="*/ 3952875 h 4575969"/>
                  <a:gd name="connsiteX144" fmla="*/ 6262687 w 8971757"/>
                  <a:gd name="connsiteY144" fmla="*/ 3945731 h 4575969"/>
                  <a:gd name="connsiteX145" fmla="*/ 6360319 w 8971757"/>
                  <a:gd name="connsiteY145" fmla="*/ 3871912 h 4575969"/>
                  <a:gd name="connsiteX146" fmla="*/ 6434138 w 8971757"/>
                  <a:gd name="connsiteY146" fmla="*/ 3802856 h 4575969"/>
                  <a:gd name="connsiteX147" fmla="*/ 6443663 w 8971757"/>
                  <a:gd name="connsiteY147" fmla="*/ 3740944 h 4575969"/>
                  <a:gd name="connsiteX148" fmla="*/ 6477000 w 8971757"/>
                  <a:gd name="connsiteY148" fmla="*/ 3671887 h 4575969"/>
                  <a:gd name="connsiteX149" fmla="*/ 6629400 w 8971757"/>
                  <a:gd name="connsiteY149" fmla="*/ 3564731 h 4575969"/>
                  <a:gd name="connsiteX150" fmla="*/ 6662738 w 8971757"/>
                  <a:gd name="connsiteY150" fmla="*/ 3569494 h 4575969"/>
                  <a:gd name="connsiteX151" fmla="*/ 6715125 w 8971757"/>
                  <a:gd name="connsiteY151" fmla="*/ 3490912 h 4575969"/>
                  <a:gd name="connsiteX152" fmla="*/ 6762750 w 8971757"/>
                  <a:gd name="connsiteY152" fmla="*/ 3452812 h 4575969"/>
                  <a:gd name="connsiteX153" fmla="*/ 6748463 w 8971757"/>
                  <a:gd name="connsiteY153" fmla="*/ 3383756 h 4575969"/>
                  <a:gd name="connsiteX154" fmla="*/ 6698456 w 8971757"/>
                  <a:gd name="connsiteY154" fmla="*/ 3352799 h 4575969"/>
                  <a:gd name="connsiteX155" fmla="*/ 6638925 w 8971757"/>
                  <a:gd name="connsiteY155" fmla="*/ 3298031 h 4575969"/>
                  <a:gd name="connsiteX156" fmla="*/ 6619875 w 8971757"/>
                  <a:gd name="connsiteY156" fmla="*/ 3240881 h 4575969"/>
                  <a:gd name="connsiteX157" fmla="*/ 6584156 w 8971757"/>
                  <a:gd name="connsiteY157" fmla="*/ 3207544 h 4575969"/>
                  <a:gd name="connsiteX158" fmla="*/ 6610350 w 8971757"/>
                  <a:gd name="connsiteY158" fmla="*/ 3155156 h 4575969"/>
                  <a:gd name="connsiteX159" fmla="*/ 6650831 w 8971757"/>
                  <a:gd name="connsiteY159" fmla="*/ 2976562 h 4575969"/>
                  <a:gd name="connsiteX160" fmla="*/ 6691313 w 8971757"/>
                  <a:gd name="connsiteY160" fmla="*/ 2909887 h 4575969"/>
                  <a:gd name="connsiteX161" fmla="*/ 6836569 w 8971757"/>
                  <a:gd name="connsiteY161" fmla="*/ 2893218 h 4575969"/>
                  <a:gd name="connsiteX162" fmla="*/ 6905625 w 8971757"/>
                  <a:gd name="connsiteY162" fmla="*/ 2950369 h 4575969"/>
                  <a:gd name="connsiteX163" fmla="*/ 6981825 w 8971757"/>
                  <a:gd name="connsiteY163" fmla="*/ 2974181 h 4575969"/>
                  <a:gd name="connsiteX164" fmla="*/ 7186612 w 8971757"/>
                  <a:gd name="connsiteY164" fmla="*/ 2978944 h 4575969"/>
                  <a:gd name="connsiteX165" fmla="*/ 7362825 w 8971757"/>
                  <a:gd name="connsiteY165" fmla="*/ 2840831 h 4575969"/>
                  <a:gd name="connsiteX166" fmla="*/ 7419975 w 8971757"/>
                  <a:gd name="connsiteY166" fmla="*/ 2750343 h 4575969"/>
                  <a:gd name="connsiteX167" fmla="*/ 7446169 w 8971757"/>
                  <a:gd name="connsiteY167" fmla="*/ 2667000 h 4575969"/>
                  <a:gd name="connsiteX168" fmla="*/ 7577137 w 8971757"/>
                  <a:gd name="connsiteY168" fmla="*/ 2667000 h 4575969"/>
                  <a:gd name="connsiteX169" fmla="*/ 7750969 w 8971757"/>
                  <a:gd name="connsiteY169" fmla="*/ 2609849 h 4575969"/>
                  <a:gd name="connsiteX170" fmla="*/ 7810500 w 8971757"/>
                  <a:gd name="connsiteY170" fmla="*/ 2497931 h 4575969"/>
                  <a:gd name="connsiteX171" fmla="*/ 7874794 w 8971757"/>
                  <a:gd name="connsiteY171" fmla="*/ 2462212 h 4575969"/>
                  <a:gd name="connsiteX172" fmla="*/ 7853363 w 8971757"/>
                  <a:gd name="connsiteY172" fmla="*/ 2416969 h 4575969"/>
                  <a:gd name="connsiteX173" fmla="*/ 7931944 w 8971757"/>
                  <a:gd name="connsiteY173" fmla="*/ 2247899 h 4575969"/>
                  <a:gd name="connsiteX174" fmla="*/ 7986713 w 8971757"/>
                  <a:gd name="connsiteY174" fmla="*/ 2188369 h 4575969"/>
                  <a:gd name="connsiteX175" fmla="*/ 8024813 w 8971757"/>
                  <a:gd name="connsiteY175" fmla="*/ 2183606 h 4575969"/>
                  <a:gd name="connsiteX176" fmla="*/ 8070056 w 8971757"/>
                  <a:gd name="connsiteY176" fmla="*/ 2188369 h 4575969"/>
                  <a:gd name="connsiteX177" fmla="*/ 8134350 w 8971757"/>
                  <a:gd name="connsiteY177" fmla="*/ 2155031 h 4575969"/>
                  <a:gd name="connsiteX178" fmla="*/ 8143875 w 8971757"/>
                  <a:gd name="connsiteY178" fmla="*/ 2090737 h 4575969"/>
                  <a:gd name="connsiteX179" fmla="*/ 8184355 w 8971757"/>
                  <a:gd name="connsiteY179" fmla="*/ 2055019 h 4575969"/>
                  <a:gd name="connsiteX180" fmla="*/ 8243888 w 8971757"/>
                  <a:gd name="connsiteY180" fmla="*/ 2095499 h 4575969"/>
                  <a:gd name="connsiteX181" fmla="*/ 8270082 w 8971757"/>
                  <a:gd name="connsiteY181" fmla="*/ 2045493 h 4575969"/>
                  <a:gd name="connsiteX182" fmla="*/ 8365331 w 8971757"/>
                  <a:gd name="connsiteY182" fmla="*/ 1976437 h 4575969"/>
                  <a:gd name="connsiteX183" fmla="*/ 8427244 w 8971757"/>
                  <a:gd name="connsiteY183" fmla="*/ 1983581 h 4575969"/>
                  <a:gd name="connsiteX184" fmla="*/ 8477250 w 8971757"/>
                  <a:gd name="connsiteY184" fmla="*/ 1964531 h 4575969"/>
                  <a:gd name="connsiteX185" fmla="*/ 8515350 w 8971757"/>
                  <a:gd name="connsiteY185" fmla="*/ 1935956 h 4575969"/>
                  <a:gd name="connsiteX186" fmla="*/ 8548688 w 8971757"/>
                  <a:gd name="connsiteY186" fmla="*/ 1933575 h 4575969"/>
                  <a:gd name="connsiteX187" fmla="*/ 8584406 w 8971757"/>
                  <a:gd name="connsiteY187" fmla="*/ 1964531 h 4575969"/>
                  <a:gd name="connsiteX188" fmla="*/ 8643938 w 8971757"/>
                  <a:gd name="connsiteY188" fmla="*/ 1964531 h 4575969"/>
                  <a:gd name="connsiteX189" fmla="*/ 8682037 w 8971757"/>
                  <a:gd name="connsiteY189" fmla="*/ 1945481 h 4575969"/>
                  <a:gd name="connsiteX190" fmla="*/ 8765381 w 8971757"/>
                  <a:gd name="connsiteY190" fmla="*/ 1947863 h 4575969"/>
                  <a:gd name="connsiteX191" fmla="*/ 8796338 w 8971757"/>
                  <a:gd name="connsiteY191" fmla="*/ 1902619 h 4575969"/>
                  <a:gd name="connsiteX192" fmla="*/ 8801100 w 8971757"/>
                  <a:gd name="connsiteY192" fmla="*/ 1840706 h 4575969"/>
                  <a:gd name="connsiteX193" fmla="*/ 8751093 w 8971757"/>
                  <a:gd name="connsiteY193" fmla="*/ 1800225 h 4575969"/>
                  <a:gd name="connsiteX194" fmla="*/ 8734425 w 8971757"/>
                  <a:gd name="connsiteY194" fmla="*/ 1745456 h 4575969"/>
                  <a:gd name="connsiteX195" fmla="*/ 8643938 w 8971757"/>
                  <a:gd name="connsiteY195" fmla="*/ 1683544 h 4575969"/>
                  <a:gd name="connsiteX196" fmla="*/ 8603456 w 8971757"/>
                  <a:gd name="connsiteY196" fmla="*/ 1662112 h 4575969"/>
                  <a:gd name="connsiteX197" fmla="*/ 8565356 w 8971757"/>
                  <a:gd name="connsiteY197" fmla="*/ 1616869 h 4575969"/>
                  <a:gd name="connsiteX198" fmla="*/ 8534400 w 8971757"/>
                  <a:gd name="connsiteY198" fmla="*/ 1614487 h 4575969"/>
                  <a:gd name="connsiteX199" fmla="*/ 8517731 w 8971757"/>
                  <a:gd name="connsiteY199" fmla="*/ 1562100 h 4575969"/>
                  <a:gd name="connsiteX200" fmla="*/ 8477250 w 8971757"/>
                  <a:gd name="connsiteY200" fmla="*/ 1545431 h 4575969"/>
                  <a:gd name="connsiteX201" fmla="*/ 8477250 w 8971757"/>
                  <a:gd name="connsiteY201" fmla="*/ 1545431 h 4575969"/>
                  <a:gd name="connsiteX202" fmla="*/ 8436769 w 8971757"/>
                  <a:gd name="connsiteY202" fmla="*/ 1550194 h 4575969"/>
                  <a:gd name="connsiteX203" fmla="*/ 8351043 w 8971757"/>
                  <a:gd name="connsiteY203" fmla="*/ 1476375 h 4575969"/>
                  <a:gd name="connsiteX204" fmla="*/ 8170069 w 8971757"/>
                  <a:gd name="connsiteY204" fmla="*/ 1476374 h 4575969"/>
                  <a:gd name="connsiteX205" fmla="*/ 8117681 w 8971757"/>
                  <a:gd name="connsiteY205" fmla="*/ 1514475 h 4575969"/>
                  <a:gd name="connsiteX206" fmla="*/ 8067675 w 8971757"/>
                  <a:gd name="connsiteY206" fmla="*/ 1593056 h 4575969"/>
                  <a:gd name="connsiteX207" fmla="*/ 8084344 w 8971757"/>
                  <a:gd name="connsiteY207" fmla="*/ 1614487 h 4575969"/>
                  <a:gd name="connsiteX208" fmla="*/ 8039100 w 8971757"/>
                  <a:gd name="connsiteY208" fmla="*/ 1664493 h 4575969"/>
                  <a:gd name="connsiteX209" fmla="*/ 7889081 w 8971757"/>
                  <a:gd name="connsiteY209" fmla="*/ 1588293 h 4575969"/>
                  <a:gd name="connsiteX210" fmla="*/ 7798594 w 8971757"/>
                  <a:gd name="connsiteY210" fmla="*/ 1624012 h 4575969"/>
                  <a:gd name="connsiteX211" fmla="*/ 7724775 w 8971757"/>
                  <a:gd name="connsiteY211" fmla="*/ 1621631 h 4575969"/>
                  <a:gd name="connsiteX212" fmla="*/ 7667625 w 8971757"/>
                  <a:gd name="connsiteY212" fmla="*/ 1716881 h 4575969"/>
                  <a:gd name="connsiteX213" fmla="*/ 7529513 w 8971757"/>
                  <a:gd name="connsiteY21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4010025 w 8971757"/>
                  <a:gd name="connsiteY60" fmla="*/ 778669 h 4575969"/>
                  <a:gd name="connsiteX61" fmla="*/ 8412956 w 8971757"/>
                  <a:gd name="connsiteY61" fmla="*/ 23812 h 4575969"/>
                  <a:gd name="connsiteX62" fmla="*/ 8949531 w 8971757"/>
                  <a:gd name="connsiteY62" fmla="*/ 0 h 4575969"/>
                  <a:gd name="connsiteX63" fmla="*/ 8971757 w 8971757"/>
                  <a:gd name="connsiteY63" fmla="*/ 4575969 h 4575969"/>
                  <a:gd name="connsiteX64" fmla="*/ 2381 w 8971757"/>
                  <a:gd name="connsiteY64" fmla="*/ 4547392 h 4575969"/>
                  <a:gd name="connsiteX65" fmla="*/ 0 w 8971757"/>
                  <a:gd name="connsiteY65" fmla="*/ 845344 h 4575969"/>
                  <a:gd name="connsiteX66" fmla="*/ 76200 w 8971757"/>
                  <a:gd name="connsiteY66" fmla="*/ 828675 h 4575969"/>
                  <a:gd name="connsiteX67" fmla="*/ 119063 w 8971757"/>
                  <a:gd name="connsiteY67" fmla="*/ 857250 h 4575969"/>
                  <a:gd name="connsiteX68" fmla="*/ 215900 w 8971757"/>
                  <a:gd name="connsiteY68" fmla="*/ 848519 h 4575969"/>
                  <a:gd name="connsiteX69" fmla="*/ 261938 w 8971757"/>
                  <a:gd name="connsiteY69" fmla="*/ 876299 h 4575969"/>
                  <a:gd name="connsiteX70" fmla="*/ 228600 w 8971757"/>
                  <a:gd name="connsiteY70" fmla="*/ 904875 h 4575969"/>
                  <a:gd name="connsiteX71" fmla="*/ 233363 w 8971757"/>
                  <a:gd name="connsiteY71" fmla="*/ 947737 h 4575969"/>
                  <a:gd name="connsiteX72" fmla="*/ 200025 w 8971757"/>
                  <a:gd name="connsiteY72" fmla="*/ 952500 h 4575969"/>
                  <a:gd name="connsiteX73" fmla="*/ 204788 w 8971757"/>
                  <a:gd name="connsiteY73" fmla="*/ 976312 h 4575969"/>
                  <a:gd name="connsiteX74" fmla="*/ 261937 w 8971757"/>
                  <a:gd name="connsiteY74" fmla="*/ 1050131 h 4575969"/>
                  <a:gd name="connsiteX75" fmla="*/ 223838 w 8971757"/>
                  <a:gd name="connsiteY75" fmla="*/ 1097756 h 4575969"/>
                  <a:gd name="connsiteX76" fmla="*/ 278606 w 8971757"/>
                  <a:gd name="connsiteY76" fmla="*/ 1133475 h 4575969"/>
                  <a:gd name="connsiteX77" fmla="*/ 369094 w 8971757"/>
                  <a:gd name="connsiteY77" fmla="*/ 1221581 h 4575969"/>
                  <a:gd name="connsiteX78" fmla="*/ 371475 w 8971757"/>
                  <a:gd name="connsiteY78" fmla="*/ 1281112 h 4575969"/>
                  <a:gd name="connsiteX79" fmla="*/ 507206 w 8971757"/>
                  <a:gd name="connsiteY79" fmla="*/ 1414463 h 4575969"/>
                  <a:gd name="connsiteX80" fmla="*/ 561975 w 8971757"/>
                  <a:gd name="connsiteY80" fmla="*/ 1390650 h 4575969"/>
                  <a:gd name="connsiteX81" fmla="*/ 600075 w 8971757"/>
                  <a:gd name="connsiteY81" fmla="*/ 1416843 h 4575969"/>
                  <a:gd name="connsiteX82" fmla="*/ 614363 w 8971757"/>
                  <a:gd name="connsiteY82" fmla="*/ 1466849 h 4575969"/>
                  <a:gd name="connsiteX83" fmla="*/ 657225 w 8971757"/>
                  <a:gd name="connsiteY83" fmla="*/ 1502569 h 4575969"/>
                  <a:gd name="connsiteX84" fmla="*/ 697706 w 8971757"/>
                  <a:gd name="connsiteY84" fmla="*/ 1490662 h 4575969"/>
                  <a:gd name="connsiteX85" fmla="*/ 716756 w 8971757"/>
                  <a:gd name="connsiteY85" fmla="*/ 1547812 h 4575969"/>
                  <a:gd name="connsiteX86" fmla="*/ 764381 w 8971757"/>
                  <a:gd name="connsiteY86" fmla="*/ 1590675 h 4575969"/>
                  <a:gd name="connsiteX87" fmla="*/ 788194 w 8971757"/>
                  <a:gd name="connsiteY87" fmla="*/ 1693069 h 4575969"/>
                  <a:gd name="connsiteX88" fmla="*/ 785813 w 8971757"/>
                  <a:gd name="connsiteY88" fmla="*/ 1740694 h 4575969"/>
                  <a:gd name="connsiteX89" fmla="*/ 821531 w 8971757"/>
                  <a:gd name="connsiteY89" fmla="*/ 1840706 h 4575969"/>
                  <a:gd name="connsiteX90" fmla="*/ 866775 w 8971757"/>
                  <a:gd name="connsiteY90" fmla="*/ 1897856 h 4575969"/>
                  <a:gd name="connsiteX91" fmla="*/ 883443 w 8971757"/>
                  <a:gd name="connsiteY91" fmla="*/ 2055018 h 4575969"/>
                  <a:gd name="connsiteX92" fmla="*/ 850106 w 8971757"/>
                  <a:gd name="connsiteY92" fmla="*/ 2116931 h 4575969"/>
                  <a:gd name="connsiteX93" fmla="*/ 819150 w 8971757"/>
                  <a:gd name="connsiteY93" fmla="*/ 2193131 h 4575969"/>
                  <a:gd name="connsiteX94" fmla="*/ 833438 w 8971757"/>
                  <a:gd name="connsiteY94" fmla="*/ 2250281 h 4575969"/>
                  <a:gd name="connsiteX95" fmla="*/ 735806 w 8971757"/>
                  <a:gd name="connsiteY95" fmla="*/ 2357438 h 4575969"/>
                  <a:gd name="connsiteX96" fmla="*/ 692944 w 8971757"/>
                  <a:gd name="connsiteY96" fmla="*/ 2471737 h 4575969"/>
                  <a:gd name="connsiteX97" fmla="*/ 726281 w 8971757"/>
                  <a:gd name="connsiteY97" fmla="*/ 2512219 h 4575969"/>
                  <a:gd name="connsiteX98" fmla="*/ 709613 w 8971757"/>
                  <a:gd name="connsiteY98" fmla="*/ 2540794 h 4575969"/>
                  <a:gd name="connsiteX99" fmla="*/ 740569 w 8971757"/>
                  <a:gd name="connsiteY99" fmla="*/ 2597944 h 4575969"/>
                  <a:gd name="connsiteX100" fmla="*/ 769144 w 8971757"/>
                  <a:gd name="connsiteY100" fmla="*/ 2597944 h 4575969"/>
                  <a:gd name="connsiteX101" fmla="*/ 931069 w 8971757"/>
                  <a:gd name="connsiteY101" fmla="*/ 2700337 h 4575969"/>
                  <a:gd name="connsiteX102" fmla="*/ 1035844 w 8971757"/>
                  <a:gd name="connsiteY102" fmla="*/ 2697956 h 4575969"/>
                  <a:gd name="connsiteX103" fmla="*/ 1114425 w 8971757"/>
                  <a:gd name="connsiteY103" fmla="*/ 2752725 h 4575969"/>
                  <a:gd name="connsiteX104" fmla="*/ 1245393 w 8971757"/>
                  <a:gd name="connsiteY104" fmla="*/ 2755106 h 4575969"/>
                  <a:gd name="connsiteX105" fmla="*/ 1435893 w 8971757"/>
                  <a:gd name="connsiteY105" fmla="*/ 2824162 h 4575969"/>
                  <a:gd name="connsiteX106" fmla="*/ 1638300 w 8971757"/>
                  <a:gd name="connsiteY106" fmla="*/ 2974181 h 4575969"/>
                  <a:gd name="connsiteX107" fmla="*/ 1671637 w 8971757"/>
                  <a:gd name="connsiteY107" fmla="*/ 3040856 h 4575969"/>
                  <a:gd name="connsiteX108" fmla="*/ 1838325 w 8971757"/>
                  <a:gd name="connsiteY108" fmla="*/ 3167062 h 4575969"/>
                  <a:gd name="connsiteX109" fmla="*/ 1909763 w 8971757"/>
                  <a:gd name="connsiteY109" fmla="*/ 3162300 h 4575969"/>
                  <a:gd name="connsiteX110" fmla="*/ 1945482 w 8971757"/>
                  <a:gd name="connsiteY110" fmla="*/ 3186112 h 4575969"/>
                  <a:gd name="connsiteX111" fmla="*/ 1916906 w 8971757"/>
                  <a:gd name="connsiteY111" fmla="*/ 3226594 h 4575969"/>
                  <a:gd name="connsiteX112" fmla="*/ 1924050 w 8971757"/>
                  <a:gd name="connsiteY112" fmla="*/ 3278981 h 4575969"/>
                  <a:gd name="connsiteX113" fmla="*/ 1976438 w 8971757"/>
                  <a:gd name="connsiteY113" fmla="*/ 3305175 h 4575969"/>
                  <a:gd name="connsiteX114" fmla="*/ 2038350 w 8971757"/>
                  <a:gd name="connsiteY114" fmla="*/ 3529013 h 4575969"/>
                  <a:gd name="connsiteX115" fmla="*/ 2028825 w 8971757"/>
                  <a:gd name="connsiteY115" fmla="*/ 3593306 h 4575969"/>
                  <a:gd name="connsiteX116" fmla="*/ 2164556 w 8971757"/>
                  <a:gd name="connsiteY116" fmla="*/ 3759994 h 4575969"/>
                  <a:gd name="connsiteX117" fmla="*/ 2183606 w 8971757"/>
                  <a:gd name="connsiteY117" fmla="*/ 3810000 h 4575969"/>
                  <a:gd name="connsiteX118" fmla="*/ 2157413 w 8971757"/>
                  <a:gd name="connsiteY118" fmla="*/ 3829050 h 4575969"/>
                  <a:gd name="connsiteX119" fmla="*/ 2259806 w 8971757"/>
                  <a:gd name="connsiteY119" fmla="*/ 3838575 h 4575969"/>
                  <a:gd name="connsiteX120" fmla="*/ 2371725 w 8971757"/>
                  <a:gd name="connsiteY120" fmla="*/ 3826669 h 4575969"/>
                  <a:gd name="connsiteX121" fmla="*/ 2650331 w 8971757"/>
                  <a:gd name="connsiteY121" fmla="*/ 3910012 h 4575969"/>
                  <a:gd name="connsiteX122" fmla="*/ 3057525 w 8971757"/>
                  <a:gd name="connsiteY122" fmla="*/ 3990975 h 4575969"/>
                  <a:gd name="connsiteX123" fmla="*/ 3255169 w 8971757"/>
                  <a:gd name="connsiteY123" fmla="*/ 3960018 h 4575969"/>
                  <a:gd name="connsiteX124" fmla="*/ 3300413 w 8971757"/>
                  <a:gd name="connsiteY124" fmla="*/ 3971924 h 4575969"/>
                  <a:gd name="connsiteX125" fmla="*/ 3355181 w 8971757"/>
                  <a:gd name="connsiteY125" fmla="*/ 3948113 h 4575969"/>
                  <a:gd name="connsiteX126" fmla="*/ 3748087 w 8971757"/>
                  <a:gd name="connsiteY126" fmla="*/ 4038600 h 4575969"/>
                  <a:gd name="connsiteX127" fmla="*/ 3831432 w 8971757"/>
                  <a:gd name="connsiteY127" fmla="*/ 4136231 h 4575969"/>
                  <a:gd name="connsiteX128" fmla="*/ 3950494 w 8971757"/>
                  <a:gd name="connsiteY128" fmla="*/ 4207669 h 4575969"/>
                  <a:gd name="connsiteX129" fmla="*/ 4010025 w 8971757"/>
                  <a:gd name="connsiteY129" fmla="*/ 4191000 h 4575969"/>
                  <a:gd name="connsiteX130" fmla="*/ 4360068 w 8971757"/>
                  <a:gd name="connsiteY130" fmla="*/ 4364831 h 4575969"/>
                  <a:gd name="connsiteX131" fmla="*/ 4586288 w 8971757"/>
                  <a:gd name="connsiteY131" fmla="*/ 4336256 h 4575969"/>
                  <a:gd name="connsiteX132" fmla="*/ 4595813 w 8971757"/>
                  <a:gd name="connsiteY132" fmla="*/ 4414837 h 4575969"/>
                  <a:gd name="connsiteX133" fmla="*/ 4681538 w 8971757"/>
                  <a:gd name="connsiteY133" fmla="*/ 4410074 h 4575969"/>
                  <a:gd name="connsiteX134" fmla="*/ 4760119 w 8971757"/>
                  <a:gd name="connsiteY134" fmla="*/ 4441031 h 4575969"/>
                  <a:gd name="connsiteX135" fmla="*/ 4802981 w 8971757"/>
                  <a:gd name="connsiteY135" fmla="*/ 4381500 h 4575969"/>
                  <a:gd name="connsiteX136" fmla="*/ 5474494 w 8971757"/>
                  <a:gd name="connsiteY136" fmla="*/ 4062412 h 4575969"/>
                  <a:gd name="connsiteX137" fmla="*/ 5562600 w 8971757"/>
                  <a:gd name="connsiteY137" fmla="*/ 4090988 h 4575969"/>
                  <a:gd name="connsiteX138" fmla="*/ 5693569 w 8971757"/>
                  <a:gd name="connsiteY138" fmla="*/ 4062412 h 4575969"/>
                  <a:gd name="connsiteX139" fmla="*/ 5872162 w 8971757"/>
                  <a:gd name="connsiteY139" fmla="*/ 4079081 h 4575969"/>
                  <a:gd name="connsiteX140" fmla="*/ 5929313 w 8971757"/>
                  <a:gd name="connsiteY140" fmla="*/ 4052888 h 4575969"/>
                  <a:gd name="connsiteX141" fmla="*/ 6062662 w 8971757"/>
                  <a:gd name="connsiteY141" fmla="*/ 4050506 h 4575969"/>
                  <a:gd name="connsiteX142" fmla="*/ 6196012 w 8971757"/>
                  <a:gd name="connsiteY142" fmla="*/ 3952875 h 4575969"/>
                  <a:gd name="connsiteX143" fmla="*/ 6262687 w 8971757"/>
                  <a:gd name="connsiteY143" fmla="*/ 3945731 h 4575969"/>
                  <a:gd name="connsiteX144" fmla="*/ 6360319 w 8971757"/>
                  <a:gd name="connsiteY144" fmla="*/ 3871912 h 4575969"/>
                  <a:gd name="connsiteX145" fmla="*/ 6434138 w 8971757"/>
                  <a:gd name="connsiteY145" fmla="*/ 3802856 h 4575969"/>
                  <a:gd name="connsiteX146" fmla="*/ 6443663 w 8971757"/>
                  <a:gd name="connsiteY146" fmla="*/ 3740944 h 4575969"/>
                  <a:gd name="connsiteX147" fmla="*/ 6477000 w 8971757"/>
                  <a:gd name="connsiteY147" fmla="*/ 3671887 h 4575969"/>
                  <a:gd name="connsiteX148" fmla="*/ 6629400 w 8971757"/>
                  <a:gd name="connsiteY148" fmla="*/ 3564731 h 4575969"/>
                  <a:gd name="connsiteX149" fmla="*/ 6662738 w 8971757"/>
                  <a:gd name="connsiteY149" fmla="*/ 3569494 h 4575969"/>
                  <a:gd name="connsiteX150" fmla="*/ 6715125 w 8971757"/>
                  <a:gd name="connsiteY150" fmla="*/ 3490912 h 4575969"/>
                  <a:gd name="connsiteX151" fmla="*/ 6762750 w 8971757"/>
                  <a:gd name="connsiteY151" fmla="*/ 3452812 h 4575969"/>
                  <a:gd name="connsiteX152" fmla="*/ 6748463 w 8971757"/>
                  <a:gd name="connsiteY152" fmla="*/ 3383756 h 4575969"/>
                  <a:gd name="connsiteX153" fmla="*/ 6698456 w 8971757"/>
                  <a:gd name="connsiteY153" fmla="*/ 3352799 h 4575969"/>
                  <a:gd name="connsiteX154" fmla="*/ 6638925 w 8971757"/>
                  <a:gd name="connsiteY154" fmla="*/ 3298031 h 4575969"/>
                  <a:gd name="connsiteX155" fmla="*/ 6619875 w 8971757"/>
                  <a:gd name="connsiteY155" fmla="*/ 3240881 h 4575969"/>
                  <a:gd name="connsiteX156" fmla="*/ 6584156 w 8971757"/>
                  <a:gd name="connsiteY156" fmla="*/ 3207544 h 4575969"/>
                  <a:gd name="connsiteX157" fmla="*/ 6610350 w 8971757"/>
                  <a:gd name="connsiteY157" fmla="*/ 3155156 h 4575969"/>
                  <a:gd name="connsiteX158" fmla="*/ 6650831 w 8971757"/>
                  <a:gd name="connsiteY158" fmla="*/ 2976562 h 4575969"/>
                  <a:gd name="connsiteX159" fmla="*/ 6691313 w 8971757"/>
                  <a:gd name="connsiteY159" fmla="*/ 2909887 h 4575969"/>
                  <a:gd name="connsiteX160" fmla="*/ 6836569 w 8971757"/>
                  <a:gd name="connsiteY160" fmla="*/ 2893218 h 4575969"/>
                  <a:gd name="connsiteX161" fmla="*/ 6905625 w 8971757"/>
                  <a:gd name="connsiteY161" fmla="*/ 2950369 h 4575969"/>
                  <a:gd name="connsiteX162" fmla="*/ 6981825 w 8971757"/>
                  <a:gd name="connsiteY162" fmla="*/ 2974181 h 4575969"/>
                  <a:gd name="connsiteX163" fmla="*/ 7186612 w 8971757"/>
                  <a:gd name="connsiteY163" fmla="*/ 2978944 h 4575969"/>
                  <a:gd name="connsiteX164" fmla="*/ 7362825 w 8971757"/>
                  <a:gd name="connsiteY164" fmla="*/ 2840831 h 4575969"/>
                  <a:gd name="connsiteX165" fmla="*/ 7419975 w 8971757"/>
                  <a:gd name="connsiteY165" fmla="*/ 2750343 h 4575969"/>
                  <a:gd name="connsiteX166" fmla="*/ 7446169 w 8971757"/>
                  <a:gd name="connsiteY166" fmla="*/ 2667000 h 4575969"/>
                  <a:gd name="connsiteX167" fmla="*/ 7577137 w 8971757"/>
                  <a:gd name="connsiteY167" fmla="*/ 2667000 h 4575969"/>
                  <a:gd name="connsiteX168" fmla="*/ 7750969 w 8971757"/>
                  <a:gd name="connsiteY168" fmla="*/ 2609849 h 4575969"/>
                  <a:gd name="connsiteX169" fmla="*/ 7810500 w 8971757"/>
                  <a:gd name="connsiteY169" fmla="*/ 2497931 h 4575969"/>
                  <a:gd name="connsiteX170" fmla="*/ 7874794 w 8971757"/>
                  <a:gd name="connsiteY170" fmla="*/ 2462212 h 4575969"/>
                  <a:gd name="connsiteX171" fmla="*/ 7853363 w 8971757"/>
                  <a:gd name="connsiteY171" fmla="*/ 2416969 h 4575969"/>
                  <a:gd name="connsiteX172" fmla="*/ 7931944 w 8971757"/>
                  <a:gd name="connsiteY172" fmla="*/ 2247899 h 4575969"/>
                  <a:gd name="connsiteX173" fmla="*/ 7986713 w 8971757"/>
                  <a:gd name="connsiteY173" fmla="*/ 2188369 h 4575969"/>
                  <a:gd name="connsiteX174" fmla="*/ 8024813 w 8971757"/>
                  <a:gd name="connsiteY174" fmla="*/ 2183606 h 4575969"/>
                  <a:gd name="connsiteX175" fmla="*/ 8070056 w 8971757"/>
                  <a:gd name="connsiteY175" fmla="*/ 2188369 h 4575969"/>
                  <a:gd name="connsiteX176" fmla="*/ 8134350 w 8971757"/>
                  <a:gd name="connsiteY176" fmla="*/ 2155031 h 4575969"/>
                  <a:gd name="connsiteX177" fmla="*/ 8143875 w 8971757"/>
                  <a:gd name="connsiteY177" fmla="*/ 2090737 h 4575969"/>
                  <a:gd name="connsiteX178" fmla="*/ 8184355 w 8971757"/>
                  <a:gd name="connsiteY178" fmla="*/ 2055019 h 4575969"/>
                  <a:gd name="connsiteX179" fmla="*/ 8243888 w 8971757"/>
                  <a:gd name="connsiteY179" fmla="*/ 2095499 h 4575969"/>
                  <a:gd name="connsiteX180" fmla="*/ 8270082 w 8971757"/>
                  <a:gd name="connsiteY180" fmla="*/ 2045493 h 4575969"/>
                  <a:gd name="connsiteX181" fmla="*/ 8365331 w 8971757"/>
                  <a:gd name="connsiteY181" fmla="*/ 1976437 h 4575969"/>
                  <a:gd name="connsiteX182" fmla="*/ 8427244 w 8971757"/>
                  <a:gd name="connsiteY182" fmla="*/ 1983581 h 4575969"/>
                  <a:gd name="connsiteX183" fmla="*/ 8477250 w 8971757"/>
                  <a:gd name="connsiteY183" fmla="*/ 1964531 h 4575969"/>
                  <a:gd name="connsiteX184" fmla="*/ 8515350 w 8971757"/>
                  <a:gd name="connsiteY184" fmla="*/ 1935956 h 4575969"/>
                  <a:gd name="connsiteX185" fmla="*/ 8548688 w 8971757"/>
                  <a:gd name="connsiteY185" fmla="*/ 1933575 h 4575969"/>
                  <a:gd name="connsiteX186" fmla="*/ 8584406 w 8971757"/>
                  <a:gd name="connsiteY186" fmla="*/ 1964531 h 4575969"/>
                  <a:gd name="connsiteX187" fmla="*/ 8643938 w 8971757"/>
                  <a:gd name="connsiteY187" fmla="*/ 1964531 h 4575969"/>
                  <a:gd name="connsiteX188" fmla="*/ 8682037 w 8971757"/>
                  <a:gd name="connsiteY188" fmla="*/ 1945481 h 4575969"/>
                  <a:gd name="connsiteX189" fmla="*/ 8765381 w 8971757"/>
                  <a:gd name="connsiteY189" fmla="*/ 1947863 h 4575969"/>
                  <a:gd name="connsiteX190" fmla="*/ 8796338 w 8971757"/>
                  <a:gd name="connsiteY190" fmla="*/ 1902619 h 4575969"/>
                  <a:gd name="connsiteX191" fmla="*/ 8801100 w 8971757"/>
                  <a:gd name="connsiteY191" fmla="*/ 1840706 h 4575969"/>
                  <a:gd name="connsiteX192" fmla="*/ 8751093 w 8971757"/>
                  <a:gd name="connsiteY192" fmla="*/ 1800225 h 4575969"/>
                  <a:gd name="connsiteX193" fmla="*/ 8734425 w 8971757"/>
                  <a:gd name="connsiteY193" fmla="*/ 1745456 h 4575969"/>
                  <a:gd name="connsiteX194" fmla="*/ 8643938 w 8971757"/>
                  <a:gd name="connsiteY194" fmla="*/ 1683544 h 4575969"/>
                  <a:gd name="connsiteX195" fmla="*/ 8603456 w 8971757"/>
                  <a:gd name="connsiteY195" fmla="*/ 1662112 h 4575969"/>
                  <a:gd name="connsiteX196" fmla="*/ 8565356 w 8971757"/>
                  <a:gd name="connsiteY196" fmla="*/ 1616869 h 4575969"/>
                  <a:gd name="connsiteX197" fmla="*/ 8534400 w 8971757"/>
                  <a:gd name="connsiteY197" fmla="*/ 1614487 h 4575969"/>
                  <a:gd name="connsiteX198" fmla="*/ 8517731 w 8971757"/>
                  <a:gd name="connsiteY198" fmla="*/ 1562100 h 4575969"/>
                  <a:gd name="connsiteX199" fmla="*/ 8477250 w 8971757"/>
                  <a:gd name="connsiteY199" fmla="*/ 1545431 h 4575969"/>
                  <a:gd name="connsiteX200" fmla="*/ 8477250 w 8971757"/>
                  <a:gd name="connsiteY200" fmla="*/ 1545431 h 4575969"/>
                  <a:gd name="connsiteX201" fmla="*/ 8436769 w 8971757"/>
                  <a:gd name="connsiteY201" fmla="*/ 1550194 h 4575969"/>
                  <a:gd name="connsiteX202" fmla="*/ 8351043 w 8971757"/>
                  <a:gd name="connsiteY202" fmla="*/ 1476375 h 4575969"/>
                  <a:gd name="connsiteX203" fmla="*/ 8170069 w 8971757"/>
                  <a:gd name="connsiteY203" fmla="*/ 1476374 h 4575969"/>
                  <a:gd name="connsiteX204" fmla="*/ 8117681 w 8971757"/>
                  <a:gd name="connsiteY204" fmla="*/ 1514475 h 4575969"/>
                  <a:gd name="connsiteX205" fmla="*/ 8067675 w 8971757"/>
                  <a:gd name="connsiteY205" fmla="*/ 1593056 h 4575969"/>
                  <a:gd name="connsiteX206" fmla="*/ 8084344 w 8971757"/>
                  <a:gd name="connsiteY206" fmla="*/ 1614487 h 4575969"/>
                  <a:gd name="connsiteX207" fmla="*/ 8039100 w 8971757"/>
                  <a:gd name="connsiteY207" fmla="*/ 1664493 h 4575969"/>
                  <a:gd name="connsiteX208" fmla="*/ 7889081 w 8971757"/>
                  <a:gd name="connsiteY208" fmla="*/ 1588293 h 4575969"/>
                  <a:gd name="connsiteX209" fmla="*/ 7798594 w 8971757"/>
                  <a:gd name="connsiteY209" fmla="*/ 1624012 h 4575969"/>
                  <a:gd name="connsiteX210" fmla="*/ 7724775 w 8971757"/>
                  <a:gd name="connsiteY210" fmla="*/ 1621631 h 4575969"/>
                  <a:gd name="connsiteX211" fmla="*/ 7667625 w 8971757"/>
                  <a:gd name="connsiteY211" fmla="*/ 1716881 h 4575969"/>
                  <a:gd name="connsiteX212" fmla="*/ 7529513 w 8971757"/>
                  <a:gd name="connsiteY21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4029075 w 8971757"/>
                  <a:gd name="connsiteY59" fmla="*/ 814387 h 4575969"/>
                  <a:gd name="connsiteX60" fmla="*/ 8412956 w 8971757"/>
                  <a:gd name="connsiteY60" fmla="*/ 23812 h 4575969"/>
                  <a:gd name="connsiteX61" fmla="*/ 8949531 w 8971757"/>
                  <a:gd name="connsiteY61" fmla="*/ 0 h 4575969"/>
                  <a:gd name="connsiteX62" fmla="*/ 8971757 w 8971757"/>
                  <a:gd name="connsiteY62" fmla="*/ 4575969 h 4575969"/>
                  <a:gd name="connsiteX63" fmla="*/ 2381 w 8971757"/>
                  <a:gd name="connsiteY63" fmla="*/ 4547392 h 4575969"/>
                  <a:gd name="connsiteX64" fmla="*/ 0 w 8971757"/>
                  <a:gd name="connsiteY64" fmla="*/ 845344 h 4575969"/>
                  <a:gd name="connsiteX65" fmla="*/ 76200 w 8971757"/>
                  <a:gd name="connsiteY65" fmla="*/ 828675 h 4575969"/>
                  <a:gd name="connsiteX66" fmla="*/ 119063 w 8971757"/>
                  <a:gd name="connsiteY66" fmla="*/ 857250 h 4575969"/>
                  <a:gd name="connsiteX67" fmla="*/ 215900 w 8971757"/>
                  <a:gd name="connsiteY67" fmla="*/ 848519 h 4575969"/>
                  <a:gd name="connsiteX68" fmla="*/ 261938 w 8971757"/>
                  <a:gd name="connsiteY68" fmla="*/ 876299 h 4575969"/>
                  <a:gd name="connsiteX69" fmla="*/ 228600 w 8971757"/>
                  <a:gd name="connsiteY69" fmla="*/ 904875 h 4575969"/>
                  <a:gd name="connsiteX70" fmla="*/ 233363 w 8971757"/>
                  <a:gd name="connsiteY70" fmla="*/ 947737 h 4575969"/>
                  <a:gd name="connsiteX71" fmla="*/ 200025 w 8971757"/>
                  <a:gd name="connsiteY71" fmla="*/ 952500 h 4575969"/>
                  <a:gd name="connsiteX72" fmla="*/ 204788 w 8971757"/>
                  <a:gd name="connsiteY72" fmla="*/ 976312 h 4575969"/>
                  <a:gd name="connsiteX73" fmla="*/ 261937 w 8971757"/>
                  <a:gd name="connsiteY73" fmla="*/ 1050131 h 4575969"/>
                  <a:gd name="connsiteX74" fmla="*/ 223838 w 8971757"/>
                  <a:gd name="connsiteY74" fmla="*/ 1097756 h 4575969"/>
                  <a:gd name="connsiteX75" fmla="*/ 278606 w 8971757"/>
                  <a:gd name="connsiteY75" fmla="*/ 1133475 h 4575969"/>
                  <a:gd name="connsiteX76" fmla="*/ 369094 w 8971757"/>
                  <a:gd name="connsiteY76" fmla="*/ 1221581 h 4575969"/>
                  <a:gd name="connsiteX77" fmla="*/ 371475 w 8971757"/>
                  <a:gd name="connsiteY77" fmla="*/ 1281112 h 4575969"/>
                  <a:gd name="connsiteX78" fmla="*/ 507206 w 8971757"/>
                  <a:gd name="connsiteY78" fmla="*/ 1414463 h 4575969"/>
                  <a:gd name="connsiteX79" fmla="*/ 561975 w 8971757"/>
                  <a:gd name="connsiteY79" fmla="*/ 1390650 h 4575969"/>
                  <a:gd name="connsiteX80" fmla="*/ 600075 w 8971757"/>
                  <a:gd name="connsiteY80" fmla="*/ 1416843 h 4575969"/>
                  <a:gd name="connsiteX81" fmla="*/ 614363 w 8971757"/>
                  <a:gd name="connsiteY81" fmla="*/ 1466849 h 4575969"/>
                  <a:gd name="connsiteX82" fmla="*/ 657225 w 8971757"/>
                  <a:gd name="connsiteY82" fmla="*/ 1502569 h 4575969"/>
                  <a:gd name="connsiteX83" fmla="*/ 697706 w 8971757"/>
                  <a:gd name="connsiteY83" fmla="*/ 1490662 h 4575969"/>
                  <a:gd name="connsiteX84" fmla="*/ 716756 w 8971757"/>
                  <a:gd name="connsiteY84" fmla="*/ 1547812 h 4575969"/>
                  <a:gd name="connsiteX85" fmla="*/ 764381 w 8971757"/>
                  <a:gd name="connsiteY85" fmla="*/ 1590675 h 4575969"/>
                  <a:gd name="connsiteX86" fmla="*/ 788194 w 8971757"/>
                  <a:gd name="connsiteY86" fmla="*/ 1693069 h 4575969"/>
                  <a:gd name="connsiteX87" fmla="*/ 785813 w 8971757"/>
                  <a:gd name="connsiteY87" fmla="*/ 1740694 h 4575969"/>
                  <a:gd name="connsiteX88" fmla="*/ 821531 w 8971757"/>
                  <a:gd name="connsiteY88" fmla="*/ 1840706 h 4575969"/>
                  <a:gd name="connsiteX89" fmla="*/ 866775 w 8971757"/>
                  <a:gd name="connsiteY89" fmla="*/ 1897856 h 4575969"/>
                  <a:gd name="connsiteX90" fmla="*/ 883443 w 8971757"/>
                  <a:gd name="connsiteY90" fmla="*/ 2055018 h 4575969"/>
                  <a:gd name="connsiteX91" fmla="*/ 850106 w 8971757"/>
                  <a:gd name="connsiteY91" fmla="*/ 2116931 h 4575969"/>
                  <a:gd name="connsiteX92" fmla="*/ 819150 w 8971757"/>
                  <a:gd name="connsiteY92" fmla="*/ 2193131 h 4575969"/>
                  <a:gd name="connsiteX93" fmla="*/ 833438 w 8971757"/>
                  <a:gd name="connsiteY93" fmla="*/ 2250281 h 4575969"/>
                  <a:gd name="connsiteX94" fmla="*/ 735806 w 8971757"/>
                  <a:gd name="connsiteY94" fmla="*/ 2357438 h 4575969"/>
                  <a:gd name="connsiteX95" fmla="*/ 692944 w 8971757"/>
                  <a:gd name="connsiteY95" fmla="*/ 2471737 h 4575969"/>
                  <a:gd name="connsiteX96" fmla="*/ 726281 w 8971757"/>
                  <a:gd name="connsiteY96" fmla="*/ 2512219 h 4575969"/>
                  <a:gd name="connsiteX97" fmla="*/ 709613 w 8971757"/>
                  <a:gd name="connsiteY97" fmla="*/ 2540794 h 4575969"/>
                  <a:gd name="connsiteX98" fmla="*/ 740569 w 8971757"/>
                  <a:gd name="connsiteY98" fmla="*/ 2597944 h 4575969"/>
                  <a:gd name="connsiteX99" fmla="*/ 769144 w 8971757"/>
                  <a:gd name="connsiteY99" fmla="*/ 2597944 h 4575969"/>
                  <a:gd name="connsiteX100" fmla="*/ 931069 w 8971757"/>
                  <a:gd name="connsiteY100" fmla="*/ 2700337 h 4575969"/>
                  <a:gd name="connsiteX101" fmla="*/ 1035844 w 8971757"/>
                  <a:gd name="connsiteY101" fmla="*/ 2697956 h 4575969"/>
                  <a:gd name="connsiteX102" fmla="*/ 1114425 w 8971757"/>
                  <a:gd name="connsiteY102" fmla="*/ 2752725 h 4575969"/>
                  <a:gd name="connsiteX103" fmla="*/ 1245393 w 8971757"/>
                  <a:gd name="connsiteY103" fmla="*/ 2755106 h 4575969"/>
                  <a:gd name="connsiteX104" fmla="*/ 1435893 w 8971757"/>
                  <a:gd name="connsiteY104" fmla="*/ 2824162 h 4575969"/>
                  <a:gd name="connsiteX105" fmla="*/ 1638300 w 8971757"/>
                  <a:gd name="connsiteY105" fmla="*/ 2974181 h 4575969"/>
                  <a:gd name="connsiteX106" fmla="*/ 1671637 w 8971757"/>
                  <a:gd name="connsiteY106" fmla="*/ 3040856 h 4575969"/>
                  <a:gd name="connsiteX107" fmla="*/ 1838325 w 8971757"/>
                  <a:gd name="connsiteY107" fmla="*/ 3167062 h 4575969"/>
                  <a:gd name="connsiteX108" fmla="*/ 1909763 w 8971757"/>
                  <a:gd name="connsiteY108" fmla="*/ 3162300 h 4575969"/>
                  <a:gd name="connsiteX109" fmla="*/ 1945482 w 8971757"/>
                  <a:gd name="connsiteY109" fmla="*/ 3186112 h 4575969"/>
                  <a:gd name="connsiteX110" fmla="*/ 1916906 w 8971757"/>
                  <a:gd name="connsiteY110" fmla="*/ 3226594 h 4575969"/>
                  <a:gd name="connsiteX111" fmla="*/ 1924050 w 8971757"/>
                  <a:gd name="connsiteY111" fmla="*/ 3278981 h 4575969"/>
                  <a:gd name="connsiteX112" fmla="*/ 1976438 w 8971757"/>
                  <a:gd name="connsiteY112" fmla="*/ 3305175 h 4575969"/>
                  <a:gd name="connsiteX113" fmla="*/ 2038350 w 8971757"/>
                  <a:gd name="connsiteY113" fmla="*/ 3529013 h 4575969"/>
                  <a:gd name="connsiteX114" fmla="*/ 2028825 w 8971757"/>
                  <a:gd name="connsiteY114" fmla="*/ 3593306 h 4575969"/>
                  <a:gd name="connsiteX115" fmla="*/ 2164556 w 8971757"/>
                  <a:gd name="connsiteY115" fmla="*/ 3759994 h 4575969"/>
                  <a:gd name="connsiteX116" fmla="*/ 2183606 w 8971757"/>
                  <a:gd name="connsiteY116" fmla="*/ 3810000 h 4575969"/>
                  <a:gd name="connsiteX117" fmla="*/ 2157413 w 8971757"/>
                  <a:gd name="connsiteY117" fmla="*/ 3829050 h 4575969"/>
                  <a:gd name="connsiteX118" fmla="*/ 2259806 w 8971757"/>
                  <a:gd name="connsiteY118" fmla="*/ 3838575 h 4575969"/>
                  <a:gd name="connsiteX119" fmla="*/ 2371725 w 8971757"/>
                  <a:gd name="connsiteY119" fmla="*/ 3826669 h 4575969"/>
                  <a:gd name="connsiteX120" fmla="*/ 2650331 w 8971757"/>
                  <a:gd name="connsiteY120" fmla="*/ 3910012 h 4575969"/>
                  <a:gd name="connsiteX121" fmla="*/ 3057525 w 8971757"/>
                  <a:gd name="connsiteY121" fmla="*/ 3990975 h 4575969"/>
                  <a:gd name="connsiteX122" fmla="*/ 3255169 w 8971757"/>
                  <a:gd name="connsiteY122" fmla="*/ 3960018 h 4575969"/>
                  <a:gd name="connsiteX123" fmla="*/ 3300413 w 8971757"/>
                  <a:gd name="connsiteY123" fmla="*/ 3971924 h 4575969"/>
                  <a:gd name="connsiteX124" fmla="*/ 3355181 w 8971757"/>
                  <a:gd name="connsiteY124" fmla="*/ 3948113 h 4575969"/>
                  <a:gd name="connsiteX125" fmla="*/ 3748087 w 8971757"/>
                  <a:gd name="connsiteY125" fmla="*/ 4038600 h 4575969"/>
                  <a:gd name="connsiteX126" fmla="*/ 3831432 w 8971757"/>
                  <a:gd name="connsiteY126" fmla="*/ 4136231 h 4575969"/>
                  <a:gd name="connsiteX127" fmla="*/ 3950494 w 8971757"/>
                  <a:gd name="connsiteY127" fmla="*/ 4207669 h 4575969"/>
                  <a:gd name="connsiteX128" fmla="*/ 4010025 w 8971757"/>
                  <a:gd name="connsiteY128" fmla="*/ 4191000 h 4575969"/>
                  <a:gd name="connsiteX129" fmla="*/ 4360068 w 8971757"/>
                  <a:gd name="connsiteY129" fmla="*/ 4364831 h 4575969"/>
                  <a:gd name="connsiteX130" fmla="*/ 4586288 w 8971757"/>
                  <a:gd name="connsiteY130" fmla="*/ 4336256 h 4575969"/>
                  <a:gd name="connsiteX131" fmla="*/ 4595813 w 8971757"/>
                  <a:gd name="connsiteY131" fmla="*/ 4414837 h 4575969"/>
                  <a:gd name="connsiteX132" fmla="*/ 4681538 w 8971757"/>
                  <a:gd name="connsiteY132" fmla="*/ 4410074 h 4575969"/>
                  <a:gd name="connsiteX133" fmla="*/ 4760119 w 8971757"/>
                  <a:gd name="connsiteY133" fmla="*/ 4441031 h 4575969"/>
                  <a:gd name="connsiteX134" fmla="*/ 4802981 w 8971757"/>
                  <a:gd name="connsiteY134" fmla="*/ 4381500 h 4575969"/>
                  <a:gd name="connsiteX135" fmla="*/ 5474494 w 8971757"/>
                  <a:gd name="connsiteY135" fmla="*/ 4062412 h 4575969"/>
                  <a:gd name="connsiteX136" fmla="*/ 5562600 w 8971757"/>
                  <a:gd name="connsiteY136" fmla="*/ 4090988 h 4575969"/>
                  <a:gd name="connsiteX137" fmla="*/ 5693569 w 8971757"/>
                  <a:gd name="connsiteY137" fmla="*/ 4062412 h 4575969"/>
                  <a:gd name="connsiteX138" fmla="*/ 5872162 w 8971757"/>
                  <a:gd name="connsiteY138" fmla="*/ 4079081 h 4575969"/>
                  <a:gd name="connsiteX139" fmla="*/ 5929313 w 8971757"/>
                  <a:gd name="connsiteY139" fmla="*/ 4052888 h 4575969"/>
                  <a:gd name="connsiteX140" fmla="*/ 6062662 w 8971757"/>
                  <a:gd name="connsiteY140" fmla="*/ 4050506 h 4575969"/>
                  <a:gd name="connsiteX141" fmla="*/ 6196012 w 8971757"/>
                  <a:gd name="connsiteY141" fmla="*/ 3952875 h 4575969"/>
                  <a:gd name="connsiteX142" fmla="*/ 6262687 w 8971757"/>
                  <a:gd name="connsiteY142" fmla="*/ 3945731 h 4575969"/>
                  <a:gd name="connsiteX143" fmla="*/ 6360319 w 8971757"/>
                  <a:gd name="connsiteY143" fmla="*/ 3871912 h 4575969"/>
                  <a:gd name="connsiteX144" fmla="*/ 6434138 w 8971757"/>
                  <a:gd name="connsiteY144" fmla="*/ 3802856 h 4575969"/>
                  <a:gd name="connsiteX145" fmla="*/ 6443663 w 8971757"/>
                  <a:gd name="connsiteY145" fmla="*/ 3740944 h 4575969"/>
                  <a:gd name="connsiteX146" fmla="*/ 6477000 w 8971757"/>
                  <a:gd name="connsiteY146" fmla="*/ 3671887 h 4575969"/>
                  <a:gd name="connsiteX147" fmla="*/ 6629400 w 8971757"/>
                  <a:gd name="connsiteY147" fmla="*/ 3564731 h 4575969"/>
                  <a:gd name="connsiteX148" fmla="*/ 6662738 w 8971757"/>
                  <a:gd name="connsiteY148" fmla="*/ 3569494 h 4575969"/>
                  <a:gd name="connsiteX149" fmla="*/ 6715125 w 8971757"/>
                  <a:gd name="connsiteY149" fmla="*/ 3490912 h 4575969"/>
                  <a:gd name="connsiteX150" fmla="*/ 6762750 w 8971757"/>
                  <a:gd name="connsiteY150" fmla="*/ 3452812 h 4575969"/>
                  <a:gd name="connsiteX151" fmla="*/ 6748463 w 8971757"/>
                  <a:gd name="connsiteY151" fmla="*/ 3383756 h 4575969"/>
                  <a:gd name="connsiteX152" fmla="*/ 6698456 w 8971757"/>
                  <a:gd name="connsiteY152" fmla="*/ 3352799 h 4575969"/>
                  <a:gd name="connsiteX153" fmla="*/ 6638925 w 8971757"/>
                  <a:gd name="connsiteY153" fmla="*/ 3298031 h 4575969"/>
                  <a:gd name="connsiteX154" fmla="*/ 6619875 w 8971757"/>
                  <a:gd name="connsiteY154" fmla="*/ 3240881 h 4575969"/>
                  <a:gd name="connsiteX155" fmla="*/ 6584156 w 8971757"/>
                  <a:gd name="connsiteY155" fmla="*/ 3207544 h 4575969"/>
                  <a:gd name="connsiteX156" fmla="*/ 6610350 w 8971757"/>
                  <a:gd name="connsiteY156" fmla="*/ 3155156 h 4575969"/>
                  <a:gd name="connsiteX157" fmla="*/ 6650831 w 8971757"/>
                  <a:gd name="connsiteY157" fmla="*/ 2976562 h 4575969"/>
                  <a:gd name="connsiteX158" fmla="*/ 6691313 w 8971757"/>
                  <a:gd name="connsiteY158" fmla="*/ 2909887 h 4575969"/>
                  <a:gd name="connsiteX159" fmla="*/ 6836569 w 8971757"/>
                  <a:gd name="connsiteY159" fmla="*/ 2893218 h 4575969"/>
                  <a:gd name="connsiteX160" fmla="*/ 6905625 w 8971757"/>
                  <a:gd name="connsiteY160" fmla="*/ 2950369 h 4575969"/>
                  <a:gd name="connsiteX161" fmla="*/ 6981825 w 8971757"/>
                  <a:gd name="connsiteY161" fmla="*/ 2974181 h 4575969"/>
                  <a:gd name="connsiteX162" fmla="*/ 7186612 w 8971757"/>
                  <a:gd name="connsiteY162" fmla="*/ 2978944 h 4575969"/>
                  <a:gd name="connsiteX163" fmla="*/ 7362825 w 8971757"/>
                  <a:gd name="connsiteY163" fmla="*/ 2840831 h 4575969"/>
                  <a:gd name="connsiteX164" fmla="*/ 7419975 w 8971757"/>
                  <a:gd name="connsiteY164" fmla="*/ 2750343 h 4575969"/>
                  <a:gd name="connsiteX165" fmla="*/ 7446169 w 8971757"/>
                  <a:gd name="connsiteY165" fmla="*/ 2667000 h 4575969"/>
                  <a:gd name="connsiteX166" fmla="*/ 7577137 w 8971757"/>
                  <a:gd name="connsiteY166" fmla="*/ 2667000 h 4575969"/>
                  <a:gd name="connsiteX167" fmla="*/ 7750969 w 8971757"/>
                  <a:gd name="connsiteY167" fmla="*/ 2609849 h 4575969"/>
                  <a:gd name="connsiteX168" fmla="*/ 7810500 w 8971757"/>
                  <a:gd name="connsiteY168" fmla="*/ 2497931 h 4575969"/>
                  <a:gd name="connsiteX169" fmla="*/ 7874794 w 8971757"/>
                  <a:gd name="connsiteY169" fmla="*/ 2462212 h 4575969"/>
                  <a:gd name="connsiteX170" fmla="*/ 7853363 w 8971757"/>
                  <a:gd name="connsiteY170" fmla="*/ 2416969 h 4575969"/>
                  <a:gd name="connsiteX171" fmla="*/ 7931944 w 8971757"/>
                  <a:gd name="connsiteY171" fmla="*/ 2247899 h 4575969"/>
                  <a:gd name="connsiteX172" fmla="*/ 7986713 w 8971757"/>
                  <a:gd name="connsiteY172" fmla="*/ 2188369 h 4575969"/>
                  <a:gd name="connsiteX173" fmla="*/ 8024813 w 8971757"/>
                  <a:gd name="connsiteY173" fmla="*/ 2183606 h 4575969"/>
                  <a:gd name="connsiteX174" fmla="*/ 8070056 w 8971757"/>
                  <a:gd name="connsiteY174" fmla="*/ 2188369 h 4575969"/>
                  <a:gd name="connsiteX175" fmla="*/ 8134350 w 8971757"/>
                  <a:gd name="connsiteY175" fmla="*/ 2155031 h 4575969"/>
                  <a:gd name="connsiteX176" fmla="*/ 8143875 w 8971757"/>
                  <a:gd name="connsiteY176" fmla="*/ 2090737 h 4575969"/>
                  <a:gd name="connsiteX177" fmla="*/ 8184355 w 8971757"/>
                  <a:gd name="connsiteY177" fmla="*/ 2055019 h 4575969"/>
                  <a:gd name="connsiteX178" fmla="*/ 8243888 w 8971757"/>
                  <a:gd name="connsiteY178" fmla="*/ 2095499 h 4575969"/>
                  <a:gd name="connsiteX179" fmla="*/ 8270082 w 8971757"/>
                  <a:gd name="connsiteY179" fmla="*/ 2045493 h 4575969"/>
                  <a:gd name="connsiteX180" fmla="*/ 8365331 w 8971757"/>
                  <a:gd name="connsiteY180" fmla="*/ 1976437 h 4575969"/>
                  <a:gd name="connsiteX181" fmla="*/ 8427244 w 8971757"/>
                  <a:gd name="connsiteY181" fmla="*/ 1983581 h 4575969"/>
                  <a:gd name="connsiteX182" fmla="*/ 8477250 w 8971757"/>
                  <a:gd name="connsiteY182" fmla="*/ 1964531 h 4575969"/>
                  <a:gd name="connsiteX183" fmla="*/ 8515350 w 8971757"/>
                  <a:gd name="connsiteY183" fmla="*/ 1935956 h 4575969"/>
                  <a:gd name="connsiteX184" fmla="*/ 8548688 w 8971757"/>
                  <a:gd name="connsiteY184" fmla="*/ 1933575 h 4575969"/>
                  <a:gd name="connsiteX185" fmla="*/ 8584406 w 8971757"/>
                  <a:gd name="connsiteY185" fmla="*/ 1964531 h 4575969"/>
                  <a:gd name="connsiteX186" fmla="*/ 8643938 w 8971757"/>
                  <a:gd name="connsiteY186" fmla="*/ 1964531 h 4575969"/>
                  <a:gd name="connsiteX187" fmla="*/ 8682037 w 8971757"/>
                  <a:gd name="connsiteY187" fmla="*/ 1945481 h 4575969"/>
                  <a:gd name="connsiteX188" fmla="*/ 8765381 w 8971757"/>
                  <a:gd name="connsiteY188" fmla="*/ 1947863 h 4575969"/>
                  <a:gd name="connsiteX189" fmla="*/ 8796338 w 8971757"/>
                  <a:gd name="connsiteY189" fmla="*/ 1902619 h 4575969"/>
                  <a:gd name="connsiteX190" fmla="*/ 8801100 w 8971757"/>
                  <a:gd name="connsiteY190" fmla="*/ 1840706 h 4575969"/>
                  <a:gd name="connsiteX191" fmla="*/ 8751093 w 8971757"/>
                  <a:gd name="connsiteY191" fmla="*/ 1800225 h 4575969"/>
                  <a:gd name="connsiteX192" fmla="*/ 8734425 w 8971757"/>
                  <a:gd name="connsiteY192" fmla="*/ 1745456 h 4575969"/>
                  <a:gd name="connsiteX193" fmla="*/ 8643938 w 8971757"/>
                  <a:gd name="connsiteY193" fmla="*/ 1683544 h 4575969"/>
                  <a:gd name="connsiteX194" fmla="*/ 8603456 w 8971757"/>
                  <a:gd name="connsiteY194" fmla="*/ 1662112 h 4575969"/>
                  <a:gd name="connsiteX195" fmla="*/ 8565356 w 8971757"/>
                  <a:gd name="connsiteY195" fmla="*/ 1616869 h 4575969"/>
                  <a:gd name="connsiteX196" fmla="*/ 8534400 w 8971757"/>
                  <a:gd name="connsiteY196" fmla="*/ 1614487 h 4575969"/>
                  <a:gd name="connsiteX197" fmla="*/ 8517731 w 8971757"/>
                  <a:gd name="connsiteY197" fmla="*/ 1562100 h 4575969"/>
                  <a:gd name="connsiteX198" fmla="*/ 8477250 w 8971757"/>
                  <a:gd name="connsiteY198" fmla="*/ 1545431 h 4575969"/>
                  <a:gd name="connsiteX199" fmla="*/ 8477250 w 8971757"/>
                  <a:gd name="connsiteY199" fmla="*/ 1545431 h 4575969"/>
                  <a:gd name="connsiteX200" fmla="*/ 8436769 w 8971757"/>
                  <a:gd name="connsiteY200" fmla="*/ 1550194 h 4575969"/>
                  <a:gd name="connsiteX201" fmla="*/ 8351043 w 8971757"/>
                  <a:gd name="connsiteY201" fmla="*/ 1476375 h 4575969"/>
                  <a:gd name="connsiteX202" fmla="*/ 8170069 w 8971757"/>
                  <a:gd name="connsiteY202" fmla="*/ 1476374 h 4575969"/>
                  <a:gd name="connsiteX203" fmla="*/ 8117681 w 8971757"/>
                  <a:gd name="connsiteY203" fmla="*/ 1514475 h 4575969"/>
                  <a:gd name="connsiteX204" fmla="*/ 8067675 w 8971757"/>
                  <a:gd name="connsiteY204" fmla="*/ 1593056 h 4575969"/>
                  <a:gd name="connsiteX205" fmla="*/ 8084344 w 8971757"/>
                  <a:gd name="connsiteY205" fmla="*/ 1614487 h 4575969"/>
                  <a:gd name="connsiteX206" fmla="*/ 8039100 w 8971757"/>
                  <a:gd name="connsiteY206" fmla="*/ 1664493 h 4575969"/>
                  <a:gd name="connsiteX207" fmla="*/ 7889081 w 8971757"/>
                  <a:gd name="connsiteY207" fmla="*/ 1588293 h 4575969"/>
                  <a:gd name="connsiteX208" fmla="*/ 7798594 w 8971757"/>
                  <a:gd name="connsiteY208" fmla="*/ 1624012 h 4575969"/>
                  <a:gd name="connsiteX209" fmla="*/ 7724775 w 8971757"/>
                  <a:gd name="connsiteY209" fmla="*/ 1621631 h 4575969"/>
                  <a:gd name="connsiteX210" fmla="*/ 7667625 w 8971757"/>
                  <a:gd name="connsiteY210" fmla="*/ 1716881 h 4575969"/>
                  <a:gd name="connsiteX211" fmla="*/ 7529513 w 8971757"/>
                  <a:gd name="connsiteY21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4074319 w 8971757"/>
                  <a:gd name="connsiteY58" fmla="*/ 804862 h 4575969"/>
                  <a:gd name="connsiteX59" fmla="*/ 8412956 w 8971757"/>
                  <a:gd name="connsiteY59" fmla="*/ 23812 h 4575969"/>
                  <a:gd name="connsiteX60" fmla="*/ 8949531 w 8971757"/>
                  <a:gd name="connsiteY60" fmla="*/ 0 h 4575969"/>
                  <a:gd name="connsiteX61" fmla="*/ 8971757 w 8971757"/>
                  <a:gd name="connsiteY61" fmla="*/ 4575969 h 4575969"/>
                  <a:gd name="connsiteX62" fmla="*/ 2381 w 8971757"/>
                  <a:gd name="connsiteY62" fmla="*/ 4547392 h 4575969"/>
                  <a:gd name="connsiteX63" fmla="*/ 0 w 8971757"/>
                  <a:gd name="connsiteY63" fmla="*/ 845344 h 4575969"/>
                  <a:gd name="connsiteX64" fmla="*/ 76200 w 8971757"/>
                  <a:gd name="connsiteY64" fmla="*/ 828675 h 4575969"/>
                  <a:gd name="connsiteX65" fmla="*/ 119063 w 8971757"/>
                  <a:gd name="connsiteY65" fmla="*/ 857250 h 4575969"/>
                  <a:gd name="connsiteX66" fmla="*/ 215900 w 8971757"/>
                  <a:gd name="connsiteY66" fmla="*/ 848519 h 4575969"/>
                  <a:gd name="connsiteX67" fmla="*/ 261938 w 8971757"/>
                  <a:gd name="connsiteY67" fmla="*/ 876299 h 4575969"/>
                  <a:gd name="connsiteX68" fmla="*/ 228600 w 8971757"/>
                  <a:gd name="connsiteY68" fmla="*/ 904875 h 4575969"/>
                  <a:gd name="connsiteX69" fmla="*/ 233363 w 8971757"/>
                  <a:gd name="connsiteY69" fmla="*/ 947737 h 4575969"/>
                  <a:gd name="connsiteX70" fmla="*/ 200025 w 8971757"/>
                  <a:gd name="connsiteY70" fmla="*/ 952500 h 4575969"/>
                  <a:gd name="connsiteX71" fmla="*/ 204788 w 8971757"/>
                  <a:gd name="connsiteY71" fmla="*/ 976312 h 4575969"/>
                  <a:gd name="connsiteX72" fmla="*/ 261937 w 8971757"/>
                  <a:gd name="connsiteY72" fmla="*/ 1050131 h 4575969"/>
                  <a:gd name="connsiteX73" fmla="*/ 223838 w 8971757"/>
                  <a:gd name="connsiteY73" fmla="*/ 1097756 h 4575969"/>
                  <a:gd name="connsiteX74" fmla="*/ 278606 w 8971757"/>
                  <a:gd name="connsiteY74" fmla="*/ 1133475 h 4575969"/>
                  <a:gd name="connsiteX75" fmla="*/ 369094 w 8971757"/>
                  <a:gd name="connsiteY75" fmla="*/ 1221581 h 4575969"/>
                  <a:gd name="connsiteX76" fmla="*/ 371475 w 8971757"/>
                  <a:gd name="connsiteY76" fmla="*/ 1281112 h 4575969"/>
                  <a:gd name="connsiteX77" fmla="*/ 507206 w 8971757"/>
                  <a:gd name="connsiteY77" fmla="*/ 1414463 h 4575969"/>
                  <a:gd name="connsiteX78" fmla="*/ 561975 w 8971757"/>
                  <a:gd name="connsiteY78" fmla="*/ 1390650 h 4575969"/>
                  <a:gd name="connsiteX79" fmla="*/ 600075 w 8971757"/>
                  <a:gd name="connsiteY79" fmla="*/ 1416843 h 4575969"/>
                  <a:gd name="connsiteX80" fmla="*/ 614363 w 8971757"/>
                  <a:gd name="connsiteY80" fmla="*/ 1466849 h 4575969"/>
                  <a:gd name="connsiteX81" fmla="*/ 657225 w 8971757"/>
                  <a:gd name="connsiteY81" fmla="*/ 1502569 h 4575969"/>
                  <a:gd name="connsiteX82" fmla="*/ 697706 w 8971757"/>
                  <a:gd name="connsiteY82" fmla="*/ 1490662 h 4575969"/>
                  <a:gd name="connsiteX83" fmla="*/ 716756 w 8971757"/>
                  <a:gd name="connsiteY83" fmla="*/ 1547812 h 4575969"/>
                  <a:gd name="connsiteX84" fmla="*/ 764381 w 8971757"/>
                  <a:gd name="connsiteY84" fmla="*/ 1590675 h 4575969"/>
                  <a:gd name="connsiteX85" fmla="*/ 788194 w 8971757"/>
                  <a:gd name="connsiteY85" fmla="*/ 1693069 h 4575969"/>
                  <a:gd name="connsiteX86" fmla="*/ 785813 w 8971757"/>
                  <a:gd name="connsiteY86" fmla="*/ 1740694 h 4575969"/>
                  <a:gd name="connsiteX87" fmla="*/ 821531 w 8971757"/>
                  <a:gd name="connsiteY87" fmla="*/ 1840706 h 4575969"/>
                  <a:gd name="connsiteX88" fmla="*/ 866775 w 8971757"/>
                  <a:gd name="connsiteY88" fmla="*/ 1897856 h 4575969"/>
                  <a:gd name="connsiteX89" fmla="*/ 883443 w 8971757"/>
                  <a:gd name="connsiteY89" fmla="*/ 2055018 h 4575969"/>
                  <a:gd name="connsiteX90" fmla="*/ 850106 w 8971757"/>
                  <a:gd name="connsiteY90" fmla="*/ 2116931 h 4575969"/>
                  <a:gd name="connsiteX91" fmla="*/ 819150 w 8971757"/>
                  <a:gd name="connsiteY91" fmla="*/ 2193131 h 4575969"/>
                  <a:gd name="connsiteX92" fmla="*/ 833438 w 8971757"/>
                  <a:gd name="connsiteY92" fmla="*/ 2250281 h 4575969"/>
                  <a:gd name="connsiteX93" fmla="*/ 735806 w 8971757"/>
                  <a:gd name="connsiteY93" fmla="*/ 2357438 h 4575969"/>
                  <a:gd name="connsiteX94" fmla="*/ 692944 w 8971757"/>
                  <a:gd name="connsiteY94" fmla="*/ 2471737 h 4575969"/>
                  <a:gd name="connsiteX95" fmla="*/ 726281 w 8971757"/>
                  <a:gd name="connsiteY95" fmla="*/ 2512219 h 4575969"/>
                  <a:gd name="connsiteX96" fmla="*/ 709613 w 8971757"/>
                  <a:gd name="connsiteY96" fmla="*/ 2540794 h 4575969"/>
                  <a:gd name="connsiteX97" fmla="*/ 740569 w 8971757"/>
                  <a:gd name="connsiteY97" fmla="*/ 2597944 h 4575969"/>
                  <a:gd name="connsiteX98" fmla="*/ 769144 w 8971757"/>
                  <a:gd name="connsiteY98" fmla="*/ 2597944 h 4575969"/>
                  <a:gd name="connsiteX99" fmla="*/ 931069 w 8971757"/>
                  <a:gd name="connsiteY99" fmla="*/ 2700337 h 4575969"/>
                  <a:gd name="connsiteX100" fmla="*/ 1035844 w 8971757"/>
                  <a:gd name="connsiteY100" fmla="*/ 2697956 h 4575969"/>
                  <a:gd name="connsiteX101" fmla="*/ 1114425 w 8971757"/>
                  <a:gd name="connsiteY101" fmla="*/ 2752725 h 4575969"/>
                  <a:gd name="connsiteX102" fmla="*/ 1245393 w 8971757"/>
                  <a:gd name="connsiteY102" fmla="*/ 2755106 h 4575969"/>
                  <a:gd name="connsiteX103" fmla="*/ 1435893 w 8971757"/>
                  <a:gd name="connsiteY103" fmla="*/ 2824162 h 4575969"/>
                  <a:gd name="connsiteX104" fmla="*/ 1638300 w 8971757"/>
                  <a:gd name="connsiteY104" fmla="*/ 2974181 h 4575969"/>
                  <a:gd name="connsiteX105" fmla="*/ 1671637 w 8971757"/>
                  <a:gd name="connsiteY105" fmla="*/ 3040856 h 4575969"/>
                  <a:gd name="connsiteX106" fmla="*/ 1838325 w 8971757"/>
                  <a:gd name="connsiteY106" fmla="*/ 3167062 h 4575969"/>
                  <a:gd name="connsiteX107" fmla="*/ 1909763 w 8971757"/>
                  <a:gd name="connsiteY107" fmla="*/ 3162300 h 4575969"/>
                  <a:gd name="connsiteX108" fmla="*/ 1945482 w 8971757"/>
                  <a:gd name="connsiteY108" fmla="*/ 3186112 h 4575969"/>
                  <a:gd name="connsiteX109" fmla="*/ 1916906 w 8971757"/>
                  <a:gd name="connsiteY109" fmla="*/ 3226594 h 4575969"/>
                  <a:gd name="connsiteX110" fmla="*/ 1924050 w 8971757"/>
                  <a:gd name="connsiteY110" fmla="*/ 3278981 h 4575969"/>
                  <a:gd name="connsiteX111" fmla="*/ 1976438 w 8971757"/>
                  <a:gd name="connsiteY111" fmla="*/ 3305175 h 4575969"/>
                  <a:gd name="connsiteX112" fmla="*/ 2038350 w 8971757"/>
                  <a:gd name="connsiteY112" fmla="*/ 3529013 h 4575969"/>
                  <a:gd name="connsiteX113" fmla="*/ 2028825 w 8971757"/>
                  <a:gd name="connsiteY113" fmla="*/ 3593306 h 4575969"/>
                  <a:gd name="connsiteX114" fmla="*/ 2164556 w 8971757"/>
                  <a:gd name="connsiteY114" fmla="*/ 3759994 h 4575969"/>
                  <a:gd name="connsiteX115" fmla="*/ 2183606 w 8971757"/>
                  <a:gd name="connsiteY115" fmla="*/ 3810000 h 4575969"/>
                  <a:gd name="connsiteX116" fmla="*/ 2157413 w 8971757"/>
                  <a:gd name="connsiteY116" fmla="*/ 3829050 h 4575969"/>
                  <a:gd name="connsiteX117" fmla="*/ 2259806 w 8971757"/>
                  <a:gd name="connsiteY117" fmla="*/ 3838575 h 4575969"/>
                  <a:gd name="connsiteX118" fmla="*/ 2371725 w 8971757"/>
                  <a:gd name="connsiteY118" fmla="*/ 3826669 h 4575969"/>
                  <a:gd name="connsiteX119" fmla="*/ 2650331 w 8971757"/>
                  <a:gd name="connsiteY119" fmla="*/ 3910012 h 4575969"/>
                  <a:gd name="connsiteX120" fmla="*/ 3057525 w 8971757"/>
                  <a:gd name="connsiteY120" fmla="*/ 3990975 h 4575969"/>
                  <a:gd name="connsiteX121" fmla="*/ 3255169 w 8971757"/>
                  <a:gd name="connsiteY121" fmla="*/ 3960018 h 4575969"/>
                  <a:gd name="connsiteX122" fmla="*/ 3300413 w 8971757"/>
                  <a:gd name="connsiteY122" fmla="*/ 3971924 h 4575969"/>
                  <a:gd name="connsiteX123" fmla="*/ 3355181 w 8971757"/>
                  <a:gd name="connsiteY123" fmla="*/ 3948113 h 4575969"/>
                  <a:gd name="connsiteX124" fmla="*/ 3748087 w 8971757"/>
                  <a:gd name="connsiteY124" fmla="*/ 4038600 h 4575969"/>
                  <a:gd name="connsiteX125" fmla="*/ 3831432 w 8971757"/>
                  <a:gd name="connsiteY125" fmla="*/ 4136231 h 4575969"/>
                  <a:gd name="connsiteX126" fmla="*/ 3950494 w 8971757"/>
                  <a:gd name="connsiteY126" fmla="*/ 4207669 h 4575969"/>
                  <a:gd name="connsiteX127" fmla="*/ 4010025 w 8971757"/>
                  <a:gd name="connsiteY127" fmla="*/ 4191000 h 4575969"/>
                  <a:gd name="connsiteX128" fmla="*/ 4360068 w 8971757"/>
                  <a:gd name="connsiteY128" fmla="*/ 4364831 h 4575969"/>
                  <a:gd name="connsiteX129" fmla="*/ 4586288 w 8971757"/>
                  <a:gd name="connsiteY129" fmla="*/ 4336256 h 4575969"/>
                  <a:gd name="connsiteX130" fmla="*/ 4595813 w 8971757"/>
                  <a:gd name="connsiteY130" fmla="*/ 4414837 h 4575969"/>
                  <a:gd name="connsiteX131" fmla="*/ 4681538 w 8971757"/>
                  <a:gd name="connsiteY131" fmla="*/ 4410074 h 4575969"/>
                  <a:gd name="connsiteX132" fmla="*/ 4760119 w 8971757"/>
                  <a:gd name="connsiteY132" fmla="*/ 4441031 h 4575969"/>
                  <a:gd name="connsiteX133" fmla="*/ 4802981 w 8971757"/>
                  <a:gd name="connsiteY133" fmla="*/ 4381500 h 4575969"/>
                  <a:gd name="connsiteX134" fmla="*/ 5474494 w 8971757"/>
                  <a:gd name="connsiteY134" fmla="*/ 4062412 h 4575969"/>
                  <a:gd name="connsiteX135" fmla="*/ 5562600 w 8971757"/>
                  <a:gd name="connsiteY135" fmla="*/ 4090988 h 4575969"/>
                  <a:gd name="connsiteX136" fmla="*/ 5693569 w 8971757"/>
                  <a:gd name="connsiteY136" fmla="*/ 4062412 h 4575969"/>
                  <a:gd name="connsiteX137" fmla="*/ 5872162 w 8971757"/>
                  <a:gd name="connsiteY137" fmla="*/ 4079081 h 4575969"/>
                  <a:gd name="connsiteX138" fmla="*/ 5929313 w 8971757"/>
                  <a:gd name="connsiteY138" fmla="*/ 4052888 h 4575969"/>
                  <a:gd name="connsiteX139" fmla="*/ 6062662 w 8971757"/>
                  <a:gd name="connsiteY139" fmla="*/ 4050506 h 4575969"/>
                  <a:gd name="connsiteX140" fmla="*/ 6196012 w 8971757"/>
                  <a:gd name="connsiteY140" fmla="*/ 3952875 h 4575969"/>
                  <a:gd name="connsiteX141" fmla="*/ 6262687 w 8971757"/>
                  <a:gd name="connsiteY141" fmla="*/ 3945731 h 4575969"/>
                  <a:gd name="connsiteX142" fmla="*/ 6360319 w 8971757"/>
                  <a:gd name="connsiteY142" fmla="*/ 3871912 h 4575969"/>
                  <a:gd name="connsiteX143" fmla="*/ 6434138 w 8971757"/>
                  <a:gd name="connsiteY143" fmla="*/ 3802856 h 4575969"/>
                  <a:gd name="connsiteX144" fmla="*/ 6443663 w 8971757"/>
                  <a:gd name="connsiteY144" fmla="*/ 3740944 h 4575969"/>
                  <a:gd name="connsiteX145" fmla="*/ 6477000 w 8971757"/>
                  <a:gd name="connsiteY145" fmla="*/ 3671887 h 4575969"/>
                  <a:gd name="connsiteX146" fmla="*/ 6629400 w 8971757"/>
                  <a:gd name="connsiteY146" fmla="*/ 3564731 h 4575969"/>
                  <a:gd name="connsiteX147" fmla="*/ 6662738 w 8971757"/>
                  <a:gd name="connsiteY147" fmla="*/ 3569494 h 4575969"/>
                  <a:gd name="connsiteX148" fmla="*/ 6715125 w 8971757"/>
                  <a:gd name="connsiteY148" fmla="*/ 3490912 h 4575969"/>
                  <a:gd name="connsiteX149" fmla="*/ 6762750 w 8971757"/>
                  <a:gd name="connsiteY149" fmla="*/ 3452812 h 4575969"/>
                  <a:gd name="connsiteX150" fmla="*/ 6748463 w 8971757"/>
                  <a:gd name="connsiteY150" fmla="*/ 3383756 h 4575969"/>
                  <a:gd name="connsiteX151" fmla="*/ 6698456 w 8971757"/>
                  <a:gd name="connsiteY151" fmla="*/ 3352799 h 4575969"/>
                  <a:gd name="connsiteX152" fmla="*/ 6638925 w 8971757"/>
                  <a:gd name="connsiteY152" fmla="*/ 3298031 h 4575969"/>
                  <a:gd name="connsiteX153" fmla="*/ 6619875 w 8971757"/>
                  <a:gd name="connsiteY153" fmla="*/ 3240881 h 4575969"/>
                  <a:gd name="connsiteX154" fmla="*/ 6584156 w 8971757"/>
                  <a:gd name="connsiteY154" fmla="*/ 3207544 h 4575969"/>
                  <a:gd name="connsiteX155" fmla="*/ 6610350 w 8971757"/>
                  <a:gd name="connsiteY155" fmla="*/ 3155156 h 4575969"/>
                  <a:gd name="connsiteX156" fmla="*/ 6650831 w 8971757"/>
                  <a:gd name="connsiteY156" fmla="*/ 2976562 h 4575969"/>
                  <a:gd name="connsiteX157" fmla="*/ 6691313 w 8971757"/>
                  <a:gd name="connsiteY157" fmla="*/ 2909887 h 4575969"/>
                  <a:gd name="connsiteX158" fmla="*/ 6836569 w 8971757"/>
                  <a:gd name="connsiteY158" fmla="*/ 2893218 h 4575969"/>
                  <a:gd name="connsiteX159" fmla="*/ 6905625 w 8971757"/>
                  <a:gd name="connsiteY159" fmla="*/ 2950369 h 4575969"/>
                  <a:gd name="connsiteX160" fmla="*/ 6981825 w 8971757"/>
                  <a:gd name="connsiteY160" fmla="*/ 2974181 h 4575969"/>
                  <a:gd name="connsiteX161" fmla="*/ 7186612 w 8971757"/>
                  <a:gd name="connsiteY161" fmla="*/ 2978944 h 4575969"/>
                  <a:gd name="connsiteX162" fmla="*/ 7362825 w 8971757"/>
                  <a:gd name="connsiteY162" fmla="*/ 2840831 h 4575969"/>
                  <a:gd name="connsiteX163" fmla="*/ 7419975 w 8971757"/>
                  <a:gd name="connsiteY163" fmla="*/ 2750343 h 4575969"/>
                  <a:gd name="connsiteX164" fmla="*/ 7446169 w 8971757"/>
                  <a:gd name="connsiteY164" fmla="*/ 2667000 h 4575969"/>
                  <a:gd name="connsiteX165" fmla="*/ 7577137 w 8971757"/>
                  <a:gd name="connsiteY165" fmla="*/ 2667000 h 4575969"/>
                  <a:gd name="connsiteX166" fmla="*/ 7750969 w 8971757"/>
                  <a:gd name="connsiteY166" fmla="*/ 2609849 h 4575969"/>
                  <a:gd name="connsiteX167" fmla="*/ 7810500 w 8971757"/>
                  <a:gd name="connsiteY167" fmla="*/ 2497931 h 4575969"/>
                  <a:gd name="connsiteX168" fmla="*/ 7874794 w 8971757"/>
                  <a:gd name="connsiteY168" fmla="*/ 2462212 h 4575969"/>
                  <a:gd name="connsiteX169" fmla="*/ 7853363 w 8971757"/>
                  <a:gd name="connsiteY169" fmla="*/ 2416969 h 4575969"/>
                  <a:gd name="connsiteX170" fmla="*/ 7931944 w 8971757"/>
                  <a:gd name="connsiteY170" fmla="*/ 2247899 h 4575969"/>
                  <a:gd name="connsiteX171" fmla="*/ 7986713 w 8971757"/>
                  <a:gd name="connsiteY171" fmla="*/ 2188369 h 4575969"/>
                  <a:gd name="connsiteX172" fmla="*/ 8024813 w 8971757"/>
                  <a:gd name="connsiteY172" fmla="*/ 2183606 h 4575969"/>
                  <a:gd name="connsiteX173" fmla="*/ 8070056 w 8971757"/>
                  <a:gd name="connsiteY173" fmla="*/ 2188369 h 4575969"/>
                  <a:gd name="connsiteX174" fmla="*/ 8134350 w 8971757"/>
                  <a:gd name="connsiteY174" fmla="*/ 2155031 h 4575969"/>
                  <a:gd name="connsiteX175" fmla="*/ 8143875 w 8971757"/>
                  <a:gd name="connsiteY175" fmla="*/ 2090737 h 4575969"/>
                  <a:gd name="connsiteX176" fmla="*/ 8184355 w 8971757"/>
                  <a:gd name="connsiteY176" fmla="*/ 2055019 h 4575969"/>
                  <a:gd name="connsiteX177" fmla="*/ 8243888 w 8971757"/>
                  <a:gd name="connsiteY177" fmla="*/ 2095499 h 4575969"/>
                  <a:gd name="connsiteX178" fmla="*/ 8270082 w 8971757"/>
                  <a:gd name="connsiteY178" fmla="*/ 2045493 h 4575969"/>
                  <a:gd name="connsiteX179" fmla="*/ 8365331 w 8971757"/>
                  <a:gd name="connsiteY179" fmla="*/ 1976437 h 4575969"/>
                  <a:gd name="connsiteX180" fmla="*/ 8427244 w 8971757"/>
                  <a:gd name="connsiteY180" fmla="*/ 1983581 h 4575969"/>
                  <a:gd name="connsiteX181" fmla="*/ 8477250 w 8971757"/>
                  <a:gd name="connsiteY181" fmla="*/ 1964531 h 4575969"/>
                  <a:gd name="connsiteX182" fmla="*/ 8515350 w 8971757"/>
                  <a:gd name="connsiteY182" fmla="*/ 1935956 h 4575969"/>
                  <a:gd name="connsiteX183" fmla="*/ 8548688 w 8971757"/>
                  <a:gd name="connsiteY183" fmla="*/ 1933575 h 4575969"/>
                  <a:gd name="connsiteX184" fmla="*/ 8584406 w 8971757"/>
                  <a:gd name="connsiteY184" fmla="*/ 1964531 h 4575969"/>
                  <a:gd name="connsiteX185" fmla="*/ 8643938 w 8971757"/>
                  <a:gd name="connsiteY185" fmla="*/ 1964531 h 4575969"/>
                  <a:gd name="connsiteX186" fmla="*/ 8682037 w 8971757"/>
                  <a:gd name="connsiteY186" fmla="*/ 1945481 h 4575969"/>
                  <a:gd name="connsiteX187" fmla="*/ 8765381 w 8971757"/>
                  <a:gd name="connsiteY187" fmla="*/ 1947863 h 4575969"/>
                  <a:gd name="connsiteX188" fmla="*/ 8796338 w 8971757"/>
                  <a:gd name="connsiteY188" fmla="*/ 1902619 h 4575969"/>
                  <a:gd name="connsiteX189" fmla="*/ 8801100 w 8971757"/>
                  <a:gd name="connsiteY189" fmla="*/ 1840706 h 4575969"/>
                  <a:gd name="connsiteX190" fmla="*/ 8751093 w 8971757"/>
                  <a:gd name="connsiteY190" fmla="*/ 1800225 h 4575969"/>
                  <a:gd name="connsiteX191" fmla="*/ 8734425 w 8971757"/>
                  <a:gd name="connsiteY191" fmla="*/ 1745456 h 4575969"/>
                  <a:gd name="connsiteX192" fmla="*/ 8643938 w 8971757"/>
                  <a:gd name="connsiteY192" fmla="*/ 1683544 h 4575969"/>
                  <a:gd name="connsiteX193" fmla="*/ 8603456 w 8971757"/>
                  <a:gd name="connsiteY193" fmla="*/ 1662112 h 4575969"/>
                  <a:gd name="connsiteX194" fmla="*/ 8565356 w 8971757"/>
                  <a:gd name="connsiteY194" fmla="*/ 1616869 h 4575969"/>
                  <a:gd name="connsiteX195" fmla="*/ 8534400 w 8971757"/>
                  <a:gd name="connsiteY195" fmla="*/ 1614487 h 4575969"/>
                  <a:gd name="connsiteX196" fmla="*/ 8517731 w 8971757"/>
                  <a:gd name="connsiteY196" fmla="*/ 1562100 h 4575969"/>
                  <a:gd name="connsiteX197" fmla="*/ 8477250 w 8971757"/>
                  <a:gd name="connsiteY197" fmla="*/ 1545431 h 4575969"/>
                  <a:gd name="connsiteX198" fmla="*/ 8477250 w 8971757"/>
                  <a:gd name="connsiteY198" fmla="*/ 1545431 h 4575969"/>
                  <a:gd name="connsiteX199" fmla="*/ 8436769 w 8971757"/>
                  <a:gd name="connsiteY199" fmla="*/ 1550194 h 4575969"/>
                  <a:gd name="connsiteX200" fmla="*/ 8351043 w 8971757"/>
                  <a:gd name="connsiteY200" fmla="*/ 1476375 h 4575969"/>
                  <a:gd name="connsiteX201" fmla="*/ 8170069 w 8971757"/>
                  <a:gd name="connsiteY201" fmla="*/ 1476374 h 4575969"/>
                  <a:gd name="connsiteX202" fmla="*/ 8117681 w 8971757"/>
                  <a:gd name="connsiteY202" fmla="*/ 1514475 h 4575969"/>
                  <a:gd name="connsiteX203" fmla="*/ 8067675 w 8971757"/>
                  <a:gd name="connsiteY203" fmla="*/ 1593056 h 4575969"/>
                  <a:gd name="connsiteX204" fmla="*/ 8084344 w 8971757"/>
                  <a:gd name="connsiteY204" fmla="*/ 1614487 h 4575969"/>
                  <a:gd name="connsiteX205" fmla="*/ 8039100 w 8971757"/>
                  <a:gd name="connsiteY205" fmla="*/ 1664493 h 4575969"/>
                  <a:gd name="connsiteX206" fmla="*/ 7889081 w 8971757"/>
                  <a:gd name="connsiteY206" fmla="*/ 1588293 h 4575969"/>
                  <a:gd name="connsiteX207" fmla="*/ 7798594 w 8971757"/>
                  <a:gd name="connsiteY207" fmla="*/ 1624012 h 4575969"/>
                  <a:gd name="connsiteX208" fmla="*/ 7724775 w 8971757"/>
                  <a:gd name="connsiteY208" fmla="*/ 1621631 h 4575969"/>
                  <a:gd name="connsiteX209" fmla="*/ 7667625 w 8971757"/>
                  <a:gd name="connsiteY209" fmla="*/ 1716881 h 4575969"/>
                  <a:gd name="connsiteX210" fmla="*/ 7529513 w 8971757"/>
                  <a:gd name="connsiteY21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4088606 w 8971757"/>
                  <a:gd name="connsiteY57" fmla="*/ 835818 h 4575969"/>
                  <a:gd name="connsiteX58" fmla="*/ 8412956 w 8971757"/>
                  <a:gd name="connsiteY58" fmla="*/ 23812 h 4575969"/>
                  <a:gd name="connsiteX59" fmla="*/ 8949531 w 8971757"/>
                  <a:gd name="connsiteY59" fmla="*/ 0 h 4575969"/>
                  <a:gd name="connsiteX60" fmla="*/ 8971757 w 8971757"/>
                  <a:gd name="connsiteY60" fmla="*/ 4575969 h 4575969"/>
                  <a:gd name="connsiteX61" fmla="*/ 2381 w 8971757"/>
                  <a:gd name="connsiteY61" fmla="*/ 4547392 h 4575969"/>
                  <a:gd name="connsiteX62" fmla="*/ 0 w 8971757"/>
                  <a:gd name="connsiteY62" fmla="*/ 845344 h 4575969"/>
                  <a:gd name="connsiteX63" fmla="*/ 76200 w 8971757"/>
                  <a:gd name="connsiteY63" fmla="*/ 828675 h 4575969"/>
                  <a:gd name="connsiteX64" fmla="*/ 119063 w 8971757"/>
                  <a:gd name="connsiteY64" fmla="*/ 857250 h 4575969"/>
                  <a:gd name="connsiteX65" fmla="*/ 215900 w 8971757"/>
                  <a:gd name="connsiteY65" fmla="*/ 848519 h 4575969"/>
                  <a:gd name="connsiteX66" fmla="*/ 261938 w 8971757"/>
                  <a:gd name="connsiteY66" fmla="*/ 876299 h 4575969"/>
                  <a:gd name="connsiteX67" fmla="*/ 228600 w 8971757"/>
                  <a:gd name="connsiteY67" fmla="*/ 904875 h 4575969"/>
                  <a:gd name="connsiteX68" fmla="*/ 233363 w 8971757"/>
                  <a:gd name="connsiteY68" fmla="*/ 947737 h 4575969"/>
                  <a:gd name="connsiteX69" fmla="*/ 200025 w 8971757"/>
                  <a:gd name="connsiteY69" fmla="*/ 952500 h 4575969"/>
                  <a:gd name="connsiteX70" fmla="*/ 204788 w 8971757"/>
                  <a:gd name="connsiteY70" fmla="*/ 976312 h 4575969"/>
                  <a:gd name="connsiteX71" fmla="*/ 261937 w 8971757"/>
                  <a:gd name="connsiteY71" fmla="*/ 1050131 h 4575969"/>
                  <a:gd name="connsiteX72" fmla="*/ 223838 w 8971757"/>
                  <a:gd name="connsiteY72" fmla="*/ 1097756 h 4575969"/>
                  <a:gd name="connsiteX73" fmla="*/ 278606 w 8971757"/>
                  <a:gd name="connsiteY73" fmla="*/ 1133475 h 4575969"/>
                  <a:gd name="connsiteX74" fmla="*/ 369094 w 8971757"/>
                  <a:gd name="connsiteY74" fmla="*/ 1221581 h 4575969"/>
                  <a:gd name="connsiteX75" fmla="*/ 371475 w 8971757"/>
                  <a:gd name="connsiteY75" fmla="*/ 1281112 h 4575969"/>
                  <a:gd name="connsiteX76" fmla="*/ 507206 w 8971757"/>
                  <a:gd name="connsiteY76" fmla="*/ 1414463 h 4575969"/>
                  <a:gd name="connsiteX77" fmla="*/ 561975 w 8971757"/>
                  <a:gd name="connsiteY77" fmla="*/ 1390650 h 4575969"/>
                  <a:gd name="connsiteX78" fmla="*/ 600075 w 8971757"/>
                  <a:gd name="connsiteY78" fmla="*/ 1416843 h 4575969"/>
                  <a:gd name="connsiteX79" fmla="*/ 614363 w 8971757"/>
                  <a:gd name="connsiteY79" fmla="*/ 1466849 h 4575969"/>
                  <a:gd name="connsiteX80" fmla="*/ 657225 w 8971757"/>
                  <a:gd name="connsiteY80" fmla="*/ 1502569 h 4575969"/>
                  <a:gd name="connsiteX81" fmla="*/ 697706 w 8971757"/>
                  <a:gd name="connsiteY81" fmla="*/ 1490662 h 4575969"/>
                  <a:gd name="connsiteX82" fmla="*/ 716756 w 8971757"/>
                  <a:gd name="connsiteY82" fmla="*/ 1547812 h 4575969"/>
                  <a:gd name="connsiteX83" fmla="*/ 764381 w 8971757"/>
                  <a:gd name="connsiteY83" fmla="*/ 1590675 h 4575969"/>
                  <a:gd name="connsiteX84" fmla="*/ 788194 w 8971757"/>
                  <a:gd name="connsiteY84" fmla="*/ 1693069 h 4575969"/>
                  <a:gd name="connsiteX85" fmla="*/ 785813 w 8971757"/>
                  <a:gd name="connsiteY85" fmla="*/ 1740694 h 4575969"/>
                  <a:gd name="connsiteX86" fmla="*/ 821531 w 8971757"/>
                  <a:gd name="connsiteY86" fmla="*/ 1840706 h 4575969"/>
                  <a:gd name="connsiteX87" fmla="*/ 866775 w 8971757"/>
                  <a:gd name="connsiteY87" fmla="*/ 1897856 h 4575969"/>
                  <a:gd name="connsiteX88" fmla="*/ 883443 w 8971757"/>
                  <a:gd name="connsiteY88" fmla="*/ 2055018 h 4575969"/>
                  <a:gd name="connsiteX89" fmla="*/ 850106 w 8971757"/>
                  <a:gd name="connsiteY89" fmla="*/ 2116931 h 4575969"/>
                  <a:gd name="connsiteX90" fmla="*/ 819150 w 8971757"/>
                  <a:gd name="connsiteY90" fmla="*/ 2193131 h 4575969"/>
                  <a:gd name="connsiteX91" fmla="*/ 833438 w 8971757"/>
                  <a:gd name="connsiteY91" fmla="*/ 2250281 h 4575969"/>
                  <a:gd name="connsiteX92" fmla="*/ 735806 w 8971757"/>
                  <a:gd name="connsiteY92" fmla="*/ 2357438 h 4575969"/>
                  <a:gd name="connsiteX93" fmla="*/ 692944 w 8971757"/>
                  <a:gd name="connsiteY93" fmla="*/ 2471737 h 4575969"/>
                  <a:gd name="connsiteX94" fmla="*/ 726281 w 8971757"/>
                  <a:gd name="connsiteY94" fmla="*/ 2512219 h 4575969"/>
                  <a:gd name="connsiteX95" fmla="*/ 709613 w 8971757"/>
                  <a:gd name="connsiteY95" fmla="*/ 2540794 h 4575969"/>
                  <a:gd name="connsiteX96" fmla="*/ 740569 w 8971757"/>
                  <a:gd name="connsiteY96" fmla="*/ 2597944 h 4575969"/>
                  <a:gd name="connsiteX97" fmla="*/ 769144 w 8971757"/>
                  <a:gd name="connsiteY97" fmla="*/ 2597944 h 4575969"/>
                  <a:gd name="connsiteX98" fmla="*/ 931069 w 8971757"/>
                  <a:gd name="connsiteY98" fmla="*/ 2700337 h 4575969"/>
                  <a:gd name="connsiteX99" fmla="*/ 1035844 w 8971757"/>
                  <a:gd name="connsiteY99" fmla="*/ 2697956 h 4575969"/>
                  <a:gd name="connsiteX100" fmla="*/ 1114425 w 8971757"/>
                  <a:gd name="connsiteY100" fmla="*/ 2752725 h 4575969"/>
                  <a:gd name="connsiteX101" fmla="*/ 1245393 w 8971757"/>
                  <a:gd name="connsiteY101" fmla="*/ 2755106 h 4575969"/>
                  <a:gd name="connsiteX102" fmla="*/ 1435893 w 8971757"/>
                  <a:gd name="connsiteY102" fmla="*/ 2824162 h 4575969"/>
                  <a:gd name="connsiteX103" fmla="*/ 1638300 w 8971757"/>
                  <a:gd name="connsiteY103" fmla="*/ 2974181 h 4575969"/>
                  <a:gd name="connsiteX104" fmla="*/ 1671637 w 8971757"/>
                  <a:gd name="connsiteY104" fmla="*/ 3040856 h 4575969"/>
                  <a:gd name="connsiteX105" fmla="*/ 1838325 w 8971757"/>
                  <a:gd name="connsiteY105" fmla="*/ 3167062 h 4575969"/>
                  <a:gd name="connsiteX106" fmla="*/ 1909763 w 8971757"/>
                  <a:gd name="connsiteY106" fmla="*/ 3162300 h 4575969"/>
                  <a:gd name="connsiteX107" fmla="*/ 1945482 w 8971757"/>
                  <a:gd name="connsiteY107" fmla="*/ 3186112 h 4575969"/>
                  <a:gd name="connsiteX108" fmla="*/ 1916906 w 8971757"/>
                  <a:gd name="connsiteY108" fmla="*/ 3226594 h 4575969"/>
                  <a:gd name="connsiteX109" fmla="*/ 1924050 w 8971757"/>
                  <a:gd name="connsiteY109" fmla="*/ 3278981 h 4575969"/>
                  <a:gd name="connsiteX110" fmla="*/ 1976438 w 8971757"/>
                  <a:gd name="connsiteY110" fmla="*/ 3305175 h 4575969"/>
                  <a:gd name="connsiteX111" fmla="*/ 2038350 w 8971757"/>
                  <a:gd name="connsiteY111" fmla="*/ 3529013 h 4575969"/>
                  <a:gd name="connsiteX112" fmla="*/ 2028825 w 8971757"/>
                  <a:gd name="connsiteY112" fmla="*/ 3593306 h 4575969"/>
                  <a:gd name="connsiteX113" fmla="*/ 2164556 w 8971757"/>
                  <a:gd name="connsiteY113" fmla="*/ 3759994 h 4575969"/>
                  <a:gd name="connsiteX114" fmla="*/ 2183606 w 8971757"/>
                  <a:gd name="connsiteY114" fmla="*/ 3810000 h 4575969"/>
                  <a:gd name="connsiteX115" fmla="*/ 2157413 w 8971757"/>
                  <a:gd name="connsiteY115" fmla="*/ 3829050 h 4575969"/>
                  <a:gd name="connsiteX116" fmla="*/ 2259806 w 8971757"/>
                  <a:gd name="connsiteY116" fmla="*/ 3838575 h 4575969"/>
                  <a:gd name="connsiteX117" fmla="*/ 2371725 w 8971757"/>
                  <a:gd name="connsiteY117" fmla="*/ 3826669 h 4575969"/>
                  <a:gd name="connsiteX118" fmla="*/ 2650331 w 8971757"/>
                  <a:gd name="connsiteY118" fmla="*/ 3910012 h 4575969"/>
                  <a:gd name="connsiteX119" fmla="*/ 3057525 w 8971757"/>
                  <a:gd name="connsiteY119" fmla="*/ 3990975 h 4575969"/>
                  <a:gd name="connsiteX120" fmla="*/ 3255169 w 8971757"/>
                  <a:gd name="connsiteY120" fmla="*/ 3960018 h 4575969"/>
                  <a:gd name="connsiteX121" fmla="*/ 3300413 w 8971757"/>
                  <a:gd name="connsiteY121" fmla="*/ 3971924 h 4575969"/>
                  <a:gd name="connsiteX122" fmla="*/ 3355181 w 8971757"/>
                  <a:gd name="connsiteY122" fmla="*/ 3948113 h 4575969"/>
                  <a:gd name="connsiteX123" fmla="*/ 3748087 w 8971757"/>
                  <a:gd name="connsiteY123" fmla="*/ 4038600 h 4575969"/>
                  <a:gd name="connsiteX124" fmla="*/ 3831432 w 8971757"/>
                  <a:gd name="connsiteY124" fmla="*/ 4136231 h 4575969"/>
                  <a:gd name="connsiteX125" fmla="*/ 3950494 w 8971757"/>
                  <a:gd name="connsiteY125" fmla="*/ 4207669 h 4575969"/>
                  <a:gd name="connsiteX126" fmla="*/ 4010025 w 8971757"/>
                  <a:gd name="connsiteY126" fmla="*/ 4191000 h 4575969"/>
                  <a:gd name="connsiteX127" fmla="*/ 4360068 w 8971757"/>
                  <a:gd name="connsiteY127" fmla="*/ 4364831 h 4575969"/>
                  <a:gd name="connsiteX128" fmla="*/ 4586288 w 8971757"/>
                  <a:gd name="connsiteY128" fmla="*/ 4336256 h 4575969"/>
                  <a:gd name="connsiteX129" fmla="*/ 4595813 w 8971757"/>
                  <a:gd name="connsiteY129" fmla="*/ 4414837 h 4575969"/>
                  <a:gd name="connsiteX130" fmla="*/ 4681538 w 8971757"/>
                  <a:gd name="connsiteY130" fmla="*/ 4410074 h 4575969"/>
                  <a:gd name="connsiteX131" fmla="*/ 4760119 w 8971757"/>
                  <a:gd name="connsiteY131" fmla="*/ 4441031 h 4575969"/>
                  <a:gd name="connsiteX132" fmla="*/ 4802981 w 8971757"/>
                  <a:gd name="connsiteY132" fmla="*/ 4381500 h 4575969"/>
                  <a:gd name="connsiteX133" fmla="*/ 5474494 w 8971757"/>
                  <a:gd name="connsiteY133" fmla="*/ 4062412 h 4575969"/>
                  <a:gd name="connsiteX134" fmla="*/ 5562600 w 8971757"/>
                  <a:gd name="connsiteY134" fmla="*/ 4090988 h 4575969"/>
                  <a:gd name="connsiteX135" fmla="*/ 5693569 w 8971757"/>
                  <a:gd name="connsiteY135" fmla="*/ 4062412 h 4575969"/>
                  <a:gd name="connsiteX136" fmla="*/ 5872162 w 8971757"/>
                  <a:gd name="connsiteY136" fmla="*/ 4079081 h 4575969"/>
                  <a:gd name="connsiteX137" fmla="*/ 5929313 w 8971757"/>
                  <a:gd name="connsiteY137" fmla="*/ 4052888 h 4575969"/>
                  <a:gd name="connsiteX138" fmla="*/ 6062662 w 8971757"/>
                  <a:gd name="connsiteY138" fmla="*/ 4050506 h 4575969"/>
                  <a:gd name="connsiteX139" fmla="*/ 6196012 w 8971757"/>
                  <a:gd name="connsiteY139" fmla="*/ 3952875 h 4575969"/>
                  <a:gd name="connsiteX140" fmla="*/ 6262687 w 8971757"/>
                  <a:gd name="connsiteY140" fmla="*/ 3945731 h 4575969"/>
                  <a:gd name="connsiteX141" fmla="*/ 6360319 w 8971757"/>
                  <a:gd name="connsiteY141" fmla="*/ 3871912 h 4575969"/>
                  <a:gd name="connsiteX142" fmla="*/ 6434138 w 8971757"/>
                  <a:gd name="connsiteY142" fmla="*/ 3802856 h 4575969"/>
                  <a:gd name="connsiteX143" fmla="*/ 6443663 w 8971757"/>
                  <a:gd name="connsiteY143" fmla="*/ 3740944 h 4575969"/>
                  <a:gd name="connsiteX144" fmla="*/ 6477000 w 8971757"/>
                  <a:gd name="connsiteY144" fmla="*/ 3671887 h 4575969"/>
                  <a:gd name="connsiteX145" fmla="*/ 6629400 w 8971757"/>
                  <a:gd name="connsiteY145" fmla="*/ 3564731 h 4575969"/>
                  <a:gd name="connsiteX146" fmla="*/ 6662738 w 8971757"/>
                  <a:gd name="connsiteY146" fmla="*/ 3569494 h 4575969"/>
                  <a:gd name="connsiteX147" fmla="*/ 6715125 w 8971757"/>
                  <a:gd name="connsiteY147" fmla="*/ 3490912 h 4575969"/>
                  <a:gd name="connsiteX148" fmla="*/ 6762750 w 8971757"/>
                  <a:gd name="connsiteY148" fmla="*/ 3452812 h 4575969"/>
                  <a:gd name="connsiteX149" fmla="*/ 6748463 w 8971757"/>
                  <a:gd name="connsiteY149" fmla="*/ 3383756 h 4575969"/>
                  <a:gd name="connsiteX150" fmla="*/ 6698456 w 8971757"/>
                  <a:gd name="connsiteY150" fmla="*/ 3352799 h 4575969"/>
                  <a:gd name="connsiteX151" fmla="*/ 6638925 w 8971757"/>
                  <a:gd name="connsiteY151" fmla="*/ 3298031 h 4575969"/>
                  <a:gd name="connsiteX152" fmla="*/ 6619875 w 8971757"/>
                  <a:gd name="connsiteY152" fmla="*/ 3240881 h 4575969"/>
                  <a:gd name="connsiteX153" fmla="*/ 6584156 w 8971757"/>
                  <a:gd name="connsiteY153" fmla="*/ 3207544 h 4575969"/>
                  <a:gd name="connsiteX154" fmla="*/ 6610350 w 8971757"/>
                  <a:gd name="connsiteY154" fmla="*/ 3155156 h 4575969"/>
                  <a:gd name="connsiteX155" fmla="*/ 6650831 w 8971757"/>
                  <a:gd name="connsiteY155" fmla="*/ 2976562 h 4575969"/>
                  <a:gd name="connsiteX156" fmla="*/ 6691313 w 8971757"/>
                  <a:gd name="connsiteY156" fmla="*/ 2909887 h 4575969"/>
                  <a:gd name="connsiteX157" fmla="*/ 6836569 w 8971757"/>
                  <a:gd name="connsiteY157" fmla="*/ 2893218 h 4575969"/>
                  <a:gd name="connsiteX158" fmla="*/ 6905625 w 8971757"/>
                  <a:gd name="connsiteY158" fmla="*/ 2950369 h 4575969"/>
                  <a:gd name="connsiteX159" fmla="*/ 6981825 w 8971757"/>
                  <a:gd name="connsiteY159" fmla="*/ 2974181 h 4575969"/>
                  <a:gd name="connsiteX160" fmla="*/ 7186612 w 8971757"/>
                  <a:gd name="connsiteY160" fmla="*/ 2978944 h 4575969"/>
                  <a:gd name="connsiteX161" fmla="*/ 7362825 w 8971757"/>
                  <a:gd name="connsiteY161" fmla="*/ 2840831 h 4575969"/>
                  <a:gd name="connsiteX162" fmla="*/ 7419975 w 8971757"/>
                  <a:gd name="connsiteY162" fmla="*/ 2750343 h 4575969"/>
                  <a:gd name="connsiteX163" fmla="*/ 7446169 w 8971757"/>
                  <a:gd name="connsiteY163" fmla="*/ 2667000 h 4575969"/>
                  <a:gd name="connsiteX164" fmla="*/ 7577137 w 8971757"/>
                  <a:gd name="connsiteY164" fmla="*/ 2667000 h 4575969"/>
                  <a:gd name="connsiteX165" fmla="*/ 7750969 w 8971757"/>
                  <a:gd name="connsiteY165" fmla="*/ 2609849 h 4575969"/>
                  <a:gd name="connsiteX166" fmla="*/ 7810500 w 8971757"/>
                  <a:gd name="connsiteY166" fmla="*/ 2497931 h 4575969"/>
                  <a:gd name="connsiteX167" fmla="*/ 7874794 w 8971757"/>
                  <a:gd name="connsiteY167" fmla="*/ 2462212 h 4575969"/>
                  <a:gd name="connsiteX168" fmla="*/ 7853363 w 8971757"/>
                  <a:gd name="connsiteY168" fmla="*/ 2416969 h 4575969"/>
                  <a:gd name="connsiteX169" fmla="*/ 7931944 w 8971757"/>
                  <a:gd name="connsiteY169" fmla="*/ 2247899 h 4575969"/>
                  <a:gd name="connsiteX170" fmla="*/ 7986713 w 8971757"/>
                  <a:gd name="connsiteY170" fmla="*/ 2188369 h 4575969"/>
                  <a:gd name="connsiteX171" fmla="*/ 8024813 w 8971757"/>
                  <a:gd name="connsiteY171" fmla="*/ 2183606 h 4575969"/>
                  <a:gd name="connsiteX172" fmla="*/ 8070056 w 8971757"/>
                  <a:gd name="connsiteY172" fmla="*/ 2188369 h 4575969"/>
                  <a:gd name="connsiteX173" fmla="*/ 8134350 w 8971757"/>
                  <a:gd name="connsiteY173" fmla="*/ 2155031 h 4575969"/>
                  <a:gd name="connsiteX174" fmla="*/ 8143875 w 8971757"/>
                  <a:gd name="connsiteY174" fmla="*/ 2090737 h 4575969"/>
                  <a:gd name="connsiteX175" fmla="*/ 8184355 w 8971757"/>
                  <a:gd name="connsiteY175" fmla="*/ 2055019 h 4575969"/>
                  <a:gd name="connsiteX176" fmla="*/ 8243888 w 8971757"/>
                  <a:gd name="connsiteY176" fmla="*/ 2095499 h 4575969"/>
                  <a:gd name="connsiteX177" fmla="*/ 8270082 w 8971757"/>
                  <a:gd name="connsiteY177" fmla="*/ 2045493 h 4575969"/>
                  <a:gd name="connsiteX178" fmla="*/ 8365331 w 8971757"/>
                  <a:gd name="connsiteY178" fmla="*/ 1976437 h 4575969"/>
                  <a:gd name="connsiteX179" fmla="*/ 8427244 w 8971757"/>
                  <a:gd name="connsiteY179" fmla="*/ 1983581 h 4575969"/>
                  <a:gd name="connsiteX180" fmla="*/ 8477250 w 8971757"/>
                  <a:gd name="connsiteY180" fmla="*/ 1964531 h 4575969"/>
                  <a:gd name="connsiteX181" fmla="*/ 8515350 w 8971757"/>
                  <a:gd name="connsiteY181" fmla="*/ 1935956 h 4575969"/>
                  <a:gd name="connsiteX182" fmla="*/ 8548688 w 8971757"/>
                  <a:gd name="connsiteY182" fmla="*/ 1933575 h 4575969"/>
                  <a:gd name="connsiteX183" fmla="*/ 8584406 w 8971757"/>
                  <a:gd name="connsiteY183" fmla="*/ 1964531 h 4575969"/>
                  <a:gd name="connsiteX184" fmla="*/ 8643938 w 8971757"/>
                  <a:gd name="connsiteY184" fmla="*/ 1964531 h 4575969"/>
                  <a:gd name="connsiteX185" fmla="*/ 8682037 w 8971757"/>
                  <a:gd name="connsiteY185" fmla="*/ 1945481 h 4575969"/>
                  <a:gd name="connsiteX186" fmla="*/ 8765381 w 8971757"/>
                  <a:gd name="connsiteY186" fmla="*/ 1947863 h 4575969"/>
                  <a:gd name="connsiteX187" fmla="*/ 8796338 w 8971757"/>
                  <a:gd name="connsiteY187" fmla="*/ 1902619 h 4575969"/>
                  <a:gd name="connsiteX188" fmla="*/ 8801100 w 8971757"/>
                  <a:gd name="connsiteY188" fmla="*/ 1840706 h 4575969"/>
                  <a:gd name="connsiteX189" fmla="*/ 8751093 w 8971757"/>
                  <a:gd name="connsiteY189" fmla="*/ 1800225 h 4575969"/>
                  <a:gd name="connsiteX190" fmla="*/ 8734425 w 8971757"/>
                  <a:gd name="connsiteY190" fmla="*/ 1745456 h 4575969"/>
                  <a:gd name="connsiteX191" fmla="*/ 8643938 w 8971757"/>
                  <a:gd name="connsiteY191" fmla="*/ 1683544 h 4575969"/>
                  <a:gd name="connsiteX192" fmla="*/ 8603456 w 8971757"/>
                  <a:gd name="connsiteY192" fmla="*/ 1662112 h 4575969"/>
                  <a:gd name="connsiteX193" fmla="*/ 8565356 w 8971757"/>
                  <a:gd name="connsiteY193" fmla="*/ 1616869 h 4575969"/>
                  <a:gd name="connsiteX194" fmla="*/ 8534400 w 8971757"/>
                  <a:gd name="connsiteY194" fmla="*/ 1614487 h 4575969"/>
                  <a:gd name="connsiteX195" fmla="*/ 8517731 w 8971757"/>
                  <a:gd name="connsiteY195" fmla="*/ 1562100 h 4575969"/>
                  <a:gd name="connsiteX196" fmla="*/ 8477250 w 8971757"/>
                  <a:gd name="connsiteY196" fmla="*/ 1545431 h 4575969"/>
                  <a:gd name="connsiteX197" fmla="*/ 8477250 w 8971757"/>
                  <a:gd name="connsiteY197" fmla="*/ 1545431 h 4575969"/>
                  <a:gd name="connsiteX198" fmla="*/ 8436769 w 8971757"/>
                  <a:gd name="connsiteY198" fmla="*/ 1550194 h 4575969"/>
                  <a:gd name="connsiteX199" fmla="*/ 8351043 w 8971757"/>
                  <a:gd name="connsiteY199" fmla="*/ 1476375 h 4575969"/>
                  <a:gd name="connsiteX200" fmla="*/ 8170069 w 8971757"/>
                  <a:gd name="connsiteY200" fmla="*/ 1476374 h 4575969"/>
                  <a:gd name="connsiteX201" fmla="*/ 8117681 w 8971757"/>
                  <a:gd name="connsiteY201" fmla="*/ 1514475 h 4575969"/>
                  <a:gd name="connsiteX202" fmla="*/ 8067675 w 8971757"/>
                  <a:gd name="connsiteY202" fmla="*/ 1593056 h 4575969"/>
                  <a:gd name="connsiteX203" fmla="*/ 8084344 w 8971757"/>
                  <a:gd name="connsiteY203" fmla="*/ 1614487 h 4575969"/>
                  <a:gd name="connsiteX204" fmla="*/ 8039100 w 8971757"/>
                  <a:gd name="connsiteY204" fmla="*/ 1664493 h 4575969"/>
                  <a:gd name="connsiteX205" fmla="*/ 7889081 w 8971757"/>
                  <a:gd name="connsiteY205" fmla="*/ 1588293 h 4575969"/>
                  <a:gd name="connsiteX206" fmla="*/ 7798594 w 8971757"/>
                  <a:gd name="connsiteY206" fmla="*/ 1624012 h 4575969"/>
                  <a:gd name="connsiteX207" fmla="*/ 7724775 w 8971757"/>
                  <a:gd name="connsiteY207" fmla="*/ 1621631 h 4575969"/>
                  <a:gd name="connsiteX208" fmla="*/ 7667625 w 8971757"/>
                  <a:gd name="connsiteY208" fmla="*/ 1716881 h 4575969"/>
                  <a:gd name="connsiteX209" fmla="*/ 7529513 w 8971757"/>
                  <a:gd name="connsiteY20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4107656 w 8971757"/>
                  <a:gd name="connsiteY56" fmla="*/ 883444 h 4575969"/>
                  <a:gd name="connsiteX57" fmla="*/ 8412956 w 8971757"/>
                  <a:gd name="connsiteY57" fmla="*/ 23812 h 4575969"/>
                  <a:gd name="connsiteX58" fmla="*/ 8949531 w 8971757"/>
                  <a:gd name="connsiteY58" fmla="*/ 0 h 4575969"/>
                  <a:gd name="connsiteX59" fmla="*/ 8971757 w 8971757"/>
                  <a:gd name="connsiteY59" fmla="*/ 4575969 h 4575969"/>
                  <a:gd name="connsiteX60" fmla="*/ 2381 w 8971757"/>
                  <a:gd name="connsiteY60" fmla="*/ 4547392 h 4575969"/>
                  <a:gd name="connsiteX61" fmla="*/ 0 w 8971757"/>
                  <a:gd name="connsiteY61" fmla="*/ 845344 h 4575969"/>
                  <a:gd name="connsiteX62" fmla="*/ 76200 w 8971757"/>
                  <a:gd name="connsiteY62" fmla="*/ 828675 h 4575969"/>
                  <a:gd name="connsiteX63" fmla="*/ 119063 w 8971757"/>
                  <a:gd name="connsiteY63" fmla="*/ 857250 h 4575969"/>
                  <a:gd name="connsiteX64" fmla="*/ 215900 w 8971757"/>
                  <a:gd name="connsiteY64" fmla="*/ 848519 h 4575969"/>
                  <a:gd name="connsiteX65" fmla="*/ 261938 w 8971757"/>
                  <a:gd name="connsiteY65" fmla="*/ 876299 h 4575969"/>
                  <a:gd name="connsiteX66" fmla="*/ 228600 w 8971757"/>
                  <a:gd name="connsiteY66" fmla="*/ 904875 h 4575969"/>
                  <a:gd name="connsiteX67" fmla="*/ 233363 w 8971757"/>
                  <a:gd name="connsiteY67" fmla="*/ 947737 h 4575969"/>
                  <a:gd name="connsiteX68" fmla="*/ 200025 w 8971757"/>
                  <a:gd name="connsiteY68" fmla="*/ 952500 h 4575969"/>
                  <a:gd name="connsiteX69" fmla="*/ 204788 w 8971757"/>
                  <a:gd name="connsiteY69" fmla="*/ 976312 h 4575969"/>
                  <a:gd name="connsiteX70" fmla="*/ 261937 w 8971757"/>
                  <a:gd name="connsiteY70" fmla="*/ 1050131 h 4575969"/>
                  <a:gd name="connsiteX71" fmla="*/ 223838 w 8971757"/>
                  <a:gd name="connsiteY71" fmla="*/ 1097756 h 4575969"/>
                  <a:gd name="connsiteX72" fmla="*/ 278606 w 8971757"/>
                  <a:gd name="connsiteY72" fmla="*/ 1133475 h 4575969"/>
                  <a:gd name="connsiteX73" fmla="*/ 369094 w 8971757"/>
                  <a:gd name="connsiteY73" fmla="*/ 1221581 h 4575969"/>
                  <a:gd name="connsiteX74" fmla="*/ 371475 w 8971757"/>
                  <a:gd name="connsiteY74" fmla="*/ 1281112 h 4575969"/>
                  <a:gd name="connsiteX75" fmla="*/ 507206 w 8971757"/>
                  <a:gd name="connsiteY75" fmla="*/ 1414463 h 4575969"/>
                  <a:gd name="connsiteX76" fmla="*/ 561975 w 8971757"/>
                  <a:gd name="connsiteY76" fmla="*/ 1390650 h 4575969"/>
                  <a:gd name="connsiteX77" fmla="*/ 600075 w 8971757"/>
                  <a:gd name="connsiteY77" fmla="*/ 1416843 h 4575969"/>
                  <a:gd name="connsiteX78" fmla="*/ 614363 w 8971757"/>
                  <a:gd name="connsiteY78" fmla="*/ 1466849 h 4575969"/>
                  <a:gd name="connsiteX79" fmla="*/ 657225 w 8971757"/>
                  <a:gd name="connsiteY79" fmla="*/ 1502569 h 4575969"/>
                  <a:gd name="connsiteX80" fmla="*/ 697706 w 8971757"/>
                  <a:gd name="connsiteY80" fmla="*/ 1490662 h 4575969"/>
                  <a:gd name="connsiteX81" fmla="*/ 716756 w 8971757"/>
                  <a:gd name="connsiteY81" fmla="*/ 1547812 h 4575969"/>
                  <a:gd name="connsiteX82" fmla="*/ 764381 w 8971757"/>
                  <a:gd name="connsiteY82" fmla="*/ 1590675 h 4575969"/>
                  <a:gd name="connsiteX83" fmla="*/ 788194 w 8971757"/>
                  <a:gd name="connsiteY83" fmla="*/ 1693069 h 4575969"/>
                  <a:gd name="connsiteX84" fmla="*/ 785813 w 8971757"/>
                  <a:gd name="connsiteY84" fmla="*/ 1740694 h 4575969"/>
                  <a:gd name="connsiteX85" fmla="*/ 821531 w 8971757"/>
                  <a:gd name="connsiteY85" fmla="*/ 1840706 h 4575969"/>
                  <a:gd name="connsiteX86" fmla="*/ 866775 w 8971757"/>
                  <a:gd name="connsiteY86" fmla="*/ 1897856 h 4575969"/>
                  <a:gd name="connsiteX87" fmla="*/ 883443 w 8971757"/>
                  <a:gd name="connsiteY87" fmla="*/ 2055018 h 4575969"/>
                  <a:gd name="connsiteX88" fmla="*/ 850106 w 8971757"/>
                  <a:gd name="connsiteY88" fmla="*/ 2116931 h 4575969"/>
                  <a:gd name="connsiteX89" fmla="*/ 819150 w 8971757"/>
                  <a:gd name="connsiteY89" fmla="*/ 2193131 h 4575969"/>
                  <a:gd name="connsiteX90" fmla="*/ 833438 w 8971757"/>
                  <a:gd name="connsiteY90" fmla="*/ 2250281 h 4575969"/>
                  <a:gd name="connsiteX91" fmla="*/ 735806 w 8971757"/>
                  <a:gd name="connsiteY91" fmla="*/ 2357438 h 4575969"/>
                  <a:gd name="connsiteX92" fmla="*/ 692944 w 8971757"/>
                  <a:gd name="connsiteY92" fmla="*/ 2471737 h 4575969"/>
                  <a:gd name="connsiteX93" fmla="*/ 726281 w 8971757"/>
                  <a:gd name="connsiteY93" fmla="*/ 2512219 h 4575969"/>
                  <a:gd name="connsiteX94" fmla="*/ 709613 w 8971757"/>
                  <a:gd name="connsiteY94" fmla="*/ 2540794 h 4575969"/>
                  <a:gd name="connsiteX95" fmla="*/ 740569 w 8971757"/>
                  <a:gd name="connsiteY95" fmla="*/ 2597944 h 4575969"/>
                  <a:gd name="connsiteX96" fmla="*/ 769144 w 8971757"/>
                  <a:gd name="connsiteY96" fmla="*/ 2597944 h 4575969"/>
                  <a:gd name="connsiteX97" fmla="*/ 931069 w 8971757"/>
                  <a:gd name="connsiteY97" fmla="*/ 2700337 h 4575969"/>
                  <a:gd name="connsiteX98" fmla="*/ 1035844 w 8971757"/>
                  <a:gd name="connsiteY98" fmla="*/ 2697956 h 4575969"/>
                  <a:gd name="connsiteX99" fmla="*/ 1114425 w 8971757"/>
                  <a:gd name="connsiteY99" fmla="*/ 2752725 h 4575969"/>
                  <a:gd name="connsiteX100" fmla="*/ 1245393 w 8971757"/>
                  <a:gd name="connsiteY100" fmla="*/ 2755106 h 4575969"/>
                  <a:gd name="connsiteX101" fmla="*/ 1435893 w 8971757"/>
                  <a:gd name="connsiteY101" fmla="*/ 2824162 h 4575969"/>
                  <a:gd name="connsiteX102" fmla="*/ 1638300 w 8971757"/>
                  <a:gd name="connsiteY102" fmla="*/ 2974181 h 4575969"/>
                  <a:gd name="connsiteX103" fmla="*/ 1671637 w 8971757"/>
                  <a:gd name="connsiteY103" fmla="*/ 3040856 h 4575969"/>
                  <a:gd name="connsiteX104" fmla="*/ 1838325 w 8971757"/>
                  <a:gd name="connsiteY104" fmla="*/ 3167062 h 4575969"/>
                  <a:gd name="connsiteX105" fmla="*/ 1909763 w 8971757"/>
                  <a:gd name="connsiteY105" fmla="*/ 3162300 h 4575969"/>
                  <a:gd name="connsiteX106" fmla="*/ 1945482 w 8971757"/>
                  <a:gd name="connsiteY106" fmla="*/ 3186112 h 4575969"/>
                  <a:gd name="connsiteX107" fmla="*/ 1916906 w 8971757"/>
                  <a:gd name="connsiteY107" fmla="*/ 3226594 h 4575969"/>
                  <a:gd name="connsiteX108" fmla="*/ 1924050 w 8971757"/>
                  <a:gd name="connsiteY108" fmla="*/ 3278981 h 4575969"/>
                  <a:gd name="connsiteX109" fmla="*/ 1976438 w 8971757"/>
                  <a:gd name="connsiteY109" fmla="*/ 3305175 h 4575969"/>
                  <a:gd name="connsiteX110" fmla="*/ 2038350 w 8971757"/>
                  <a:gd name="connsiteY110" fmla="*/ 3529013 h 4575969"/>
                  <a:gd name="connsiteX111" fmla="*/ 2028825 w 8971757"/>
                  <a:gd name="connsiteY111" fmla="*/ 3593306 h 4575969"/>
                  <a:gd name="connsiteX112" fmla="*/ 2164556 w 8971757"/>
                  <a:gd name="connsiteY112" fmla="*/ 3759994 h 4575969"/>
                  <a:gd name="connsiteX113" fmla="*/ 2183606 w 8971757"/>
                  <a:gd name="connsiteY113" fmla="*/ 3810000 h 4575969"/>
                  <a:gd name="connsiteX114" fmla="*/ 2157413 w 8971757"/>
                  <a:gd name="connsiteY114" fmla="*/ 3829050 h 4575969"/>
                  <a:gd name="connsiteX115" fmla="*/ 2259806 w 8971757"/>
                  <a:gd name="connsiteY115" fmla="*/ 3838575 h 4575969"/>
                  <a:gd name="connsiteX116" fmla="*/ 2371725 w 8971757"/>
                  <a:gd name="connsiteY116" fmla="*/ 3826669 h 4575969"/>
                  <a:gd name="connsiteX117" fmla="*/ 2650331 w 8971757"/>
                  <a:gd name="connsiteY117" fmla="*/ 3910012 h 4575969"/>
                  <a:gd name="connsiteX118" fmla="*/ 3057525 w 8971757"/>
                  <a:gd name="connsiteY118" fmla="*/ 3990975 h 4575969"/>
                  <a:gd name="connsiteX119" fmla="*/ 3255169 w 8971757"/>
                  <a:gd name="connsiteY119" fmla="*/ 3960018 h 4575969"/>
                  <a:gd name="connsiteX120" fmla="*/ 3300413 w 8971757"/>
                  <a:gd name="connsiteY120" fmla="*/ 3971924 h 4575969"/>
                  <a:gd name="connsiteX121" fmla="*/ 3355181 w 8971757"/>
                  <a:gd name="connsiteY121" fmla="*/ 3948113 h 4575969"/>
                  <a:gd name="connsiteX122" fmla="*/ 3748087 w 8971757"/>
                  <a:gd name="connsiteY122" fmla="*/ 4038600 h 4575969"/>
                  <a:gd name="connsiteX123" fmla="*/ 3831432 w 8971757"/>
                  <a:gd name="connsiteY123" fmla="*/ 4136231 h 4575969"/>
                  <a:gd name="connsiteX124" fmla="*/ 3950494 w 8971757"/>
                  <a:gd name="connsiteY124" fmla="*/ 4207669 h 4575969"/>
                  <a:gd name="connsiteX125" fmla="*/ 4010025 w 8971757"/>
                  <a:gd name="connsiteY125" fmla="*/ 4191000 h 4575969"/>
                  <a:gd name="connsiteX126" fmla="*/ 4360068 w 8971757"/>
                  <a:gd name="connsiteY126" fmla="*/ 4364831 h 4575969"/>
                  <a:gd name="connsiteX127" fmla="*/ 4586288 w 8971757"/>
                  <a:gd name="connsiteY127" fmla="*/ 4336256 h 4575969"/>
                  <a:gd name="connsiteX128" fmla="*/ 4595813 w 8971757"/>
                  <a:gd name="connsiteY128" fmla="*/ 4414837 h 4575969"/>
                  <a:gd name="connsiteX129" fmla="*/ 4681538 w 8971757"/>
                  <a:gd name="connsiteY129" fmla="*/ 4410074 h 4575969"/>
                  <a:gd name="connsiteX130" fmla="*/ 4760119 w 8971757"/>
                  <a:gd name="connsiteY130" fmla="*/ 4441031 h 4575969"/>
                  <a:gd name="connsiteX131" fmla="*/ 4802981 w 8971757"/>
                  <a:gd name="connsiteY131" fmla="*/ 4381500 h 4575969"/>
                  <a:gd name="connsiteX132" fmla="*/ 5474494 w 8971757"/>
                  <a:gd name="connsiteY132" fmla="*/ 4062412 h 4575969"/>
                  <a:gd name="connsiteX133" fmla="*/ 5562600 w 8971757"/>
                  <a:gd name="connsiteY133" fmla="*/ 4090988 h 4575969"/>
                  <a:gd name="connsiteX134" fmla="*/ 5693569 w 8971757"/>
                  <a:gd name="connsiteY134" fmla="*/ 4062412 h 4575969"/>
                  <a:gd name="connsiteX135" fmla="*/ 5872162 w 8971757"/>
                  <a:gd name="connsiteY135" fmla="*/ 4079081 h 4575969"/>
                  <a:gd name="connsiteX136" fmla="*/ 5929313 w 8971757"/>
                  <a:gd name="connsiteY136" fmla="*/ 4052888 h 4575969"/>
                  <a:gd name="connsiteX137" fmla="*/ 6062662 w 8971757"/>
                  <a:gd name="connsiteY137" fmla="*/ 4050506 h 4575969"/>
                  <a:gd name="connsiteX138" fmla="*/ 6196012 w 8971757"/>
                  <a:gd name="connsiteY138" fmla="*/ 3952875 h 4575969"/>
                  <a:gd name="connsiteX139" fmla="*/ 6262687 w 8971757"/>
                  <a:gd name="connsiteY139" fmla="*/ 3945731 h 4575969"/>
                  <a:gd name="connsiteX140" fmla="*/ 6360319 w 8971757"/>
                  <a:gd name="connsiteY140" fmla="*/ 3871912 h 4575969"/>
                  <a:gd name="connsiteX141" fmla="*/ 6434138 w 8971757"/>
                  <a:gd name="connsiteY141" fmla="*/ 3802856 h 4575969"/>
                  <a:gd name="connsiteX142" fmla="*/ 6443663 w 8971757"/>
                  <a:gd name="connsiteY142" fmla="*/ 3740944 h 4575969"/>
                  <a:gd name="connsiteX143" fmla="*/ 6477000 w 8971757"/>
                  <a:gd name="connsiteY143" fmla="*/ 3671887 h 4575969"/>
                  <a:gd name="connsiteX144" fmla="*/ 6629400 w 8971757"/>
                  <a:gd name="connsiteY144" fmla="*/ 3564731 h 4575969"/>
                  <a:gd name="connsiteX145" fmla="*/ 6662738 w 8971757"/>
                  <a:gd name="connsiteY145" fmla="*/ 3569494 h 4575969"/>
                  <a:gd name="connsiteX146" fmla="*/ 6715125 w 8971757"/>
                  <a:gd name="connsiteY146" fmla="*/ 3490912 h 4575969"/>
                  <a:gd name="connsiteX147" fmla="*/ 6762750 w 8971757"/>
                  <a:gd name="connsiteY147" fmla="*/ 3452812 h 4575969"/>
                  <a:gd name="connsiteX148" fmla="*/ 6748463 w 8971757"/>
                  <a:gd name="connsiteY148" fmla="*/ 3383756 h 4575969"/>
                  <a:gd name="connsiteX149" fmla="*/ 6698456 w 8971757"/>
                  <a:gd name="connsiteY149" fmla="*/ 3352799 h 4575969"/>
                  <a:gd name="connsiteX150" fmla="*/ 6638925 w 8971757"/>
                  <a:gd name="connsiteY150" fmla="*/ 3298031 h 4575969"/>
                  <a:gd name="connsiteX151" fmla="*/ 6619875 w 8971757"/>
                  <a:gd name="connsiteY151" fmla="*/ 3240881 h 4575969"/>
                  <a:gd name="connsiteX152" fmla="*/ 6584156 w 8971757"/>
                  <a:gd name="connsiteY152" fmla="*/ 3207544 h 4575969"/>
                  <a:gd name="connsiteX153" fmla="*/ 6610350 w 8971757"/>
                  <a:gd name="connsiteY153" fmla="*/ 3155156 h 4575969"/>
                  <a:gd name="connsiteX154" fmla="*/ 6650831 w 8971757"/>
                  <a:gd name="connsiteY154" fmla="*/ 2976562 h 4575969"/>
                  <a:gd name="connsiteX155" fmla="*/ 6691313 w 8971757"/>
                  <a:gd name="connsiteY155" fmla="*/ 2909887 h 4575969"/>
                  <a:gd name="connsiteX156" fmla="*/ 6836569 w 8971757"/>
                  <a:gd name="connsiteY156" fmla="*/ 2893218 h 4575969"/>
                  <a:gd name="connsiteX157" fmla="*/ 6905625 w 8971757"/>
                  <a:gd name="connsiteY157" fmla="*/ 2950369 h 4575969"/>
                  <a:gd name="connsiteX158" fmla="*/ 6981825 w 8971757"/>
                  <a:gd name="connsiteY158" fmla="*/ 2974181 h 4575969"/>
                  <a:gd name="connsiteX159" fmla="*/ 7186612 w 8971757"/>
                  <a:gd name="connsiteY159" fmla="*/ 2978944 h 4575969"/>
                  <a:gd name="connsiteX160" fmla="*/ 7362825 w 8971757"/>
                  <a:gd name="connsiteY160" fmla="*/ 2840831 h 4575969"/>
                  <a:gd name="connsiteX161" fmla="*/ 7419975 w 8971757"/>
                  <a:gd name="connsiteY161" fmla="*/ 2750343 h 4575969"/>
                  <a:gd name="connsiteX162" fmla="*/ 7446169 w 8971757"/>
                  <a:gd name="connsiteY162" fmla="*/ 2667000 h 4575969"/>
                  <a:gd name="connsiteX163" fmla="*/ 7577137 w 8971757"/>
                  <a:gd name="connsiteY163" fmla="*/ 2667000 h 4575969"/>
                  <a:gd name="connsiteX164" fmla="*/ 7750969 w 8971757"/>
                  <a:gd name="connsiteY164" fmla="*/ 2609849 h 4575969"/>
                  <a:gd name="connsiteX165" fmla="*/ 7810500 w 8971757"/>
                  <a:gd name="connsiteY165" fmla="*/ 2497931 h 4575969"/>
                  <a:gd name="connsiteX166" fmla="*/ 7874794 w 8971757"/>
                  <a:gd name="connsiteY166" fmla="*/ 2462212 h 4575969"/>
                  <a:gd name="connsiteX167" fmla="*/ 7853363 w 8971757"/>
                  <a:gd name="connsiteY167" fmla="*/ 2416969 h 4575969"/>
                  <a:gd name="connsiteX168" fmla="*/ 7931944 w 8971757"/>
                  <a:gd name="connsiteY168" fmla="*/ 2247899 h 4575969"/>
                  <a:gd name="connsiteX169" fmla="*/ 7986713 w 8971757"/>
                  <a:gd name="connsiteY169" fmla="*/ 2188369 h 4575969"/>
                  <a:gd name="connsiteX170" fmla="*/ 8024813 w 8971757"/>
                  <a:gd name="connsiteY170" fmla="*/ 2183606 h 4575969"/>
                  <a:gd name="connsiteX171" fmla="*/ 8070056 w 8971757"/>
                  <a:gd name="connsiteY171" fmla="*/ 2188369 h 4575969"/>
                  <a:gd name="connsiteX172" fmla="*/ 8134350 w 8971757"/>
                  <a:gd name="connsiteY172" fmla="*/ 2155031 h 4575969"/>
                  <a:gd name="connsiteX173" fmla="*/ 8143875 w 8971757"/>
                  <a:gd name="connsiteY173" fmla="*/ 2090737 h 4575969"/>
                  <a:gd name="connsiteX174" fmla="*/ 8184355 w 8971757"/>
                  <a:gd name="connsiteY174" fmla="*/ 2055019 h 4575969"/>
                  <a:gd name="connsiteX175" fmla="*/ 8243888 w 8971757"/>
                  <a:gd name="connsiteY175" fmla="*/ 2095499 h 4575969"/>
                  <a:gd name="connsiteX176" fmla="*/ 8270082 w 8971757"/>
                  <a:gd name="connsiteY176" fmla="*/ 2045493 h 4575969"/>
                  <a:gd name="connsiteX177" fmla="*/ 8365331 w 8971757"/>
                  <a:gd name="connsiteY177" fmla="*/ 1976437 h 4575969"/>
                  <a:gd name="connsiteX178" fmla="*/ 8427244 w 8971757"/>
                  <a:gd name="connsiteY178" fmla="*/ 1983581 h 4575969"/>
                  <a:gd name="connsiteX179" fmla="*/ 8477250 w 8971757"/>
                  <a:gd name="connsiteY179" fmla="*/ 1964531 h 4575969"/>
                  <a:gd name="connsiteX180" fmla="*/ 8515350 w 8971757"/>
                  <a:gd name="connsiteY180" fmla="*/ 1935956 h 4575969"/>
                  <a:gd name="connsiteX181" fmla="*/ 8548688 w 8971757"/>
                  <a:gd name="connsiteY181" fmla="*/ 1933575 h 4575969"/>
                  <a:gd name="connsiteX182" fmla="*/ 8584406 w 8971757"/>
                  <a:gd name="connsiteY182" fmla="*/ 1964531 h 4575969"/>
                  <a:gd name="connsiteX183" fmla="*/ 8643938 w 8971757"/>
                  <a:gd name="connsiteY183" fmla="*/ 1964531 h 4575969"/>
                  <a:gd name="connsiteX184" fmla="*/ 8682037 w 8971757"/>
                  <a:gd name="connsiteY184" fmla="*/ 1945481 h 4575969"/>
                  <a:gd name="connsiteX185" fmla="*/ 8765381 w 8971757"/>
                  <a:gd name="connsiteY185" fmla="*/ 1947863 h 4575969"/>
                  <a:gd name="connsiteX186" fmla="*/ 8796338 w 8971757"/>
                  <a:gd name="connsiteY186" fmla="*/ 1902619 h 4575969"/>
                  <a:gd name="connsiteX187" fmla="*/ 8801100 w 8971757"/>
                  <a:gd name="connsiteY187" fmla="*/ 1840706 h 4575969"/>
                  <a:gd name="connsiteX188" fmla="*/ 8751093 w 8971757"/>
                  <a:gd name="connsiteY188" fmla="*/ 1800225 h 4575969"/>
                  <a:gd name="connsiteX189" fmla="*/ 8734425 w 8971757"/>
                  <a:gd name="connsiteY189" fmla="*/ 1745456 h 4575969"/>
                  <a:gd name="connsiteX190" fmla="*/ 8643938 w 8971757"/>
                  <a:gd name="connsiteY190" fmla="*/ 1683544 h 4575969"/>
                  <a:gd name="connsiteX191" fmla="*/ 8603456 w 8971757"/>
                  <a:gd name="connsiteY191" fmla="*/ 1662112 h 4575969"/>
                  <a:gd name="connsiteX192" fmla="*/ 8565356 w 8971757"/>
                  <a:gd name="connsiteY192" fmla="*/ 1616869 h 4575969"/>
                  <a:gd name="connsiteX193" fmla="*/ 8534400 w 8971757"/>
                  <a:gd name="connsiteY193" fmla="*/ 1614487 h 4575969"/>
                  <a:gd name="connsiteX194" fmla="*/ 8517731 w 8971757"/>
                  <a:gd name="connsiteY194" fmla="*/ 1562100 h 4575969"/>
                  <a:gd name="connsiteX195" fmla="*/ 8477250 w 8971757"/>
                  <a:gd name="connsiteY195" fmla="*/ 1545431 h 4575969"/>
                  <a:gd name="connsiteX196" fmla="*/ 8477250 w 8971757"/>
                  <a:gd name="connsiteY196" fmla="*/ 1545431 h 4575969"/>
                  <a:gd name="connsiteX197" fmla="*/ 8436769 w 8971757"/>
                  <a:gd name="connsiteY197" fmla="*/ 1550194 h 4575969"/>
                  <a:gd name="connsiteX198" fmla="*/ 8351043 w 8971757"/>
                  <a:gd name="connsiteY198" fmla="*/ 1476375 h 4575969"/>
                  <a:gd name="connsiteX199" fmla="*/ 8170069 w 8971757"/>
                  <a:gd name="connsiteY199" fmla="*/ 1476374 h 4575969"/>
                  <a:gd name="connsiteX200" fmla="*/ 8117681 w 8971757"/>
                  <a:gd name="connsiteY200" fmla="*/ 1514475 h 4575969"/>
                  <a:gd name="connsiteX201" fmla="*/ 8067675 w 8971757"/>
                  <a:gd name="connsiteY201" fmla="*/ 1593056 h 4575969"/>
                  <a:gd name="connsiteX202" fmla="*/ 8084344 w 8971757"/>
                  <a:gd name="connsiteY202" fmla="*/ 1614487 h 4575969"/>
                  <a:gd name="connsiteX203" fmla="*/ 8039100 w 8971757"/>
                  <a:gd name="connsiteY203" fmla="*/ 1664493 h 4575969"/>
                  <a:gd name="connsiteX204" fmla="*/ 7889081 w 8971757"/>
                  <a:gd name="connsiteY204" fmla="*/ 1588293 h 4575969"/>
                  <a:gd name="connsiteX205" fmla="*/ 7798594 w 8971757"/>
                  <a:gd name="connsiteY205" fmla="*/ 1624012 h 4575969"/>
                  <a:gd name="connsiteX206" fmla="*/ 7724775 w 8971757"/>
                  <a:gd name="connsiteY206" fmla="*/ 1621631 h 4575969"/>
                  <a:gd name="connsiteX207" fmla="*/ 7667625 w 8971757"/>
                  <a:gd name="connsiteY207" fmla="*/ 1716881 h 4575969"/>
                  <a:gd name="connsiteX208" fmla="*/ 7529513 w 8971757"/>
                  <a:gd name="connsiteY20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4145756 w 8971757"/>
                  <a:gd name="connsiteY55" fmla="*/ 885825 h 4575969"/>
                  <a:gd name="connsiteX56" fmla="*/ 8412956 w 8971757"/>
                  <a:gd name="connsiteY56" fmla="*/ 23812 h 4575969"/>
                  <a:gd name="connsiteX57" fmla="*/ 8949531 w 8971757"/>
                  <a:gd name="connsiteY57" fmla="*/ 0 h 4575969"/>
                  <a:gd name="connsiteX58" fmla="*/ 8971757 w 8971757"/>
                  <a:gd name="connsiteY58" fmla="*/ 4575969 h 4575969"/>
                  <a:gd name="connsiteX59" fmla="*/ 2381 w 8971757"/>
                  <a:gd name="connsiteY59" fmla="*/ 4547392 h 4575969"/>
                  <a:gd name="connsiteX60" fmla="*/ 0 w 8971757"/>
                  <a:gd name="connsiteY60" fmla="*/ 845344 h 4575969"/>
                  <a:gd name="connsiteX61" fmla="*/ 76200 w 8971757"/>
                  <a:gd name="connsiteY61" fmla="*/ 828675 h 4575969"/>
                  <a:gd name="connsiteX62" fmla="*/ 119063 w 8971757"/>
                  <a:gd name="connsiteY62" fmla="*/ 857250 h 4575969"/>
                  <a:gd name="connsiteX63" fmla="*/ 215900 w 8971757"/>
                  <a:gd name="connsiteY63" fmla="*/ 848519 h 4575969"/>
                  <a:gd name="connsiteX64" fmla="*/ 261938 w 8971757"/>
                  <a:gd name="connsiteY64" fmla="*/ 876299 h 4575969"/>
                  <a:gd name="connsiteX65" fmla="*/ 228600 w 8971757"/>
                  <a:gd name="connsiteY65" fmla="*/ 904875 h 4575969"/>
                  <a:gd name="connsiteX66" fmla="*/ 233363 w 8971757"/>
                  <a:gd name="connsiteY66" fmla="*/ 947737 h 4575969"/>
                  <a:gd name="connsiteX67" fmla="*/ 200025 w 8971757"/>
                  <a:gd name="connsiteY67" fmla="*/ 952500 h 4575969"/>
                  <a:gd name="connsiteX68" fmla="*/ 204788 w 8971757"/>
                  <a:gd name="connsiteY68" fmla="*/ 976312 h 4575969"/>
                  <a:gd name="connsiteX69" fmla="*/ 261937 w 8971757"/>
                  <a:gd name="connsiteY69" fmla="*/ 1050131 h 4575969"/>
                  <a:gd name="connsiteX70" fmla="*/ 223838 w 8971757"/>
                  <a:gd name="connsiteY70" fmla="*/ 1097756 h 4575969"/>
                  <a:gd name="connsiteX71" fmla="*/ 278606 w 8971757"/>
                  <a:gd name="connsiteY71" fmla="*/ 1133475 h 4575969"/>
                  <a:gd name="connsiteX72" fmla="*/ 369094 w 8971757"/>
                  <a:gd name="connsiteY72" fmla="*/ 1221581 h 4575969"/>
                  <a:gd name="connsiteX73" fmla="*/ 371475 w 8971757"/>
                  <a:gd name="connsiteY73" fmla="*/ 1281112 h 4575969"/>
                  <a:gd name="connsiteX74" fmla="*/ 507206 w 8971757"/>
                  <a:gd name="connsiteY74" fmla="*/ 1414463 h 4575969"/>
                  <a:gd name="connsiteX75" fmla="*/ 561975 w 8971757"/>
                  <a:gd name="connsiteY75" fmla="*/ 1390650 h 4575969"/>
                  <a:gd name="connsiteX76" fmla="*/ 600075 w 8971757"/>
                  <a:gd name="connsiteY76" fmla="*/ 1416843 h 4575969"/>
                  <a:gd name="connsiteX77" fmla="*/ 614363 w 8971757"/>
                  <a:gd name="connsiteY77" fmla="*/ 1466849 h 4575969"/>
                  <a:gd name="connsiteX78" fmla="*/ 657225 w 8971757"/>
                  <a:gd name="connsiteY78" fmla="*/ 1502569 h 4575969"/>
                  <a:gd name="connsiteX79" fmla="*/ 697706 w 8971757"/>
                  <a:gd name="connsiteY79" fmla="*/ 1490662 h 4575969"/>
                  <a:gd name="connsiteX80" fmla="*/ 716756 w 8971757"/>
                  <a:gd name="connsiteY80" fmla="*/ 1547812 h 4575969"/>
                  <a:gd name="connsiteX81" fmla="*/ 764381 w 8971757"/>
                  <a:gd name="connsiteY81" fmla="*/ 1590675 h 4575969"/>
                  <a:gd name="connsiteX82" fmla="*/ 788194 w 8971757"/>
                  <a:gd name="connsiteY82" fmla="*/ 1693069 h 4575969"/>
                  <a:gd name="connsiteX83" fmla="*/ 785813 w 8971757"/>
                  <a:gd name="connsiteY83" fmla="*/ 1740694 h 4575969"/>
                  <a:gd name="connsiteX84" fmla="*/ 821531 w 8971757"/>
                  <a:gd name="connsiteY84" fmla="*/ 1840706 h 4575969"/>
                  <a:gd name="connsiteX85" fmla="*/ 866775 w 8971757"/>
                  <a:gd name="connsiteY85" fmla="*/ 1897856 h 4575969"/>
                  <a:gd name="connsiteX86" fmla="*/ 883443 w 8971757"/>
                  <a:gd name="connsiteY86" fmla="*/ 2055018 h 4575969"/>
                  <a:gd name="connsiteX87" fmla="*/ 850106 w 8971757"/>
                  <a:gd name="connsiteY87" fmla="*/ 2116931 h 4575969"/>
                  <a:gd name="connsiteX88" fmla="*/ 819150 w 8971757"/>
                  <a:gd name="connsiteY88" fmla="*/ 2193131 h 4575969"/>
                  <a:gd name="connsiteX89" fmla="*/ 833438 w 8971757"/>
                  <a:gd name="connsiteY89" fmla="*/ 2250281 h 4575969"/>
                  <a:gd name="connsiteX90" fmla="*/ 735806 w 8971757"/>
                  <a:gd name="connsiteY90" fmla="*/ 2357438 h 4575969"/>
                  <a:gd name="connsiteX91" fmla="*/ 692944 w 8971757"/>
                  <a:gd name="connsiteY91" fmla="*/ 2471737 h 4575969"/>
                  <a:gd name="connsiteX92" fmla="*/ 726281 w 8971757"/>
                  <a:gd name="connsiteY92" fmla="*/ 2512219 h 4575969"/>
                  <a:gd name="connsiteX93" fmla="*/ 709613 w 8971757"/>
                  <a:gd name="connsiteY93" fmla="*/ 2540794 h 4575969"/>
                  <a:gd name="connsiteX94" fmla="*/ 740569 w 8971757"/>
                  <a:gd name="connsiteY94" fmla="*/ 2597944 h 4575969"/>
                  <a:gd name="connsiteX95" fmla="*/ 769144 w 8971757"/>
                  <a:gd name="connsiteY95" fmla="*/ 2597944 h 4575969"/>
                  <a:gd name="connsiteX96" fmla="*/ 931069 w 8971757"/>
                  <a:gd name="connsiteY96" fmla="*/ 2700337 h 4575969"/>
                  <a:gd name="connsiteX97" fmla="*/ 1035844 w 8971757"/>
                  <a:gd name="connsiteY97" fmla="*/ 2697956 h 4575969"/>
                  <a:gd name="connsiteX98" fmla="*/ 1114425 w 8971757"/>
                  <a:gd name="connsiteY98" fmla="*/ 2752725 h 4575969"/>
                  <a:gd name="connsiteX99" fmla="*/ 1245393 w 8971757"/>
                  <a:gd name="connsiteY99" fmla="*/ 2755106 h 4575969"/>
                  <a:gd name="connsiteX100" fmla="*/ 1435893 w 8971757"/>
                  <a:gd name="connsiteY100" fmla="*/ 2824162 h 4575969"/>
                  <a:gd name="connsiteX101" fmla="*/ 1638300 w 8971757"/>
                  <a:gd name="connsiteY101" fmla="*/ 2974181 h 4575969"/>
                  <a:gd name="connsiteX102" fmla="*/ 1671637 w 8971757"/>
                  <a:gd name="connsiteY102" fmla="*/ 3040856 h 4575969"/>
                  <a:gd name="connsiteX103" fmla="*/ 1838325 w 8971757"/>
                  <a:gd name="connsiteY103" fmla="*/ 3167062 h 4575969"/>
                  <a:gd name="connsiteX104" fmla="*/ 1909763 w 8971757"/>
                  <a:gd name="connsiteY104" fmla="*/ 3162300 h 4575969"/>
                  <a:gd name="connsiteX105" fmla="*/ 1945482 w 8971757"/>
                  <a:gd name="connsiteY105" fmla="*/ 3186112 h 4575969"/>
                  <a:gd name="connsiteX106" fmla="*/ 1916906 w 8971757"/>
                  <a:gd name="connsiteY106" fmla="*/ 3226594 h 4575969"/>
                  <a:gd name="connsiteX107" fmla="*/ 1924050 w 8971757"/>
                  <a:gd name="connsiteY107" fmla="*/ 3278981 h 4575969"/>
                  <a:gd name="connsiteX108" fmla="*/ 1976438 w 8971757"/>
                  <a:gd name="connsiteY108" fmla="*/ 3305175 h 4575969"/>
                  <a:gd name="connsiteX109" fmla="*/ 2038350 w 8971757"/>
                  <a:gd name="connsiteY109" fmla="*/ 3529013 h 4575969"/>
                  <a:gd name="connsiteX110" fmla="*/ 2028825 w 8971757"/>
                  <a:gd name="connsiteY110" fmla="*/ 3593306 h 4575969"/>
                  <a:gd name="connsiteX111" fmla="*/ 2164556 w 8971757"/>
                  <a:gd name="connsiteY111" fmla="*/ 3759994 h 4575969"/>
                  <a:gd name="connsiteX112" fmla="*/ 2183606 w 8971757"/>
                  <a:gd name="connsiteY112" fmla="*/ 3810000 h 4575969"/>
                  <a:gd name="connsiteX113" fmla="*/ 2157413 w 8971757"/>
                  <a:gd name="connsiteY113" fmla="*/ 3829050 h 4575969"/>
                  <a:gd name="connsiteX114" fmla="*/ 2259806 w 8971757"/>
                  <a:gd name="connsiteY114" fmla="*/ 3838575 h 4575969"/>
                  <a:gd name="connsiteX115" fmla="*/ 2371725 w 8971757"/>
                  <a:gd name="connsiteY115" fmla="*/ 3826669 h 4575969"/>
                  <a:gd name="connsiteX116" fmla="*/ 2650331 w 8971757"/>
                  <a:gd name="connsiteY116" fmla="*/ 3910012 h 4575969"/>
                  <a:gd name="connsiteX117" fmla="*/ 3057525 w 8971757"/>
                  <a:gd name="connsiteY117" fmla="*/ 3990975 h 4575969"/>
                  <a:gd name="connsiteX118" fmla="*/ 3255169 w 8971757"/>
                  <a:gd name="connsiteY118" fmla="*/ 3960018 h 4575969"/>
                  <a:gd name="connsiteX119" fmla="*/ 3300413 w 8971757"/>
                  <a:gd name="connsiteY119" fmla="*/ 3971924 h 4575969"/>
                  <a:gd name="connsiteX120" fmla="*/ 3355181 w 8971757"/>
                  <a:gd name="connsiteY120" fmla="*/ 3948113 h 4575969"/>
                  <a:gd name="connsiteX121" fmla="*/ 3748087 w 8971757"/>
                  <a:gd name="connsiteY121" fmla="*/ 4038600 h 4575969"/>
                  <a:gd name="connsiteX122" fmla="*/ 3831432 w 8971757"/>
                  <a:gd name="connsiteY122" fmla="*/ 4136231 h 4575969"/>
                  <a:gd name="connsiteX123" fmla="*/ 3950494 w 8971757"/>
                  <a:gd name="connsiteY123" fmla="*/ 4207669 h 4575969"/>
                  <a:gd name="connsiteX124" fmla="*/ 4010025 w 8971757"/>
                  <a:gd name="connsiteY124" fmla="*/ 4191000 h 4575969"/>
                  <a:gd name="connsiteX125" fmla="*/ 4360068 w 8971757"/>
                  <a:gd name="connsiteY125" fmla="*/ 4364831 h 4575969"/>
                  <a:gd name="connsiteX126" fmla="*/ 4586288 w 8971757"/>
                  <a:gd name="connsiteY126" fmla="*/ 4336256 h 4575969"/>
                  <a:gd name="connsiteX127" fmla="*/ 4595813 w 8971757"/>
                  <a:gd name="connsiteY127" fmla="*/ 4414837 h 4575969"/>
                  <a:gd name="connsiteX128" fmla="*/ 4681538 w 8971757"/>
                  <a:gd name="connsiteY128" fmla="*/ 4410074 h 4575969"/>
                  <a:gd name="connsiteX129" fmla="*/ 4760119 w 8971757"/>
                  <a:gd name="connsiteY129" fmla="*/ 4441031 h 4575969"/>
                  <a:gd name="connsiteX130" fmla="*/ 4802981 w 8971757"/>
                  <a:gd name="connsiteY130" fmla="*/ 4381500 h 4575969"/>
                  <a:gd name="connsiteX131" fmla="*/ 5474494 w 8971757"/>
                  <a:gd name="connsiteY131" fmla="*/ 4062412 h 4575969"/>
                  <a:gd name="connsiteX132" fmla="*/ 5562600 w 8971757"/>
                  <a:gd name="connsiteY132" fmla="*/ 4090988 h 4575969"/>
                  <a:gd name="connsiteX133" fmla="*/ 5693569 w 8971757"/>
                  <a:gd name="connsiteY133" fmla="*/ 4062412 h 4575969"/>
                  <a:gd name="connsiteX134" fmla="*/ 5872162 w 8971757"/>
                  <a:gd name="connsiteY134" fmla="*/ 4079081 h 4575969"/>
                  <a:gd name="connsiteX135" fmla="*/ 5929313 w 8971757"/>
                  <a:gd name="connsiteY135" fmla="*/ 4052888 h 4575969"/>
                  <a:gd name="connsiteX136" fmla="*/ 6062662 w 8971757"/>
                  <a:gd name="connsiteY136" fmla="*/ 4050506 h 4575969"/>
                  <a:gd name="connsiteX137" fmla="*/ 6196012 w 8971757"/>
                  <a:gd name="connsiteY137" fmla="*/ 3952875 h 4575969"/>
                  <a:gd name="connsiteX138" fmla="*/ 6262687 w 8971757"/>
                  <a:gd name="connsiteY138" fmla="*/ 3945731 h 4575969"/>
                  <a:gd name="connsiteX139" fmla="*/ 6360319 w 8971757"/>
                  <a:gd name="connsiteY139" fmla="*/ 3871912 h 4575969"/>
                  <a:gd name="connsiteX140" fmla="*/ 6434138 w 8971757"/>
                  <a:gd name="connsiteY140" fmla="*/ 3802856 h 4575969"/>
                  <a:gd name="connsiteX141" fmla="*/ 6443663 w 8971757"/>
                  <a:gd name="connsiteY141" fmla="*/ 3740944 h 4575969"/>
                  <a:gd name="connsiteX142" fmla="*/ 6477000 w 8971757"/>
                  <a:gd name="connsiteY142" fmla="*/ 3671887 h 4575969"/>
                  <a:gd name="connsiteX143" fmla="*/ 6629400 w 8971757"/>
                  <a:gd name="connsiteY143" fmla="*/ 3564731 h 4575969"/>
                  <a:gd name="connsiteX144" fmla="*/ 6662738 w 8971757"/>
                  <a:gd name="connsiteY144" fmla="*/ 3569494 h 4575969"/>
                  <a:gd name="connsiteX145" fmla="*/ 6715125 w 8971757"/>
                  <a:gd name="connsiteY145" fmla="*/ 3490912 h 4575969"/>
                  <a:gd name="connsiteX146" fmla="*/ 6762750 w 8971757"/>
                  <a:gd name="connsiteY146" fmla="*/ 3452812 h 4575969"/>
                  <a:gd name="connsiteX147" fmla="*/ 6748463 w 8971757"/>
                  <a:gd name="connsiteY147" fmla="*/ 3383756 h 4575969"/>
                  <a:gd name="connsiteX148" fmla="*/ 6698456 w 8971757"/>
                  <a:gd name="connsiteY148" fmla="*/ 3352799 h 4575969"/>
                  <a:gd name="connsiteX149" fmla="*/ 6638925 w 8971757"/>
                  <a:gd name="connsiteY149" fmla="*/ 3298031 h 4575969"/>
                  <a:gd name="connsiteX150" fmla="*/ 6619875 w 8971757"/>
                  <a:gd name="connsiteY150" fmla="*/ 3240881 h 4575969"/>
                  <a:gd name="connsiteX151" fmla="*/ 6584156 w 8971757"/>
                  <a:gd name="connsiteY151" fmla="*/ 3207544 h 4575969"/>
                  <a:gd name="connsiteX152" fmla="*/ 6610350 w 8971757"/>
                  <a:gd name="connsiteY152" fmla="*/ 3155156 h 4575969"/>
                  <a:gd name="connsiteX153" fmla="*/ 6650831 w 8971757"/>
                  <a:gd name="connsiteY153" fmla="*/ 2976562 h 4575969"/>
                  <a:gd name="connsiteX154" fmla="*/ 6691313 w 8971757"/>
                  <a:gd name="connsiteY154" fmla="*/ 2909887 h 4575969"/>
                  <a:gd name="connsiteX155" fmla="*/ 6836569 w 8971757"/>
                  <a:gd name="connsiteY155" fmla="*/ 2893218 h 4575969"/>
                  <a:gd name="connsiteX156" fmla="*/ 6905625 w 8971757"/>
                  <a:gd name="connsiteY156" fmla="*/ 2950369 h 4575969"/>
                  <a:gd name="connsiteX157" fmla="*/ 6981825 w 8971757"/>
                  <a:gd name="connsiteY157" fmla="*/ 2974181 h 4575969"/>
                  <a:gd name="connsiteX158" fmla="*/ 7186612 w 8971757"/>
                  <a:gd name="connsiteY158" fmla="*/ 2978944 h 4575969"/>
                  <a:gd name="connsiteX159" fmla="*/ 7362825 w 8971757"/>
                  <a:gd name="connsiteY159" fmla="*/ 2840831 h 4575969"/>
                  <a:gd name="connsiteX160" fmla="*/ 7419975 w 8971757"/>
                  <a:gd name="connsiteY160" fmla="*/ 2750343 h 4575969"/>
                  <a:gd name="connsiteX161" fmla="*/ 7446169 w 8971757"/>
                  <a:gd name="connsiteY161" fmla="*/ 2667000 h 4575969"/>
                  <a:gd name="connsiteX162" fmla="*/ 7577137 w 8971757"/>
                  <a:gd name="connsiteY162" fmla="*/ 2667000 h 4575969"/>
                  <a:gd name="connsiteX163" fmla="*/ 7750969 w 8971757"/>
                  <a:gd name="connsiteY163" fmla="*/ 2609849 h 4575969"/>
                  <a:gd name="connsiteX164" fmla="*/ 7810500 w 8971757"/>
                  <a:gd name="connsiteY164" fmla="*/ 2497931 h 4575969"/>
                  <a:gd name="connsiteX165" fmla="*/ 7874794 w 8971757"/>
                  <a:gd name="connsiteY165" fmla="*/ 2462212 h 4575969"/>
                  <a:gd name="connsiteX166" fmla="*/ 7853363 w 8971757"/>
                  <a:gd name="connsiteY166" fmla="*/ 2416969 h 4575969"/>
                  <a:gd name="connsiteX167" fmla="*/ 7931944 w 8971757"/>
                  <a:gd name="connsiteY167" fmla="*/ 2247899 h 4575969"/>
                  <a:gd name="connsiteX168" fmla="*/ 7986713 w 8971757"/>
                  <a:gd name="connsiteY168" fmla="*/ 2188369 h 4575969"/>
                  <a:gd name="connsiteX169" fmla="*/ 8024813 w 8971757"/>
                  <a:gd name="connsiteY169" fmla="*/ 2183606 h 4575969"/>
                  <a:gd name="connsiteX170" fmla="*/ 8070056 w 8971757"/>
                  <a:gd name="connsiteY170" fmla="*/ 2188369 h 4575969"/>
                  <a:gd name="connsiteX171" fmla="*/ 8134350 w 8971757"/>
                  <a:gd name="connsiteY171" fmla="*/ 2155031 h 4575969"/>
                  <a:gd name="connsiteX172" fmla="*/ 8143875 w 8971757"/>
                  <a:gd name="connsiteY172" fmla="*/ 2090737 h 4575969"/>
                  <a:gd name="connsiteX173" fmla="*/ 8184355 w 8971757"/>
                  <a:gd name="connsiteY173" fmla="*/ 2055019 h 4575969"/>
                  <a:gd name="connsiteX174" fmla="*/ 8243888 w 8971757"/>
                  <a:gd name="connsiteY174" fmla="*/ 2095499 h 4575969"/>
                  <a:gd name="connsiteX175" fmla="*/ 8270082 w 8971757"/>
                  <a:gd name="connsiteY175" fmla="*/ 2045493 h 4575969"/>
                  <a:gd name="connsiteX176" fmla="*/ 8365331 w 8971757"/>
                  <a:gd name="connsiteY176" fmla="*/ 1976437 h 4575969"/>
                  <a:gd name="connsiteX177" fmla="*/ 8427244 w 8971757"/>
                  <a:gd name="connsiteY177" fmla="*/ 1983581 h 4575969"/>
                  <a:gd name="connsiteX178" fmla="*/ 8477250 w 8971757"/>
                  <a:gd name="connsiteY178" fmla="*/ 1964531 h 4575969"/>
                  <a:gd name="connsiteX179" fmla="*/ 8515350 w 8971757"/>
                  <a:gd name="connsiteY179" fmla="*/ 1935956 h 4575969"/>
                  <a:gd name="connsiteX180" fmla="*/ 8548688 w 8971757"/>
                  <a:gd name="connsiteY180" fmla="*/ 1933575 h 4575969"/>
                  <a:gd name="connsiteX181" fmla="*/ 8584406 w 8971757"/>
                  <a:gd name="connsiteY181" fmla="*/ 1964531 h 4575969"/>
                  <a:gd name="connsiteX182" fmla="*/ 8643938 w 8971757"/>
                  <a:gd name="connsiteY182" fmla="*/ 1964531 h 4575969"/>
                  <a:gd name="connsiteX183" fmla="*/ 8682037 w 8971757"/>
                  <a:gd name="connsiteY183" fmla="*/ 1945481 h 4575969"/>
                  <a:gd name="connsiteX184" fmla="*/ 8765381 w 8971757"/>
                  <a:gd name="connsiteY184" fmla="*/ 1947863 h 4575969"/>
                  <a:gd name="connsiteX185" fmla="*/ 8796338 w 8971757"/>
                  <a:gd name="connsiteY185" fmla="*/ 1902619 h 4575969"/>
                  <a:gd name="connsiteX186" fmla="*/ 8801100 w 8971757"/>
                  <a:gd name="connsiteY186" fmla="*/ 1840706 h 4575969"/>
                  <a:gd name="connsiteX187" fmla="*/ 8751093 w 8971757"/>
                  <a:gd name="connsiteY187" fmla="*/ 1800225 h 4575969"/>
                  <a:gd name="connsiteX188" fmla="*/ 8734425 w 8971757"/>
                  <a:gd name="connsiteY188" fmla="*/ 1745456 h 4575969"/>
                  <a:gd name="connsiteX189" fmla="*/ 8643938 w 8971757"/>
                  <a:gd name="connsiteY189" fmla="*/ 1683544 h 4575969"/>
                  <a:gd name="connsiteX190" fmla="*/ 8603456 w 8971757"/>
                  <a:gd name="connsiteY190" fmla="*/ 1662112 h 4575969"/>
                  <a:gd name="connsiteX191" fmla="*/ 8565356 w 8971757"/>
                  <a:gd name="connsiteY191" fmla="*/ 1616869 h 4575969"/>
                  <a:gd name="connsiteX192" fmla="*/ 8534400 w 8971757"/>
                  <a:gd name="connsiteY192" fmla="*/ 1614487 h 4575969"/>
                  <a:gd name="connsiteX193" fmla="*/ 8517731 w 8971757"/>
                  <a:gd name="connsiteY193" fmla="*/ 1562100 h 4575969"/>
                  <a:gd name="connsiteX194" fmla="*/ 8477250 w 8971757"/>
                  <a:gd name="connsiteY194" fmla="*/ 1545431 h 4575969"/>
                  <a:gd name="connsiteX195" fmla="*/ 8477250 w 8971757"/>
                  <a:gd name="connsiteY195" fmla="*/ 1545431 h 4575969"/>
                  <a:gd name="connsiteX196" fmla="*/ 8436769 w 8971757"/>
                  <a:gd name="connsiteY196" fmla="*/ 1550194 h 4575969"/>
                  <a:gd name="connsiteX197" fmla="*/ 8351043 w 8971757"/>
                  <a:gd name="connsiteY197" fmla="*/ 1476375 h 4575969"/>
                  <a:gd name="connsiteX198" fmla="*/ 8170069 w 8971757"/>
                  <a:gd name="connsiteY198" fmla="*/ 1476374 h 4575969"/>
                  <a:gd name="connsiteX199" fmla="*/ 8117681 w 8971757"/>
                  <a:gd name="connsiteY199" fmla="*/ 1514475 h 4575969"/>
                  <a:gd name="connsiteX200" fmla="*/ 8067675 w 8971757"/>
                  <a:gd name="connsiteY200" fmla="*/ 1593056 h 4575969"/>
                  <a:gd name="connsiteX201" fmla="*/ 8084344 w 8971757"/>
                  <a:gd name="connsiteY201" fmla="*/ 1614487 h 4575969"/>
                  <a:gd name="connsiteX202" fmla="*/ 8039100 w 8971757"/>
                  <a:gd name="connsiteY202" fmla="*/ 1664493 h 4575969"/>
                  <a:gd name="connsiteX203" fmla="*/ 7889081 w 8971757"/>
                  <a:gd name="connsiteY203" fmla="*/ 1588293 h 4575969"/>
                  <a:gd name="connsiteX204" fmla="*/ 7798594 w 8971757"/>
                  <a:gd name="connsiteY204" fmla="*/ 1624012 h 4575969"/>
                  <a:gd name="connsiteX205" fmla="*/ 7724775 w 8971757"/>
                  <a:gd name="connsiteY205" fmla="*/ 1621631 h 4575969"/>
                  <a:gd name="connsiteX206" fmla="*/ 7667625 w 8971757"/>
                  <a:gd name="connsiteY206" fmla="*/ 1716881 h 4575969"/>
                  <a:gd name="connsiteX207" fmla="*/ 7529513 w 8971757"/>
                  <a:gd name="connsiteY20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4191000 w 8971757"/>
                  <a:gd name="connsiteY54" fmla="*/ 914400 h 4575969"/>
                  <a:gd name="connsiteX55" fmla="*/ 8412956 w 8971757"/>
                  <a:gd name="connsiteY55" fmla="*/ 23812 h 4575969"/>
                  <a:gd name="connsiteX56" fmla="*/ 8949531 w 8971757"/>
                  <a:gd name="connsiteY56" fmla="*/ 0 h 4575969"/>
                  <a:gd name="connsiteX57" fmla="*/ 8971757 w 8971757"/>
                  <a:gd name="connsiteY57" fmla="*/ 4575969 h 4575969"/>
                  <a:gd name="connsiteX58" fmla="*/ 2381 w 8971757"/>
                  <a:gd name="connsiteY58" fmla="*/ 4547392 h 4575969"/>
                  <a:gd name="connsiteX59" fmla="*/ 0 w 8971757"/>
                  <a:gd name="connsiteY59" fmla="*/ 845344 h 4575969"/>
                  <a:gd name="connsiteX60" fmla="*/ 76200 w 8971757"/>
                  <a:gd name="connsiteY60" fmla="*/ 828675 h 4575969"/>
                  <a:gd name="connsiteX61" fmla="*/ 119063 w 8971757"/>
                  <a:gd name="connsiteY61" fmla="*/ 857250 h 4575969"/>
                  <a:gd name="connsiteX62" fmla="*/ 215900 w 8971757"/>
                  <a:gd name="connsiteY62" fmla="*/ 848519 h 4575969"/>
                  <a:gd name="connsiteX63" fmla="*/ 261938 w 8971757"/>
                  <a:gd name="connsiteY63" fmla="*/ 876299 h 4575969"/>
                  <a:gd name="connsiteX64" fmla="*/ 228600 w 8971757"/>
                  <a:gd name="connsiteY64" fmla="*/ 904875 h 4575969"/>
                  <a:gd name="connsiteX65" fmla="*/ 233363 w 8971757"/>
                  <a:gd name="connsiteY65" fmla="*/ 947737 h 4575969"/>
                  <a:gd name="connsiteX66" fmla="*/ 200025 w 8971757"/>
                  <a:gd name="connsiteY66" fmla="*/ 952500 h 4575969"/>
                  <a:gd name="connsiteX67" fmla="*/ 204788 w 8971757"/>
                  <a:gd name="connsiteY67" fmla="*/ 976312 h 4575969"/>
                  <a:gd name="connsiteX68" fmla="*/ 261937 w 8971757"/>
                  <a:gd name="connsiteY68" fmla="*/ 1050131 h 4575969"/>
                  <a:gd name="connsiteX69" fmla="*/ 223838 w 8971757"/>
                  <a:gd name="connsiteY69" fmla="*/ 1097756 h 4575969"/>
                  <a:gd name="connsiteX70" fmla="*/ 278606 w 8971757"/>
                  <a:gd name="connsiteY70" fmla="*/ 1133475 h 4575969"/>
                  <a:gd name="connsiteX71" fmla="*/ 369094 w 8971757"/>
                  <a:gd name="connsiteY71" fmla="*/ 1221581 h 4575969"/>
                  <a:gd name="connsiteX72" fmla="*/ 371475 w 8971757"/>
                  <a:gd name="connsiteY72" fmla="*/ 1281112 h 4575969"/>
                  <a:gd name="connsiteX73" fmla="*/ 507206 w 8971757"/>
                  <a:gd name="connsiteY73" fmla="*/ 1414463 h 4575969"/>
                  <a:gd name="connsiteX74" fmla="*/ 561975 w 8971757"/>
                  <a:gd name="connsiteY74" fmla="*/ 1390650 h 4575969"/>
                  <a:gd name="connsiteX75" fmla="*/ 600075 w 8971757"/>
                  <a:gd name="connsiteY75" fmla="*/ 1416843 h 4575969"/>
                  <a:gd name="connsiteX76" fmla="*/ 614363 w 8971757"/>
                  <a:gd name="connsiteY76" fmla="*/ 1466849 h 4575969"/>
                  <a:gd name="connsiteX77" fmla="*/ 657225 w 8971757"/>
                  <a:gd name="connsiteY77" fmla="*/ 1502569 h 4575969"/>
                  <a:gd name="connsiteX78" fmla="*/ 697706 w 8971757"/>
                  <a:gd name="connsiteY78" fmla="*/ 1490662 h 4575969"/>
                  <a:gd name="connsiteX79" fmla="*/ 716756 w 8971757"/>
                  <a:gd name="connsiteY79" fmla="*/ 1547812 h 4575969"/>
                  <a:gd name="connsiteX80" fmla="*/ 764381 w 8971757"/>
                  <a:gd name="connsiteY80" fmla="*/ 1590675 h 4575969"/>
                  <a:gd name="connsiteX81" fmla="*/ 788194 w 8971757"/>
                  <a:gd name="connsiteY81" fmla="*/ 1693069 h 4575969"/>
                  <a:gd name="connsiteX82" fmla="*/ 785813 w 8971757"/>
                  <a:gd name="connsiteY82" fmla="*/ 1740694 h 4575969"/>
                  <a:gd name="connsiteX83" fmla="*/ 821531 w 8971757"/>
                  <a:gd name="connsiteY83" fmla="*/ 1840706 h 4575969"/>
                  <a:gd name="connsiteX84" fmla="*/ 866775 w 8971757"/>
                  <a:gd name="connsiteY84" fmla="*/ 1897856 h 4575969"/>
                  <a:gd name="connsiteX85" fmla="*/ 883443 w 8971757"/>
                  <a:gd name="connsiteY85" fmla="*/ 2055018 h 4575969"/>
                  <a:gd name="connsiteX86" fmla="*/ 850106 w 8971757"/>
                  <a:gd name="connsiteY86" fmla="*/ 2116931 h 4575969"/>
                  <a:gd name="connsiteX87" fmla="*/ 819150 w 8971757"/>
                  <a:gd name="connsiteY87" fmla="*/ 2193131 h 4575969"/>
                  <a:gd name="connsiteX88" fmla="*/ 833438 w 8971757"/>
                  <a:gd name="connsiteY88" fmla="*/ 2250281 h 4575969"/>
                  <a:gd name="connsiteX89" fmla="*/ 735806 w 8971757"/>
                  <a:gd name="connsiteY89" fmla="*/ 2357438 h 4575969"/>
                  <a:gd name="connsiteX90" fmla="*/ 692944 w 8971757"/>
                  <a:gd name="connsiteY90" fmla="*/ 2471737 h 4575969"/>
                  <a:gd name="connsiteX91" fmla="*/ 726281 w 8971757"/>
                  <a:gd name="connsiteY91" fmla="*/ 2512219 h 4575969"/>
                  <a:gd name="connsiteX92" fmla="*/ 709613 w 8971757"/>
                  <a:gd name="connsiteY92" fmla="*/ 2540794 h 4575969"/>
                  <a:gd name="connsiteX93" fmla="*/ 740569 w 8971757"/>
                  <a:gd name="connsiteY93" fmla="*/ 2597944 h 4575969"/>
                  <a:gd name="connsiteX94" fmla="*/ 769144 w 8971757"/>
                  <a:gd name="connsiteY94" fmla="*/ 2597944 h 4575969"/>
                  <a:gd name="connsiteX95" fmla="*/ 931069 w 8971757"/>
                  <a:gd name="connsiteY95" fmla="*/ 2700337 h 4575969"/>
                  <a:gd name="connsiteX96" fmla="*/ 1035844 w 8971757"/>
                  <a:gd name="connsiteY96" fmla="*/ 2697956 h 4575969"/>
                  <a:gd name="connsiteX97" fmla="*/ 1114425 w 8971757"/>
                  <a:gd name="connsiteY97" fmla="*/ 2752725 h 4575969"/>
                  <a:gd name="connsiteX98" fmla="*/ 1245393 w 8971757"/>
                  <a:gd name="connsiteY98" fmla="*/ 2755106 h 4575969"/>
                  <a:gd name="connsiteX99" fmla="*/ 1435893 w 8971757"/>
                  <a:gd name="connsiteY99" fmla="*/ 2824162 h 4575969"/>
                  <a:gd name="connsiteX100" fmla="*/ 1638300 w 8971757"/>
                  <a:gd name="connsiteY100" fmla="*/ 2974181 h 4575969"/>
                  <a:gd name="connsiteX101" fmla="*/ 1671637 w 8971757"/>
                  <a:gd name="connsiteY101" fmla="*/ 3040856 h 4575969"/>
                  <a:gd name="connsiteX102" fmla="*/ 1838325 w 8971757"/>
                  <a:gd name="connsiteY102" fmla="*/ 3167062 h 4575969"/>
                  <a:gd name="connsiteX103" fmla="*/ 1909763 w 8971757"/>
                  <a:gd name="connsiteY103" fmla="*/ 3162300 h 4575969"/>
                  <a:gd name="connsiteX104" fmla="*/ 1945482 w 8971757"/>
                  <a:gd name="connsiteY104" fmla="*/ 3186112 h 4575969"/>
                  <a:gd name="connsiteX105" fmla="*/ 1916906 w 8971757"/>
                  <a:gd name="connsiteY105" fmla="*/ 3226594 h 4575969"/>
                  <a:gd name="connsiteX106" fmla="*/ 1924050 w 8971757"/>
                  <a:gd name="connsiteY106" fmla="*/ 3278981 h 4575969"/>
                  <a:gd name="connsiteX107" fmla="*/ 1976438 w 8971757"/>
                  <a:gd name="connsiteY107" fmla="*/ 3305175 h 4575969"/>
                  <a:gd name="connsiteX108" fmla="*/ 2038350 w 8971757"/>
                  <a:gd name="connsiteY108" fmla="*/ 3529013 h 4575969"/>
                  <a:gd name="connsiteX109" fmla="*/ 2028825 w 8971757"/>
                  <a:gd name="connsiteY109" fmla="*/ 3593306 h 4575969"/>
                  <a:gd name="connsiteX110" fmla="*/ 2164556 w 8971757"/>
                  <a:gd name="connsiteY110" fmla="*/ 3759994 h 4575969"/>
                  <a:gd name="connsiteX111" fmla="*/ 2183606 w 8971757"/>
                  <a:gd name="connsiteY111" fmla="*/ 3810000 h 4575969"/>
                  <a:gd name="connsiteX112" fmla="*/ 2157413 w 8971757"/>
                  <a:gd name="connsiteY112" fmla="*/ 3829050 h 4575969"/>
                  <a:gd name="connsiteX113" fmla="*/ 2259806 w 8971757"/>
                  <a:gd name="connsiteY113" fmla="*/ 3838575 h 4575969"/>
                  <a:gd name="connsiteX114" fmla="*/ 2371725 w 8971757"/>
                  <a:gd name="connsiteY114" fmla="*/ 3826669 h 4575969"/>
                  <a:gd name="connsiteX115" fmla="*/ 2650331 w 8971757"/>
                  <a:gd name="connsiteY115" fmla="*/ 3910012 h 4575969"/>
                  <a:gd name="connsiteX116" fmla="*/ 3057525 w 8971757"/>
                  <a:gd name="connsiteY116" fmla="*/ 3990975 h 4575969"/>
                  <a:gd name="connsiteX117" fmla="*/ 3255169 w 8971757"/>
                  <a:gd name="connsiteY117" fmla="*/ 3960018 h 4575969"/>
                  <a:gd name="connsiteX118" fmla="*/ 3300413 w 8971757"/>
                  <a:gd name="connsiteY118" fmla="*/ 3971924 h 4575969"/>
                  <a:gd name="connsiteX119" fmla="*/ 3355181 w 8971757"/>
                  <a:gd name="connsiteY119" fmla="*/ 3948113 h 4575969"/>
                  <a:gd name="connsiteX120" fmla="*/ 3748087 w 8971757"/>
                  <a:gd name="connsiteY120" fmla="*/ 4038600 h 4575969"/>
                  <a:gd name="connsiteX121" fmla="*/ 3831432 w 8971757"/>
                  <a:gd name="connsiteY121" fmla="*/ 4136231 h 4575969"/>
                  <a:gd name="connsiteX122" fmla="*/ 3950494 w 8971757"/>
                  <a:gd name="connsiteY122" fmla="*/ 4207669 h 4575969"/>
                  <a:gd name="connsiteX123" fmla="*/ 4010025 w 8971757"/>
                  <a:gd name="connsiteY123" fmla="*/ 4191000 h 4575969"/>
                  <a:gd name="connsiteX124" fmla="*/ 4360068 w 8971757"/>
                  <a:gd name="connsiteY124" fmla="*/ 4364831 h 4575969"/>
                  <a:gd name="connsiteX125" fmla="*/ 4586288 w 8971757"/>
                  <a:gd name="connsiteY125" fmla="*/ 4336256 h 4575969"/>
                  <a:gd name="connsiteX126" fmla="*/ 4595813 w 8971757"/>
                  <a:gd name="connsiteY126" fmla="*/ 4414837 h 4575969"/>
                  <a:gd name="connsiteX127" fmla="*/ 4681538 w 8971757"/>
                  <a:gd name="connsiteY127" fmla="*/ 4410074 h 4575969"/>
                  <a:gd name="connsiteX128" fmla="*/ 4760119 w 8971757"/>
                  <a:gd name="connsiteY128" fmla="*/ 4441031 h 4575969"/>
                  <a:gd name="connsiteX129" fmla="*/ 4802981 w 8971757"/>
                  <a:gd name="connsiteY129" fmla="*/ 4381500 h 4575969"/>
                  <a:gd name="connsiteX130" fmla="*/ 5474494 w 8971757"/>
                  <a:gd name="connsiteY130" fmla="*/ 4062412 h 4575969"/>
                  <a:gd name="connsiteX131" fmla="*/ 5562600 w 8971757"/>
                  <a:gd name="connsiteY131" fmla="*/ 4090988 h 4575969"/>
                  <a:gd name="connsiteX132" fmla="*/ 5693569 w 8971757"/>
                  <a:gd name="connsiteY132" fmla="*/ 4062412 h 4575969"/>
                  <a:gd name="connsiteX133" fmla="*/ 5872162 w 8971757"/>
                  <a:gd name="connsiteY133" fmla="*/ 4079081 h 4575969"/>
                  <a:gd name="connsiteX134" fmla="*/ 5929313 w 8971757"/>
                  <a:gd name="connsiteY134" fmla="*/ 4052888 h 4575969"/>
                  <a:gd name="connsiteX135" fmla="*/ 6062662 w 8971757"/>
                  <a:gd name="connsiteY135" fmla="*/ 4050506 h 4575969"/>
                  <a:gd name="connsiteX136" fmla="*/ 6196012 w 8971757"/>
                  <a:gd name="connsiteY136" fmla="*/ 3952875 h 4575969"/>
                  <a:gd name="connsiteX137" fmla="*/ 6262687 w 8971757"/>
                  <a:gd name="connsiteY137" fmla="*/ 3945731 h 4575969"/>
                  <a:gd name="connsiteX138" fmla="*/ 6360319 w 8971757"/>
                  <a:gd name="connsiteY138" fmla="*/ 3871912 h 4575969"/>
                  <a:gd name="connsiteX139" fmla="*/ 6434138 w 8971757"/>
                  <a:gd name="connsiteY139" fmla="*/ 3802856 h 4575969"/>
                  <a:gd name="connsiteX140" fmla="*/ 6443663 w 8971757"/>
                  <a:gd name="connsiteY140" fmla="*/ 3740944 h 4575969"/>
                  <a:gd name="connsiteX141" fmla="*/ 6477000 w 8971757"/>
                  <a:gd name="connsiteY141" fmla="*/ 3671887 h 4575969"/>
                  <a:gd name="connsiteX142" fmla="*/ 6629400 w 8971757"/>
                  <a:gd name="connsiteY142" fmla="*/ 3564731 h 4575969"/>
                  <a:gd name="connsiteX143" fmla="*/ 6662738 w 8971757"/>
                  <a:gd name="connsiteY143" fmla="*/ 3569494 h 4575969"/>
                  <a:gd name="connsiteX144" fmla="*/ 6715125 w 8971757"/>
                  <a:gd name="connsiteY144" fmla="*/ 3490912 h 4575969"/>
                  <a:gd name="connsiteX145" fmla="*/ 6762750 w 8971757"/>
                  <a:gd name="connsiteY145" fmla="*/ 3452812 h 4575969"/>
                  <a:gd name="connsiteX146" fmla="*/ 6748463 w 8971757"/>
                  <a:gd name="connsiteY146" fmla="*/ 3383756 h 4575969"/>
                  <a:gd name="connsiteX147" fmla="*/ 6698456 w 8971757"/>
                  <a:gd name="connsiteY147" fmla="*/ 3352799 h 4575969"/>
                  <a:gd name="connsiteX148" fmla="*/ 6638925 w 8971757"/>
                  <a:gd name="connsiteY148" fmla="*/ 3298031 h 4575969"/>
                  <a:gd name="connsiteX149" fmla="*/ 6619875 w 8971757"/>
                  <a:gd name="connsiteY149" fmla="*/ 3240881 h 4575969"/>
                  <a:gd name="connsiteX150" fmla="*/ 6584156 w 8971757"/>
                  <a:gd name="connsiteY150" fmla="*/ 3207544 h 4575969"/>
                  <a:gd name="connsiteX151" fmla="*/ 6610350 w 8971757"/>
                  <a:gd name="connsiteY151" fmla="*/ 3155156 h 4575969"/>
                  <a:gd name="connsiteX152" fmla="*/ 6650831 w 8971757"/>
                  <a:gd name="connsiteY152" fmla="*/ 2976562 h 4575969"/>
                  <a:gd name="connsiteX153" fmla="*/ 6691313 w 8971757"/>
                  <a:gd name="connsiteY153" fmla="*/ 2909887 h 4575969"/>
                  <a:gd name="connsiteX154" fmla="*/ 6836569 w 8971757"/>
                  <a:gd name="connsiteY154" fmla="*/ 2893218 h 4575969"/>
                  <a:gd name="connsiteX155" fmla="*/ 6905625 w 8971757"/>
                  <a:gd name="connsiteY155" fmla="*/ 2950369 h 4575969"/>
                  <a:gd name="connsiteX156" fmla="*/ 6981825 w 8971757"/>
                  <a:gd name="connsiteY156" fmla="*/ 2974181 h 4575969"/>
                  <a:gd name="connsiteX157" fmla="*/ 7186612 w 8971757"/>
                  <a:gd name="connsiteY157" fmla="*/ 2978944 h 4575969"/>
                  <a:gd name="connsiteX158" fmla="*/ 7362825 w 8971757"/>
                  <a:gd name="connsiteY158" fmla="*/ 2840831 h 4575969"/>
                  <a:gd name="connsiteX159" fmla="*/ 7419975 w 8971757"/>
                  <a:gd name="connsiteY159" fmla="*/ 2750343 h 4575969"/>
                  <a:gd name="connsiteX160" fmla="*/ 7446169 w 8971757"/>
                  <a:gd name="connsiteY160" fmla="*/ 2667000 h 4575969"/>
                  <a:gd name="connsiteX161" fmla="*/ 7577137 w 8971757"/>
                  <a:gd name="connsiteY161" fmla="*/ 2667000 h 4575969"/>
                  <a:gd name="connsiteX162" fmla="*/ 7750969 w 8971757"/>
                  <a:gd name="connsiteY162" fmla="*/ 2609849 h 4575969"/>
                  <a:gd name="connsiteX163" fmla="*/ 7810500 w 8971757"/>
                  <a:gd name="connsiteY163" fmla="*/ 2497931 h 4575969"/>
                  <a:gd name="connsiteX164" fmla="*/ 7874794 w 8971757"/>
                  <a:gd name="connsiteY164" fmla="*/ 2462212 h 4575969"/>
                  <a:gd name="connsiteX165" fmla="*/ 7853363 w 8971757"/>
                  <a:gd name="connsiteY165" fmla="*/ 2416969 h 4575969"/>
                  <a:gd name="connsiteX166" fmla="*/ 7931944 w 8971757"/>
                  <a:gd name="connsiteY166" fmla="*/ 2247899 h 4575969"/>
                  <a:gd name="connsiteX167" fmla="*/ 7986713 w 8971757"/>
                  <a:gd name="connsiteY167" fmla="*/ 2188369 h 4575969"/>
                  <a:gd name="connsiteX168" fmla="*/ 8024813 w 8971757"/>
                  <a:gd name="connsiteY168" fmla="*/ 2183606 h 4575969"/>
                  <a:gd name="connsiteX169" fmla="*/ 8070056 w 8971757"/>
                  <a:gd name="connsiteY169" fmla="*/ 2188369 h 4575969"/>
                  <a:gd name="connsiteX170" fmla="*/ 8134350 w 8971757"/>
                  <a:gd name="connsiteY170" fmla="*/ 2155031 h 4575969"/>
                  <a:gd name="connsiteX171" fmla="*/ 8143875 w 8971757"/>
                  <a:gd name="connsiteY171" fmla="*/ 2090737 h 4575969"/>
                  <a:gd name="connsiteX172" fmla="*/ 8184355 w 8971757"/>
                  <a:gd name="connsiteY172" fmla="*/ 2055019 h 4575969"/>
                  <a:gd name="connsiteX173" fmla="*/ 8243888 w 8971757"/>
                  <a:gd name="connsiteY173" fmla="*/ 2095499 h 4575969"/>
                  <a:gd name="connsiteX174" fmla="*/ 8270082 w 8971757"/>
                  <a:gd name="connsiteY174" fmla="*/ 2045493 h 4575969"/>
                  <a:gd name="connsiteX175" fmla="*/ 8365331 w 8971757"/>
                  <a:gd name="connsiteY175" fmla="*/ 1976437 h 4575969"/>
                  <a:gd name="connsiteX176" fmla="*/ 8427244 w 8971757"/>
                  <a:gd name="connsiteY176" fmla="*/ 1983581 h 4575969"/>
                  <a:gd name="connsiteX177" fmla="*/ 8477250 w 8971757"/>
                  <a:gd name="connsiteY177" fmla="*/ 1964531 h 4575969"/>
                  <a:gd name="connsiteX178" fmla="*/ 8515350 w 8971757"/>
                  <a:gd name="connsiteY178" fmla="*/ 1935956 h 4575969"/>
                  <a:gd name="connsiteX179" fmla="*/ 8548688 w 8971757"/>
                  <a:gd name="connsiteY179" fmla="*/ 1933575 h 4575969"/>
                  <a:gd name="connsiteX180" fmla="*/ 8584406 w 8971757"/>
                  <a:gd name="connsiteY180" fmla="*/ 1964531 h 4575969"/>
                  <a:gd name="connsiteX181" fmla="*/ 8643938 w 8971757"/>
                  <a:gd name="connsiteY181" fmla="*/ 1964531 h 4575969"/>
                  <a:gd name="connsiteX182" fmla="*/ 8682037 w 8971757"/>
                  <a:gd name="connsiteY182" fmla="*/ 1945481 h 4575969"/>
                  <a:gd name="connsiteX183" fmla="*/ 8765381 w 8971757"/>
                  <a:gd name="connsiteY183" fmla="*/ 1947863 h 4575969"/>
                  <a:gd name="connsiteX184" fmla="*/ 8796338 w 8971757"/>
                  <a:gd name="connsiteY184" fmla="*/ 1902619 h 4575969"/>
                  <a:gd name="connsiteX185" fmla="*/ 8801100 w 8971757"/>
                  <a:gd name="connsiteY185" fmla="*/ 1840706 h 4575969"/>
                  <a:gd name="connsiteX186" fmla="*/ 8751093 w 8971757"/>
                  <a:gd name="connsiteY186" fmla="*/ 1800225 h 4575969"/>
                  <a:gd name="connsiteX187" fmla="*/ 8734425 w 8971757"/>
                  <a:gd name="connsiteY187" fmla="*/ 1745456 h 4575969"/>
                  <a:gd name="connsiteX188" fmla="*/ 8643938 w 8971757"/>
                  <a:gd name="connsiteY188" fmla="*/ 1683544 h 4575969"/>
                  <a:gd name="connsiteX189" fmla="*/ 8603456 w 8971757"/>
                  <a:gd name="connsiteY189" fmla="*/ 1662112 h 4575969"/>
                  <a:gd name="connsiteX190" fmla="*/ 8565356 w 8971757"/>
                  <a:gd name="connsiteY190" fmla="*/ 1616869 h 4575969"/>
                  <a:gd name="connsiteX191" fmla="*/ 8534400 w 8971757"/>
                  <a:gd name="connsiteY191" fmla="*/ 1614487 h 4575969"/>
                  <a:gd name="connsiteX192" fmla="*/ 8517731 w 8971757"/>
                  <a:gd name="connsiteY192" fmla="*/ 1562100 h 4575969"/>
                  <a:gd name="connsiteX193" fmla="*/ 8477250 w 8971757"/>
                  <a:gd name="connsiteY193" fmla="*/ 1545431 h 4575969"/>
                  <a:gd name="connsiteX194" fmla="*/ 8477250 w 8971757"/>
                  <a:gd name="connsiteY194" fmla="*/ 1545431 h 4575969"/>
                  <a:gd name="connsiteX195" fmla="*/ 8436769 w 8971757"/>
                  <a:gd name="connsiteY195" fmla="*/ 1550194 h 4575969"/>
                  <a:gd name="connsiteX196" fmla="*/ 8351043 w 8971757"/>
                  <a:gd name="connsiteY196" fmla="*/ 1476375 h 4575969"/>
                  <a:gd name="connsiteX197" fmla="*/ 8170069 w 8971757"/>
                  <a:gd name="connsiteY197" fmla="*/ 1476374 h 4575969"/>
                  <a:gd name="connsiteX198" fmla="*/ 8117681 w 8971757"/>
                  <a:gd name="connsiteY198" fmla="*/ 1514475 h 4575969"/>
                  <a:gd name="connsiteX199" fmla="*/ 8067675 w 8971757"/>
                  <a:gd name="connsiteY199" fmla="*/ 1593056 h 4575969"/>
                  <a:gd name="connsiteX200" fmla="*/ 8084344 w 8971757"/>
                  <a:gd name="connsiteY200" fmla="*/ 1614487 h 4575969"/>
                  <a:gd name="connsiteX201" fmla="*/ 8039100 w 8971757"/>
                  <a:gd name="connsiteY201" fmla="*/ 1664493 h 4575969"/>
                  <a:gd name="connsiteX202" fmla="*/ 7889081 w 8971757"/>
                  <a:gd name="connsiteY202" fmla="*/ 1588293 h 4575969"/>
                  <a:gd name="connsiteX203" fmla="*/ 7798594 w 8971757"/>
                  <a:gd name="connsiteY203" fmla="*/ 1624012 h 4575969"/>
                  <a:gd name="connsiteX204" fmla="*/ 7724775 w 8971757"/>
                  <a:gd name="connsiteY204" fmla="*/ 1621631 h 4575969"/>
                  <a:gd name="connsiteX205" fmla="*/ 7667625 w 8971757"/>
                  <a:gd name="connsiteY205" fmla="*/ 1716881 h 4575969"/>
                  <a:gd name="connsiteX206" fmla="*/ 7529513 w 8971757"/>
                  <a:gd name="connsiteY20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4250531 w 8971757"/>
                  <a:gd name="connsiteY53" fmla="*/ 909637 h 4575969"/>
                  <a:gd name="connsiteX54" fmla="*/ 8412956 w 8971757"/>
                  <a:gd name="connsiteY54" fmla="*/ 23812 h 4575969"/>
                  <a:gd name="connsiteX55" fmla="*/ 8949531 w 8971757"/>
                  <a:gd name="connsiteY55" fmla="*/ 0 h 4575969"/>
                  <a:gd name="connsiteX56" fmla="*/ 8971757 w 8971757"/>
                  <a:gd name="connsiteY56" fmla="*/ 4575969 h 4575969"/>
                  <a:gd name="connsiteX57" fmla="*/ 2381 w 8971757"/>
                  <a:gd name="connsiteY57" fmla="*/ 4547392 h 4575969"/>
                  <a:gd name="connsiteX58" fmla="*/ 0 w 8971757"/>
                  <a:gd name="connsiteY58" fmla="*/ 845344 h 4575969"/>
                  <a:gd name="connsiteX59" fmla="*/ 76200 w 8971757"/>
                  <a:gd name="connsiteY59" fmla="*/ 828675 h 4575969"/>
                  <a:gd name="connsiteX60" fmla="*/ 119063 w 8971757"/>
                  <a:gd name="connsiteY60" fmla="*/ 857250 h 4575969"/>
                  <a:gd name="connsiteX61" fmla="*/ 215900 w 8971757"/>
                  <a:gd name="connsiteY61" fmla="*/ 848519 h 4575969"/>
                  <a:gd name="connsiteX62" fmla="*/ 261938 w 8971757"/>
                  <a:gd name="connsiteY62" fmla="*/ 876299 h 4575969"/>
                  <a:gd name="connsiteX63" fmla="*/ 228600 w 8971757"/>
                  <a:gd name="connsiteY63" fmla="*/ 904875 h 4575969"/>
                  <a:gd name="connsiteX64" fmla="*/ 233363 w 8971757"/>
                  <a:gd name="connsiteY64" fmla="*/ 947737 h 4575969"/>
                  <a:gd name="connsiteX65" fmla="*/ 200025 w 8971757"/>
                  <a:gd name="connsiteY65" fmla="*/ 952500 h 4575969"/>
                  <a:gd name="connsiteX66" fmla="*/ 204788 w 8971757"/>
                  <a:gd name="connsiteY66" fmla="*/ 976312 h 4575969"/>
                  <a:gd name="connsiteX67" fmla="*/ 261937 w 8971757"/>
                  <a:gd name="connsiteY67" fmla="*/ 1050131 h 4575969"/>
                  <a:gd name="connsiteX68" fmla="*/ 223838 w 8971757"/>
                  <a:gd name="connsiteY68" fmla="*/ 1097756 h 4575969"/>
                  <a:gd name="connsiteX69" fmla="*/ 278606 w 8971757"/>
                  <a:gd name="connsiteY69" fmla="*/ 1133475 h 4575969"/>
                  <a:gd name="connsiteX70" fmla="*/ 369094 w 8971757"/>
                  <a:gd name="connsiteY70" fmla="*/ 1221581 h 4575969"/>
                  <a:gd name="connsiteX71" fmla="*/ 371475 w 8971757"/>
                  <a:gd name="connsiteY71" fmla="*/ 1281112 h 4575969"/>
                  <a:gd name="connsiteX72" fmla="*/ 507206 w 8971757"/>
                  <a:gd name="connsiteY72" fmla="*/ 1414463 h 4575969"/>
                  <a:gd name="connsiteX73" fmla="*/ 561975 w 8971757"/>
                  <a:gd name="connsiteY73" fmla="*/ 1390650 h 4575969"/>
                  <a:gd name="connsiteX74" fmla="*/ 600075 w 8971757"/>
                  <a:gd name="connsiteY74" fmla="*/ 1416843 h 4575969"/>
                  <a:gd name="connsiteX75" fmla="*/ 614363 w 8971757"/>
                  <a:gd name="connsiteY75" fmla="*/ 1466849 h 4575969"/>
                  <a:gd name="connsiteX76" fmla="*/ 657225 w 8971757"/>
                  <a:gd name="connsiteY76" fmla="*/ 1502569 h 4575969"/>
                  <a:gd name="connsiteX77" fmla="*/ 697706 w 8971757"/>
                  <a:gd name="connsiteY77" fmla="*/ 1490662 h 4575969"/>
                  <a:gd name="connsiteX78" fmla="*/ 716756 w 8971757"/>
                  <a:gd name="connsiteY78" fmla="*/ 1547812 h 4575969"/>
                  <a:gd name="connsiteX79" fmla="*/ 764381 w 8971757"/>
                  <a:gd name="connsiteY79" fmla="*/ 1590675 h 4575969"/>
                  <a:gd name="connsiteX80" fmla="*/ 788194 w 8971757"/>
                  <a:gd name="connsiteY80" fmla="*/ 1693069 h 4575969"/>
                  <a:gd name="connsiteX81" fmla="*/ 785813 w 8971757"/>
                  <a:gd name="connsiteY81" fmla="*/ 1740694 h 4575969"/>
                  <a:gd name="connsiteX82" fmla="*/ 821531 w 8971757"/>
                  <a:gd name="connsiteY82" fmla="*/ 1840706 h 4575969"/>
                  <a:gd name="connsiteX83" fmla="*/ 866775 w 8971757"/>
                  <a:gd name="connsiteY83" fmla="*/ 1897856 h 4575969"/>
                  <a:gd name="connsiteX84" fmla="*/ 883443 w 8971757"/>
                  <a:gd name="connsiteY84" fmla="*/ 2055018 h 4575969"/>
                  <a:gd name="connsiteX85" fmla="*/ 850106 w 8971757"/>
                  <a:gd name="connsiteY85" fmla="*/ 2116931 h 4575969"/>
                  <a:gd name="connsiteX86" fmla="*/ 819150 w 8971757"/>
                  <a:gd name="connsiteY86" fmla="*/ 2193131 h 4575969"/>
                  <a:gd name="connsiteX87" fmla="*/ 833438 w 8971757"/>
                  <a:gd name="connsiteY87" fmla="*/ 2250281 h 4575969"/>
                  <a:gd name="connsiteX88" fmla="*/ 735806 w 8971757"/>
                  <a:gd name="connsiteY88" fmla="*/ 2357438 h 4575969"/>
                  <a:gd name="connsiteX89" fmla="*/ 692944 w 8971757"/>
                  <a:gd name="connsiteY89" fmla="*/ 2471737 h 4575969"/>
                  <a:gd name="connsiteX90" fmla="*/ 726281 w 8971757"/>
                  <a:gd name="connsiteY90" fmla="*/ 2512219 h 4575969"/>
                  <a:gd name="connsiteX91" fmla="*/ 709613 w 8971757"/>
                  <a:gd name="connsiteY91" fmla="*/ 2540794 h 4575969"/>
                  <a:gd name="connsiteX92" fmla="*/ 740569 w 8971757"/>
                  <a:gd name="connsiteY92" fmla="*/ 2597944 h 4575969"/>
                  <a:gd name="connsiteX93" fmla="*/ 769144 w 8971757"/>
                  <a:gd name="connsiteY93" fmla="*/ 2597944 h 4575969"/>
                  <a:gd name="connsiteX94" fmla="*/ 931069 w 8971757"/>
                  <a:gd name="connsiteY94" fmla="*/ 2700337 h 4575969"/>
                  <a:gd name="connsiteX95" fmla="*/ 1035844 w 8971757"/>
                  <a:gd name="connsiteY95" fmla="*/ 2697956 h 4575969"/>
                  <a:gd name="connsiteX96" fmla="*/ 1114425 w 8971757"/>
                  <a:gd name="connsiteY96" fmla="*/ 2752725 h 4575969"/>
                  <a:gd name="connsiteX97" fmla="*/ 1245393 w 8971757"/>
                  <a:gd name="connsiteY97" fmla="*/ 2755106 h 4575969"/>
                  <a:gd name="connsiteX98" fmla="*/ 1435893 w 8971757"/>
                  <a:gd name="connsiteY98" fmla="*/ 2824162 h 4575969"/>
                  <a:gd name="connsiteX99" fmla="*/ 1638300 w 8971757"/>
                  <a:gd name="connsiteY99" fmla="*/ 2974181 h 4575969"/>
                  <a:gd name="connsiteX100" fmla="*/ 1671637 w 8971757"/>
                  <a:gd name="connsiteY100" fmla="*/ 3040856 h 4575969"/>
                  <a:gd name="connsiteX101" fmla="*/ 1838325 w 8971757"/>
                  <a:gd name="connsiteY101" fmla="*/ 3167062 h 4575969"/>
                  <a:gd name="connsiteX102" fmla="*/ 1909763 w 8971757"/>
                  <a:gd name="connsiteY102" fmla="*/ 3162300 h 4575969"/>
                  <a:gd name="connsiteX103" fmla="*/ 1945482 w 8971757"/>
                  <a:gd name="connsiteY103" fmla="*/ 3186112 h 4575969"/>
                  <a:gd name="connsiteX104" fmla="*/ 1916906 w 8971757"/>
                  <a:gd name="connsiteY104" fmla="*/ 3226594 h 4575969"/>
                  <a:gd name="connsiteX105" fmla="*/ 1924050 w 8971757"/>
                  <a:gd name="connsiteY105" fmla="*/ 3278981 h 4575969"/>
                  <a:gd name="connsiteX106" fmla="*/ 1976438 w 8971757"/>
                  <a:gd name="connsiteY106" fmla="*/ 3305175 h 4575969"/>
                  <a:gd name="connsiteX107" fmla="*/ 2038350 w 8971757"/>
                  <a:gd name="connsiteY107" fmla="*/ 3529013 h 4575969"/>
                  <a:gd name="connsiteX108" fmla="*/ 2028825 w 8971757"/>
                  <a:gd name="connsiteY108" fmla="*/ 3593306 h 4575969"/>
                  <a:gd name="connsiteX109" fmla="*/ 2164556 w 8971757"/>
                  <a:gd name="connsiteY109" fmla="*/ 3759994 h 4575969"/>
                  <a:gd name="connsiteX110" fmla="*/ 2183606 w 8971757"/>
                  <a:gd name="connsiteY110" fmla="*/ 3810000 h 4575969"/>
                  <a:gd name="connsiteX111" fmla="*/ 2157413 w 8971757"/>
                  <a:gd name="connsiteY111" fmla="*/ 3829050 h 4575969"/>
                  <a:gd name="connsiteX112" fmla="*/ 2259806 w 8971757"/>
                  <a:gd name="connsiteY112" fmla="*/ 3838575 h 4575969"/>
                  <a:gd name="connsiteX113" fmla="*/ 2371725 w 8971757"/>
                  <a:gd name="connsiteY113" fmla="*/ 3826669 h 4575969"/>
                  <a:gd name="connsiteX114" fmla="*/ 2650331 w 8971757"/>
                  <a:gd name="connsiteY114" fmla="*/ 3910012 h 4575969"/>
                  <a:gd name="connsiteX115" fmla="*/ 3057525 w 8971757"/>
                  <a:gd name="connsiteY115" fmla="*/ 3990975 h 4575969"/>
                  <a:gd name="connsiteX116" fmla="*/ 3255169 w 8971757"/>
                  <a:gd name="connsiteY116" fmla="*/ 3960018 h 4575969"/>
                  <a:gd name="connsiteX117" fmla="*/ 3300413 w 8971757"/>
                  <a:gd name="connsiteY117" fmla="*/ 3971924 h 4575969"/>
                  <a:gd name="connsiteX118" fmla="*/ 3355181 w 8971757"/>
                  <a:gd name="connsiteY118" fmla="*/ 3948113 h 4575969"/>
                  <a:gd name="connsiteX119" fmla="*/ 3748087 w 8971757"/>
                  <a:gd name="connsiteY119" fmla="*/ 4038600 h 4575969"/>
                  <a:gd name="connsiteX120" fmla="*/ 3831432 w 8971757"/>
                  <a:gd name="connsiteY120" fmla="*/ 4136231 h 4575969"/>
                  <a:gd name="connsiteX121" fmla="*/ 3950494 w 8971757"/>
                  <a:gd name="connsiteY121" fmla="*/ 4207669 h 4575969"/>
                  <a:gd name="connsiteX122" fmla="*/ 4010025 w 8971757"/>
                  <a:gd name="connsiteY122" fmla="*/ 4191000 h 4575969"/>
                  <a:gd name="connsiteX123" fmla="*/ 4360068 w 8971757"/>
                  <a:gd name="connsiteY123" fmla="*/ 4364831 h 4575969"/>
                  <a:gd name="connsiteX124" fmla="*/ 4586288 w 8971757"/>
                  <a:gd name="connsiteY124" fmla="*/ 4336256 h 4575969"/>
                  <a:gd name="connsiteX125" fmla="*/ 4595813 w 8971757"/>
                  <a:gd name="connsiteY125" fmla="*/ 4414837 h 4575969"/>
                  <a:gd name="connsiteX126" fmla="*/ 4681538 w 8971757"/>
                  <a:gd name="connsiteY126" fmla="*/ 4410074 h 4575969"/>
                  <a:gd name="connsiteX127" fmla="*/ 4760119 w 8971757"/>
                  <a:gd name="connsiteY127" fmla="*/ 4441031 h 4575969"/>
                  <a:gd name="connsiteX128" fmla="*/ 4802981 w 8971757"/>
                  <a:gd name="connsiteY128" fmla="*/ 4381500 h 4575969"/>
                  <a:gd name="connsiteX129" fmla="*/ 5474494 w 8971757"/>
                  <a:gd name="connsiteY129" fmla="*/ 4062412 h 4575969"/>
                  <a:gd name="connsiteX130" fmla="*/ 5562600 w 8971757"/>
                  <a:gd name="connsiteY130" fmla="*/ 4090988 h 4575969"/>
                  <a:gd name="connsiteX131" fmla="*/ 5693569 w 8971757"/>
                  <a:gd name="connsiteY131" fmla="*/ 4062412 h 4575969"/>
                  <a:gd name="connsiteX132" fmla="*/ 5872162 w 8971757"/>
                  <a:gd name="connsiteY132" fmla="*/ 4079081 h 4575969"/>
                  <a:gd name="connsiteX133" fmla="*/ 5929313 w 8971757"/>
                  <a:gd name="connsiteY133" fmla="*/ 4052888 h 4575969"/>
                  <a:gd name="connsiteX134" fmla="*/ 6062662 w 8971757"/>
                  <a:gd name="connsiteY134" fmla="*/ 4050506 h 4575969"/>
                  <a:gd name="connsiteX135" fmla="*/ 6196012 w 8971757"/>
                  <a:gd name="connsiteY135" fmla="*/ 3952875 h 4575969"/>
                  <a:gd name="connsiteX136" fmla="*/ 6262687 w 8971757"/>
                  <a:gd name="connsiteY136" fmla="*/ 3945731 h 4575969"/>
                  <a:gd name="connsiteX137" fmla="*/ 6360319 w 8971757"/>
                  <a:gd name="connsiteY137" fmla="*/ 3871912 h 4575969"/>
                  <a:gd name="connsiteX138" fmla="*/ 6434138 w 8971757"/>
                  <a:gd name="connsiteY138" fmla="*/ 3802856 h 4575969"/>
                  <a:gd name="connsiteX139" fmla="*/ 6443663 w 8971757"/>
                  <a:gd name="connsiteY139" fmla="*/ 3740944 h 4575969"/>
                  <a:gd name="connsiteX140" fmla="*/ 6477000 w 8971757"/>
                  <a:gd name="connsiteY140" fmla="*/ 3671887 h 4575969"/>
                  <a:gd name="connsiteX141" fmla="*/ 6629400 w 8971757"/>
                  <a:gd name="connsiteY141" fmla="*/ 3564731 h 4575969"/>
                  <a:gd name="connsiteX142" fmla="*/ 6662738 w 8971757"/>
                  <a:gd name="connsiteY142" fmla="*/ 3569494 h 4575969"/>
                  <a:gd name="connsiteX143" fmla="*/ 6715125 w 8971757"/>
                  <a:gd name="connsiteY143" fmla="*/ 3490912 h 4575969"/>
                  <a:gd name="connsiteX144" fmla="*/ 6762750 w 8971757"/>
                  <a:gd name="connsiteY144" fmla="*/ 3452812 h 4575969"/>
                  <a:gd name="connsiteX145" fmla="*/ 6748463 w 8971757"/>
                  <a:gd name="connsiteY145" fmla="*/ 3383756 h 4575969"/>
                  <a:gd name="connsiteX146" fmla="*/ 6698456 w 8971757"/>
                  <a:gd name="connsiteY146" fmla="*/ 3352799 h 4575969"/>
                  <a:gd name="connsiteX147" fmla="*/ 6638925 w 8971757"/>
                  <a:gd name="connsiteY147" fmla="*/ 3298031 h 4575969"/>
                  <a:gd name="connsiteX148" fmla="*/ 6619875 w 8971757"/>
                  <a:gd name="connsiteY148" fmla="*/ 3240881 h 4575969"/>
                  <a:gd name="connsiteX149" fmla="*/ 6584156 w 8971757"/>
                  <a:gd name="connsiteY149" fmla="*/ 3207544 h 4575969"/>
                  <a:gd name="connsiteX150" fmla="*/ 6610350 w 8971757"/>
                  <a:gd name="connsiteY150" fmla="*/ 3155156 h 4575969"/>
                  <a:gd name="connsiteX151" fmla="*/ 6650831 w 8971757"/>
                  <a:gd name="connsiteY151" fmla="*/ 2976562 h 4575969"/>
                  <a:gd name="connsiteX152" fmla="*/ 6691313 w 8971757"/>
                  <a:gd name="connsiteY152" fmla="*/ 2909887 h 4575969"/>
                  <a:gd name="connsiteX153" fmla="*/ 6836569 w 8971757"/>
                  <a:gd name="connsiteY153" fmla="*/ 2893218 h 4575969"/>
                  <a:gd name="connsiteX154" fmla="*/ 6905625 w 8971757"/>
                  <a:gd name="connsiteY154" fmla="*/ 2950369 h 4575969"/>
                  <a:gd name="connsiteX155" fmla="*/ 6981825 w 8971757"/>
                  <a:gd name="connsiteY155" fmla="*/ 2974181 h 4575969"/>
                  <a:gd name="connsiteX156" fmla="*/ 7186612 w 8971757"/>
                  <a:gd name="connsiteY156" fmla="*/ 2978944 h 4575969"/>
                  <a:gd name="connsiteX157" fmla="*/ 7362825 w 8971757"/>
                  <a:gd name="connsiteY157" fmla="*/ 2840831 h 4575969"/>
                  <a:gd name="connsiteX158" fmla="*/ 7419975 w 8971757"/>
                  <a:gd name="connsiteY158" fmla="*/ 2750343 h 4575969"/>
                  <a:gd name="connsiteX159" fmla="*/ 7446169 w 8971757"/>
                  <a:gd name="connsiteY159" fmla="*/ 2667000 h 4575969"/>
                  <a:gd name="connsiteX160" fmla="*/ 7577137 w 8971757"/>
                  <a:gd name="connsiteY160" fmla="*/ 2667000 h 4575969"/>
                  <a:gd name="connsiteX161" fmla="*/ 7750969 w 8971757"/>
                  <a:gd name="connsiteY161" fmla="*/ 2609849 h 4575969"/>
                  <a:gd name="connsiteX162" fmla="*/ 7810500 w 8971757"/>
                  <a:gd name="connsiteY162" fmla="*/ 2497931 h 4575969"/>
                  <a:gd name="connsiteX163" fmla="*/ 7874794 w 8971757"/>
                  <a:gd name="connsiteY163" fmla="*/ 2462212 h 4575969"/>
                  <a:gd name="connsiteX164" fmla="*/ 7853363 w 8971757"/>
                  <a:gd name="connsiteY164" fmla="*/ 2416969 h 4575969"/>
                  <a:gd name="connsiteX165" fmla="*/ 7931944 w 8971757"/>
                  <a:gd name="connsiteY165" fmla="*/ 2247899 h 4575969"/>
                  <a:gd name="connsiteX166" fmla="*/ 7986713 w 8971757"/>
                  <a:gd name="connsiteY166" fmla="*/ 2188369 h 4575969"/>
                  <a:gd name="connsiteX167" fmla="*/ 8024813 w 8971757"/>
                  <a:gd name="connsiteY167" fmla="*/ 2183606 h 4575969"/>
                  <a:gd name="connsiteX168" fmla="*/ 8070056 w 8971757"/>
                  <a:gd name="connsiteY168" fmla="*/ 2188369 h 4575969"/>
                  <a:gd name="connsiteX169" fmla="*/ 8134350 w 8971757"/>
                  <a:gd name="connsiteY169" fmla="*/ 2155031 h 4575969"/>
                  <a:gd name="connsiteX170" fmla="*/ 8143875 w 8971757"/>
                  <a:gd name="connsiteY170" fmla="*/ 2090737 h 4575969"/>
                  <a:gd name="connsiteX171" fmla="*/ 8184355 w 8971757"/>
                  <a:gd name="connsiteY171" fmla="*/ 2055019 h 4575969"/>
                  <a:gd name="connsiteX172" fmla="*/ 8243888 w 8971757"/>
                  <a:gd name="connsiteY172" fmla="*/ 2095499 h 4575969"/>
                  <a:gd name="connsiteX173" fmla="*/ 8270082 w 8971757"/>
                  <a:gd name="connsiteY173" fmla="*/ 2045493 h 4575969"/>
                  <a:gd name="connsiteX174" fmla="*/ 8365331 w 8971757"/>
                  <a:gd name="connsiteY174" fmla="*/ 1976437 h 4575969"/>
                  <a:gd name="connsiteX175" fmla="*/ 8427244 w 8971757"/>
                  <a:gd name="connsiteY175" fmla="*/ 1983581 h 4575969"/>
                  <a:gd name="connsiteX176" fmla="*/ 8477250 w 8971757"/>
                  <a:gd name="connsiteY176" fmla="*/ 1964531 h 4575969"/>
                  <a:gd name="connsiteX177" fmla="*/ 8515350 w 8971757"/>
                  <a:gd name="connsiteY177" fmla="*/ 1935956 h 4575969"/>
                  <a:gd name="connsiteX178" fmla="*/ 8548688 w 8971757"/>
                  <a:gd name="connsiteY178" fmla="*/ 1933575 h 4575969"/>
                  <a:gd name="connsiteX179" fmla="*/ 8584406 w 8971757"/>
                  <a:gd name="connsiteY179" fmla="*/ 1964531 h 4575969"/>
                  <a:gd name="connsiteX180" fmla="*/ 8643938 w 8971757"/>
                  <a:gd name="connsiteY180" fmla="*/ 1964531 h 4575969"/>
                  <a:gd name="connsiteX181" fmla="*/ 8682037 w 8971757"/>
                  <a:gd name="connsiteY181" fmla="*/ 1945481 h 4575969"/>
                  <a:gd name="connsiteX182" fmla="*/ 8765381 w 8971757"/>
                  <a:gd name="connsiteY182" fmla="*/ 1947863 h 4575969"/>
                  <a:gd name="connsiteX183" fmla="*/ 8796338 w 8971757"/>
                  <a:gd name="connsiteY183" fmla="*/ 1902619 h 4575969"/>
                  <a:gd name="connsiteX184" fmla="*/ 8801100 w 8971757"/>
                  <a:gd name="connsiteY184" fmla="*/ 1840706 h 4575969"/>
                  <a:gd name="connsiteX185" fmla="*/ 8751093 w 8971757"/>
                  <a:gd name="connsiteY185" fmla="*/ 1800225 h 4575969"/>
                  <a:gd name="connsiteX186" fmla="*/ 8734425 w 8971757"/>
                  <a:gd name="connsiteY186" fmla="*/ 1745456 h 4575969"/>
                  <a:gd name="connsiteX187" fmla="*/ 8643938 w 8971757"/>
                  <a:gd name="connsiteY187" fmla="*/ 1683544 h 4575969"/>
                  <a:gd name="connsiteX188" fmla="*/ 8603456 w 8971757"/>
                  <a:gd name="connsiteY188" fmla="*/ 1662112 h 4575969"/>
                  <a:gd name="connsiteX189" fmla="*/ 8565356 w 8971757"/>
                  <a:gd name="connsiteY189" fmla="*/ 1616869 h 4575969"/>
                  <a:gd name="connsiteX190" fmla="*/ 8534400 w 8971757"/>
                  <a:gd name="connsiteY190" fmla="*/ 1614487 h 4575969"/>
                  <a:gd name="connsiteX191" fmla="*/ 8517731 w 8971757"/>
                  <a:gd name="connsiteY191" fmla="*/ 1562100 h 4575969"/>
                  <a:gd name="connsiteX192" fmla="*/ 8477250 w 8971757"/>
                  <a:gd name="connsiteY192" fmla="*/ 1545431 h 4575969"/>
                  <a:gd name="connsiteX193" fmla="*/ 8477250 w 8971757"/>
                  <a:gd name="connsiteY193" fmla="*/ 1545431 h 4575969"/>
                  <a:gd name="connsiteX194" fmla="*/ 8436769 w 8971757"/>
                  <a:gd name="connsiteY194" fmla="*/ 1550194 h 4575969"/>
                  <a:gd name="connsiteX195" fmla="*/ 8351043 w 8971757"/>
                  <a:gd name="connsiteY195" fmla="*/ 1476375 h 4575969"/>
                  <a:gd name="connsiteX196" fmla="*/ 8170069 w 8971757"/>
                  <a:gd name="connsiteY196" fmla="*/ 1476374 h 4575969"/>
                  <a:gd name="connsiteX197" fmla="*/ 8117681 w 8971757"/>
                  <a:gd name="connsiteY197" fmla="*/ 1514475 h 4575969"/>
                  <a:gd name="connsiteX198" fmla="*/ 8067675 w 8971757"/>
                  <a:gd name="connsiteY198" fmla="*/ 1593056 h 4575969"/>
                  <a:gd name="connsiteX199" fmla="*/ 8084344 w 8971757"/>
                  <a:gd name="connsiteY199" fmla="*/ 1614487 h 4575969"/>
                  <a:gd name="connsiteX200" fmla="*/ 8039100 w 8971757"/>
                  <a:gd name="connsiteY200" fmla="*/ 1664493 h 4575969"/>
                  <a:gd name="connsiteX201" fmla="*/ 7889081 w 8971757"/>
                  <a:gd name="connsiteY201" fmla="*/ 1588293 h 4575969"/>
                  <a:gd name="connsiteX202" fmla="*/ 7798594 w 8971757"/>
                  <a:gd name="connsiteY202" fmla="*/ 1624012 h 4575969"/>
                  <a:gd name="connsiteX203" fmla="*/ 7724775 w 8971757"/>
                  <a:gd name="connsiteY203" fmla="*/ 1621631 h 4575969"/>
                  <a:gd name="connsiteX204" fmla="*/ 7667625 w 8971757"/>
                  <a:gd name="connsiteY204" fmla="*/ 1716881 h 4575969"/>
                  <a:gd name="connsiteX205" fmla="*/ 7529513 w 8971757"/>
                  <a:gd name="connsiteY20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4271963 w 8971757"/>
                  <a:gd name="connsiteY52" fmla="*/ 947737 h 4575969"/>
                  <a:gd name="connsiteX53" fmla="*/ 8412956 w 8971757"/>
                  <a:gd name="connsiteY53" fmla="*/ 23812 h 4575969"/>
                  <a:gd name="connsiteX54" fmla="*/ 8949531 w 8971757"/>
                  <a:gd name="connsiteY54" fmla="*/ 0 h 4575969"/>
                  <a:gd name="connsiteX55" fmla="*/ 8971757 w 8971757"/>
                  <a:gd name="connsiteY55" fmla="*/ 4575969 h 4575969"/>
                  <a:gd name="connsiteX56" fmla="*/ 2381 w 8971757"/>
                  <a:gd name="connsiteY56" fmla="*/ 4547392 h 4575969"/>
                  <a:gd name="connsiteX57" fmla="*/ 0 w 8971757"/>
                  <a:gd name="connsiteY57" fmla="*/ 845344 h 4575969"/>
                  <a:gd name="connsiteX58" fmla="*/ 76200 w 8971757"/>
                  <a:gd name="connsiteY58" fmla="*/ 828675 h 4575969"/>
                  <a:gd name="connsiteX59" fmla="*/ 119063 w 8971757"/>
                  <a:gd name="connsiteY59" fmla="*/ 857250 h 4575969"/>
                  <a:gd name="connsiteX60" fmla="*/ 215900 w 8971757"/>
                  <a:gd name="connsiteY60" fmla="*/ 848519 h 4575969"/>
                  <a:gd name="connsiteX61" fmla="*/ 261938 w 8971757"/>
                  <a:gd name="connsiteY61" fmla="*/ 876299 h 4575969"/>
                  <a:gd name="connsiteX62" fmla="*/ 228600 w 8971757"/>
                  <a:gd name="connsiteY62" fmla="*/ 904875 h 4575969"/>
                  <a:gd name="connsiteX63" fmla="*/ 233363 w 8971757"/>
                  <a:gd name="connsiteY63" fmla="*/ 947737 h 4575969"/>
                  <a:gd name="connsiteX64" fmla="*/ 200025 w 8971757"/>
                  <a:gd name="connsiteY64" fmla="*/ 952500 h 4575969"/>
                  <a:gd name="connsiteX65" fmla="*/ 204788 w 8971757"/>
                  <a:gd name="connsiteY65" fmla="*/ 976312 h 4575969"/>
                  <a:gd name="connsiteX66" fmla="*/ 261937 w 8971757"/>
                  <a:gd name="connsiteY66" fmla="*/ 1050131 h 4575969"/>
                  <a:gd name="connsiteX67" fmla="*/ 223838 w 8971757"/>
                  <a:gd name="connsiteY67" fmla="*/ 1097756 h 4575969"/>
                  <a:gd name="connsiteX68" fmla="*/ 278606 w 8971757"/>
                  <a:gd name="connsiteY68" fmla="*/ 1133475 h 4575969"/>
                  <a:gd name="connsiteX69" fmla="*/ 369094 w 8971757"/>
                  <a:gd name="connsiteY69" fmla="*/ 1221581 h 4575969"/>
                  <a:gd name="connsiteX70" fmla="*/ 371475 w 8971757"/>
                  <a:gd name="connsiteY70" fmla="*/ 1281112 h 4575969"/>
                  <a:gd name="connsiteX71" fmla="*/ 507206 w 8971757"/>
                  <a:gd name="connsiteY71" fmla="*/ 1414463 h 4575969"/>
                  <a:gd name="connsiteX72" fmla="*/ 561975 w 8971757"/>
                  <a:gd name="connsiteY72" fmla="*/ 1390650 h 4575969"/>
                  <a:gd name="connsiteX73" fmla="*/ 600075 w 8971757"/>
                  <a:gd name="connsiteY73" fmla="*/ 1416843 h 4575969"/>
                  <a:gd name="connsiteX74" fmla="*/ 614363 w 8971757"/>
                  <a:gd name="connsiteY74" fmla="*/ 1466849 h 4575969"/>
                  <a:gd name="connsiteX75" fmla="*/ 657225 w 8971757"/>
                  <a:gd name="connsiteY75" fmla="*/ 1502569 h 4575969"/>
                  <a:gd name="connsiteX76" fmla="*/ 697706 w 8971757"/>
                  <a:gd name="connsiteY76" fmla="*/ 1490662 h 4575969"/>
                  <a:gd name="connsiteX77" fmla="*/ 716756 w 8971757"/>
                  <a:gd name="connsiteY77" fmla="*/ 1547812 h 4575969"/>
                  <a:gd name="connsiteX78" fmla="*/ 764381 w 8971757"/>
                  <a:gd name="connsiteY78" fmla="*/ 1590675 h 4575969"/>
                  <a:gd name="connsiteX79" fmla="*/ 788194 w 8971757"/>
                  <a:gd name="connsiteY79" fmla="*/ 1693069 h 4575969"/>
                  <a:gd name="connsiteX80" fmla="*/ 785813 w 8971757"/>
                  <a:gd name="connsiteY80" fmla="*/ 1740694 h 4575969"/>
                  <a:gd name="connsiteX81" fmla="*/ 821531 w 8971757"/>
                  <a:gd name="connsiteY81" fmla="*/ 1840706 h 4575969"/>
                  <a:gd name="connsiteX82" fmla="*/ 866775 w 8971757"/>
                  <a:gd name="connsiteY82" fmla="*/ 1897856 h 4575969"/>
                  <a:gd name="connsiteX83" fmla="*/ 883443 w 8971757"/>
                  <a:gd name="connsiteY83" fmla="*/ 2055018 h 4575969"/>
                  <a:gd name="connsiteX84" fmla="*/ 850106 w 8971757"/>
                  <a:gd name="connsiteY84" fmla="*/ 2116931 h 4575969"/>
                  <a:gd name="connsiteX85" fmla="*/ 819150 w 8971757"/>
                  <a:gd name="connsiteY85" fmla="*/ 2193131 h 4575969"/>
                  <a:gd name="connsiteX86" fmla="*/ 833438 w 8971757"/>
                  <a:gd name="connsiteY86" fmla="*/ 2250281 h 4575969"/>
                  <a:gd name="connsiteX87" fmla="*/ 735806 w 8971757"/>
                  <a:gd name="connsiteY87" fmla="*/ 2357438 h 4575969"/>
                  <a:gd name="connsiteX88" fmla="*/ 692944 w 8971757"/>
                  <a:gd name="connsiteY88" fmla="*/ 2471737 h 4575969"/>
                  <a:gd name="connsiteX89" fmla="*/ 726281 w 8971757"/>
                  <a:gd name="connsiteY89" fmla="*/ 2512219 h 4575969"/>
                  <a:gd name="connsiteX90" fmla="*/ 709613 w 8971757"/>
                  <a:gd name="connsiteY90" fmla="*/ 2540794 h 4575969"/>
                  <a:gd name="connsiteX91" fmla="*/ 740569 w 8971757"/>
                  <a:gd name="connsiteY91" fmla="*/ 2597944 h 4575969"/>
                  <a:gd name="connsiteX92" fmla="*/ 769144 w 8971757"/>
                  <a:gd name="connsiteY92" fmla="*/ 2597944 h 4575969"/>
                  <a:gd name="connsiteX93" fmla="*/ 931069 w 8971757"/>
                  <a:gd name="connsiteY93" fmla="*/ 2700337 h 4575969"/>
                  <a:gd name="connsiteX94" fmla="*/ 1035844 w 8971757"/>
                  <a:gd name="connsiteY94" fmla="*/ 2697956 h 4575969"/>
                  <a:gd name="connsiteX95" fmla="*/ 1114425 w 8971757"/>
                  <a:gd name="connsiteY95" fmla="*/ 2752725 h 4575969"/>
                  <a:gd name="connsiteX96" fmla="*/ 1245393 w 8971757"/>
                  <a:gd name="connsiteY96" fmla="*/ 2755106 h 4575969"/>
                  <a:gd name="connsiteX97" fmla="*/ 1435893 w 8971757"/>
                  <a:gd name="connsiteY97" fmla="*/ 2824162 h 4575969"/>
                  <a:gd name="connsiteX98" fmla="*/ 1638300 w 8971757"/>
                  <a:gd name="connsiteY98" fmla="*/ 2974181 h 4575969"/>
                  <a:gd name="connsiteX99" fmla="*/ 1671637 w 8971757"/>
                  <a:gd name="connsiteY99" fmla="*/ 3040856 h 4575969"/>
                  <a:gd name="connsiteX100" fmla="*/ 1838325 w 8971757"/>
                  <a:gd name="connsiteY100" fmla="*/ 3167062 h 4575969"/>
                  <a:gd name="connsiteX101" fmla="*/ 1909763 w 8971757"/>
                  <a:gd name="connsiteY101" fmla="*/ 3162300 h 4575969"/>
                  <a:gd name="connsiteX102" fmla="*/ 1945482 w 8971757"/>
                  <a:gd name="connsiteY102" fmla="*/ 3186112 h 4575969"/>
                  <a:gd name="connsiteX103" fmla="*/ 1916906 w 8971757"/>
                  <a:gd name="connsiteY103" fmla="*/ 3226594 h 4575969"/>
                  <a:gd name="connsiteX104" fmla="*/ 1924050 w 8971757"/>
                  <a:gd name="connsiteY104" fmla="*/ 3278981 h 4575969"/>
                  <a:gd name="connsiteX105" fmla="*/ 1976438 w 8971757"/>
                  <a:gd name="connsiteY105" fmla="*/ 3305175 h 4575969"/>
                  <a:gd name="connsiteX106" fmla="*/ 2038350 w 8971757"/>
                  <a:gd name="connsiteY106" fmla="*/ 3529013 h 4575969"/>
                  <a:gd name="connsiteX107" fmla="*/ 2028825 w 8971757"/>
                  <a:gd name="connsiteY107" fmla="*/ 3593306 h 4575969"/>
                  <a:gd name="connsiteX108" fmla="*/ 2164556 w 8971757"/>
                  <a:gd name="connsiteY108" fmla="*/ 3759994 h 4575969"/>
                  <a:gd name="connsiteX109" fmla="*/ 2183606 w 8971757"/>
                  <a:gd name="connsiteY109" fmla="*/ 3810000 h 4575969"/>
                  <a:gd name="connsiteX110" fmla="*/ 2157413 w 8971757"/>
                  <a:gd name="connsiteY110" fmla="*/ 3829050 h 4575969"/>
                  <a:gd name="connsiteX111" fmla="*/ 2259806 w 8971757"/>
                  <a:gd name="connsiteY111" fmla="*/ 3838575 h 4575969"/>
                  <a:gd name="connsiteX112" fmla="*/ 2371725 w 8971757"/>
                  <a:gd name="connsiteY112" fmla="*/ 3826669 h 4575969"/>
                  <a:gd name="connsiteX113" fmla="*/ 2650331 w 8971757"/>
                  <a:gd name="connsiteY113" fmla="*/ 3910012 h 4575969"/>
                  <a:gd name="connsiteX114" fmla="*/ 3057525 w 8971757"/>
                  <a:gd name="connsiteY114" fmla="*/ 3990975 h 4575969"/>
                  <a:gd name="connsiteX115" fmla="*/ 3255169 w 8971757"/>
                  <a:gd name="connsiteY115" fmla="*/ 3960018 h 4575969"/>
                  <a:gd name="connsiteX116" fmla="*/ 3300413 w 8971757"/>
                  <a:gd name="connsiteY116" fmla="*/ 3971924 h 4575969"/>
                  <a:gd name="connsiteX117" fmla="*/ 3355181 w 8971757"/>
                  <a:gd name="connsiteY117" fmla="*/ 3948113 h 4575969"/>
                  <a:gd name="connsiteX118" fmla="*/ 3748087 w 8971757"/>
                  <a:gd name="connsiteY118" fmla="*/ 4038600 h 4575969"/>
                  <a:gd name="connsiteX119" fmla="*/ 3831432 w 8971757"/>
                  <a:gd name="connsiteY119" fmla="*/ 4136231 h 4575969"/>
                  <a:gd name="connsiteX120" fmla="*/ 3950494 w 8971757"/>
                  <a:gd name="connsiteY120" fmla="*/ 4207669 h 4575969"/>
                  <a:gd name="connsiteX121" fmla="*/ 4010025 w 8971757"/>
                  <a:gd name="connsiteY121" fmla="*/ 4191000 h 4575969"/>
                  <a:gd name="connsiteX122" fmla="*/ 4360068 w 8971757"/>
                  <a:gd name="connsiteY122" fmla="*/ 4364831 h 4575969"/>
                  <a:gd name="connsiteX123" fmla="*/ 4586288 w 8971757"/>
                  <a:gd name="connsiteY123" fmla="*/ 4336256 h 4575969"/>
                  <a:gd name="connsiteX124" fmla="*/ 4595813 w 8971757"/>
                  <a:gd name="connsiteY124" fmla="*/ 4414837 h 4575969"/>
                  <a:gd name="connsiteX125" fmla="*/ 4681538 w 8971757"/>
                  <a:gd name="connsiteY125" fmla="*/ 4410074 h 4575969"/>
                  <a:gd name="connsiteX126" fmla="*/ 4760119 w 8971757"/>
                  <a:gd name="connsiteY126" fmla="*/ 4441031 h 4575969"/>
                  <a:gd name="connsiteX127" fmla="*/ 4802981 w 8971757"/>
                  <a:gd name="connsiteY127" fmla="*/ 4381500 h 4575969"/>
                  <a:gd name="connsiteX128" fmla="*/ 5474494 w 8971757"/>
                  <a:gd name="connsiteY128" fmla="*/ 4062412 h 4575969"/>
                  <a:gd name="connsiteX129" fmla="*/ 5562600 w 8971757"/>
                  <a:gd name="connsiteY129" fmla="*/ 4090988 h 4575969"/>
                  <a:gd name="connsiteX130" fmla="*/ 5693569 w 8971757"/>
                  <a:gd name="connsiteY130" fmla="*/ 4062412 h 4575969"/>
                  <a:gd name="connsiteX131" fmla="*/ 5872162 w 8971757"/>
                  <a:gd name="connsiteY131" fmla="*/ 4079081 h 4575969"/>
                  <a:gd name="connsiteX132" fmla="*/ 5929313 w 8971757"/>
                  <a:gd name="connsiteY132" fmla="*/ 4052888 h 4575969"/>
                  <a:gd name="connsiteX133" fmla="*/ 6062662 w 8971757"/>
                  <a:gd name="connsiteY133" fmla="*/ 4050506 h 4575969"/>
                  <a:gd name="connsiteX134" fmla="*/ 6196012 w 8971757"/>
                  <a:gd name="connsiteY134" fmla="*/ 3952875 h 4575969"/>
                  <a:gd name="connsiteX135" fmla="*/ 6262687 w 8971757"/>
                  <a:gd name="connsiteY135" fmla="*/ 3945731 h 4575969"/>
                  <a:gd name="connsiteX136" fmla="*/ 6360319 w 8971757"/>
                  <a:gd name="connsiteY136" fmla="*/ 3871912 h 4575969"/>
                  <a:gd name="connsiteX137" fmla="*/ 6434138 w 8971757"/>
                  <a:gd name="connsiteY137" fmla="*/ 3802856 h 4575969"/>
                  <a:gd name="connsiteX138" fmla="*/ 6443663 w 8971757"/>
                  <a:gd name="connsiteY138" fmla="*/ 3740944 h 4575969"/>
                  <a:gd name="connsiteX139" fmla="*/ 6477000 w 8971757"/>
                  <a:gd name="connsiteY139" fmla="*/ 3671887 h 4575969"/>
                  <a:gd name="connsiteX140" fmla="*/ 6629400 w 8971757"/>
                  <a:gd name="connsiteY140" fmla="*/ 3564731 h 4575969"/>
                  <a:gd name="connsiteX141" fmla="*/ 6662738 w 8971757"/>
                  <a:gd name="connsiteY141" fmla="*/ 3569494 h 4575969"/>
                  <a:gd name="connsiteX142" fmla="*/ 6715125 w 8971757"/>
                  <a:gd name="connsiteY142" fmla="*/ 3490912 h 4575969"/>
                  <a:gd name="connsiteX143" fmla="*/ 6762750 w 8971757"/>
                  <a:gd name="connsiteY143" fmla="*/ 3452812 h 4575969"/>
                  <a:gd name="connsiteX144" fmla="*/ 6748463 w 8971757"/>
                  <a:gd name="connsiteY144" fmla="*/ 3383756 h 4575969"/>
                  <a:gd name="connsiteX145" fmla="*/ 6698456 w 8971757"/>
                  <a:gd name="connsiteY145" fmla="*/ 3352799 h 4575969"/>
                  <a:gd name="connsiteX146" fmla="*/ 6638925 w 8971757"/>
                  <a:gd name="connsiteY146" fmla="*/ 3298031 h 4575969"/>
                  <a:gd name="connsiteX147" fmla="*/ 6619875 w 8971757"/>
                  <a:gd name="connsiteY147" fmla="*/ 3240881 h 4575969"/>
                  <a:gd name="connsiteX148" fmla="*/ 6584156 w 8971757"/>
                  <a:gd name="connsiteY148" fmla="*/ 3207544 h 4575969"/>
                  <a:gd name="connsiteX149" fmla="*/ 6610350 w 8971757"/>
                  <a:gd name="connsiteY149" fmla="*/ 3155156 h 4575969"/>
                  <a:gd name="connsiteX150" fmla="*/ 6650831 w 8971757"/>
                  <a:gd name="connsiteY150" fmla="*/ 2976562 h 4575969"/>
                  <a:gd name="connsiteX151" fmla="*/ 6691313 w 8971757"/>
                  <a:gd name="connsiteY151" fmla="*/ 2909887 h 4575969"/>
                  <a:gd name="connsiteX152" fmla="*/ 6836569 w 8971757"/>
                  <a:gd name="connsiteY152" fmla="*/ 2893218 h 4575969"/>
                  <a:gd name="connsiteX153" fmla="*/ 6905625 w 8971757"/>
                  <a:gd name="connsiteY153" fmla="*/ 2950369 h 4575969"/>
                  <a:gd name="connsiteX154" fmla="*/ 6981825 w 8971757"/>
                  <a:gd name="connsiteY154" fmla="*/ 2974181 h 4575969"/>
                  <a:gd name="connsiteX155" fmla="*/ 7186612 w 8971757"/>
                  <a:gd name="connsiteY155" fmla="*/ 2978944 h 4575969"/>
                  <a:gd name="connsiteX156" fmla="*/ 7362825 w 8971757"/>
                  <a:gd name="connsiteY156" fmla="*/ 2840831 h 4575969"/>
                  <a:gd name="connsiteX157" fmla="*/ 7419975 w 8971757"/>
                  <a:gd name="connsiteY157" fmla="*/ 2750343 h 4575969"/>
                  <a:gd name="connsiteX158" fmla="*/ 7446169 w 8971757"/>
                  <a:gd name="connsiteY158" fmla="*/ 2667000 h 4575969"/>
                  <a:gd name="connsiteX159" fmla="*/ 7577137 w 8971757"/>
                  <a:gd name="connsiteY159" fmla="*/ 2667000 h 4575969"/>
                  <a:gd name="connsiteX160" fmla="*/ 7750969 w 8971757"/>
                  <a:gd name="connsiteY160" fmla="*/ 2609849 h 4575969"/>
                  <a:gd name="connsiteX161" fmla="*/ 7810500 w 8971757"/>
                  <a:gd name="connsiteY161" fmla="*/ 2497931 h 4575969"/>
                  <a:gd name="connsiteX162" fmla="*/ 7874794 w 8971757"/>
                  <a:gd name="connsiteY162" fmla="*/ 2462212 h 4575969"/>
                  <a:gd name="connsiteX163" fmla="*/ 7853363 w 8971757"/>
                  <a:gd name="connsiteY163" fmla="*/ 2416969 h 4575969"/>
                  <a:gd name="connsiteX164" fmla="*/ 7931944 w 8971757"/>
                  <a:gd name="connsiteY164" fmla="*/ 2247899 h 4575969"/>
                  <a:gd name="connsiteX165" fmla="*/ 7986713 w 8971757"/>
                  <a:gd name="connsiteY165" fmla="*/ 2188369 h 4575969"/>
                  <a:gd name="connsiteX166" fmla="*/ 8024813 w 8971757"/>
                  <a:gd name="connsiteY166" fmla="*/ 2183606 h 4575969"/>
                  <a:gd name="connsiteX167" fmla="*/ 8070056 w 8971757"/>
                  <a:gd name="connsiteY167" fmla="*/ 2188369 h 4575969"/>
                  <a:gd name="connsiteX168" fmla="*/ 8134350 w 8971757"/>
                  <a:gd name="connsiteY168" fmla="*/ 2155031 h 4575969"/>
                  <a:gd name="connsiteX169" fmla="*/ 8143875 w 8971757"/>
                  <a:gd name="connsiteY169" fmla="*/ 2090737 h 4575969"/>
                  <a:gd name="connsiteX170" fmla="*/ 8184355 w 8971757"/>
                  <a:gd name="connsiteY170" fmla="*/ 2055019 h 4575969"/>
                  <a:gd name="connsiteX171" fmla="*/ 8243888 w 8971757"/>
                  <a:gd name="connsiteY171" fmla="*/ 2095499 h 4575969"/>
                  <a:gd name="connsiteX172" fmla="*/ 8270082 w 8971757"/>
                  <a:gd name="connsiteY172" fmla="*/ 2045493 h 4575969"/>
                  <a:gd name="connsiteX173" fmla="*/ 8365331 w 8971757"/>
                  <a:gd name="connsiteY173" fmla="*/ 1976437 h 4575969"/>
                  <a:gd name="connsiteX174" fmla="*/ 8427244 w 8971757"/>
                  <a:gd name="connsiteY174" fmla="*/ 1983581 h 4575969"/>
                  <a:gd name="connsiteX175" fmla="*/ 8477250 w 8971757"/>
                  <a:gd name="connsiteY175" fmla="*/ 1964531 h 4575969"/>
                  <a:gd name="connsiteX176" fmla="*/ 8515350 w 8971757"/>
                  <a:gd name="connsiteY176" fmla="*/ 1935956 h 4575969"/>
                  <a:gd name="connsiteX177" fmla="*/ 8548688 w 8971757"/>
                  <a:gd name="connsiteY177" fmla="*/ 1933575 h 4575969"/>
                  <a:gd name="connsiteX178" fmla="*/ 8584406 w 8971757"/>
                  <a:gd name="connsiteY178" fmla="*/ 1964531 h 4575969"/>
                  <a:gd name="connsiteX179" fmla="*/ 8643938 w 8971757"/>
                  <a:gd name="connsiteY179" fmla="*/ 1964531 h 4575969"/>
                  <a:gd name="connsiteX180" fmla="*/ 8682037 w 8971757"/>
                  <a:gd name="connsiteY180" fmla="*/ 1945481 h 4575969"/>
                  <a:gd name="connsiteX181" fmla="*/ 8765381 w 8971757"/>
                  <a:gd name="connsiteY181" fmla="*/ 1947863 h 4575969"/>
                  <a:gd name="connsiteX182" fmla="*/ 8796338 w 8971757"/>
                  <a:gd name="connsiteY182" fmla="*/ 1902619 h 4575969"/>
                  <a:gd name="connsiteX183" fmla="*/ 8801100 w 8971757"/>
                  <a:gd name="connsiteY183" fmla="*/ 1840706 h 4575969"/>
                  <a:gd name="connsiteX184" fmla="*/ 8751093 w 8971757"/>
                  <a:gd name="connsiteY184" fmla="*/ 1800225 h 4575969"/>
                  <a:gd name="connsiteX185" fmla="*/ 8734425 w 8971757"/>
                  <a:gd name="connsiteY185" fmla="*/ 1745456 h 4575969"/>
                  <a:gd name="connsiteX186" fmla="*/ 8643938 w 8971757"/>
                  <a:gd name="connsiteY186" fmla="*/ 1683544 h 4575969"/>
                  <a:gd name="connsiteX187" fmla="*/ 8603456 w 8971757"/>
                  <a:gd name="connsiteY187" fmla="*/ 1662112 h 4575969"/>
                  <a:gd name="connsiteX188" fmla="*/ 8565356 w 8971757"/>
                  <a:gd name="connsiteY188" fmla="*/ 1616869 h 4575969"/>
                  <a:gd name="connsiteX189" fmla="*/ 8534400 w 8971757"/>
                  <a:gd name="connsiteY189" fmla="*/ 1614487 h 4575969"/>
                  <a:gd name="connsiteX190" fmla="*/ 8517731 w 8971757"/>
                  <a:gd name="connsiteY190" fmla="*/ 1562100 h 4575969"/>
                  <a:gd name="connsiteX191" fmla="*/ 8477250 w 8971757"/>
                  <a:gd name="connsiteY191" fmla="*/ 1545431 h 4575969"/>
                  <a:gd name="connsiteX192" fmla="*/ 8477250 w 8971757"/>
                  <a:gd name="connsiteY192" fmla="*/ 1545431 h 4575969"/>
                  <a:gd name="connsiteX193" fmla="*/ 8436769 w 8971757"/>
                  <a:gd name="connsiteY193" fmla="*/ 1550194 h 4575969"/>
                  <a:gd name="connsiteX194" fmla="*/ 8351043 w 8971757"/>
                  <a:gd name="connsiteY194" fmla="*/ 1476375 h 4575969"/>
                  <a:gd name="connsiteX195" fmla="*/ 8170069 w 8971757"/>
                  <a:gd name="connsiteY195" fmla="*/ 1476374 h 4575969"/>
                  <a:gd name="connsiteX196" fmla="*/ 8117681 w 8971757"/>
                  <a:gd name="connsiteY196" fmla="*/ 1514475 h 4575969"/>
                  <a:gd name="connsiteX197" fmla="*/ 8067675 w 8971757"/>
                  <a:gd name="connsiteY197" fmla="*/ 1593056 h 4575969"/>
                  <a:gd name="connsiteX198" fmla="*/ 8084344 w 8971757"/>
                  <a:gd name="connsiteY198" fmla="*/ 1614487 h 4575969"/>
                  <a:gd name="connsiteX199" fmla="*/ 8039100 w 8971757"/>
                  <a:gd name="connsiteY199" fmla="*/ 1664493 h 4575969"/>
                  <a:gd name="connsiteX200" fmla="*/ 7889081 w 8971757"/>
                  <a:gd name="connsiteY200" fmla="*/ 1588293 h 4575969"/>
                  <a:gd name="connsiteX201" fmla="*/ 7798594 w 8971757"/>
                  <a:gd name="connsiteY201" fmla="*/ 1624012 h 4575969"/>
                  <a:gd name="connsiteX202" fmla="*/ 7724775 w 8971757"/>
                  <a:gd name="connsiteY202" fmla="*/ 1621631 h 4575969"/>
                  <a:gd name="connsiteX203" fmla="*/ 7667625 w 8971757"/>
                  <a:gd name="connsiteY203" fmla="*/ 1716881 h 4575969"/>
                  <a:gd name="connsiteX204" fmla="*/ 7529513 w 8971757"/>
                  <a:gd name="connsiteY20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4310063 w 8971757"/>
                  <a:gd name="connsiteY51" fmla="*/ 940594 h 4575969"/>
                  <a:gd name="connsiteX52" fmla="*/ 8412956 w 8971757"/>
                  <a:gd name="connsiteY52" fmla="*/ 23812 h 4575969"/>
                  <a:gd name="connsiteX53" fmla="*/ 8949531 w 8971757"/>
                  <a:gd name="connsiteY53" fmla="*/ 0 h 4575969"/>
                  <a:gd name="connsiteX54" fmla="*/ 8971757 w 8971757"/>
                  <a:gd name="connsiteY54" fmla="*/ 4575969 h 4575969"/>
                  <a:gd name="connsiteX55" fmla="*/ 2381 w 8971757"/>
                  <a:gd name="connsiteY55" fmla="*/ 4547392 h 4575969"/>
                  <a:gd name="connsiteX56" fmla="*/ 0 w 8971757"/>
                  <a:gd name="connsiteY56" fmla="*/ 845344 h 4575969"/>
                  <a:gd name="connsiteX57" fmla="*/ 76200 w 8971757"/>
                  <a:gd name="connsiteY57" fmla="*/ 828675 h 4575969"/>
                  <a:gd name="connsiteX58" fmla="*/ 119063 w 8971757"/>
                  <a:gd name="connsiteY58" fmla="*/ 857250 h 4575969"/>
                  <a:gd name="connsiteX59" fmla="*/ 215900 w 8971757"/>
                  <a:gd name="connsiteY59" fmla="*/ 848519 h 4575969"/>
                  <a:gd name="connsiteX60" fmla="*/ 261938 w 8971757"/>
                  <a:gd name="connsiteY60" fmla="*/ 876299 h 4575969"/>
                  <a:gd name="connsiteX61" fmla="*/ 228600 w 8971757"/>
                  <a:gd name="connsiteY61" fmla="*/ 904875 h 4575969"/>
                  <a:gd name="connsiteX62" fmla="*/ 233363 w 8971757"/>
                  <a:gd name="connsiteY62" fmla="*/ 947737 h 4575969"/>
                  <a:gd name="connsiteX63" fmla="*/ 200025 w 8971757"/>
                  <a:gd name="connsiteY63" fmla="*/ 952500 h 4575969"/>
                  <a:gd name="connsiteX64" fmla="*/ 204788 w 8971757"/>
                  <a:gd name="connsiteY64" fmla="*/ 976312 h 4575969"/>
                  <a:gd name="connsiteX65" fmla="*/ 261937 w 8971757"/>
                  <a:gd name="connsiteY65" fmla="*/ 1050131 h 4575969"/>
                  <a:gd name="connsiteX66" fmla="*/ 223838 w 8971757"/>
                  <a:gd name="connsiteY66" fmla="*/ 1097756 h 4575969"/>
                  <a:gd name="connsiteX67" fmla="*/ 278606 w 8971757"/>
                  <a:gd name="connsiteY67" fmla="*/ 1133475 h 4575969"/>
                  <a:gd name="connsiteX68" fmla="*/ 369094 w 8971757"/>
                  <a:gd name="connsiteY68" fmla="*/ 1221581 h 4575969"/>
                  <a:gd name="connsiteX69" fmla="*/ 371475 w 8971757"/>
                  <a:gd name="connsiteY69" fmla="*/ 1281112 h 4575969"/>
                  <a:gd name="connsiteX70" fmla="*/ 507206 w 8971757"/>
                  <a:gd name="connsiteY70" fmla="*/ 1414463 h 4575969"/>
                  <a:gd name="connsiteX71" fmla="*/ 561975 w 8971757"/>
                  <a:gd name="connsiteY71" fmla="*/ 1390650 h 4575969"/>
                  <a:gd name="connsiteX72" fmla="*/ 600075 w 8971757"/>
                  <a:gd name="connsiteY72" fmla="*/ 1416843 h 4575969"/>
                  <a:gd name="connsiteX73" fmla="*/ 614363 w 8971757"/>
                  <a:gd name="connsiteY73" fmla="*/ 1466849 h 4575969"/>
                  <a:gd name="connsiteX74" fmla="*/ 657225 w 8971757"/>
                  <a:gd name="connsiteY74" fmla="*/ 1502569 h 4575969"/>
                  <a:gd name="connsiteX75" fmla="*/ 697706 w 8971757"/>
                  <a:gd name="connsiteY75" fmla="*/ 1490662 h 4575969"/>
                  <a:gd name="connsiteX76" fmla="*/ 716756 w 8971757"/>
                  <a:gd name="connsiteY76" fmla="*/ 1547812 h 4575969"/>
                  <a:gd name="connsiteX77" fmla="*/ 764381 w 8971757"/>
                  <a:gd name="connsiteY77" fmla="*/ 1590675 h 4575969"/>
                  <a:gd name="connsiteX78" fmla="*/ 788194 w 8971757"/>
                  <a:gd name="connsiteY78" fmla="*/ 1693069 h 4575969"/>
                  <a:gd name="connsiteX79" fmla="*/ 785813 w 8971757"/>
                  <a:gd name="connsiteY79" fmla="*/ 1740694 h 4575969"/>
                  <a:gd name="connsiteX80" fmla="*/ 821531 w 8971757"/>
                  <a:gd name="connsiteY80" fmla="*/ 1840706 h 4575969"/>
                  <a:gd name="connsiteX81" fmla="*/ 866775 w 8971757"/>
                  <a:gd name="connsiteY81" fmla="*/ 1897856 h 4575969"/>
                  <a:gd name="connsiteX82" fmla="*/ 883443 w 8971757"/>
                  <a:gd name="connsiteY82" fmla="*/ 2055018 h 4575969"/>
                  <a:gd name="connsiteX83" fmla="*/ 850106 w 8971757"/>
                  <a:gd name="connsiteY83" fmla="*/ 2116931 h 4575969"/>
                  <a:gd name="connsiteX84" fmla="*/ 819150 w 8971757"/>
                  <a:gd name="connsiteY84" fmla="*/ 2193131 h 4575969"/>
                  <a:gd name="connsiteX85" fmla="*/ 833438 w 8971757"/>
                  <a:gd name="connsiteY85" fmla="*/ 2250281 h 4575969"/>
                  <a:gd name="connsiteX86" fmla="*/ 735806 w 8971757"/>
                  <a:gd name="connsiteY86" fmla="*/ 2357438 h 4575969"/>
                  <a:gd name="connsiteX87" fmla="*/ 692944 w 8971757"/>
                  <a:gd name="connsiteY87" fmla="*/ 2471737 h 4575969"/>
                  <a:gd name="connsiteX88" fmla="*/ 726281 w 8971757"/>
                  <a:gd name="connsiteY88" fmla="*/ 2512219 h 4575969"/>
                  <a:gd name="connsiteX89" fmla="*/ 709613 w 8971757"/>
                  <a:gd name="connsiteY89" fmla="*/ 2540794 h 4575969"/>
                  <a:gd name="connsiteX90" fmla="*/ 740569 w 8971757"/>
                  <a:gd name="connsiteY90" fmla="*/ 2597944 h 4575969"/>
                  <a:gd name="connsiteX91" fmla="*/ 769144 w 8971757"/>
                  <a:gd name="connsiteY91" fmla="*/ 2597944 h 4575969"/>
                  <a:gd name="connsiteX92" fmla="*/ 931069 w 8971757"/>
                  <a:gd name="connsiteY92" fmla="*/ 2700337 h 4575969"/>
                  <a:gd name="connsiteX93" fmla="*/ 1035844 w 8971757"/>
                  <a:gd name="connsiteY93" fmla="*/ 2697956 h 4575969"/>
                  <a:gd name="connsiteX94" fmla="*/ 1114425 w 8971757"/>
                  <a:gd name="connsiteY94" fmla="*/ 2752725 h 4575969"/>
                  <a:gd name="connsiteX95" fmla="*/ 1245393 w 8971757"/>
                  <a:gd name="connsiteY95" fmla="*/ 2755106 h 4575969"/>
                  <a:gd name="connsiteX96" fmla="*/ 1435893 w 8971757"/>
                  <a:gd name="connsiteY96" fmla="*/ 2824162 h 4575969"/>
                  <a:gd name="connsiteX97" fmla="*/ 1638300 w 8971757"/>
                  <a:gd name="connsiteY97" fmla="*/ 2974181 h 4575969"/>
                  <a:gd name="connsiteX98" fmla="*/ 1671637 w 8971757"/>
                  <a:gd name="connsiteY98" fmla="*/ 3040856 h 4575969"/>
                  <a:gd name="connsiteX99" fmla="*/ 1838325 w 8971757"/>
                  <a:gd name="connsiteY99" fmla="*/ 3167062 h 4575969"/>
                  <a:gd name="connsiteX100" fmla="*/ 1909763 w 8971757"/>
                  <a:gd name="connsiteY100" fmla="*/ 3162300 h 4575969"/>
                  <a:gd name="connsiteX101" fmla="*/ 1945482 w 8971757"/>
                  <a:gd name="connsiteY101" fmla="*/ 3186112 h 4575969"/>
                  <a:gd name="connsiteX102" fmla="*/ 1916906 w 8971757"/>
                  <a:gd name="connsiteY102" fmla="*/ 3226594 h 4575969"/>
                  <a:gd name="connsiteX103" fmla="*/ 1924050 w 8971757"/>
                  <a:gd name="connsiteY103" fmla="*/ 3278981 h 4575969"/>
                  <a:gd name="connsiteX104" fmla="*/ 1976438 w 8971757"/>
                  <a:gd name="connsiteY104" fmla="*/ 3305175 h 4575969"/>
                  <a:gd name="connsiteX105" fmla="*/ 2038350 w 8971757"/>
                  <a:gd name="connsiteY105" fmla="*/ 3529013 h 4575969"/>
                  <a:gd name="connsiteX106" fmla="*/ 2028825 w 8971757"/>
                  <a:gd name="connsiteY106" fmla="*/ 3593306 h 4575969"/>
                  <a:gd name="connsiteX107" fmla="*/ 2164556 w 8971757"/>
                  <a:gd name="connsiteY107" fmla="*/ 3759994 h 4575969"/>
                  <a:gd name="connsiteX108" fmla="*/ 2183606 w 8971757"/>
                  <a:gd name="connsiteY108" fmla="*/ 3810000 h 4575969"/>
                  <a:gd name="connsiteX109" fmla="*/ 2157413 w 8971757"/>
                  <a:gd name="connsiteY109" fmla="*/ 3829050 h 4575969"/>
                  <a:gd name="connsiteX110" fmla="*/ 2259806 w 8971757"/>
                  <a:gd name="connsiteY110" fmla="*/ 3838575 h 4575969"/>
                  <a:gd name="connsiteX111" fmla="*/ 2371725 w 8971757"/>
                  <a:gd name="connsiteY111" fmla="*/ 3826669 h 4575969"/>
                  <a:gd name="connsiteX112" fmla="*/ 2650331 w 8971757"/>
                  <a:gd name="connsiteY112" fmla="*/ 3910012 h 4575969"/>
                  <a:gd name="connsiteX113" fmla="*/ 3057525 w 8971757"/>
                  <a:gd name="connsiteY113" fmla="*/ 3990975 h 4575969"/>
                  <a:gd name="connsiteX114" fmla="*/ 3255169 w 8971757"/>
                  <a:gd name="connsiteY114" fmla="*/ 3960018 h 4575969"/>
                  <a:gd name="connsiteX115" fmla="*/ 3300413 w 8971757"/>
                  <a:gd name="connsiteY115" fmla="*/ 3971924 h 4575969"/>
                  <a:gd name="connsiteX116" fmla="*/ 3355181 w 8971757"/>
                  <a:gd name="connsiteY116" fmla="*/ 3948113 h 4575969"/>
                  <a:gd name="connsiteX117" fmla="*/ 3748087 w 8971757"/>
                  <a:gd name="connsiteY117" fmla="*/ 4038600 h 4575969"/>
                  <a:gd name="connsiteX118" fmla="*/ 3831432 w 8971757"/>
                  <a:gd name="connsiteY118" fmla="*/ 4136231 h 4575969"/>
                  <a:gd name="connsiteX119" fmla="*/ 3950494 w 8971757"/>
                  <a:gd name="connsiteY119" fmla="*/ 4207669 h 4575969"/>
                  <a:gd name="connsiteX120" fmla="*/ 4010025 w 8971757"/>
                  <a:gd name="connsiteY120" fmla="*/ 4191000 h 4575969"/>
                  <a:gd name="connsiteX121" fmla="*/ 4360068 w 8971757"/>
                  <a:gd name="connsiteY121" fmla="*/ 4364831 h 4575969"/>
                  <a:gd name="connsiteX122" fmla="*/ 4586288 w 8971757"/>
                  <a:gd name="connsiteY122" fmla="*/ 4336256 h 4575969"/>
                  <a:gd name="connsiteX123" fmla="*/ 4595813 w 8971757"/>
                  <a:gd name="connsiteY123" fmla="*/ 4414837 h 4575969"/>
                  <a:gd name="connsiteX124" fmla="*/ 4681538 w 8971757"/>
                  <a:gd name="connsiteY124" fmla="*/ 4410074 h 4575969"/>
                  <a:gd name="connsiteX125" fmla="*/ 4760119 w 8971757"/>
                  <a:gd name="connsiteY125" fmla="*/ 4441031 h 4575969"/>
                  <a:gd name="connsiteX126" fmla="*/ 4802981 w 8971757"/>
                  <a:gd name="connsiteY126" fmla="*/ 4381500 h 4575969"/>
                  <a:gd name="connsiteX127" fmla="*/ 5474494 w 8971757"/>
                  <a:gd name="connsiteY127" fmla="*/ 4062412 h 4575969"/>
                  <a:gd name="connsiteX128" fmla="*/ 5562600 w 8971757"/>
                  <a:gd name="connsiteY128" fmla="*/ 4090988 h 4575969"/>
                  <a:gd name="connsiteX129" fmla="*/ 5693569 w 8971757"/>
                  <a:gd name="connsiteY129" fmla="*/ 4062412 h 4575969"/>
                  <a:gd name="connsiteX130" fmla="*/ 5872162 w 8971757"/>
                  <a:gd name="connsiteY130" fmla="*/ 4079081 h 4575969"/>
                  <a:gd name="connsiteX131" fmla="*/ 5929313 w 8971757"/>
                  <a:gd name="connsiteY131" fmla="*/ 4052888 h 4575969"/>
                  <a:gd name="connsiteX132" fmla="*/ 6062662 w 8971757"/>
                  <a:gd name="connsiteY132" fmla="*/ 4050506 h 4575969"/>
                  <a:gd name="connsiteX133" fmla="*/ 6196012 w 8971757"/>
                  <a:gd name="connsiteY133" fmla="*/ 3952875 h 4575969"/>
                  <a:gd name="connsiteX134" fmla="*/ 6262687 w 8971757"/>
                  <a:gd name="connsiteY134" fmla="*/ 3945731 h 4575969"/>
                  <a:gd name="connsiteX135" fmla="*/ 6360319 w 8971757"/>
                  <a:gd name="connsiteY135" fmla="*/ 3871912 h 4575969"/>
                  <a:gd name="connsiteX136" fmla="*/ 6434138 w 8971757"/>
                  <a:gd name="connsiteY136" fmla="*/ 3802856 h 4575969"/>
                  <a:gd name="connsiteX137" fmla="*/ 6443663 w 8971757"/>
                  <a:gd name="connsiteY137" fmla="*/ 3740944 h 4575969"/>
                  <a:gd name="connsiteX138" fmla="*/ 6477000 w 8971757"/>
                  <a:gd name="connsiteY138" fmla="*/ 3671887 h 4575969"/>
                  <a:gd name="connsiteX139" fmla="*/ 6629400 w 8971757"/>
                  <a:gd name="connsiteY139" fmla="*/ 3564731 h 4575969"/>
                  <a:gd name="connsiteX140" fmla="*/ 6662738 w 8971757"/>
                  <a:gd name="connsiteY140" fmla="*/ 3569494 h 4575969"/>
                  <a:gd name="connsiteX141" fmla="*/ 6715125 w 8971757"/>
                  <a:gd name="connsiteY141" fmla="*/ 3490912 h 4575969"/>
                  <a:gd name="connsiteX142" fmla="*/ 6762750 w 8971757"/>
                  <a:gd name="connsiteY142" fmla="*/ 3452812 h 4575969"/>
                  <a:gd name="connsiteX143" fmla="*/ 6748463 w 8971757"/>
                  <a:gd name="connsiteY143" fmla="*/ 3383756 h 4575969"/>
                  <a:gd name="connsiteX144" fmla="*/ 6698456 w 8971757"/>
                  <a:gd name="connsiteY144" fmla="*/ 3352799 h 4575969"/>
                  <a:gd name="connsiteX145" fmla="*/ 6638925 w 8971757"/>
                  <a:gd name="connsiteY145" fmla="*/ 3298031 h 4575969"/>
                  <a:gd name="connsiteX146" fmla="*/ 6619875 w 8971757"/>
                  <a:gd name="connsiteY146" fmla="*/ 3240881 h 4575969"/>
                  <a:gd name="connsiteX147" fmla="*/ 6584156 w 8971757"/>
                  <a:gd name="connsiteY147" fmla="*/ 3207544 h 4575969"/>
                  <a:gd name="connsiteX148" fmla="*/ 6610350 w 8971757"/>
                  <a:gd name="connsiteY148" fmla="*/ 3155156 h 4575969"/>
                  <a:gd name="connsiteX149" fmla="*/ 6650831 w 8971757"/>
                  <a:gd name="connsiteY149" fmla="*/ 2976562 h 4575969"/>
                  <a:gd name="connsiteX150" fmla="*/ 6691313 w 8971757"/>
                  <a:gd name="connsiteY150" fmla="*/ 2909887 h 4575969"/>
                  <a:gd name="connsiteX151" fmla="*/ 6836569 w 8971757"/>
                  <a:gd name="connsiteY151" fmla="*/ 2893218 h 4575969"/>
                  <a:gd name="connsiteX152" fmla="*/ 6905625 w 8971757"/>
                  <a:gd name="connsiteY152" fmla="*/ 2950369 h 4575969"/>
                  <a:gd name="connsiteX153" fmla="*/ 6981825 w 8971757"/>
                  <a:gd name="connsiteY153" fmla="*/ 2974181 h 4575969"/>
                  <a:gd name="connsiteX154" fmla="*/ 7186612 w 8971757"/>
                  <a:gd name="connsiteY154" fmla="*/ 2978944 h 4575969"/>
                  <a:gd name="connsiteX155" fmla="*/ 7362825 w 8971757"/>
                  <a:gd name="connsiteY155" fmla="*/ 2840831 h 4575969"/>
                  <a:gd name="connsiteX156" fmla="*/ 7419975 w 8971757"/>
                  <a:gd name="connsiteY156" fmla="*/ 2750343 h 4575969"/>
                  <a:gd name="connsiteX157" fmla="*/ 7446169 w 8971757"/>
                  <a:gd name="connsiteY157" fmla="*/ 2667000 h 4575969"/>
                  <a:gd name="connsiteX158" fmla="*/ 7577137 w 8971757"/>
                  <a:gd name="connsiteY158" fmla="*/ 2667000 h 4575969"/>
                  <a:gd name="connsiteX159" fmla="*/ 7750969 w 8971757"/>
                  <a:gd name="connsiteY159" fmla="*/ 2609849 h 4575969"/>
                  <a:gd name="connsiteX160" fmla="*/ 7810500 w 8971757"/>
                  <a:gd name="connsiteY160" fmla="*/ 2497931 h 4575969"/>
                  <a:gd name="connsiteX161" fmla="*/ 7874794 w 8971757"/>
                  <a:gd name="connsiteY161" fmla="*/ 2462212 h 4575969"/>
                  <a:gd name="connsiteX162" fmla="*/ 7853363 w 8971757"/>
                  <a:gd name="connsiteY162" fmla="*/ 2416969 h 4575969"/>
                  <a:gd name="connsiteX163" fmla="*/ 7931944 w 8971757"/>
                  <a:gd name="connsiteY163" fmla="*/ 2247899 h 4575969"/>
                  <a:gd name="connsiteX164" fmla="*/ 7986713 w 8971757"/>
                  <a:gd name="connsiteY164" fmla="*/ 2188369 h 4575969"/>
                  <a:gd name="connsiteX165" fmla="*/ 8024813 w 8971757"/>
                  <a:gd name="connsiteY165" fmla="*/ 2183606 h 4575969"/>
                  <a:gd name="connsiteX166" fmla="*/ 8070056 w 8971757"/>
                  <a:gd name="connsiteY166" fmla="*/ 2188369 h 4575969"/>
                  <a:gd name="connsiteX167" fmla="*/ 8134350 w 8971757"/>
                  <a:gd name="connsiteY167" fmla="*/ 2155031 h 4575969"/>
                  <a:gd name="connsiteX168" fmla="*/ 8143875 w 8971757"/>
                  <a:gd name="connsiteY168" fmla="*/ 2090737 h 4575969"/>
                  <a:gd name="connsiteX169" fmla="*/ 8184355 w 8971757"/>
                  <a:gd name="connsiteY169" fmla="*/ 2055019 h 4575969"/>
                  <a:gd name="connsiteX170" fmla="*/ 8243888 w 8971757"/>
                  <a:gd name="connsiteY170" fmla="*/ 2095499 h 4575969"/>
                  <a:gd name="connsiteX171" fmla="*/ 8270082 w 8971757"/>
                  <a:gd name="connsiteY171" fmla="*/ 2045493 h 4575969"/>
                  <a:gd name="connsiteX172" fmla="*/ 8365331 w 8971757"/>
                  <a:gd name="connsiteY172" fmla="*/ 1976437 h 4575969"/>
                  <a:gd name="connsiteX173" fmla="*/ 8427244 w 8971757"/>
                  <a:gd name="connsiteY173" fmla="*/ 1983581 h 4575969"/>
                  <a:gd name="connsiteX174" fmla="*/ 8477250 w 8971757"/>
                  <a:gd name="connsiteY174" fmla="*/ 1964531 h 4575969"/>
                  <a:gd name="connsiteX175" fmla="*/ 8515350 w 8971757"/>
                  <a:gd name="connsiteY175" fmla="*/ 1935956 h 4575969"/>
                  <a:gd name="connsiteX176" fmla="*/ 8548688 w 8971757"/>
                  <a:gd name="connsiteY176" fmla="*/ 1933575 h 4575969"/>
                  <a:gd name="connsiteX177" fmla="*/ 8584406 w 8971757"/>
                  <a:gd name="connsiteY177" fmla="*/ 1964531 h 4575969"/>
                  <a:gd name="connsiteX178" fmla="*/ 8643938 w 8971757"/>
                  <a:gd name="connsiteY178" fmla="*/ 1964531 h 4575969"/>
                  <a:gd name="connsiteX179" fmla="*/ 8682037 w 8971757"/>
                  <a:gd name="connsiteY179" fmla="*/ 1945481 h 4575969"/>
                  <a:gd name="connsiteX180" fmla="*/ 8765381 w 8971757"/>
                  <a:gd name="connsiteY180" fmla="*/ 1947863 h 4575969"/>
                  <a:gd name="connsiteX181" fmla="*/ 8796338 w 8971757"/>
                  <a:gd name="connsiteY181" fmla="*/ 1902619 h 4575969"/>
                  <a:gd name="connsiteX182" fmla="*/ 8801100 w 8971757"/>
                  <a:gd name="connsiteY182" fmla="*/ 1840706 h 4575969"/>
                  <a:gd name="connsiteX183" fmla="*/ 8751093 w 8971757"/>
                  <a:gd name="connsiteY183" fmla="*/ 1800225 h 4575969"/>
                  <a:gd name="connsiteX184" fmla="*/ 8734425 w 8971757"/>
                  <a:gd name="connsiteY184" fmla="*/ 1745456 h 4575969"/>
                  <a:gd name="connsiteX185" fmla="*/ 8643938 w 8971757"/>
                  <a:gd name="connsiteY185" fmla="*/ 1683544 h 4575969"/>
                  <a:gd name="connsiteX186" fmla="*/ 8603456 w 8971757"/>
                  <a:gd name="connsiteY186" fmla="*/ 1662112 h 4575969"/>
                  <a:gd name="connsiteX187" fmla="*/ 8565356 w 8971757"/>
                  <a:gd name="connsiteY187" fmla="*/ 1616869 h 4575969"/>
                  <a:gd name="connsiteX188" fmla="*/ 8534400 w 8971757"/>
                  <a:gd name="connsiteY188" fmla="*/ 1614487 h 4575969"/>
                  <a:gd name="connsiteX189" fmla="*/ 8517731 w 8971757"/>
                  <a:gd name="connsiteY189" fmla="*/ 1562100 h 4575969"/>
                  <a:gd name="connsiteX190" fmla="*/ 8477250 w 8971757"/>
                  <a:gd name="connsiteY190" fmla="*/ 1545431 h 4575969"/>
                  <a:gd name="connsiteX191" fmla="*/ 8477250 w 8971757"/>
                  <a:gd name="connsiteY191" fmla="*/ 1545431 h 4575969"/>
                  <a:gd name="connsiteX192" fmla="*/ 8436769 w 8971757"/>
                  <a:gd name="connsiteY192" fmla="*/ 1550194 h 4575969"/>
                  <a:gd name="connsiteX193" fmla="*/ 8351043 w 8971757"/>
                  <a:gd name="connsiteY193" fmla="*/ 1476375 h 4575969"/>
                  <a:gd name="connsiteX194" fmla="*/ 8170069 w 8971757"/>
                  <a:gd name="connsiteY194" fmla="*/ 1476374 h 4575969"/>
                  <a:gd name="connsiteX195" fmla="*/ 8117681 w 8971757"/>
                  <a:gd name="connsiteY195" fmla="*/ 1514475 h 4575969"/>
                  <a:gd name="connsiteX196" fmla="*/ 8067675 w 8971757"/>
                  <a:gd name="connsiteY196" fmla="*/ 1593056 h 4575969"/>
                  <a:gd name="connsiteX197" fmla="*/ 8084344 w 8971757"/>
                  <a:gd name="connsiteY197" fmla="*/ 1614487 h 4575969"/>
                  <a:gd name="connsiteX198" fmla="*/ 8039100 w 8971757"/>
                  <a:gd name="connsiteY198" fmla="*/ 1664493 h 4575969"/>
                  <a:gd name="connsiteX199" fmla="*/ 7889081 w 8971757"/>
                  <a:gd name="connsiteY199" fmla="*/ 1588293 h 4575969"/>
                  <a:gd name="connsiteX200" fmla="*/ 7798594 w 8971757"/>
                  <a:gd name="connsiteY200" fmla="*/ 1624012 h 4575969"/>
                  <a:gd name="connsiteX201" fmla="*/ 7724775 w 8971757"/>
                  <a:gd name="connsiteY201" fmla="*/ 1621631 h 4575969"/>
                  <a:gd name="connsiteX202" fmla="*/ 7667625 w 8971757"/>
                  <a:gd name="connsiteY202" fmla="*/ 1716881 h 4575969"/>
                  <a:gd name="connsiteX203" fmla="*/ 7529513 w 8971757"/>
                  <a:gd name="connsiteY20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4383881 w 8971757"/>
                  <a:gd name="connsiteY50" fmla="*/ 990599 h 4575969"/>
                  <a:gd name="connsiteX51" fmla="*/ 8412956 w 8971757"/>
                  <a:gd name="connsiteY51" fmla="*/ 23812 h 4575969"/>
                  <a:gd name="connsiteX52" fmla="*/ 8949531 w 8971757"/>
                  <a:gd name="connsiteY52" fmla="*/ 0 h 4575969"/>
                  <a:gd name="connsiteX53" fmla="*/ 8971757 w 8971757"/>
                  <a:gd name="connsiteY53" fmla="*/ 4575969 h 4575969"/>
                  <a:gd name="connsiteX54" fmla="*/ 2381 w 8971757"/>
                  <a:gd name="connsiteY54" fmla="*/ 4547392 h 4575969"/>
                  <a:gd name="connsiteX55" fmla="*/ 0 w 8971757"/>
                  <a:gd name="connsiteY55" fmla="*/ 845344 h 4575969"/>
                  <a:gd name="connsiteX56" fmla="*/ 76200 w 8971757"/>
                  <a:gd name="connsiteY56" fmla="*/ 828675 h 4575969"/>
                  <a:gd name="connsiteX57" fmla="*/ 119063 w 8971757"/>
                  <a:gd name="connsiteY57" fmla="*/ 857250 h 4575969"/>
                  <a:gd name="connsiteX58" fmla="*/ 215900 w 8971757"/>
                  <a:gd name="connsiteY58" fmla="*/ 848519 h 4575969"/>
                  <a:gd name="connsiteX59" fmla="*/ 261938 w 8971757"/>
                  <a:gd name="connsiteY59" fmla="*/ 876299 h 4575969"/>
                  <a:gd name="connsiteX60" fmla="*/ 228600 w 8971757"/>
                  <a:gd name="connsiteY60" fmla="*/ 904875 h 4575969"/>
                  <a:gd name="connsiteX61" fmla="*/ 233363 w 8971757"/>
                  <a:gd name="connsiteY61" fmla="*/ 947737 h 4575969"/>
                  <a:gd name="connsiteX62" fmla="*/ 200025 w 8971757"/>
                  <a:gd name="connsiteY62" fmla="*/ 952500 h 4575969"/>
                  <a:gd name="connsiteX63" fmla="*/ 204788 w 8971757"/>
                  <a:gd name="connsiteY63" fmla="*/ 976312 h 4575969"/>
                  <a:gd name="connsiteX64" fmla="*/ 261937 w 8971757"/>
                  <a:gd name="connsiteY64" fmla="*/ 1050131 h 4575969"/>
                  <a:gd name="connsiteX65" fmla="*/ 223838 w 8971757"/>
                  <a:gd name="connsiteY65" fmla="*/ 1097756 h 4575969"/>
                  <a:gd name="connsiteX66" fmla="*/ 278606 w 8971757"/>
                  <a:gd name="connsiteY66" fmla="*/ 1133475 h 4575969"/>
                  <a:gd name="connsiteX67" fmla="*/ 369094 w 8971757"/>
                  <a:gd name="connsiteY67" fmla="*/ 1221581 h 4575969"/>
                  <a:gd name="connsiteX68" fmla="*/ 371475 w 8971757"/>
                  <a:gd name="connsiteY68" fmla="*/ 1281112 h 4575969"/>
                  <a:gd name="connsiteX69" fmla="*/ 507206 w 8971757"/>
                  <a:gd name="connsiteY69" fmla="*/ 1414463 h 4575969"/>
                  <a:gd name="connsiteX70" fmla="*/ 561975 w 8971757"/>
                  <a:gd name="connsiteY70" fmla="*/ 1390650 h 4575969"/>
                  <a:gd name="connsiteX71" fmla="*/ 600075 w 8971757"/>
                  <a:gd name="connsiteY71" fmla="*/ 1416843 h 4575969"/>
                  <a:gd name="connsiteX72" fmla="*/ 614363 w 8971757"/>
                  <a:gd name="connsiteY72" fmla="*/ 1466849 h 4575969"/>
                  <a:gd name="connsiteX73" fmla="*/ 657225 w 8971757"/>
                  <a:gd name="connsiteY73" fmla="*/ 1502569 h 4575969"/>
                  <a:gd name="connsiteX74" fmla="*/ 697706 w 8971757"/>
                  <a:gd name="connsiteY74" fmla="*/ 1490662 h 4575969"/>
                  <a:gd name="connsiteX75" fmla="*/ 716756 w 8971757"/>
                  <a:gd name="connsiteY75" fmla="*/ 1547812 h 4575969"/>
                  <a:gd name="connsiteX76" fmla="*/ 764381 w 8971757"/>
                  <a:gd name="connsiteY76" fmla="*/ 1590675 h 4575969"/>
                  <a:gd name="connsiteX77" fmla="*/ 788194 w 8971757"/>
                  <a:gd name="connsiteY77" fmla="*/ 1693069 h 4575969"/>
                  <a:gd name="connsiteX78" fmla="*/ 785813 w 8971757"/>
                  <a:gd name="connsiteY78" fmla="*/ 1740694 h 4575969"/>
                  <a:gd name="connsiteX79" fmla="*/ 821531 w 8971757"/>
                  <a:gd name="connsiteY79" fmla="*/ 1840706 h 4575969"/>
                  <a:gd name="connsiteX80" fmla="*/ 866775 w 8971757"/>
                  <a:gd name="connsiteY80" fmla="*/ 1897856 h 4575969"/>
                  <a:gd name="connsiteX81" fmla="*/ 883443 w 8971757"/>
                  <a:gd name="connsiteY81" fmla="*/ 2055018 h 4575969"/>
                  <a:gd name="connsiteX82" fmla="*/ 850106 w 8971757"/>
                  <a:gd name="connsiteY82" fmla="*/ 2116931 h 4575969"/>
                  <a:gd name="connsiteX83" fmla="*/ 819150 w 8971757"/>
                  <a:gd name="connsiteY83" fmla="*/ 2193131 h 4575969"/>
                  <a:gd name="connsiteX84" fmla="*/ 833438 w 8971757"/>
                  <a:gd name="connsiteY84" fmla="*/ 2250281 h 4575969"/>
                  <a:gd name="connsiteX85" fmla="*/ 735806 w 8971757"/>
                  <a:gd name="connsiteY85" fmla="*/ 2357438 h 4575969"/>
                  <a:gd name="connsiteX86" fmla="*/ 692944 w 8971757"/>
                  <a:gd name="connsiteY86" fmla="*/ 2471737 h 4575969"/>
                  <a:gd name="connsiteX87" fmla="*/ 726281 w 8971757"/>
                  <a:gd name="connsiteY87" fmla="*/ 2512219 h 4575969"/>
                  <a:gd name="connsiteX88" fmla="*/ 709613 w 8971757"/>
                  <a:gd name="connsiteY88" fmla="*/ 2540794 h 4575969"/>
                  <a:gd name="connsiteX89" fmla="*/ 740569 w 8971757"/>
                  <a:gd name="connsiteY89" fmla="*/ 2597944 h 4575969"/>
                  <a:gd name="connsiteX90" fmla="*/ 769144 w 8971757"/>
                  <a:gd name="connsiteY90" fmla="*/ 2597944 h 4575969"/>
                  <a:gd name="connsiteX91" fmla="*/ 931069 w 8971757"/>
                  <a:gd name="connsiteY91" fmla="*/ 2700337 h 4575969"/>
                  <a:gd name="connsiteX92" fmla="*/ 1035844 w 8971757"/>
                  <a:gd name="connsiteY92" fmla="*/ 2697956 h 4575969"/>
                  <a:gd name="connsiteX93" fmla="*/ 1114425 w 8971757"/>
                  <a:gd name="connsiteY93" fmla="*/ 2752725 h 4575969"/>
                  <a:gd name="connsiteX94" fmla="*/ 1245393 w 8971757"/>
                  <a:gd name="connsiteY94" fmla="*/ 2755106 h 4575969"/>
                  <a:gd name="connsiteX95" fmla="*/ 1435893 w 8971757"/>
                  <a:gd name="connsiteY95" fmla="*/ 2824162 h 4575969"/>
                  <a:gd name="connsiteX96" fmla="*/ 1638300 w 8971757"/>
                  <a:gd name="connsiteY96" fmla="*/ 2974181 h 4575969"/>
                  <a:gd name="connsiteX97" fmla="*/ 1671637 w 8971757"/>
                  <a:gd name="connsiteY97" fmla="*/ 3040856 h 4575969"/>
                  <a:gd name="connsiteX98" fmla="*/ 1838325 w 8971757"/>
                  <a:gd name="connsiteY98" fmla="*/ 3167062 h 4575969"/>
                  <a:gd name="connsiteX99" fmla="*/ 1909763 w 8971757"/>
                  <a:gd name="connsiteY99" fmla="*/ 3162300 h 4575969"/>
                  <a:gd name="connsiteX100" fmla="*/ 1945482 w 8971757"/>
                  <a:gd name="connsiteY100" fmla="*/ 3186112 h 4575969"/>
                  <a:gd name="connsiteX101" fmla="*/ 1916906 w 8971757"/>
                  <a:gd name="connsiteY101" fmla="*/ 3226594 h 4575969"/>
                  <a:gd name="connsiteX102" fmla="*/ 1924050 w 8971757"/>
                  <a:gd name="connsiteY102" fmla="*/ 3278981 h 4575969"/>
                  <a:gd name="connsiteX103" fmla="*/ 1976438 w 8971757"/>
                  <a:gd name="connsiteY103" fmla="*/ 3305175 h 4575969"/>
                  <a:gd name="connsiteX104" fmla="*/ 2038350 w 8971757"/>
                  <a:gd name="connsiteY104" fmla="*/ 3529013 h 4575969"/>
                  <a:gd name="connsiteX105" fmla="*/ 2028825 w 8971757"/>
                  <a:gd name="connsiteY105" fmla="*/ 3593306 h 4575969"/>
                  <a:gd name="connsiteX106" fmla="*/ 2164556 w 8971757"/>
                  <a:gd name="connsiteY106" fmla="*/ 3759994 h 4575969"/>
                  <a:gd name="connsiteX107" fmla="*/ 2183606 w 8971757"/>
                  <a:gd name="connsiteY107" fmla="*/ 3810000 h 4575969"/>
                  <a:gd name="connsiteX108" fmla="*/ 2157413 w 8971757"/>
                  <a:gd name="connsiteY108" fmla="*/ 3829050 h 4575969"/>
                  <a:gd name="connsiteX109" fmla="*/ 2259806 w 8971757"/>
                  <a:gd name="connsiteY109" fmla="*/ 3838575 h 4575969"/>
                  <a:gd name="connsiteX110" fmla="*/ 2371725 w 8971757"/>
                  <a:gd name="connsiteY110" fmla="*/ 3826669 h 4575969"/>
                  <a:gd name="connsiteX111" fmla="*/ 2650331 w 8971757"/>
                  <a:gd name="connsiteY111" fmla="*/ 3910012 h 4575969"/>
                  <a:gd name="connsiteX112" fmla="*/ 3057525 w 8971757"/>
                  <a:gd name="connsiteY112" fmla="*/ 3990975 h 4575969"/>
                  <a:gd name="connsiteX113" fmla="*/ 3255169 w 8971757"/>
                  <a:gd name="connsiteY113" fmla="*/ 3960018 h 4575969"/>
                  <a:gd name="connsiteX114" fmla="*/ 3300413 w 8971757"/>
                  <a:gd name="connsiteY114" fmla="*/ 3971924 h 4575969"/>
                  <a:gd name="connsiteX115" fmla="*/ 3355181 w 8971757"/>
                  <a:gd name="connsiteY115" fmla="*/ 3948113 h 4575969"/>
                  <a:gd name="connsiteX116" fmla="*/ 3748087 w 8971757"/>
                  <a:gd name="connsiteY116" fmla="*/ 4038600 h 4575969"/>
                  <a:gd name="connsiteX117" fmla="*/ 3831432 w 8971757"/>
                  <a:gd name="connsiteY117" fmla="*/ 4136231 h 4575969"/>
                  <a:gd name="connsiteX118" fmla="*/ 3950494 w 8971757"/>
                  <a:gd name="connsiteY118" fmla="*/ 4207669 h 4575969"/>
                  <a:gd name="connsiteX119" fmla="*/ 4010025 w 8971757"/>
                  <a:gd name="connsiteY119" fmla="*/ 4191000 h 4575969"/>
                  <a:gd name="connsiteX120" fmla="*/ 4360068 w 8971757"/>
                  <a:gd name="connsiteY120" fmla="*/ 4364831 h 4575969"/>
                  <a:gd name="connsiteX121" fmla="*/ 4586288 w 8971757"/>
                  <a:gd name="connsiteY121" fmla="*/ 4336256 h 4575969"/>
                  <a:gd name="connsiteX122" fmla="*/ 4595813 w 8971757"/>
                  <a:gd name="connsiteY122" fmla="*/ 4414837 h 4575969"/>
                  <a:gd name="connsiteX123" fmla="*/ 4681538 w 8971757"/>
                  <a:gd name="connsiteY123" fmla="*/ 4410074 h 4575969"/>
                  <a:gd name="connsiteX124" fmla="*/ 4760119 w 8971757"/>
                  <a:gd name="connsiteY124" fmla="*/ 4441031 h 4575969"/>
                  <a:gd name="connsiteX125" fmla="*/ 4802981 w 8971757"/>
                  <a:gd name="connsiteY125" fmla="*/ 4381500 h 4575969"/>
                  <a:gd name="connsiteX126" fmla="*/ 5474494 w 8971757"/>
                  <a:gd name="connsiteY126" fmla="*/ 4062412 h 4575969"/>
                  <a:gd name="connsiteX127" fmla="*/ 5562600 w 8971757"/>
                  <a:gd name="connsiteY127" fmla="*/ 4090988 h 4575969"/>
                  <a:gd name="connsiteX128" fmla="*/ 5693569 w 8971757"/>
                  <a:gd name="connsiteY128" fmla="*/ 4062412 h 4575969"/>
                  <a:gd name="connsiteX129" fmla="*/ 5872162 w 8971757"/>
                  <a:gd name="connsiteY129" fmla="*/ 4079081 h 4575969"/>
                  <a:gd name="connsiteX130" fmla="*/ 5929313 w 8971757"/>
                  <a:gd name="connsiteY130" fmla="*/ 4052888 h 4575969"/>
                  <a:gd name="connsiteX131" fmla="*/ 6062662 w 8971757"/>
                  <a:gd name="connsiteY131" fmla="*/ 4050506 h 4575969"/>
                  <a:gd name="connsiteX132" fmla="*/ 6196012 w 8971757"/>
                  <a:gd name="connsiteY132" fmla="*/ 3952875 h 4575969"/>
                  <a:gd name="connsiteX133" fmla="*/ 6262687 w 8971757"/>
                  <a:gd name="connsiteY133" fmla="*/ 3945731 h 4575969"/>
                  <a:gd name="connsiteX134" fmla="*/ 6360319 w 8971757"/>
                  <a:gd name="connsiteY134" fmla="*/ 3871912 h 4575969"/>
                  <a:gd name="connsiteX135" fmla="*/ 6434138 w 8971757"/>
                  <a:gd name="connsiteY135" fmla="*/ 3802856 h 4575969"/>
                  <a:gd name="connsiteX136" fmla="*/ 6443663 w 8971757"/>
                  <a:gd name="connsiteY136" fmla="*/ 3740944 h 4575969"/>
                  <a:gd name="connsiteX137" fmla="*/ 6477000 w 8971757"/>
                  <a:gd name="connsiteY137" fmla="*/ 3671887 h 4575969"/>
                  <a:gd name="connsiteX138" fmla="*/ 6629400 w 8971757"/>
                  <a:gd name="connsiteY138" fmla="*/ 3564731 h 4575969"/>
                  <a:gd name="connsiteX139" fmla="*/ 6662738 w 8971757"/>
                  <a:gd name="connsiteY139" fmla="*/ 3569494 h 4575969"/>
                  <a:gd name="connsiteX140" fmla="*/ 6715125 w 8971757"/>
                  <a:gd name="connsiteY140" fmla="*/ 3490912 h 4575969"/>
                  <a:gd name="connsiteX141" fmla="*/ 6762750 w 8971757"/>
                  <a:gd name="connsiteY141" fmla="*/ 3452812 h 4575969"/>
                  <a:gd name="connsiteX142" fmla="*/ 6748463 w 8971757"/>
                  <a:gd name="connsiteY142" fmla="*/ 3383756 h 4575969"/>
                  <a:gd name="connsiteX143" fmla="*/ 6698456 w 8971757"/>
                  <a:gd name="connsiteY143" fmla="*/ 3352799 h 4575969"/>
                  <a:gd name="connsiteX144" fmla="*/ 6638925 w 8971757"/>
                  <a:gd name="connsiteY144" fmla="*/ 3298031 h 4575969"/>
                  <a:gd name="connsiteX145" fmla="*/ 6619875 w 8971757"/>
                  <a:gd name="connsiteY145" fmla="*/ 3240881 h 4575969"/>
                  <a:gd name="connsiteX146" fmla="*/ 6584156 w 8971757"/>
                  <a:gd name="connsiteY146" fmla="*/ 3207544 h 4575969"/>
                  <a:gd name="connsiteX147" fmla="*/ 6610350 w 8971757"/>
                  <a:gd name="connsiteY147" fmla="*/ 3155156 h 4575969"/>
                  <a:gd name="connsiteX148" fmla="*/ 6650831 w 8971757"/>
                  <a:gd name="connsiteY148" fmla="*/ 2976562 h 4575969"/>
                  <a:gd name="connsiteX149" fmla="*/ 6691313 w 8971757"/>
                  <a:gd name="connsiteY149" fmla="*/ 2909887 h 4575969"/>
                  <a:gd name="connsiteX150" fmla="*/ 6836569 w 8971757"/>
                  <a:gd name="connsiteY150" fmla="*/ 2893218 h 4575969"/>
                  <a:gd name="connsiteX151" fmla="*/ 6905625 w 8971757"/>
                  <a:gd name="connsiteY151" fmla="*/ 2950369 h 4575969"/>
                  <a:gd name="connsiteX152" fmla="*/ 6981825 w 8971757"/>
                  <a:gd name="connsiteY152" fmla="*/ 2974181 h 4575969"/>
                  <a:gd name="connsiteX153" fmla="*/ 7186612 w 8971757"/>
                  <a:gd name="connsiteY153" fmla="*/ 2978944 h 4575969"/>
                  <a:gd name="connsiteX154" fmla="*/ 7362825 w 8971757"/>
                  <a:gd name="connsiteY154" fmla="*/ 2840831 h 4575969"/>
                  <a:gd name="connsiteX155" fmla="*/ 7419975 w 8971757"/>
                  <a:gd name="connsiteY155" fmla="*/ 2750343 h 4575969"/>
                  <a:gd name="connsiteX156" fmla="*/ 7446169 w 8971757"/>
                  <a:gd name="connsiteY156" fmla="*/ 2667000 h 4575969"/>
                  <a:gd name="connsiteX157" fmla="*/ 7577137 w 8971757"/>
                  <a:gd name="connsiteY157" fmla="*/ 2667000 h 4575969"/>
                  <a:gd name="connsiteX158" fmla="*/ 7750969 w 8971757"/>
                  <a:gd name="connsiteY158" fmla="*/ 2609849 h 4575969"/>
                  <a:gd name="connsiteX159" fmla="*/ 7810500 w 8971757"/>
                  <a:gd name="connsiteY159" fmla="*/ 2497931 h 4575969"/>
                  <a:gd name="connsiteX160" fmla="*/ 7874794 w 8971757"/>
                  <a:gd name="connsiteY160" fmla="*/ 2462212 h 4575969"/>
                  <a:gd name="connsiteX161" fmla="*/ 7853363 w 8971757"/>
                  <a:gd name="connsiteY161" fmla="*/ 2416969 h 4575969"/>
                  <a:gd name="connsiteX162" fmla="*/ 7931944 w 8971757"/>
                  <a:gd name="connsiteY162" fmla="*/ 2247899 h 4575969"/>
                  <a:gd name="connsiteX163" fmla="*/ 7986713 w 8971757"/>
                  <a:gd name="connsiteY163" fmla="*/ 2188369 h 4575969"/>
                  <a:gd name="connsiteX164" fmla="*/ 8024813 w 8971757"/>
                  <a:gd name="connsiteY164" fmla="*/ 2183606 h 4575969"/>
                  <a:gd name="connsiteX165" fmla="*/ 8070056 w 8971757"/>
                  <a:gd name="connsiteY165" fmla="*/ 2188369 h 4575969"/>
                  <a:gd name="connsiteX166" fmla="*/ 8134350 w 8971757"/>
                  <a:gd name="connsiteY166" fmla="*/ 2155031 h 4575969"/>
                  <a:gd name="connsiteX167" fmla="*/ 8143875 w 8971757"/>
                  <a:gd name="connsiteY167" fmla="*/ 2090737 h 4575969"/>
                  <a:gd name="connsiteX168" fmla="*/ 8184355 w 8971757"/>
                  <a:gd name="connsiteY168" fmla="*/ 2055019 h 4575969"/>
                  <a:gd name="connsiteX169" fmla="*/ 8243888 w 8971757"/>
                  <a:gd name="connsiteY169" fmla="*/ 2095499 h 4575969"/>
                  <a:gd name="connsiteX170" fmla="*/ 8270082 w 8971757"/>
                  <a:gd name="connsiteY170" fmla="*/ 2045493 h 4575969"/>
                  <a:gd name="connsiteX171" fmla="*/ 8365331 w 8971757"/>
                  <a:gd name="connsiteY171" fmla="*/ 1976437 h 4575969"/>
                  <a:gd name="connsiteX172" fmla="*/ 8427244 w 8971757"/>
                  <a:gd name="connsiteY172" fmla="*/ 1983581 h 4575969"/>
                  <a:gd name="connsiteX173" fmla="*/ 8477250 w 8971757"/>
                  <a:gd name="connsiteY173" fmla="*/ 1964531 h 4575969"/>
                  <a:gd name="connsiteX174" fmla="*/ 8515350 w 8971757"/>
                  <a:gd name="connsiteY174" fmla="*/ 1935956 h 4575969"/>
                  <a:gd name="connsiteX175" fmla="*/ 8548688 w 8971757"/>
                  <a:gd name="connsiteY175" fmla="*/ 1933575 h 4575969"/>
                  <a:gd name="connsiteX176" fmla="*/ 8584406 w 8971757"/>
                  <a:gd name="connsiteY176" fmla="*/ 1964531 h 4575969"/>
                  <a:gd name="connsiteX177" fmla="*/ 8643938 w 8971757"/>
                  <a:gd name="connsiteY177" fmla="*/ 1964531 h 4575969"/>
                  <a:gd name="connsiteX178" fmla="*/ 8682037 w 8971757"/>
                  <a:gd name="connsiteY178" fmla="*/ 1945481 h 4575969"/>
                  <a:gd name="connsiteX179" fmla="*/ 8765381 w 8971757"/>
                  <a:gd name="connsiteY179" fmla="*/ 1947863 h 4575969"/>
                  <a:gd name="connsiteX180" fmla="*/ 8796338 w 8971757"/>
                  <a:gd name="connsiteY180" fmla="*/ 1902619 h 4575969"/>
                  <a:gd name="connsiteX181" fmla="*/ 8801100 w 8971757"/>
                  <a:gd name="connsiteY181" fmla="*/ 1840706 h 4575969"/>
                  <a:gd name="connsiteX182" fmla="*/ 8751093 w 8971757"/>
                  <a:gd name="connsiteY182" fmla="*/ 1800225 h 4575969"/>
                  <a:gd name="connsiteX183" fmla="*/ 8734425 w 8971757"/>
                  <a:gd name="connsiteY183" fmla="*/ 1745456 h 4575969"/>
                  <a:gd name="connsiteX184" fmla="*/ 8643938 w 8971757"/>
                  <a:gd name="connsiteY184" fmla="*/ 1683544 h 4575969"/>
                  <a:gd name="connsiteX185" fmla="*/ 8603456 w 8971757"/>
                  <a:gd name="connsiteY185" fmla="*/ 1662112 h 4575969"/>
                  <a:gd name="connsiteX186" fmla="*/ 8565356 w 8971757"/>
                  <a:gd name="connsiteY186" fmla="*/ 1616869 h 4575969"/>
                  <a:gd name="connsiteX187" fmla="*/ 8534400 w 8971757"/>
                  <a:gd name="connsiteY187" fmla="*/ 1614487 h 4575969"/>
                  <a:gd name="connsiteX188" fmla="*/ 8517731 w 8971757"/>
                  <a:gd name="connsiteY188" fmla="*/ 1562100 h 4575969"/>
                  <a:gd name="connsiteX189" fmla="*/ 8477250 w 8971757"/>
                  <a:gd name="connsiteY189" fmla="*/ 1545431 h 4575969"/>
                  <a:gd name="connsiteX190" fmla="*/ 8477250 w 8971757"/>
                  <a:gd name="connsiteY190" fmla="*/ 1545431 h 4575969"/>
                  <a:gd name="connsiteX191" fmla="*/ 8436769 w 8971757"/>
                  <a:gd name="connsiteY191" fmla="*/ 1550194 h 4575969"/>
                  <a:gd name="connsiteX192" fmla="*/ 8351043 w 8971757"/>
                  <a:gd name="connsiteY192" fmla="*/ 1476375 h 4575969"/>
                  <a:gd name="connsiteX193" fmla="*/ 8170069 w 8971757"/>
                  <a:gd name="connsiteY193" fmla="*/ 1476374 h 4575969"/>
                  <a:gd name="connsiteX194" fmla="*/ 8117681 w 8971757"/>
                  <a:gd name="connsiteY194" fmla="*/ 1514475 h 4575969"/>
                  <a:gd name="connsiteX195" fmla="*/ 8067675 w 8971757"/>
                  <a:gd name="connsiteY195" fmla="*/ 1593056 h 4575969"/>
                  <a:gd name="connsiteX196" fmla="*/ 8084344 w 8971757"/>
                  <a:gd name="connsiteY196" fmla="*/ 1614487 h 4575969"/>
                  <a:gd name="connsiteX197" fmla="*/ 8039100 w 8971757"/>
                  <a:gd name="connsiteY197" fmla="*/ 1664493 h 4575969"/>
                  <a:gd name="connsiteX198" fmla="*/ 7889081 w 8971757"/>
                  <a:gd name="connsiteY198" fmla="*/ 1588293 h 4575969"/>
                  <a:gd name="connsiteX199" fmla="*/ 7798594 w 8971757"/>
                  <a:gd name="connsiteY199" fmla="*/ 1624012 h 4575969"/>
                  <a:gd name="connsiteX200" fmla="*/ 7724775 w 8971757"/>
                  <a:gd name="connsiteY200" fmla="*/ 1621631 h 4575969"/>
                  <a:gd name="connsiteX201" fmla="*/ 7667625 w 8971757"/>
                  <a:gd name="connsiteY201" fmla="*/ 1716881 h 4575969"/>
                  <a:gd name="connsiteX202" fmla="*/ 7529513 w 8971757"/>
                  <a:gd name="connsiteY20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4405312 w 8971757"/>
                  <a:gd name="connsiteY49" fmla="*/ 959644 h 4575969"/>
                  <a:gd name="connsiteX50" fmla="*/ 8412956 w 8971757"/>
                  <a:gd name="connsiteY50" fmla="*/ 23812 h 4575969"/>
                  <a:gd name="connsiteX51" fmla="*/ 8949531 w 8971757"/>
                  <a:gd name="connsiteY51" fmla="*/ 0 h 4575969"/>
                  <a:gd name="connsiteX52" fmla="*/ 8971757 w 8971757"/>
                  <a:gd name="connsiteY52" fmla="*/ 4575969 h 4575969"/>
                  <a:gd name="connsiteX53" fmla="*/ 2381 w 8971757"/>
                  <a:gd name="connsiteY53" fmla="*/ 4547392 h 4575969"/>
                  <a:gd name="connsiteX54" fmla="*/ 0 w 8971757"/>
                  <a:gd name="connsiteY54" fmla="*/ 845344 h 4575969"/>
                  <a:gd name="connsiteX55" fmla="*/ 76200 w 8971757"/>
                  <a:gd name="connsiteY55" fmla="*/ 828675 h 4575969"/>
                  <a:gd name="connsiteX56" fmla="*/ 119063 w 8971757"/>
                  <a:gd name="connsiteY56" fmla="*/ 857250 h 4575969"/>
                  <a:gd name="connsiteX57" fmla="*/ 215900 w 8971757"/>
                  <a:gd name="connsiteY57" fmla="*/ 848519 h 4575969"/>
                  <a:gd name="connsiteX58" fmla="*/ 261938 w 8971757"/>
                  <a:gd name="connsiteY58" fmla="*/ 876299 h 4575969"/>
                  <a:gd name="connsiteX59" fmla="*/ 228600 w 8971757"/>
                  <a:gd name="connsiteY59" fmla="*/ 904875 h 4575969"/>
                  <a:gd name="connsiteX60" fmla="*/ 233363 w 8971757"/>
                  <a:gd name="connsiteY60" fmla="*/ 947737 h 4575969"/>
                  <a:gd name="connsiteX61" fmla="*/ 200025 w 8971757"/>
                  <a:gd name="connsiteY61" fmla="*/ 952500 h 4575969"/>
                  <a:gd name="connsiteX62" fmla="*/ 204788 w 8971757"/>
                  <a:gd name="connsiteY62" fmla="*/ 976312 h 4575969"/>
                  <a:gd name="connsiteX63" fmla="*/ 261937 w 8971757"/>
                  <a:gd name="connsiteY63" fmla="*/ 1050131 h 4575969"/>
                  <a:gd name="connsiteX64" fmla="*/ 223838 w 8971757"/>
                  <a:gd name="connsiteY64" fmla="*/ 1097756 h 4575969"/>
                  <a:gd name="connsiteX65" fmla="*/ 278606 w 8971757"/>
                  <a:gd name="connsiteY65" fmla="*/ 1133475 h 4575969"/>
                  <a:gd name="connsiteX66" fmla="*/ 369094 w 8971757"/>
                  <a:gd name="connsiteY66" fmla="*/ 1221581 h 4575969"/>
                  <a:gd name="connsiteX67" fmla="*/ 371475 w 8971757"/>
                  <a:gd name="connsiteY67" fmla="*/ 1281112 h 4575969"/>
                  <a:gd name="connsiteX68" fmla="*/ 507206 w 8971757"/>
                  <a:gd name="connsiteY68" fmla="*/ 1414463 h 4575969"/>
                  <a:gd name="connsiteX69" fmla="*/ 561975 w 8971757"/>
                  <a:gd name="connsiteY69" fmla="*/ 1390650 h 4575969"/>
                  <a:gd name="connsiteX70" fmla="*/ 600075 w 8971757"/>
                  <a:gd name="connsiteY70" fmla="*/ 1416843 h 4575969"/>
                  <a:gd name="connsiteX71" fmla="*/ 614363 w 8971757"/>
                  <a:gd name="connsiteY71" fmla="*/ 1466849 h 4575969"/>
                  <a:gd name="connsiteX72" fmla="*/ 657225 w 8971757"/>
                  <a:gd name="connsiteY72" fmla="*/ 1502569 h 4575969"/>
                  <a:gd name="connsiteX73" fmla="*/ 697706 w 8971757"/>
                  <a:gd name="connsiteY73" fmla="*/ 1490662 h 4575969"/>
                  <a:gd name="connsiteX74" fmla="*/ 716756 w 8971757"/>
                  <a:gd name="connsiteY74" fmla="*/ 1547812 h 4575969"/>
                  <a:gd name="connsiteX75" fmla="*/ 764381 w 8971757"/>
                  <a:gd name="connsiteY75" fmla="*/ 1590675 h 4575969"/>
                  <a:gd name="connsiteX76" fmla="*/ 788194 w 8971757"/>
                  <a:gd name="connsiteY76" fmla="*/ 1693069 h 4575969"/>
                  <a:gd name="connsiteX77" fmla="*/ 785813 w 8971757"/>
                  <a:gd name="connsiteY77" fmla="*/ 1740694 h 4575969"/>
                  <a:gd name="connsiteX78" fmla="*/ 821531 w 8971757"/>
                  <a:gd name="connsiteY78" fmla="*/ 1840706 h 4575969"/>
                  <a:gd name="connsiteX79" fmla="*/ 866775 w 8971757"/>
                  <a:gd name="connsiteY79" fmla="*/ 1897856 h 4575969"/>
                  <a:gd name="connsiteX80" fmla="*/ 883443 w 8971757"/>
                  <a:gd name="connsiteY80" fmla="*/ 2055018 h 4575969"/>
                  <a:gd name="connsiteX81" fmla="*/ 850106 w 8971757"/>
                  <a:gd name="connsiteY81" fmla="*/ 2116931 h 4575969"/>
                  <a:gd name="connsiteX82" fmla="*/ 819150 w 8971757"/>
                  <a:gd name="connsiteY82" fmla="*/ 2193131 h 4575969"/>
                  <a:gd name="connsiteX83" fmla="*/ 833438 w 8971757"/>
                  <a:gd name="connsiteY83" fmla="*/ 2250281 h 4575969"/>
                  <a:gd name="connsiteX84" fmla="*/ 735806 w 8971757"/>
                  <a:gd name="connsiteY84" fmla="*/ 2357438 h 4575969"/>
                  <a:gd name="connsiteX85" fmla="*/ 692944 w 8971757"/>
                  <a:gd name="connsiteY85" fmla="*/ 2471737 h 4575969"/>
                  <a:gd name="connsiteX86" fmla="*/ 726281 w 8971757"/>
                  <a:gd name="connsiteY86" fmla="*/ 2512219 h 4575969"/>
                  <a:gd name="connsiteX87" fmla="*/ 709613 w 8971757"/>
                  <a:gd name="connsiteY87" fmla="*/ 2540794 h 4575969"/>
                  <a:gd name="connsiteX88" fmla="*/ 740569 w 8971757"/>
                  <a:gd name="connsiteY88" fmla="*/ 2597944 h 4575969"/>
                  <a:gd name="connsiteX89" fmla="*/ 769144 w 8971757"/>
                  <a:gd name="connsiteY89" fmla="*/ 2597944 h 4575969"/>
                  <a:gd name="connsiteX90" fmla="*/ 931069 w 8971757"/>
                  <a:gd name="connsiteY90" fmla="*/ 2700337 h 4575969"/>
                  <a:gd name="connsiteX91" fmla="*/ 1035844 w 8971757"/>
                  <a:gd name="connsiteY91" fmla="*/ 2697956 h 4575969"/>
                  <a:gd name="connsiteX92" fmla="*/ 1114425 w 8971757"/>
                  <a:gd name="connsiteY92" fmla="*/ 2752725 h 4575969"/>
                  <a:gd name="connsiteX93" fmla="*/ 1245393 w 8971757"/>
                  <a:gd name="connsiteY93" fmla="*/ 2755106 h 4575969"/>
                  <a:gd name="connsiteX94" fmla="*/ 1435893 w 8971757"/>
                  <a:gd name="connsiteY94" fmla="*/ 2824162 h 4575969"/>
                  <a:gd name="connsiteX95" fmla="*/ 1638300 w 8971757"/>
                  <a:gd name="connsiteY95" fmla="*/ 2974181 h 4575969"/>
                  <a:gd name="connsiteX96" fmla="*/ 1671637 w 8971757"/>
                  <a:gd name="connsiteY96" fmla="*/ 3040856 h 4575969"/>
                  <a:gd name="connsiteX97" fmla="*/ 1838325 w 8971757"/>
                  <a:gd name="connsiteY97" fmla="*/ 3167062 h 4575969"/>
                  <a:gd name="connsiteX98" fmla="*/ 1909763 w 8971757"/>
                  <a:gd name="connsiteY98" fmla="*/ 3162300 h 4575969"/>
                  <a:gd name="connsiteX99" fmla="*/ 1945482 w 8971757"/>
                  <a:gd name="connsiteY99" fmla="*/ 3186112 h 4575969"/>
                  <a:gd name="connsiteX100" fmla="*/ 1916906 w 8971757"/>
                  <a:gd name="connsiteY100" fmla="*/ 3226594 h 4575969"/>
                  <a:gd name="connsiteX101" fmla="*/ 1924050 w 8971757"/>
                  <a:gd name="connsiteY101" fmla="*/ 3278981 h 4575969"/>
                  <a:gd name="connsiteX102" fmla="*/ 1976438 w 8971757"/>
                  <a:gd name="connsiteY102" fmla="*/ 3305175 h 4575969"/>
                  <a:gd name="connsiteX103" fmla="*/ 2038350 w 8971757"/>
                  <a:gd name="connsiteY103" fmla="*/ 3529013 h 4575969"/>
                  <a:gd name="connsiteX104" fmla="*/ 2028825 w 8971757"/>
                  <a:gd name="connsiteY104" fmla="*/ 3593306 h 4575969"/>
                  <a:gd name="connsiteX105" fmla="*/ 2164556 w 8971757"/>
                  <a:gd name="connsiteY105" fmla="*/ 3759994 h 4575969"/>
                  <a:gd name="connsiteX106" fmla="*/ 2183606 w 8971757"/>
                  <a:gd name="connsiteY106" fmla="*/ 3810000 h 4575969"/>
                  <a:gd name="connsiteX107" fmla="*/ 2157413 w 8971757"/>
                  <a:gd name="connsiteY107" fmla="*/ 3829050 h 4575969"/>
                  <a:gd name="connsiteX108" fmla="*/ 2259806 w 8971757"/>
                  <a:gd name="connsiteY108" fmla="*/ 3838575 h 4575969"/>
                  <a:gd name="connsiteX109" fmla="*/ 2371725 w 8971757"/>
                  <a:gd name="connsiteY109" fmla="*/ 3826669 h 4575969"/>
                  <a:gd name="connsiteX110" fmla="*/ 2650331 w 8971757"/>
                  <a:gd name="connsiteY110" fmla="*/ 3910012 h 4575969"/>
                  <a:gd name="connsiteX111" fmla="*/ 3057525 w 8971757"/>
                  <a:gd name="connsiteY111" fmla="*/ 3990975 h 4575969"/>
                  <a:gd name="connsiteX112" fmla="*/ 3255169 w 8971757"/>
                  <a:gd name="connsiteY112" fmla="*/ 3960018 h 4575969"/>
                  <a:gd name="connsiteX113" fmla="*/ 3300413 w 8971757"/>
                  <a:gd name="connsiteY113" fmla="*/ 3971924 h 4575969"/>
                  <a:gd name="connsiteX114" fmla="*/ 3355181 w 8971757"/>
                  <a:gd name="connsiteY114" fmla="*/ 3948113 h 4575969"/>
                  <a:gd name="connsiteX115" fmla="*/ 3748087 w 8971757"/>
                  <a:gd name="connsiteY115" fmla="*/ 4038600 h 4575969"/>
                  <a:gd name="connsiteX116" fmla="*/ 3831432 w 8971757"/>
                  <a:gd name="connsiteY116" fmla="*/ 4136231 h 4575969"/>
                  <a:gd name="connsiteX117" fmla="*/ 3950494 w 8971757"/>
                  <a:gd name="connsiteY117" fmla="*/ 4207669 h 4575969"/>
                  <a:gd name="connsiteX118" fmla="*/ 4010025 w 8971757"/>
                  <a:gd name="connsiteY118" fmla="*/ 4191000 h 4575969"/>
                  <a:gd name="connsiteX119" fmla="*/ 4360068 w 8971757"/>
                  <a:gd name="connsiteY119" fmla="*/ 4364831 h 4575969"/>
                  <a:gd name="connsiteX120" fmla="*/ 4586288 w 8971757"/>
                  <a:gd name="connsiteY120" fmla="*/ 4336256 h 4575969"/>
                  <a:gd name="connsiteX121" fmla="*/ 4595813 w 8971757"/>
                  <a:gd name="connsiteY121" fmla="*/ 4414837 h 4575969"/>
                  <a:gd name="connsiteX122" fmla="*/ 4681538 w 8971757"/>
                  <a:gd name="connsiteY122" fmla="*/ 4410074 h 4575969"/>
                  <a:gd name="connsiteX123" fmla="*/ 4760119 w 8971757"/>
                  <a:gd name="connsiteY123" fmla="*/ 4441031 h 4575969"/>
                  <a:gd name="connsiteX124" fmla="*/ 4802981 w 8971757"/>
                  <a:gd name="connsiteY124" fmla="*/ 4381500 h 4575969"/>
                  <a:gd name="connsiteX125" fmla="*/ 5474494 w 8971757"/>
                  <a:gd name="connsiteY125" fmla="*/ 4062412 h 4575969"/>
                  <a:gd name="connsiteX126" fmla="*/ 5562600 w 8971757"/>
                  <a:gd name="connsiteY126" fmla="*/ 4090988 h 4575969"/>
                  <a:gd name="connsiteX127" fmla="*/ 5693569 w 8971757"/>
                  <a:gd name="connsiteY127" fmla="*/ 4062412 h 4575969"/>
                  <a:gd name="connsiteX128" fmla="*/ 5872162 w 8971757"/>
                  <a:gd name="connsiteY128" fmla="*/ 4079081 h 4575969"/>
                  <a:gd name="connsiteX129" fmla="*/ 5929313 w 8971757"/>
                  <a:gd name="connsiteY129" fmla="*/ 4052888 h 4575969"/>
                  <a:gd name="connsiteX130" fmla="*/ 6062662 w 8971757"/>
                  <a:gd name="connsiteY130" fmla="*/ 4050506 h 4575969"/>
                  <a:gd name="connsiteX131" fmla="*/ 6196012 w 8971757"/>
                  <a:gd name="connsiteY131" fmla="*/ 3952875 h 4575969"/>
                  <a:gd name="connsiteX132" fmla="*/ 6262687 w 8971757"/>
                  <a:gd name="connsiteY132" fmla="*/ 3945731 h 4575969"/>
                  <a:gd name="connsiteX133" fmla="*/ 6360319 w 8971757"/>
                  <a:gd name="connsiteY133" fmla="*/ 3871912 h 4575969"/>
                  <a:gd name="connsiteX134" fmla="*/ 6434138 w 8971757"/>
                  <a:gd name="connsiteY134" fmla="*/ 3802856 h 4575969"/>
                  <a:gd name="connsiteX135" fmla="*/ 6443663 w 8971757"/>
                  <a:gd name="connsiteY135" fmla="*/ 3740944 h 4575969"/>
                  <a:gd name="connsiteX136" fmla="*/ 6477000 w 8971757"/>
                  <a:gd name="connsiteY136" fmla="*/ 3671887 h 4575969"/>
                  <a:gd name="connsiteX137" fmla="*/ 6629400 w 8971757"/>
                  <a:gd name="connsiteY137" fmla="*/ 3564731 h 4575969"/>
                  <a:gd name="connsiteX138" fmla="*/ 6662738 w 8971757"/>
                  <a:gd name="connsiteY138" fmla="*/ 3569494 h 4575969"/>
                  <a:gd name="connsiteX139" fmla="*/ 6715125 w 8971757"/>
                  <a:gd name="connsiteY139" fmla="*/ 3490912 h 4575969"/>
                  <a:gd name="connsiteX140" fmla="*/ 6762750 w 8971757"/>
                  <a:gd name="connsiteY140" fmla="*/ 3452812 h 4575969"/>
                  <a:gd name="connsiteX141" fmla="*/ 6748463 w 8971757"/>
                  <a:gd name="connsiteY141" fmla="*/ 3383756 h 4575969"/>
                  <a:gd name="connsiteX142" fmla="*/ 6698456 w 8971757"/>
                  <a:gd name="connsiteY142" fmla="*/ 3352799 h 4575969"/>
                  <a:gd name="connsiteX143" fmla="*/ 6638925 w 8971757"/>
                  <a:gd name="connsiteY143" fmla="*/ 3298031 h 4575969"/>
                  <a:gd name="connsiteX144" fmla="*/ 6619875 w 8971757"/>
                  <a:gd name="connsiteY144" fmla="*/ 3240881 h 4575969"/>
                  <a:gd name="connsiteX145" fmla="*/ 6584156 w 8971757"/>
                  <a:gd name="connsiteY145" fmla="*/ 3207544 h 4575969"/>
                  <a:gd name="connsiteX146" fmla="*/ 6610350 w 8971757"/>
                  <a:gd name="connsiteY146" fmla="*/ 3155156 h 4575969"/>
                  <a:gd name="connsiteX147" fmla="*/ 6650831 w 8971757"/>
                  <a:gd name="connsiteY147" fmla="*/ 2976562 h 4575969"/>
                  <a:gd name="connsiteX148" fmla="*/ 6691313 w 8971757"/>
                  <a:gd name="connsiteY148" fmla="*/ 2909887 h 4575969"/>
                  <a:gd name="connsiteX149" fmla="*/ 6836569 w 8971757"/>
                  <a:gd name="connsiteY149" fmla="*/ 2893218 h 4575969"/>
                  <a:gd name="connsiteX150" fmla="*/ 6905625 w 8971757"/>
                  <a:gd name="connsiteY150" fmla="*/ 2950369 h 4575969"/>
                  <a:gd name="connsiteX151" fmla="*/ 6981825 w 8971757"/>
                  <a:gd name="connsiteY151" fmla="*/ 2974181 h 4575969"/>
                  <a:gd name="connsiteX152" fmla="*/ 7186612 w 8971757"/>
                  <a:gd name="connsiteY152" fmla="*/ 2978944 h 4575969"/>
                  <a:gd name="connsiteX153" fmla="*/ 7362825 w 8971757"/>
                  <a:gd name="connsiteY153" fmla="*/ 2840831 h 4575969"/>
                  <a:gd name="connsiteX154" fmla="*/ 7419975 w 8971757"/>
                  <a:gd name="connsiteY154" fmla="*/ 2750343 h 4575969"/>
                  <a:gd name="connsiteX155" fmla="*/ 7446169 w 8971757"/>
                  <a:gd name="connsiteY155" fmla="*/ 2667000 h 4575969"/>
                  <a:gd name="connsiteX156" fmla="*/ 7577137 w 8971757"/>
                  <a:gd name="connsiteY156" fmla="*/ 2667000 h 4575969"/>
                  <a:gd name="connsiteX157" fmla="*/ 7750969 w 8971757"/>
                  <a:gd name="connsiteY157" fmla="*/ 2609849 h 4575969"/>
                  <a:gd name="connsiteX158" fmla="*/ 7810500 w 8971757"/>
                  <a:gd name="connsiteY158" fmla="*/ 2497931 h 4575969"/>
                  <a:gd name="connsiteX159" fmla="*/ 7874794 w 8971757"/>
                  <a:gd name="connsiteY159" fmla="*/ 2462212 h 4575969"/>
                  <a:gd name="connsiteX160" fmla="*/ 7853363 w 8971757"/>
                  <a:gd name="connsiteY160" fmla="*/ 2416969 h 4575969"/>
                  <a:gd name="connsiteX161" fmla="*/ 7931944 w 8971757"/>
                  <a:gd name="connsiteY161" fmla="*/ 2247899 h 4575969"/>
                  <a:gd name="connsiteX162" fmla="*/ 7986713 w 8971757"/>
                  <a:gd name="connsiteY162" fmla="*/ 2188369 h 4575969"/>
                  <a:gd name="connsiteX163" fmla="*/ 8024813 w 8971757"/>
                  <a:gd name="connsiteY163" fmla="*/ 2183606 h 4575969"/>
                  <a:gd name="connsiteX164" fmla="*/ 8070056 w 8971757"/>
                  <a:gd name="connsiteY164" fmla="*/ 2188369 h 4575969"/>
                  <a:gd name="connsiteX165" fmla="*/ 8134350 w 8971757"/>
                  <a:gd name="connsiteY165" fmla="*/ 2155031 h 4575969"/>
                  <a:gd name="connsiteX166" fmla="*/ 8143875 w 8971757"/>
                  <a:gd name="connsiteY166" fmla="*/ 2090737 h 4575969"/>
                  <a:gd name="connsiteX167" fmla="*/ 8184355 w 8971757"/>
                  <a:gd name="connsiteY167" fmla="*/ 2055019 h 4575969"/>
                  <a:gd name="connsiteX168" fmla="*/ 8243888 w 8971757"/>
                  <a:gd name="connsiteY168" fmla="*/ 2095499 h 4575969"/>
                  <a:gd name="connsiteX169" fmla="*/ 8270082 w 8971757"/>
                  <a:gd name="connsiteY169" fmla="*/ 2045493 h 4575969"/>
                  <a:gd name="connsiteX170" fmla="*/ 8365331 w 8971757"/>
                  <a:gd name="connsiteY170" fmla="*/ 1976437 h 4575969"/>
                  <a:gd name="connsiteX171" fmla="*/ 8427244 w 8971757"/>
                  <a:gd name="connsiteY171" fmla="*/ 1983581 h 4575969"/>
                  <a:gd name="connsiteX172" fmla="*/ 8477250 w 8971757"/>
                  <a:gd name="connsiteY172" fmla="*/ 1964531 h 4575969"/>
                  <a:gd name="connsiteX173" fmla="*/ 8515350 w 8971757"/>
                  <a:gd name="connsiteY173" fmla="*/ 1935956 h 4575969"/>
                  <a:gd name="connsiteX174" fmla="*/ 8548688 w 8971757"/>
                  <a:gd name="connsiteY174" fmla="*/ 1933575 h 4575969"/>
                  <a:gd name="connsiteX175" fmla="*/ 8584406 w 8971757"/>
                  <a:gd name="connsiteY175" fmla="*/ 1964531 h 4575969"/>
                  <a:gd name="connsiteX176" fmla="*/ 8643938 w 8971757"/>
                  <a:gd name="connsiteY176" fmla="*/ 1964531 h 4575969"/>
                  <a:gd name="connsiteX177" fmla="*/ 8682037 w 8971757"/>
                  <a:gd name="connsiteY177" fmla="*/ 1945481 h 4575969"/>
                  <a:gd name="connsiteX178" fmla="*/ 8765381 w 8971757"/>
                  <a:gd name="connsiteY178" fmla="*/ 1947863 h 4575969"/>
                  <a:gd name="connsiteX179" fmla="*/ 8796338 w 8971757"/>
                  <a:gd name="connsiteY179" fmla="*/ 1902619 h 4575969"/>
                  <a:gd name="connsiteX180" fmla="*/ 8801100 w 8971757"/>
                  <a:gd name="connsiteY180" fmla="*/ 1840706 h 4575969"/>
                  <a:gd name="connsiteX181" fmla="*/ 8751093 w 8971757"/>
                  <a:gd name="connsiteY181" fmla="*/ 1800225 h 4575969"/>
                  <a:gd name="connsiteX182" fmla="*/ 8734425 w 8971757"/>
                  <a:gd name="connsiteY182" fmla="*/ 1745456 h 4575969"/>
                  <a:gd name="connsiteX183" fmla="*/ 8643938 w 8971757"/>
                  <a:gd name="connsiteY183" fmla="*/ 1683544 h 4575969"/>
                  <a:gd name="connsiteX184" fmla="*/ 8603456 w 8971757"/>
                  <a:gd name="connsiteY184" fmla="*/ 1662112 h 4575969"/>
                  <a:gd name="connsiteX185" fmla="*/ 8565356 w 8971757"/>
                  <a:gd name="connsiteY185" fmla="*/ 1616869 h 4575969"/>
                  <a:gd name="connsiteX186" fmla="*/ 8534400 w 8971757"/>
                  <a:gd name="connsiteY186" fmla="*/ 1614487 h 4575969"/>
                  <a:gd name="connsiteX187" fmla="*/ 8517731 w 8971757"/>
                  <a:gd name="connsiteY187" fmla="*/ 1562100 h 4575969"/>
                  <a:gd name="connsiteX188" fmla="*/ 8477250 w 8971757"/>
                  <a:gd name="connsiteY188" fmla="*/ 1545431 h 4575969"/>
                  <a:gd name="connsiteX189" fmla="*/ 8477250 w 8971757"/>
                  <a:gd name="connsiteY189" fmla="*/ 1545431 h 4575969"/>
                  <a:gd name="connsiteX190" fmla="*/ 8436769 w 8971757"/>
                  <a:gd name="connsiteY190" fmla="*/ 1550194 h 4575969"/>
                  <a:gd name="connsiteX191" fmla="*/ 8351043 w 8971757"/>
                  <a:gd name="connsiteY191" fmla="*/ 1476375 h 4575969"/>
                  <a:gd name="connsiteX192" fmla="*/ 8170069 w 8971757"/>
                  <a:gd name="connsiteY192" fmla="*/ 1476374 h 4575969"/>
                  <a:gd name="connsiteX193" fmla="*/ 8117681 w 8971757"/>
                  <a:gd name="connsiteY193" fmla="*/ 1514475 h 4575969"/>
                  <a:gd name="connsiteX194" fmla="*/ 8067675 w 8971757"/>
                  <a:gd name="connsiteY194" fmla="*/ 1593056 h 4575969"/>
                  <a:gd name="connsiteX195" fmla="*/ 8084344 w 8971757"/>
                  <a:gd name="connsiteY195" fmla="*/ 1614487 h 4575969"/>
                  <a:gd name="connsiteX196" fmla="*/ 8039100 w 8971757"/>
                  <a:gd name="connsiteY196" fmla="*/ 1664493 h 4575969"/>
                  <a:gd name="connsiteX197" fmla="*/ 7889081 w 8971757"/>
                  <a:gd name="connsiteY197" fmla="*/ 1588293 h 4575969"/>
                  <a:gd name="connsiteX198" fmla="*/ 7798594 w 8971757"/>
                  <a:gd name="connsiteY198" fmla="*/ 1624012 h 4575969"/>
                  <a:gd name="connsiteX199" fmla="*/ 7724775 w 8971757"/>
                  <a:gd name="connsiteY199" fmla="*/ 1621631 h 4575969"/>
                  <a:gd name="connsiteX200" fmla="*/ 7667625 w 8971757"/>
                  <a:gd name="connsiteY200" fmla="*/ 1716881 h 4575969"/>
                  <a:gd name="connsiteX201" fmla="*/ 7529513 w 8971757"/>
                  <a:gd name="connsiteY20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4452938 w 8971757"/>
                  <a:gd name="connsiteY48" fmla="*/ 997744 h 4575969"/>
                  <a:gd name="connsiteX49" fmla="*/ 8412956 w 8971757"/>
                  <a:gd name="connsiteY49" fmla="*/ 23812 h 4575969"/>
                  <a:gd name="connsiteX50" fmla="*/ 8949531 w 8971757"/>
                  <a:gd name="connsiteY50" fmla="*/ 0 h 4575969"/>
                  <a:gd name="connsiteX51" fmla="*/ 8971757 w 8971757"/>
                  <a:gd name="connsiteY51" fmla="*/ 4575969 h 4575969"/>
                  <a:gd name="connsiteX52" fmla="*/ 2381 w 8971757"/>
                  <a:gd name="connsiteY52" fmla="*/ 4547392 h 4575969"/>
                  <a:gd name="connsiteX53" fmla="*/ 0 w 8971757"/>
                  <a:gd name="connsiteY53" fmla="*/ 845344 h 4575969"/>
                  <a:gd name="connsiteX54" fmla="*/ 76200 w 8971757"/>
                  <a:gd name="connsiteY54" fmla="*/ 828675 h 4575969"/>
                  <a:gd name="connsiteX55" fmla="*/ 119063 w 8971757"/>
                  <a:gd name="connsiteY55" fmla="*/ 857250 h 4575969"/>
                  <a:gd name="connsiteX56" fmla="*/ 215900 w 8971757"/>
                  <a:gd name="connsiteY56" fmla="*/ 848519 h 4575969"/>
                  <a:gd name="connsiteX57" fmla="*/ 261938 w 8971757"/>
                  <a:gd name="connsiteY57" fmla="*/ 876299 h 4575969"/>
                  <a:gd name="connsiteX58" fmla="*/ 228600 w 8971757"/>
                  <a:gd name="connsiteY58" fmla="*/ 904875 h 4575969"/>
                  <a:gd name="connsiteX59" fmla="*/ 233363 w 8971757"/>
                  <a:gd name="connsiteY59" fmla="*/ 947737 h 4575969"/>
                  <a:gd name="connsiteX60" fmla="*/ 200025 w 8971757"/>
                  <a:gd name="connsiteY60" fmla="*/ 952500 h 4575969"/>
                  <a:gd name="connsiteX61" fmla="*/ 204788 w 8971757"/>
                  <a:gd name="connsiteY61" fmla="*/ 976312 h 4575969"/>
                  <a:gd name="connsiteX62" fmla="*/ 261937 w 8971757"/>
                  <a:gd name="connsiteY62" fmla="*/ 1050131 h 4575969"/>
                  <a:gd name="connsiteX63" fmla="*/ 223838 w 8971757"/>
                  <a:gd name="connsiteY63" fmla="*/ 1097756 h 4575969"/>
                  <a:gd name="connsiteX64" fmla="*/ 278606 w 8971757"/>
                  <a:gd name="connsiteY64" fmla="*/ 1133475 h 4575969"/>
                  <a:gd name="connsiteX65" fmla="*/ 369094 w 8971757"/>
                  <a:gd name="connsiteY65" fmla="*/ 1221581 h 4575969"/>
                  <a:gd name="connsiteX66" fmla="*/ 371475 w 8971757"/>
                  <a:gd name="connsiteY66" fmla="*/ 1281112 h 4575969"/>
                  <a:gd name="connsiteX67" fmla="*/ 507206 w 8971757"/>
                  <a:gd name="connsiteY67" fmla="*/ 1414463 h 4575969"/>
                  <a:gd name="connsiteX68" fmla="*/ 561975 w 8971757"/>
                  <a:gd name="connsiteY68" fmla="*/ 1390650 h 4575969"/>
                  <a:gd name="connsiteX69" fmla="*/ 600075 w 8971757"/>
                  <a:gd name="connsiteY69" fmla="*/ 1416843 h 4575969"/>
                  <a:gd name="connsiteX70" fmla="*/ 614363 w 8971757"/>
                  <a:gd name="connsiteY70" fmla="*/ 1466849 h 4575969"/>
                  <a:gd name="connsiteX71" fmla="*/ 657225 w 8971757"/>
                  <a:gd name="connsiteY71" fmla="*/ 1502569 h 4575969"/>
                  <a:gd name="connsiteX72" fmla="*/ 697706 w 8971757"/>
                  <a:gd name="connsiteY72" fmla="*/ 1490662 h 4575969"/>
                  <a:gd name="connsiteX73" fmla="*/ 716756 w 8971757"/>
                  <a:gd name="connsiteY73" fmla="*/ 1547812 h 4575969"/>
                  <a:gd name="connsiteX74" fmla="*/ 764381 w 8971757"/>
                  <a:gd name="connsiteY74" fmla="*/ 1590675 h 4575969"/>
                  <a:gd name="connsiteX75" fmla="*/ 788194 w 8971757"/>
                  <a:gd name="connsiteY75" fmla="*/ 1693069 h 4575969"/>
                  <a:gd name="connsiteX76" fmla="*/ 785813 w 8971757"/>
                  <a:gd name="connsiteY76" fmla="*/ 1740694 h 4575969"/>
                  <a:gd name="connsiteX77" fmla="*/ 821531 w 8971757"/>
                  <a:gd name="connsiteY77" fmla="*/ 1840706 h 4575969"/>
                  <a:gd name="connsiteX78" fmla="*/ 866775 w 8971757"/>
                  <a:gd name="connsiteY78" fmla="*/ 1897856 h 4575969"/>
                  <a:gd name="connsiteX79" fmla="*/ 883443 w 8971757"/>
                  <a:gd name="connsiteY79" fmla="*/ 2055018 h 4575969"/>
                  <a:gd name="connsiteX80" fmla="*/ 850106 w 8971757"/>
                  <a:gd name="connsiteY80" fmla="*/ 2116931 h 4575969"/>
                  <a:gd name="connsiteX81" fmla="*/ 819150 w 8971757"/>
                  <a:gd name="connsiteY81" fmla="*/ 2193131 h 4575969"/>
                  <a:gd name="connsiteX82" fmla="*/ 833438 w 8971757"/>
                  <a:gd name="connsiteY82" fmla="*/ 2250281 h 4575969"/>
                  <a:gd name="connsiteX83" fmla="*/ 735806 w 8971757"/>
                  <a:gd name="connsiteY83" fmla="*/ 2357438 h 4575969"/>
                  <a:gd name="connsiteX84" fmla="*/ 692944 w 8971757"/>
                  <a:gd name="connsiteY84" fmla="*/ 2471737 h 4575969"/>
                  <a:gd name="connsiteX85" fmla="*/ 726281 w 8971757"/>
                  <a:gd name="connsiteY85" fmla="*/ 2512219 h 4575969"/>
                  <a:gd name="connsiteX86" fmla="*/ 709613 w 8971757"/>
                  <a:gd name="connsiteY86" fmla="*/ 2540794 h 4575969"/>
                  <a:gd name="connsiteX87" fmla="*/ 740569 w 8971757"/>
                  <a:gd name="connsiteY87" fmla="*/ 2597944 h 4575969"/>
                  <a:gd name="connsiteX88" fmla="*/ 769144 w 8971757"/>
                  <a:gd name="connsiteY88" fmla="*/ 2597944 h 4575969"/>
                  <a:gd name="connsiteX89" fmla="*/ 931069 w 8971757"/>
                  <a:gd name="connsiteY89" fmla="*/ 2700337 h 4575969"/>
                  <a:gd name="connsiteX90" fmla="*/ 1035844 w 8971757"/>
                  <a:gd name="connsiteY90" fmla="*/ 2697956 h 4575969"/>
                  <a:gd name="connsiteX91" fmla="*/ 1114425 w 8971757"/>
                  <a:gd name="connsiteY91" fmla="*/ 2752725 h 4575969"/>
                  <a:gd name="connsiteX92" fmla="*/ 1245393 w 8971757"/>
                  <a:gd name="connsiteY92" fmla="*/ 2755106 h 4575969"/>
                  <a:gd name="connsiteX93" fmla="*/ 1435893 w 8971757"/>
                  <a:gd name="connsiteY93" fmla="*/ 2824162 h 4575969"/>
                  <a:gd name="connsiteX94" fmla="*/ 1638300 w 8971757"/>
                  <a:gd name="connsiteY94" fmla="*/ 2974181 h 4575969"/>
                  <a:gd name="connsiteX95" fmla="*/ 1671637 w 8971757"/>
                  <a:gd name="connsiteY95" fmla="*/ 3040856 h 4575969"/>
                  <a:gd name="connsiteX96" fmla="*/ 1838325 w 8971757"/>
                  <a:gd name="connsiteY96" fmla="*/ 3167062 h 4575969"/>
                  <a:gd name="connsiteX97" fmla="*/ 1909763 w 8971757"/>
                  <a:gd name="connsiteY97" fmla="*/ 3162300 h 4575969"/>
                  <a:gd name="connsiteX98" fmla="*/ 1945482 w 8971757"/>
                  <a:gd name="connsiteY98" fmla="*/ 3186112 h 4575969"/>
                  <a:gd name="connsiteX99" fmla="*/ 1916906 w 8971757"/>
                  <a:gd name="connsiteY99" fmla="*/ 3226594 h 4575969"/>
                  <a:gd name="connsiteX100" fmla="*/ 1924050 w 8971757"/>
                  <a:gd name="connsiteY100" fmla="*/ 3278981 h 4575969"/>
                  <a:gd name="connsiteX101" fmla="*/ 1976438 w 8971757"/>
                  <a:gd name="connsiteY101" fmla="*/ 3305175 h 4575969"/>
                  <a:gd name="connsiteX102" fmla="*/ 2038350 w 8971757"/>
                  <a:gd name="connsiteY102" fmla="*/ 3529013 h 4575969"/>
                  <a:gd name="connsiteX103" fmla="*/ 2028825 w 8971757"/>
                  <a:gd name="connsiteY103" fmla="*/ 3593306 h 4575969"/>
                  <a:gd name="connsiteX104" fmla="*/ 2164556 w 8971757"/>
                  <a:gd name="connsiteY104" fmla="*/ 3759994 h 4575969"/>
                  <a:gd name="connsiteX105" fmla="*/ 2183606 w 8971757"/>
                  <a:gd name="connsiteY105" fmla="*/ 3810000 h 4575969"/>
                  <a:gd name="connsiteX106" fmla="*/ 2157413 w 8971757"/>
                  <a:gd name="connsiteY106" fmla="*/ 3829050 h 4575969"/>
                  <a:gd name="connsiteX107" fmla="*/ 2259806 w 8971757"/>
                  <a:gd name="connsiteY107" fmla="*/ 3838575 h 4575969"/>
                  <a:gd name="connsiteX108" fmla="*/ 2371725 w 8971757"/>
                  <a:gd name="connsiteY108" fmla="*/ 3826669 h 4575969"/>
                  <a:gd name="connsiteX109" fmla="*/ 2650331 w 8971757"/>
                  <a:gd name="connsiteY109" fmla="*/ 3910012 h 4575969"/>
                  <a:gd name="connsiteX110" fmla="*/ 3057525 w 8971757"/>
                  <a:gd name="connsiteY110" fmla="*/ 3990975 h 4575969"/>
                  <a:gd name="connsiteX111" fmla="*/ 3255169 w 8971757"/>
                  <a:gd name="connsiteY111" fmla="*/ 3960018 h 4575969"/>
                  <a:gd name="connsiteX112" fmla="*/ 3300413 w 8971757"/>
                  <a:gd name="connsiteY112" fmla="*/ 3971924 h 4575969"/>
                  <a:gd name="connsiteX113" fmla="*/ 3355181 w 8971757"/>
                  <a:gd name="connsiteY113" fmla="*/ 3948113 h 4575969"/>
                  <a:gd name="connsiteX114" fmla="*/ 3748087 w 8971757"/>
                  <a:gd name="connsiteY114" fmla="*/ 4038600 h 4575969"/>
                  <a:gd name="connsiteX115" fmla="*/ 3831432 w 8971757"/>
                  <a:gd name="connsiteY115" fmla="*/ 4136231 h 4575969"/>
                  <a:gd name="connsiteX116" fmla="*/ 3950494 w 8971757"/>
                  <a:gd name="connsiteY116" fmla="*/ 4207669 h 4575969"/>
                  <a:gd name="connsiteX117" fmla="*/ 4010025 w 8971757"/>
                  <a:gd name="connsiteY117" fmla="*/ 4191000 h 4575969"/>
                  <a:gd name="connsiteX118" fmla="*/ 4360068 w 8971757"/>
                  <a:gd name="connsiteY118" fmla="*/ 4364831 h 4575969"/>
                  <a:gd name="connsiteX119" fmla="*/ 4586288 w 8971757"/>
                  <a:gd name="connsiteY119" fmla="*/ 4336256 h 4575969"/>
                  <a:gd name="connsiteX120" fmla="*/ 4595813 w 8971757"/>
                  <a:gd name="connsiteY120" fmla="*/ 4414837 h 4575969"/>
                  <a:gd name="connsiteX121" fmla="*/ 4681538 w 8971757"/>
                  <a:gd name="connsiteY121" fmla="*/ 4410074 h 4575969"/>
                  <a:gd name="connsiteX122" fmla="*/ 4760119 w 8971757"/>
                  <a:gd name="connsiteY122" fmla="*/ 4441031 h 4575969"/>
                  <a:gd name="connsiteX123" fmla="*/ 4802981 w 8971757"/>
                  <a:gd name="connsiteY123" fmla="*/ 4381500 h 4575969"/>
                  <a:gd name="connsiteX124" fmla="*/ 5474494 w 8971757"/>
                  <a:gd name="connsiteY124" fmla="*/ 4062412 h 4575969"/>
                  <a:gd name="connsiteX125" fmla="*/ 5562600 w 8971757"/>
                  <a:gd name="connsiteY125" fmla="*/ 4090988 h 4575969"/>
                  <a:gd name="connsiteX126" fmla="*/ 5693569 w 8971757"/>
                  <a:gd name="connsiteY126" fmla="*/ 4062412 h 4575969"/>
                  <a:gd name="connsiteX127" fmla="*/ 5872162 w 8971757"/>
                  <a:gd name="connsiteY127" fmla="*/ 4079081 h 4575969"/>
                  <a:gd name="connsiteX128" fmla="*/ 5929313 w 8971757"/>
                  <a:gd name="connsiteY128" fmla="*/ 4052888 h 4575969"/>
                  <a:gd name="connsiteX129" fmla="*/ 6062662 w 8971757"/>
                  <a:gd name="connsiteY129" fmla="*/ 4050506 h 4575969"/>
                  <a:gd name="connsiteX130" fmla="*/ 6196012 w 8971757"/>
                  <a:gd name="connsiteY130" fmla="*/ 3952875 h 4575969"/>
                  <a:gd name="connsiteX131" fmla="*/ 6262687 w 8971757"/>
                  <a:gd name="connsiteY131" fmla="*/ 3945731 h 4575969"/>
                  <a:gd name="connsiteX132" fmla="*/ 6360319 w 8971757"/>
                  <a:gd name="connsiteY132" fmla="*/ 3871912 h 4575969"/>
                  <a:gd name="connsiteX133" fmla="*/ 6434138 w 8971757"/>
                  <a:gd name="connsiteY133" fmla="*/ 3802856 h 4575969"/>
                  <a:gd name="connsiteX134" fmla="*/ 6443663 w 8971757"/>
                  <a:gd name="connsiteY134" fmla="*/ 3740944 h 4575969"/>
                  <a:gd name="connsiteX135" fmla="*/ 6477000 w 8971757"/>
                  <a:gd name="connsiteY135" fmla="*/ 3671887 h 4575969"/>
                  <a:gd name="connsiteX136" fmla="*/ 6629400 w 8971757"/>
                  <a:gd name="connsiteY136" fmla="*/ 3564731 h 4575969"/>
                  <a:gd name="connsiteX137" fmla="*/ 6662738 w 8971757"/>
                  <a:gd name="connsiteY137" fmla="*/ 3569494 h 4575969"/>
                  <a:gd name="connsiteX138" fmla="*/ 6715125 w 8971757"/>
                  <a:gd name="connsiteY138" fmla="*/ 3490912 h 4575969"/>
                  <a:gd name="connsiteX139" fmla="*/ 6762750 w 8971757"/>
                  <a:gd name="connsiteY139" fmla="*/ 3452812 h 4575969"/>
                  <a:gd name="connsiteX140" fmla="*/ 6748463 w 8971757"/>
                  <a:gd name="connsiteY140" fmla="*/ 3383756 h 4575969"/>
                  <a:gd name="connsiteX141" fmla="*/ 6698456 w 8971757"/>
                  <a:gd name="connsiteY141" fmla="*/ 3352799 h 4575969"/>
                  <a:gd name="connsiteX142" fmla="*/ 6638925 w 8971757"/>
                  <a:gd name="connsiteY142" fmla="*/ 3298031 h 4575969"/>
                  <a:gd name="connsiteX143" fmla="*/ 6619875 w 8971757"/>
                  <a:gd name="connsiteY143" fmla="*/ 3240881 h 4575969"/>
                  <a:gd name="connsiteX144" fmla="*/ 6584156 w 8971757"/>
                  <a:gd name="connsiteY144" fmla="*/ 3207544 h 4575969"/>
                  <a:gd name="connsiteX145" fmla="*/ 6610350 w 8971757"/>
                  <a:gd name="connsiteY145" fmla="*/ 3155156 h 4575969"/>
                  <a:gd name="connsiteX146" fmla="*/ 6650831 w 8971757"/>
                  <a:gd name="connsiteY146" fmla="*/ 2976562 h 4575969"/>
                  <a:gd name="connsiteX147" fmla="*/ 6691313 w 8971757"/>
                  <a:gd name="connsiteY147" fmla="*/ 2909887 h 4575969"/>
                  <a:gd name="connsiteX148" fmla="*/ 6836569 w 8971757"/>
                  <a:gd name="connsiteY148" fmla="*/ 2893218 h 4575969"/>
                  <a:gd name="connsiteX149" fmla="*/ 6905625 w 8971757"/>
                  <a:gd name="connsiteY149" fmla="*/ 2950369 h 4575969"/>
                  <a:gd name="connsiteX150" fmla="*/ 6981825 w 8971757"/>
                  <a:gd name="connsiteY150" fmla="*/ 2974181 h 4575969"/>
                  <a:gd name="connsiteX151" fmla="*/ 7186612 w 8971757"/>
                  <a:gd name="connsiteY151" fmla="*/ 2978944 h 4575969"/>
                  <a:gd name="connsiteX152" fmla="*/ 7362825 w 8971757"/>
                  <a:gd name="connsiteY152" fmla="*/ 2840831 h 4575969"/>
                  <a:gd name="connsiteX153" fmla="*/ 7419975 w 8971757"/>
                  <a:gd name="connsiteY153" fmla="*/ 2750343 h 4575969"/>
                  <a:gd name="connsiteX154" fmla="*/ 7446169 w 8971757"/>
                  <a:gd name="connsiteY154" fmla="*/ 2667000 h 4575969"/>
                  <a:gd name="connsiteX155" fmla="*/ 7577137 w 8971757"/>
                  <a:gd name="connsiteY155" fmla="*/ 2667000 h 4575969"/>
                  <a:gd name="connsiteX156" fmla="*/ 7750969 w 8971757"/>
                  <a:gd name="connsiteY156" fmla="*/ 2609849 h 4575969"/>
                  <a:gd name="connsiteX157" fmla="*/ 7810500 w 8971757"/>
                  <a:gd name="connsiteY157" fmla="*/ 2497931 h 4575969"/>
                  <a:gd name="connsiteX158" fmla="*/ 7874794 w 8971757"/>
                  <a:gd name="connsiteY158" fmla="*/ 2462212 h 4575969"/>
                  <a:gd name="connsiteX159" fmla="*/ 7853363 w 8971757"/>
                  <a:gd name="connsiteY159" fmla="*/ 2416969 h 4575969"/>
                  <a:gd name="connsiteX160" fmla="*/ 7931944 w 8971757"/>
                  <a:gd name="connsiteY160" fmla="*/ 2247899 h 4575969"/>
                  <a:gd name="connsiteX161" fmla="*/ 7986713 w 8971757"/>
                  <a:gd name="connsiteY161" fmla="*/ 2188369 h 4575969"/>
                  <a:gd name="connsiteX162" fmla="*/ 8024813 w 8971757"/>
                  <a:gd name="connsiteY162" fmla="*/ 2183606 h 4575969"/>
                  <a:gd name="connsiteX163" fmla="*/ 8070056 w 8971757"/>
                  <a:gd name="connsiteY163" fmla="*/ 2188369 h 4575969"/>
                  <a:gd name="connsiteX164" fmla="*/ 8134350 w 8971757"/>
                  <a:gd name="connsiteY164" fmla="*/ 2155031 h 4575969"/>
                  <a:gd name="connsiteX165" fmla="*/ 8143875 w 8971757"/>
                  <a:gd name="connsiteY165" fmla="*/ 2090737 h 4575969"/>
                  <a:gd name="connsiteX166" fmla="*/ 8184355 w 8971757"/>
                  <a:gd name="connsiteY166" fmla="*/ 2055019 h 4575969"/>
                  <a:gd name="connsiteX167" fmla="*/ 8243888 w 8971757"/>
                  <a:gd name="connsiteY167" fmla="*/ 2095499 h 4575969"/>
                  <a:gd name="connsiteX168" fmla="*/ 8270082 w 8971757"/>
                  <a:gd name="connsiteY168" fmla="*/ 2045493 h 4575969"/>
                  <a:gd name="connsiteX169" fmla="*/ 8365331 w 8971757"/>
                  <a:gd name="connsiteY169" fmla="*/ 1976437 h 4575969"/>
                  <a:gd name="connsiteX170" fmla="*/ 8427244 w 8971757"/>
                  <a:gd name="connsiteY170" fmla="*/ 1983581 h 4575969"/>
                  <a:gd name="connsiteX171" fmla="*/ 8477250 w 8971757"/>
                  <a:gd name="connsiteY171" fmla="*/ 1964531 h 4575969"/>
                  <a:gd name="connsiteX172" fmla="*/ 8515350 w 8971757"/>
                  <a:gd name="connsiteY172" fmla="*/ 1935956 h 4575969"/>
                  <a:gd name="connsiteX173" fmla="*/ 8548688 w 8971757"/>
                  <a:gd name="connsiteY173" fmla="*/ 1933575 h 4575969"/>
                  <a:gd name="connsiteX174" fmla="*/ 8584406 w 8971757"/>
                  <a:gd name="connsiteY174" fmla="*/ 1964531 h 4575969"/>
                  <a:gd name="connsiteX175" fmla="*/ 8643938 w 8971757"/>
                  <a:gd name="connsiteY175" fmla="*/ 1964531 h 4575969"/>
                  <a:gd name="connsiteX176" fmla="*/ 8682037 w 8971757"/>
                  <a:gd name="connsiteY176" fmla="*/ 1945481 h 4575969"/>
                  <a:gd name="connsiteX177" fmla="*/ 8765381 w 8971757"/>
                  <a:gd name="connsiteY177" fmla="*/ 1947863 h 4575969"/>
                  <a:gd name="connsiteX178" fmla="*/ 8796338 w 8971757"/>
                  <a:gd name="connsiteY178" fmla="*/ 1902619 h 4575969"/>
                  <a:gd name="connsiteX179" fmla="*/ 8801100 w 8971757"/>
                  <a:gd name="connsiteY179" fmla="*/ 1840706 h 4575969"/>
                  <a:gd name="connsiteX180" fmla="*/ 8751093 w 8971757"/>
                  <a:gd name="connsiteY180" fmla="*/ 1800225 h 4575969"/>
                  <a:gd name="connsiteX181" fmla="*/ 8734425 w 8971757"/>
                  <a:gd name="connsiteY181" fmla="*/ 1745456 h 4575969"/>
                  <a:gd name="connsiteX182" fmla="*/ 8643938 w 8971757"/>
                  <a:gd name="connsiteY182" fmla="*/ 1683544 h 4575969"/>
                  <a:gd name="connsiteX183" fmla="*/ 8603456 w 8971757"/>
                  <a:gd name="connsiteY183" fmla="*/ 1662112 h 4575969"/>
                  <a:gd name="connsiteX184" fmla="*/ 8565356 w 8971757"/>
                  <a:gd name="connsiteY184" fmla="*/ 1616869 h 4575969"/>
                  <a:gd name="connsiteX185" fmla="*/ 8534400 w 8971757"/>
                  <a:gd name="connsiteY185" fmla="*/ 1614487 h 4575969"/>
                  <a:gd name="connsiteX186" fmla="*/ 8517731 w 8971757"/>
                  <a:gd name="connsiteY186" fmla="*/ 1562100 h 4575969"/>
                  <a:gd name="connsiteX187" fmla="*/ 8477250 w 8971757"/>
                  <a:gd name="connsiteY187" fmla="*/ 1545431 h 4575969"/>
                  <a:gd name="connsiteX188" fmla="*/ 8477250 w 8971757"/>
                  <a:gd name="connsiteY188" fmla="*/ 1545431 h 4575969"/>
                  <a:gd name="connsiteX189" fmla="*/ 8436769 w 8971757"/>
                  <a:gd name="connsiteY189" fmla="*/ 1550194 h 4575969"/>
                  <a:gd name="connsiteX190" fmla="*/ 8351043 w 8971757"/>
                  <a:gd name="connsiteY190" fmla="*/ 1476375 h 4575969"/>
                  <a:gd name="connsiteX191" fmla="*/ 8170069 w 8971757"/>
                  <a:gd name="connsiteY191" fmla="*/ 1476374 h 4575969"/>
                  <a:gd name="connsiteX192" fmla="*/ 8117681 w 8971757"/>
                  <a:gd name="connsiteY192" fmla="*/ 1514475 h 4575969"/>
                  <a:gd name="connsiteX193" fmla="*/ 8067675 w 8971757"/>
                  <a:gd name="connsiteY193" fmla="*/ 1593056 h 4575969"/>
                  <a:gd name="connsiteX194" fmla="*/ 8084344 w 8971757"/>
                  <a:gd name="connsiteY194" fmla="*/ 1614487 h 4575969"/>
                  <a:gd name="connsiteX195" fmla="*/ 8039100 w 8971757"/>
                  <a:gd name="connsiteY195" fmla="*/ 1664493 h 4575969"/>
                  <a:gd name="connsiteX196" fmla="*/ 7889081 w 8971757"/>
                  <a:gd name="connsiteY196" fmla="*/ 1588293 h 4575969"/>
                  <a:gd name="connsiteX197" fmla="*/ 7798594 w 8971757"/>
                  <a:gd name="connsiteY197" fmla="*/ 1624012 h 4575969"/>
                  <a:gd name="connsiteX198" fmla="*/ 7724775 w 8971757"/>
                  <a:gd name="connsiteY198" fmla="*/ 1621631 h 4575969"/>
                  <a:gd name="connsiteX199" fmla="*/ 7667625 w 8971757"/>
                  <a:gd name="connsiteY199" fmla="*/ 1716881 h 4575969"/>
                  <a:gd name="connsiteX200" fmla="*/ 7529513 w 8971757"/>
                  <a:gd name="connsiteY20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4581525 w 8971757"/>
                  <a:gd name="connsiteY47" fmla="*/ 904875 h 4575969"/>
                  <a:gd name="connsiteX48" fmla="*/ 8412956 w 8971757"/>
                  <a:gd name="connsiteY48" fmla="*/ 23812 h 4575969"/>
                  <a:gd name="connsiteX49" fmla="*/ 8949531 w 8971757"/>
                  <a:gd name="connsiteY49" fmla="*/ 0 h 4575969"/>
                  <a:gd name="connsiteX50" fmla="*/ 8971757 w 8971757"/>
                  <a:gd name="connsiteY50" fmla="*/ 4575969 h 4575969"/>
                  <a:gd name="connsiteX51" fmla="*/ 2381 w 8971757"/>
                  <a:gd name="connsiteY51" fmla="*/ 4547392 h 4575969"/>
                  <a:gd name="connsiteX52" fmla="*/ 0 w 8971757"/>
                  <a:gd name="connsiteY52" fmla="*/ 845344 h 4575969"/>
                  <a:gd name="connsiteX53" fmla="*/ 76200 w 8971757"/>
                  <a:gd name="connsiteY53" fmla="*/ 828675 h 4575969"/>
                  <a:gd name="connsiteX54" fmla="*/ 119063 w 8971757"/>
                  <a:gd name="connsiteY54" fmla="*/ 857250 h 4575969"/>
                  <a:gd name="connsiteX55" fmla="*/ 215900 w 8971757"/>
                  <a:gd name="connsiteY55" fmla="*/ 848519 h 4575969"/>
                  <a:gd name="connsiteX56" fmla="*/ 261938 w 8971757"/>
                  <a:gd name="connsiteY56" fmla="*/ 876299 h 4575969"/>
                  <a:gd name="connsiteX57" fmla="*/ 228600 w 8971757"/>
                  <a:gd name="connsiteY57" fmla="*/ 904875 h 4575969"/>
                  <a:gd name="connsiteX58" fmla="*/ 233363 w 8971757"/>
                  <a:gd name="connsiteY58" fmla="*/ 947737 h 4575969"/>
                  <a:gd name="connsiteX59" fmla="*/ 200025 w 8971757"/>
                  <a:gd name="connsiteY59" fmla="*/ 952500 h 4575969"/>
                  <a:gd name="connsiteX60" fmla="*/ 204788 w 8971757"/>
                  <a:gd name="connsiteY60" fmla="*/ 976312 h 4575969"/>
                  <a:gd name="connsiteX61" fmla="*/ 261937 w 8971757"/>
                  <a:gd name="connsiteY61" fmla="*/ 1050131 h 4575969"/>
                  <a:gd name="connsiteX62" fmla="*/ 223838 w 8971757"/>
                  <a:gd name="connsiteY62" fmla="*/ 1097756 h 4575969"/>
                  <a:gd name="connsiteX63" fmla="*/ 278606 w 8971757"/>
                  <a:gd name="connsiteY63" fmla="*/ 1133475 h 4575969"/>
                  <a:gd name="connsiteX64" fmla="*/ 369094 w 8971757"/>
                  <a:gd name="connsiteY64" fmla="*/ 1221581 h 4575969"/>
                  <a:gd name="connsiteX65" fmla="*/ 371475 w 8971757"/>
                  <a:gd name="connsiteY65" fmla="*/ 1281112 h 4575969"/>
                  <a:gd name="connsiteX66" fmla="*/ 507206 w 8971757"/>
                  <a:gd name="connsiteY66" fmla="*/ 1414463 h 4575969"/>
                  <a:gd name="connsiteX67" fmla="*/ 561975 w 8971757"/>
                  <a:gd name="connsiteY67" fmla="*/ 1390650 h 4575969"/>
                  <a:gd name="connsiteX68" fmla="*/ 600075 w 8971757"/>
                  <a:gd name="connsiteY68" fmla="*/ 1416843 h 4575969"/>
                  <a:gd name="connsiteX69" fmla="*/ 614363 w 8971757"/>
                  <a:gd name="connsiteY69" fmla="*/ 1466849 h 4575969"/>
                  <a:gd name="connsiteX70" fmla="*/ 657225 w 8971757"/>
                  <a:gd name="connsiteY70" fmla="*/ 1502569 h 4575969"/>
                  <a:gd name="connsiteX71" fmla="*/ 697706 w 8971757"/>
                  <a:gd name="connsiteY71" fmla="*/ 1490662 h 4575969"/>
                  <a:gd name="connsiteX72" fmla="*/ 716756 w 8971757"/>
                  <a:gd name="connsiteY72" fmla="*/ 1547812 h 4575969"/>
                  <a:gd name="connsiteX73" fmla="*/ 764381 w 8971757"/>
                  <a:gd name="connsiteY73" fmla="*/ 1590675 h 4575969"/>
                  <a:gd name="connsiteX74" fmla="*/ 788194 w 8971757"/>
                  <a:gd name="connsiteY74" fmla="*/ 1693069 h 4575969"/>
                  <a:gd name="connsiteX75" fmla="*/ 785813 w 8971757"/>
                  <a:gd name="connsiteY75" fmla="*/ 1740694 h 4575969"/>
                  <a:gd name="connsiteX76" fmla="*/ 821531 w 8971757"/>
                  <a:gd name="connsiteY76" fmla="*/ 1840706 h 4575969"/>
                  <a:gd name="connsiteX77" fmla="*/ 866775 w 8971757"/>
                  <a:gd name="connsiteY77" fmla="*/ 1897856 h 4575969"/>
                  <a:gd name="connsiteX78" fmla="*/ 883443 w 8971757"/>
                  <a:gd name="connsiteY78" fmla="*/ 2055018 h 4575969"/>
                  <a:gd name="connsiteX79" fmla="*/ 850106 w 8971757"/>
                  <a:gd name="connsiteY79" fmla="*/ 2116931 h 4575969"/>
                  <a:gd name="connsiteX80" fmla="*/ 819150 w 8971757"/>
                  <a:gd name="connsiteY80" fmla="*/ 2193131 h 4575969"/>
                  <a:gd name="connsiteX81" fmla="*/ 833438 w 8971757"/>
                  <a:gd name="connsiteY81" fmla="*/ 2250281 h 4575969"/>
                  <a:gd name="connsiteX82" fmla="*/ 735806 w 8971757"/>
                  <a:gd name="connsiteY82" fmla="*/ 2357438 h 4575969"/>
                  <a:gd name="connsiteX83" fmla="*/ 692944 w 8971757"/>
                  <a:gd name="connsiteY83" fmla="*/ 2471737 h 4575969"/>
                  <a:gd name="connsiteX84" fmla="*/ 726281 w 8971757"/>
                  <a:gd name="connsiteY84" fmla="*/ 2512219 h 4575969"/>
                  <a:gd name="connsiteX85" fmla="*/ 709613 w 8971757"/>
                  <a:gd name="connsiteY85" fmla="*/ 2540794 h 4575969"/>
                  <a:gd name="connsiteX86" fmla="*/ 740569 w 8971757"/>
                  <a:gd name="connsiteY86" fmla="*/ 2597944 h 4575969"/>
                  <a:gd name="connsiteX87" fmla="*/ 769144 w 8971757"/>
                  <a:gd name="connsiteY87" fmla="*/ 2597944 h 4575969"/>
                  <a:gd name="connsiteX88" fmla="*/ 931069 w 8971757"/>
                  <a:gd name="connsiteY88" fmla="*/ 2700337 h 4575969"/>
                  <a:gd name="connsiteX89" fmla="*/ 1035844 w 8971757"/>
                  <a:gd name="connsiteY89" fmla="*/ 2697956 h 4575969"/>
                  <a:gd name="connsiteX90" fmla="*/ 1114425 w 8971757"/>
                  <a:gd name="connsiteY90" fmla="*/ 2752725 h 4575969"/>
                  <a:gd name="connsiteX91" fmla="*/ 1245393 w 8971757"/>
                  <a:gd name="connsiteY91" fmla="*/ 2755106 h 4575969"/>
                  <a:gd name="connsiteX92" fmla="*/ 1435893 w 8971757"/>
                  <a:gd name="connsiteY92" fmla="*/ 2824162 h 4575969"/>
                  <a:gd name="connsiteX93" fmla="*/ 1638300 w 8971757"/>
                  <a:gd name="connsiteY93" fmla="*/ 2974181 h 4575969"/>
                  <a:gd name="connsiteX94" fmla="*/ 1671637 w 8971757"/>
                  <a:gd name="connsiteY94" fmla="*/ 3040856 h 4575969"/>
                  <a:gd name="connsiteX95" fmla="*/ 1838325 w 8971757"/>
                  <a:gd name="connsiteY95" fmla="*/ 3167062 h 4575969"/>
                  <a:gd name="connsiteX96" fmla="*/ 1909763 w 8971757"/>
                  <a:gd name="connsiteY96" fmla="*/ 3162300 h 4575969"/>
                  <a:gd name="connsiteX97" fmla="*/ 1945482 w 8971757"/>
                  <a:gd name="connsiteY97" fmla="*/ 3186112 h 4575969"/>
                  <a:gd name="connsiteX98" fmla="*/ 1916906 w 8971757"/>
                  <a:gd name="connsiteY98" fmla="*/ 3226594 h 4575969"/>
                  <a:gd name="connsiteX99" fmla="*/ 1924050 w 8971757"/>
                  <a:gd name="connsiteY99" fmla="*/ 3278981 h 4575969"/>
                  <a:gd name="connsiteX100" fmla="*/ 1976438 w 8971757"/>
                  <a:gd name="connsiteY100" fmla="*/ 3305175 h 4575969"/>
                  <a:gd name="connsiteX101" fmla="*/ 2038350 w 8971757"/>
                  <a:gd name="connsiteY101" fmla="*/ 3529013 h 4575969"/>
                  <a:gd name="connsiteX102" fmla="*/ 2028825 w 8971757"/>
                  <a:gd name="connsiteY102" fmla="*/ 3593306 h 4575969"/>
                  <a:gd name="connsiteX103" fmla="*/ 2164556 w 8971757"/>
                  <a:gd name="connsiteY103" fmla="*/ 3759994 h 4575969"/>
                  <a:gd name="connsiteX104" fmla="*/ 2183606 w 8971757"/>
                  <a:gd name="connsiteY104" fmla="*/ 3810000 h 4575969"/>
                  <a:gd name="connsiteX105" fmla="*/ 2157413 w 8971757"/>
                  <a:gd name="connsiteY105" fmla="*/ 3829050 h 4575969"/>
                  <a:gd name="connsiteX106" fmla="*/ 2259806 w 8971757"/>
                  <a:gd name="connsiteY106" fmla="*/ 3838575 h 4575969"/>
                  <a:gd name="connsiteX107" fmla="*/ 2371725 w 8971757"/>
                  <a:gd name="connsiteY107" fmla="*/ 3826669 h 4575969"/>
                  <a:gd name="connsiteX108" fmla="*/ 2650331 w 8971757"/>
                  <a:gd name="connsiteY108" fmla="*/ 3910012 h 4575969"/>
                  <a:gd name="connsiteX109" fmla="*/ 3057525 w 8971757"/>
                  <a:gd name="connsiteY109" fmla="*/ 3990975 h 4575969"/>
                  <a:gd name="connsiteX110" fmla="*/ 3255169 w 8971757"/>
                  <a:gd name="connsiteY110" fmla="*/ 3960018 h 4575969"/>
                  <a:gd name="connsiteX111" fmla="*/ 3300413 w 8971757"/>
                  <a:gd name="connsiteY111" fmla="*/ 3971924 h 4575969"/>
                  <a:gd name="connsiteX112" fmla="*/ 3355181 w 8971757"/>
                  <a:gd name="connsiteY112" fmla="*/ 3948113 h 4575969"/>
                  <a:gd name="connsiteX113" fmla="*/ 3748087 w 8971757"/>
                  <a:gd name="connsiteY113" fmla="*/ 4038600 h 4575969"/>
                  <a:gd name="connsiteX114" fmla="*/ 3831432 w 8971757"/>
                  <a:gd name="connsiteY114" fmla="*/ 4136231 h 4575969"/>
                  <a:gd name="connsiteX115" fmla="*/ 3950494 w 8971757"/>
                  <a:gd name="connsiteY115" fmla="*/ 4207669 h 4575969"/>
                  <a:gd name="connsiteX116" fmla="*/ 4010025 w 8971757"/>
                  <a:gd name="connsiteY116" fmla="*/ 4191000 h 4575969"/>
                  <a:gd name="connsiteX117" fmla="*/ 4360068 w 8971757"/>
                  <a:gd name="connsiteY117" fmla="*/ 4364831 h 4575969"/>
                  <a:gd name="connsiteX118" fmla="*/ 4586288 w 8971757"/>
                  <a:gd name="connsiteY118" fmla="*/ 4336256 h 4575969"/>
                  <a:gd name="connsiteX119" fmla="*/ 4595813 w 8971757"/>
                  <a:gd name="connsiteY119" fmla="*/ 4414837 h 4575969"/>
                  <a:gd name="connsiteX120" fmla="*/ 4681538 w 8971757"/>
                  <a:gd name="connsiteY120" fmla="*/ 4410074 h 4575969"/>
                  <a:gd name="connsiteX121" fmla="*/ 4760119 w 8971757"/>
                  <a:gd name="connsiteY121" fmla="*/ 4441031 h 4575969"/>
                  <a:gd name="connsiteX122" fmla="*/ 4802981 w 8971757"/>
                  <a:gd name="connsiteY122" fmla="*/ 4381500 h 4575969"/>
                  <a:gd name="connsiteX123" fmla="*/ 5474494 w 8971757"/>
                  <a:gd name="connsiteY123" fmla="*/ 4062412 h 4575969"/>
                  <a:gd name="connsiteX124" fmla="*/ 5562600 w 8971757"/>
                  <a:gd name="connsiteY124" fmla="*/ 4090988 h 4575969"/>
                  <a:gd name="connsiteX125" fmla="*/ 5693569 w 8971757"/>
                  <a:gd name="connsiteY125" fmla="*/ 4062412 h 4575969"/>
                  <a:gd name="connsiteX126" fmla="*/ 5872162 w 8971757"/>
                  <a:gd name="connsiteY126" fmla="*/ 4079081 h 4575969"/>
                  <a:gd name="connsiteX127" fmla="*/ 5929313 w 8971757"/>
                  <a:gd name="connsiteY127" fmla="*/ 4052888 h 4575969"/>
                  <a:gd name="connsiteX128" fmla="*/ 6062662 w 8971757"/>
                  <a:gd name="connsiteY128" fmla="*/ 4050506 h 4575969"/>
                  <a:gd name="connsiteX129" fmla="*/ 6196012 w 8971757"/>
                  <a:gd name="connsiteY129" fmla="*/ 3952875 h 4575969"/>
                  <a:gd name="connsiteX130" fmla="*/ 6262687 w 8971757"/>
                  <a:gd name="connsiteY130" fmla="*/ 3945731 h 4575969"/>
                  <a:gd name="connsiteX131" fmla="*/ 6360319 w 8971757"/>
                  <a:gd name="connsiteY131" fmla="*/ 3871912 h 4575969"/>
                  <a:gd name="connsiteX132" fmla="*/ 6434138 w 8971757"/>
                  <a:gd name="connsiteY132" fmla="*/ 3802856 h 4575969"/>
                  <a:gd name="connsiteX133" fmla="*/ 6443663 w 8971757"/>
                  <a:gd name="connsiteY133" fmla="*/ 3740944 h 4575969"/>
                  <a:gd name="connsiteX134" fmla="*/ 6477000 w 8971757"/>
                  <a:gd name="connsiteY134" fmla="*/ 3671887 h 4575969"/>
                  <a:gd name="connsiteX135" fmla="*/ 6629400 w 8971757"/>
                  <a:gd name="connsiteY135" fmla="*/ 3564731 h 4575969"/>
                  <a:gd name="connsiteX136" fmla="*/ 6662738 w 8971757"/>
                  <a:gd name="connsiteY136" fmla="*/ 3569494 h 4575969"/>
                  <a:gd name="connsiteX137" fmla="*/ 6715125 w 8971757"/>
                  <a:gd name="connsiteY137" fmla="*/ 3490912 h 4575969"/>
                  <a:gd name="connsiteX138" fmla="*/ 6762750 w 8971757"/>
                  <a:gd name="connsiteY138" fmla="*/ 3452812 h 4575969"/>
                  <a:gd name="connsiteX139" fmla="*/ 6748463 w 8971757"/>
                  <a:gd name="connsiteY139" fmla="*/ 3383756 h 4575969"/>
                  <a:gd name="connsiteX140" fmla="*/ 6698456 w 8971757"/>
                  <a:gd name="connsiteY140" fmla="*/ 3352799 h 4575969"/>
                  <a:gd name="connsiteX141" fmla="*/ 6638925 w 8971757"/>
                  <a:gd name="connsiteY141" fmla="*/ 3298031 h 4575969"/>
                  <a:gd name="connsiteX142" fmla="*/ 6619875 w 8971757"/>
                  <a:gd name="connsiteY142" fmla="*/ 3240881 h 4575969"/>
                  <a:gd name="connsiteX143" fmla="*/ 6584156 w 8971757"/>
                  <a:gd name="connsiteY143" fmla="*/ 3207544 h 4575969"/>
                  <a:gd name="connsiteX144" fmla="*/ 6610350 w 8971757"/>
                  <a:gd name="connsiteY144" fmla="*/ 3155156 h 4575969"/>
                  <a:gd name="connsiteX145" fmla="*/ 6650831 w 8971757"/>
                  <a:gd name="connsiteY145" fmla="*/ 2976562 h 4575969"/>
                  <a:gd name="connsiteX146" fmla="*/ 6691313 w 8971757"/>
                  <a:gd name="connsiteY146" fmla="*/ 2909887 h 4575969"/>
                  <a:gd name="connsiteX147" fmla="*/ 6836569 w 8971757"/>
                  <a:gd name="connsiteY147" fmla="*/ 2893218 h 4575969"/>
                  <a:gd name="connsiteX148" fmla="*/ 6905625 w 8971757"/>
                  <a:gd name="connsiteY148" fmla="*/ 2950369 h 4575969"/>
                  <a:gd name="connsiteX149" fmla="*/ 6981825 w 8971757"/>
                  <a:gd name="connsiteY149" fmla="*/ 2974181 h 4575969"/>
                  <a:gd name="connsiteX150" fmla="*/ 7186612 w 8971757"/>
                  <a:gd name="connsiteY150" fmla="*/ 2978944 h 4575969"/>
                  <a:gd name="connsiteX151" fmla="*/ 7362825 w 8971757"/>
                  <a:gd name="connsiteY151" fmla="*/ 2840831 h 4575969"/>
                  <a:gd name="connsiteX152" fmla="*/ 7419975 w 8971757"/>
                  <a:gd name="connsiteY152" fmla="*/ 2750343 h 4575969"/>
                  <a:gd name="connsiteX153" fmla="*/ 7446169 w 8971757"/>
                  <a:gd name="connsiteY153" fmla="*/ 2667000 h 4575969"/>
                  <a:gd name="connsiteX154" fmla="*/ 7577137 w 8971757"/>
                  <a:gd name="connsiteY154" fmla="*/ 2667000 h 4575969"/>
                  <a:gd name="connsiteX155" fmla="*/ 7750969 w 8971757"/>
                  <a:gd name="connsiteY155" fmla="*/ 2609849 h 4575969"/>
                  <a:gd name="connsiteX156" fmla="*/ 7810500 w 8971757"/>
                  <a:gd name="connsiteY156" fmla="*/ 2497931 h 4575969"/>
                  <a:gd name="connsiteX157" fmla="*/ 7874794 w 8971757"/>
                  <a:gd name="connsiteY157" fmla="*/ 2462212 h 4575969"/>
                  <a:gd name="connsiteX158" fmla="*/ 7853363 w 8971757"/>
                  <a:gd name="connsiteY158" fmla="*/ 2416969 h 4575969"/>
                  <a:gd name="connsiteX159" fmla="*/ 7931944 w 8971757"/>
                  <a:gd name="connsiteY159" fmla="*/ 2247899 h 4575969"/>
                  <a:gd name="connsiteX160" fmla="*/ 7986713 w 8971757"/>
                  <a:gd name="connsiteY160" fmla="*/ 2188369 h 4575969"/>
                  <a:gd name="connsiteX161" fmla="*/ 8024813 w 8971757"/>
                  <a:gd name="connsiteY161" fmla="*/ 2183606 h 4575969"/>
                  <a:gd name="connsiteX162" fmla="*/ 8070056 w 8971757"/>
                  <a:gd name="connsiteY162" fmla="*/ 2188369 h 4575969"/>
                  <a:gd name="connsiteX163" fmla="*/ 8134350 w 8971757"/>
                  <a:gd name="connsiteY163" fmla="*/ 2155031 h 4575969"/>
                  <a:gd name="connsiteX164" fmla="*/ 8143875 w 8971757"/>
                  <a:gd name="connsiteY164" fmla="*/ 2090737 h 4575969"/>
                  <a:gd name="connsiteX165" fmla="*/ 8184355 w 8971757"/>
                  <a:gd name="connsiteY165" fmla="*/ 2055019 h 4575969"/>
                  <a:gd name="connsiteX166" fmla="*/ 8243888 w 8971757"/>
                  <a:gd name="connsiteY166" fmla="*/ 2095499 h 4575969"/>
                  <a:gd name="connsiteX167" fmla="*/ 8270082 w 8971757"/>
                  <a:gd name="connsiteY167" fmla="*/ 2045493 h 4575969"/>
                  <a:gd name="connsiteX168" fmla="*/ 8365331 w 8971757"/>
                  <a:gd name="connsiteY168" fmla="*/ 1976437 h 4575969"/>
                  <a:gd name="connsiteX169" fmla="*/ 8427244 w 8971757"/>
                  <a:gd name="connsiteY169" fmla="*/ 1983581 h 4575969"/>
                  <a:gd name="connsiteX170" fmla="*/ 8477250 w 8971757"/>
                  <a:gd name="connsiteY170" fmla="*/ 1964531 h 4575969"/>
                  <a:gd name="connsiteX171" fmla="*/ 8515350 w 8971757"/>
                  <a:gd name="connsiteY171" fmla="*/ 1935956 h 4575969"/>
                  <a:gd name="connsiteX172" fmla="*/ 8548688 w 8971757"/>
                  <a:gd name="connsiteY172" fmla="*/ 1933575 h 4575969"/>
                  <a:gd name="connsiteX173" fmla="*/ 8584406 w 8971757"/>
                  <a:gd name="connsiteY173" fmla="*/ 1964531 h 4575969"/>
                  <a:gd name="connsiteX174" fmla="*/ 8643938 w 8971757"/>
                  <a:gd name="connsiteY174" fmla="*/ 1964531 h 4575969"/>
                  <a:gd name="connsiteX175" fmla="*/ 8682037 w 8971757"/>
                  <a:gd name="connsiteY175" fmla="*/ 1945481 h 4575969"/>
                  <a:gd name="connsiteX176" fmla="*/ 8765381 w 8971757"/>
                  <a:gd name="connsiteY176" fmla="*/ 1947863 h 4575969"/>
                  <a:gd name="connsiteX177" fmla="*/ 8796338 w 8971757"/>
                  <a:gd name="connsiteY177" fmla="*/ 1902619 h 4575969"/>
                  <a:gd name="connsiteX178" fmla="*/ 8801100 w 8971757"/>
                  <a:gd name="connsiteY178" fmla="*/ 1840706 h 4575969"/>
                  <a:gd name="connsiteX179" fmla="*/ 8751093 w 8971757"/>
                  <a:gd name="connsiteY179" fmla="*/ 1800225 h 4575969"/>
                  <a:gd name="connsiteX180" fmla="*/ 8734425 w 8971757"/>
                  <a:gd name="connsiteY180" fmla="*/ 1745456 h 4575969"/>
                  <a:gd name="connsiteX181" fmla="*/ 8643938 w 8971757"/>
                  <a:gd name="connsiteY181" fmla="*/ 1683544 h 4575969"/>
                  <a:gd name="connsiteX182" fmla="*/ 8603456 w 8971757"/>
                  <a:gd name="connsiteY182" fmla="*/ 1662112 h 4575969"/>
                  <a:gd name="connsiteX183" fmla="*/ 8565356 w 8971757"/>
                  <a:gd name="connsiteY183" fmla="*/ 1616869 h 4575969"/>
                  <a:gd name="connsiteX184" fmla="*/ 8534400 w 8971757"/>
                  <a:gd name="connsiteY184" fmla="*/ 1614487 h 4575969"/>
                  <a:gd name="connsiteX185" fmla="*/ 8517731 w 8971757"/>
                  <a:gd name="connsiteY185" fmla="*/ 1562100 h 4575969"/>
                  <a:gd name="connsiteX186" fmla="*/ 8477250 w 8971757"/>
                  <a:gd name="connsiteY186" fmla="*/ 1545431 h 4575969"/>
                  <a:gd name="connsiteX187" fmla="*/ 8477250 w 8971757"/>
                  <a:gd name="connsiteY187" fmla="*/ 1545431 h 4575969"/>
                  <a:gd name="connsiteX188" fmla="*/ 8436769 w 8971757"/>
                  <a:gd name="connsiteY188" fmla="*/ 1550194 h 4575969"/>
                  <a:gd name="connsiteX189" fmla="*/ 8351043 w 8971757"/>
                  <a:gd name="connsiteY189" fmla="*/ 1476375 h 4575969"/>
                  <a:gd name="connsiteX190" fmla="*/ 8170069 w 8971757"/>
                  <a:gd name="connsiteY190" fmla="*/ 1476374 h 4575969"/>
                  <a:gd name="connsiteX191" fmla="*/ 8117681 w 8971757"/>
                  <a:gd name="connsiteY191" fmla="*/ 1514475 h 4575969"/>
                  <a:gd name="connsiteX192" fmla="*/ 8067675 w 8971757"/>
                  <a:gd name="connsiteY192" fmla="*/ 1593056 h 4575969"/>
                  <a:gd name="connsiteX193" fmla="*/ 8084344 w 8971757"/>
                  <a:gd name="connsiteY193" fmla="*/ 1614487 h 4575969"/>
                  <a:gd name="connsiteX194" fmla="*/ 8039100 w 8971757"/>
                  <a:gd name="connsiteY194" fmla="*/ 1664493 h 4575969"/>
                  <a:gd name="connsiteX195" fmla="*/ 7889081 w 8971757"/>
                  <a:gd name="connsiteY195" fmla="*/ 1588293 h 4575969"/>
                  <a:gd name="connsiteX196" fmla="*/ 7798594 w 8971757"/>
                  <a:gd name="connsiteY196" fmla="*/ 1624012 h 4575969"/>
                  <a:gd name="connsiteX197" fmla="*/ 7724775 w 8971757"/>
                  <a:gd name="connsiteY197" fmla="*/ 1621631 h 4575969"/>
                  <a:gd name="connsiteX198" fmla="*/ 7667625 w 8971757"/>
                  <a:gd name="connsiteY198" fmla="*/ 1716881 h 4575969"/>
                  <a:gd name="connsiteX199" fmla="*/ 7529513 w 8971757"/>
                  <a:gd name="connsiteY19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4719638 w 8971757"/>
                  <a:gd name="connsiteY46" fmla="*/ 881062 h 4575969"/>
                  <a:gd name="connsiteX47" fmla="*/ 8412956 w 8971757"/>
                  <a:gd name="connsiteY47" fmla="*/ 23812 h 4575969"/>
                  <a:gd name="connsiteX48" fmla="*/ 8949531 w 8971757"/>
                  <a:gd name="connsiteY48" fmla="*/ 0 h 4575969"/>
                  <a:gd name="connsiteX49" fmla="*/ 8971757 w 8971757"/>
                  <a:gd name="connsiteY49" fmla="*/ 4575969 h 4575969"/>
                  <a:gd name="connsiteX50" fmla="*/ 2381 w 8971757"/>
                  <a:gd name="connsiteY50" fmla="*/ 4547392 h 4575969"/>
                  <a:gd name="connsiteX51" fmla="*/ 0 w 8971757"/>
                  <a:gd name="connsiteY51" fmla="*/ 845344 h 4575969"/>
                  <a:gd name="connsiteX52" fmla="*/ 76200 w 8971757"/>
                  <a:gd name="connsiteY52" fmla="*/ 828675 h 4575969"/>
                  <a:gd name="connsiteX53" fmla="*/ 119063 w 8971757"/>
                  <a:gd name="connsiteY53" fmla="*/ 857250 h 4575969"/>
                  <a:gd name="connsiteX54" fmla="*/ 215900 w 8971757"/>
                  <a:gd name="connsiteY54" fmla="*/ 848519 h 4575969"/>
                  <a:gd name="connsiteX55" fmla="*/ 261938 w 8971757"/>
                  <a:gd name="connsiteY55" fmla="*/ 876299 h 4575969"/>
                  <a:gd name="connsiteX56" fmla="*/ 228600 w 8971757"/>
                  <a:gd name="connsiteY56" fmla="*/ 904875 h 4575969"/>
                  <a:gd name="connsiteX57" fmla="*/ 233363 w 8971757"/>
                  <a:gd name="connsiteY57" fmla="*/ 947737 h 4575969"/>
                  <a:gd name="connsiteX58" fmla="*/ 200025 w 8971757"/>
                  <a:gd name="connsiteY58" fmla="*/ 952500 h 4575969"/>
                  <a:gd name="connsiteX59" fmla="*/ 204788 w 8971757"/>
                  <a:gd name="connsiteY59" fmla="*/ 976312 h 4575969"/>
                  <a:gd name="connsiteX60" fmla="*/ 261937 w 8971757"/>
                  <a:gd name="connsiteY60" fmla="*/ 1050131 h 4575969"/>
                  <a:gd name="connsiteX61" fmla="*/ 223838 w 8971757"/>
                  <a:gd name="connsiteY61" fmla="*/ 1097756 h 4575969"/>
                  <a:gd name="connsiteX62" fmla="*/ 278606 w 8971757"/>
                  <a:gd name="connsiteY62" fmla="*/ 1133475 h 4575969"/>
                  <a:gd name="connsiteX63" fmla="*/ 369094 w 8971757"/>
                  <a:gd name="connsiteY63" fmla="*/ 1221581 h 4575969"/>
                  <a:gd name="connsiteX64" fmla="*/ 371475 w 8971757"/>
                  <a:gd name="connsiteY64" fmla="*/ 1281112 h 4575969"/>
                  <a:gd name="connsiteX65" fmla="*/ 507206 w 8971757"/>
                  <a:gd name="connsiteY65" fmla="*/ 1414463 h 4575969"/>
                  <a:gd name="connsiteX66" fmla="*/ 561975 w 8971757"/>
                  <a:gd name="connsiteY66" fmla="*/ 1390650 h 4575969"/>
                  <a:gd name="connsiteX67" fmla="*/ 600075 w 8971757"/>
                  <a:gd name="connsiteY67" fmla="*/ 1416843 h 4575969"/>
                  <a:gd name="connsiteX68" fmla="*/ 614363 w 8971757"/>
                  <a:gd name="connsiteY68" fmla="*/ 1466849 h 4575969"/>
                  <a:gd name="connsiteX69" fmla="*/ 657225 w 8971757"/>
                  <a:gd name="connsiteY69" fmla="*/ 1502569 h 4575969"/>
                  <a:gd name="connsiteX70" fmla="*/ 697706 w 8971757"/>
                  <a:gd name="connsiteY70" fmla="*/ 1490662 h 4575969"/>
                  <a:gd name="connsiteX71" fmla="*/ 716756 w 8971757"/>
                  <a:gd name="connsiteY71" fmla="*/ 1547812 h 4575969"/>
                  <a:gd name="connsiteX72" fmla="*/ 764381 w 8971757"/>
                  <a:gd name="connsiteY72" fmla="*/ 1590675 h 4575969"/>
                  <a:gd name="connsiteX73" fmla="*/ 788194 w 8971757"/>
                  <a:gd name="connsiteY73" fmla="*/ 1693069 h 4575969"/>
                  <a:gd name="connsiteX74" fmla="*/ 785813 w 8971757"/>
                  <a:gd name="connsiteY74" fmla="*/ 1740694 h 4575969"/>
                  <a:gd name="connsiteX75" fmla="*/ 821531 w 8971757"/>
                  <a:gd name="connsiteY75" fmla="*/ 1840706 h 4575969"/>
                  <a:gd name="connsiteX76" fmla="*/ 866775 w 8971757"/>
                  <a:gd name="connsiteY76" fmla="*/ 1897856 h 4575969"/>
                  <a:gd name="connsiteX77" fmla="*/ 883443 w 8971757"/>
                  <a:gd name="connsiteY77" fmla="*/ 2055018 h 4575969"/>
                  <a:gd name="connsiteX78" fmla="*/ 850106 w 8971757"/>
                  <a:gd name="connsiteY78" fmla="*/ 2116931 h 4575969"/>
                  <a:gd name="connsiteX79" fmla="*/ 819150 w 8971757"/>
                  <a:gd name="connsiteY79" fmla="*/ 2193131 h 4575969"/>
                  <a:gd name="connsiteX80" fmla="*/ 833438 w 8971757"/>
                  <a:gd name="connsiteY80" fmla="*/ 2250281 h 4575969"/>
                  <a:gd name="connsiteX81" fmla="*/ 735806 w 8971757"/>
                  <a:gd name="connsiteY81" fmla="*/ 2357438 h 4575969"/>
                  <a:gd name="connsiteX82" fmla="*/ 692944 w 8971757"/>
                  <a:gd name="connsiteY82" fmla="*/ 2471737 h 4575969"/>
                  <a:gd name="connsiteX83" fmla="*/ 726281 w 8971757"/>
                  <a:gd name="connsiteY83" fmla="*/ 2512219 h 4575969"/>
                  <a:gd name="connsiteX84" fmla="*/ 709613 w 8971757"/>
                  <a:gd name="connsiteY84" fmla="*/ 2540794 h 4575969"/>
                  <a:gd name="connsiteX85" fmla="*/ 740569 w 8971757"/>
                  <a:gd name="connsiteY85" fmla="*/ 2597944 h 4575969"/>
                  <a:gd name="connsiteX86" fmla="*/ 769144 w 8971757"/>
                  <a:gd name="connsiteY86" fmla="*/ 2597944 h 4575969"/>
                  <a:gd name="connsiteX87" fmla="*/ 931069 w 8971757"/>
                  <a:gd name="connsiteY87" fmla="*/ 2700337 h 4575969"/>
                  <a:gd name="connsiteX88" fmla="*/ 1035844 w 8971757"/>
                  <a:gd name="connsiteY88" fmla="*/ 2697956 h 4575969"/>
                  <a:gd name="connsiteX89" fmla="*/ 1114425 w 8971757"/>
                  <a:gd name="connsiteY89" fmla="*/ 2752725 h 4575969"/>
                  <a:gd name="connsiteX90" fmla="*/ 1245393 w 8971757"/>
                  <a:gd name="connsiteY90" fmla="*/ 2755106 h 4575969"/>
                  <a:gd name="connsiteX91" fmla="*/ 1435893 w 8971757"/>
                  <a:gd name="connsiteY91" fmla="*/ 2824162 h 4575969"/>
                  <a:gd name="connsiteX92" fmla="*/ 1638300 w 8971757"/>
                  <a:gd name="connsiteY92" fmla="*/ 2974181 h 4575969"/>
                  <a:gd name="connsiteX93" fmla="*/ 1671637 w 8971757"/>
                  <a:gd name="connsiteY93" fmla="*/ 3040856 h 4575969"/>
                  <a:gd name="connsiteX94" fmla="*/ 1838325 w 8971757"/>
                  <a:gd name="connsiteY94" fmla="*/ 3167062 h 4575969"/>
                  <a:gd name="connsiteX95" fmla="*/ 1909763 w 8971757"/>
                  <a:gd name="connsiteY95" fmla="*/ 3162300 h 4575969"/>
                  <a:gd name="connsiteX96" fmla="*/ 1945482 w 8971757"/>
                  <a:gd name="connsiteY96" fmla="*/ 3186112 h 4575969"/>
                  <a:gd name="connsiteX97" fmla="*/ 1916906 w 8971757"/>
                  <a:gd name="connsiteY97" fmla="*/ 3226594 h 4575969"/>
                  <a:gd name="connsiteX98" fmla="*/ 1924050 w 8971757"/>
                  <a:gd name="connsiteY98" fmla="*/ 3278981 h 4575969"/>
                  <a:gd name="connsiteX99" fmla="*/ 1976438 w 8971757"/>
                  <a:gd name="connsiteY99" fmla="*/ 3305175 h 4575969"/>
                  <a:gd name="connsiteX100" fmla="*/ 2038350 w 8971757"/>
                  <a:gd name="connsiteY100" fmla="*/ 3529013 h 4575969"/>
                  <a:gd name="connsiteX101" fmla="*/ 2028825 w 8971757"/>
                  <a:gd name="connsiteY101" fmla="*/ 3593306 h 4575969"/>
                  <a:gd name="connsiteX102" fmla="*/ 2164556 w 8971757"/>
                  <a:gd name="connsiteY102" fmla="*/ 3759994 h 4575969"/>
                  <a:gd name="connsiteX103" fmla="*/ 2183606 w 8971757"/>
                  <a:gd name="connsiteY103" fmla="*/ 3810000 h 4575969"/>
                  <a:gd name="connsiteX104" fmla="*/ 2157413 w 8971757"/>
                  <a:gd name="connsiteY104" fmla="*/ 3829050 h 4575969"/>
                  <a:gd name="connsiteX105" fmla="*/ 2259806 w 8971757"/>
                  <a:gd name="connsiteY105" fmla="*/ 3838575 h 4575969"/>
                  <a:gd name="connsiteX106" fmla="*/ 2371725 w 8971757"/>
                  <a:gd name="connsiteY106" fmla="*/ 3826669 h 4575969"/>
                  <a:gd name="connsiteX107" fmla="*/ 2650331 w 8971757"/>
                  <a:gd name="connsiteY107" fmla="*/ 3910012 h 4575969"/>
                  <a:gd name="connsiteX108" fmla="*/ 3057525 w 8971757"/>
                  <a:gd name="connsiteY108" fmla="*/ 3990975 h 4575969"/>
                  <a:gd name="connsiteX109" fmla="*/ 3255169 w 8971757"/>
                  <a:gd name="connsiteY109" fmla="*/ 3960018 h 4575969"/>
                  <a:gd name="connsiteX110" fmla="*/ 3300413 w 8971757"/>
                  <a:gd name="connsiteY110" fmla="*/ 3971924 h 4575969"/>
                  <a:gd name="connsiteX111" fmla="*/ 3355181 w 8971757"/>
                  <a:gd name="connsiteY111" fmla="*/ 3948113 h 4575969"/>
                  <a:gd name="connsiteX112" fmla="*/ 3748087 w 8971757"/>
                  <a:gd name="connsiteY112" fmla="*/ 4038600 h 4575969"/>
                  <a:gd name="connsiteX113" fmla="*/ 3831432 w 8971757"/>
                  <a:gd name="connsiteY113" fmla="*/ 4136231 h 4575969"/>
                  <a:gd name="connsiteX114" fmla="*/ 3950494 w 8971757"/>
                  <a:gd name="connsiteY114" fmla="*/ 4207669 h 4575969"/>
                  <a:gd name="connsiteX115" fmla="*/ 4010025 w 8971757"/>
                  <a:gd name="connsiteY115" fmla="*/ 4191000 h 4575969"/>
                  <a:gd name="connsiteX116" fmla="*/ 4360068 w 8971757"/>
                  <a:gd name="connsiteY116" fmla="*/ 4364831 h 4575969"/>
                  <a:gd name="connsiteX117" fmla="*/ 4586288 w 8971757"/>
                  <a:gd name="connsiteY117" fmla="*/ 4336256 h 4575969"/>
                  <a:gd name="connsiteX118" fmla="*/ 4595813 w 8971757"/>
                  <a:gd name="connsiteY118" fmla="*/ 4414837 h 4575969"/>
                  <a:gd name="connsiteX119" fmla="*/ 4681538 w 8971757"/>
                  <a:gd name="connsiteY119" fmla="*/ 4410074 h 4575969"/>
                  <a:gd name="connsiteX120" fmla="*/ 4760119 w 8971757"/>
                  <a:gd name="connsiteY120" fmla="*/ 4441031 h 4575969"/>
                  <a:gd name="connsiteX121" fmla="*/ 4802981 w 8971757"/>
                  <a:gd name="connsiteY121" fmla="*/ 4381500 h 4575969"/>
                  <a:gd name="connsiteX122" fmla="*/ 5474494 w 8971757"/>
                  <a:gd name="connsiteY122" fmla="*/ 4062412 h 4575969"/>
                  <a:gd name="connsiteX123" fmla="*/ 5562600 w 8971757"/>
                  <a:gd name="connsiteY123" fmla="*/ 4090988 h 4575969"/>
                  <a:gd name="connsiteX124" fmla="*/ 5693569 w 8971757"/>
                  <a:gd name="connsiteY124" fmla="*/ 4062412 h 4575969"/>
                  <a:gd name="connsiteX125" fmla="*/ 5872162 w 8971757"/>
                  <a:gd name="connsiteY125" fmla="*/ 4079081 h 4575969"/>
                  <a:gd name="connsiteX126" fmla="*/ 5929313 w 8971757"/>
                  <a:gd name="connsiteY126" fmla="*/ 4052888 h 4575969"/>
                  <a:gd name="connsiteX127" fmla="*/ 6062662 w 8971757"/>
                  <a:gd name="connsiteY127" fmla="*/ 4050506 h 4575969"/>
                  <a:gd name="connsiteX128" fmla="*/ 6196012 w 8971757"/>
                  <a:gd name="connsiteY128" fmla="*/ 3952875 h 4575969"/>
                  <a:gd name="connsiteX129" fmla="*/ 6262687 w 8971757"/>
                  <a:gd name="connsiteY129" fmla="*/ 3945731 h 4575969"/>
                  <a:gd name="connsiteX130" fmla="*/ 6360319 w 8971757"/>
                  <a:gd name="connsiteY130" fmla="*/ 3871912 h 4575969"/>
                  <a:gd name="connsiteX131" fmla="*/ 6434138 w 8971757"/>
                  <a:gd name="connsiteY131" fmla="*/ 3802856 h 4575969"/>
                  <a:gd name="connsiteX132" fmla="*/ 6443663 w 8971757"/>
                  <a:gd name="connsiteY132" fmla="*/ 3740944 h 4575969"/>
                  <a:gd name="connsiteX133" fmla="*/ 6477000 w 8971757"/>
                  <a:gd name="connsiteY133" fmla="*/ 3671887 h 4575969"/>
                  <a:gd name="connsiteX134" fmla="*/ 6629400 w 8971757"/>
                  <a:gd name="connsiteY134" fmla="*/ 3564731 h 4575969"/>
                  <a:gd name="connsiteX135" fmla="*/ 6662738 w 8971757"/>
                  <a:gd name="connsiteY135" fmla="*/ 3569494 h 4575969"/>
                  <a:gd name="connsiteX136" fmla="*/ 6715125 w 8971757"/>
                  <a:gd name="connsiteY136" fmla="*/ 3490912 h 4575969"/>
                  <a:gd name="connsiteX137" fmla="*/ 6762750 w 8971757"/>
                  <a:gd name="connsiteY137" fmla="*/ 3452812 h 4575969"/>
                  <a:gd name="connsiteX138" fmla="*/ 6748463 w 8971757"/>
                  <a:gd name="connsiteY138" fmla="*/ 3383756 h 4575969"/>
                  <a:gd name="connsiteX139" fmla="*/ 6698456 w 8971757"/>
                  <a:gd name="connsiteY139" fmla="*/ 3352799 h 4575969"/>
                  <a:gd name="connsiteX140" fmla="*/ 6638925 w 8971757"/>
                  <a:gd name="connsiteY140" fmla="*/ 3298031 h 4575969"/>
                  <a:gd name="connsiteX141" fmla="*/ 6619875 w 8971757"/>
                  <a:gd name="connsiteY141" fmla="*/ 3240881 h 4575969"/>
                  <a:gd name="connsiteX142" fmla="*/ 6584156 w 8971757"/>
                  <a:gd name="connsiteY142" fmla="*/ 3207544 h 4575969"/>
                  <a:gd name="connsiteX143" fmla="*/ 6610350 w 8971757"/>
                  <a:gd name="connsiteY143" fmla="*/ 3155156 h 4575969"/>
                  <a:gd name="connsiteX144" fmla="*/ 6650831 w 8971757"/>
                  <a:gd name="connsiteY144" fmla="*/ 2976562 h 4575969"/>
                  <a:gd name="connsiteX145" fmla="*/ 6691313 w 8971757"/>
                  <a:gd name="connsiteY145" fmla="*/ 2909887 h 4575969"/>
                  <a:gd name="connsiteX146" fmla="*/ 6836569 w 8971757"/>
                  <a:gd name="connsiteY146" fmla="*/ 2893218 h 4575969"/>
                  <a:gd name="connsiteX147" fmla="*/ 6905625 w 8971757"/>
                  <a:gd name="connsiteY147" fmla="*/ 2950369 h 4575969"/>
                  <a:gd name="connsiteX148" fmla="*/ 6981825 w 8971757"/>
                  <a:gd name="connsiteY148" fmla="*/ 2974181 h 4575969"/>
                  <a:gd name="connsiteX149" fmla="*/ 7186612 w 8971757"/>
                  <a:gd name="connsiteY149" fmla="*/ 2978944 h 4575969"/>
                  <a:gd name="connsiteX150" fmla="*/ 7362825 w 8971757"/>
                  <a:gd name="connsiteY150" fmla="*/ 2840831 h 4575969"/>
                  <a:gd name="connsiteX151" fmla="*/ 7419975 w 8971757"/>
                  <a:gd name="connsiteY151" fmla="*/ 2750343 h 4575969"/>
                  <a:gd name="connsiteX152" fmla="*/ 7446169 w 8971757"/>
                  <a:gd name="connsiteY152" fmla="*/ 2667000 h 4575969"/>
                  <a:gd name="connsiteX153" fmla="*/ 7577137 w 8971757"/>
                  <a:gd name="connsiteY153" fmla="*/ 2667000 h 4575969"/>
                  <a:gd name="connsiteX154" fmla="*/ 7750969 w 8971757"/>
                  <a:gd name="connsiteY154" fmla="*/ 2609849 h 4575969"/>
                  <a:gd name="connsiteX155" fmla="*/ 7810500 w 8971757"/>
                  <a:gd name="connsiteY155" fmla="*/ 2497931 h 4575969"/>
                  <a:gd name="connsiteX156" fmla="*/ 7874794 w 8971757"/>
                  <a:gd name="connsiteY156" fmla="*/ 2462212 h 4575969"/>
                  <a:gd name="connsiteX157" fmla="*/ 7853363 w 8971757"/>
                  <a:gd name="connsiteY157" fmla="*/ 2416969 h 4575969"/>
                  <a:gd name="connsiteX158" fmla="*/ 7931944 w 8971757"/>
                  <a:gd name="connsiteY158" fmla="*/ 2247899 h 4575969"/>
                  <a:gd name="connsiteX159" fmla="*/ 7986713 w 8971757"/>
                  <a:gd name="connsiteY159" fmla="*/ 2188369 h 4575969"/>
                  <a:gd name="connsiteX160" fmla="*/ 8024813 w 8971757"/>
                  <a:gd name="connsiteY160" fmla="*/ 2183606 h 4575969"/>
                  <a:gd name="connsiteX161" fmla="*/ 8070056 w 8971757"/>
                  <a:gd name="connsiteY161" fmla="*/ 2188369 h 4575969"/>
                  <a:gd name="connsiteX162" fmla="*/ 8134350 w 8971757"/>
                  <a:gd name="connsiteY162" fmla="*/ 2155031 h 4575969"/>
                  <a:gd name="connsiteX163" fmla="*/ 8143875 w 8971757"/>
                  <a:gd name="connsiteY163" fmla="*/ 2090737 h 4575969"/>
                  <a:gd name="connsiteX164" fmla="*/ 8184355 w 8971757"/>
                  <a:gd name="connsiteY164" fmla="*/ 2055019 h 4575969"/>
                  <a:gd name="connsiteX165" fmla="*/ 8243888 w 8971757"/>
                  <a:gd name="connsiteY165" fmla="*/ 2095499 h 4575969"/>
                  <a:gd name="connsiteX166" fmla="*/ 8270082 w 8971757"/>
                  <a:gd name="connsiteY166" fmla="*/ 2045493 h 4575969"/>
                  <a:gd name="connsiteX167" fmla="*/ 8365331 w 8971757"/>
                  <a:gd name="connsiteY167" fmla="*/ 1976437 h 4575969"/>
                  <a:gd name="connsiteX168" fmla="*/ 8427244 w 8971757"/>
                  <a:gd name="connsiteY168" fmla="*/ 1983581 h 4575969"/>
                  <a:gd name="connsiteX169" fmla="*/ 8477250 w 8971757"/>
                  <a:gd name="connsiteY169" fmla="*/ 1964531 h 4575969"/>
                  <a:gd name="connsiteX170" fmla="*/ 8515350 w 8971757"/>
                  <a:gd name="connsiteY170" fmla="*/ 1935956 h 4575969"/>
                  <a:gd name="connsiteX171" fmla="*/ 8548688 w 8971757"/>
                  <a:gd name="connsiteY171" fmla="*/ 1933575 h 4575969"/>
                  <a:gd name="connsiteX172" fmla="*/ 8584406 w 8971757"/>
                  <a:gd name="connsiteY172" fmla="*/ 1964531 h 4575969"/>
                  <a:gd name="connsiteX173" fmla="*/ 8643938 w 8971757"/>
                  <a:gd name="connsiteY173" fmla="*/ 1964531 h 4575969"/>
                  <a:gd name="connsiteX174" fmla="*/ 8682037 w 8971757"/>
                  <a:gd name="connsiteY174" fmla="*/ 1945481 h 4575969"/>
                  <a:gd name="connsiteX175" fmla="*/ 8765381 w 8971757"/>
                  <a:gd name="connsiteY175" fmla="*/ 1947863 h 4575969"/>
                  <a:gd name="connsiteX176" fmla="*/ 8796338 w 8971757"/>
                  <a:gd name="connsiteY176" fmla="*/ 1902619 h 4575969"/>
                  <a:gd name="connsiteX177" fmla="*/ 8801100 w 8971757"/>
                  <a:gd name="connsiteY177" fmla="*/ 1840706 h 4575969"/>
                  <a:gd name="connsiteX178" fmla="*/ 8751093 w 8971757"/>
                  <a:gd name="connsiteY178" fmla="*/ 1800225 h 4575969"/>
                  <a:gd name="connsiteX179" fmla="*/ 8734425 w 8971757"/>
                  <a:gd name="connsiteY179" fmla="*/ 1745456 h 4575969"/>
                  <a:gd name="connsiteX180" fmla="*/ 8643938 w 8971757"/>
                  <a:gd name="connsiteY180" fmla="*/ 1683544 h 4575969"/>
                  <a:gd name="connsiteX181" fmla="*/ 8603456 w 8971757"/>
                  <a:gd name="connsiteY181" fmla="*/ 1662112 h 4575969"/>
                  <a:gd name="connsiteX182" fmla="*/ 8565356 w 8971757"/>
                  <a:gd name="connsiteY182" fmla="*/ 1616869 h 4575969"/>
                  <a:gd name="connsiteX183" fmla="*/ 8534400 w 8971757"/>
                  <a:gd name="connsiteY183" fmla="*/ 1614487 h 4575969"/>
                  <a:gd name="connsiteX184" fmla="*/ 8517731 w 8971757"/>
                  <a:gd name="connsiteY184" fmla="*/ 1562100 h 4575969"/>
                  <a:gd name="connsiteX185" fmla="*/ 8477250 w 8971757"/>
                  <a:gd name="connsiteY185" fmla="*/ 1545431 h 4575969"/>
                  <a:gd name="connsiteX186" fmla="*/ 8477250 w 8971757"/>
                  <a:gd name="connsiteY186" fmla="*/ 1545431 h 4575969"/>
                  <a:gd name="connsiteX187" fmla="*/ 8436769 w 8971757"/>
                  <a:gd name="connsiteY187" fmla="*/ 1550194 h 4575969"/>
                  <a:gd name="connsiteX188" fmla="*/ 8351043 w 8971757"/>
                  <a:gd name="connsiteY188" fmla="*/ 1476375 h 4575969"/>
                  <a:gd name="connsiteX189" fmla="*/ 8170069 w 8971757"/>
                  <a:gd name="connsiteY189" fmla="*/ 1476374 h 4575969"/>
                  <a:gd name="connsiteX190" fmla="*/ 8117681 w 8971757"/>
                  <a:gd name="connsiteY190" fmla="*/ 1514475 h 4575969"/>
                  <a:gd name="connsiteX191" fmla="*/ 8067675 w 8971757"/>
                  <a:gd name="connsiteY191" fmla="*/ 1593056 h 4575969"/>
                  <a:gd name="connsiteX192" fmla="*/ 8084344 w 8971757"/>
                  <a:gd name="connsiteY192" fmla="*/ 1614487 h 4575969"/>
                  <a:gd name="connsiteX193" fmla="*/ 8039100 w 8971757"/>
                  <a:gd name="connsiteY193" fmla="*/ 1664493 h 4575969"/>
                  <a:gd name="connsiteX194" fmla="*/ 7889081 w 8971757"/>
                  <a:gd name="connsiteY194" fmla="*/ 1588293 h 4575969"/>
                  <a:gd name="connsiteX195" fmla="*/ 7798594 w 8971757"/>
                  <a:gd name="connsiteY195" fmla="*/ 1624012 h 4575969"/>
                  <a:gd name="connsiteX196" fmla="*/ 7724775 w 8971757"/>
                  <a:gd name="connsiteY196" fmla="*/ 1621631 h 4575969"/>
                  <a:gd name="connsiteX197" fmla="*/ 7667625 w 8971757"/>
                  <a:gd name="connsiteY197" fmla="*/ 1716881 h 4575969"/>
                  <a:gd name="connsiteX198" fmla="*/ 7529513 w 8971757"/>
                  <a:gd name="connsiteY19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4800600 w 8971757"/>
                  <a:gd name="connsiteY45" fmla="*/ 838200 h 4575969"/>
                  <a:gd name="connsiteX46" fmla="*/ 8412956 w 8971757"/>
                  <a:gd name="connsiteY46" fmla="*/ 23812 h 4575969"/>
                  <a:gd name="connsiteX47" fmla="*/ 8949531 w 8971757"/>
                  <a:gd name="connsiteY47" fmla="*/ 0 h 4575969"/>
                  <a:gd name="connsiteX48" fmla="*/ 8971757 w 8971757"/>
                  <a:gd name="connsiteY48" fmla="*/ 4575969 h 4575969"/>
                  <a:gd name="connsiteX49" fmla="*/ 2381 w 8971757"/>
                  <a:gd name="connsiteY49" fmla="*/ 4547392 h 4575969"/>
                  <a:gd name="connsiteX50" fmla="*/ 0 w 8971757"/>
                  <a:gd name="connsiteY50" fmla="*/ 845344 h 4575969"/>
                  <a:gd name="connsiteX51" fmla="*/ 76200 w 8971757"/>
                  <a:gd name="connsiteY51" fmla="*/ 828675 h 4575969"/>
                  <a:gd name="connsiteX52" fmla="*/ 119063 w 8971757"/>
                  <a:gd name="connsiteY52" fmla="*/ 857250 h 4575969"/>
                  <a:gd name="connsiteX53" fmla="*/ 215900 w 8971757"/>
                  <a:gd name="connsiteY53" fmla="*/ 848519 h 4575969"/>
                  <a:gd name="connsiteX54" fmla="*/ 261938 w 8971757"/>
                  <a:gd name="connsiteY54" fmla="*/ 876299 h 4575969"/>
                  <a:gd name="connsiteX55" fmla="*/ 228600 w 8971757"/>
                  <a:gd name="connsiteY55" fmla="*/ 904875 h 4575969"/>
                  <a:gd name="connsiteX56" fmla="*/ 233363 w 8971757"/>
                  <a:gd name="connsiteY56" fmla="*/ 947737 h 4575969"/>
                  <a:gd name="connsiteX57" fmla="*/ 200025 w 8971757"/>
                  <a:gd name="connsiteY57" fmla="*/ 952500 h 4575969"/>
                  <a:gd name="connsiteX58" fmla="*/ 204788 w 8971757"/>
                  <a:gd name="connsiteY58" fmla="*/ 976312 h 4575969"/>
                  <a:gd name="connsiteX59" fmla="*/ 261937 w 8971757"/>
                  <a:gd name="connsiteY59" fmla="*/ 1050131 h 4575969"/>
                  <a:gd name="connsiteX60" fmla="*/ 223838 w 8971757"/>
                  <a:gd name="connsiteY60" fmla="*/ 1097756 h 4575969"/>
                  <a:gd name="connsiteX61" fmla="*/ 278606 w 8971757"/>
                  <a:gd name="connsiteY61" fmla="*/ 1133475 h 4575969"/>
                  <a:gd name="connsiteX62" fmla="*/ 369094 w 8971757"/>
                  <a:gd name="connsiteY62" fmla="*/ 1221581 h 4575969"/>
                  <a:gd name="connsiteX63" fmla="*/ 371475 w 8971757"/>
                  <a:gd name="connsiteY63" fmla="*/ 1281112 h 4575969"/>
                  <a:gd name="connsiteX64" fmla="*/ 507206 w 8971757"/>
                  <a:gd name="connsiteY64" fmla="*/ 1414463 h 4575969"/>
                  <a:gd name="connsiteX65" fmla="*/ 561975 w 8971757"/>
                  <a:gd name="connsiteY65" fmla="*/ 1390650 h 4575969"/>
                  <a:gd name="connsiteX66" fmla="*/ 600075 w 8971757"/>
                  <a:gd name="connsiteY66" fmla="*/ 1416843 h 4575969"/>
                  <a:gd name="connsiteX67" fmla="*/ 614363 w 8971757"/>
                  <a:gd name="connsiteY67" fmla="*/ 1466849 h 4575969"/>
                  <a:gd name="connsiteX68" fmla="*/ 657225 w 8971757"/>
                  <a:gd name="connsiteY68" fmla="*/ 1502569 h 4575969"/>
                  <a:gd name="connsiteX69" fmla="*/ 697706 w 8971757"/>
                  <a:gd name="connsiteY69" fmla="*/ 1490662 h 4575969"/>
                  <a:gd name="connsiteX70" fmla="*/ 716756 w 8971757"/>
                  <a:gd name="connsiteY70" fmla="*/ 1547812 h 4575969"/>
                  <a:gd name="connsiteX71" fmla="*/ 764381 w 8971757"/>
                  <a:gd name="connsiteY71" fmla="*/ 1590675 h 4575969"/>
                  <a:gd name="connsiteX72" fmla="*/ 788194 w 8971757"/>
                  <a:gd name="connsiteY72" fmla="*/ 1693069 h 4575969"/>
                  <a:gd name="connsiteX73" fmla="*/ 785813 w 8971757"/>
                  <a:gd name="connsiteY73" fmla="*/ 1740694 h 4575969"/>
                  <a:gd name="connsiteX74" fmla="*/ 821531 w 8971757"/>
                  <a:gd name="connsiteY74" fmla="*/ 1840706 h 4575969"/>
                  <a:gd name="connsiteX75" fmla="*/ 866775 w 8971757"/>
                  <a:gd name="connsiteY75" fmla="*/ 1897856 h 4575969"/>
                  <a:gd name="connsiteX76" fmla="*/ 883443 w 8971757"/>
                  <a:gd name="connsiteY76" fmla="*/ 2055018 h 4575969"/>
                  <a:gd name="connsiteX77" fmla="*/ 850106 w 8971757"/>
                  <a:gd name="connsiteY77" fmla="*/ 2116931 h 4575969"/>
                  <a:gd name="connsiteX78" fmla="*/ 819150 w 8971757"/>
                  <a:gd name="connsiteY78" fmla="*/ 2193131 h 4575969"/>
                  <a:gd name="connsiteX79" fmla="*/ 833438 w 8971757"/>
                  <a:gd name="connsiteY79" fmla="*/ 2250281 h 4575969"/>
                  <a:gd name="connsiteX80" fmla="*/ 735806 w 8971757"/>
                  <a:gd name="connsiteY80" fmla="*/ 2357438 h 4575969"/>
                  <a:gd name="connsiteX81" fmla="*/ 692944 w 8971757"/>
                  <a:gd name="connsiteY81" fmla="*/ 2471737 h 4575969"/>
                  <a:gd name="connsiteX82" fmla="*/ 726281 w 8971757"/>
                  <a:gd name="connsiteY82" fmla="*/ 2512219 h 4575969"/>
                  <a:gd name="connsiteX83" fmla="*/ 709613 w 8971757"/>
                  <a:gd name="connsiteY83" fmla="*/ 2540794 h 4575969"/>
                  <a:gd name="connsiteX84" fmla="*/ 740569 w 8971757"/>
                  <a:gd name="connsiteY84" fmla="*/ 2597944 h 4575969"/>
                  <a:gd name="connsiteX85" fmla="*/ 769144 w 8971757"/>
                  <a:gd name="connsiteY85" fmla="*/ 2597944 h 4575969"/>
                  <a:gd name="connsiteX86" fmla="*/ 931069 w 8971757"/>
                  <a:gd name="connsiteY86" fmla="*/ 2700337 h 4575969"/>
                  <a:gd name="connsiteX87" fmla="*/ 1035844 w 8971757"/>
                  <a:gd name="connsiteY87" fmla="*/ 2697956 h 4575969"/>
                  <a:gd name="connsiteX88" fmla="*/ 1114425 w 8971757"/>
                  <a:gd name="connsiteY88" fmla="*/ 2752725 h 4575969"/>
                  <a:gd name="connsiteX89" fmla="*/ 1245393 w 8971757"/>
                  <a:gd name="connsiteY89" fmla="*/ 2755106 h 4575969"/>
                  <a:gd name="connsiteX90" fmla="*/ 1435893 w 8971757"/>
                  <a:gd name="connsiteY90" fmla="*/ 2824162 h 4575969"/>
                  <a:gd name="connsiteX91" fmla="*/ 1638300 w 8971757"/>
                  <a:gd name="connsiteY91" fmla="*/ 2974181 h 4575969"/>
                  <a:gd name="connsiteX92" fmla="*/ 1671637 w 8971757"/>
                  <a:gd name="connsiteY92" fmla="*/ 3040856 h 4575969"/>
                  <a:gd name="connsiteX93" fmla="*/ 1838325 w 8971757"/>
                  <a:gd name="connsiteY93" fmla="*/ 3167062 h 4575969"/>
                  <a:gd name="connsiteX94" fmla="*/ 1909763 w 8971757"/>
                  <a:gd name="connsiteY94" fmla="*/ 3162300 h 4575969"/>
                  <a:gd name="connsiteX95" fmla="*/ 1945482 w 8971757"/>
                  <a:gd name="connsiteY95" fmla="*/ 3186112 h 4575969"/>
                  <a:gd name="connsiteX96" fmla="*/ 1916906 w 8971757"/>
                  <a:gd name="connsiteY96" fmla="*/ 3226594 h 4575969"/>
                  <a:gd name="connsiteX97" fmla="*/ 1924050 w 8971757"/>
                  <a:gd name="connsiteY97" fmla="*/ 3278981 h 4575969"/>
                  <a:gd name="connsiteX98" fmla="*/ 1976438 w 8971757"/>
                  <a:gd name="connsiteY98" fmla="*/ 3305175 h 4575969"/>
                  <a:gd name="connsiteX99" fmla="*/ 2038350 w 8971757"/>
                  <a:gd name="connsiteY99" fmla="*/ 3529013 h 4575969"/>
                  <a:gd name="connsiteX100" fmla="*/ 2028825 w 8971757"/>
                  <a:gd name="connsiteY100" fmla="*/ 3593306 h 4575969"/>
                  <a:gd name="connsiteX101" fmla="*/ 2164556 w 8971757"/>
                  <a:gd name="connsiteY101" fmla="*/ 3759994 h 4575969"/>
                  <a:gd name="connsiteX102" fmla="*/ 2183606 w 8971757"/>
                  <a:gd name="connsiteY102" fmla="*/ 3810000 h 4575969"/>
                  <a:gd name="connsiteX103" fmla="*/ 2157413 w 8971757"/>
                  <a:gd name="connsiteY103" fmla="*/ 3829050 h 4575969"/>
                  <a:gd name="connsiteX104" fmla="*/ 2259806 w 8971757"/>
                  <a:gd name="connsiteY104" fmla="*/ 3838575 h 4575969"/>
                  <a:gd name="connsiteX105" fmla="*/ 2371725 w 8971757"/>
                  <a:gd name="connsiteY105" fmla="*/ 3826669 h 4575969"/>
                  <a:gd name="connsiteX106" fmla="*/ 2650331 w 8971757"/>
                  <a:gd name="connsiteY106" fmla="*/ 3910012 h 4575969"/>
                  <a:gd name="connsiteX107" fmla="*/ 3057525 w 8971757"/>
                  <a:gd name="connsiteY107" fmla="*/ 3990975 h 4575969"/>
                  <a:gd name="connsiteX108" fmla="*/ 3255169 w 8971757"/>
                  <a:gd name="connsiteY108" fmla="*/ 3960018 h 4575969"/>
                  <a:gd name="connsiteX109" fmla="*/ 3300413 w 8971757"/>
                  <a:gd name="connsiteY109" fmla="*/ 3971924 h 4575969"/>
                  <a:gd name="connsiteX110" fmla="*/ 3355181 w 8971757"/>
                  <a:gd name="connsiteY110" fmla="*/ 3948113 h 4575969"/>
                  <a:gd name="connsiteX111" fmla="*/ 3748087 w 8971757"/>
                  <a:gd name="connsiteY111" fmla="*/ 4038600 h 4575969"/>
                  <a:gd name="connsiteX112" fmla="*/ 3831432 w 8971757"/>
                  <a:gd name="connsiteY112" fmla="*/ 4136231 h 4575969"/>
                  <a:gd name="connsiteX113" fmla="*/ 3950494 w 8971757"/>
                  <a:gd name="connsiteY113" fmla="*/ 4207669 h 4575969"/>
                  <a:gd name="connsiteX114" fmla="*/ 4010025 w 8971757"/>
                  <a:gd name="connsiteY114" fmla="*/ 4191000 h 4575969"/>
                  <a:gd name="connsiteX115" fmla="*/ 4360068 w 8971757"/>
                  <a:gd name="connsiteY115" fmla="*/ 4364831 h 4575969"/>
                  <a:gd name="connsiteX116" fmla="*/ 4586288 w 8971757"/>
                  <a:gd name="connsiteY116" fmla="*/ 4336256 h 4575969"/>
                  <a:gd name="connsiteX117" fmla="*/ 4595813 w 8971757"/>
                  <a:gd name="connsiteY117" fmla="*/ 4414837 h 4575969"/>
                  <a:gd name="connsiteX118" fmla="*/ 4681538 w 8971757"/>
                  <a:gd name="connsiteY118" fmla="*/ 4410074 h 4575969"/>
                  <a:gd name="connsiteX119" fmla="*/ 4760119 w 8971757"/>
                  <a:gd name="connsiteY119" fmla="*/ 4441031 h 4575969"/>
                  <a:gd name="connsiteX120" fmla="*/ 4802981 w 8971757"/>
                  <a:gd name="connsiteY120" fmla="*/ 4381500 h 4575969"/>
                  <a:gd name="connsiteX121" fmla="*/ 5474494 w 8971757"/>
                  <a:gd name="connsiteY121" fmla="*/ 4062412 h 4575969"/>
                  <a:gd name="connsiteX122" fmla="*/ 5562600 w 8971757"/>
                  <a:gd name="connsiteY122" fmla="*/ 4090988 h 4575969"/>
                  <a:gd name="connsiteX123" fmla="*/ 5693569 w 8971757"/>
                  <a:gd name="connsiteY123" fmla="*/ 4062412 h 4575969"/>
                  <a:gd name="connsiteX124" fmla="*/ 5872162 w 8971757"/>
                  <a:gd name="connsiteY124" fmla="*/ 4079081 h 4575969"/>
                  <a:gd name="connsiteX125" fmla="*/ 5929313 w 8971757"/>
                  <a:gd name="connsiteY125" fmla="*/ 4052888 h 4575969"/>
                  <a:gd name="connsiteX126" fmla="*/ 6062662 w 8971757"/>
                  <a:gd name="connsiteY126" fmla="*/ 4050506 h 4575969"/>
                  <a:gd name="connsiteX127" fmla="*/ 6196012 w 8971757"/>
                  <a:gd name="connsiteY127" fmla="*/ 3952875 h 4575969"/>
                  <a:gd name="connsiteX128" fmla="*/ 6262687 w 8971757"/>
                  <a:gd name="connsiteY128" fmla="*/ 3945731 h 4575969"/>
                  <a:gd name="connsiteX129" fmla="*/ 6360319 w 8971757"/>
                  <a:gd name="connsiteY129" fmla="*/ 3871912 h 4575969"/>
                  <a:gd name="connsiteX130" fmla="*/ 6434138 w 8971757"/>
                  <a:gd name="connsiteY130" fmla="*/ 3802856 h 4575969"/>
                  <a:gd name="connsiteX131" fmla="*/ 6443663 w 8971757"/>
                  <a:gd name="connsiteY131" fmla="*/ 3740944 h 4575969"/>
                  <a:gd name="connsiteX132" fmla="*/ 6477000 w 8971757"/>
                  <a:gd name="connsiteY132" fmla="*/ 3671887 h 4575969"/>
                  <a:gd name="connsiteX133" fmla="*/ 6629400 w 8971757"/>
                  <a:gd name="connsiteY133" fmla="*/ 3564731 h 4575969"/>
                  <a:gd name="connsiteX134" fmla="*/ 6662738 w 8971757"/>
                  <a:gd name="connsiteY134" fmla="*/ 3569494 h 4575969"/>
                  <a:gd name="connsiteX135" fmla="*/ 6715125 w 8971757"/>
                  <a:gd name="connsiteY135" fmla="*/ 3490912 h 4575969"/>
                  <a:gd name="connsiteX136" fmla="*/ 6762750 w 8971757"/>
                  <a:gd name="connsiteY136" fmla="*/ 3452812 h 4575969"/>
                  <a:gd name="connsiteX137" fmla="*/ 6748463 w 8971757"/>
                  <a:gd name="connsiteY137" fmla="*/ 3383756 h 4575969"/>
                  <a:gd name="connsiteX138" fmla="*/ 6698456 w 8971757"/>
                  <a:gd name="connsiteY138" fmla="*/ 3352799 h 4575969"/>
                  <a:gd name="connsiteX139" fmla="*/ 6638925 w 8971757"/>
                  <a:gd name="connsiteY139" fmla="*/ 3298031 h 4575969"/>
                  <a:gd name="connsiteX140" fmla="*/ 6619875 w 8971757"/>
                  <a:gd name="connsiteY140" fmla="*/ 3240881 h 4575969"/>
                  <a:gd name="connsiteX141" fmla="*/ 6584156 w 8971757"/>
                  <a:gd name="connsiteY141" fmla="*/ 3207544 h 4575969"/>
                  <a:gd name="connsiteX142" fmla="*/ 6610350 w 8971757"/>
                  <a:gd name="connsiteY142" fmla="*/ 3155156 h 4575969"/>
                  <a:gd name="connsiteX143" fmla="*/ 6650831 w 8971757"/>
                  <a:gd name="connsiteY143" fmla="*/ 2976562 h 4575969"/>
                  <a:gd name="connsiteX144" fmla="*/ 6691313 w 8971757"/>
                  <a:gd name="connsiteY144" fmla="*/ 2909887 h 4575969"/>
                  <a:gd name="connsiteX145" fmla="*/ 6836569 w 8971757"/>
                  <a:gd name="connsiteY145" fmla="*/ 2893218 h 4575969"/>
                  <a:gd name="connsiteX146" fmla="*/ 6905625 w 8971757"/>
                  <a:gd name="connsiteY146" fmla="*/ 2950369 h 4575969"/>
                  <a:gd name="connsiteX147" fmla="*/ 6981825 w 8971757"/>
                  <a:gd name="connsiteY147" fmla="*/ 2974181 h 4575969"/>
                  <a:gd name="connsiteX148" fmla="*/ 7186612 w 8971757"/>
                  <a:gd name="connsiteY148" fmla="*/ 2978944 h 4575969"/>
                  <a:gd name="connsiteX149" fmla="*/ 7362825 w 8971757"/>
                  <a:gd name="connsiteY149" fmla="*/ 2840831 h 4575969"/>
                  <a:gd name="connsiteX150" fmla="*/ 7419975 w 8971757"/>
                  <a:gd name="connsiteY150" fmla="*/ 2750343 h 4575969"/>
                  <a:gd name="connsiteX151" fmla="*/ 7446169 w 8971757"/>
                  <a:gd name="connsiteY151" fmla="*/ 2667000 h 4575969"/>
                  <a:gd name="connsiteX152" fmla="*/ 7577137 w 8971757"/>
                  <a:gd name="connsiteY152" fmla="*/ 2667000 h 4575969"/>
                  <a:gd name="connsiteX153" fmla="*/ 7750969 w 8971757"/>
                  <a:gd name="connsiteY153" fmla="*/ 2609849 h 4575969"/>
                  <a:gd name="connsiteX154" fmla="*/ 7810500 w 8971757"/>
                  <a:gd name="connsiteY154" fmla="*/ 2497931 h 4575969"/>
                  <a:gd name="connsiteX155" fmla="*/ 7874794 w 8971757"/>
                  <a:gd name="connsiteY155" fmla="*/ 2462212 h 4575969"/>
                  <a:gd name="connsiteX156" fmla="*/ 7853363 w 8971757"/>
                  <a:gd name="connsiteY156" fmla="*/ 2416969 h 4575969"/>
                  <a:gd name="connsiteX157" fmla="*/ 7931944 w 8971757"/>
                  <a:gd name="connsiteY157" fmla="*/ 2247899 h 4575969"/>
                  <a:gd name="connsiteX158" fmla="*/ 7986713 w 8971757"/>
                  <a:gd name="connsiteY158" fmla="*/ 2188369 h 4575969"/>
                  <a:gd name="connsiteX159" fmla="*/ 8024813 w 8971757"/>
                  <a:gd name="connsiteY159" fmla="*/ 2183606 h 4575969"/>
                  <a:gd name="connsiteX160" fmla="*/ 8070056 w 8971757"/>
                  <a:gd name="connsiteY160" fmla="*/ 2188369 h 4575969"/>
                  <a:gd name="connsiteX161" fmla="*/ 8134350 w 8971757"/>
                  <a:gd name="connsiteY161" fmla="*/ 2155031 h 4575969"/>
                  <a:gd name="connsiteX162" fmla="*/ 8143875 w 8971757"/>
                  <a:gd name="connsiteY162" fmla="*/ 2090737 h 4575969"/>
                  <a:gd name="connsiteX163" fmla="*/ 8184355 w 8971757"/>
                  <a:gd name="connsiteY163" fmla="*/ 2055019 h 4575969"/>
                  <a:gd name="connsiteX164" fmla="*/ 8243888 w 8971757"/>
                  <a:gd name="connsiteY164" fmla="*/ 2095499 h 4575969"/>
                  <a:gd name="connsiteX165" fmla="*/ 8270082 w 8971757"/>
                  <a:gd name="connsiteY165" fmla="*/ 2045493 h 4575969"/>
                  <a:gd name="connsiteX166" fmla="*/ 8365331 w 8971757"/>
                  <a:gd name="connsiteY166" fmla="*/ 1976437 h 4575969"/>
                  <a:gd name="connsiteX167" fmla="*/ 8427244 w 8971757"/>
                  <a:gd name="connsiteY167" fmla="*/ 1983581 h 4575969"/>
                  <a:gd name="connsiteX168" fmla="*/ 8477250 w 8971757"/>
                  <a:gd name="connsiteY168" fmla="*/ 1964531 h 4575969"/>
                  <a:gd name="connsiteX169" fmla="*/ 8515350 w 8971757"/>
                  <a:gd name="connsiteY169" fmla="*/ 1935956 h 4575969"/>
                  <a:gd name="connsiteX170" fmla="*/ 8548688 w 8971757"/>
                  <a:gd name="connsiteY170" fmla="*/ 1933575 h 4575969"/>
                  <a:gd name="connsiteX171" fmla="*/ 8584406 w 8971757"/>
                  <a:gd name="connsiteY171" fmla="*/ 1964531 h 4575969"/>
                  <a:gd name="connsiteX172" fmla="*/ 8643938 w 8971757"/>
                  <a:gd name="connsiteY172" fmla="*/ 1964531 h 4575969"/>
                  <a:gd name="connsiteX173" fmla="*/ 8682037 w 8971757"/>
                  <a:gd name="connsiteY173" fmla="*/ 1945481 h 4575969"/>
                  <a:gd name="connsiteX174" fmla="*/ 8765381 w 8971757"/>
                  <a:gd name="connsiteY174" fmla="*/ 1947863 h 4575969"/>
                  <a:gd name="connsiteX175" fmla="*/ 8796338 w 8971757"/>
                  <a:gd name="connsiteY175" fmla="*/ 1902619 h 4575969"/>
                  <a:gd name="connsiteX176" fmla="*/ 8801100 w 8971757"/>
                  <a:gd name="connsiteY176" fmla="*/ 1840706 h 4575969"/>
                  <a:gd name="connsiteX177" fmla="*/ 8751093 w 8971757"/>
                  <a:gd name="connsiteY177" fmla="*/ 1800225 h 4575969"/>
                  <a:gd name="connsiteX178" fmla="*/ 8734425 w 8971757"/>
                  <a:gd name="connsiteY178" fmla="*/ 1745456 h 4575969"/>
                  <a:gd name="connsiteX179" fmla="*/ 8643938 w 8971757"/>
                  <a:gd name="connsiteY179" fmla="*/ 1683544 h 4575969"/>
                  <a:gd name="connsiteX180" fmla="*/ 8603456 w 8971757"/>
                  <a:gd name="connsiteY180" fmla="*/ 1662112 h 4575969"/>
                  <a:gd name="connsiteX181" fmla="*/ 8565356 w 8971757"/>
                  <a:gd name="connsiteY181" fmla="*/ 1616869 h 4575969"/>
                  <a:gd name="connsiteX182" fmla="*/ 8534400 w 8971757"/>
                  <a:gd name="connsiteY182" fmla="*/ 1614487 h 4575969"/>
                  <a:gd name="connsiteX183" fmla="*/ 8517731 w 8971757"/>
                  <a:gd name="connsiteY183" fmla="*/ 1562100 h 4575969"/>
                  <a:gd name="connsiteX184" fmla="*/ 8477250 w 8971757"/>
                  <a:gd name="connsiteY184" fmla="*/ 1545431 h 4575969"/>
                  <a:gd name="connsiteX185" fmla="*/ 8477250 w 8971757"/>
                  <a:gd name="connsiteY185" fmla="*/ 1545431 h 4575969"/>
                  <a:gd name="connsiteX186" fmla="*/ 8436769 w 8971757"/>
                  <a:gd name="connsiteY186" fmla="*/ 1550194 h 4575969"/>
                  <a:gd name="connsiteX187" fmla="*/ 8351043 w 8971757"/>
                  <a:gd name="connsiteY187" fmla="*/ 1476375 h 4575969"/>
                  <a:gd name="connsiteX188" fmla="*/ 8170069 w 8971757"/>
                  <a:gd name="connsiteY188" fmla="*/ 1476374 h 4575969"/>
                  <a:gd name="connsiteX189" fmla="*/ 8117681 w 8971757"/>
                  <a:gd name="connsiteY189" fmla="*/ 1514475 h 4575969"/>
                  <a:gd name="connsiteX190" fmla="*/ 8067675 w 8971757"/>
                  <a:gd name="connsiteY190" fmla="*/ 1593056 h 4575969"/>
                  <a:gd name="connsiteX191" fmla="*/ 8084344 w 8971757"/>
                  <a:gd name="connsiteY191" fmla="*/ 1614487 h 4575969"/>
                  <a:gd name="connsiteX192" fmla="*/ 8039100 w 8971757"/>
                  <a:gd name="connsiteY192" fmla="*/ 1664493 h 4575969"/>
                  <a:gd name="connsiteX193" fmla="*/ 7889081 w 8971757"/>
                  <a:gd name="connsiteY193" fmla="*/ 1588293 h 4575969"/>
                  <a:gd name="connsiteX194" fmla="*/ 7798594 w 8971757"/>
                  <a:gd name="connsiteY194" fmla="*/ 1624012 h 4575969"/>
                  <a:gd name="connsiteX195" fmla="*/ 7724775 w 8971757"/>
                  <a:gd name="connsiteY195" fmla="*/ 1621631 h 4575969"/>
                  <a:gd name="connsiteX196" fmla="*/ 7667625 w 8971757"/>
                  <a:gd name="connsiteY196" fmla="*/ 1716881 h 4575969"/>
                  <a:gd name="connsiteX197" fmla="*/ 7529513 w 8971757"/>
                  <a:gd name="connsiteY19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4852988 w 8971757"/>
                  <a:gd name="connsiteY44" fmla="*/ 864394 h 4575969"/>
                  <a:gd name="connsiteX45" fmla="*/ 8412956 w 8971757"/>
                  <a:gd name="connsiteY45" fmla="*/ 23812 h 4575969"/>
                  <a:gd name="connsiteX46" fmla="*/ 8949531 w 8971757"/>
                  <a:gd name="connsiteY46" fmla="*/ 0 h 4575969"/>
                  <a:gd name="connsiteX47" fmla="*/ 8971757 w 8971757"/>
                  <a:gd name="connsiteY47" fmla="*/ 4575969 h 4575969"/>
                  <a:gd name="connsiteX48" fmla="*/ 2381 w 8971757"/>
                  <a:gd name="connsiteY48" fmla="*/ 4547392 h 4575969"/>
                  <a:gd name="connsiteX49" fmla="*/ 0 w 8971757"/>
                  <a:gd name="connsiteY49" fmla="*/ 845344 h 4575969"/>
                  <a:gd name="connsiteX50" fmla="*/ 76200 w 8971757"/>
                  <a:gd name="connsiteY50" fmla="*/ 828675 h 4575969"/>
                  <a:gd name="connsiteX51" fmla="*/ 119063 w 8971757"/>
                  <a:gd name="connsiteY51" fmla="*/ 857250 h 4575969"/>
                  <a:gd name="connsiteX52" fmla="*/ 215900 w 8971757"/>
                  <a:gd name="connsiteY52" fmla="*/ 848519 h 4575969"/>
                  <a:gd name="connsiteX53" fmla="*/ 261938 w 8971757"/>
                  <a:gd name="connsiteY53" fmla="*/ 876299 h 4575969"/>
                  <a:gd name="connsiteX54" fmla="*/ 228600 w 8971757"/>
                  <a:gd name="connsiteY54" fmla="*/ 904875 h 4575969"/>
                  <a:gd name="connsiteX55" fmla="*/ 233363 w 8971757"/>
                  <a:gd name="connsiteY55" fmla="*/ 947737 h 4575969"/>
                  <a:gd name="connsiteX56" fmla="*/ 200025 w 8971757"/>
                  <a:gd name="connsiteY56" fmla="*/ 952500 h 4575969"/>
                  <a:gd name="connsiteX57" fmla="*/ 204788 w 8971757"/>
                  <a:gd name="connsiteY57" fmla="*/ 976312 h 4575969"/>
                  <a:gd name="connsiteX58" fmla="*/ 261937 w 8971757"/>
                  <a:gd name="connsiteY58" fmla="*/ 1050131 h 4575969"/>
                  <a:gd name="connsiteX59" fmla="*/ 223838 w 8971757"/>
                  <a:gd name="connsiteY59" fmla="*/ 1097756 h 4575969"/>
                  <a:gd name="connsiteX60" fmla="*/ 278606 w 8971757"/>
                  <a:gd name="connsiteY60" fmla="*/ 1133475 h 4575969"/>
                  <a:gd name="connsiteX61" fmla="*/ 369094 w 8971757"/>
                  <a:gd name="connsiteY61" fmla="*/ 1221581 h 4575969"/>
                  <a:gd name="connsiteX62" fmla="*/ 371475 w 8971757"/>
                  <a:gd name="connsiteY62" fmla="*/ 1281112 h 4575969"/>
                  <a:gd name="connsiteX63" fmla="*/ 507206 w 8971757"/>
                  <a:gd name="connsiteY63" fmla="*/ 1414463 h 4575969"/>
                  <a:gd name="connsiteX64" fmla="*/ 561975 w 8971757"/>
                  <a:gd name="connsiteY64" fmla="*/ 1390650 h 4575969"/>
                  <a:gd name="connsiteX65" fmla="*/ 600075 w 8971757"/>
                  <a:gd name="connsiteY65" fmla="*/ 1416843 h 4575969"/>
                  <a:gd name="connsiteX66" fmla="*/ 614363 w 8971757"/>
                  <a:gd name="connsiteY66" fmla="*/ 1466849 h 4575969"/>
                  <a:gd name="connsiteX67" fmla="*/ 657225 w 8971757"/>
                  <a:gd name="connsiteY67" fmla="*/ 1502569 h 4575969"/>
                  <a:gd name="connsiteX68" fmla="*/ 697706 w 8971757"/>
                  <a:gd name="connsiteY68" fmla="*/ 1490662 h 4575969"/>
                  <a:gd name="connsiteX69" fmla="*/ 716756 w 8971757"/>
                  <a:gd name="connsiteY69" fmla="*/ 1547812 h 4575969"/>
                  <a:gd name="connsiteX70" fmla="*/ 764381 w 8971757"/>
                  <a:gd name="connsiteY70" fmla="*/ 1590675 h 4575969"/>
                  <a:gd name="connsiteX71" fmla="*/ 788194 w 8971757"/>
                  <a:gd name="connsiteY71" fmla="*/ 1693069 h 4575969"/>
                  <a:gd name="connsiteX72" fmla="*/ 785813 w 8971757"/>
                  <a:gd name="connsiteY72" fmla="*/ 1740694 h 4575969"/>
                  <a:gd name="connsiteX73" fmla="*/ 821531 w 8971757"/>
                  <a:gd name="connsiteY73" fmla="*/ 1840706 h 4575969"/>
                  <a:gd name="connsiteX74" fmla="*/ 866775 w 8971757"/>
                  <a:gd name="connsiteY74" fmla="*/ 1897856 h 4575969"/>
                  <a:gd name="connsiteX75" fmla="*/ 883443 w 8971757"/>
                  <a:gd name="connsiteY75" fmla="*/ 2055018 h 4575969"/>
                  <a:gd name="connsiteX76" fmla="*/ 850106 w 8971757"/>
                  <a:gd name="connsiteY76" fmla="*/ 2116931 h 4575969"/>
                  <a:gd name="connsiteX77" fmla="*/ 819150 w 8971757"/>
                  <a:gd name="connsiteY77" fmla="*/ 2193131 h 4575969"/>
                  <a:gd name="connsiteX78" fmla="*/ 833438 w 8971757"/>
                  <a:gd name="connsiteY78" fmla="*/ 2250281 h 4575969"/>
                  <a:gd name="connsiteX79" fmla="*/ 735806 w 8971757"/>
                  <a:gd name="connsiteY79" fmla="*/ 2357438 h 4575969"/>
                  <a:gd name="connsiteX80" fmla="*/ 692944 w 8971757"/>
                  <a:gd name="connsiteY80" fmla="*/ 2471737 h 4575969"/>
                  <a:gd name="connsiteX81" fmla="*/ 726281 w 8971757"/>
                  <a:gd name="connsiteY81" fmla="*/ 2512219 h 4575969"/>
                  <a:gd name="connsiteX82" fmla="*/ 709613 w 8971757"/>
                  <a:gd name="connsiteY82" fmla="*/ 2540794 h 4575969"/>
                  <a:gd name="connsiteX83" fmla="*/ 740569 w 8971757"/>
                  <a:gd name="connsiteY83" fmla="*/ 2597944 h 4575969"/>
                  <a:gd name="connsiteX84" fmla="*/ 769144 w 8971757"/>
                  <a:gd name="connsiteY84" fmla="*/ 2597944 h 4575969"/>
                  <a:gd name="connsiteX85" fmla="*/ 931069 w 8971757"/>
                  <a:gd name="connsiteY85" fmla="*/ 2700337 h 4575969"/>
                  <a:gd name="connsiteX86" fmla="*/ 1035844 w 8971757"/>
                  <a:gd name="connsiteY86" fmla="*/ 2697956 h 4575969"/>
                  <a:gd name="connsiteX87" fmla="*/ 1114425 w 8971757"/>
                  <a:gd name="connsiteY87" fmla="*/ 2752725 h 4575969"/>
                  <a:gd name="connsiteX88" fmla="*/ 1245393 w 8971757"/>
                  <a:gd name="connsiteY88" fmla="*/ 2755106 h 4575969"/>
                  <a:gd name="connsiteX89" fmla="*/ 1435893 w 8971757"/>
                  <a:gd name="connsiteY89" fmla="*/ 2824162 h 4575969"/>
                  <a:gd name="connsiteX90" fmla="*/ 1638300 w 8971757"/>
                  <a:gd name="connsiteY90" fmla="*/ 2974181 h 4575969"/>
                  <a:gd name="connsiteX91" fmla="*/ 1671637 w 8971757"/>
                  <a:gd name="connsiteY91" fmla="*/ 3040856 h 4575969"/>
                  <a:gd name="connsiteX92" fmla="*/ 1838325 w 8971757"/>
                  <a:gd name="connsiteY92" fmla="*/ 3167062 h 4575969"/>
                  <a:gd name="connsiteX93" fmla="*/ 1909763 w 8971757"/>
                  <a:gd name="connsiteY93" fmla="*/ 3162300 h 4575969"/>
                  <a:gd name="connsiteX94" fmla="*/ 1945482 w 8971757"/>
                  <a:gd name="connsiteY94" fmla="*/ 3186112 h 4575969"/>
                  <a:gd name="connsiteX95" fmla="*/ 1916906 w 8971757"/>
                  <a:gd name="connsiteY95" fmla="*/ 3226594 h 4575969"/>
                  <a:gd name="connsiteX96" fmla="*/ 1924050 w 8971757"/>
                  <a:gd name="connsiteY96" fmla="*/ 3278981 h 4575969"/>
                  <a:gd name="connsiteX97" fmla="*/ 1976438 w 8971757"/>
                  <a:gd name="connsiteY97" fmla="*/ 3305175 h 4575969"/>
                  <a:gd name="connsiteX98" fmla="*/ 2038350 w 8971757"/>
                  <a:gd name="connsiteY98" fmla="*/ 3529013 h 4575969"/>
                  <a:gd name="connsiteX99" fmla="*/ 2028825 w 8971757"/>
                  <a:gd name="connsiteY99" fmla="*/ 3593306 h 4575969"/>
                  <a:gd name="connsiteX100" fmla="*/ 2164556 w 8971757"/>
                  <a:gd name="connsiteY100" fmla="*/ 3759994 h 4575969"/>
                  <a:gd name="connsiteX101" fmla="*/ 2183606 w 8971757"/>
                  <a:gd name="connsiteY101" fmla="*/ 3810000 h 4575969"/>
                  <a:gd name="connsiteX102" fmla="*/ 2157413 w 8971757"/>
                  <a:gd name="connsiteY102" fmla="*/ 3829050 h 4575969"/>
                  <a:gd name="connsiteX103" fmla="*/ 2259806 w 8971757"/>
                  <a:gd name="connsiteY103" fmla="*/ 3838575 h 4575969"/>
                  <a:gd name="connsiteX104" fmla="*/ 2371725 w 8971757"/>
                  <a:gd name="connsiteY104" fmla="*/ 3826669 h 4575969"/>
                  <a:gd name="connsiteX105" fmla="*/ 2650331 w 8971757"/>
                  <a:gd name="connsiteY105" fmla="*/ 3910012 h 4575969"/>
                  <a:gd name="connsiteX106" fmla="*/ 3057525 w 8971757"/>
                  <a:gd name="connsiteY106" fmla="*/ 3990975 h 4575969"/>
                  <a:gd name="connsiteX107" fmla="*/ 3255169 w 8971757"/>
                  <a:gd name="connsiteY107" fmla="*/ 3960018 h 4575969"/>
                  <a:gd name="connsiteX108" fmla="*/ 3300413 w 8971757"/>
                  <a:gd name="connsiteY108" fmla="*/ 3971924 h 4575969"/>
                  <a:gd name="connsiteX109" fmla="*/ 3355181 w 8971757"/>
                  <a:gd name="connsiteY109" fmla="*/ 3948113 h 4575969"/>
                  <a:gd name="connsiteX110" fmla="*/ 3748087 w 8971757"/>
                  <a:gd name="connsiteY110" fmla="*/ 4038600 h 4575969"/>
                  <a:gd name="connsiteX111" fmla="*/ 3831432 w 8971757"/>
                  <a:gd name="connsiteY111" fmla="*/ 4136231 h 4575969"/>
                  <a:gd name="connsiteX112" fmla="*/ 3950494 w 8971757"/>
                  <a:gd name="connsiteY112" fmla="*/ 4207669 h 4575969"/>
                  <a:gd name="connsiteX113" fmla="*/ 4010025 w 8971757"/>
                  <a:gd name="connsiteY113" fmla="*/ 4191000 h 4575969"/>
                  <a:gd name="connsiteX114" fmla="*/ 4360068 w 8971757"/>
                  <a:gd name="connsiteY114" fmla="*/ 4364831 h 4575969"/>
                  <a:gd name="connsiteX115" fmla="*/ 4586288 w 8971757"/>
                  <a:gd name="connsiteY115" fmla="*/ 4336256 h 4575969"/>
                  <a:gd name="connsiteX116" fmla="*/ 4595813 w 8971757"/>
                  <a:gd name="connsiteY116" fmla="*/ 4414837 h 4575969"/>
                  <a:gd name="connsiteX117" fmla="*/ 4681538 w 8971757"/>
                  <a:gd name="connsiteY117" fmla="*/ 4410074 h 4575969"/>
                  <a:gd name="connsiteX118" fmla="*/ 4760119 w 8971757"/>
                  <a:gd name="connsiteY118" fmla="*/ 4441031 h 4575969"/>
                  <a:gd name="connsiteX119" fmla="*/ 4802981 w 8971757"/>
                  <a:gd name="connsiteY119" fmla="*/ 4381500 h 4575969"/>
                  <a:gd name="connsiteX120" fmla="*/ 5474494 w 8971757"/>
                  <a:gd name="connsiteY120" fmla="*/ 4062412 h 4575969"/>
                  <a:gd name="connsiteX121" fmla="*/ 5562600 w 8971757"/>
                  <a:gd name="connsiteY121" fmla="*/ 4090988 h 4575969"/>
                  <a:gd name="connsiteX122" fmla="*/ 5693569 w 8971757"/>
                  <a:gd name="connsiteY122" fmla="*/ 4062412 h 4575969"/>
                  <a:gd name="connsiteX123" fmla="*/ 5872162 w 8971757"/>
                  <a:gd name="connsiteY123" fmla="*/ 4079081 h 4575969"/>
                  <a:gd name="connsiteX124" fmla="*/ 5929313 w 8971757"/>
                  <a:gd name="connsiteY124" fmla="*/ 4052888 h 4575969"/>
                  <a:gd name="connsiteX125" fmla="*/ 6062662 w 8971757"/>
                  <a:gd name="connsiteY125" fmla="*/ 4050506 h 4575969"/>
                  <a:gd name="connsiteX126" fmla="*/ 6196012 w 8971757"/>
                  <a:gd name="connsiteY126" fmla="*/ 3952875 h 4575969"/>
                  <a:gd name="connsiteX127" fmla="*/ 6262687 w 8971757"/>
                  <a:gd name="connsiteY127" fmla="*/ 3945731 h 4575969"/>
                  <a:gd name="connsiteX128" fmla="*/ 6360319 w 8971757"/>
                  <a:gd name="connsiteY128" fmla="*/ 3871912 h 4575969"/>
                  <a:gd name="connsiteX129" fmla="*/ 6434138 w 8971757"/>
                  <a:gd name="connsiteY129" fmla="*/ 3802856 h 4575969"/>
                  <a:gd name="connsiteX130" fmla="*/ 6443663 w 8971757"/>
                  <a:gd name="connsiteY130" fmla="*/ 3740944 h 4575969"/>
                  <a:gd name="connsiteX131" fmla="*/ 6477000 w 8971757"/>
                  <a:gd name="connsiteY131" fmla="*/ 3671887 h 4575969"/>
                  <a:gd name="connsiteX132" fmla="*/ 6629400 w 8971757"/>
                  <a:gd name="connsiteY132" fmla="*/ 3564731 h 4575969"/>
                  <a:gd name="connsiteX133" fmla="*/ 6662738 w 8971757"/>
                  <a:gd name="connsiteY133" fmla="*/ 3569494 h 4575969"/>
                  <a:gd name="connsiteX134" fmla="*/ 6715125 w 8971757"/>
                  <a:gd name="connsiteY134" fmla="*/ 3490912 h 4575969"/>
                  <a:gd name="connsiteX135" fmla="*/ 6762750 w 8971757"/>
                  <a:gd name="connsiteY135" fmla="*/ 3452812 h 4575969"/>
                  <a:gd name="connsiteX136" fmla="*/ 6748463 w 8971757"/>
                  <a:gd name="connsiteY136" fmla="*/ 3383756 h 4575969"/>
                  <a:gd name="connsiteX137" fmla="*/ 6698456 w 8971757"/>
                  <a:gd name="connsiteY137" fmla="*/ 3352799 h 4575969"/>
                  <a:gd name="connsiteX138" fmla="*/ 6638925 w 8971757"/>
                  <a:gd name="connsiteY138" fmla="*/ 3298031 h 4575969"/>
                  <a:gd name="connsiteX139" fmla="*/ 6619875 w 8971757"/>
                  <a:gd name="connsiteY139" fmla="*/ 3240881 h 4575969"/>
                  <a:gd name="connsiteX140" fmla="*/ 6584156 w 8971757"/>
                  <a:gd name="connsiteY140" fmla="*/ 3207544 h 4575969"/>
                  <a:gd name="connsiteX141" fmla="*/ 6610350 w 8971757"/>
                  <a:gd name="connsiteY141" fmla="*/ 3155156 h 4575969"/>
                  <a:gd name="connsiteX142" fmla="*/ 6650831 w 8971757"/>
                  <a:gd name="connsiteY142" fmla="*/ 2976562 h 4575969"/>
                  <a:gd name="connsiteX143" fmla="*/ 6691313 w 8971757"/>
                  <a:gd name="connsiteY143" fmla="*/ 2909887 h 4575969"/>
                  <a:gd name="connsiteX144" fmla="*/ 6836569 w 8971757"/>
                  <a:gd name="connsiteY144" fmla="*/ 2893218 h 4575969"/>
                  <a:gd name="connsiteX145" fmla="*/ 6905625 w 8971757"/>
                  <a:gd name="connsiteY145" fmla="*/ 2950369 h 4575969"/>
                  <a:gd name="connsiteX146" fmla="*/ 6981825 w 8971757"/>
                  <a:gd name="connsiteY146" fmla="*/ 2974181 h 4575969"/>
                  <a:gd name="connsiteX147" fmla="*/ 7186612 w 8971757"/>
                  <a:gd name="connsiteY147" fmla="*/ 2978944 h 4575969"/>
                  <a:gd name="connsiteX148" fmla="*/ 7362825 w 8971757"/>
                  <a:gd name="connsiteY148" fmla="*/ 2840831 h 4575969"/>
                  <a:gd name="connsiteX149" fmla="*/ 7419975 w 8971757"/>
                  <a:gd name="connsiteY149" fmla="*/ 2750343 h 4575969"/>
                  <a:gd name="connsiteX150" fmla="*/ 7446169 w 8971757"/>
                  <a:gd name="connsiteY150" fmla="*/ 2667000 h 4575969"/>
                  <a:gd name="connsiteX151" fmla="*/ 7577137 w 8971757"/>
                  <a:gd name="connsiteY151" fmla="*/ 2667000 h 4575969"/>
                  <a:gd name="connsiteX152" fmla="*/ 7750969 w 8971757"/>
                  <a:gd name="connsiteY152" fmla="*/ 2609849 h 4575969"/>
                  <a:gd name="connsiteX153" fmla="*/ 7810500 w 8971757"/>
                  <a:gd name="connsiteY153" fmla="*/ 2497931 h 4575969"/>
                  <a:gd name="connsiteX154" fmla="*/ 7874794 w 8971757"/>
                  <a:gd name="connsiteY154" fmla="*/ 2462212 h 4575969"/>
                  <a:gd name="connsiteX155" fmla="*/ 7853363 w 8971757"/>
                  <a:gd name="connsiteY155" fmla="*/ 2416969 h 4575969"/>
                  <a:gd name="connsiteX156" fmla="*/ 7931944 w 8971757"/>
                  <a:gd name="connsiteY156" fmla="*/ 2247899 h 4575969"/>
                  <a:gd name="connsiteX157" fmla="*/ 7986713 w 8971757"/>
                  <a:gd name="connsiteY157" fmla="*/ 2188369 h 4575969"/>
                  <a:gd name="connsiteX158" fmla="*/ 8024813 w 8971757"/>
                  <a:gd name="connsiteY158" fmla="*/ 2183606 h 4575969"/>
                  <a:gd name="connsiteX159" fmla="*/ 8070056 w 8971757"/>
                  <a:gd name="connsiteY159" fmla="*/ 2188369 h 4575969"/>
                  <a:gd name="connsiteX160" fmla="*/ 8134350 w 8971757"/>
                  <a:gd name="connsiteY160" fmla="*/ 2155031 h 4575969"/>
                  <a:gd name="connsiteX161" fmla="*/ 8143875 w 8971757"/>
                  <a:gd name="connsiteY161" fmla="*/ 2090737 h 4575969"/>
                  <a:gd name="connsiteX162" fmla="*/ 8184355 w 8971757"/>
                  <a:gd name="connsiteY162" fmla="*/ 2055019 h 4575969"/>
                  <a:gd name="connsiteX163" fmla="*/ 8243888 w 8971757"/>
                  <a:gd name="connsiteY163" fmla="*/ 2095499 h 4575969"/>
                  <a:gd name="connsiteX164" fmla="*/ 8270082 w 8971757"/>
                  <a:gd name="connsiteY164" fmla="*/ 2045493 h 4575969"/>
                  <a:gd name="connsiteX165" fmla="*/ 8365331 w 8971757"/>
                  <a:gd name="connsiteY165" fmla="*/ 1976437 h 4575969"/>
                  <a:gd name="connsiteX166" fmla="*/ 8427244 w 8971757"/>
                  <a:gd name="connsiteY166" fmla="*/ 1983581 h 4575969"/>
                  <a:gd name="connsiteX167" fmla="*/ 8477250 w 8971757"/>
                  <a:gd name="connsiteY167" fmla="*/ 1964531 h 4575969"/>
                  <a:gd name="connsiteX168" fmla="*/ 8515350 w 8971757"/>
                  <a:gd name="connsiteY168" fmla="*/ 1935956 h 4575969"/>
                  <a:gd name="connsiteX169" fmla="*/ 8548688 w 8971757"/>
                  <a:gd name="connsiteY169" fmla="*/ 1933575 h 4575969"/>
                  <a:gd name="connsiteX170" fmla="*/ 8584406 w 8971757"/>
                  <a:gd name="connsiteY170" fmla="*/ 1964531 h 4575969"/>
                  <a:gd name="connsiteX171" fmla="*/ 8643938 w 8971757"/>
                  <a:gd name="connsiteY171" fmla="*/ 1964531 h 4575969"/>
                  <a:gd name="connsiteX172" fmla="*/ 8682037 w 8971757"/>
                  <a:gd name="connsiteY172" fmla="*/ 1945481 h 4575969"/>
                  <a:gd name="connsiteX173" fmla="*/ 8765381 w 8971757"/>
                  <a:gd name="connsiteY173" fmla="*/ 1947863 h 4575969"/>
                  <a:gd name="connsiteX174" fmla="*/ 8796338 w 8971757"/>
                  <a:gd name="connsiteY174" fmla="*/ 1902619 h 4575969"/>
                  <a:gd name="connsiteX175" fmla="*/ 8801100 w 8971757"/>
                  <a:gd name="connsiteY175" fmla="*/ 1840706 h 4575969"/>
                  <a:gd name="connsiteX176" fmla="*/ 8751093 w 8971757"/>
                  <a:gd name="connsiteY176" fmla="*/ 1800225 h 4575969"/>
                  <a:gd name="connsiteX177" fmla="*/ 8734425 w 8971757"/>
                  <a:gd name="connsiteY177" fmla="*/ 1745456 h 4575969"/>
                  <a:gd name="connsiteX178" fmla="*/ 8643938 w 8971757"/>
                  <a:gd name="connsiteY178" fmla="*/ 1683544 h 4575969"/>
                  <a:gd name="connsiteX179" fmla="*/ 8603456 w 8971757"/>
                  <a:gd name="connsiteY179" fmla="*/ 1662112 h 4575969"/>
                  <a:gd name="connsiteX180" fmla="*/ 8565356 w 8971757"/>
                  <a:gd name="connsiteY180" fmla="*/ 1616869 h 4575969"/>
                  <a:gd name="connsiteX181" fmla="*/ 8534400 w 8971757"/>
                  <a:gd name="connsiteY181" fmla="*/ 1614487 h 4575969"/>
                  <a:gd name="connsiteX182" fmla="*/ 8517731 w 8971757"/>
                  <a:gd name="connsiteY182" fmla="*/ 1562100 h 4575969"/>
                  <a:gd name="connsiteX183" fmla="*/ 8477250 w 8971757"/>
                  <a:gd name="connsiteY183" fmla="*/ 1545431 h 4575969"/>
                  <a:gd name="connsiteX184" fmla="*/ 8477250 w 8971757"/>
                  <a:gd name="connsiteY184" fmla="*/ 1545431 h 4575969"/>
                  <a:gd name="connsiteX185" fmla="*/ 8436769 w 8971757"/>
                  <a:gd name="connsiteY185" fmla="*/ 1550194 h 4575969"/>
                  <a:gd name="connsiteX186" fmla="*/ 8351043 w 8971757"/>
                  <a:gd name="connsiteY186" fmla="*/ 1476375 h 4575969"/>
                  <a:gd name="connsiteX187" fmla="*/ 8170069 w 8971757"/>
                  <a:gd name="connsiteY187" fmla="*/ 1476374 h 4575969"/>
                  <a:gd name="connsiteX188" fmla="*/ 8117681 w 8971757"/>
                  <a:gd name="connsiteY188" fmla="*/ 1514475 h 4575969"/>
                  <a:gd name="connsiteX189" fmla="*/ 8067675 w 8971757"/>
                  <a:gd name="connsiteY189" fmla="*/ 1593056 h 4575969"/>
                  <a:gd name="connsiteX190" fmla="*/ 8084344 w 8971757"/>
                  <a:gd name="connsiteY190" fmla="*/ 1614487 h 4575969"/>
                  <a:gd name="connsiteX191" fmla="*/ 8039100 w 8971757"/>
                  <a:gd name="connsiteY191" fmla="*/ 1664493 h 4575969"/>
                  <a:gd name="connsiteX192" fmla="*/ 7889081 w 8971757"/>
                  <a:gd name="connsiteY192" fmla="*/ 1588293 h 4575969"/>
                  <a:gd name="connsiteX193" fmla="*/ 7798594 w 8971757"/>
                  <a:gd name="connsiteY193" fmla="*/ 1624012 h 4575969"/>
                  <a:gd name="connsiteX194" fmla="*/ 7724775 w 8971757"/>
                  <a:gd name="connsiteY194" fmla="*/ 1621631 h 4575969"/>
                  <a:gd name="connsiteX195" fmla="*/ 7667625 w 8971757"/>
                  <a:gd name="connsiteY195" fmla="*/ 1716881 h 4575969"/>
                  <a:gd name="connsiteX196" fmla="*/ 7529513 w 8971757"/>
                  <a:gd name="connsiteY19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4948237 w 8971757"/>
                  <a:gd name="connsiteY43" fmla="*/ 852487 h 4575969"/>
                  <a:gd name="connsiteX44" fmla="*/ 8412956 w 8971757"/>
                  <a:gd name="connsiteY44" fmla="*/ 23812 h 4575969"/>
                  <a:gd name="connsiteX45" fmla="*/ 8949531 w 8971757"/>
                  <a:gd name="connsiteY45" fmla="*/ 0 h 4575969"/>
                  <a:gd name="connsiteX46" fmla="*/ 8971757 w 8971757"/>
                  <a:gd name="connsiteY46" fmla="*/ 4575969 h 4575969"/>
                  <a:gd name="connsiteX47" fmla="*/ 2381 w 8971757"/>
                  <a:gd name="connsiteY47" fmla="*/ 4547392 h 4575969"/>
                  <a:gd name="connsiteX48" fmla="*/ 0 w 8971757"/>
                  <a:gd name="connsiteY48" fmla="*/ 845344 h 4575969"/>
                  <a:gd name="connsiteX49" fmla="*/ 76200 w 8971757"/>
                  <a:gd name="connsiteY49" fmla="*/ 828675 h 4575969"/>
                  <a:gd name="connsiteX50" fmla="*/ 119063 w 8971757"/>
                  <a:gd name="connsiteY50" fmla="*/ 857250 h 4575969"/>
                  <a:gd name="connsiteX51" fmla="*/ 215900 w 8971757"/>
                  <a:gd name="connsiteY51" fmla="*/ 848519 h 4575969"/>
                  <a:gd name="connsiteX52" fmla="*/ 261938 w 8971757"/>
                  <a:gd name="connsiteY52" fmla="*/ 876299 h 4575969"/>
                  <a:gd name="connsiteX53" fmla="*/ 228600 w 8971757"/>
                  <a:gd name="connsiteY53" fmla="*/ 904875 h 4575969"/>
                  <a:gd name="connsiteX54" fmla="*/ 233363 w 8971757"/>
                  <a:gd name="connsiteY54" fmla="*/ 947737 h 4575969"/>
                  <a:gd name="connsiteX55" fmla="*/ 200025 w 8971757"/>
                  <a:gd name="connsiteY55" fmla="*/ 952500 h 4575969"/>
                  <a:gd name="connsiteX56" fmla="*/ 204788 w 8971757"/>
                  <a:gd name="connsiteY56" fmla="*/ 976312 h 4575969"/>
                  <a:gd name="connsiteX57" fmla="*/ 261937 w 8971757"/>
                  <a:gd name="connsiteY57" fmla="*/ 1050131 h 4575969"/>
                  <a:gd name="connsiteX58" fmla="*/ 223838 w 8971757"/>
                  <a:gd name="connsiteY58" fmla="*/ 1097756 h 4575969"/>
                  <a:gd name="connsiteX59" fmla="*/ 278606 w 8971757"/>
                  <a:gd name="connsiteY59" fmla="*/ 1133475 h 4575969"/>
                  <a:gd name="connsiteX60" fmla="*/ 369094 w 8971757"/>
                  <a:gd name="connsiteY60" fmla="*/ 1221581 h 4575969"/>
                  <a:gd name="connsiteX61" fmla="*/ 371475 w 8971757"/>
                  <a:gd name="connsiteY61" fmla="*/ 1281112 h 4575969"/>
                  <a:gd name="connsiteX62" fmla="*/ 507206 w 8971757"/>
                  <a:gd name="connsiteY62" fmla="*/ 1414463 h 4575969"/>
                  <a:gd name="connsiteX63" fmla="*/ 561975 w 8971757"/>
                  <a:gd name="connsiteY63" fmla="*/ 1390650 h 4575969"/>
                  <a:gd name="connsiteX64" fmla="*/ 600075 w 8971757"/>
                  <a:gd name="connsiteY64" fmla="*/ 1416843 h 4575969"/>
                  <a:gd name="connsiteX65" fmla="*/ 614363 w 8971757"/>
                  <a:gd name="connsiteY65" fmla="*/ 1466849 h 4575969"/>
                  <a:gd name="connsiteX66" fmla="*/ 657225 w 8971757"/>
                  <a:gd name="connsiteY66" fmla="*/ 1502569 h 4575969"/>
                  <a:gd name="connsiteX67" fmla="*/ 697706 w 8971757"/>
                  <a:gd name="connsiteY67" fmla="*/ 1490662 h 4575969"/>
                  <a:gd name="connsiteX68" fmla="*/ 716756 w 8971757"/>
                  <a:gd name="connsiteY68" fmla="*/ 1547812 h 4575969"/>
                  <a:gd name="connsiteX69" fmla="*/ 764381 w 8971757"/>
                  <a:gd name="connsiteY69" fmla="*/ 1590675 h 4575969"/>
                  <a:gd name="connsiteX70" fmla="*/ 788194 w 8971757"/>
                  <a:gd name="connsiteY70" fmla="*/ 1693069 h 4575969"/>
                  <a:gd name="connsiteX71" fmla="*/ 785813 w 8971757"/>
                  <a:gd name="connsiteY71" fmla="*/ 1740694 h 4575969"/>
                  <a:gd name="connsiteX72" fmla="*/ 821531 w 8971757"/>
                  <a:gd name="connsiteY72" fmla="*/ 1840706 h 4575969"/>
                  <a:gd name="connsiteX73" fmla="*/ 866775 w 8971757"/>
                  <a:gd name="connsiteY73" fmla="*/ 1897856 h 4575969"/>
                  <a:gd name="connsiteX74" fmla="*/ 883443 w 8971757"/>
                  <a:gd name="connsiteY74" fmla="*/ 2055018 h 4575969"/>
                  <a:gd name="connsiteX75" fmla="*/ 850106 w 8971757"/>
                  <a:gd name="connsiteY75" fmla="*/ 2116931 h 4575969"/>
                  <a:gd name="connsiteX76" fmla="*/ 819150 w 8971757"/>
                  <a:gd name="connsiteY76" fmla="*/ 2193131 h 4575969"/>
                  <a:gd name="connsiteX77" fmla="*/ 833438 w 8971757"/>
                  <a:gd name="connsiteY77" fmla="*/ 2250281 h 4575969"/>
                  <a:gd name="connsiteX78" fmla="*/ 735806 w 8971757"/>
                  <a:gd name="connsiteY78" fmla="*/ 2357438 h 4575969"/>
                  <a:gd name="connsiteX79" fmla="*/ 692944 w 8971757"/>
                  <a:gd name="connsiteY79" fmla="*/ 2471737 h 4575969"/>
                  <a:gd name="connsiteX80" fmla="*/ 726281 w 8971757"/>
                  <a:gd name="connsiteY80" fmla="*/ 2512219 h 4575969"/>
                  <a:gd name="connsiteX81" fmla="*/ 709613 w 8971757"/>
                  <a:gd name="connsiteY81" fmla="*/ 2540794 h 4575969"/>
                  <a:gd name="connsiteX82" fmla="*/ 740569 w 8971757"/>
                  <a:gd name="connsiteY82" fmla="*/ 2597944 h 4575969"/>
                  <a:gd name="connsiteX83" fmla="*/ 769144 w 8971757"/>
                  <a:gd name="connsiteY83" fmla="*/ 2597944 h 4575969"/>
                  <a:gd name="connsiteX84" fmla="*/ 931069 w 8971757"/>
                  <a:gd name="connsiteY84" fmla="*/ 2700337 h 4575969"/>
                  <a:gd name="connsiteX85" fmla="*/ 1035844 w 8971757"/>
                  <a:gd name="connsiteY85" fmla="*/ 2697956 h 4575969"/>
                  <a:gd name="connsiteX86" fmla="*/ 1114425 w 8971757"/>
                  <a:gd name="connsiteY86" fmla="*/ 2752725 h 4575969"/>
                  <a:gd name="connsiteX87" fmla="*/ 1245393 w 8971757"/>
                  <a:gd name="connsiteY87" fmla="*/ 2755106 h 4575969"/>
                  <a:gd name="connsiteX88" fmla="*/ 1435893 w 8971757"/>
                  <a:gd name="connsiteY88" fmla="*/ 2824162 h 4575969"/>
                  <a:gd name="connsiteX89" fmla="*/ 1638300 w 8971757"/>
                  <a:gd name="connsiteY89" fmla="*/ 2974181 h 4575969"/>
                  <a:gd name="connsiteX90" fmla="*/ 1671637 w 8971757"/>
                  <a:gd name="connsiteY90" fmla="*/ 3040856 h 4575969"/>
                  <a:gd name="connsiteX91" fmla="*/ 1838325 w 8971757"/>
                  <a:gd name="connsiteY91" fmla="*/ 3167062 h 4575969"/>
                  <a:gd name="connsiteX92" fmla="*/ 1909763 w 8971757"/>
                  <a:gd name="connsiteY92" fmla="*/ 3162300 h 4575969"/>
                  <a:gd name="connsiteX93" fmla="*/ 1945482 w 8971757"/>
                  <a:gd name="connsiteY93" fmla="*/ 3186112 h 4575969"/>
                  <a:gd name="connsiteX94" fmla="*/ 1916906 w 8971757"/>
                  <a:gd name="connsiteY94" fmla="*/ 3226594 h 4575969"/>
                  <a:gd name="connsiteX95" fmla="*/ 1924050 w 8971757"/>
                  <a:gd name="connsiteY95" fmla="*/ 3278981 h 4575969"/>
                  <a:gd name="connsiteX96" fmla="*/ 1976438 w 8971757"/>
                  <a:gd name="connsiteY96" fmla="*/ 3305175 h 4575969"/>
                  <a:gd name="connsiteX97" fmla="*/ 2038350 w 8971757"/>
                  <a:gd name="connsiteY97" fmla="*/ 3529013 h 4575969"/>
                  <a:gd name="connsiteX98" fmla="*/ 2028825 w 8971757"/>
                  <a:gd name="connsiteY98" fmla="*/ 3593306 h 4575969"/>
                  <a:gd name="connsiteX99" fmla="*/ 2164556 w 8971757"/>
                  <a:gd name="connsiteY99" fmla="*/ 3759994 h 4575969"/>
                  <a:gd name="connsiteX100" fmla="*/ 2183606 w 8971757"/>
                  <a:gd name="connsiteY100" fmla="*/ 3810000 h 4575969"/>
                  <a:gd name="connsiteX101" fmla="*/ 2157413 w 8971757"/>
                  <a:gd name="connsiteY101" fmla="*/ 3829050 h 4575969"/>
                  <a:gd name="connsiteX102" fmla="*/ 2259806 w 8971757"/>
                  <a:gd name="connsiteY102" fmla="*/ 3838575 h 4575969"/>
                  <a:gd name="connsiteX103" fmla="*/ 2371725 w 8971757"/>
                  <a:gd name="connsiteY103" fmla="*/ 3826669 h 4575969"/>
                  <a:gd name="connsiteX104" fmla="*/ 2650331 w 8971757"/>
                  <a:gd name="connsiteY104" fmla="*/ 3910012 h 4575969"/>
                  <a:gd name="connsiteX105" fmla="*/ 3057525 w 8971757"/>
                  <a:gd name="connsiteY105" fmla="*/ 3990975 h 4575969"/>
                  <a:gd name="connsiteX106" fmla="*/ 3255169 w 8971757"/>
                  <a:gd name="connsiteY106" fmla="*/ 3960018 h 4575969"/>
                  <a:gd name="connsiteX107" fmla="*/ 3300413 w 8971757"/>
                  <a:gd name="connsiteY107" fmla="*/ 3971924 h 4575969"/>
                  <a:gd name="connsiteX108" fmla="*/ 3355181 w 8971757"/>
                  <a:gd name="connsiteY108" fmla="*/ 3948113 h 4575969"/>
                  <a:gd name="connsiteX109" fmla="*/ 3748087 w 8971757"/>
                  <a:gd name="connsiteY109" fmla="*/ 4038600 h 4575969"/>
                  <a:gd name="connsiteX110" fmla="*/ 3831432 w 8971757"/>
                  <a:gd name="connsiteY110" fmla="*/ 4136231 h 4575969"/>
                  <a:gd name="connsiteX111" fmla="*/ 3950494 w 8971757"/>
                  <a:gd name="connsiteY111" fmla="*/ 4207669 h 4575969"/>
                  <a:gd name="connsiteX112" fmla="*/ 4010025 w 8971757"/>
                  <a:gd name="connsiteY112" fmla="*/ 4191000 h 4575969"/>
                  <a:gd name="connsiteX113" fmla="*/ 4360068 w 8971757"/>
                  <a:gd name="connsiteY113" fmla="*/ 4364831 h 4575969"/>
                  <a:gd name="connsiteX114" fmla="*/ 4586288 w 8971757"/>
                  <a:gd name="connsiteY114" fmla="*/ 4336256 h 4575969"/>
                  <a:gd name="connsiteX115" fmla="*/ 4595813 w 8971757"/>
                  <a:gd name="connsiteY115" fmla="*/ 4414837 h 4575969"/>
                  <a:gd name="connsiteX116" fmla="*/ 4681538 w 8971757"/>
                  <a:gd name="connsiteY116" fmla="*/ 4410074 h 4575969"/>
                  <a:gd name="connsiteX117" fmla="*/ 4760119 w 8971757"/>
                  <a:gd name="connsiteY117" fmla="*/ 4441031 h 4575969"/>
                  <a:gd name="connsiteX118" fmla="*/ 4802981 w 8971757"/>
                  <a:gd name="connsiteY118" fmla="*/ 4381500 h 4575969"/>
                  <a:gd name="connsiteX119" fmla="*/ 5474494 w 8971757"/>
                  <a:gd name="connsiteY119" fmla="*/ 4062412 h 4575969"/>
                  <a:gd name="connsiteX120" fmla="*/ 5562600 w 8971757"/>
                  <a:gd name="connsiteY120" fmla="*/ 4090988 h 4575969"/>
                  <a:gd name="connsiteX121" fmla="*/ 5693569 w 8971757"/>
                  <a:gd name="connsiteY121" fmla="*/ 4062412 h 4575969"/>
                  <a:gd name="connsiteX122" fmla="*/ 5872162 w 8971757"/>
                  <a:gd name="connsiteY122" fmla="*/ 4079081 h 4575969"/>
                  <a:gd name="connsiteX123" fmla="*/ 5929313 w 8971757"/>
                  <a:gd name="connsiteY123" fmla="*/ 4052888 h 4575969"/>
                  <a:gd name="connsiteX124" fmla="*/ 6062662 w 8971757"/>
                  <a:gd name="connsiteY124" fmla="*/ 4050506 h 4575969"/>
                  <a:gd name="connsiteX125" fmla="*/ 6196012 w 8971757"/>
                  <a:gd name="connsiteY125" fmla="*/ 3952875 h 4575969"/>
                  <a:gd name="connsiteX126" fmla="*/ 6262687 w 8971757"/>
                  <a:gd name="connsiteY126" fmla="*/ 3945731 h 4575969"/>
                  <a:gd name="connsiteX127" fmla="*/ 6360319 w 8971757"/>
                  <a:gd name="connsiteY127" fmla="*/ 3871912 h 4575969"/>
                  <a:gd name="connsiteX128" fmla="*/ 6434138 w 8971757"/>
                  <a:gd name="connsiteY128" fmla="*/ 3802856 h 4575969"/>
                  <a:gd name="connsiteX129" fmla="*/ 6443663 w 8971757"/>
                  <a:gd name="connsiteY129" fmla="*/ 3740944 h 4575969"/>
                  <a:gd name="connsiteX130" fmla="*/ 6477000 w 8971757"/>
                  <a:gd name="connsiteY130" fmla="*/ 3671887 h 4575969"/>
                  <a:gd name="connsiteX131" fmla="*/ 6629400 w 8971757"/>
                  <a:gd name="connsiteY131" fmla="*/ 3564731 h 4575969"/>
                  <a:gd name="connsiteX132" fmla="*/ 6662738 w 8971757"/>
                  <a:gd name="connsiteY132" fmla="*/ 3569494 h 4575969"/>
                  <a:gd name="connsiteX133" fmla="*/ 6715125 w 8971757"/>
                  <a:gd name="connsiteY133" fmla="*/ 3490912 h 4575969"/>
                  <a:gd name="connsiteX134" fmla="*/ 6762750 w 8971757"/>
                  <a:gd name="connsiteY134" fmla="*/ 3452812 h 4575969"/>
                  <a:gd name="connsiteX135" fmla="*/ 6748463 w 8971757"/>
                  <a:gd name="connsiteY135" fmla="*/ 3383756 h 4575969"/>
                  <a:gd name="connsiteX136" fmla="*/ 6698456 w 8971757"/>
                  <a:gd name="connsiteY136" fmla="*/ 3352799 h 4575969"/>
                  <a:gd name="connsiteX137" fmla="*/ 6638925 w 8971757"/>
                  <a:gd name="connsiteY137" fmla="*/ 3298031 h 4575969"/>
                  <a:gd name="connsiteX138" fmla="*/ 6619875 w 8971757"/>
                  <a:gd name="connsiteY138" fmla="*/ 3240881 h 4575969"/>
                  <a:gd name="connsiteX139" fmla="*/ 6584156 w 8971757"/>
                  <a:gd name="connsiteY139" fmla="*/ 3207544 h 4575969"/>
                  <a:gd name="connsiteX140" fmla="*/ 6610350 w 8971757"/>
                  <a:gd name="connsiteY140" fmla="*/ 3155156 h 4575969"/>
                  <a:gd name="connsiteX141" fmla="*/ 6650831 w 8971757"/>
                  <a:gd name="connsiteY141" fmla="*/ 2976562 h 4575969"/>
                  <a:gd name="connsiteX142" fmla="*/ 6691313 w 8971757"/>
                  <a:gd name="connsiteY142" fmla="*/ 2909887 h 4575969"/>
                  <a:gd name="connsiteX143" fmla="*/ 6836569 w 8971757"/>
                  <a:gd name="connsiteY143" fmla="*/ 2893218 h 4575969"/>
                  <a:gd name="connsiteX144" fmla="*/ 6905625 w 8971757"/>
                  <a:gd name="connsiteY144" fmla="*/ 2950369 h 4575969"/>
                  <a:gd name="connsiteX145" fmla="*/ 6981825 w 8971757"/>
                  <a:gd name="connsiteY145" fmla="*/ 2974181 h 4575969"/>
                  <a:gd name="connsiteX146" fmla="*/ 7186612 w 8971757"/>
                  <a:gd name="connsiteY146" fmla="*/ 2978944 h 4575969"/>
                  <a:gd name="connsiteX147" fmla="*/ 7362825 w 8971757"/>
                  <a:gd name="connsiteY147" fmla="*/ 2840831 h 4575969"/>
                  <a:gd name="connsiteX148" fmla="*/ 7419975 w 8971757"/>
                  <a:gd name="connsiteY148" fmla="*/ 2750343 h 4575969"/>
                  <a:gd name="connsiteX149" fmla="*/ 7446169 w 8971757"/>
                  <a:gd name="connsiteY149" fmla="*/ 2667000 h 4575969"/>
                  <a:gd name="connsiteX150" fmla="*/ 7577137 w 8971757"/>
                  <a:gd name="connsiteY150" fmla="*/ 2667000 h 4575969"/>
                  <a:gd name="connsiteX151" fmla="*/ 7750969 w 8971757"/>
                  <a:gd name="connsiteY151" fmla="*/ 2609849 h 4575969"/>
                  <a:gd name="connsiteX152" fmla="*/ 7810500 w 8971757"/>
                  <a:gd name="connsiteY152" fmla="*/ 2497931 h 4575969"/>
                  <a:gd name="connsiteX153" fmla="*/ 7874794 w 8971757"/>
                  <a:gd name="connsiteY153" fmla="*/ 2462212 h 4575969"/>
                  <a:gd name="connsiteX154" fmla="*/ 7853363 w 8971757"/>
                  <a:gd name="connsiteY154" fmla="*/ 2416969 h 4575969"/>
                  <a:gd name="connsiteX155" fmla="*/ 7931944 w 8971757"/>
                  <a:gd name="connsiteY155" fmla="*/ 2247899 h 4575969"/>
                  <a:gd name="connsiteX156" fmla="*/ 7986713 w 8971757"/>
                  <a:gd name="connsiteY156" fmla="*/ 2188369 h 4575969"/>
                  <a:gd name="connsiteX157" fmla="*/ 8024813 w 8971757"/>
                  <a:gd name="connsiteY157" fmla="*/ 2183606 h 4575969"/>
                  <a:gd name="connsiteX158" fmla="*/ 8070056 w 8971757"/>
                  <a:gd name="connsiteY158" fmla="*/ 2188369 h 4575969"/>
                  <a:gd name="connsiteX159" fmla="*/ 8134350 w 8971757"/>
                  <a:gd name="connsiteY159" fmla="*/ 2155031 h 4575969"/>
                  <a:gd name="connsiteX160" fmla="*/ 8143875 w 8971757"/>
                  <a:gd name="connsiteY160" fmla="*/ 2090737 h 4575969"/>
                  <a:gd name="connsiteX161" fmla="*/ 8184355 w 8971757"/>
                  <a:gd name="connsiteY161" fmla="*/ 2055019 h 4575969"/>
                  <a:gd name="connsiteX162" fmla="*/ 8243888 w 8971757"/>
                  <a:gd name="connsiteY162" fmla="*/ 2095499 h 4575969"/>
                  <a:gd name="connsiteX163" fmla="*/ 8270082 w 8971757"/>
                  <a:gd name="connsiteY163" fmla="*/ 2045493 h 4575969"/>
                  <a:gd name="connsiteX164" fmla="*/ 8365331 w 8971757"/>
                  <a:gd name="connsiteY164" fmla="*/ 1976437 h 4575969"/>
                  <a:gd name="connsiteX165" fmla="*/ 8427244 w 8971757"/>
                  <a:gd name="connsiteY165" fmla="*/ 1983581 h 4575969"/>
                  <a:gd name="connsiteX166" fmla="*/ 8477250 w 8971757"/>
                  <a:gd name="connsiteY166" fmla="*/ 1964531 h 4575969"/>
                  <a:gd name="connsiteX167" fmla="*/ 8515350 w 8971757"/>
                  <a:gd name="connsiteY167" fmla="*/ 1935956 h 4575969"/>
                  <a:gd name="connsiteX168" fmla="*/ 8548688 w 8971757"/>
                  <a:gd name="connsiteY168" fmla="*/ 1933575 h 4575969"/>
                  <a:gd name="connsiteX169" fmla="*/ 8584406 w 8971757"/>
                  <a:gd name="connsiteY169" fmla="*/ 1964531 h 4575969"/>
                  <a:gd name="connsiteX170" fmla="*/ 8643938 w 8971757"/>
                  <a:gd name="connsiteY170" fmla="*/ 1964531 h 4575969"/>
                  <a:gd name="connsiteX171" fmla="*/ 8682037 w 8971757"/>
                  <a:gd name="connsiteY171" fmla="*/ 1945481 h 4575969"/>
                  <a:gd name="connsiteX172" fmla="*/ 8765381 w 8971757"/>
                  <a:gd name="connsiteY172" fmla="*/ 1947863 h 4575969"/>
                  <a:gd name="connsiteX173" fmla="*/ 8796338 w 8971757"/>
                  <a:gd name="connsiteY173" fmla="*/ 1902619 h 4575969"/>
                  <a:gd name="connsiteX174" fmla="*/ 8801100 w 8971757"/>
                  <a:gd name="connsiteY174" fmla="*/ 1840706 h 4575969"/>
                  <a:gd name="connsiteX175" fmla="*/ 8751093 w 8971757"/>
                  <a:gd name="connsiteY175" fmla="*/ 1800225 h 4575969"/>
                  <a:gd name="connsiteX176" fmla="*/ 8734425 w 8971757"/>
                  <a:gd name="connsiteY176" fmla="*/ 1745456 h 4575969"/>
                  <a:gd name="connsiteX177" fmla="*/ 8643938 w 8971757"/>
                  <a:gd name="connsiteY177" fmla="*/ 1683544 h 4575969"/>
                  <a:gd name="connsiteX178" fmla="*/ 8603456 w 8971757"/>
                  <a:gd name="connsiteY178" fmla="*/ 1662112 h 4575969"/>
                  <a:gd name="connsiteX179" fmla="*/ 8565356 w 8971757"/>
                  <a:gd name="connsiteY179" fmla="*/ 1616869 h 4575969"/>
                  <a:gd name="connsiteX180" fmla="*/ 8534400 w 8971757"/>
                  <a:gd name="connsiteY180" fmla="*/ 1614487 h 4575969"/>
                  <a:gd name="connsiteX181" fmla="*/ 8517731 w 8971757"/>
                  <a:gd name="connsiteY181" fmla="*/ 1562100 h 4575969"/>
                  <a:gd name="connsiteX182" fmla="*/ 8477250 w 8971757"/>
                  <a:gd name="connsiteY182" fmla="*/ 1545431 h 4575969"/>
                  <a:gd name="connsiteX183" fmla="*/ 8477250 w 8971757"/>
                  <a:gd name="connsiteY183" fmla="*/ 1545431 h 4575969"/>
                  <a:gd name="connsiteX184" fmla="*/ 8436769 w 8971757"/>
                  <a:gd name="connsiteY184" fmla="*/ 1550194 h 4575969"/>
                  <a:gd name="connsiteX185" fmla="*/ 8351043 w 8971757"/>
                  <a:gd name="connsiteY185" fmla="*/ 1476375 h 4575969"/>
                  <a:gd name="connsiteX186" fmla="*/ 8170069 w 8971757"/>
                  <a:gd name="connsiteY186" fmla="*/ 1476374 h 4575969"/>
                  <a:gd name="connsiteX187" fmla="*/ 8117681 w 8971757"/>
                  <a:gd name="connsiteY187" fmla="*/ 1514475 h 4575969"/>
                  <a:gd name="connsiteX188" fmla="*/ 8067675 w 8971757"/>
                  <a:gd name="connsiteY188" fmla="*/ 1593056 h 4575969"/>
                  <a:gd name="connsiteX189" fmla="*/ 8084344 w 8971757"/>
                  <a:gd name="connsiteY189" fmla="*/ 1614487 h 4575969"/>
                  <a:gd name="connsiteX190" fmla="*/ 8039100 w 8971757"/>
                  <a:gd name="connsiteY190" fmla="*/ 1664493 h 4575969"/>
                  <a:gd name="connsiteX191" fmla="*/ 7889081 w 8971757"/>
                  <a:gd name="connsiteY191" fmla="*/ 1588293 h 4575969"/>
                  <a:gd name="connsiteX192" fmla="*/ 7798594 w 8971757"/>
                  <a:gd name="connsiteY192" fmla="*/ 1624012 h 4575969"/>
                  <a:gd name="connsiteX193" fmla="*/ 7724775 w 8971757"/>
                  <a:gd name="connsiteY193" fmla="*/ 1621631 h 4575969"/>
                  <a:gd name="connsiteX194" fmla="*/ 7667625 w 8971757"/>
                  <a:gd name="connsiteY194" fmla="*/ 1716881 h 4575969"/>
                  <a:gd name="connsiteX195" fmla="*/ 7529513 w 8971757"/>
                  <a:gd name="connsiteY19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5005388 w 8971757"/>
                  <a:gd name="connsiteY42" fmla="*/ 904874 h 4575969"/>
                  <a:gd name="connsiteX43" fmla="*/ 8412956 w 8971757"/>
                  <a:gd name="connsiteY43" fmla="*/ 23812 h 4575969"/>
                  <a:gd name="connsiteX44" fmla="*/ 8949531 w 8971757"/>
                  <a:gd name="connsiteY44" fmla="*/ 0 h 4575969"/>
                  <a:gd name="connsiteX45" fmla="*/ 8971757 w 8971757"/>
                  <a:gd name="connsiteY45" fmla="*/ 4575969 h 4575969"/>
                  <a:gd name="connsiteX46" fmla="*/ 2381 w 8971757"/>
                  <a:gd name="connsiteY46" fmla="*/ 4547392 h 4575969"/>
                  <a:gd name="connsiteX47" fmla="*/ 0 w 8971757"/>
                  <a:gd name="connsiteY47" fmla="*/ 845344 h 4575969"/>
                  <a:gd name="connsiteX48" fmla="*/ 76200 w 8971757"/>
                  <a:gd name="connsiteY48" fmla="*/ 828675 h 4575969"/>
                  <a:gd name="connsiteX49" fmla="*/ 119063 w 8971757"/>
                  <a:gd name="connsiteY49" fmla="*/ 857250 h 4575969"/>
                  <a:gd name="connsiteX50" fmla="*/ 215900 w 8971757"/>
                  <a:gd name="connsiteY50" fmla="*/ 848519 h 4575969"/>
                  <a:gd name="connsiteX51" fmla="*/ 261938 w 8971757"/>
                  <a:gd name="connsiteY51" fmla="*/ 876299 h 4575969"/>
                  <a:gd name="connsiteX52" fmla="*/ 228600 w 8971757"/>
                  <a:gd name="connsiteY52" fmla="*/ 904875 h 4575969"/>
                  <a:gd name="connsiteX53" fmla="*/ 233363 w 8971757"/>
                  <a:gd name="connsiteY53" fmla="*/ 947737 h 4575969"/>
                  <a:gd name="connsiteX54" fmla="*/ 200025 w 8971757"/>
                  <a:gd name="connsiteY54" fmla="*/ 952500 h 4575969"/>
                  <a:gd name="connsiteX55" fmla="*/ 204788 w 8971757"/>
                  <a:gd name="connsiteY55" fmla="*/ 976312 h 4575969"/>
                  <a:gd name="connsiteX56" fmla="*/ 261937 w 8971757"/>
                  <a:gd name="connsiteY56" fmla="*/ 1050131 h 4575969"/>
                  <a:gd name="connsiteX57" fmla="*/ 223838 w 8971757"/>
                  <a:gd name="connsiteY57" fmla="*/ 1097756 h 4575969"/>
                  <a:gd name="connsiteX58" fmla="*/ 278606 w 8971757"/>
                  <a:gd name="connsiteY58" fmla="*/ 1133475 h 4575969"/>
                  <a:gd name="connsiteX59" fmla="*/ 369094 w 8971757"/>
                  <a:gd name="connsiteY59" fmla="*/ 1221581 h 4575969"/>
                  <a:gd name="connsiteX60" fmla="*/ 371475 w 8971757"/>
                  <a:gd name="connsiteY60" fmla="*/ 1281112 h 4575969"/>
                  <a:gd name="connsiteX61" fmla="*/ 507206 w 8971757"/>
                  <a:gd name="connsiteY61" fmla="*/ 1414463 h 4575969"/>
                  <a:gd name="connsiteX62" fmla="*/ 561975 w 8971757"/>
                  <a:gd name="connsiteY62" fmla="*/ 1390650 h 4575969"/>
                  <a:gd name="connsiteX63" fmla="*/ 600075 w 8971757"/>
                  <a:gd name="connsiteY63" fmla="*/ 1416843 h 4575969"/>
                  <a:gd name="connsiteX64" fmla="*/ 614363 w 8971757"/>
                  <a:gd name="connsiteY64" fmla="*/ 1466849 h 4575969"/>
                  <a:gd name="connsiteX65" fmla="*/ 657225 w 8971757"/>
                  <a:gd name="connsiteY65" fmla="*/ 1502569 h 4575969"/>
                  <a:gd name="connsiteX66" fmla="*/ 697706 w 8971757"/>
                  <a:gd name="connsiteY66" fmla="*/ 1490662 h 4575969"/>
                  <a:gd name="connsiteX67" fmla="*/ 716756 w 8971757"/>
                  <a:gd name="connsiteY67" fmla="*/ 1547812 h 4575969"/>
                  <a:gd name="connsiteX68" fmla="*/ 764381 w 8971757"/>
                  <a:gd name="connsiteY68" fmla="*/ 1590675 h 4575969"/>
                  <a:gd name="connsiteX69" fmla="*/ 788194 w 8971757"/>
                  <a:gd name="connsiteY69" fmla="*/ 1693069 h 4575969"/>
                  <a:gd name="connsiteX70" fmla="*/ 785813 w 8971757"/>
                  <a:gd name="connsiteY70" fmla="*/ 1740694 h 4575969"/>
                  <a:gd name="connsiteX71" fmla="*/ 821531 w 8971757"/>
                  <a:gd name="connsiteY71" fmla="*/ 1840706 h 4575969"/>
                  <a:gd name="connsiteX72" fmla="*/ 866775 w 8971757"/>
                  <a:gd name="connsiteY72" fmla="*/ 1897856 h 4575969"/>
                  <a:gd name="connsiteX73" fmla="*/ 883443 w 8971757"/>
                  <a:gd name="connsiteY73" fmla="*/ 2055018 h 4575969"/>
                  <a:gd name="connsiteX74" fmla="*/ 850106 w 8971757"/>
                  <a:gd name="connsiteY74" fmla="*/ 2116931 h 4575969"/>
                  <a:gd name="connsiteX75" fmla="*/ 819150 w 8971757"/>
                  <a:gd name="connsiteY75" fmla="*/ 2193131 h 4575969"/>
                  <a:gd name="connsiteX76" fmla="*/ 833438 w 8971757"/>
                  <a:gd name="connsiteY76" fmla="*/ 2250281 h 4575969"/>
                  <a:gd name="connsiteX77" fmla="*/ 735806 w 8971757"/>
                  <a:gd name="connsiteY77" fmla="*/ 2357438 h 4575969"/>
                  <a:gd name="connsiteX78" fmla="*/ 692944 w 8971757"/>
                  <a:gd name="connsiteY78" fmla="*/ 2471737 h 4575969"/>
                  <a:gd name="connsiteX79" fmla="*/ 726281 w 8971757"/>
                  <a:gd name="connsiteY79" fmla="*/ 2512219 h 4575969"/>
                  <a:gd name="connsiteX80" fmla="*/ 709613 w 8971757"/>
                  <a:gd name="connsiteY80" fmla="*/ 2540794 h 4575969"/>
                  <a:gd name="connsiteX81" fmla="*/ 740569 w 8971757"/>
                  <a:gd name="connsiteY81" fmla="*/ 2597944 h 4575969"/>
                  <a:gd name="connsiteX82" fmla="*/ 769144 w 8971757"/>
                  <a:gd name="connsiteY82" fmla="*/ 2597944 h 4575969"/>
                  <a:gd name="connsiteX83" fmla="*/ 931069 w 8971757"/>
                  <a:gd name="connsiteY83" fmla="*/ 2700337 h 4575969"/>
                  <a:gd name="connsiteX84" fmla="*/ 1035844 w 8971757"/>
                  <a:gd name="connsiteY84" fmla="*/ 2697956 h 4575969"/>
                  <a:gd name="connsiteX85" fmla="*/ 1114425 w 8971757"/>
                  <a:gd name="connsiteY85" fmla="*/ 2752725 h 4575969"/>
                  <a:gd name="connsiteX86" fmla="*/ 1245393 w 8971757"/>
                  <a:gd name="connsiteY86" fmla="*/ 2755106 h 4575969"/>
                  <a:gd name="connsiteX87" fmla="*/ 1435893 w 8971757"/>
                  <a:gd name="connsiteY87" fmla="*/ 2824162 h 4575969"/>
                  <a:gd name="connsiteX88" fmla="*/ 1638300 w 8971757"/>
                  <a:gd name="connsiteY88" fmla="*/ 2974181 h 4575969"/>
                  <a:gd name="connsiteX89" fmla="*/ 1671637 w 8971757"/>
                  <a:gd name="connsiteY89" fmla="*/ 3040856 h 4575969"/>
                  <a:gd name="connsiteX90" fmla="*/ 1838325 w 8971757"/>
                  <a:gd name="connsiteY90" fmla="*/ 3167062 h 4575969"/>
                  <a:gd name="connsiteX91" fmla="*/ 1909763 w 8971757"/>
                  <a:gd name="connsiteY91" fmla="*/ 3162300 h 4575969"/>
                  <a:gd name="connsiteX92" fmla="*/ 1945482 w 8971757"/>
                  <a:gd name="connsiteY92" fmla="*/ 3186112 h 4575969"/>
                  <a:gd name="connsiteX93" fmla="*/ 1916906 w 8971757"/>
                  <a:gd name="connsiteY93" fmla="*/ 3226594 h 4575969"/>
                  <a:gd name="connsiteX94" fmla="*/ 1924050 w 8971757"/>
                  <a:gd name="connsiteY94" fmla="*/ 3278981 h 4575969"/>
                  <a:gd name="connsiteX95" fmla="*/ 1976438 w 8971757"/>
                  <a:gd name="connsiteY95" fmla="*/ 3305175 h 4575969"/>
                  <a:gd name="connsiteX96" fmla="*/ 2038350 w 8971757"/>
                  <a:gd name="connsiteY96" fmla="*/ 3529013 h 4575969"/>
                  <a:gd name="connsiteX97" fmla="*/ 2028825 w 8971757"/>
                  <a:gd name="connsiteY97" fmla="*/ 3593306 h 4575969"/>
                  <a:gd name="connsiteX98" fmla="*/ 2164556 w 8971757"/>
                  <a:gd name="connsiteY98" fmla="*/ 3759994 h 4575969"/>
                  <a:gd name="connsiteX99" fmla="*/ 2183606 w 8971757"/>
                  <a:gd name="connsiteY99" fmla="*/ 3810000 h 4575969"/>
                  <a:gd name="connsiteX100" fmla="*/ 2157413 w 8971757"/>
                  <a:gd name="connsiteY100" fmla="*/ 3829050 h 4575969"/>
                  <a:gd name="connsiteX101" fmla="*/ 2259806 w 8971757"/>
                  <a:gd name="connsiteY101" fmla="*/ 3838575 h 4575969"/>
                  <a:gd name="connsiteX102" fmla="*/ 2371725 w 8971757"/>
                  <a:gd name="connsiteY102" fmla="*/ 3826669 h 4575969"/>
                  <a:gd name="connsiteX103" fmla="*/ 2650331 w 8971757"/>
                  <a:gd name="connsiteY103" fmla="*/ 3910012 h 4575969"/>
                  <a:gd name="connsiteX104" fmla="*/ 3057525 w 8971757"/>
                  <a:gd name="connsiteY104" fmla="*/ 3990975 h 4575969"/>
                  <a:gd name="connsiteX105" fmla="*/ 3255169 w 8971757"/>
                  <a:gd name="connsiteY105" fmla="*/ 3960018 h 4575969"/>
                  <a:gd name="connsiteX106" fmla="*/ 3300413 w 8971757"/>
                  <a:gd name="connsiteY106" fmla="*/ 3971924 h 4575969"/>
                  <a:gd name="connsiteX107" fmla="*/ 3355181 w 8971757"/>
                  <a:gd name="connsiteY107" fmla="*/ 3948113 h 4575969"/>
                  <a:gd name="connsiteX108" fmla="*/ 3748087 w 8971757"/>
                  <a:gd name="connsiteY108" fmla="*/ 4038600 h 4575969"/>
                  <a:gd name="connsiteX109" fmla="*/ 3831432 w 8971757"/>
                  <a:gd name="connsiteY109" fmla="*/ 4136231 h 4575969"/>
                  <a:gd name="connsiteX110" fmla="*/ 3950494 w 8971757"/>
                  <a:gd name="connsiteY110" fmla="*/ 4207669 h 4575969"/>
                  <a:gd name="connsiteX111" fmla="*/ 4010025 w 8971757"/>
                  <a:gd name="connsiteY111" fmla="*/ 4191000 h 4575969"/>
                  <a:gd name="connsiteX112" fmla="*/ 4360068 w 8971757"/>
                  <a:gd name="connsiteY112" fmla="*/ 4364831 h 4575969"/>
                  <a:gd name="connsiteX113" fmla="*/ 4586288 w 8971757"/>
                  <a:gd name="connsiteY113" fmla="*/ 4336256 h 4575969"/>
                  <a:gd name="connsiteX114" fmla="*/ 4595813 w 8971757"/>
                  <a:gd name="connsiteY114" fmla="*/ 4414837 h 4575969"/>
                  <a:gd name="connsiteX115" fmla="*/ 4681538 w 8971757"/>
                  <a:gd name="connsiteY115" fmla="*/ 4410074 h 4575969"/>
                  <a:gd name="connsiteX116" fmla="*/ 4760119 w 8971757"/>
                  <a:gd name="connsiteY116" fmla="*/ 4441031 h 4575969"/>
                  <a:gd name="connsiteX117" fmla="*/ 4802981 w 8971757"/>
                  <a:gd name="connsiteY117" fmla="*/ 4381500 h 4575969"/>
                  <a:gd name="connsiteX118" fmla="*/ 5474494 w 8971757"/>
                  <a:gd name="connsiteY118" fmla="*/ 4062412 h 4575969"/>
                  <a:gd name="connsiteX119" fmla="*/ 5562600 w 8971757"/>
                  <a:gd name="connsiteY119" fmla="*/ 4090988 h 4575969"/>
                  <a:gd name="connsiteX120" fmla="*/ 5693569 w 8971757"/>
                  <a:gd name="connsiteY120" fmla="*/ 4062412 h 4575969"/>
                  <a:gd name="connsiteX121" fmla="*/ 5872162 w 8971757"/>
                  <a:gd name="connsiteY121" fmla="*/ 4079081 h 4575969"/>
                  <a:gd name="connsiteX122" fmla="*/ 5929313 w 8971757"/>
                  <a:gd name="connsiteY122" fmla="*/ 4052888 h 4575969"/>
                  <a:gd name="connsiteX123" fmla="*/ 6062662 w 8971757"/>
                  <a:gd name="connsiteY123" fmla="*/ 4050506 h 4575969"/>
                  <a:gd name="connsiteX124" fmla="*/ 6196012 w 8971757"/>
                  <a:gd name="connsiteY124" fmla="*/ 3952875 h 4575969"/>
                  <a:gd name="connsiteX125" fmla="*/ 6262687 w 8971757"/>
                  <a:gd name="connsiteY125" fmla="*/ 3945731 h 4575969"/>
                  <a:gd name="connsiteX126" fmla="*/ 6360319 w 8971757"/>
                  <a:gd name="connsiteY126" fmla="*/ 3871912 h 4575969"/>
                  <a:gd name="connsiteX127" fmla="*/ 6434138 w 8971757"/>
                  <a:gd name="connsiteY127" fmla="*/ 3802856 h 4575969"/>
                  <a:gd name="connsiteX128" fmla="*/ 6443663 w 8971757"/>
                  <a:gd name="connsiteY128" fmla="*/ 3740944 h 4575969"/>
                  <a:gd name="connsiteX129" fmla="*/ 6477000 w 8971757"/>
                  <a:gd name="connsiteY129" fmla="*/ 3671887 h 4575969"/>
                  <a:gd name="connsiteX130" fmla="*/ 6629400 w 8971757"/>
                  <a:gd name="connsiteY130" fmla="*/ 3564731 h 4575969"/>
                  <a:gd name="connsiteX131" fmla="*/ 6662738 w 8971757"/>
                  <a:gd name="connsiteY131" fmla="*/ 3569494 h 4575969"/>
                  <a:gd name="connsiteX132" fmla="*/ 6715125 w 8971757"/>
                  <a:gd name="connsiteY132" fmla="*/ 3490912 h 4575969"/>
                  <a:gd name="connsiteX133" fmla="*/ 6762750 w 8971757"/>
                  <a:gd name="connsiteY133" fmla="*/ 3452812 h 4575969"/>
                  <a:gd name="connsiteX134" fmla="*/ 6748463 w 8971757"/>
                  <a:gd name="connsiteY134" fmla="*/ 3383756 h 4575969"/>
                  <a:gd name="connsiteX135" fmla="*/ 6698456 w 8971757"/>
                  <a:gd name="connsiteY135" fmla="*/ 3352799 h 4575969"/>
                  <a:gd name="connsiteX136" fmla="*/ 6638925 w 8971757"/>
                  <a:gd name="connsiteY136" fmla="*/ 3298031 h 4575969"/>
                  <a:gd name="connsiteX137" fmla="*/ 6619875 w 8971757"/>
                  <a:gd name="connsiteY137" fmla="*/ 3240881 h 4575969"/>
                  <a:gd name="connsiteX138" fmla="*/ 6584156 w 8971757"/>
                  <a:gd name="connsiteY138" fmla="*/ 3207544 h 4575969"/>
                  <a:gd name="connsiteX139" fmla="*/ 6610350 w 8971757"/>
                  <a:gd name="connsiteY139" fmla="*/ 3155156 h 4575969"/>
                  <a:gd name="connsiteX140" fmla="*/ 6650831 w 8971757"/>
                  <a:gd name="connsiteY140" fmla="*/ 2976562 h 4575969"/>
                  <a:gd name="connsiteX141" fmla="*/ 6691313 w 8971757"/>
                  <a:gd name="connsiteY141" fmla="*/ 2909887 h 4575969"/>
                  <a:gd name="connsiteX142" fmla="*/ 6836569 w 8971757"/>
                  <a:gd name="connsiteY142" fmla="*/ 2893218 h 4575969"/>
                  <a:gd name="connsiteX143" fmla="*/ 6905625 w 8971757"/>
                  <a:gd name="connsiteY143" fmla="*/ 2950369 h 4575969"/>
                  <a:gd name="connsiteX144" fmla="*/ 6981825 w 8971757"/>
                  <a:gd name="connsiteY144" fmla="*/ 2974181 h 4575969"/>
                  <a:gd name="connsiteX145" fmla="*/ 7186612 w 8971757"/>
                  <a:gd name="connsiteY145" fmla="*/ 2978944 h 4575969"/>
                  <a:gd name="connsiteX146" fmla="*/ 7362825 w 8971757"/>
                  <a:gd name="connsiteY146" fmla="*/ 2840831 h 4575969"/>
                  <a:gd name="connsiteX147" fmla="*/ 7419975 w 8971757"/>
                  <a:gd name="connsiteY147" fmla="*/ 2750343 h 4575969"/>
                  <a:gd name="connsiteX148" fmla="*/ 7446169 w 8971757"/>
                  <a:gd name="connsiteY148" fmla="*/ 2667000 h 4575969"/>
                  <a:gd name="connsiteX149" fmla="*/ 7577137 w 8971757"/>
                  <a:gd name="connsiteY149" fmla="*/ 2667000 h 4575969"/>
                  <a:gd name="connsiteX150" fmla="*/ 7750969 w 8971757"/>
                  <a:gd name="connsiteY150" fmla="*/ 2609849 h 4575969"/>
                  <a:gd name="connsiteX151" fmla="*/ 7810500 w 8971757"/>
                  <a:gd name="connsiteY151" fmla="*/ 2497931 h 4575969"/>
                  <a:gd name="connsiteX152" fmla="*/ 7874794 w 8971757"/>
                  <a:gd name="connsiteY152" fmla="*/ 2462212 h 4575969"/>
                  <a:gd name="connsiteX153" fmla="*/ 7853363 w 8971757"/>
                  <a:gd name="connsiteY153" fmla="*/ 2416969 h 4575969"/>
                  <a:gd name="connsiteX154" fmla="*/ 7931944 w 8971757"/>
                  <a:gd name="connsiteY154" fmla="*/ 2247899 h 4575969"/>
                  <a:gd name="connsiteX155" fmla="*/ 7986713 w 8971757"/>
                  <a:gd name="connsiteY155" fmla="*/ 2188369 h 4575969"/>
                  <a:gd name="connsiteX156" fmla="*/ 8024813 w 8971757"/>
                  <a:gd name="connsiteY156" fmla="*/ 2183606 h 4575969"/>
                  <a:gd name="connsiteX157" fmla="*/ 8070056 w 8971757"/>
                  <a:gd name="connsiteY157" fmla="*/ 2188369 h 4575969"/>
                  <a:gd name="connsiteX158" fmla="*/ 8134350 w 8971757"/>
                  <a:gd name="connsiteY158" fmla="*/ 2155031 h 4575969"/>
                  <a:gd name="connsiteX159" fmla="*/ 8143875 w 8971757"/>
                  <a:gd name="connsiteY159" fmla="*/ 2090737 h 4575969"/>
                  <a:gd name="connsiteX160" fmla="*/ 8184355 w 8971757"/>
                  <a:gd name="connsiteY160" fmla="*/ 2055019 h 4575969"/>
                  <a:gd name="connsiteX161" fmla="*/ 8243888 w 8971757"/>
                  <a:gd name="connsiteY161" fmla="*/ 2095499 h 4575969"/>
                  <a:gd name="connsiteX162" fmla="*/ 8270082 w 8971757"/>
                  <a:gd name="connsiteY162" fmla="*/ 2045493 h 4575969"/>
                  <a:gd name="connsiteX163" fmla="*/ 8365331 w 8971757"/>
                  <a:gd name="connsiteY163" fmla="*/ 1976437 h 4575969"/>
                  <a:gd name="connsiteX164" fmla="*/ 8427244 w 8971757"/>
                  <a:gd name="connsiteY164" fmla="*/ 1983581 h 4575969"/>
                  <a:gd name="connsiteX165" fmla="*/ 8477250 w 8971757"/>
                  <a:gd name="connsiteY165" fmla="*/ 1964531 h 4575969"/>
                  <a:gd name="connsiteX166" fmla="*/ 8515350 w 8971757"/>
                  <a:gd name="connsiteY166" fmla="*/ 1935956 h 4575969"/>
                  <a:gd name="connsiteX167" fmla="*/ 8548688 w 8971757"/>
                  <a:gd name="connsiteY167" fmla="*/ 1933575 h 4575969"/>
                  <a:gd name="connsiteX168" fmla="*/ 8584406 w 8971757"/>
                  <a:gd name="connsiteY168" fmla="*/ 1964531 h 4575969"/>
                  <a:gd name="connsiteX169" fmla="*/ 8643938 w 8971757"/>
                  <a:gd name="connsiteY169" fmla="*/ 1964531 h 4575969"/>
                  <a:gd name="connsiteX170" fmla="*/ 8682037 w 8971757"/>
                  <a:gd name="connsiteY170" fmla="*/ 1945481 h 4575969"/>
                  <a:gd name="connsiteX171" fmla="*/ 8765381 w 8971757"/>
                  <a:gd name="connsiteY171" fmla="*/ 1947863 h 4575969"/>
                  <a:gd name="connsiteX172" fmla="*/ 8796338 w 8971757"/>
                  <a:gd name="connsiteY172" fmla="*/ 1902619 h 4575969"/>
                  <a:gd name="connsiteX173" fmla="*/ 8801100 w 8971757"/>
                  <a:gd name="connsiteY173" fmla="*/ 1840706 h 4575969"/>
                  <a:gd name="connsiteX174" fmla="*/ 8751093 w 8971757"/>
                  <a:gd name="connsiteY174" fmla="*/ 1800225 h 4575969"/>
                  <a:gd name="connsiteX175" fmla="*/ 8734425 w 8971757"/>
                  <a:gd name="connsiteY175" fmla="*/ 1745456 h 4575969"/>
                  <a:gd name="connsiteX176" fmla="*/ 8643938 w 8971757"/>
                  <a:gd name="connsiteY176" fmla="*/ 1683544 h 4575969"/>
                  <a:gd name="connsiteX177" fmla="*/ 8603456 w 8971757"/>
                  <a:gd name="connsiteY177" fmla="*/ 1662112 h 4575969"/>
                  <a:gd name="connsiteX178" fmla="*/ 8565356 w 8971757"/>
                  <a:gd name="connsiteY178" fmla="*/ 1616869 h 4575969"/>
                  <a:gd name="connsiteX179" fmla="*/ 8534400 w 8971757"/>
                  <a:gd name="connsiteY179" fmla="*/ 1614487 h 4575969"/>
                  <a:gd name="connsiteX180" fmla="*/ 8517731 w 8971757"/>
                  <a:gd name="connsiteY180" fmla="*/ 1562100 h 4575969"/>
                  <a:gd name="connsiteX181" fmla="*/ 8477250 w 8971757"/>
                  <a:gd name="connsiteY181" fmla="*/ 1545431 h 4575969"/>
                  <a:gd name="connsiteX182" fmla="*/ 8477250 w 8971757"/>
                  <a:gd name="connsiteY182" fmla="*/ 1545431 h 4575969"/>
                  <a:gd name="connsiteX183" fmla="*/ 8436769 w 8971757"/>
                  <a:gd name="connsiteY183" fmla="*/ 1550194 h 4575969"/>
                  <a:gd name="connsiteX184" fmla="*/ 8351043 w 8971757"/>
                  <a:gd name="connsiteY184" fmla="*/ 1476375 h 4575969"/>
                  <a:gd name="connsiteX185" fmla="*/ 8170069 w 8971757"/>
                  <a:gd name="connsiteY185" fmla="*/ 1476374 h 4575969"/>
                  <a:gd name="connsiteX186" fmla="*/ 8117681 w 8971757"/>
                  <a:gd name="connsiteY186" fmla="*/ 1514475 h 4575969"/>
                  <a:gd name="connsiteX187" fmla="*/ 8067675 w 8971757"/>
                  <a:gd name="connsiteY187" fmla="*/ 1593056 h 4575969"/>
                  <a:gd name="connsiteX188" fmla="*/ 8084344 w 8971757"/>
                  <a:gd name="connsiteY188" fmla="*/ 1614487 h 4575969"/>
                  <a:gd name="connsiteX189" fmla="*/ 8039100 w 8971757"/>
                  <a:gd name="connsiteY189" fmla="*/ 1664493 h 4575969"/>
                  <a:gd name="connsiteX190" fmla="*/ 7889081 w 8971757"/>
                  <a:gd name="connsiteY190" fmla="*/ 1588293 h 4575969"/>
                  <a:gd name="connsiteX191" fmla="*/ 7798594 w 8971757"/>
                  <a:gd name="connsiteY191" fmla="*/ 1624012 h 4575969"/>
                  <a:gd name="connsiteX192" fmla="*/ 7724775 w 8971757"/>
                  <a:gd name="connsiteY192" fmla="*/ 1621631 h 4575969"/>
                  <a:gd name="connsiteX193" fmla="*/ 7667625 w 8971757"/>
                  <a:gd name="connsiteY193" fmla="*/ 1716881 h 4575969"/>
                  <a:gd name="connsiteX194" fmla="*/ 7529513 w 8971757"/>
                  <a:gd name="connsiteY19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5079206 w 8971757"/>
                  <a:gd name="connsiteY41" fmla="*/ 892968 h 4575969"/>
                  <a:gd name="connsiteX42" fmla="*/ 8412956 w 8971757"/>
                  <a:gd name="connsiteY42" fmla="*/ 23812 h 4575969"/>
                  <a:gd name="connsiteX43" fmla="*/ 8949531 w 8971757"/>
                  <a:gd name="connsiteY43" fmla="*/ 0 h 4575969"/>
                  <a:gd name="connsiteX44" fmla="*/ 8971757 w 8971757"/>
                  <a:gd name="connsiteY44" fmla="*/ 4575969 h 4575969"/>
                  <a:gd name="connsiteX45" fmla="*/ 2381 w 8971757"/>
                  <a:gd name="connsiteY45" fmla="*/ 4547392 h 4575969"/>
                  <a:gd name="connsiteX46" fmla="*/ 0 w 8971757"/>
                  <a:gd name="connsiteY46" fmla="*/ 845344 h 4575969"/>
                  <a:gd name="connsiteX47" fmla="*/ 76200 w 8971757"/>
                  <a:gd name="connsiteY47" fmla="*/ 828675 h 4575969"/>
                  <a:gd name="connsiteX48" fmla="*/ 119063 w 8971757"/>
                  <a:gd name="connsiteY48" fmla="*/ 857250 h 4575969"/>
                  <a:gd name="connsiteX49" fmla="*/ 215900 w 8971757"/>
                  <a:gd name="connsiteY49" fmla="*/ 848519 h 4575969"/>
                  <a:gd name="connsiteX50" fmla="*/ 261938 w 8971757"/>
                  <a:gd name="connsiteY50" fmla="*/ 876299 h 4575969"/>
                  <a:gd name="connsiteX51" fmla="*/ 228600 w 8971757"/>
                  <a:gd name="connsiteY51" fmla="*/ 904875 h 4575969"/>
                  <a:gd name="connsiteX52" fmla="*/ 233363 w 8971757"/>
                  <a:gd name="connsiteY52" fmla="*/ 947737 h 4575969"/>
                  <a:gd name="connsiteX53" fmla="*/ 200025 w 8971757"/>
                  <a:gd name="connsiteY53" fmla="*/ 952500 h 4575969"/>
                  <a:gd name="connsiteX54" fmla="*/ 204788 w 8971757"/>
                  <a:gd name="connsiteY54" fmla="*/ 976312 h 4575969"/>
                  <a:gd name="connsiteX55" fmla="*/ 261937 w 8971757"/>
                  <a:gd name="connsiteY55" fmla="*/ 1050131 h 4575969"/>
                  <a:gd name="connsiteX56" fmla="*/ 223838 w 8971757"/>
                  <a:gd name="connsiteY56" fmla="*/ 1097756 h 4575969"/>
                  <a:gd name="connsiteX57" fmla="*/ 278606 w 8971757"/>
                  <a:gd name="connsiteY57" fmla="*/ 1133475 h 4575969"/>
                  <a:gd name="connsiteX58" fmla="*/ 369094 w 8971757"/>
                  <a:gd name="connsiteY58" fmla="*/ 1221581 h 4575969"/>
                  <a:gd name="connsiteX59" fmla="*/ 371475 w 8971757"/>
                  <a:gd name="connsiteY59" fmla="*/ 1281112 h 4575969"/>
                  <a:gd name="connsiteX60" fmla="*/ 507206 w 8971757"/>
                  <a:gd name="connsiteY60" fmla="*/ 1414463 h 4575969"/>
                  <a:gd name="connsiteX61" fmla="*/ 561975 w 8971757"/>
                  <a:gd name="connsiteY61" fmla="*/ 1390650 h 4575969"/>
                  <a:gd name="connsiteX62" fmla="*/ 600075 w 8971757"/>
                  <a:gd name="connsiteY62" fmla="*/ 1416843 h 4575969"/>
                  <a:gd name="connsiteX63" fmla="*/ 614363 w 8971757"/>
                  <a:gd name="connsiteY63" fmla="*/ 1466849 h 4575969"/>
                  <a:gd name="connsiteX64" fmla="*/ 657225 w 8971757"/>
                  <a:gd name="connsiteY64" fmla="*/ 1502569 h 4575969"/>
                  <a:gd name="connsiteX65" fmla="*/ 697706 w 8971757"/>
                  <a:gd name="connsiteY65" fmla="*/ 1490662 h 4575969"/>
                  <a:gd name="connsiteX66" fmla="*/ 716756 w 8971757"/>
                  <a:gd name="connsiteY66" fmla="*/ 1547812 h 4575969"/>
                  <a:gd name="connsiteX67" fmla="*/ 764381 w 8971757"/>
                  <a:gd name="connsiteY67" fmla="*/ 1590675 h 4575969"/>
                  <a:gd name="connsiteX68" fmla="*/ 788194 w 8971757"/>
                  <a:gd name="connsiteY68" fmla="*/ 1693069 h 4575969"/>
                  <a:gd name="connsiteX69" fmla="*/ 785813 w 8971757"/>
                  <a:gd name="connsiteY69" fmla="*/ 1740694 h 4575969"/>
                  <a:gd name="connsiteX70" fmla="*/ 821531 w 8971757"/>
                  <a:gd name="connsiteY70" fmla="*/ 1840706 h 4575969"/>
                  <a:gd name="connsiteX71" fmla="*/ 866775 w 8971757"/>
                  <a:gd name="connsiteY71" fmla="*/ 1897856 h 4575969"/>
                  <a:gd name="connsiteX72" fmla="*/ 883443 w 8971757"/>
                  <a:gd name="connsiteY72" fmla="*/ 2055018 h 4575969"/>
                  <a:gd name="connsiteX73" fmla="*/ 850106 w 8971757"/>
                  <a:gd name="connsiteY73" fmla="*/ 2116931 h 4575969"/>
                  <a:gd name="connsiteX74" fmla="*/ 819150 w 8971757"/>
                  <a:gd name="connsiteY74" fmla="*/ 2193131 h 4575969"/>
                  <a:gd name="connsiteX75" fmla="*/ 833438 w 8971757"/>
                  <a:gd name="connsiteY75" fmla="*/ 2250281 h 4575969"/>
                  <a:gd name="connsiteX76" fmla="*/ 735806 w 8971757"/>
                  <a:gd name="connsiteY76" fmla="*/ 2357438 h 4575969"/>
                  <a:gd name="connsiteX77" fmla="*/ 692944 w 8971757"/>
                  <a:gd name="connsiteY77" fmla="*/ 2471737 h 4575969"/>
                  <a:gd name="connsiteX78" fmla="*/ 726281 w 8971757"/>
                  <a:gd name="connsiteY78" fmla="*/ 2512219 h 4575969"/>
                  <a:gd name="connsiteX79" fmla="*/ 709613 w 8971757"/>
                  <a:gd name="connsiteY79" fmla="*/ 2540794 h 4575969"/>
                  <a:gd name="connsiteX80" fmla="*/ 740569 w 8971757"/>
                  <a:gd name="connsiteY80" fmla="*/ 2597944 h 4575969"/>
                  <a:gd name="connsiteX81" fmla="*/ 769144 w 8971757"/>
                  <a:gd name="connsiteY81" fmla="*/ 2597944 h 4575969"/>
                  <a:gd name="connsiteX82" fmla="*/ 931069 w 8971757"/>
                  <a:gd name="connsiteY82" fmla="*/ 2700337 h 4575969"/>
                  <a:gd name="connsiteX83" fmla="*/ 1035844 w 8971757"/>
                  <a:gd name="connsiteY83" fmla="*/ 2697956 h 4575969"/>
                  <a:gd name="connsiteX84" fmla="*/ 1114425 w 8971757"/>
                  <a:gd name="connsiteY84" fmla="*/ 2752725 h 4575969"/>
                  <a:gd name="connsiteX85" fmla="*/ 1245393 w 8971757"/>
                  <a:gd name="connsiteY85" fmla="*/ 2755106 h 4575969"/>
                  <a:gd name="connsiteX86" fmla="*/ 1435893 w 8971757"/>
                  <a:gd name="connsiteY86" fmla="*/ 2824162 h 4575969"/>
                  <a:gd name="connsiteX87" fmla="*/ 1638300 w 8971757"/>
                  <a:gd name="connsiteY87" fmla="*/ 2974181 h 4575969"/>
                  <a:gd name="connsiteX88" fmla="*/ 1671637 w 8971757"/>
                  <a:gd name="connsiteY88" fmla="*/ 3040856 h 4575969"/>
                  <a:gd name="connsiteX89" fmla="*/ 1838325 w 8971757"/>
                  <a:gd name="connsiteY89" fmla="*/ 3167062 h 4575969"/>
                  <a:gd name="connsiteX90" fmla="*/ 1909763 w 8971757"/>
                  <a:gd name="connsiteY90" fmla="*/ 3162300 h 4575969"/>
                  <a:gd name="connsiteX91" fmla="*/ 1945482 w 8971757"/>
                  <a:gd name="connsiteY91" fmla="*/ 3186112 h 4575969"/>
                  <a:gd name="connsiteX92" fmla="*/ 1916906 w 8971757"/>
                  <a:gd name="connsiteY92" fmla="*/ 3226594 h 4575969"/>
                  <a:gd name="connsiteX93" fmla="*/ 1924050 w 8971757"/>
                  <a:gd name="connsiteY93" fmla="*/ 3278981 h 4575969"/>
                  <a:gd name="connsiteX94" fmla="*/ 1976438 w 8971757"/>
                  <a:gd name="connsiteY94" fmla="*/ 3305175 h 4575969"/>
                  <a:gd name="connsiteX95" fmla="*/ 2038350 w 8971757"/>
                  <a:gd name="connsiteY95" fmla="*/ 3529013 h 4575969"/>
                  <a:gd name="connsiteX96" fmla="*/ 2028825 w 8971757"/>
                  <a:gd name="connsiteY96" fmla="*/ 3593306 h 4575969"/>
                  <a:gd name="connsiteX97" fmla="*/ 2164556 w 8971757"/>
                  <a:gd name="connsiteY97" fmla="*/ 3759994 h 4575969"/>
                  <a:gd name="connsiteX98" fmla="*/ 2183606 w 8971757"/>
                  <a:gd name="connsiteY98" fmla="*/ 3810000 h 4575969"/>
                  <a:gd name="connsiteX99" fmla="*/ 2157413 w 8971757"/>
                  <a:gd name="connsiteY99" fmla="*/ 3829050 h 4575969"/>
                  <a:gd name="connsiteX100" fmla="*/ 2259806 w 8971757"/>
                  <a:gd name="connsiteY100" fmla="*/ 3838575 h 4575969"/>
                  <a:gd name="connsiteX101" fmla="*/ 2371725 w 8971757"/>
                  <a:gd name="connsiteY101" fmla="*/ 3826669 h 4575969"/>
                  <a:gd name="connsiteX102" fmla="*/ 2650331 w 8971757"/>
                  <a:gd name="connsiteY102" fmla="*/ 3910012 h 4575969"/>
                  <a:gd name="connsiteX103" fmla="*/ 3057525 w 8971757"/>
                  <a:gd name="connsiteY103" fmla="*/ 3990975 h 4575969"/>
                  <a:gd name="connsiteX104" fmla="*/ 3255169 w 8971757"/>
                  <a:gd name="connsiteY104" fmla="*/ 3960018 h 4575969"/>
                  <a:gd name="connsiteX105" fmla="*/ 3300413 w 8971757"/>
                  <a:gd name="connsiteY105" fmla="*/ 3971924 h 4575969"/>
                  <a:gd name="connsiteX106" fmla="*/ 3355181 w 8971757"/>
                  <a:gd name="connsiteY106" fmla="*/ 3948113 h 4575969"/>
                  <a:gd name="connsiteX107" fmla="*/ 3748087 w 8971757"/>
                  <a:gd name="connsiteY107" fmla="*/ 4038600 h 4575969"/>
                  <a:gd name="connsiteX108" fmla="*/ 3831432 w 8971757"/>
                  <a:gd name="connsiteY108" fmla="*/ 4136231 h 4575969"/>
                  <a:gd name="connsiteX109" fmla="*/ 3950494 w 8971757"/>
                  <a:gd name="connsiteY109" fmla="*/ 4207669 h 4575969"/>
                  <a:gd name="connsiteX110" fmla="*/ 4010025 w 8971757"/>
                  <a:gd name="connsiteY110" fmla="*/ 4191000 h 4575969"/>
                  <a:gd name="connsiteX111" fmla="*/ 4360068 w 8971757"/>
                  <a:gd name="connsiteY111" fmla="*/ 4364831 h 4575969"/>
                  <a:gd name="connsiteX112" fmla="*/ 4586288 w 8971757"/>
                  <a:gd name="connsiteY112" fmla="*/ 4336256 h 4575969"/>
                  <a:gd name="connsiteX113" fmla="*/ 4595813 w 8971757"/>
                  <a:gd name="connsiteY113" fmla="*/ 4414837 h 4575969"/>
                  <a:gd name="connsiteX114" fmla="*/ 4681538 w 8971757"/>
                  <a:gd name="connsiteY114" fmla="*/ 4410074 h 4575969"/>
                  <a:gd name="connsiteX115" fmla="*/ 4760119 w 8971757"/>
                  <a:gd name="connsiteY115" fmla="*/ 4441031 h 4575969"/>
                  <a:gd name="connsiteX116" fmla="*/ 4802981 w 8971757"/>
                  <a:gd name="connsiteY116" fmla="*/ 4381500 h 4575969"/>
                  <a:gd name="connsiteX117" fmla="*/ 5474494 w 8971757"/>
                  <a:gd name="connsiteY117" fmla="*/ 4062412 h 4575969"/>
                  <a:gd name="connsiteX118" fmla="*/ 5562600 w 8971757"/>
                  <a:gd name="connsiteY118" fmla="*/ 4090988 h 4575969"/>
                  <a:gd name="connsiteX119" fmla="*/ 5693569 w 8971757"/>
                  <a:gd name="connsiteY119" fmla="*/ 4062412 h 4575969"/>
                  <a:gd name="connsiteX120" fmla="*/ 5872162 w 8971757"/>
                  <a:gd name="connsiteY120" fmla="*/ 4079081 h 4575969"/>
                  <a:gd name="connsiteX121" fmla="*/ 5929313 w 8971757"/>
                  <a:gd name="connsiteY121" fmla="*/ 4052888 h 4575969"/>
                  <a:gd name="connsiteX122" fmla="*/ 6062662 w 8971757"/>
                  <a:gd name="connsiteY122" fmla="*/ 4050506 h 4575969"/>
                  <a:gd name="connsiteX123" fmla="*/ 6196012 w 8971757"/>
                  <a:gd name="connsiteY123" fmla="*/ 3952875 h 4575969"/>
                  <a:gd name="connsiteX124" fmla="*/ 6262687 w 8971757"/>
                  <a:gd name="connsiteY124" fmla="*/ 3945731 h 4575969"/>
                  <a:gd name="connsiteX125" fmla="*/ 6360319 w 8971757"/>
                  <a:gd name="connsiteY125" fmla="*/ 3871912 h 4575969"/>
                  <a:gd name="connsiteX126" fmla="*/ 6434138 w 8971757"/>
                  <a:gd name="connsiteY126" fmla="*/ 3802856 h 4575969"/>
                  <a:gd name="connsiteX127" fmla="*/ 6443663 w 8971757"/>
                  <a:gd name="connsiteY127" fmla="*/ 3740944 h 4575969"/>
                  <a:gd name="connsiteX128" fmla="*/ 6477000 w 8971757"/>
                  <a:gd name="connsiteY128" fmla="*/ 3671887 h 4575969"/>
                  <a:gd name="connsiteX129" fmla="*/ 6629400 w 8971757"/>
                  <a:gd name="connsiteY129" fmla="*/ 3564731 h 4575969"/>
                  <a:gd name="connsiteX130" fmla="*/ 6662738 w 8971757"/>
                  <a:gd name="connsiteY130" fmla="*/ 3569494 h 4575969"/>
                  <a:gd name="connsiteX131" fmla="*/ 6715125 w 8971757"/>
                  <a:gd name="connsiteY131" fmla="*/ 3490912 h 4575969"/>
                  <a:gd name="connsiteX132" fmla="*/ 6762750 w 8971757"/>
                  <a:gd name="connsiteY132" fmla="*/ 3452812 h 4575969"/>
                  <a:gd name="connsiteX133" fmla="*/ 6748463 w 8971757"/>
                  <a:gd name="connsiteY133" fmla="*/ 3383756 h 4575969"/>
                  <a:gd name="connsiteX134" fmla="*/ 6698456 w 8971757"/>
                  <a:gd name="connsiteY134" fmla="*/ 3352799 h 4575969"/>
                  <a:gd name="connsiteX135" fmla="*/ 6638925 w 8971757"/>
                  <a:gd name="connsiteY135" fmla="*/ 3298031 h 4575969"/>
                  <a:gd name="connsiteX136" fmla="*/ 6619875 w 8971757"/>
                  <a:gd name="connsiteY136" fmla="*/ 3240881 h 4575969"/>
                  <a:gd name="connsiteX137" fmla="*/ 6584156 w 8971757"/>
                  <a:gd name="connsiteY137" fmla="*/ 3207544 h 4575969"/>
                  <a:gd name="connsiteX138" fmla="*/ 6610350 w 8971757"/>
                  <a:gd name="connsiteY138" fmla="*/ 3155156 h 4575969"/>
                  <a:gd name="connsiteX139" fmla="*/ 6650831 w 8971757"/>
                  <a:gd name="connsiteY139" fmla="*/ 2976562 h 4575969"/>
                  <a:gd name="connsiteX140" fmla="*/ 6691313 w 8971757"/>
                  <a:gd name="connsiteY140" fmla="*/ 2909887 h 4575969"/>
                  <a:gd name="connsiteX141" fmla="*/ 6836569 w 8971757"/>
                  <a:gd name="connsiteY141" fmla="*/ 2893218 h 4575969"/>
                  <a:gd name="connsiteX142" fmla="*/ 6905625 w 8971757"/>
                  <a:gd name="connsiteY142" fmla="*/ 2950369 h 4575969"/>
                  <a:gd name="connsiteX143" fmla="*/ 6981825 w 8971757"/>
                  <a:gd name="connsiteY143" fmla="*/ 2974181 h 4575969"/>
                  <a:gd name="connsiteX144" fmla="*/ 7186612 w 8971757"/>
                  <a:gd name="connsiteY144" fmla="*/ 2978944 h 4575969"/>
                  <a:gd name="connsiteX145" fmla="*/ 7362825 w 8971757"/>
                  <a:gd name="connsiteY145" fmla="*/ 2840831 h 4575969"/>
                  <a:gd name="connsiteX146" fmla="*/ 7419975 w 8971757"/>
                  <a:gd name="connsiteY146" fmla="*/ 2750343 h 4575969"/>
                  <a:gd name="connsiteX147" fmla="*/ 7446169 w 8971757"/>
                  <a:gd name="connsiteY147" fmla="*/ 2667000 h 4575969"/>
                  <a:gd name="connsiteX148" fmla="*/ 7577137 w 8971757"/>
                  <a:gd name="connsiteY148" fmla="*/ 2667000 h 4575969"/>
                  <a:gd name="connsiteX149" fmla="*/ 7750969 w 8971757"/>
                  <a:gd name="connsiteY149" fmla="*/ 2609849 h 4575969"/>
                  <a:gd name="connsiteX150" fmla="*/ 7810500 w 8971757"/>
                  <a:gd name="connsiteY150" fmla="*/ 2497931 h 4575969"/>
                  <a:gd name="connsiteX151" fmla="*/ 7874794 w 8971757"/>
                  <a:gd name="connsiteY151" fmla="*/ 2462212 h 4575969"/>
                  <a:gd name="connsiteX152" fmla="*/ 7853363 w 8971757"/>
                  <a:gd name="connsiteY152" fmla="*/ 2416969 h 4575969"/>
                  <a:gd name="connsiteX153" fmla="*/ 7931944 w 8971757"/>
                  <a:gd name="connsiteY153" fmla="*/ 2247899 h 4575969"/>
                  <a:gd name="connsiteX154" fmla="*/ 7986713 w 8971757"/>
                  <a:gd name="connsiteY154" fmla="*/ 2188369 h 4575969"/>
                  <a:gd name="connsiteX155" fmla="*/ 8024813 w 8971757"/>
                  <a:gd name="connsiteY155" fmla="*/ 2183606 h 4575969"/>
                  <a:gd name="connsiteX156" fmla="*/ 8070056 w 8971757"/>
                  <a:gd name="connsiteY156" fmla="*/ 2188369 h 4575969"/>
                  <a:gd name="connsiteX157" fmla="*/ 8134350 w 8971757"/>
                  <a:gd name="connsiteY157" fmla="*/ 2155031 h 4575969"/>
                  <a:gd name="connsiteX158" fmla="*/ 8143875 w 8971757"/>
                  <a:gd name="connsiteY158" fmla="*/ 2090737 h 4575969"/>
                  <a:gd name="connsiteX159" fmla="*/ 8184355 w 8971757"/>
                  <a:gd name="connsiteY159" fmla="*/ 2055019 h 4575969"/>
                  <a:gd name="connsiteX160" fmla="*/ 8243888 w 8971757"/>
                  <a:gd name="connsiteY160" fmla="*/ 2095499 h 4575969"/>
                  <a:gd name="connsiteX161" fmla="*/ 8270082 w 8971757"/>
                  <a:gd name="connsiteY161" fmla="*/ 2045493 h 4575969"/>
                  <a:gd name="connsiteX162" fmla="*/ 8365331 w 8971757"/>
                  <a:gd name="connsiteY162" fmla="*/ 1976437 h 4575969"/>
                  <a:gd name="connsiteX163" fmla="*/ 8427244 w 8971757"/>
                  <a:gd name="connsiteY163" fmla="*/ 1983581 h 4575969"/>
                  <a:gd name="connsiteX164" fmla="*/ 8477250 w 8971757"/>
                  <a:gd name="connsiteY164" fmla="*/ 1964531 h 4575969"/>
                  <a:gd name="connsiteX165" fmla="*/ 8515350 w 8971757"/>
                  <a:gd name="connsiteY165" fmla="*/ 1935956 h 4575969"/>
                  <a:gd name="connsiteX166" fmla="*/ 8548688 w 8971757"/>
                  <a:gd name="connsiteY166" fmla="*/ 1933575 h 4575969"/>
                  <a:gd name="connsiteX167" fmla="*/ 8584406 w 8971757"/>
                  <a:gd name="connsiteY167" fmla="*/ 1964531 h 4575969"/>
                  <a:gd name="connsiteX168" fmla="*/ 8643938 w 8971757"/>
                  <a:gd name="connsiteY168" fmla="*/ 1964531 h 4575969"/>
                  <a:gd name="connsiteX169" fmla="*/ 8682037 w 8971757"/>
                  <a:gd name="connsiteY169" fmla="*/ 1945481 h 4575969"/>
                  <a:gd name="connsiteX170" fmla="*/ 8765381 w 8971757"/>
                  <a:gd name="connsiteY170" fmla="*/ 1947863 h 4575969"/>
                  <a:gd name="connsiteX171" fmla="*/ 8796338 w 8971757"/>
                  <a:gd name="connsiteY171" fmla="*/ 1902619 h 4575969"/>
                  <a:gd name="connsiteX172" fmla="*/ 8801100 w 8971757"/>
                  <a:gd name="connsiteY172" fmla="*/ 1840706 h 4575969"/>
                  <a:gd name="connsiteX173" fmla="*/ 8751093 w 8971757"/>
                  <a:gd name="connsiteY173" fmla="*/ 1800225 h 4575969"/>
                  <a:gd name="connsiteX174" fmla="*/ 8734425 w 8971757"/>
                  <a:gd name="connsiteY174" fmla="*/ 1745456 h 4575969"/>
                  <a:gd name="connsiteX175" fmla="*/ 8643938 w 8971757"/>
                  <a:gd name="connsiteY175" fmla="*/ 1683544 h 4575969"/>
                  <a:gd name="connsiteX176" fmla="*/ 8603456 w 8971757"/>
                  <a:gd name="connsiteY176" fmla="*/ 1662112 h 4575969"/>
                  <a:gd name="connsiteX177" fmla="*/ 8565356 w 8971757"/>
                  <a:gd name="connsiteY177" fmla="*/ 1616869 h 4575969"/>
                  <a:gd name="connsiteX178" fmla="*/ 8534400 w 8971757"/>
                  <a:gd name="connsiteY178" fmla="*/ 1614487 h 4575969"/>
                  <a:gd name="connsiteX179" fmla="*/ 8517731 w 8971757"/>
                  <a:gd name="connsiteY179" fmla="*/ 1562100 h 4575969"/>
                  <a:gd name="connsiteX180" fmla="*/ 8477250 w 8971757"/>
                  <a:gd name="connsiteY180" fmla="*/ 1545431 h 4575969"/>
                  <a:gd name="connsiteX181" fmla="*/ 8477250 w 8971757"/>
                  <a:gd name="connsiteY181" fmla="*/ 1545431 h 4575969"/>
                  <a:gd name="connsiteX182" fmla="*/ 8436769 w 8971757"/>
                  <a:gd name="connsiteY182" fmla="*/ 1550194 h 4575969"/>
                  <a:gd name="connsiteX183" fmla="*/ 8351043 w 8971757"/>
                  <a:gd name="connsiteY183" fmla="*/ 1476375 h 4575969"/>
                  <a:gd name="connsiteX184" fmla="*/ 8170069 w 8971757"/>
                  <a:gd name="connsiteY184" fmla="*/ 1476374 h 4575969"/>
                  <a:gd name="connsiteX185" fmla="*/ 8117681 w 8971757"/>
                  <a:gd name="connsiteY185" fmla="*/ 1514475 h 4575969"/>
                  <a:gd name="connsiteX186" fmla="*/ 8067675 w 8971757"/>
                  <a:gd name="connsiteY186" fmla="*/ 1593056 h 4575969"/>
                  <a:gd name="connsiteX187" fmla="*/ 8084344 w 8971757"/>
                  <a:gd name="connsiteY187" fmla="*/ 1614487 h 4575969"/>
                  <a:gd name="connsiteX188" fmla="*/ 8039100 w 8971757"/>
                  <a:gd name="connsiteY188" fmla="*/ 1664493 h 4575969"/>
                  <a:gd name="connsiteX189" fmla="*/ 7889081 w 8971757"/>
                  <a:gd name="connsiteY189" fmla="*/ 1588293 h 4575969"/>
                  <a:gd name="connsiteX190" fmla="*/ 7798594 w 8971757"/>
                  <a:gd name="connsiteY190" fmla="*/ 1624012 h 4575969"/>
                  <a:gd name="connsiteX191" fmla="*/ 7724775 w 8971757"/>
                  <a:gd name="connsiteY191" fmla="*/ 1621631 h 4575969"/>
                  <a:gd name="connsiteX192" fmla="*/ 7667625 w 8971757"/>
                  <a:gd name="connsiteY192" fmla="*/ 1716881 h 4575969"/>
                  <a:gd name="connsiteX193" fmla="*/ 7529513 w 8971757"/>
                  <a:gd name="connsiteY19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5160169 w 8971757"/>
                  <a:gd name="connsiteY40" fmla="*/ 916781 h 4575969"/>
                  <a:gd name="connsiteX41" fmla="*/ 8412956 w 8971757"/>
                  <a:gd name="connsiteY41" fmla="*/ 23812 h 4575969"/>
                  <a:gd name="connsiteX42" fmla="*/ 8949531 w 8971757"/>
                  <a:gd name="connsiteY42" fmla="*/ 0 h 4575969"/>
                  <a:gd name="connsiteX43" fmla="*/ 8971757 w 8971757"/>
                  <a:gd name="connsiteY43" fmla="*/ 4575969 h 4575969"/>
                  <a:gd name="connsiteX44" fmla="*/ 2381 w 8971757"/>
                  <a:gd name="connsiteY44" fmla="*/ 4547392 h 4575969"/>
                  <a:gd name="connsiteX45" fmla="*/ 0 w 8971757"/>
                  <a:gd name="connsiteY45" fmla="*/ 845344 h 4575969"/>
                  <a:gd name="connsiteX46" fmla="*/ 76200 w 8971757"/>
                  <a:gd name="connsiteY46" fmla="*/ 828675 h 4575969"/>
                  <a:gd name="connsiteX47" fmla="*/ 119063 w 8971757"/>
                  <a:gd name="connsiteY47" fmla="*/ 857250 h 4575969"/>
                  <a:gd name="connsiteX48" fmla="*/ 215900 w 8971757"/>
                  <a:gd name="connsiteY48" fmla="*/ 848519 h 4575969"/>
                  <a:gd name="connsiteX49" fmla="*/ 261938 w 8971757"/>
                  <a:gd name="connsiteY49" fmla="*/ 876299 h 4575969"/>
                  <a:gd name="connsiteX50" fmla="*/ 228600 w 8971757"/>
                  <a:gd name="connsiteY50" fmla="*/ 904875 h 4575969"/>
                  <a:gd name="connsiteX51" fmla="*/ 233363 w 8971757"/>
                  <a:gd name="connsiteY51" fmla="*/ 947737 h 4575969"/>
                  <a:gd name="connsiteX52" fmla="*/ 200025 w 8971757"/>
                  <a:gd name="connsiteY52" fmla="*/ 952500 h 4575969"/>
                  <a:gd name="connsiteX53" fmla="*/ 204788 w 8971757"/>
                  <a:gd name="connsiteY53" fmla="*/ 976312 h 4575969"/>
                  <a:gd name="connsiteX54" fmla="*/ 261937 w 8971757"/>
                  <a:gd name="connsiteY54" fmla="*/ 1050131 h 4575969"/>
                  <a:gd name="connsiteX55" fmla="*/ 223838 w 8971757"/>
                  <a:gd name="connsiteY55" fmla="*/ 1097756 h 4575969"/>
                  <a:gd name="connsiteX56" fmla="*/ 278606 w 8971757"/>
                  <a:gd name="connsiteY56" fmla="*/ 1133475 h 4575969"/>
                  <a:gd name="connsiteX57" fmla="*/ 369094 w 8971757"/>
                  <a:gd name="connsiteY57" fmla="*/ 1221581 h 4575969"/>
                  <a:gd name="connsiteX58" fmla="*/ 371475 w 8971757"/>
                  <a:gd name="connsiteY58" fmla="*/ 1281112 h 4575969"/>
                  <a:gd name="connsiteX59" fmla="*/ 507206 w 8971757"/>
                  <a:gd name="connsiteY59" fmla="*/ 1414463 h 4575969"/>
                  <a:gd name="connsiteX60" fmla="*/ 561975 w 8971757"/>
                  <a:gd name="connsiteY60" fmla="*/ 1390650 h 4575969"/>
                  <a:gd name="connsiteX61" fmla="*/ 600075 w 8971757"/>
                  <a:gd name="connsiteY61" fmla="*/ 1416843 h 4575969"/>
                  <a:gd name="connsiteX62" fmla="*/ 614363 w 8971757"/>
                  <a:gd name="connsiteY62" fmla="*/ 1466849 h 4575969"/>
                  <a:gd name="connsiteX63" fmla="*/ 657225 w 8971757"/>
                  <a:gd name="connsiteY63" fmla="*/ 1502569 h 4575969"/>
                  <a:gd name="connsiteX64" fmla="*/ 697706 w 8971757"/>
                  <a:gd name="connsiteY64" fmla="*/ 1490662 h 4575969"/>
                  <a:gd name="connsiteX65" fmla="*/ 716756 w 8971757"/>
                  <a:gd name="connsiteY65" fmla="*/ 1547812 h 4575969"/>
                  <a:gd name="connsiteX66" fmla="*/ 764381 w 8971757"/>
                  <a:gd name="connsiteY66" fmla="*/ 1590675 h 4575969"/>
                  <a:gd name="connsiteX67" fmla="*/ 788194 w 8971757"/>
                  <a:gd name="connsiteY67" fmla="*/ 1693069 h 4575969"/>
                  <a:gd name="connsiteX68" fmla="*/ 785813 w 8971757"/>
                  <a:gd name="connsiteY68" fmla="*/ 1740694 h 4575969"/>
                  <a:gd name="connsiteX69" fmla="*/ 821531 w 8971757"/>
                  <a:gd name="connsiteY69" fmla="*/ 1840706 h 4575969"/>
                  <a:gd name="connsiteX70" fmla="*/ 866775 w 8971757"/>
                  <a:gd name="connsiteY70" fmla="*/ 1897856 h 4575969"/>
                  <a:gd name="connsiteX71" fmla="*/ 883443 w 8971757"/>
                  <a:gd name="connsiteY71" fmla="*/ 2055018 h 4575969"/>
                  <a:gd name="connsiteX72" fmla="*/ 850106 w 8971757"/>
                  <a:gd name="connsiteY72" fmla="*/ 2116931 h 4575969"/>
                  <a:gd name="connsiteX73" fmla="*/ 819150 w 8971757"/>
                  <a:gd name="connsiteY73" fmla="*/ 2193131 h 4575969"/>
                  <a:gd name="connsiteX74" fmla="*/ 833438 w 8971757"/>
                  <a:gd name="connsiteY74" fmla="*/ 2250281 h 4575969"/>
                  <a:gd name="connsiteX75" fmla="*/ 735806 w 8971757"/>
                  <a:gd name="connsiteY75" fmla="*/ 2357438 h 4575969"/>
                  <a:gd name="connsiteX76" fmla="*/ 692944 w 8971757"/>
                  <a:gd name="connsiteY76" fmla="*/ 2471737 h 4575969"/>
                  <a:gd name="connsiteX77" fmla="*/ 726281 w 8971757"/>
                  <a:gd name="connsiteY77" fmla="*/ 2512219 h 4575969"/>
                  <a:gd name="connsiteX78" fmla="*/ 709613 w 8971757"/>
                  <a:gd name="connsiteY78" fmla="*/ 2540794 h 4575969"/>
                  <a:gd name="connsiteX79" fmla="*/ 740569 w 8971757"/>
                  <a:gd name="connsiteY79" fmla="*/ 2597944 h 4575969"/>
                  <a:gd name="connsiteX80" fmla="*/ 769144 w 8971757"/>
                  <a:gd name="connsiteY80" fmla="*/ 2597944 h 4575969"/>
                  <a:gd name="connsiteX81" fmla="*/ 931069 w 8971757"/>
                  <a:gd name="connsiteY81" fmla="*/ 2700337 h 4575969"/>
                  <a:gd name="connsiteX82" fmla="*/ 1035844 w 8971757"/>
                  <a:gd name="connsiteY82" fmla="*/ 2697956 h 4575969"/>
                  <a:gd name="connsiteX83" fmla="*/ 1114425 w 8971757"/>
                  <a:gd name="connsiteY83" fmla="*/ 2752725 h 4575969"/>
                  <a:gd name="connsiteX84" fmla="*/ 1245393 w 8971757"/>
                  <a:gd name="connsiteY84" fmla="*/ 2755106 h 4575969"/>
                  <a:gd name="connsiteX85" fmla="*/ 1435893 w 8971757"/>
                  <a:gd name="connsiteY85" fmla="*/ 2824162 h 4575969"/>
                  <a:gd name="connsiteX86" fmla="*/ 1638300 w 8971757"/>
                  <a:gd name="connsiteY86" fmla="*/ 2974181 h 4575969"/>
                  <a:gd name="connsiteX87" fmla="*/ 1671637 w 8971757"/>
                  <a:gd name="connsiteY87" fmla="*/ 3040856 h 4575969"/>
                  <a:gd name="connsiteX88" fmla="*/ 1838325 w 8971757"/>
                  <a:gd name="connsiteY88" fmla="*/ 3167062 h 4575969"/>
                  <a:gd name="connsiteX89" fmla="*/ 1909763 w 8971757"/>
                  <a:gd name="connsiteY89" fmla="*/ 3162300 h 4575969"/>
                  <a:gd name="connsiteX90" fmla="*/ 1945482 w 8971757"/>
                  <a:gd name="connsiteY90" fmla="*/ 3186112 h 4575969"/>
                  <a:gd name="connsiteX91" fmla="*/ 1916906 w 8971757"/>
                  <a:gd name="connsiteY91" fmla="*/ 3226594 h 4575969"/>
                  <a:gd name="connsiteX92" fmla="*/ 1924050 w 8971757"/>
                  <a:gd name="connsiteY92" fmla="*/ 3278981 h 4575969"/>
                  <a:gd name="connsiteX93" fmla="*/ 1976438 w 8971757"/>
                  <a:gd name="connsiteY93" fmla="*/ 3305175 h 4575969"/>
                  <a:gd name="connsiteX94" fmla="*/ 2038350 w 8971757"/>
                  <a:gd name="connsiteY94" fmla="*/ 3529013 h 4575969"/>
                  <a:gd name="connsiteX95" fmla="*/ 2028825 w 8971757"/>
                  <a:gd name="connsiteY95" fmla="*/ 3593306 h 4575969"/>
                  <a:gd name="connsiteX96" fmla="*/ 2164556 w 8971757"/>
                  <a:gd name="connsiteY96" fmla="*/ 3759994 h 4575969"/>
                  <a:gd name="connsiteX97" fmla="*/ 2183606 w 8971757"/>
                  <a:gd name="connsiteY97" fmla="*/ 3810000 h 4575969"/>
                  <a:gd name="connsiteX98" fmla="*/ 2157413 w 8971757"/>
                  <a:gd name="connsiteY98" fmla="*/ 3829050 h 4575969"/>
                  <a:gd name="connsiteX99" fmla="*/ 2259806 w 8971757"/>
                  <a:gd name="connsiteY99" fmla="*/ 3838575 h 4575969"/>
                  <a:gd name="connsiteX100" fmla="*/ 2371725 w 8971757"/>
                  <a:gd name="connsiteY100" fmla="*/ 3826669 h 4575969"/>
                  <a:gd name="connsiteX101" fmla="*/ 2650331 w 8971757"/>
                  <a:gd name="connsiteY101" fmla="*/ 3910012 h 4575969"/>
                  <a:gd name="connsiteX102" fmla="*/ 3057525 w 8971757"/>
                  <a:gd name="connsiteY102" fmla="*/ 3990975 h 4575969"/>
                  <a:gd name="connsiteX103" fmla="*/ 3255169 w 8971757"/>
                  <a:gd name="connsiteY103" fmla="*/ 3960018 h 4575969"/>
                  <a:gd name="connsiteX104" fmla="*/ 3300413 w 8971757"/>
                  <a:gd name="connsiteY104" fmla="*/ 3971924 h 4575969"/>
                  <a:gd name="connsiteX105" fmla="*/ 3355181 w 8971757"/>
                  <a:gd name="connsiteY105" fmla="*/ 3948113 h 4575969"/>
                  <a:gd name="connsiteX106" fmla="*/ 3748087 w 8971757"/>
                  <a:gd name="connsiteY106" fmla="*/ 4038600 h 4575969"/>
                  <a:gd name="connsiteX107" fmla="*/ 3831432 w 8971757"/>
                  <a:gd name="connsiteY107" fmla="*/ 4136231 h 4575969"/>
                  <a:gd name="connsiteX108" fmla="*/ 3950494 w 8971757"/>
                  <a:gd name="connsiteY108" fmla="*/ 4207669 h 4575969"/>
                  <a:gd name="connsiteX109" fmla="*/ 4010025 w 8971757"/>
                  <a:gd name="connsiteY109" fmla="*/ 4191000 h 4575969"/>
                  <a:gd name="connsiteX110" fmla="*/ 4360068 w 8971757"/>
                  <a:gd name="connsiteY110" fmla="*/ 4364831 h 4575969"/>
                  <a:gd name="connsiteX111" fmla="*/ 4586288 w 8971757"/>
                  <a:gd name="connsiteY111" fmla="*/ 4336256 h 4575969"/>
                  <a:gd name="connsiteX112" fmla="*/ 4595813 w 8971757"/>
                  <a:gd name="connsiteY112" fmla="*/ 4414837 h 4575969"/>
                  <a:gd name="connsiteX113" fmla="*/ 4681538 w 8971757"/>
                  <a:gd name="connsiteY113" fmla="*/ 4410074 h 4575969"/>
                  <a:gd name="connsiteX114" fmla="*/ 4760119 w 8971757"/>
                  <a:gd name="connsiteY114" fmla="*/ 4441031 h 4575969"/>
                  <a:gd name="connsiteX115" fmla="*/ 4802981 w 8971757"/>
                  <a:gd name="connsiteY115" fmla="*/ 4381500 h 4575969"/>
                  <a:gd name="connsiteX116" fmla="*/ 5474494 w 8971757"/>
                  <a:gd name="connsiteY116" fmla="*/ 4062412 h 4575969"/>
                  <a:gd name="connsiteX117" fmla="*/ 5562600 w 8971757"/>
                  <a:gd name="connsiteY117" fmla="*/ 4090988 h 4575969"/>
                  <a:gd name="connsiteX118" fmla="*/ 5693569 w 8971757"/>
                  <a:gd name="connsiteY118" fmla="*/ 4062412 h 4575969"/>
                  <a:gd name="connsiteX119" fmla="*/ 5872162 w 8971757"/>
                  <a:gd name="connsiteY119" fmla="*/ 4079081 h 4575969"/>
                  <a:gd name="connsiteX120" fmla="*/ 5929313 w 8971757"/>
                  <a:gd name="connsiteY120" fmla="*/ 4052888 h 4575969"/>
                  <a:gd name="connsiteX121" fmla="*/ 6062662 w 8971757"/>
                  <a:gd name="connsiteY121" fmla="*/ 4050506 h 4575969"/>
                  <a:gd name="connsiteX122" fmla="*/ 6196012 w 8971757"/>
                  <a:gd name="connsiteY122" fmla="*/ 3952875 h 4575969"/>
                  <a:gd name="connsiteX123" fmla="*/ 6262687 w 8971757"/>
                  <a:gd name="connsiteY123" fmla="*/ 3945731 h 4575969"/>
                  <a:gd name="connsiteX124" fmla="*/ 6360319 w 8971757"/>
                  <a:gd name="connsiteY124" fmla="*/ 3871912 h 4575969"/>
                  <a:gd name="connsiteX125" fmla="*/ 6434138 w 8971757"/>
                  <a:gd name="connsiteY125" fmla="*/ 3802856 h 4575969"/>
                  <a:gd name="connsiteX126" fmla="*/ 6443663 w 8971757"/>
                  <a:gd name="connsiteY126" fmla="*/ 3740944 h 4575969"/>
                  <a:gd name="connsiteX127" fmla="*/ 6477000 w 8971757"/>
                  <a:gd name="connsiteY127" fmla="*/ 3671887 h 4575969"/>
                  <a:gd name="connsiteX128" fmla="*/ 6629400 w 8971757"/>
                  <a:gd name="connsiteY128" fmla="*/ 3564731 h 4575969"/>
                  <a:gd name="connsiteX129" fmla="*/ 6662738 w 8971757"/>
                  <a:gd name="connsiteY129" fmla="*/ 3569494 h 4575969"/>
                  <a:gd name="connsiteX130" fmla="*/ 6715125 w 8971757"/>
                  <a:gd name="connsiteY130" fmla="*/ 3490912 h 4575969"/>
                  <a:gd name="connsiteX131" fmla="*/ 6762750 w 8971757"/>
                  <a:gd name="connsiteY131" fmla="*/ 3452812 h 4575969"/>
                  <a:gd name="connsiteX132" fmla="*/ 6748463 w 8971757"/>
                  <a:gd name="connsiteY132" fmla="*/ 3383756 h 4575969"/>
                  <a:gd name="connsiteX133" fmla="*/ 6698456 w 8971757"/>
                  <a:gd name="connsiteY133" fmla="*/ 3352799 h 4575969"/>
                  <a:gd name="connsiteX134" fmla="*/ 6638925 w 8971757"/>
                  <a:gd name="connsiteY134" fmla="*/ 3298031 h 4575969"/>
                  <a:gd name="connsiteX135" fmla="*/ 6619875 w 8971757"/>
                  <a:gd name="connsiteY135" fmla="*/ 3240881 h 4575969"/>
                  <a:gd name="connsiteX136" fmla="*/ 6584156 w 8971757"/>
                  <a:gd name="connsiteY136" fmla="*/ 3207544 h 4575969"/>
                  <a:gd name="connsiteX137" fmla="*/ 6610350 w 8971757"/>
                  <a:gd name="connsiteY137" fmla="*/ 3155156 h 4575969"/>
                  <a:gd name="connsiteX138" fmla="*/ 6650831 w 8971757"/>
                  <a:gd name="connsiteY138" fmla="*/ 2976562 h 4575969"/>
                  <a:gd name="connsiteX139" fmla="*/ 6691313 w 8971757"/>
                  <a:gd name="connsiteY139" fmla="*/ 2909887 h 4575969"/>
                  <a:gd name="connsiteX140" fmla="*/ 6836569 w 8971757"/>
                  <a:gd name="connsiteY140" fmla="*/ 2893218 h 4575969"/>
                  <a:gd name="connsiteX141" fmla="*/ 6905625 w 8971757"/>
                  <a:gd name="connsiteY141" fmla="*/ 2950369 h 4575969"/>
                  <a:gd name="connsiteX142" fmla="*/ 6981825 w 8971757"/>
                  <a:gd name="connsiteY142" fmla="*/ 2974181 h 4575969"/>
                  <a:gd name="connsiteX143" fmla="*/ 7186612 w 8971757"/>
                  <a:gd name="connsiteY143" fmla="*/ 2978944 h 4575969"/>
                  <a:gd name="connsiteX144" fmla="*/ 7362825 w 8971757"/>
                  <a:gd name="connsiteY144" fmla="*/ 2840831 h 4575969"/>
                  <a:gd name="connsiteX145" fmla="*/ 7419975 w 8971757"/>
                  <a:gd name="connsiteY145" fmla="*/ 2750343 h 4575969"/>
                  <a:gd name="connsiteX146" fmla="*/ 7446169 w 8971757"/>
                  <a:gd name="connsiteY146" fmla="*/ 2667000 h 4575969"/>
                  <a:gd name="connsiteX147" fmla="*/ 7577137 w 8971757"/>
                  <a:gd name="connsiteY147" fmla="*/ 2667000 h 4575969"/>
                  <a:gd name="connsiteX148" fmla="*/ 7750969 w 8971757"/>
                  <a:gd name="connsiteY148" fmla="*/ 2609849 h 4575969"/>
                  <a:gd name="connsiteX149" fmla="*/ 7810500 w 8971757"/>
                  <a:gd name="connsiteY149" fmla="*/ 2497931 h 4575969"/>
                  <a:gd name="connsiteX150" fmla="*/ 7874794 w 8971757"/>
                  <a:gd name="connsiteY150" fmla="*/ 2462212 h 4575969"/>
                  <a:gd name="connsiteX151" fmla="*/ 7853363 w 8971757"/>
                  <a:gd name="connsiteY151" fmla="*/ 2416969 h 4575969"/>
                  <a:gd name="connsiteX152" fmla="*/ 7931944 w 8971757"/>
                  <a:gd name="connsiteY152" fmla="*/ 2247899 h 4575969"/>
                  <a:gd name="connsiteX153" fmla="*/ 7986713 w 8971757"/>
                  <a:gd name="connsiteY153" fmla="*/ 2188369 h 4575969"/>
                  <a:gd name="connsiteX154" fmla="*/ 8024813 w 8971757"/>
                  <a:gd name="connsiteY154" fmla="*/ 2183606 h 4575969"/>
                  <a:gd name="connsiteX155" fmla="*/ 8070056 w 8971757"/>
                  <a:gd name="connsiteY155" fmla="*/ 2188369 h 4575969"/>
                  <a:gd name="connsiteX156" fmla="*/ 8134350 w 8971757"/>
                  <a:gd name="connsiteY156" fmla="*/ 2155031 h 4575969"/>
                  <a:gd name="connsiteX157" fmla="*/ 8143875 w 8971757"/>
                  <a:gd name="connsiteY157" fmla="*/ 2090737 h 4575969"/>
                  <a:gd name="connsiteX158" fmla="*/ 8184355 w 8971757"/>
                  <a:gd name="connsiteY158" fmla="*/ 2055019 h 4575969"/>
                  <a:gd name="connsiteX159" fmla="*/ 8243888 w 8971757"/>
                  <a:gd name="connsiteY159" fmla="*/ 2095499 h 4575969"/>
                  <a:gd name="connsiteX160" fmla="*/ 8270082 w 8971757"/>
                  <a:gd name="connsiteY160" fmla="*/ 2045493 h 4575969"/>
                  <a:gd name="connsiteX161" fmla="*/ 8365331 w 8971757"/>
                  <a:gd name="connsiteY161" fmla="*/ 1976437 h 4575969"/>
                  <a:gd name="connsiteX162" fmla="*/ 8427244 w 8971757"/>
                  <a:gd name="connsiteY162" fmla="*/ 1983581 h 4575969"/>
                  <a:gd name="connsiteX163" fmla="*/ 8477250 w 8971757"/>
                  <a:gd name="connsiteY163" fmla="*/ 1964531 h 4575969"/>
                  <a:gd name="connsiteX164" fmla="*/ 8515350 w 8971757"/>
                  <a:gd name="connsiteY164" fmla="*/ 1935956 h 4575969"/>
                  <a:gd name="connsiteX165" fmla="*/ 8548688 w 8971757"/>
                  <a:gd name="connsiteY165" fmla="*/ 1933575 h 4575969"/>
                  <a:gd name="connsiteX166" fmla="*/ 8584406 w 8971757"/>
                  <a:gd name="connsiteY166" fmla="*/ 1964531 h 4575969"/>
                  <a:gd name="connsiteX167" fmla="*/ 8643938 w 8971757"/>
                  <a:gd name="connsiteY167" fmla="*/ 1964531 h 4575969"/>
                  <a:gd name="connsiteX168" fmla="*/ 8682037 w 8971757"/>
                  <a:gd name="connsiteY168" fmla="*/ 1945481 h 4575969"/>
                  <a:gd name="connsiteX169" fmla="*/ 8765381 w 8971757"/>
                  <a:gd name="connsiteY169" fmla="*/ 1947863 h 4575969"/>
                  <a:gd name="connsiteX170" fmla="*/ 8796338 w 8971757"/>
                  <a:gd name="connsiteY170" fmla="*/ 1902619 h 4575969"/>
                  <a:gd name="connsiteX171" fmla="*/ 8801100 w 8971757"/>
                  <a:gd name="connsiteY171" fmla="*/ 1840706 h 4575969"/>
                  <a:gd name="connsiteX172" fmla="*/ 8751093 w 8971757"/>
                  <a:gd name="connsiteY172" fmla="*/ 1800225 h 4575969"/>
                  <a:gd name="connsiteX173" fmla="*/ 8734425 w 8971757"/>
                  <a:gd name="connsiteY173" fmla="*/ 1745456 h 4575969"/>
                  <a:gd name="connsiteX174" fmla="*/ 8643938 w 8971757"/>
                  <a:gd name="connsiteY174" fmla="*/ 1683544 h 4575969"/>
                  <a:gd name="connsiteX175" fmla="*/ 8603456 w 8971757"/>
                  <a:gd name="connsiteY175" fmla="*/ 1662112 h 4575969"/>
                  <a:gd name="connsiteX176" fmla="*/ 8565356 w 8971757"/>
                  <a:gd name="connsiteY176" fmla="*/ 1616869 h 4575969"/>
                  <a:gd name="connsiteX177" fmla="*/ 8534400 w 8971757"/>
                  <a:gd name="connsiteY177" fmla="*/ 1614487 h 4575969"/>
                  <a:gd name="connsiteX178" fmla="*/ 8517731 w 8971757"/>
                  <a:gd name="connsiteY178" fmla="*/ 1562100 h 4575969"/>
                  <a:gd name="connsiteX179" fmla="*/ 8477250 w 8971757"/>
                  <a:gd name="connsiteY179" fmla="*/ 1545431 h 4575969"/>
                  <a:gd name="connsiteX180" fmla="*/ 8477250 w 8971757"/>
                  <a:gd name="connsiteY180" fmla="*/ 1545431 h 4575969"/>
                  <a:gd name="connsiteX181" fmla="*/ 8436769 w 8971757"/>
                  <a:gd name="connsiteY181" fmla="*/ 1550194 h 4575969"/>
                  <a:gd name="connsiteX182" fmla="*/ 8351043 w 8971757"/>
                  <a:gd name="connsiteY182" fmla="*/ 1476375 h 4575969"/>
                  <a:gd name="connsiteX183" fmla="*/ 8170069 w 8971757"/>
                  <a:gd name="connsiteY183" fmla="*/ 1476374 h 4575969"/>
                  <a:gd name="connsiteX184" fmla="*/ 8117681 w 8971757"/>
                  <a:gd name="connsiteY184" fmla="*/ 1514475 h 4575969"/>
                  <a:gd name="connsiteX185" fmla="*/ 8067675 w 8971757"/>
                  <a:gd name="connsiteY185" fmla="*/ 1593056 h 4575969"/>
                  <a:gd name="connsiteX186" fmla="*/ 8084344 w 8971757"/>
                  <a:gd name="connsiteY186" fmla="*/ 1614487 h 4575969"/>
                  <a:gd name="connsiteX187" fmla="*/ 8039100 w 8971757"/>
                  <a:gd name="connsiteY187" fmla="*/ 1664493 h 4575969"/>
                  <a:gd name="connsiteX188" fmla="*/ 7889081 w 8971757"/>
                  <a:gd name="connsiteY188" fmla="*/ 1588293 h 4575969"/>
                  <a:gd name="connsiteX189" fmla="*/ 7798594 w 8971757"/>
                  <a:gd name="connsiteY189" fmla="*/ 1624012 h 4575969"/>
                  <a:gd name="connsiteX190" fmla="*/ 7724775 w 8971757"/>
                  <a:gd name="connsiteY190" fmla="*/ 1621631 h 4575969"/>
                  <a:gd name="connsiteX191" fmla="*/ 7667625 w 8971757"/>
                  <a:gd name="connsiteY191" fmla="*/ 1716881 h 4575969"/>
                  <a:gd name="connsiteX192" fmla="*/ 7529513 w 8971757"/>
                  <a:gd name="connsiteY19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5195887 w 8971757"/>
                  <a:gd name="connsiteY39" fmla="*/ 959643 h 4575969"/>
                  <a:gd name="connsiteX40" fmla="*/ 8412956 w 8971757"/>
                  <a:gd name="connsiteY40" fmla="*/ 23812 h 4575969"/>
                  <a:gd name="connsiteX41" fmla="*/ 8949531 w 8971757"/>
                  <a:gd name="connsiteY41" fmla="*/ 0 h 4575969"/>
                  <a:gd name="connsiteX42" fmla="*/ 8971757 w 8971757"/>
                  <a:gd name="connsiteY42" fmla="*/ 4575969 h 4575969"/>
                  <a:gd name="connsiteX43" fmla="*/ 2381 w 8971757"/>
                  <a:gd name="connsiteY43" fmla="*/ 4547392 h 4575969"/>
                  <a:gd name="connsiteX44" fmla="*/ 0 w 8971757"/>
                  <a:gd name="connsiteY44" fmla="*/ 845344 h 4575969"/>
                  <a:gd name="connsiteX45" fmla="*/ 76200 w 8971757"/>
                  <a:gd name="connsiteY45" fmla="*/ 828675 h 4575969"/>
                  <a:gd name="connsiteX46" fmla="*/ 119063 w 8971757"/>
                  <a:gd name="connsiteY46" fmla="*/ 857250 h 4575969"/>
                  <a:gd name="connsiteX47" fmla="*/ 215900 w 8971757"/>
                  <a:gd name="connsiteY47" fmla="*/ 848519 h 4575969"/>
                  <a:gd name="connsiteX48" fmla="*/ 261938 w 8971757"/>
                  <a:gd name="connsiteY48" fmla="*/ 876299 h 4575969"/>
                  <a:gd name="connsiteX49" fmla="*/ 228600 w 8971757"/>
                  <a:gd name="connsiteY49" fmla="*/ 904875 h 4575969"/>
                  <a:gd name="connsiteX50" fmla="*/ 233363 w 8971757"/>
                  <a:gd name="connsiteY50" fmla="*/ 947737 h 4575969"/>
                  <a:gd name="connsiteX51" fmla="*/ 200025 w 8971757"/>
                  <a:gd name="connsiteY51" fmla="*/ 952500 h 4575969"/>
                  <a:gd name="connsiteX52" fmla="*/ 204788 w 8971757"/>
                  <a:gd name="connsiteY52" fmla="*/ 976312 h 4575969"/>
                  <a:gd name="connsiteX53" fmla="*/ 261937 w 8971757"/>
                  <a:gd name="connsiteY53" fmla="*/ 1050131 h 4575969"/>
                  <a:gd name="connsiteX54" fmla="*/ 223838 w 8971757"/>
                  <a:gd name="connsiteY54" fmla="*/ 1097756 h 4575969"/>
                  <a:gd name="connsiteX55" fmla="*/ 278606 w 8971757"/>
                  <a:gd name="connsiteY55" fmla="*/ 1133475 h 4575969"/>
                  <a:gd name="connsiteX56" fmla="*/ 369094 w 8971757"/>
                  <a:gd name="connsiteY56" fmla="*/ 1221581 h 4575969"/>
                  <a:gd name="connsiteX57" fmla="*/ 371475 w 8971757"/>
                  <a:gd name="connsiteY57" fmla="*/ 1281112 h 4575969"/>
                  <a:gd name="connsiteX58" fmla="*/ 507206 w 8971757"/>
                  <a:gd name="connsiteY58" fmla="*/ 1414463 h 4575969"/>
                  <a:gd name="connsiteX59" fmla="*/ 561975 w 8971757"/>
                  <a:gd name="connsiteY59" fmla="*/ 1390650 h 4575969"/>
                  <a:gd name="connsiteX60" fmla="*/ 600075 w 8971757"/>
                  <a:gd name="connsiteY60" fmla="*/ 1416843 h 4575969"/>
                  <a:gd name="connsiteX61" fmla="*/ 614363 w 8971757"/>
                  <a:gd name="connsiteY61" fmla="*/ 1466849 h 4575969"/>
                  <a:gd name="connsiteX62" fmla="*/ 657225 w 8971757"/>
                  <a:gd name="connsiteY62" fmla="*/ 1502569 h 4575969"/>
                  <a:gd name="connsiteX63" fmla="*/ 697706 w 8971757"/>
                  <a:gd name="connsiteY63" fmla="*/ 1490662 h 4575969"/>
                  <a:gd name="connsiteX64" fmla="*/ 716756 w 8971757"/>
                  <a:gd name="connsiteY64" fmla="*/ 1547812 h 4575969"/>
                  <a:gd name="connsiteX65" fmla="*/ 764381 w 8971757"/>
                  <a:gd name="connsiteY65" fmla="*/ 1590675 h 4575969"/>
                  <a:gd name="connsiteX66" fmla="*/ 788194 w 8971757"/>
                  <a:gd name="connsiteY66" fmla="*/ 1693069 h 4575969"/>
                  <a:gd name="connsiteX67" fmla="*/ 785813 w 8971757"/>
                  <a:gd name="connsiteY67" fmla="*/ 1740694 h 4575969"/>
                  <a:gd name="connsiteX68" fmla="*/ 821531 w 8971757"/>
                  <a:gd name="connsiteY68" fmla="*/ 1840706 h 4575969"/>
                  <a:gd name="connsiteX69" fmla="*/ 866775 w 8971757"/>
                  <a:gd name="connsiteY69" fmla="*/ 1897856 h 4575969"/>
                  <a:gd name="connsiteX70" fmla="*/ 883443 w 8971757"/>
                  <a:gd name="connsiteY70" fmla="*/ 2055018 h 4575969"/>
                  <a:gd name="connsiteX71" fmla="*/ 850106 w 8971757"/>
                  <a:gd name="connsiteY71" fmla="*/ 2116931 h 4575969"/>
                  <a:gd name="connsiteX72" fmla="*/ 819150 w 8971757"/>
                  <a:gd name="connsiteY72" fmla="*/ 2193131 h 4575969"/>
                  <a:gd name="connsiteX73" fmla="*/ 833438 w 8971757"/>
                  <a:gd name="connsiteY73" fmla="*/ 2250281 h 4575969"/>
                  <a:gd name="connsiteX74" fmla="*/ 735806 w 8971757"/>
                  <a:gd name="connsiteY74" fmla="*/ 2357438 h 4575969"/>
                  <a:gd name="connsiteX75" fmla="*/ 692944 w 8971757"/>
                  <a:gd name="connsiteY75" fmla="*/ 2471737 h 4575969"/>
                  <a:gd name="connsiteX76" fmla="*/ 726281 w 8971757"/>
                  <a:gd name="connsiteY76" fmla="*/ 2512219 h 4575969"/>
                  <a:gd name="connsiteX77" fmla="*/ 709613 w 8971757"/>
                  <a:gd name="connsiteY77" fmla="*/ 2540794 h 4575969"/>
                  <a:gd name="connsiteX78" fmla="*/ 740569 w 8971757"/>
                  <a:gd name="connsiteY78" fmla="*/ 2597944 h 4575969"/>
                  <a:gd name="connsiteX79" fmla="*/ 769144 w 8971757"/>
                  <a:gd name="connsiteY79" fmla="*/ 2597944 h 4575969"/>
                  <a:gd name="connsiteX80" fmla="*/ 931069 w 8971757"/>
                  <a:gd name="connsiteY80" fmla="*/ 2700337 h 4575969"/>
                  <a:gd name="connsiteX81" fmla="*/ 1035844 w 8971757"/>
                  <a:gd name="connsiteY81" fmla="*/ 2697956 h 4575969"/>
                  <a:gd name="connsiteX82" fmla="*/ 1114425 w 8971757"/>
                  <a:gd name="connsiteY82" fmla="*/ 2752725 h 4575969"/>
                  <a:gd name="connsiteX83" fmla="*/ 1245393 w 8971757"/>
                  <a:gd name="connsiteY83" fmla="*/ 2755106 h 4575969"/>
                  <a:gd name="connsiteX84" fmla="*/ 1435893 w 8971757"/>
                  <a:gd name="connsiteY84" fmla="*/ 2824162 h 4575969"/>
                  <a:gd name="connsiteX85" fmla="*/ 1638300 w 8971757"/>
                  <a:gd name="connsiteY85" fmla="*/ 2974181 h 4575969"/>
                  <a:gd name="connsiteX86" fmla="*/ 1671637 w 8971757"/>
                  <a:gd name="connsiteY86" fmla="*/ 3040856 h 4575969"/>
                  <a:gd name="connsiteX87" fmla="*/ 1838325 w 8971757"/>
                  <a:gd name="connsiteY87" fmla="*/ 3167062 h 4575969"/>
                  <a:gd name="connsiteX88" fmla="*/ 1909763 w 8971757"/>
                  <a:gd name="connsiteY88" fmla="*/ 3162300 h 4575969"/>
                  <a:gd name="connsiteX89" fmla="*/ 1945482 w 8971757"/>
                  <a:gd name="connsiteY89" fmla="*/ 3186112 h 4575969"/>
                  <a:gd name="connsiteX90" fmla="*/ 1916906 w 8971757"/>
                  <a:gd name="connsiteY90" fmla="*/ 3226594 h 4575969"/>
                  <a:gd name="connsiteX91" fmla="*/ 1924050 w 8971757"/>
                  <a:gd name="connsiteY91" fmla="*/ 3278981 h 4575969"/>
                  <a:gd name="connsiteX92" fmla="*/ 1976438 w 8971757"/>
                  <a:gd name="connsiteY92" fmla="*/ 3305175 h 4575969"/>
                  <a:gd name="connsiteX93" fmla="*/ 2038350 w 8971757"/>
                  <a:gd name="connsiteY93" fmla="*/ 3529013 h 4575969"/>
                  <a:gd name="connsiteX94" fmla="*/ 2028825 w 8971757"/>
                  <a:gd name="connsiteY94" fmla="*/ 3593306 h 4575969"/>
                  <a:gd name="connsiteX95" fmla="*/ 2164556 w 8971757"/>
                  <a:gd name="connsiteY95" fmla="*/ 3759994 h 4575969"/>
                  <a:gd name="connsiteX96" fmla="*/ 2183606 w 8971757"/>
                  <a:gd name="connsiteY96" fmla="*/ 3810000 h 4575969"/>
                  <a:gd name="connsiteX97" fmla="*/ 2157413 w 8971757"/>
                  <a:gd name="connsiteY97" fmla="*/ 3829050 h 4575969"/>
                  <a:gd name="connsiteX98" fmla="*/ 2259806 w 8971757"/>
                  <a:gd name="connsiteY98" fmla="*/ 3838575 h 4575969"/>
                  <a:gd name="connsiteX99" fmla="*/ 2371725 w 8971757"/>
                  <a:gd name="connsiteY99" fmla="*/ 3826669 h 4575969"/>
                  <a:gd name="connsiteX100" fmla="*/ 2650331 w 8971757"/>
                  <a:gd name="connsiteY100" fmla="*/ 3910012 h 4575969"/>
                  <a:gd name="connsiteX101" fmla="*/ 3057525 w 8971757"/>
                  <a:gd name="connsiteY101" fmla="*/ 3990975 h 4575969"/>
                  <a:gd name="connsiteX102" fmla="*/ 3255169 w 8971757"/>
                  <a:gd name="connsiteY102" fmla="*/ 3960018 h 4575969"/>
                  <a:gd name="connsiteX103" fmla="*/ 3300413 w 8971757"/>
                  <a:gd name="connsiteY103" fmla="*/ 3971924 h 4575969"/>
                  <a:gd name="connsiteX104" fmla="*/ 3355181 w 8971757"/>
                  <a:gd name="connsiteY104" fmla="*/ 3948113 h 4575969"/>
                  <a:gd name="connsiteX105" fmla="*/ 3748087 w 8971757"/>
                  <a:gd name="connsiteY105" fmla="*/ 4038600 h 4575969"/>
                  <a:gd name="connsiteX106" fmla="*/ 3831432 w 8971757"/>
                  <a:gd name="connsiteY106" fmla="*/ 4136231 h 4575969"/>
                  <a:gd name="connsiteX107" fmla="*/ 3950494 w 8971757"/>
                  <a:gd name="connsiteY107" fmla="*/ 4207669 h 4575969"/>
                  <a:gd name="connsiteX108" fmla="*/ 4010025 w 8971757"/>
                  <a:gd name="connsiteY108" fmla="*/ 4191000 h 4575969"/>
                  <a:gd name="connsiteX109" fmla="*/ 4360068 w 8971757"/>
                  <a:gd name="connsiteY109" fmla="*/ 4364831 h 4575969"/>
                  <a:gd name="connsiteX110" fmla="*/ 4586288 w 8971757"/>
                  <a:gd name="connsiteY110" fmla="*/ 4336256 h 4575969"/>
                  <a:gd name="connsiteX111" fmla="*/ 4595813 w 8971757"/>
                  <a:gd name="connsiteY111" fmla="*/ 4414837 h 4575969"/>
                  <a:gd name="connsiteX112" fmla="*/ 4681538 w 8971757"/>
                  <a:gd name="connsiteY112" fmla="*/ 4410074 h 4575969"/>
                  <a:gd name="connsiteX113" fmla="*/ 4760119 w 8971757"/>
                  <a:gd name="connsiteY113" fmla="*/ 4441031 h 4575969"/>
                  <a:gd name="connsiteX114" fmla="*/ 4802981 w 8971757"/>
                  <a:gd name="connsiteY114" fmla="*/ 4381500 h 4575969"/>
                  <a:gd name="connsiteX115" fmla="*/ 5474494 w 8971757"/>
                  <a:gd name="connsiteY115" fmla="*/ 4062412 h 4575969"/>
                  <a:gd name="connsiteX116" fmla="*/ 5562600 w 8971757"/>
                  <a:gd name="connsiteY116" fmla="*/ 4090988 h 4575969"/>
                  <a:gd name="connsiteX117" fmla="*/ 5693569 w 8971757"/>
                  <a:gd name="connsiteY117" fmla="*/ 4062412 h 4575969"/>
                  <a:gd name="connsiteX118" fmla="*/ 5872162 w 8971757"/>
                  <a:gd name="connsiteY118" fmla="*/ 4079081 h 4575969"/>
                  <a:gd name="connsiteX119" fmla="*/ 5929313 w 8971757"/>
                  <a:gd name="connsiteY119" fmla="*/ 4052888 h 4575969"/>
                  <a:gd name="connsiteX120" fmla="*/ 6062662 w 8971757"/>
                  <a:gd name="connsiteY120" fmla="*/ 4050506 h 4575969"/>
                  <a:gd name="connsiteX121" fmla="*/ 6196012 w 8971757"/>
                  <a:gd name="connsiteY121" fmla="*/ 3952875 h 4575969"/>
                  <a:gd name="connsiteX122" fmla="*/ 6262687 w 8971757"/>
                  <a:gd name="connsiteY122" fmla="*/ 3945731 h 4575969"/>
                  <a:gd name="connsiteX123" fmla="*/ 6360319 w 8971757"/>
                  <a:gd name="connsiteY123" fmla="*/ 3871912 h 4575969"/>
                  <a:gd name="connsiteX124" fmla="*/ 6434138 w 8971757"/>
                  <a:gd name="connsiteY124" fmla="*/ 3802856 h 4575969"/>
                  <a:gd name="connsiteX125" fmla="*/ 6443663 w 8971757"/>
                  <a:gd name="connsiteY125" fmla="*/ 3740944 h 4575969"/>
                  <a:gd name="connsiteX126" fmla="*/ 6477000 w 8971757"/>
                  <a:gd name="connsiteY126" fmla="*/ 3671887 h 4575969"/>
                  <a:gd name="connsiteX127" fmla="*/ 6629400 w 8971757"/>
                  <a:gd name="connsiteY127" fmla="*/ 3564731 h 4575969"/>
                  <a:gd name="connsiteX128" fmla="*/ 6662738 w 8971757"/>
                  <a:gd name="connsiteY128" fmla="*/ 3569494 h 4575969"/>
                  <a:gd name="connsiteX129" fmla="*/ 6715125 w 8971757"/>
                  <a:gd name="connsiteY129" fmla="*/ 3490912 h 4575969"/>
                  <a:gd name="connsiteX130" fmla="*/ 6762750 w 8971757"/>
                  <a:gd name="connsiteY130" fmla="*/ 3452812 h 4575969"/>
                  <a:gd name="connsiteX131" fmla="*/ 6748463 w 8971757"/>
                  <a:gd name="connsiteY131" fmla="*/ 3383756 h 4575969"/>
                  <a:gd name="connsiteX132" fmla="*/ 6698456 w 8971757"/>
                  <a:gd name="connsiteY132" fmla="*/ 3352799 h 4575969"/>
                  <a:gd name="connsiteX133" fmla="*/ 6638925 w 8971757"/>
                  <a:gd name="connsiteY133" fmla="*/ 3298031 h 4575969"/>
                  <a:gd name="connsiteX134" fmla="*/ 6619875 w 8971757"/>
                  <a:gd name="connsiteY134" fmla="*/ 3240881 h 4575969"/>
                  <a:gd name="connsiteX135" fmla="*/ 6584156 w 8971757"/>
                  <a:gd name="connsiteY135" fmla="*/ 3207544 h 4575969"/>
                  <a:gd name="connsiteX136" fmla="*/ 6610350 w 8971757"/>
                  <a:gd name="connsiteY136" fmla="*/ 3155156 h 4575969"/>
                  <a:gd name="connsiteX137" fmla="*/ 6650831 w 8971757"/>
                  <a:gd name="connsiteY137" fmla="*/ 2976562 h 4575969"/>
                  <a:gd name="connsiteX138" fmla="*/ 6691313 w 8971757"/>
                  <a:gd name="connsiteY138" fmla="*/ 2909887 h 4575969"/>
                  <a:gd name="connsiteX139" fmla="*/ 6836569 w 8971757"/>
                  <a:gd name="connsiteY139" fmla="*/ 2893218 h 4575969"/>
                  <a:gd name="connsiteX140" fmla="*/ 6905625 w 8971757"/>
                  <a:gd name="connsiteY140" fmla="*/ 2950369 h 4575969"/>
                  <a:gd name="connsiteX141" fmla="*/ 6981825 w 8971757"/>
                  <a:gd name="connsiteY141" fmla="*/ 2974181 h 4575969"/>
                  <a:gd name="connsiteX142" fmla="*/ 7186612 w 8971757"/>
                  <a:gd name="connsiteY142" fmla="*/ 2978944 h 4575969"/>
                  <a:gd name="connsiteX143" fmla="*/ 7362825 w 8971757"/>
                  <a:gd name="connsiteY143" fmla="*/ 2840831 h 4575969"/>
                  <a:gd name="connsiteX144" fmla="*/ 7419975 w 8971757"/>
                  <a:gd name="connsiteY144" fmla="*/ 2750343 h 4575969"/>
                  <a:gd name="connsiteX145" fmla="*/ 7446169 w 8971757"/>
                  <a:gd name="connsiteY145" fmla="*/ 2667000 h 4575969"/>
                  <a:gd name="connsiteX146" fmla="*/ 7577137 w 8971757"/>
                  <a:gd name="connsiteY146" fmla="*/ 2667000 h 4575969"/>
                  <a:gd name="connsiteX147" fmla="*/ 7750969 w 8971757"/>
                  <a:gd name="connsiteY147" fmla="*/ 2609849 h 4575969"/>
                  <a:gd name="connsiteX148" fmla="*/ 7810500 w 8971757"/>
                  <a:gd name="connsiteY148" fmla="*/ 2497931 h 4575969"/>
                  <a:gd name="connsiteX149" fmla="*/ 7874794 w 8971757"/>
                  <a:gd name="connsiteY149" fmla="*/ 2462212 h 4575969"/>
                  <a:gd name="connsiteX150" fmla="*/ 7853363 w 8971757"/>
                  <a:gd name="connsiteY150" fmla="*/ 2416969 h 4575969"/>
                  <a:gd name="connsiteX151" fmla="*/ 7931944 w 8971757"/>
                  <a:gd name="connsiteY151" fmla="*/ 2247899 h 4575969"/>
                  <a:gd name="connsiteX152" fmla="*/ 7986713 w 8971757"/>
                  <a:gd name="connsiteY152" fmla="*/ 2188369 h 4575969"/>
                  <a:gd name="connsiteX153" fmla="*/ 8024813 w 8971757"/>
                  <a:gd name="connsiteY153" fmla="*/ 2183606 h 4575969"/>
                  <a:gd name="connsiteX154" fmla="*/ 8070056 w 8971757"/>
                  <a:gd name="connsiteY154" fmla="*/ 2188369 h 4575969"/>
                  <a:gd name="connsiteX155" fmla="*/ 8134350 w 8971757"/>
                  <a:gd name="connsiteY155" fmla="*/ 2155031 h 4575969"/>
                  <a:gd name="connsiteX156" fmla="*/ 8143875 w 8971757"/>
                  <a:gd name="connsiteY156" fmla="*/ 2090737 h 4575969"/>
                  <a:gd name="connsiteX157" fmla="*/ 8184355 w 8971757"/>
                  <a:gd name="connsiteY157" fmla="*/ 2055019 h 4575969"/>
                  <a:gd name="connsiteX158" fmla="*/ 8243888 w 8971757"/>
                  <a:gd name="connsiteY158" fmla="*/ 2095499 h 4575969"/>
                  <a:gd name="connsiteX159" fmla="*/ 8270082 w 8971757"/>
                  <a:gd name="connsiteY159" fmla="*/ 2045493 h 4575969"/>
                  <a:gd name="connsiteX160" fmla="*/ 8365331 w 8971757"/>
                  <a:gd name="connsiteY160" fmla="*/ 1976437 h 4575969"/>
                  <a:gd name="connsiteX161" fmla="*/ 8427244 w 8971757"/>
                  <a:gd name="connsiteY161" fmla="*/ 1983581 h 4575969"/>
                  <a:gd name="connsiteX162" fmla="*/ 8477250 w 8971757"/>
                  <a:gd name="connsiteY162" fmla="*/ 1964531 h 4575969"/>
                  <a:gd name="connsiteX163" fmla="*/ 8515350 w 8971757"/>
                  <a:gd name="connsiteY163" fmla="*/ 1935956 h 4575969"/>
                  <a:gd name="connsiteX164" fmla="*/ 8548688 w 8971757"/>
                  <a:gd name="connsiteY164" fmla="*/ 1933575 h 4575969"/>
                  <a:gd name="connsiteX165" fmla="*/ 8584406 w 8971757"/>
                  <a:gd name="connsiteY165" fmla="*/ 1964531 h 4575969"/>
                  <a:gd name="connsiteX166" fmla="*/ 8643938 w 8971757"/>
                  <a:gd name="connsiteY166" fmla="*/ 1964531 h 4575969"/>
                  <a:gd name="connsiteX167" fmla="*/ 8682037 w 8971757"/>
                  <a:gd name="connsiteY167" fmla="*/ 1945481 h 4575969"/>
                  <a:gd name="connsiteX168" fmla="*/ 8765381 w 8971757"/>
                  <a:gd name="connsiteY168" fmla="*/ 1947863 h 4575969"/>
                  <a:gd name="connsiteX169" fmla="*/ 8796338 w 8971757"/>
                  <a:gd name="connsiteY169" fmla="*/ 1902619 h 4575969"/>
                  <a:gd name="connsiteX170" fmla="*/ 8801100 w 8971757"/>
                  <a:gd name="connsiteY170" fmla="*/ 1840706 h 4575969"/>
                  <a:gd name="connsiteX171" fmla="*/ 8751093 w 8971757"/>
                  <a:gd name="connsiteY171" fmla="*/ 1800225 h 4575969"/>
                  <a:gd name="connsiteX172" fmla="*/ 8734425 w 8971757"/>
                  <a:gd name="connsiteY172" fmla="*/ 1745456 h 4575969"/>
                  <a:gd name="connsiteX173" fmla="*/ 8643938 w 8971757"/>
                  <a:gd name="connsiteY173" fmla="*/ 1683544 h 4575969"/>
                  <a:gd name="connsiteX174" fmla="*/ 8603456 w 8971757"/>
                  <a:gd name="connsiteY174" fmla="*/ 1662112 h 4575969"/>
                  <a:gd name="connsiteX175" fmla="*/ 8565356 w 8971757"/>
                  <a:gd name="connsiteY175" fmla="*/ 1616869 h 4575969"/>
                  <a:gd name="connsiteX176" fmla="*/ 8534400 w 8971757"/>
                  <a:gd name="connsiteY176" fmla="*/ 1614487 h 4575969"/>
                  <a:gd name="connsiteX177" fmla="*/ 8517731 w 8971757"/>
                  <a:gd name="connsiteY177" fmla="*/ 1562100 h 4575969"/>
                  <a:gd name="connsiteX178" fmla="*/ 8477250 w 8971757"/>
                  <a:gd name="connsiteY178" fmla="*/ 1545431 h 4575969"/>
                  <a:gd name="connsiteX179" fmla="*/ 8477250 w 8971757"/>
                  <a:gd name="connsiteY179" fmla="*/ 1545431 h 4575969"/>
                  <a:gd name="connsiteX180" fmla="*/ 8436769 w 8971757"/>
                  <a:gd name="connsiteY180" fmla="*/ 1550194 h 4575969"/>
                  <a:gd name="connsiteX181" fmla="*/ 8351043 w 8971757"/>
                  <a:gd name="connsiteY181" fmla="*/ 1476375 h 4575969"/>
                  <a:gd name="connsiteX182" fmla="*/ 8170069 w 8971757"/>
                  <a:gd name="connsiteY182" fmla="*/ 1476374 h 4575969"/>
                  <a:gd name="connsiteX183" fmla="*/ 8117681 w 8971757"/>
                  <a:gd name="connsiteY183" fmla="*/ 1514475 h 4575969"/>
                  <a:gd name="connsiteX184" fmla="*/ 8067675 w 8971757"/>
                  <a:gd name="connsiteY184" fmla="*/ 1593056 h 4575969"/>
                  <a:gd name="connsiteX185" fmla="*/ 8084344 w 8971757"/>
                  <a:gd name="connsiteY185" fmla="*/ 1614487 h 4575969"/>
                  <a:gd name="connsiteX186" fmla="*/ 8039100 w 8971757"/>
                  <a:gd name="connsiteY186" fmla="*/ 1664493 h 4575969"/>
                  <a:gd name="connsiteX187" fmla="*/ 7889081 w 8971757"/>
                  <a:gd name="connsiteY187" fmla="*/ 1588293 h 4575969"/>
                  <a:gd name="connsiteX188" fmla="*/ 7798594 w 8971757"/>
                  <a:gd name="connsiteY188" fmla="*/ 1624012 h 4575969"/>
                  <a:gd name="connsiteX189" fmla="*/ 7724775 w 8971757"/>
                  <a:gd name="connsiteY189" fmla="*/ 1621631 h 4575969"/>
                  <a:gd name="connsiteX190" fmla="*/ 7667625 w 8971757"/>
                  <a:gd name="connsiteY190" fmla="*/ 1716881 h 4575969"/>
                  <a:gd name="connsiteX191" fmla="*/ 7529513 w 8971757"/>
                  <a:gd name="connsiteY19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5264944 w 8971757"/>
                  <a:gd name="connsiteY38" fmla="*/ 1026319 h 4575969"/>
                  <a:gd name="connsiteX39" fmla="*/ 8412956 w 8971757"/>
                  <a:gd name="connsiteY39" fmla="*/ 23812 h 4575969"/>
                  <a:gd name="connsiteX40" fmla="*/ 8949531 w 8971757"/>
                  <a:gd name="connsiteY40" fmla="*/ 0 h 4575969"/>
                  <a:gd name="connsiteX41" fmla="*/ 8971757 w 8971757"/>
                  <a:gd name="connsiteY41" fmla="*/ 4575969 h 4575969"/>
                  <a:gd name="connsiteX42" fmla="*/ 2381 w 8971757"/>
                  <a:gd name="connsiteY42" fmla="*/ 4547392 h 4575969"/>
                  <a:gd name="connsiteX43" fmla="*/ 0 w 8971757"/>
                  <a:gd name="connsiteY43" fmla="*/ 845344 h 4575969"/>
                  <a:gd name="connsiteX44" fmla="*/ 76200 w 8971757"/>
                  <a:gd name="connsiteY44" fmla="*/ 828675 h 4575969"/>
                  <a:gd name="connsiteX45" fmla="*/ 119063 w 8971757"/>
                  <a:gd name="connsiteY45" fmla="*/ 857250 h 4575969"/>
                  <a:gd name="connsiteX46" fmla="*/ 215900 w 8971757"/>
                  <a:gd name="connsiteY46" fmla="*/ 848519 h 4575969"/>
                  <a:gd name="connsiteX47" fmla="*/ 261938 w 8971757"/>
                  <a:gd name="connsiteY47" fmla="*/ 876299 h 4575969"/>
                  <a:gd name="connsiteX48" fmla="*/ 228600 w 8971757"/>
                  <a:gd name="connsiteY48" fmla="*/ 904875 h 4575969"/>
                  <a:gd name="connsiteX49" fmla="*/ 233363 w 8971757"/>
                  <a:gd name="connsiteY49" fmla="*/ 947737 h 4575969"/>
                  <a:gd name="connsiteX50" fmla="*/ 200025 w 8971757"/>
                  <a:gd name="connsiteY50" fmla="*/ 952500 h 4575969"/>
                  <a:gd name="connsiteX51" fmla="*/ 204788 w 8971757"/>
                  <a:gd name="connsiteY51" fmla="*/ 976312 h 4575969"/>
                  <a:gd name="connsiteX52" fmla="*/ 261937 w 8971757"/>
                  <a:gd name="connsiteY52" fmla="*/ 1050131 h 4575969"/>
                  <a:gd name="connsiteX53" fmla="*/ 223838 w 8971757"/>
                  <a:gd name="connsiteY53" fmla="*/ 1097756 h 4575969"/>
                  <a:gd name="connsiteX54" fmla="*/ 278606 w 8971757"/>
                  <a:gd name="connsiteY54" fmla="*/ 1133475 h 4575969"/>
                  <a:gd name="connsiteX55" fmla="*/ 369094 w 8971757"/>
                  <a:gd name="connsiteY55" fmla="*/ 1221581 h 4575969"/>
                  <a:gd name="connsiteX56" fmla="*/ 371475 w 8971757"/>
                  <a:gd name="connsiteY56" fmla="*/ 1281112 h 4575969"/>
                  <a:gd name="connsiteX57" fmla="*/ 507206 w 8971757"/>
                  <a:gd name="connsiteY57" fmla="*/ 1414463 h 4575969"/>
                  <a:gd name="connsiteX58" fmla="*/ 561975 w 8971757"/>
                  <a:gd name="connsiteY58" fmla="*/ 1390650 h 4575969"/>
                  <a:gd name="connsiteX59" fmla="*/ 600075 w 8971757"/>
                  <a:gd name="connsiteY59" fmla="*/ 1416843 h 4575969"/>
                  <a:gd name="connsiteX60" fmla="*/ 614363 w 8971757"/>
                  <a:gd name="connsiteY60" fmla="*/ 1466849 h 4575969"/>
                  <a:gd name="connsiteX61" fmla="*/ 657225 w 8971757"/>
                  <a:gd name="connsiteY61" fmla="*/ 1502569 h 4575969"/>
                  <a:gd name="connsiteX62" fmla="*/ 697706 w 8971757"/>
                  <a:gd name="connsiteY62" fmla="*/ 1490662 h 4575969"/>
                  <a:gd name="connsiteX63" fmla="*/ 716756 w 8971757"/>
                  <a:gd name="connsiteY63" fmla="*/ 1547812 h 4575969"/>
                  <a:gd name="connsiteX64" fmla="*/ 764381 w 8971757"/>
                  <a:gd name="connsiteY64" fmla="*/ 1590675 h 4575969"/>
                  <a:gd name="connsiteX65" fmla="*/ 788194 w 8971757"/>
                  <a:gd name="connsiteY65" fmla="*/ 1693069 h 4575969"/>
                  <a:gd name="connsiteX66" fmla="*/ 785813 w 8971757"/>
                  <a:gd name="connsiteY66" fmla="*/ 1740694 h 4575969"/>
                  <a:gd name="connsiteX67" fmla="*/ 821531 w 8971757"/>
                  <a:gd name="connsiteY67" fmla="*/ 1840706 h 4575969"/>
                  <a:gd name="connsiteX68" fmla="*/ 866775 w 8971757"/>
                  <a:gd name="connsiteY68" fmla="*/ 1897856 h 4575969"/>
                  <a:gd name="connsiteX69" fmla="*/ 883443 w 8971757"/>
                  <a:gd name="connsiteY69" fmla="*/ 2055018 h 4575969"/>
                  <a:gd name="connsiteX70" fmla="*/ 850106 w 8971757"/>
                  <a:gd name="connsiteY70" fmla="*/ 2116931 h 4575969"/>
                  <a:gd name="connsiteX71" fmla="*/ 819150 w 8971757"/>
                  <a:gd name="connsiteY71" fmla="*/ 2193131 h 4575969"/>
                  <a:gd name="connsiteX72" fmla="*/ 833438 w 8971757"/>
                  <a:gd name="connsiteY72" fmla="*/ 2250281 h 4575969"/>
                  <a:gd name="connsiteX73" fmla="*/ 735806 w 8971757"/>
                  <a:gd name="connsiteY73" fmla="*/ 2357438 h 4575969"/>
                  <a:gd name="connsiteX74" fmla="*/ 692944 w 8971757"/>
                  <a:gd name="connsiteY74" fmla="*/ 2471737 h 4575969"/>
                  <a:gd name="connsiteX75" fmla="*/ 726281 w 8971757"/>
                  <a:gd name="connsiteY75" fmla="*/ 2512219 h 4575969"/>
                  <a:gd name="connsiteX76" fmla="*/ 709613 w 8971757"/>
                  <a:gd name="connsiteY76" fmla="*/ 2540794 h 4575969"/>
                  <a:gd name="connsiteX77" fmla="*/ 740569 w 8971757"/>
                  <a:gd name="connsiteY77" fmla="*/ 2597944 h 4575969"/>
                  <a:gd name="connsiteX78" fmla="*/ 769144 w 8971757"/>
                  <a:gd name="connsiteY78" fmla="*/ 2597944 h 4575969"/>
                  <a:gd name="connsiteX79" fmla="*/ 931069 w 8971757"/>
                  <a:gd name="connsiteY79" fmla="*/ 2700337 h 4575969"/>
                  <a:gd name="connsiteX80" fmla="*/ 1035844 w 8971757"/>
                  <a:gd name="connsiteY80" fmla="*/ 2697956 h 4575969"/>
                  <a:gd name="connsiteX81" fmla="*/ 1114425 w 8971757"/>
                  <a:gd name="connsiteY81" fmla="*/ 2752725 h 4575969"/>
                  <a:gd name="connsiteX82" fmla="*/ 1245393 w 8971757"/>
                  <a:gd name="connsiteY82" fmla="*/ 2755106 h 4575969"/>
                  <a:gd name="connsiteX83" fmla="*/ 1435893 w 8971757"/>
                  <a:gd name="connsiteY83" fmla="*/ 2824162 h 4575969"/>
                  <a:gd name="connsiteX84" fmla="*/ 1638300 w 8971757"/>
                  <a:gd name="connsiteY84" fmla="*/ 2974181 h 4575969"/>
                  <a:gd name="connsiteX85" fmla="*/ 1671637 w 8971757"/>
                  <a:gd name="connsiteY85" fmla="*/ 3040856 h 4575969"/>
                  <a:gd name="connsiteX86" fmla="*/ 1838325 w 8971757"/>
                  <a:gd name="connsiteY86" fmla="*/ 3167062 h 4575969"/>
                  <a:gd name="connsiteX87" fmla="*/ 1909763 w 8971757"/>
                  <a:gd name="connsiteY87" fmla="*/ 3162300 h 4575969"/>
                  <a:gd name="connsiteX88" fmla="*/ 1945482 w 8971757"/>
                  <a:gd name="connsiteY88" fmla="*/ 3186112 h 4575969"/>
                  <a:gd name="connsiteX89" fmla="*/ 1916906 w 8971757"/>
                  <a:gd name="connsiteY89" fmla="*/ 3226594 h 4575969"/>
                  <a:gd name="connsiteX90" fmla="*/ 1924050 w 8971757"/>
                  <a:gd name="connsiteY90" fmla="*/ 3278981 h 4575969"/>
                  <a:gd name="connsiteX91" fmla="*/ 1976438 w 8971757"/>
                  <a:gd name="connsiteY91" fmla="*/ 3305175 h 4575969"/>
                  <a:gd name="connsiteX92" fmla="*/ 2038350 w 8971757"/>
                  <a:gd name="connsiteY92" fmla="*/ 3529013 h 4575969"/>
                  <a:gd name="connsiteX93" fmla="*/ 2028825 w 8971757"/>
                  <a:gd name="connsiteY93" fmla="*/ 3593306 h 4575969"/>
                  <a:gd name="connsiteX94" fmla="*/ 2164556 w 8971757"/>
                  <a:gd name="connsiteY94" fmla="*/ 3759994 h 4575969"/>
                  <a:gd name="connsiteX95" fmla="*/ 2183606 w 8971757"/>
                  <a:gd name="connsiteY95" fmla="*/ 3810000 h 4575969"/>
                  <a:gd name="connsiteX96" fmla="*/ 2157413 w 8971757"/>
                  <a:gd name="connsiteY96" fmla="*/ 3829050 h 4575969"/>
                  <a:gd name="connsiteX97" fmla="*/ 2259806 w 8971757"/>
                  <a:gd name="connsiteY97" fmla="*/ 3838575 h 4575969"/>
                  <a:gd name="connsiteX98" fmla="*/ 2371725 w 8971757"/>
                  <a:gd name="connsiteY98" fmla="*/ 3826669 h 4575969"/>
                  <a:gd name="connsiteX99" fmla="*/ 2650331 w 8971757"/>
                  <a:gd name="connsiteY99" fmla="*/ 3910012 h 4575969"/>
                  <a:gd name="connsiteX100" fmla="*/ 3057525 w 8971757"/>
                  <a:gd name="connsiteY100" fmla="*/ 3990975 h 4575969"/>
                  <a:gd name="connsiteX101" fmla="*/ 3255169 w 8971757"/>
                  <a:gd name="connsiteY101" fmla="*/ 3960018 h 4575969"/>
                  <a:gd name="connsiteX102" fmla="*/ 3300413 w 8971757"/>
                  <a:gd name="connsiteY102" fmla="*/ 3971924 h 4575969"/>
                  <a:gd name="connsiteX103" fmla="*/ 3355181 w 8971757"/>
                  <a:gd name="connsiteY103" fmla="*/ 3948113 h 4575969"/>
                  <a:gd name="connsiteX104" fmla="*/ 3748087 w 8971757"/>
                  <a:gd name="connsiteY104" fmla="*/ 4038600 h 4575969"/>
                  <a:gd name="connsiteX105" fmla="*/ 3831432 w 8971757"/>
                  <a:gd name="connsiteY105" fmla="*/ 4136231 h 4575969"/>
                  <a:gd name="connsiteX106" fmla="*/ 3950494 w 8971757"/>
                  <a:gd name="connsiteY106" fmla="*/ 4207669 h 4575969"/>
                  <a:gd name="connsiteX107" fmla="*/ 4010025 w 8971757"/>
                  <a:gd name="connsiteY107" fmla="*/ 4191000 h 4575969"/>
                  <a:gd name="connsiteX108" fmla="*/ 4360068 w 8971757"/>
                  <a:gd name="connsiteY108" fmla="*/ 4364831 h 4575969"/>
                  <a:gd name="connsiteX109" fmla="*/ 4586288 w 8971757"/>
                  <a:gd name="connsiteY109" fmla="*/ 4336256 h 4575969"/>
                  <a:gd name="connsiteX110" fmla="*/ 4595813 w 8971757"/>
                  <a:gd name="connsiteY110" fmla="*/ 4414837 h 4575969"/>
                  <a:gd name="connsiteX111" fmla="*/ 4681538 w 8971757"/>
                  <a:gd name="connsiteY111" fmla="*/ 4410074 h 4575969"/>
                  <a:gd name="connsiteX112" fmla="*/ 4760119 w 8971757"/>
                  <a:gd name="connsiteY112" fmla="*/ 4441031 h 4575969"/>
                  <a:gd name="connsiteX113" fmla="*/ 4802981 w 8971757"/>
                  <a:gd name="connsiteY113" fmla="*/ 4381500 h 4575969"/>
                  <a:gd name="connsiteX114" fmla="*/ 5474494 w 8971757"/>
                  <a:gd name="connsiteY114" fmla="*/ 4062412 h 4575969"/>
                  <a:gd name="connsiteX115" fmla="*/ 5562600 w 8971757"/>
                  <a:gd name="connsiteY115" fmla="*/ 4090988 h 4575969"/>
                  <a:gd name="connsiteX116" fmla="*/ 5693569 w 8971757"/>
                  <a:gd name="connsiteY116" fmla="*/ 4062412 h 4575969"/>
                  <a:gd name="connsiteX117" fmla="*/ 5872162 w 8971757"/>
                  <a:gd name="connsiteY117" fmla="*/ 4079081 h 4575969"/>
                  <a:gd name="connsiteX118" fmla="*/ 5929313 w 8971757"/>
                  <a:gd name="connsiteY118" fmla="*/ 4052888 h 4575969"/>
                  <a:gd name="connsiteX119" fmla="*/ 6062662 w 8971757"/>
                  <a:gd name="connsiteY119" fmla="*/ 4050506 h 4575969"/>
                  <a:gd name="connsiteX120" fmla="*/ 6196012 w 8971757"/>
                  <a:gd name="connsiteY120" fmla="*/ 3952875 h 4575969"/>
                  <a:gd name="connsiteX121" fmla="*/ 6262687 w 8971757"/>
                  <a:gd name="connsiteY121" fmla="*/ 3945731 h 4575969"/>
                  <a:gd name="connsiteX122" fmla="*/ 6360319 w 8971757"/>
                  <a:gd name="connsiteY122" fmla="*/ 3871912 h 4575969"/>
                  <a:gd name="connsiteX123" fmla="*/ 6434138 w 8971757"/>
                  <a:gd name="connsiteY123" fmla="*/ 3802856 h 4575969"/>
                  <a:gd name="connsiteX124" fmla="*/ 6443663 w 8971757"/>
                  <a:gd name="connsiteY124" fmla="*/ 3740944 h 4575969"/>
                  <a:gd name="connsiteX125" fmla="*/ 6477000 w 8971757"/>
                  <a:gd name="connsiteY125" fmla="*/ 3671887 h 4575969"/>
                  <a:gd name="connsiteX126" fmla="*/ 6629400 w 8971757"/>
                  <a:gd name="connsiteY126" fmla="*/ 3564731 h 4575969"/>
                  <a:gd name="connsiteX127" fmla="*/ 6662738 w 8971757"/>
                  <a:gd name="connsiteY127" fmla="*/ 3569494 h 4575969"/>
                  <a:gd name="connsiteX128" fmla="*/ 6715125 w 8971757"/>
                  <a:gd name="connsiteY128" fmla="*/ 3490912 h 4575969"/>
                  <a:gd name="connsiteX129" fmla="*/ 6762750 w 8971757"/>
                  <a:gd name="connsiteY129" fmla="*/ 3452812 h 4575969"/>
                  <a:gd name="connsiteX130" fmla="*/ 6748463 w 8971757"/>
                  <a:gd name="connsiteY130" fmla="*/ 3383756 h 4575969"/>
                  <a:gd name="connsiteX131" fmla="*/ 6698456 w 8971757"/>
                  <a:gd name="connsiteY131" fmla="*/ 3352799 h 4575969"/>
                  <a:gd name="connsiteX132" fmla="*/ 6638925 w 8971757"/>
                  <a:gd name="connsiteY132" fmla="*/ 3298031 h 4575969"/>
                  <a:gd name="connsiteX133" fmla="*/ 6619875 w 8971757"/>
                  <a:gd name="connsiteY133" fmla="*/ 3240881 h 4575969"/>
                  <a:gd name="connsiteX134" fmla="*/ 6584156 w 8971757"/>
                  <a:gd name="connsiteY134" fmla="*/ 3207544 h 4575969"/>
                  <a:gd name="connsiteX135" fmla="*/ 6610350 w 8971757"/>
                  <a:gd name="connsiteY135" fmla="*/ 3155156 h 4575969"/>
                  <a:gd name="connsiteX136" fmla="*/ 6650831 w 8971757"/>
                  <a:gd name="connsiteY136" fmla="*/ 2976562 h 4575969"/>
                  <a:gd name="connsiteX137" fmla="*/ 6691313 w 8971757"/>
                  <a:gd name="connsiteY137" fmla="*/ 2909887 h 4575969"/>
                  <a:gd name="connsiteX138" fmla="*/ 6836569 w 8971757"/>
                  <a:gd name="connsiteY138" fmla="*/ 2893218 h 4575969"/>
                  <a:gd name="connsiteX139" fmla="*/ 6905625 w 8971757"/>
                  <a:gd name="connsiteY139" fmla="*/ 2950369 h 4575969"/>
                  <a:gd name="connsiteX140" fmla="*/ 6981825 w 8971757"/>
                  <a:gd name="connsiteY140" fmla="*/ 2974181 h 4575969"/>
                  <a:gd name="connsiteX141" fmla="*/ 7186612 w 8971757"/>
                  <a:gd name="connsiteY141" fmla="*/ 2978944 h 4575969"/>
                  <a:gd name="connsiteX142" fmla="*/ 7362825 w 8971757"/>
                  <a:gd name="connsiteY142" fmla="*/ 2840831 h 4575969"/>
                  <a:gd name="connsiteX143" fmla="*/ 7419975 w 8971757"/>
                  <a:gd name="connsiteY143" fmla="*/ 2750343 h 4575969"/>
                  <a:gd name="connsiteX144" fmla="*/ 7446169 w 8971757"/>
                  <a:gd name="connsiteY144" fmla="*/ 2667000 h 4575969"/>
                  <a:gd name="connsiteX145" fmla="*/ 7577137 w 8971757"/>
                  <a:gd name="connsiteY145" fmla="*/ 2667000 h 4575969"/>
                  <a:gd name="connsiteX146" fmla="*/ 7750969 w 8971757"/>
                  <a:gd name="connsiteY146" fmla="*/ 2609849 h 4575969"/>
                  <a:gd name="connsiteX147" fmla="*/ 7810500 w 8971757"/>
                  <a:gd name="connsiteY147" fmla="*/ 2497931 h 4575969"/>
                  <a:gd name="connsiteX148" fmla="*/ 7874794 w 8971757"/>
                  <a:gd name="connsiteY148" fmla="*/ 2462212 h 4575969"/>
                  <a:gd name="connsiteX149" fmla="*/ 7853363 w 8971757"/>
                  <a:gd name="connsiteY149" fmla="*/ 2416969 h 4575969"/>
                  <a:gd name="connsiteX150" fmla="*/ 7931944 w 8971757"/>
                  <a:gd name="connsiteY150" fmla="*/ 2247899 h 4575969"/>
                  <a:gd name="connsiteX151" fmla="*/ 7986713 w 8971757"/>
                  <a:gd name="connsiteY151" fmla="*/ 2188369 h 4575969"/>
                  <a:gd name="connsiteX152" fmla="*/ 8024813 w 8971757"/>
                  <a:gd name="connsiteY152" fmla="*/ 2183606 h 4575969"/>
                  <a:gd name="connsiteX153" fmla="*/ 8070056 w 8971757"/>
                  <a:gd name="connsiteY153" fmla="*/ 2188369 h 4575969"/>
                  <a:gd name="connsiteX154" fmla="*/ 8134350 w 8971757"/>
                  <a:gd name="connsiteY154" fmla="*/ 2155031 h 4575969"/>
                  <a:gd name="connsiteX155" fmla="*/ 8143875 w 8971757"/>
                  <a:gd name="connsiteY155" fmla="*/ 2090737 h 4575969"/>
                  <a:gd name="connsiteX156" fmla="*/ 8184355 w 8971757"/>
                  <a:gd name="connsiteY156" fmla="*/ 2055019 h 4575969"/>
                  <a:gd name="connsiteX157" fmla="*/ 8243888 w 8971757"/>
                  <a:gd name="connsiteY157" fmla="*/ 2095499 h 4575969"/>
                  <a:gd name="connsiteX158" fmla="*/ 8270082 w 8971757"/>
                  <a:gd name="connsiteY158" fmla="*/ 2045493 h 4575969"/>
                  <a:gd name="connsiteX159" fmla="*/ 8365331 w 8971757"/>
                  <a:gd name="connsiteY159" fmla="*/ 1976437 h 4575969"/>
                  <a:gd name="connsiteX160" fmla="*/ 8427244 w 8971757"/>
                  <a:gd name="connsiteY160" fmla="*/ 1983581 h 4575969"/>
                  <a:gd name="connsiteX161" fmla="*/ 8477250 w 8971757"/>
                  <a:gd name="connsiteY161" fmla="*/ 1964531 h 4575969"/>
                  <a:gd name="connsiteX162" fmla="*/ 8515350 w 8971757"/>
                  <a:gd name="connsiteY162" fmla="*/ 1935956 h 4575969"/>
                  <a:gd name="connsiteX163" fmla="*/ 8548688 w 8971757"/>
                  <a:gd name="connsiteY163" fmla="*/ 1933575 h 4575969"/>
                  <a:gd name="connsiteX164" fmla="*/ 8584406 w 8971757"/>
                  <a:gd name="connsiteY164" fmla="*/ 1964531 h 4575969"/>
                  <a:gd name="connsiteX165" fmla="*/ 8643938 w 8971757"/>
                  <a:gd name="connsiteY165" fmla="*/ 1964531 h 4575969"/>
                  <a:gd name="connsiteX166" fmla="*/ 8682037 w 8971757"/>
                  <a:gd name="connsiteY166" fmla="*/ 1945481 h 4575969"/>
                  <a:gd name="connsiteX167" fmla="*/ 8765381 w 8971757"/>
                  <a:gd name="connsiteY167" fmla="*/ 1947863 h 4575969"/>
                  <a:gd name="connsiteX168" fmla="*/ 8796338 w 8971757"/>
                  <a:gd name="connsiteY168" fmla="*/ 1902619 h 4575969"/>
                  <a:gd name="connsiteX169" fmla="*/ 8801100 w 8971757"/>
                  <a:gd name="connsiteY169" fmla="*/ 1840706 h 4575969"/>
                  <a:gd name="connsiteX170" fmla="*/ 8751093 w 8971757"/>
                  <a:gd name="connsiteY170" fmla="*/ 1800225 h 4575969"/>
                  <a:gd name="connsiteX171" fmla="*/ 8734425 w 8971757"/>
                  <a:gd name="connsiteY171" fmla="*/ 1745456 h 4575969"/>
                  <a:gd name="connsiteX172" fmla="*/ 8643938 w 8971757"/>
                  <a:gd name="connsiteY172" fmla="*/ 1683544 h 4575969"/>
                  <a:gd name="connsiteX173" fmla="*/ 8603456 w 8971757"/>
                  <a:gd name="connsiteY173" fmla="*/ 1662112 h 4575969"/>
                  <a:gd name="connsiteX174" fmla="*/ 8565356 w 8971757"/>
                  <a:gd name="connsiteY174" fmla="*/ 1616869 h 4575969"/>
                  <a:gd name="connsiteX175" fmla="*/ 8534400 w 8971757"/>
                  <a:gd name="connsiteY175" fmla="*/ 1614487 h 4575969"/>
                  <a:gd name="connsiteX176" fmla="*/ 8517731 w 8971757"/>
                  <a:gd name="connsiteY176" fmla="*/ 1562100 h 4575969"/>
                  <a:gd name="connsiteX177" fmla="*/ 8477250 w 8971757"/>
                  <a:gd name="connsiteY177" fmla="*/ 1545431 h 4575969"/>
                  <a:gd name="connsiteX178" fmla="*/ 8477250 w 8971757"/>
                  <a:gd name="connsiteY178" fmla="*/ 1545431 h 4575969"/>
                  <a:gd name="connsiteX179" fmla="*/ 8436769 w 8971757"/>
                  <a:gd name="connsiteY179" fmla="*/ 1550194 h 4575969"/>
                  <a:gd name="connsiteX180" fmla="*/ 8351043 w 8971757"/>
                  <a:gd name="connsiteY180" fmla="*/ 1476375 h 4575969"/>
                  <a:gd name="connsiteX181" fmla="*/ 8170069 w 8971757"/>
                  <a:gd name="connsiteY181" fmla="*/ 1476374 h 4575969"/>
                  <a:gd name="connsiteX182" fmla="*/ 8117681 w 8971757"/>
                  <a:gd name="connsiteY182" fmla="*/ 1514475 h 4575969"/>
                  <a:gd name="connsiteX183" fmla="*/ 8067675 w 8971757"/>
                  <a:gd name="connsiteY183" fmla="*/ 1593056 h 4575969"/>
                  <a:gd name="connsiteX184" fmla="*/ 8084344 w 8971757"/>
                  <a:gd name="connsiteY184" fmla="*/ 1614487 h 4575969"/>
                  <a:gd name="connsiteX185" fmla="*/ 8039100 w 8971757"/>
                  <a:gd name="connsiteY185" fmla="*/ 1664493 h 4575969"/>
                  <a:gd name="connsiteX186" fmla="*/ 7889081 w 8971757"/>
                  <a:gd name="connsiteY186" fmla="*/ 1588293 h 4575969"/>
                  <a:gd name="connsiteX187" fmla="*/ 7798594 w 8971757"/>
                  <a:gd name="connsiteY187" fmla="*/ 1624012 h 4575969"/>
                  <a:gd name="connsiteX188" fmla="*/ 7724775 w 8971757"/>
                  <a:gd name="connsiteY188" fmla="*/ 1621631 h 4575969"/>
                  <a:gd name="connsiteX189" fmla="*/ 7667625 w 8971757"/>
                  <a:gd name="connsiteY189" fmla="*/ 1716881 h 4575969"/>
                  <a:gd name="connsiteX190" fmla="*/ 7529513 w 8971757"/>
                  <a:gd name="connsiteY19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5360194 w 8971757"/>
                  <a:gd name="connsiteY37" fmla="*/ 1047750 h 4575969"/>
                  <a:gd name="connsiteX38" fmla="*/ 8412956 w 8971757"/>
                  <a:gd name="connsiteY38" fmla="*/ 23812 h 4575969"/>
                  <a:gd name="connsiteX39" fmla="*/ 8949531 w 8971757"/>
                  <a:gd name="connsiteY39" fmla="*/ 0 h 4575969"/>
                  <a:gd name="connsiteX40" fmla="*/ 8971757 w 8971757"/>
                  <a:gd name="connsiteY40" fmla="*/ 4575969 h 4575969"/>
                  <a:gd name="connsiteX41" fmla="*/ 2381 w 8971757"/>
                  <a:gd name="connsiteY41" fmla="*/ 4547392 h 4575969"/>
                  <a:gd name="connsiteX42" fmla="*/ 0 w 8971757"/>
                  <a:gd name="connsiteY42" fmla="*/ 845344 h 4575969"/>
                  <a:gd name="connsiteX43" fmla="*/ 76200 w 8971757"/>
                  <a:gd name="connsiteY43" fmla="*/ 828675 h 4575969"/>
                  <a:gd name="connsiteX44" fmla="*/ 119063 w 8971757"/>
                  <a:gd name="connsiteY44" fmla="*/ 857250 h 4575969"/>
                  <a:gd name="connsiteX45" fmla="*/ 215900 w 8971757"/>
                  <a:gd name="connsiteY45" fmla="*/ 848519 h 4575969"/>
                  <a:gd name="connsiteX46" fmla="*/ 261938 w 8971757"/>
                  <a:gd name="connsiteY46" fmla="*/ 876299 h 4575969"/>
                  <a:gd name="connsiteX47" fmla="*/ 228600 w 8971757"/>
                  <a:gd name="connsiteY47" fmla="*/ 904875 h 4575969"/>
                  <a:gd name="connsiteX48" fmla="*/ 233363 w 8971757"/>
                  <a:gd name="connsiteY48" fmla="*/ 947737 h 4575969"/>
                  <a:gd name="connsiteX49" fmla="*/ 200025 w 8971757"/>
                  <a:gd name="connsiteY49" fmla="*/ 952500 h 4575969"/>
                  <a:gd name="connsiteX50" fmla="*/ 204788 w 8971757"/>
                  <a:gd name="connsiteY50" fmla="*/ 976312 h 4575969"/>
                  <a:gd name="connsiteX51" fmla="*/ 261937 w 8971757"/>
                  <a:gd name="connsiteY51" fmla="*/ 1050131 h 4575969"/>
                  <a:gd name="connsiteX52" fmla="*/ 223838 w 8971757"/>
                  <a:gd name="connsiteY52" fmla="*/ 1097756 h 4575969"/>
                  <a:gd name="connsiteX53" fmla="*/ 278606 w 8971757"/>
                  <a:gd name="connsiteY53" fmla="*/ 1133475 h 4575969"/>
                  <a:gd name="connsiteX54" fmla="*/ 369094 w 8971757"/>
                  <a:gd name="connsiteY54" fmla="*/ 1221581 h 4575969"/>
                  <a:gd name="connsiteX55" fmla="*/ 371475 w 8971757"/>
                  <a:gd name="connsiteY55" fmla="*/ 1281112 h 4575969"/>
                  <a:gd name="connsiteX56" fmla="*/ 507206 w 8971757"/>
                  <a:gd name="connsiteY56" fmla="*/ 1414463 h 4575969"/>
                  <a:gd name="connsiteX57" fmla="*/ 561975 w 8971757"/>
                  <a:gd name="connsiteY57" fmla="*/ 1390650 h 4575969"/>
                  <a:gd name="connsiteX58" fmla="*/ 600075 w 8971757"/>
                  <a:gd name="connsiteY58" fmla="*/ 1416843 h 4575969"/>
                  <a:gd name="connsiteX59" fmla="*/ 614363 w 8971757"/>
                  <a:gd name="connsiteY59" fmla="*/ 1466849 h 4575969"/>
                  <a:gd name="connsiteX60" fmla="*/ 657225 w 8971757"/>
                  <a:gd name="connsiteY60" fmla="*/ 1502569 h 4575969"/>
                  <a:gd name="connsiteX61" fmla="*/ 697706 w 8971757"/>
                  <a:gd name="connsiteY61" fmla="*/ 1490662 h 4575969"/>
                  <a:gd name="connsiteX62" fmla="*/ 716756 w 8971757"/>
                  <a:gd name="connsiteY62" fmla="*/ 1547812 h 4575969"/>
                  <a:gd name="connsiteX63" fmla="*/ 764381 w 8971757"/>
                  <a:gd name="connsiteY63" fmla="*/ 1590675 h 4575969"/>
                  <a:gd name="connsiteX64" fmla="*/ 788194 w 8971757"/>
                  <a:gd name="connsiteY64" fmla="*/ 1693069 h 4575969"/>
                  <a:gd name="connsiteX65" fmla="*/ 785813 w 8971757"/>
                  <a:gd name="connsiteY65" fmla="*/ 1740694 h 4575969"/>
                  <a:gd name="connsiteX66" fmla="*/ 821531 w 8971757"/>
                  <a:gd name="connsiteY66" fmla="*/ 1840706 h 4575969"/>
                  <a:gd name="connsiteX67" fmla="*/ 866775 w 8971757"/>
                  <a:gd name="connsiteY67" fmla="*/ 1897856 h 4575969"/>
                  <a:gd name="connsiteX68" fmla="*/ 883443 w 8971757"/>
                  <a:gd name="connsiteY68" fmla="*/ 2055018 h 4575969"/>
                  <a:gd name="connsiteX69" fmla="*/ 850106 w 8971757"/>
                  <a:gd name="connsiteY69" fmla="*/ 2116931 h 4575969"/>
                  <a:gd name="connsiteX70" fmla="*/ 819150 w 8971757"/>
                  <a:gd name="connsiteY70" fmla="*/ 2193131 h 4575969"/>
                  <a:gd name="connsiteX71" fmla="*/ 833438 w 8971757"/>
                  <a:gd name="connsiteY71" fmla="*/ 2250281 h 4575969"/>
                  <a:gd name="connsiteX72" fmla="*/ 735806 w 8971757"/>
                  <a:gd name="connsiteY72" fmla="*/ 2357438 h 4575969"/>
                  <a:gd name="connsiteX73" fmla="*/ 692944 w 8971757"/>
                  <a:gd name="connsiteY73" fmla="*/ 2471737 h 4575969"/>
                  <a:gd name="connsiteX74" fmla="*/ 726281 w 8971757"/>
                  <a:gd name="connsiteY74" fmla="*/ 2512219 h 4575969"/>
                  <a:gd name="connsiteX75" fmla="*/ 709613 w 8971757"/>
                  <a:gd name="connsiteY75" fmla="*/ 2540794 h 4575969"/>
                  <a:gd name="connsiteX76" fmla="*/ 740569 w 8971757"/>
                  <a:gd name="connsiteY76" fmla="*/ 2597944 h 4575969"/>
                  <a:gd name="connsiteX77" fmla="*/ 769144 w 8971757"/>
                  <a:gd name="connsiteY77" fmla="*/ 2597944 h 4575969"/>
                  <a:gd name="connsiteX78" fmla="*/ 931069 w 8971757"/>
                  <a:gd name="connsiteY78" fmla="*/ 2700337 h 4575969"/>
                  <a:gd name="connsiteX79" fmla="*/ 1035844 w 8971757"/>
                  <a:gd name="connsiteY79" fmla="*/ 2697956 h 4575969"/>
                  <a:gd name="connsiteX80" fmla="*/ 1114425 w 8971757"/>
                  <a:gd name="connsiteY80" fmla="*/ 2752725 h 4575969"/>
                  <a:gd name="connsiteX81" fmla="*/ 1245393 w 8971757"/>
                  <a:gd name="connsiteY81" fmla="*/ 2755106 h 4575969"/>
                  <a:gd name="connsiteX82" fmla="*/ 1435893 w 8971757"/>
                  <a:gd name="connsiteY82" fmla="*/ 2824162 h 4575969"/>
                  <a:gd name="connsiteX83" fmla="*/ 1638300 w 8971757"/>
                  <a:gd name="connsiteY83" fmla="*/ 2974181 h 4575969"/>
                  <a:gd name="connsiteX84" fmla="*/ 1671637 w 8971757"/>
                  <a:gd name="connsiteY84" fmla="*/ 3040856 h 4575969"/>
                  <a:gd name="connsiteX85" fmla="*/ 1838325 w 8971757"/>
                  <a:gd name="connsiteY85" fmla="*/ 3167062 h 4575969"/>
                  <a:gd name="connsiteX86" fmla="*/ 1909763 w 8971757"/>
                  <a:gd name="connsiteY86" fmla="*/ 3162300 h 4575969"/>
                  <a:gd name="connsiteX87" fmla="*/ 1945482 w 8971757"/>
                  <a:gd name="connsiteY87" fmla="*/ 3186112 h 4575969"/>
                  <a:gd name="connsiteX88" fmla="*/ 1916906 w 8971757"/>
                  <a:gd name="connsiteY88" fmla="*/ 3226594 h 4575969"/>
                  <a:gd name="connsiteX89" fmla="*/ 1924050 w 8971757"/>
                  <a:gd name="connsiteY89" fmla="*/ 3278981 h 4575969"/>
                  <a:gd name="connsiteX90" fmla="*/ 1976438 w 8971757"/>
                  <a:gd name="connsiteY90" fmla="*/ 3305175 h 4575969"/>
                  <a:gd name="connsiteX91" fmla="*/ 2038350 w 8971757"/>
                  <a:gd name="connsiteY91" fmla="*/ 3529013 h 4575969"/>
                  <a:gd name="connsiteX92" fmla="*/ 2028825 w 8971757"/>
                  <a:gd name="connsiteY92" fmla="*/ 3593306 h 4575969"/>
                  <a:gd name="connsiteX93" fmla="*/ 2164556 w 8971757"/>
                  <a:gd name="connsiteY93" fmla="*/ 3759994 h 4575969"/>
                  <a:gd name="connsiteX94" fmla="*/ 2183606 w 8971757"/>
                  <a:gd name="connsiteY94" fmla="*/ 3810000 h 4575969"/>
                  <a:gd name="connsiteX95" fmla="*/ 2157413 w 8971757"/>
                  <a:gd name="connsiteY95" fmla="*/ 3829050 h 4575969"/>
                  <a:gd name="connsiteX96" fmla="*/ 2259806 w 8971757"/>
                  <a:gd name="connsiteY96" fmla="*/ 3838575 h 4575969"/>
                  <a:gd name="connsiteX97" fmla="*/ 2371725 w 8971757"/>
                  <a:gd name="connsiteY97" fmla="*/ 3826669 h 4575969"/>
                  <a:gd name="connsiteX98" fmla="*/ 2650331 w 8971757"/>
                  <a:gd name="connsiteY98" fmla="*/ 3910012 h 4575969"/>
                  <a:gd name="connsiteX99" fmla="*/ 3057525 w 8971757"/>
                  <a:gd name="connsiteY99" fmla="*/ 3990975 h 4575969"/>
                  <a:gd name="connsiteX100" fmla="*/ 3255169 w 8971757"/>
                  <a:gd name="connsiteY100" fmla="*/ 3960018 h 4575969"/>
                  <a:gd name="connsiteX101" fmla="*/ 3300413 w 8971757"/>
                  <a:gd name="connsiteY101" fmla="*/ 3971924 h 4575969"/>
                  <a:gd name="connsiteX102" fmla="*/ 3355181 w 8971757"/>
                  <a:gd name="connsiteY102" fmla="*/ 3948113 h 4575969"/>
                  <a:gd name="connsiteX103" fmla="*/ 3748087 w 8971757"/>
                  <a:gd name="connsiteY103" fmla="*/ 4038600 h 4575969"/>
                  <a:gd name="connsiteX104" fmla="*/ 3831432 w 8971757"/>
                  <a:gd name="connsiteY104" fmla="*/ 4136231 h 4575969"/>
                  <a:gd name="connsiteX105" fmla="*/ 3950494 w 8971757"/>
                  <a:gd name="connsiteY105" fmla="*/ 4207669 h 4575969"/>
                  <a:gd name="connsiteX106" fmla="*/ 4010025 w 8971757"/>
                  <a:gd name="connsiteY106" fmla="*/ 4191000 h 4575969"/>
                  <a:gd name="connsiteX107" fmla="*/ 4360068 w 8971757"/>
                  <a:gd name="connsiteY107" fmla="*/ 4364831 h 4575969"/>
                  <a:gd name="connsiteX108" fmla="*/ 4586288 w 8971757"/>
                  <a:gd name="connsiteY108" fmla="*/ 4336256 h 4575969"/>
                  <a:gd name="connsiteX109" fmla="*/ 4595813 w 8971757"/>
                  <a:gd name="connsiteY109" fmla="*/ 4414837 h 4575969"/>
                  <a:gd name="connsiteX110" fmla="*/ 4681538 w 8971757"/>
                  <a:gd name="connsiteY110" fmla="*/ 4410074 h 4575969"/>
                  <a:gd name="connsiteX111" fmla="*/ 4760119 w 8971757"/>
                  <a:gd name="connsiteY111" fmla="*/ 4441031 h 4575969"/>
                  <a:gd name="connsiteX112" fmla="*/ 4802981 w 8971757"/>
                  <a:gd name="connsiteY112" fmla="*/ 4381500 h 4575969"/>
                  <a:gd name="connsiteX113" fmla="*/ 5474494 w 8971757"/>
                  <a:gd name="connsiteY113" fmla="*/ 4062412 h 4575969"/>
                  <a:gd name="connsiteX114" fmla="*/ 5562600 w 8971757"/>
                  <a:gd name="connsiteY114" fmla="*/ 4090988 h 4575969"/>
                  <a:gd name="connsiteX115" fmla="*/ 5693569 w 8971757"/>
                  <a:gd name="connsiteY115" fmla="*/ 4062412 h 4575969"/>
                  <a:gd name="connsiteX116" fmla="*/ 5872162 w 8971757"/>
                  <a:gd name="connsiteY116" fmla="*/ 4079081 h 4575969"/>
                  <a:gd name="connsiteX117" fmla="*/ 5929313 w 8971757"/>
                  <a:gd name="connsiteY117" fmla="*/ 4052888 h 4575969"/>
                  <a:gd name="connsiteX118" fmla="*/ 6062662 w 8971757"/>
                  <a:gd name="connsiteY118" fmla="*/ 4050506 h 4575969"/>
                  <a:gd name="connsiteX119" fmla="*/ 6196012 w 8971757"/>
                  <a:gd name="connsiteY119" fmla="*/ 3952875 h 4575969"/>
                  <a:gd name="connsiteX120" fmla="*/ 6262687 w 8971757"/>
                  <a:gd name="connsiteY120" fmla="*/ 3945731 h 4575969"/>
                  <a:gd name="connsiteX121" fmla="*/ 6360319 w 8971757"/>
                  <a:gd name="connsiteY121" fmla="*/ 3871912 h 4575969"/>
                  <a:gd name="connsiteX122" fmla="*/ 6434138 w 8971757"/>
                  <a:gd name="connsiteY122" fmla="*/ 3802856 h 4575969"/>
                  <a:gd name="connsiteX123" fmla="*/ 6443663 w 8971757"/>
                  <a:gd name="connsiteY123" fmla="*/ 3740944 h 4575969"/>
                  <a:gd name="connsiteX124" fmla="*/ 6477000 w 8971757"/>
                  <a:gd name="connsiteY124" fmla="*/ 3671887 h 4575969"/>
                  <a:gd name="connsiteX125" fmla="*/ 6629400 w 8971757"/>
                  <a:gd name="connsiteY125" fmla="*/ 3564731 h 4575969"/>
                  <a:gd name="connsiteX126" fmla="*/ 6662738 w 8971757"/>
                  <a:gd name="connsiteY126" fmla="*/ 3569494 h 4575969"/>
                  <a:gd name="connsiteX127" fmla="*/ 6715125 w 8971757"/>
                  <a:gd name="connsiteY127" fmla="*/ 3490912 h 4575969"/>
                  <a:gd name="connsiteX128" fmla="*/ 6762750 w 8971757"/>
                  <a:gd name="connsiteY128" fmla="*/ 3452812 h 4575969"/>
                  <a:gd name="connsiteX129" fmla="*/ 6748463 w 8971757"/>
                  <a:gd name="connsiteY129" fmla="*/ 3383756 h 4575969"/>
                  <a:gd name="connsiteX130" fmla="*/ 6698456 w 8971757"/>
                  <a:gd name="connsiteY130" fmla="*/ 3352799 h 4575969"/>
                  <a:gd name="connsiteX131" fmla="*/ 6638925 w 8971757"/>
                  <a:gd name="connsiteY131" fmla="*/ 3298031 h 4575969"/>
                  <a:gd name="connsiteX132" fmla="*/ 6619875 w 8971757"/>
                  <a:gd name="connsiteY132" fmla="*/ 3240881 h 4575969"/>
                  <a:gd name="connsiteX133" fmla="*/ 6584156 w 8971757"/>
                  <a:gd name="connsiteY133" fmla="*/ 3207544 h 4575969"/>
                  <a:gd name="connsiteX134" fmla="*/ 6610350 w 8971757"/>
                  <a:gd name="connsiteY134" fmla="*/ 3155156 h 4575969"/>
                  <a:gd name="connsiteX135" fmla="*/ 6650831 w 8971757"/>
                  <a:gd name="connsiteY135" fmla="*/ 2976562 h 4575969"/>
                  <a:gd name="connsiteX136" fmla="*/ 6691313 w 8971757"/>
                  <a:gd name="connsiteY136" fmla="*/ 2909887 h 4575969"/>
                  <a:gd name="connsiteX137" fmla="*/ 6836569 w 8971757"/>
                  <a:gd name="connsiteY137" fmla="*/ 2893218 h 4575969"/>
                  <a:gd name="connsiteX138" fmla="*/ 6905625 w 8971757"/>
                  <a:gd name="connsiteY138" fmla="*/ 2950369 h 4575969"/>
                  <a:gd name="connsiteX139" fmla="*/ 6981825 w 8971757"/>
                  <a:gd name="connsiteY139" fmla="*/ 2974181 h 4575969"/>
                  <a:gd name="connsiteX140" fmla="*/ 7186612 w 8971757"/>
                  <a:gd name="connsiteY140" fmla="*/ 2978944 h 4575969"/>
                  <a:gd name="connsiteX141" fmla="*/ 7362825 w 8971757"/>
                  <a:gd name="connsiteY141" fmla="*/ 2840831 h 4575969"/>
                  <a:gd name="connsiteX142" fmla="*/ 7419975 w 8971757"/>
                  <a:gd name="connsiteY142" fmla="*/ 2750343 h 4575969"/>
                  <a:gd name="connsiteX143" fmla="*/ 7446169 w 8971757"/>
                  <a:gd name="connsiteY143" fmla="*/ 2667000 h 4575969"/>
                  <a:gd name="connsiteX144" fmla="*/ 7577137 w 8971757"/>
                  <a:gd name="connsiteY144" fmla="*/ 2667000 h 4575969"/>
                  <a:gd name="connsiteX145" fmla="*/ 7750969 w 8971757"/>
                  <a:gd name="connsiteY145" fmla="*/ 2609849 h 4575969"/>
                  <a:gd name="connsiteX146" fmla="*/ 7810500 w 8971757"/>
                  <a:gd name="connsiteY146" fmla="*/ 2497931 h 4575969"/>
                  <a:gd name="connsiteX147" fmla="*/ 7874794 w 8971757"/>
                  <a:gd name="connsiteY147" fmla="*/ 2462212 h 4575969"/>
                  <a:gd name="connsiteX148" fmla="*/ 7853363 w 8971757"/>
                  <a:gd name="connsiteY148" fmla="*/ 2416969 h 4575969"/>
                  <a:gd name="connsiteX149" fmla="*/ 7931944 w 8971757"/>
                  <a:gd name="connsiteY149" fmla="*/ 2247899 h 4575969"/>
                  <a:gd name="connsiteX150" fmla="*/ 7986713 w 8971757"/>
                  <a:gd name="connsiteY150" fmla="*/ 2188369 h 4575969"/>
                  <a:gd name="connsiteX151" fmla="*/ 8024813 w 8971757"/>
                  <a:gd name="connsiteY151" fmla="*/ 2183606 h 4575969"/>
                  <a:gd name="connsiteX152" fmla="*/ 8070056 w 8971757"/>
                  <a:gd name="connsiteY152" fmla="*/ 2188369 h 4575969"/>
                  <a:gd name="connsiteX153" fmla="*/ 8134350 w 8971757"/>
                  <a:gd name="connsiteY153" fmla="*/ 2155031 h 4575969"/>
                  <a:gd name="connsiteX154" fmla="*/ 8143875 w 8971757"/>
                  <a:gd name="connsiteY154" fmla="*/ 2090737 h 4575969"/>
                  <a:gd name="connsiteX155" fmla="*/ 8184355 w 8971757"/>
                  <a:gd name="connsiteY155" fmla="*/ 2055019 h 4575969"/>
                  <a:gd name="connsiteX156" fmla="*/ 8243888 w 8971757"/>
                  <a:gd name="connsiteY156" fmla="*/ 2095499 h 4575969"/>
                  <a:gd name="connsiteX157" fmla="*/ 8270082 w 8971757"/>
                  <a:gd name="connsiteY157" fmla="*/ 2045493 h 4575969"/>
                  <a:gd name="connsiteX158" fmla="*/ 8365331 w 8971757"/>
                  <a:gd name="connsiteY158" fmla="*/ 1976437 h 4575969"/>
                  <a:gd name="connsiteX159" fmla="*/ 8427244 w 8971757"/>
                  <a:gd name="connsiteY159" fmla="*/ 1983581 h 4575969"/>
                  <a:gd name="connsiteX160" fmla="*/ 8477250 w 8971757"/>
                  <a:gd name="connsiteY160" fmla="*/ 1964531 h 4575969"/>
                  <a:gd name="connsiteX161" fmla="*/ 8515350 w 8971757"/>
                  <a:gd name="connsiteY161" fmla="*/ 1935956 h 4575969"/>
                  <a:gd name="connsiteX162" fmla="*/ 8548688 w 8971757"/>
                  <a:gd name="connsiteY162" fmla="*/ 1933575 h 4575969"/>
                  <a:gd name="connsiteX163" fmla="*/ 8584406 w 8971757"/>
                  <a:gd name="connsiteY163" fmla="*/ 1964531 h 4575969"/>
                  <a:gd name="connsiteX164" fmla="*/ 8643938 w 8971757"/>
                  <a:gd name="connsiteY164" fmla="*/ 1964531 h 4575969"/>
                  <a:gd name="connsiteX165" fmla="*/ 8682037 w 8971757"/>
                  <a:gd name="connsiteY165" fmla="*/ 1945481 h 4575969"/>
                  <a:gd name="connsiteX166" fmla="*/ 8765381 w 8971757"/>
                  <a:gd name="connsiteY166" fmla="*/ 1947863 h 4575969"/>
                  <a:gd name="connsiteX167" fmla="*/ 8796338 w 8971757"/>
                  <a:gd name="connsiteY167" fmla="*/ 1902619 h 4575969"/>
                  <a:gd name="connsiteX168" fmla="*/ 8801100 w 8971757"/>
                  <a:gd name="connsiteY168" fmla="*/ 1840706 h 4575969"/>
                  <a:gd name="connsiteX169" fmla="*/ 8751093 w 8971757"/>
                  <a:gd name="connsiteY169" fmla="*/ 1800225 h 4575969"/>
                  <a:gd name="connsiteX170" fmla="*/ 8734425 w 8971757"/>
                  <a:gd name="connsiteY170" fmla="*/ 1745456 h 4575969"/>
                  <a:gd name="connsiteX171" fmla="*/ 8643938 w 8971757"/>
                  <a:gd name="connsiteY171" fmla="*/ 1683544 h 4575969"/>
                  <a:gd name="connsiteX172" fmla="*/ 8603456 w 8971757"/>
                  <a:gd name="connsiteY172" fmla="*/ 1662112 h 4575969"/>
                  <a:gd name="connsiteX173" fmla="*/ 8565356 w 8971757"/>
                  <a:gd name="connsiteY173" fmla="*/ 1616869 h 4575969"/>
                  <a:gd name="connsiteX174" fmla="*/ 8534400 w 8971757"/>
                  <a:gd name="connsiteY174" fmla="*/ 1614487 h 4575969"/>
                  <a:gd name="connsiteX175" fmla="*/ 8517731 w 8971757"/>
                  <a:gd name="connsiteY175" fmla="*/ 1562100 h 4575969"/>
                  <a:gd name="connsiteX176" fmla="*/ 8477250 w 8971757"/>
                  <a:gd name="connsiteY176" fmla="*/ 1545431 h 4575969"/>
                  <a:gd name="connsiteX177" fmla="*/ 8477250 w 8971757"/>
                  <a:gd name="connsiteY177" fmla="*/ 1545431 h 4575969"/>
                  <a:gd name="connsiteX178" fmla="*/ 8436769 w 8971757"/>
                  <a:gd name="connsiteY178" fmla="*/ 1550194 h 4575969"/>
                  <a:gd name="connsiteX179" fmla="*/ 8351043 w 8971757"/>
                  <a:gd name="connsiteY179" fmla="*/ 1476375 h 4575969"/>
                  <a:gd name="connsiteX180" fmla="*/ 8170069 w 8971757"/>
                  <a:gd name="connsiteY180" fmla="*/ 1476374 h 4575969"/>
                  <a:gd name="connsiteX181" fmla="*/ 8117681 w 8971757"/>
                  <a:gd name="connsiteY181" fmla="*/ 1514475 h 4575969"/>
                  <a:gd name="connsiteX182" fmla="*/ 8067675 w 8971757"/>
                  <a:gd name="connsiteY182" fmla="*/ 1593056 h 4575969"/>
                  <a:gd name="connsiteX183" fmla="*/ 8084344 w 8971757"/>
                  <a:gd name="connsiteY183" fmla="*/ 1614487 h 4575969"/>
                  <a:gd name="connsiteX184" fmla="*/ 8039100 w 8971757"/>
                  <a:gd name="connsiteY184" fmla="*/ 1664493 h 4575969"/>
                  <a:gd name="connsiteX185" fmla="*/ 7889081 w 8971757"/>
                  <a:gd name="connsiteY185" fmla="*/ 1588293 h 4575969"/>
                  <a:gd name="connsiteX186" fmla="*/ 7798594 w 8971757"/>
                  <a:gd name="connsiteY186" fmla="*/ 1624012 h 4575969"/>
                  <a:gd name="connsiteX187" fmla="*/ 7724775 w 8971757"/>
                  <a:gd name="connsiteY187" fmla="*/ 1621631 h 4575969"/>
                  <a:gd name="connsiteX188" fmla="*/ 7667625 w 8971757"/>
                  <a:gd name="connsiteY188" fmla="*/ 1716881 h 4575969"/>
                  <a:gd name="connsiteX189" fmla="*/ 7529513 w 8971757"/>
                  <a:gd name="connsiteY18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5455444 w 8971757"/>
                  <a:gd name="connsiteY36" fmla="*/ 1045368 h 4575969"/>
                  <a:gd name="connsiteX37" fmla="*/ 8412956 w 8971757"/>
                  <a:gd name="connsiteY37" fmla="*/ 23812 h 4575969"/>
                  <a:gd name="connsiteX38" fmla="*/ 8949531 w 8971757"/>
                  <a:gd name="connsiteY38" fmla="*/ 0 h 4575969"/>
                  <a:gd name="connsiteX39" fmla="*/ 8971757 w 8971757"/>
                  <a:gd name="connsiteY39" fmla="*/ 4575969 h 4575969"/>
                  <a:gd name="connsiteX40" fmla="*/ 2381 w 8971757"/>
                  <a:gd name="connsiteY40" fmla="*/ 4547392 h 4575969"/>
                  <a:gd name="connsiteX41" fmla="*/ 0 w 8971757"/>
                  <a:gd name="connsiteY41" fmla="*/ 845344 h 4575969"/>
                  <a:gd name="connsiteX42" fmla="*/ 76200 w 8971757"/>
                  <a:gd name="connsiteY42" fmla="*/ 828675 h 4575969"/>
                  <a:gd name="connsiteX43" fmla="*/ 119063 w 8971757"/>
                  <a:gd name="connsiteY43" fmla="*/ 857250 h 4575969"/>
                  <a:gd name="connsiteX44" fmla="*/ 215900 w 8971757"/>
                  <a:gd name="connsiteY44" fmla="*/ 848519 h 4575969"/>
                  <a:gd name="connsiteX45" fmla="*/ 261938 w 8971757"/>
                  <a:gd name="connsiteY45" fmla="*/ 876299 h 4575969"/>
                  <a:gd name="connsiteX46" fmla="*/ 228600 w 8971757"/>
                  <a:gd name="connsiteY46" fmla="*/ 904875 h 4575969"/>
                  <a:gd name="connsiteX47" fmla="*/ 233363 w 8971757"/>
                  <a:gd name="connsiteY47" fmla="*/ 947737 h 4575969"/>
                  <a:gd name="connsiteX48" fmla="*/ 200025 w 8971757"/>
                  <a:gd name="connsiteY48" fmla="*/ 952500 h 4575969"/>
                  <a:gd name="connsiteX49" fmla="*/ 204788 w 8971757"/>
                  <a:gd name="connsiteY49" fmla="*/ 976312 h 4575969"/>
                  <a:gd name="connsiteX50" fmla="*/ 261937 w 8971757"/>
                  <a:gd name="connsiteY50" fmla="*/ 1050131 h 4575969"/>
                  <a:gd name="connsiteX51" fmla="*/ 223838 w 8971757"/>
                  <a:gd name="connsiteY51" fmla="*/ 1097756 h 4575969"/>
                  <a:gd name="connsiteX52" fmla="*/ 278606 w 8971757"/>
                  <a:gd name="connsiteY52" fmla="*/ 1133475 h 4575969"/>
                  <a:gd name="connsiteX53" fmla="*/ 369094 w 8971757"/>
                  <a:gd name="connsiteY53" fmla="*/ 1221581 h 4575969"/>
                  <a:gd name="connsiteX54" fmla="*/ 371475 w 8971757"/>
                  <a:gd name="connsiteY54" fmla="*/ 1281112 h 4575969"/>
                  <a:gd name="connsiteX55" fmla="*/ 507206 w 8971757"/>
                  <a:gd name="connsiteY55" fmla="*/ 1414463 h 4575969"/>
                  <a:gd name="connsiteX56" fmla="*/ 561975 w 8971757"/>
                  <a:gd name="connsiteY56" fmla="*/ 1390650 h 4575969"/>
                  <a:gd name="connsiteX57" fmla="*/ 600075 w 8971757"/>
                  <a:gd name="connsiteY57" fmla="*/ 1416843 h 4575969"/>
                  <a:gd name="connsiteX58" fmla="*/ 614363 w 8971757"/>
                  <a:gd name="connsiteY58" fmla="*/ 1466849 h 4575969"/>
                  <a:gd name="connsiteX59" fmla="*/ 657225 w 8971757"/>
                  <a:gd name="connsiteY59" fmla="*/ 1502569 h 4575969"/>
                  <a:gd name="connsiteX60" fmla="*/ 697706 w 8971757"/>
                  <a:gd name="connsiteY60" fmla="*/ 1490662 h 4575969"/>
                  <a:gd name="connsiteX61" fmla="*/ 716756 w 8971757"/>
                  <a:gd name="connsiteY61" fmla="*/ 1547812 h 4575969"/>
                  <a:gd name="connsiteX62" fmla="*/ 764381 w 8971757"/>
                  <a:gd name="connsiteY62" fmla="*/ 1590675 h 4575969"/>
                  <a:gd name="connsiteX63" fmla="*/ 788194 w 8971757"/>
                  <a:gd name="connsiteY63" fmla="*/ 1693069 h 4575969"/>
                  <a:gd name="connsiteX64" fmla="*/ 785813 w 8971757"/>
                  <a:gd name="connsiteY64" fmla="*/ 1740694 h 4575969"/>
                  <a:gd name="connsiteX65" fmla="*/ 821531 w 8971757"/>
                  <a:gd name="connsiteY65" fmla="*/ 1840706 h 4575969"/>
                  <a:gd name="connsiteX66" fmla="*/ 866775 w 8971757"/>
                  <a:gd name="connsiteY66" fmla="*/ 1897856 h 4575969"/>
                  <a:gd name="connsiteX67" fmla="*/ 883443 w 8971757"/>
                  <a:gd name="connsiteY67" fmla="*/ 2055018 h 4575969"/>
                  <a:gd name="connsiteX68" fmla="*/ 850106 w 8971757"/>
                  <a:gd name="connsiteY68" fmla="*/ 2116931 h 4575969"/>
                  <a:gd name="connsiteX69" fmla="*/ 819150 w 8971757"/>
                  <a:gd name="connsiteY69" fmla="*/ 2193131 h 4575969"/>
                  <a:gd name="connsiteX70" fmla="*/ 833438 w 8971757"/>
                  <a:gd name="connsiteY70" fmla="*/ 2250281 h 4575969"/>
                  <a:gd name="connsiteX71" fmla="*/ 735806 w 8971757"/>
                  <a:gd name="connsiteY71" fmla="*/ 2357438 h 4575969"/>
                  <a:gd name="connsiteX72" fmla="*/ 692944 w 8971757"/>
                  <a:gd name="connsiteY72" fmla="*/ 2471737 h 4575969"/>
                  <a:gd name="connsiteX73" fmla="*/ 726281 w 8971757"/>
                  <a:gd name="connsiteY73" fmla="*/ 2512219 h 4575969"/>
                  <a:gd name="connsiteX74" fmla="*/ 709613 w 8971757"/>
                  <a:gd name="connsiteY74" fmla="*/ 2540794 h 4575969"/>
                  <a:gd name="connsiteX75" fmla="*/ 740569 w 8971757"/>
                  <a:gd name="connsiteY75" fmla="*/ 2597944 h 4575969"/>
                  <a:gd name="connsiteX76" fmla="*/ 769144 w 8971757"/>
                  <a:gd name="connsiteY76" fmla="*/ 2597944 h 4575969"/>
                  <a:gd name="connsiteX77" fmla="*/ 931069 w 8971757"/>
                  <a:gd name="connsiteY77" fmla="*/ 2700337 h 4575969"/>
                  <a:gd name="connsiteX78" fmla="*/ 1035844 w 8971757"/>
                  <a:gd name="connsiteY78" fmla="*/ 2697956 h 4575969"/>
                  <a:gd name="connsiteX79" fmla="*/ 1114425 w 8971757"/>
                  <a:gd name="connsiteY79" fmla="*/ 2752725 h 4575969"/>
                  <a:gd name="connsiteX80" fmla="*/ 1245393 w 8971757"/>
                  <a:gd name="connsiteY80" fmla="*/ 2755106 h 4575969"/>
                  <a:gd name="connsiteX81" fmla="*/ 1435893 w 8971757"/>
                  <a:gd name="connsiteY81" fmla="*/ 2824162 h 4575969"/>
                  <a:gd name="connsiteX82" fmla="*/ 1638300 w 8971757"/>
                  <a:gd name="connsiteY82" fmla="*/ 2974181 h 4575969"/>
                  <a:gd name="connsiteX83" fmla="*/ 1671637 w 8971757"/>
                  <a:gd name="connsiteY83" fmla="*/ 3040856 h 4575969"/>
                  <a:gd name="connsiteX84" fmla="*/ 1838325 w 8971757"/>
                  <a:gd name="connsiteY84" fmla="*/ 3167062 h 4575969"/>
                  <a:gd name="connsiteX85" fmla="*/ 1909763 w 8971757"/>
                  <a:gd name="connsiteY85" fmla="*/ 3162300 h 4575969"/>
                  <a:gd name="connsiteX86" fmla="*/ 1945482 w 8971757"/>
                  <a:gd name="connsiteY86" fmla="*/ 3186112 h 4575969"/>
                  <a:gd name="connsiteX87" fmla="*/ 1916906 w 8971757"/>
                  <a:gd name="connsiteY87" fmla="*/ 3226594 h 4575969"/>
                  <a:gd name="connsiteX88" fmla="*/ 1924050 w 8971757"/>
                  <a:gd name="connsiteY88" fmla="*/ 3278981 h 4575969"/>
                  <a:gd name="connsiteX89" fmla="*/ 1976438 w 8971757"/>
                  <a:gd name="connsiteY89" fmla="*/ 3305175 h 4575969"/>
                  <a:gd name="connsiteX90" fmla="*/ 2038350 w 8971757"/>
                  <a:gd name="connsiteY90" fmla="*/ 3529013 h 4575969"/>
                  <a:gd name="connsiteX91" fmla="*/ 2028825 w 8971757"/>
                  <a:gd name="connsiteY91" fmla="*/ 3593306 h 4575969"/>
                  <a:gd name="connsiteX92" fmla="*/ 2164556 w 8971757"/>
                  <a:gd name="connsiteY92" fmla="*/ 3759994 h 4575969"/>
                  <a:gd name="connsiteX93" fmla="*/ 2183606 w 8971757"/>
                  <a:gd name="connsiteY93" fmla="*/ 3810000 h 4575969"/>
                  <a:gd name="connsiteX94" fmla="*/ 2157413 w 8971757"/>
                  <a:gd name="connsiteY94" fmla="*/ 3829050 h 4575969"/>
                  <a:gd name="connsiteX95" fmla="*/ 2259806 w 8971757"/>
                  <a:gd name="connsiteY95" fmla="*/ 3838575 h 4575969"/>
                  <a:gd name="connsiteX96" fmla="*/ 2371725 w 8971757"/>
                  <a:gd name="connsiteY96" fmla="*/ 3826669 h 4575969"/>
                  <a:gd name="connsiteX97" fmla="*/ 2650331 w 8971757"/>
                  <a:gd name="connsiteY97" fmla="*/ 3910012 h 4575969"/>
                  <a:gd name="connsiteX98" fmla="*/ 3057525 w 8971757"/>
                  <a:gd name="connsiteY98" fmla="*/ 3990975 h 4575969"/>
                  <a:gd name="connsiteX99" fmla="*/ 3255169 w 8971757"/>
                  <a:gd name="connsiteY99" fmla="*/ 3960018 h 4575969"/>
                  <a:gd name="connsiteX100" fmla="*/ 3300413 w 8971757"/>
                  <a:gd name="connsiteY100" fmla="*/ 3971924 h 4575969"/>
                  <a:gd name="connsiteX101" fmla="*/ 3355181 w 8971757"/>
                  <a:gd name="connsiteY101" fmla="*/ 3948113 h 4575969"/>
                  <a:gd name="connsiteX102" fmla="*/ 3748087 w 8971757"/>
                  <a:gd name="connsiteY102" fmla="*/ 4038600 h 4575969"/>
                  <a:gd name="connsiteX103" fmla="*/ 3831432 w 8971757"/>
                  <a:gd name="connsiteY103" fmla="*/ 4136231 h 4575969"/>
                  <a:gd name="connsiteX104" fmla="*/ 3950494 w 8971757"/>
                  <a:gd name="connsiteY104" fmla="*/ 4207669 h 4575969"/>
                  <a:gd name="connsiteX105" fmla="*/ 4010025 w 8971757"/>
                  <a:gd name="connsiteY105" fmla="*/ 4191000 h 4575969"/>
                  <a:gd name="connsiteX106" fmla="*/ 4360068 w 8971757"/>
                  <a:gd name="connsiteY106" fmla="*/ 4364831 h 4575969"/>
                  <a:gd name="connsiteX107" fmla="*/ 4586288 w 8971757"/>
                  <a:gd name="connsiteY107" fmla="*/ 4336256 h 4575969"/>
                  <a:gd name="connsiteX108" fmla="*/ 4595813 w 8971757"/>
                  <a:gd name="connsiteY108" fmla="*/ 4414837 h 4575969"/>
                  <a:gd name="connsiteX109" fmla="*/ 4681538 w 8971757"/>
                  <a:gd name="connsiteY109" fmla="*/ 4410074 h 4575969"/>
                  <a:gd name="connsiteX110" fmla="*/ 4760119 w 8971757"/>
                  <a:gd name="connsiteY110" fmla="*/ 4441031 h 4575969"/>
                  <a:gd name="connsiteX111" fmla="*/ 4802981 w 8971757"/>
                  <a:gd name="connsiteY111" fmla="*/ 4381500 h 4575969"/>
                  <a:gd name="connsiteX112" fmla="*/ 5474494 w 8971757"/>
                  <a:gd name="connsiteY112" fmla="*/ 4062412 h 4575969"/>
                  <a:gd name="connsiteX113" fmla="*/ 5562600 w 8971757"/>
                  <a:gd name="connsiteY113" fmla="*/ 4090988 h 4575969"/>
                  <a:gd name="connsiteX114" fmla="*/ 5693569 w 8971757"/>
                  <a:gd name="connsiteY114" fmla="*/ 4062412 h 4575969"/>
                  <a:gd name="connsiteX115" fmla="*/ 5872162 w 8971757"/>
                  <a:gd name="connsiteY115" fmla="*/ 4079081 h 4575969"/>
                  <a:gd name="connsiteX116" fmla="*/ 5929313 w 8971757"/>
                  <a:gd name="connsiteY116" fmla="*/ 4052888 h 4575969"/>
                  <a:gd name="connsiteX117" fmla="*/ 6062662 w 8971757"/>
                  <a:gd name="connsiteY117" fmla="*/ 4050506 h 4575969"/>
                  <a:gd name="connsiteX118" fmla="*/ 6196012 w 8971757"/>
                  <a:gd name="connsiteY118" fmla="*/ 3952875 h 4575969"/>
                  <a:gd name="connsiteX119" fmla="*/ 6262687 w 8971757"/>
                  <a:gd name="connsiteY119" fmla="*/ 3945731 h 4575969"/>
                  <a:gd name="connsiteX120" fmla="*/ 6360319 w 8971757"/>
                  <a:gd name="connsiteY120" fmla="*/ 3871912 h 4575969"/>
                  <a:gd name="connsiteX121" fmla="*/ 6434138 w 8971757"/>
                  <a:gd name="connsiteY121" fmla="*/ 3802856 h 4575969"/>
                  <a:gd name="connsiteX122" fmla="*/ 6443663 w 8971757"/>
                  <a:gd name="connsiteY122" fmla="*/ 3740944 h 4575969"/>
                  <a:gd name="connsiteX123" fmla="*/ 6477000 w 8971757"/>
                  <a:gd name="connsiteY123" fmla="*/ 3671887 h 4575969"/>
                  <a:gd name="connsiteX124" fmla="*/ 6629400 w 8971757"/>
                  <a:gd name="connsiteY124" fmla="*/ 3564731 h 4575969"/>
                  <a:gd name="connsiteX125" fmla="*/ 6662738 w 8971757"/>
                  <a:gd name="connsiteY125" fmla="*/ 3569494 h 4575969"/>
                  <a:gd name="connsiteX126" fmla="*/ 6715125 w 8971757"/>
                  <a:gd name="connsiteY126" fmla="*/ 3490912 h 4575969"/>
                  <a:gd name="connsiteX127" fmla="*/ 6762750 w 8971757"/>
                  <a:gd name="connsiteY127" fmla="*/ 3452812 h 4575969"/>
                  <a:gd name="connsiteX128" fmla="*/ 6748463 w 8971757"/>
                  <a:gd name="connsiteY128" fmla="*/ 3383756 h 4575969"/>
                  <a:gd name="connsiteX129" fmla="*/ 6698456 w 8971757"/>
                  <a:gd name="connsiteY129" fmla="*/ 3352799 h 4575969"/>
                  <a:gd name="connsiteX130" fmla="*/ 6638925 w 8971757"/>
                  <a:gd name="connsiteY130" fmla="*/ 3298031 h 4575969"/>
                  <a:gd name="connsiteX131" fmla="*/ 6619875 w 8971757"/>
                  <a:gd name="connsiteY131" fmla="*/ 3240881 h 4575969"/>
                  <a:gd name="connsiteX132" fmla="*/ 6584156 w 8971757"/>
                  <a:gd name="connsiteY132" fmla="*/ 3207544 h 4575969"/>
                  <a:gd name="connsiteX133" fmla="*/ 6610350 w 8971757"/>
                  <a:gd name="connsiteY133" fmla="*/ 3155156 h 4575969"/>
                  <a:gd name="connsiteX134" fmla="*/ 6650831 w 8971757"/>
                  <a:gd name="connsiteY134" fmla="*/ 2976562 h 4575969"/>
                  <a:gd name="connsiteX135" fmla="*/ 6691313 w 8971757"/>
                  <a:gd name="connsiteY135" fmla="*/ 2909887 h 4575969"/>
                  <a:gd name="connsiteX136" fmla="*/ 6836569 w 8971757"/>
                  <a:gd name="connsiteY136" fmla="*/ 2893218 h 4575969"/>
                  <a:gd name="connsiteX137" fmla="*/ 6905625 w 8971757"/>
                  <a:gd name="connsiteY137" fmla="*/ 2950369 h 4575969"/>
                  <a:gd name="connsiteX138" fmla="*/ 6981825 w 8971757"/>
                  <a:gd name="connsiteY138" fmla="*/ 2974181 h 4575969"/>
                  <a:gd name="connsiteX139" fmla="*/ 7186612 w 8971757"/>
                  <a:gd name="connsiteY139" fmla="*/ 2978944 h 4575969"/>
                  <a:gd name="connsiteX140" fmla="*/ 7362825 w 8971757"/>
                  <a:gd name="connsiteY140" fmla="*/ 2840831 h 4575969"/>
                  <a:gd name="connsiteX141" fmla="*/ 7419975 w 8971757"/>
                  <a:gd name="connsiteY141" fmla="*/ 2750343 h 4575969"/>
                  <a:gd name="connsiteX142" fmla="*/ 7446169 w 8971757"/>
                  <a:gd name="connsiteY142" fmla="*/ 2667000 h 4575969"/>
                  <a:gd name="connsiteX143" fmla="*/ 7577137 w 8971757"/>
                  <a:gd name="connsiteY143" fmla="*/ 2667000 h 4575969"/>
                  <a:gd name="connsiteX144" fmla="*/ 7750969 w 8971757"/>
                  <a:gd name="connsiteY144" fmla="*/ 2609849 h 4575969"/>
                  <a:gd name="connsiteX145" fmla="*/ 7810500 w 8971757"/>
                  <a:gd name="connsiteY145" fmla="*/ 2497931 h 4575969"/>
                  <a:gd name="connsiteX146" fmla="*/ 7874794 w 8971757"/>
                  <a:gd name="connsiteY146" fmla="*/ 2462212 h 4575969"/>
                  <a:gd name="connsiteX147" fmla="*/ 7853363 w 8971757"/>
                  <a:gd name="connsiteY147" fmla="*/ 2416969 h 4575969"/>
                  <a:gd name="connsiteX148" fmla="*/ 7931944 w 8971757"/>
                  <a:gd name="connsiteY148" fmla="*/ 2247899 h 4575969"/>
                  <a:gd name="connsiteX149" fmla="*/ 7986713 w 8971757"/>
                  <a:gd name="connsiteY149" fmla="*/ 2188369 h 4575969"/>
                  <a:gd name="connsiteX150" fmla="*/ 8024813 w 8971757"/>
                  <a:gd name="connsiteY150" fmla="*/ 2183606 h 4575969"/>
                  <a:gd name="connsiteX151" fmla="*/ 8070056 w 8971757"/>
                  <a:gd name="connsiteY151" fmla="*/ 2188369 h 4575969"/>
                  <a:gd name="connsiteX152" fmla="*/ 8134350 w 8971757"/>
                  <a:gd name="connsiteY152" fmla="*/ 2155031 h 4575969"/>
                  <a:gd name="connsiteX153" fmla="*/ 8143875 w 8971757"/>
                  <a:gd name="connsiteY153" fmla="*/ 2090737 h 4575969"/>
                  <a:gd name="connsiteX154" fmla="*/ 8184355 w 8971757"/>
                  <a:gd name="connsiteY154" fmla="*/ 2055019 h 4575969"/>
                  <a:gd name="connsiteX155" fmla="*/ 8243888 w 8971757"/>
                  <a:gd name="connsiteY155" fmla="*/ 2095499 h 4575969"/>
                  <a:gd name="connsiteX156" fmla="*/ 8270082 w 8971757"/>
                  <a:gd name="connsiteY156" fmla="*/ 2045493 h 4575969"/>
                  <a:gd name="connsiteX157" fmla="*/ 8365331 w 8971757"/>
                  <a:gd name="connsiteY157" fmla="*/ 1976437 h 4575969"/>
                  <a:gd name="connsiteX158" fmla="*/ 8427244 w 8971757"/>
                  <a:gd name="connsiteY158" fmla="*/ 1983581 h 4575969"/>
                  <a:gd name="connsiteX159" fmla="*/ 8477250 w 8971757"/>
                  <a:gd name="connsiteY159" fmla="*/ 1964531 h 4575969"/>
                  <a:gd name="connsiteX160" fmla="*/ 8515350 w 8971757"/>
                  <a:gd name="connsiteY160" fmla="*/ 1935956 h 4575969"/>
                  <a:gd name="connsiteX161" fmla="*/ 8548688 w 8971757"/>
                  <a:gd name="connsiteY161" fmla="*/ 1933575 h 4575969"/>
                  <a:gd name="connsiteX162" fmla="*/ 8584406 w 8971757"/>
                  <a:gd name="connsiteY162" fmla="*/ 1964531 h 4575969"/>
                  <a:gd name="connsiteX163" fmla="*/ 8643938 w 8971757"/>
                  <a:gd name="connsiteY163" fmla="*/ 1964531 h 4575969"/>
                  <a:gd name="connsiteX164" fmla="*/ 8682037 w 8971757"/>
                  <a:gd name="connsiteY164" fmla="*/ 1945481 h 4575969"/>
                  <a:gd name="connsiteX165" fmla="*/ 8765381 w 8971757"/>
                  <a:gd name="connsiteY165" fmla="*/ 1947863 h 4575969"/>
                  <a:gd name="connsiteX166" fmla="*/ 8796338 w 8971757"/>
                  <a:gd name="connsiteY166" fmla="*/ 1902619 h 4575969"/>
                  <a:gd name="connsiteX167" fmla="*/ 8801100 w 8971757"/>
                  <a:gd name="connsiteY167" fmla="*/ 1840706 h 4575969"/>
                  <a:gd name="connsiteX168" fmla="*/ 8751093 w 8971757"/>
                  <a:gd name="connsiteY168" fmla="*/ 1800225 h 4575969"/>
                  <a:gd name="connsiteX169" fmla="*/ 8734425 w 8971757"/>
                  <a:gd name="connsiteY169" fmla="*/ 1745456 h 4575969"/>
                  <a:gd name="connsiteX170" fmla="*/ 8643938 w 8971757"/>
                  <a:gd name="connsiteY170" fmla="*/ 1683544 h 4575969"/>
                  <a:gd name="connsiteX171" fmla="*/ 8603456 w 8971757"/>
                  <a:gd name="connsiteY171" fmla="*/ 1662112 h 4575969"/>
                  <a:gd name="connsiteX172" fmla="*/ 8565356 w 8971757"/>
                  <a:gd name="connsiteY172" fmla="*/ 1616869 h 4575969"/>
                  <a:gd name="connsiteX173" fmla="*/ 8534400 w 8971757"/>
                  <a:gd name="connsiteY173" fmla="*/ 1614487 h 4575969"/>
                  <a:gd name="connsiteX174" fmla="*/ 8517731 w 8971757"/>
                  <a:gd name="connsiteY174" fmla="*/ 1562100 h 4575969"/>
                  <a:gd name="connsiteX175" fmla="*/ 8477250 w 8971757"/>
                  <a:gd name="connsiteY175" fmla="*/ 1545431 h 4575969"/>
                  <a:gd name="connsiteX176" fmla="*/ 8477250 w 8971757"/>
                  <a:gd name="connsiteY176" fmla="*/ 1545431 h 4575969"/>
                  <a:gd name="connsiteX177" fmla="*/ 8436769 w 8971757"/>
                  <a:gd name="connsiteY177" fmla="*/ 1550194 h 4575969"/>
                  <a:gd name="connsiteX178" fmla="*/ 8351043 w 8971757"/>
                  <a:gd name="connsiteY178" fmla="*/ 1476375 h 4575969"/>
                  <a:gd name="connsiteX179" fmla="*/ 8170069 w 8971757"/>
                  <a:gd name="connsiteY179" fmla="*/ 1476374 h 4575969"/>
                  <a:gd name="connsiteX180" fmla="*/ 8117681 w 8971757"/>
                  <a:gd name="connsiteY180" fmla="*/ 1514475 h 4575969"/>
                  <a:gd name="connsiteX181" fmla="*/ 8067675 w 8971757"/>
                  <a:gd name="connsiteY181" fmla="*/ 1593056 h 4575969"/>
                  <a:gd name="connsiteX182" fmla="*/ 8084344 w 8971757"/>
                  <a:gd name="connsiteY182" fmla="*/ 1614487 h 4575969"/>
                  <a:gd name="connsiteX183" fmla="*/ 8039100 w 8971757"/>
                  <a:gd name="connsiteY183" fmla="*/ 1664493 h 4575969"/>
                  <a:gd name="connsiteX184" fmla="*/ 7889081 w 8971757"/>
                  <a:gd name="connsiteY184" fmla="*/ 1588293 h 4575969"/>
                  <a:gd name="connsiteX185" fmla="*/ 7798594 w 8971757"/>
                  <a:gd name="connsiteY185" fmla="*/ 1624012 h 4575969"/>
                  <a:gd name="connsiteX186" fmla="*/ 7724775 w 8971757"/>
                  <a:gd name="connsiteY186" fmla="*/ 1621631 h 4575969"/>
                  <a:gd name="connsiteX187" fmla="*/ 7667625 w 8971757"/>
                  <a:gd name="connsiteY187" fmla="*/ 1716881 h 4575969"/>
                  <a:gd name="connsiteX188" fmla="*/ 7529513 w 8971757"/>
                  <a:gd name="connsiteY18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5474493 w 8971757"/>
                  <a:gd name="connsiteY35" fmla="*/ 1088231 h 4575969"/>
                  <a:gd name="connsiteX36" fmla="*/ 8412956 w 8971757"/>
                  <a:gd name="connsiteY36" fmla="*/ 23812 h 4575969"/>
                  <a:gd name="connsiteX37" fmla="*/ 8949531 w 8971757"/>
                  <a:gd name="connsiteY37" fmla="*/ 0 h 4575969"/>
                  <a:gd name="connsiteX38" fmla="*/ 8971757 w 8971757"/>
                  <a:gd name="connsiteY38" fmla="*/ 4575969 h 4575969"/>
                  <a:gd name="connsiteX39" fmla="*/ 2381 w 8971757"/>
                  <a:gd name="connsiteY39" fmla="*/ 4547392 h 4575969"/>
                  <a:gd name="connsiteX40" fmla="*/ 0 w 8971757"/>
                  <a:gd name="connsiteY40" fmla="*/ 845344 h 4575969"/>
                  <a:gd name="connsiteX41" fmla="*/ 76200 w 8971757"/>
                  <a:gd name="connsiteY41" fmla="*/ 828675 h 4575969"/>
                  <a:gd name="connsiteX42" fmla="*/ 119063 w 8971757"/>
                  <a:gd name="connsiteY42" fmla="*/ 857250 h 4575969"/>
                  <a:gd name="connsiteX43" fmla="*/ 215900 w 8971757"/>
                  <a:gd name="connsiteY43" fmla="*/ 848519 h 4575969"/>
                  <a:gd name="connsiteX44" fmla="*/ 261938 w 8971757"/>
                  <a:gd name="connsiteY44" fmla="*/ 876299 h 4575969"/>
                  <a:gd name="connsiteX45" fmla="*/ 228600 w 8971757"/>
                  <a:gd name="connsiteY45" fmla="*/ 904875 h 4575969"/>
                  <a:gd name="connsiteX46" fmla="*/ 233363 w 8971757"/>
                  <a:gd name="connsiteY46" fmla="*/ 947737 h 4575969"/>
                  <a:gd name="connsiteX47" fmla="*/ 200025 w 8971757"/>
                  <a:gd name="connsiteY47" fmla="*/ 952500 h 4575969"/>
                  <a:gd name="connsiteX48" fmla="*/ 204788 w 8971757"/>
                  <a:gd name="connsiteY48" fmla="*/ 976312 h 4575969"/>
                  <a:gd name="connsiteX49" fmla="*/ 261937 w 8971757"/>
                  <a:gd name="connsiteY49" fmla="*/ 1050131 h 4575969"/>
                  <a:gd name="connsiteX50" fmla="*/ 223838 w 8971757"/>
                  <a:gd name="connsiteY50" fmla="*/ 1097756 h 4575969"/>
                  <a:gd name="connsiteX51" fmla="*/ 278606 w 8971757"/>
                  <a:gd name="connsiteY51" fmla="*/ 1133475 h 4575969"/>
                  <a:gd name="connsiteX52" fmla="*/ 369094 w 8971757"/>
                  <a:gd name="connsiteY52" fmla="*/ 1221581 h 4575969"/>
                  <a:gd name="connsiteX53" fmla="*/ 371475 w 8971757"/>
                  <a:gd name="connsiteY53" fmla="*/ 1281112 h 4575969"/>
                  <a:gd name="connsiteX54" fmla="*/ 507206 w 8971757"/>
                  <a:gd name="connsiteY54" fmla="*/ 1414463 h 4575969"/>
                  <a:gd name="connsiteX55" fmla="*/ 561975 w 8971757"/>
                  <a:gd name="connsiteY55" fmla="*/ 1390650 h 4575969"/>
                  <a:gd name="connsiteX56" fmla="*/ 600075 w 8971757"/>
                  <a:gd name="connsiteY56" fmla="*/ 1416843 h 4575969"/>
                  <a:gd name="connsiteX57" fmla="*/ 614363 w 8971757"/>
                  <a:gd name="connsiteY57" fmla="*/ 1466849 h 4575969"/>
                  <a:gd name="connsiteX58" fmla="*/ 657225 w 8971757"/>
                  <a:gd name="connsiteY58" fmla="*/ 1502569 h 4575969"/>
                  <a:gd name="connsiteX59" fmla="*/ 697706 w 8971757"/>
                  <a:gd name="connsiteY59" fmla="*/ 1490662 h 4575969"/>
                  <a:gd name="connsiteX60" fmla="*/ 716756 w 8971757"/>
                  <a:gd name="connsiteY60" fmla="*/ 1547812 h 4575969"/>
                  <a:gd name="connsiteX61" fmla="*/ 764381 w 8971757"/>
                  <a:gd name="connsiteY61" fmla="*/ 1590675 h 4575969"/>
                  <a:gd name="connsiteX62" fmla="*/ 788194 w 8971757"/>
                  <a:gd name="connsiteY62" fmla="*/ 1693069 h 4575969"/>
                  <a:gd name="connsiteX63" fmla="*/ 785813 w 8971757"/>
                  <a:gd name="connsiteY63" fmla="*/ 1740694 h 4575969"/>
                  <a:gd name="connsiteX64" fmla="*/ 821531 w 8971757"/>
                  <a:gd name="connsiteY64" fmla="*/ 1840706 h 4575969"/>
                  <a:gd name="connsiteX65" fmla="*/ 866775 w 8971757"/>
                  <a:gd name="connsiteY65" fmla="*/ 1897856 h 4575969"/>
                  <a:gd name="connsiteX66" fmla="*/ 883443 w 8971757"/>
                  <a:gd name="connsiteY66" fmla="*/ 2055018 h 4575969"/>
                  <a:gd name="connsiteX67" fmla="*/ 850106 w 8971757"/>
                  <a:gd name="connsiteY67" fmla="*/ 2116931 h 4575969"/>
                  <a:gd name="connsiteX68" fmla="*/ 819150 w 8971757"/>
                  <a:gd name="connsiteY68" fmla="*/ 2193131 h 4575969"/>
                  <a:gd name="connsiteX69" fmla="*/ 833438 w 8971757"/>
                  <a:gd name="connsiteY69" fmla="*/ 2250281 h 4575969"/>
                  <a:gd name="connsiteX70" fmla="*/ 735806 w 8971757"/>
                  <a:gd name="connsiteY70" fmla="*/ 2357438 h 4575969"/>
                  <a:gd name="connsiteX71" fmla="*/ 692944 w 8971757"/>
                  <a:gd name="connsiteY71" fmla="*/ 2471737 h 4575969"/>
                  <a:gd name="connsiteX72" fmla="*/ 726281 w 8971757"/>
                  <a:gd name="connsiteY72" fmla="*/ 2512219 h 4575969"/>
                  <a:gd name="connsiteX73" fmla="*/ 709613 w 8971757"/>
                  <a:gd name="connsiteY73" fmla="*/ 2540794 h 4575969"/>
                  <a:gd name="connsiteX74" fmla="*/ 740569 w 8971757"/>
                  <a:gd name="connsiteY74" fmla="*/ 2597944 h 4575969"/>
                  <a:gd name="connsiteX75" fmla="*/ 769144 w 8971757"/>
                  <a:gd name="connsiteY75" fmla="*/ 2597944 h 4575969"/>
                  <a:gd name="connsiteX76" fmla="*/ 931069 w 8971757"/>
                  <a:gd name="connsiteY76" fmla="*/ 2700337 h 4575969"/>
                  <a:gd name="connsiteX77" fmla="*/ 1035844 w 8971757"/>
                  <a:gd name="connsiteY77" fmla="*/ 2697956 h 4575969"/>
                  <a:gd name="connsiteX78" fmla="*/ 1114425 w 8971757"/>
                  <a:gd name="connsiteY78" fmla="*/ 2752725 h 4575969"/>
                  <a:gd name="connsiteX79" fmla="*/ 1245393 w 8971757"/>
                  <a:gd name="connsiteY79" fmla="*/ 2755106 h 4575969"/>
                  <a:gd name="connsiteX80" fmla="*/ 1435893 w 8971757"/>
                  <a:gd name="connsiteY80" fmla="*/ 2824162 h 4575969"/>
                  <a:gd name="connsiteX81" fmla="*/ 1638300 w 8971757"/>
                  <a:gd name="connsiteY81" fmla="*/ 2974181 h 4575969"/>
                  <a:gd name="connsiteX82" fmla="*/ 1671637 w 8971757"/>
                  <a:gd name="connsiteY82" fmla="*/ 3040856 h 4575969"/>
                  <a:gd name="connsiteX83" fmla="*/ 1838325 w 8971757"/>
                  <a:gd name="connsiteY83" fmla="*/ 3167062 h 4575969"/>
                  <a:gd name="connsiteX84" fmla="*/ 1909763 w 8971757"/>
                  <a:gd name="connsiteY84" fmla="*/ 3162300 h 4575969"/>
                  <a:gd name="connsiteX85" fmla="*/ 1945482 w 8971757"/>
                  <a:gd name="connsiteY85" fmla="*/ 3186112 h 4575969"/>
                  <a:gd name="connsiteX86" fmla="*/ 1916906 w 8971757"/>
                  <a:gd name="connsiteY86" fmla="*/ 3226594 h 4575969"/>
                  <a:gd name="connsiteX87" fmla="*/ 1924050 w 8971757"/>
                  <a:gd name="connsiteY87" fmla="*/ 3278981 h 4575969"/>
                  <a:gd name="connsiteX88" fmla="*/ 1976438 w 8971757"/>
                  <a:gd name="connsiteY88" fmla="*/ 3305175 h 4575969"/>
                  <a:gd name="connsiteX89" fmla="*/ 2038350 w 8971757"/>
                  <a:gd name="connsiteY89" fmla="*/ 3529013 h 4575969"/>
                  <a:gd name="connsiteX90" fmla="*/ 2028825 w 8971757"/>
                  <a:gd name="connsiteY90" fmla="*/ 3593306 h 4575969"/>
                  <a:gd name="connsiteX91" fmla="*/ 2164556 w 8971757"/>
                  <a:gd name="connsiteY91" fmla="*/ 3759994 h 4575969"/>
                  <a:gd name="connsiteX92" fmla="*/ 2183606 w 8971757"/>
                  <a:gd name="connsiteY92" fmla="*/ 3810000 h 4575969"/>
                  <a:gd name="connsiteX93" fmla="*/ 2157413 w 8971757"/>
                  <a:gd name="connsiteY93" fmla="*/ 3829050 h 4575969"/>
                  <a:gd name="connsiteX94" fmla="*/ 2259806 w 8971757"/>
                  <a:gd name="connsiteY94" fmla="*/ 3838575 h 4575969"/>
                  <a:gd name="connsiteX95" fmla="*/ 2371725 w 8971757"/>
                  <a:gd name="connsiteY95" fmla="*/ 3826669 h 4575969"/>
                  <a:gd name="connsiteX96" fmla="*/ 2650331 w 8971757"/>
                  <a:gd name="connsiteY96" fmla="*/ 3910012 h 4575969"/>
                  <a:gd name="connsiteX97" fmla="*/ 3057525 w 8971757"/>
                  <a:gd name="connsiteY97" fmla="*/ 3990975 h 4575969"/>
                  <a:gd name="connsiteX98" fmla="*/ 3255169 w 8971757"/>
                  <a:gd name="connsiteY98" fmla="*/ 3960018 h 4575969"/>
                  <a:gd name="connsiteX99" fmla="*/ 3300413 w 8971757"/>
                  <a:gd name="connsiteY99" fmla="*/ 3971924 h 4575969"/>
                  <a:gd name="connsiteX100" fmla="*/ 3355181 w 8971757"/>
                  <a:gd name="connsiteY100" fmla="*/ 3948113 h 4575969"/>
                  <a:gd name="connsiteX101" fmla="*/ 3748087 w 8971757"/>
                  <a:gd name="connsiteY101" fmla="*/ 4038600 h 4575969"/>
                  <a:gd name="connsiteX102" fmla="*/ 3831432 w 8971757"/>
                  <a:gd name="connsiteY102" fmla="*/ 4136231 h 4575969"/>
                  <a:gd name="connsiteX103" fmla="*/ 3950494 w 8971757"/>
                  <a:gd name="connsiteY103" fmla="*/ 4207669 h 4575969"/>
                  <a:gd name="connsiteX104" fmla="*/ 4010025 w 8971757"/>
                  <a:gd name="connsiteY104" fmla="*/ 4191000 h 4575969"/>
                  <a:gd name="connsiteX105" fmla="*/ 4360068 w 8971757"/>
                  <a:gd name="connsiteY105" fmla="*/ 4364831 h 4575969"/>
                  <a:gd name="connsiteX106" fmla="*/ 4586288 w 8971757"/>
                  <a:gd name="connsiteY106" fmla="*/ 4336256 h 4575969"/>
                  <a:gd name="connsiteX107" fmla="*/ 4595813 w 8971757"/>
                  <a:gd name="connsiteY107" fmla="*/ 4414837 h 4575969"/>
                  <a:gd name="connsiteX108" fmla="*/ 4681538 w 8971757"/>
                  <a:gd name="connsiteY108" fmla="*/ 4410074 h 4575969"/>
                  <a:gd name="connsiteX109" fmla="*/ 4760119 w 8971757"/>
                  <a:gd name="connsiteY109" fmla="*/ 4441031 h 4575969"/>
                  <a:gd name="connsiteX110" fmla="*/ 4802981 w 8971757"/>
                  <a:gd name="connsiteY110" fmla="*/ 4381500 h 4575969"/>
                  <a:gd name="connsiteX111" fmla="*/ 5474494 w 8971757"/>
                  <a:gd name="connsiteY111" fmla="*/ 4062412 h 4575969"/>
                  <a:gd name="connsiteX112" fmla="*/ 5562600 w 8971757"/>
                  <a:gd name="connsiteY112" fmla="*/ 4090988 h 4575969"/>
                  <a:gd name="connsiteX113" fmla="*/ 5693569 w 8971757"/>
                  <a:gd name="connsiteY113" fmla="*/ 4062412 h 4575969"/>
                  <a:gd name="connsiteX114" fmla="*/ 5872162 w 8971757"/>
                  <a:gd name="connsiteY114" fmla="*/ 4079081 h 4575969"/>
                  <a:gd name="connsiteX115" fmla="*/ 5929313 w 8971757"/>
                  <a:gd name="connsiteY115" fmla="*/ 4052888 h 4575969"/>
                  <a:gd name="connsiteX116" fmla="*/ 6062662 w 8971757"/>
                  <a:gd name="connsiteY116" fmla="*/ 4050506 h 4575969"/>
                  <a:gd name="connsiteX117" fmla="*/ 6196012 w 8971757"/>
                  <a:gd name="connsiteY117" fmla="*/ 3952875 h 4575969"/>
                  <a:gd name="connsiteX118" fmla="*/ 6262687 w 8971757"/>
                  <a:gd name="connsiteY118" fmla="*/ 3945731 h 4575969"/>
                  <a:gd name="connsiteX119" fmla="*/ 6360319 w 8971757"/>
                  <a:gd name="connsiteY119" fmla="*/ 3871912 h 4575969"/>
                  <a:gd name="connsiteX120" fmla="*/ 6434138 w 8971757"/>
                  <a:gd name="connsiteY120" fmla="*/ 3802856 h 4575969"/>
                  <a:gd name="connsiteX121" fmla="*/ 6443663 w 8971757"/>
                  <a:gd name="connsiteY121" fmla="*/ 3740944 h 4575969"/>
                  <a:gd name="connsiteX122" fmla="*/ 6477000 w 8971757"/>
                  <a:gd name="connsiteY122" fmla="*/ 3671887 h 4575969"/>
                  <a:gd name="connsiteX123" fmla="*/ 6629400 w 8971757"/>
                  <a:gd name="connsiteY123" fmla="*/ 3564731 h 4575969"/>
                  <a:gd name="connsiteX124" fmla="*/ 6662738 w 8971757"/>
                  <a:gd name="connsiteY124" fmla="*/ 3569494 h 4575969"/>
                  <a:gd name="connsiteX125" fmla="*/ 6715125 w 8971757"/>
                  <a:gd name="connsiteY125" fmla="*/ 3490912 h 4575969"/>
                  <a:gd name="connsiteX126" fmla="*/ 6762750 w 8971757"/>
                  <a:gd name="connsiteY126" fmla="*/ 3452812 h 4575969"/>
                  <a:gd name="connsiteX127" fmla="*/ 6748463 w 8971757"/>
                  <a:gd name="connsiteY127" fmla="*/ 3383756 h 4575969"/>
                  <a:gd name="connsiteX128" fmla="*/ 6698456 w 8971757"/>
                  <a:gd name="connsiteY128" fmla="*/ 3352799 h 4575969"/>
                  <a:gd name="connsiteX129" fmla="*/ 6638925 w 8971757"/>
                  <a:gd name="connsiteY129" fmla="*/ 3298031 h 4575969"/>
                  <a:gd name="connsiteX130" fmla="*/ 6619875 w 8971757"/>
                  <a:gd name="connsiteY130" fmla="*/ 3240881 h 4575969"/>
                  <a:gd name="connsiteX131" fmla="*/ 6584156 w 8971757"/>
                  <a:gd name="connsiteY131" fmla="*/ 3207544 h 4575969"/>
                  <a:gd name="connsiteX132" fmla="*/ 6610350 w 8971757"/>
                  <a:gd name="connsiteY132" fmla="*/ 3155156 h 4575969"/>
                  <a:gd name="connsiteX133" fmla="*/ 6650831 w 8971757"/>
                  <a:gd name="connsiteY133" fmla="*/ 2976562 h 4575969"/>
                  <a:gd name="connsiteX134" fmla="*/ 6691313 w 8971757"/>
                  <a:gd name="connsiteY134" fmla="*/ 2909887 h 4575969"/>
                  <a:gd name="connsiteX135" fmla="*/ 6836569 w 8971757"/>
                  <a:gd name="connsiteY135" fmla="*/ 2893218 h 4575969"/>
                  <a:gd name="connsiteX136" fmla="*/ 6905625 w 8971757"/>
                  <a:gd name="connsiteY136" fmla="*/ 2950369 h 4575969"/>
                  <a:gd name="connsiteX137" fmla="*/ 6981825 w 8971757"/>
                  <a:gd name="connsiteY137" fmla="*/ 2974181 h 4575969"/>
                  <a:gd name="connsiteX138" fmla="*/ 7186612 w 8971757"/>
                  <a:gd name="connsiteY138" fmla="*/ 2978944 h 4575969"/>
                  <a:gd name="connsiteX139" fmla="*/ 7362825 w 8971757"/>
                  <a:gd name="connsiteY139" fmla="*/ 2840831 h 4575969"/>
                  <a:gd name="connsiteX140" fmla="*/ 7419975 w 8971757"/>
                  <a:gd name="connsiteY140" fmla="*/ 2750343 h 4575969"/>
                  <a:gd name="connsiteX141" fmla="*/ 7446169 w 8971757"/>
                  <a:gd name="connsiteY141" fmla="*/ 2667000 h 4575969"/>
                  <a:gd name="connsiteX142" fmla="*/ 7577137 w 8971757"/>
                  <a:gd name="connsiteY142" fmla="*/ 2667000 h 4575969"/>
                  <a:gd name="connsiteX143" fmla="*/ 7750969 w 8971757"/>
                  <a:gd name="connsiteY143" fmla="*/ 2609849 h 4575969"/>
                  <a:gd name="connsiteX144" fmla="*/ 7810500 w 8971757"/>
                  <a:gd name="connsiteY144" fmla="*/ 2497931 h 4575969"/>
                  <a:gd name="connsiteX145" fmla="*/ 7874794 w 8971757"/>
                  <a:gd name="connsiteY145" fmla="*/ 2462212 h 4575969"/>
                  <a:gd name="connsiteX146" fmla="*/ 7853363 w 8971757"/>
                  <a:gd name="connsiteY146" fmla="*/ 2416969 h 4575969"/>
                  <a:gd name="connsiteX147" fmla="*/ 7931944 w 8971757"/>
                  <a:gd name="connsiteY147" fmla="*/ 2247899 h 4575969"/>
                  <a:gd name="connsiteX148" fmla="*/ 7986713 w 8971757"/>
                  <a:gd name="connsiteY148" fmla="*/ 2188369 h 4575969"/>
                  <a:gd name="connsiteX149" fmla="*/ 8024813 w 8971757"/>
                  <a:gd name="connsiteY149" fmla="*/ 2183606 h 4575969"/>
                  <a:gd name="connsiteX150" fmla="*/ 8070056 w 8971757"/>
                  <a:gd name="connsiteY150" fmla="*/ 2188369 h 4575969"/>
                  <a:gd name="connsiteX151" fmla="*/ 8134350 w 8971757"/>
                  <a:gd name="connsiteY151" fmla="*/ 2155031 h 4575969"/>
                  <a:gd name="connsiteX152" fmla="*/ 8143875 w 8971757"/>
                  <a:gd name="connsiteY152" fmla="*/ 2090737 h 4575969"/>
                  <a:gd name="connsiteX153" fmla="*/ 8184355 w 8971757"/>
                  <a:gd name="connsiteY153" fmla="*/ 2055019 h 4575969"/>
                  <a:gd name="connsiteX154" fmla="*/ 8243888 w 8971757"/>
                  <a:gd name="connsiteY154" fmla="*/ 2095499 h 4575969"/>
                  <a:gd name="connsiteX155" fmla="*/ 8270082 w 8971757"/>
                  <a:gd name="connsiteY155" fmla="*/ 2045493 h 4575969"/>
                  <a:gd name="connsiteX156" fmla="*/ 8365331 w 8971757"/>
                  <a:gd name="connsiteY156" fmla="*/ 1976437 h 4575969"/>
                  <a:gd name="connsiteX157" fmla="*/ 8427244 w 8971757"/>
                  <a:gd name="connsiteY157" fmla="*/ 1983581 h 4575969"/>
                  <a:gd name="connsiteX158" fmla="*/ 8477250 w 8971757"/>
                  <a:gd name="connsiteY158" fmla="*/ 1964531 h 4575969"/>
                  <a:gd name="connsiteX159" fmla="*/ 8515350 w 8971757"/>
                  <a:gd name="connsiteY159" fmla="*/ 1935956 h 4575969"/>
                  <a:gd name="connsiteX160" fmla="*/ 8548688 w 8971757"/>
                  <a:gd name="connsiteY160" fmla="*/ 1933575 h 4575969"/>
                  <a:gd name="connsiteX161" fmla="*/ 8584406 w 8971757"/>
                  <a:gd name="connsiteY161" fmla="*/ 1964531 h 4575969"/>
                  <a:gd name="connsiteX162" fmla="*/ 8643938 w 8971757"/>
                  <a:gd name="connsiteY162" fmla="*/ 1964531 h 4575969"/>
                  <a:gd name="connsiteX163" fmla="*/ 8682037 w 8971757"/>
                  <a:gd name="connsiteY163" fmla="*/ 1945481 h 4575969"/>
                  <a:gd name="connsiteX164" fmla="*/ 8765381 w 8971757"/>
                  <a:gd name="connsiteY164" fmla="*/ 1947863 h 4575969"/>
                  <a:gd name="connsiteX165" fmla="*/ 8796338 w 8971757"/>
                  <a:gd name="connsiteY165" fmla="*/ 1902619 h 4575969"/>
                  <a:gd name="connsiteX166" fmla="*/ 8801100 w 8971757"/>
                  <a:gd name="connsiteY166" fmla="*/ 1840706 h 4575969"/>
                  <a:gd name="connsiteX167" fmla="*/ 8751093 w 8971757"/>
                  <a:gd name="connsiteY167" fmla="*/ 1800225 h 4575969"/>
                  <a:gd name="connsiteX168" fmla="*/ 8734425 w 8971757"/>
                  <a:gd name="connsiteY168" fmla="*/ 1745456 h 4575969"/>
                  <a:gd name="connsiteX169" fmla="*/ 8643938 w 8971757"/>
                  <a:gd name="connsiteY169" fmla="*/ 1683544 h 4575969"/>
                  <a:gd name="connsiteX170" fmla="*/ 8603456 w 8971757"/>
                  <a:gd name="connsiteY170" fmla="*/ 1662112 h 4575969"/>
                  <a:gd name="connsiteX171" fmla="*/ 8565356 w 8971757"/>
                  <a:gd name="connsiteY171" fmla="*/ 1616869 h 4575969"/>
                  <a:gd name="connsiteX172" fmla="*/ 8534400 w 8971757"/>
                  <a:gd name="connsiteY172" fmla="*/ 1614487 h 4575969"/>
                  <a:gd name="connsiteX173" fmla="*/ 8517731 w 8971757"/>
                  <a:gd name="connsiteY173" fmla="*/ 1562100 h 4575969"/>
                  <a:gd name="connsiteX174" fmla="*/ 8477250 w 8971757"/>
                  <a:gd name="connsiteY174" fmla="*/ 1545431 h 4575969"/>
                  <a:gd name="connsiteX175" fmla="*/ 8477250 w 8971757"/>
                  <a:gd name="connsiteY175" fmla="*/ 1545431 h 4575969"/>
                  <a:gd name="connsiteX176" fmla="*/ 8436769 w 8971757"/>
                  <a:gd name="connsiteY176" fmla="*/ 1550194 h 4575969"/>
                  <a:gd name="connsiteX177" fmla="*/ 8351043 w 8971757"/>
                  <a:gd name="connsiteY177" fmla="*/ 1476375 h 4575969"/>
                  <a:gd name="connsiteX178" fmla="*/ 8170069 w 8971757"/>
                  <a:gd name="connsiteY178" fmla="*/ 1476374 h 4575969"/>
                  <a:gd name="connsiteX179" fmla="*/ 8117681 w 8971757"/>
                  <a:gd name="connsiteY179" fmla="*/ 1514475 h 4575969"/>
                  <a:gd name="connsiteX180" fmla="*/ 8067675 w 8971757"/>
                  <a:gd name="connsiteY180" fmla="*/ 1593056 h 4575969"/>
                  <a:gd name="connsiteX181" fmla="*/ 8084344 w 8971757"/>
                  <a:gd name="connsiteY181" fmla="*/ 1614487 h 4575969"/>
                  <a:gd name="connsiteX182" fmla="*/ 8039100 w 8971757"/>
                  <a:gd name="connsiteY182" fmla="*/ 1664493 h 4575969"/>
                  <a:gd name="connsiteX183" fmla="*/ 7889081 w 8971757"/>
                  <a:gd name="connsiteY183" fmla="*/ 1588293 h 4575969"/>
                  <a:gd name="connsiteX184" fmla="*/ 7798594 w 8971757"/>
                  <a:gd name="connsiteY184" fmla="*/ 1624012 h 4575969"/>
                  <a:gd name="connsiteX185" fmla="*/ 7724775 w 8971757"/>
                  <a:gd name="connsiteY185" fmla="*/ 1621631 h 4575969"/>
                  <a:gd name="connsiteX186" fmla="*/ 7667625 w 8971757"/>
                  <a:gd name="connsiteY186" fmla="*/ 1716881 h 4575969"/>
                  <a:gd name="connsiteX187" fmla="*/ 7529513 w 8971757"/>
                  <a:gd name="connsiteY18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5472113 w 8971757"/>
                  <a:gd name="connsiteY34" fmla="*/ 1145381 h 4575969"/>
                  <a:gd name="connsiteX35" fmla="*/ 8412956 w 8971757"/>
                  <a:gd name="connsiteY35" fmla="*/ 23812 h 4575969"/>
                  <a:gd name="connsiteX36" fmla="*/ 8949531 w 8971757"/>
                  <a:gd name="connsiteY36" fmla="*/ 0 h 4575969"/>
                  <a:gd name="connsiteX37" fmla="*/ 8971757 w 8971757"/>
                  <a:gd name="connsiteY37" fmla="*/ 4575969 h 4575969"/>
                  <a:gd name="connsiteX38" fmla="*/ 2381 w 8971757"/>
                  <a:gd name="connsiteY38" fmla="*/ 4547392 h 4575969"/>
                  <a:gd name="connsiteX39" fmla="*/ 0 w 8971757"/>
                  <a:gd name="connsiteY39" fmla="*/ 845344 h 4575969"/>
                  <a:gd name="connsiteX40" fmla="*/ 76200 w 8971757"/>
                  <a:gd name="connsiteY40" fmla="*/ 828675 h 4575969"/>
                  <a:gd name="connsiteX41" fmla="*/ 119063 w 8971757"/>
                  <a:gd name="connsiteY41" fmla="*/ 857250 h 4575969"/>
                  <a:gd name="connsiteX42" fmla="*/ 215900 w 8971757"/>
                  <a:gd name="connsiteY42" fmla="*/ 848519 h 4575969"/>
                  <a:gd name="connsiteX43" fmla="*/ 261938 w 8971757"/>
                  <a:gd name="connsiteY43" fmla="*/ 876299 h 4575969"/>
                  <a:gd name="connsiteX44" fmla="*/ 228600 w 8971757"/>
                  <a:gd name="connsiteY44" fmla="*/ 904875 h 4575969"/>
                  <a:gd name="connsiteX45" fmla="*/ 233363 w 8971757"/>
                  <a:gd name="connsiteY45" fmla="*/ 947737 h 4575969"/>
                  <a:gd name="connsiteX46" fmla="*/ 200025 w 8971757"/>
                  <a:gd name="connsiteY46" fmla="*/ 952500 h 4575969"/>
                  <a:gd name="connsiteX47" fmla="*/ 204788 w 8971757"/>
                  <a:gd name="connsiteY47" fmla="*/ 976312 h 4575969"/>
                  <a:gd name="connsiteX48" fmla="*/ 261937 w 8971757"/>
                  <a:gd name="connsiteY48" fmla="*/ 1050131 h 4575969"/>
                  <a:gd name="connsiteX49" fmla="*/ 223838 w 8971757"/>
                  <a:gd name="connsiteY49" fmla="*/ 1097756 h 4575969"/>
                  <a:gd name="connsiteX50" fmla="*/ 278606 w 8971757"/>
                  <a:gd name="connsiteY50" fmla="*/ 1133475 h 4575969"/>
                  <a:gd name="connsiteX51" fmla="*/ 369094 w 8971757"/>
                  <a:gd name="connsiteY51" fmla="*/ 1221581 h 4575969"/>
                  <a:gd name="connsiteX52" fmla="*/ 371475 w 8971757"/>
                  <a:gd name="connsiteY52" fmla="*/ 1281112 h 4575969"/>
                  <a:gd name="connsiteX53" fmla="*/ 507206 w 8971757"/>
                  <a:gd name="connsiteY53" fmla="*/ 1414463 h 4575969"/>
                  <a:gd name="connsiteX54" fmla="*/ 561975 w 8971757"/>
                  <a:gd name="connsiteY54" fmla="*/ 1390650 h 4575969"/>
                  <a:gd name="connsiteX55" fmla="*/ 600075 w 8971757"/>
                  <a:gd name="connsiteY55" fmla="*/ 1416843 h 4575969"/>
                  <a:gd name="connsiteX56" fmla="*/ 614363 w 8971757"/>
                  <a:gd name="connsiteY56" fmla="*/ 1466849 h 4575969"/>
                  <a:gd name="connsiteX57" fmla="*/ 657225 w 8971757"/>
                  <a:gd name="connsiteY57" fmla="*/ 1502569 h 4575969"/>
                  <a:gd name="connsiteX58" fmla="*/ 697706 w 8971757"/>
                  <a:gd name="connsiteY58" fmla="*/ 1490662 h 4575969"/>
                  <a:gd name="connsiteX59" fmla="*/ 716756 w 8971757"/>
                  <a:gd name="connsiteY59" fmla="*/ 1547812 h 4575969"/>
                  <a:gd name="connsiteX60" fmla="*/ 764381 w 8971757"/>
                  <a:gd name="connsiteY60" fmla="*/ 1590675 h 4575969"/>
                  <a:gd name="connsiteX61" fmla="*/ 788194 w 8971757"/>
                  <a:gd name="connsiteY61" fmla="*/ 1693069 h 4575969"/>
                  <a:gd name="connsiteX62" fmla="*/ 785813 w 8971757"/>
                  <a:gd name="connsiteY62" fmla="*/ 1740694 h 4575969"/>
                  <a:gd name="connsiteX63" fmla="*/ 821531 w 8971757"/>
                  <a:gd name="connsiteY63" fmla="*/ 1840706 h 4575969"/>
                  <a:gd name="connsiteX64" fmla="*/ 866775 w 8971757"/>
                  <a:gd name="connsiteY64" fmla="*/ 1897856 h 4575969"/>
                  <a:gd name="connsiteX65" fmla="*/ 883443 w 8971757"/>
                  <a:gd name="connsiteY65" fmla="*/ 2055018 h 4575969"/>
                  <a:gd name="connsiteX66" fmla="*/ 850106 w 8971757"/>
                  <a:gd name="connsiteY66" fmla="*/ 2116931 h 4575969"/>
                  <a:gd name="connsiteX67" fmla="*/ 819150 w 8971757"/>
                  <a:gd name="connsiteY67" fmla="*/ 2193131 h 4575969"/>
                  <a:gd name="connsiteX68" fmla="*/ 833438 w 8971757"/>
                  <a:gd name="connsiteY68" fmla="*/ 2250281 h 4575969"/>
                  <a:gd name="connsiteX69" fmla="*/ 735806 w 8971757"/>
                  <a:gd name="connsiteY69" fmla="*/ 2357438 h 4575969"/>
                  <a:gd name="connsiteX70" fmla="*/ 692944 w 8971757"/>
                  <a:gd name="connsiteY70" fmla="*/ 2471737 h 4575969"/>
                  <a:gd name="connsiteX71" fmla="*/ 726281 w 8971757"/>
                  <a:gd name="connsiteY71" fmla="*/ 2512219 h 4575969"/>
                  <a:gd name="connsiteX72" fmla="*/ 709613 w 8971757"/>
                  <a:gd name="connsiteY72" fmla="*/ 2540794 h 4575969"/>
                  <a:gd name="connsiteX73" fmla="*/ 740569 w 8971757"/>
                  <a:gd name="connsiteY73" fmla="*/ 2597944 h 4575969"/>
                  <a:gd name="connsiteX74" fmla="*/ 769144 w 8971757"/>
                  <a:gd name="connsiteY74" fmla="*/ 2597944 h 4575969"/>
                  <a:gd name="connsiteX75" fmla="*/ 931069 w 8971757"/>
                  <a:gd name="connsiteY75" fmla="*/ 2700337 h 4575969"/>
                  <a:gd name="connsiteX76" fmla="*/ 1035844 w 8971757"/>
                  <a:gd name="connsiteY76" fmla="*/ 2697956 h 4575969"/>
                  <a:gd name="connsiteX77" fmla="*/ 1114425 w 8971757"/>
                  <a:gd name="connsiteY77" fmla="*/ 2752725 h 4575969"/>
                  <a:gd name="connsiteX78" fmla="*/ 1245393 w 8971757"/>
                  <a:gd name="connsiteY78" fmla="*/ 2755106 h 4575969"/>
                  <a:gd name="connsiteX79" fmla="*/ 1435893 w 8971757"/>
                  <a:gd name="connsiteY79" fmla="*/ 2824162 h 4575969"/>
                  <a:gd name="connsiteX80" fmla="*/ 1638300 w 8971757"/>
                  <a:gd name="connsiteY80" fmla="*/ 2974181 h 4575969"/>
                  <a:gd name="connsiteX81" fmla="*/ 1671637 w 8971757"/>
                  <a:gd name="connsiteY81" fmla="*/ 3040856 h 4575969"/>
                  <a:gd name="connsiteX82" fmla="*/ 1838325 w 8971757"/>
                  <a:gd name="connsiteY82" fmla="*/ 3167062 h 4575969"/>
                  <a:gd name="connsiteX83" fmla="*/ 1909763 w 8971757"/>
                  <a:gd name="connsiteY83" fmla="*/ 3162300 h 4575969"/>
                  <a:gd name="connsiteX84" fmla="*/ 1945482 w 8971757"/>
                  <a:gd name="connsiteY84" fmla="*/ 3186112 h 4575969"/>
                  <a:gd name="connsiteX85" fmla="*/ 1916906 w 8971757"/>
                  <a:gd name="connsiteY85" fmla="*/ 3226594 h 4575969"/>
                  <a:gd name="connsiteX86" fmla="*/ 1924050 w 8971757"/>
                  <a:gd name="connsiteY86" fmla="*/ 3278981 h 4575969"/>
                  <a:gd name="connsiteX87" fmla="*/ 1976438 w 8971757"/>
                  <a:gd name="connsiteY87" fmla="*/ 3305175 h 4575969"/>
                  <a:gd name="connsiteX88" fmla="*/ 2038350 w 8971757"/>
                  <a:gd name="connsiteY88" fmla="*/ 3529013 h 4575969"/>
                  <a:gd name="connsiteX89" fmla="*/ 2028825 w 8971757"/>
                  <a:gd name="connsiteY89" fmla="*/ 3593306 h 4575969"/>
                  <a:gd name="connsiteX90" fmla="*/ 2164556 w 8971757"/>
                  <a:gd name="connsiteY90" fmla="*/ 3759994 h 4575969"/>
                  <a:gd name="connsiteX91" fmla="*/ 2183606 w 8971757"/>
                  <a:gd name="connsiteY91" fmla="*/ 3810000 h 4575969"/>
                  <a:gd name="connsiteX92" fmla="*/ 2157413 w 8971757"/>
                  <a:gd name="connsiteY92" fmla="*/ 3829050 h 4575969"/>
                  <a:gd name="connsiteX93" fmla="*/ 2259806 w 8971757"/>
                  <a:gd name="connsiteY93" fmla="*/ 3838575 h 4575969"/>
                  <a:gd name="connsiteX94" fmla="*/ 2371725 w 8971757"/>
                  <a:gd name="connsiteY94" fmla="*/ 3826669 h 4575969"/>
                  <a:gd name="connsiteX95" fmla="*/ 2650331 w 8971757"/>
                  <a:gd name="connsiteY95" fmla="*/ 3910012 h 4575969"/>
                  <a:gd name="connsiteX96" fmla="*/ 3057525 w 8971757"/>
                  <a:gd name="connsiteY96" fmla="*/ 3990975 h 4575969"/>
                  <a:gd name="connsiteX97" fmla="*/ 3255169 w 8971757"/>
                  <a:gd name="connsiteY97" fmla="*/ 3960018 h 4575969"/>
                  <a:gd name="connsiteX98" fmla="*/ 3300413 w 8971757"/>
                  <a:gd name="connsiteY98" fmla="*/ 3971924 h 4575969"/>
                  <a:gd name="connsiteX99" fmla="*/ 3355181 w 8971757"/>
                  <a:gd name="connsiteY99" fmla="*/ 3948113 h 4575969"/>
                  <a:gd name="connsiteX100" fmla="*/ 3748087 w 8971757"/>
                  <a:gd name="connsiteY100" fmla="*/ 4038600 h 4575969"/>
                  <a:gd name="connsiteX101" fmla="*/ 3831432 w 8971757"/>
                  <a:gd name="connsiteY101" fmla="*/ 4136231 h 4575969"/>
                  <a:gd name="connsiteX102" fmla="*/ 3950494 w 8971757"/>
                  <a:gd name="connsiteY102" fmla="*/ 4207669 h 4575969"/>
                  <a:gd name="connsiteX103" fmla="*/ 4010025 w 8971757"/>
                  <a:gd name="connsiteY103" fmla="*/ 4191000 h 4575969"/>
                  <a:gd name="connsiteX104" fmla="*/ 4360068 w 8971757"/>
                  <a:gd name="connsiteY104" fmla="*/ 4364831 h 4575969"/>
                  <a:gd name="connsiteX105" fmla="*/ 4586288 w 8971757"/>
                  <a:gd name="connsiteY105" fmla="*/ 4336256 h 4575969"/>
                  <a:gd name="connsiteX106" fmla="*/ 4595813 w 8971757"/>
                  <a:gd name="connsiteY106" fmla="*/ 4414837 h 4575969"/>
                  <a:gd name="connsiteX107" fmla="*/ 4681538 w 8971757"/>
                  <a:gd name="connsiteY107" fmla="*/ 4410074 h 4575969"/>
                  <a:gd name="connsiteX108" fmla="*/ 4760119 w 8971757"/>
                  <a:gd name="connsiteY108" fmla="*/ 4441031 h 4575969"/>
                  <a:gd name="connsiteX109" fmla="*/ 4802981 w 8971757"/>
                  <a:gd name="connsiteY109" fmla="*/ 4381500 h 4575969"/>
                  <a:gd name="connsiteX110" fmla="*/ 5474494 w 8971757"/>
                  <a:gd name="connsiteY110" fmla="*/ 4062412 h 4575969"/>
                  <a:gd name="connsiteX111" fmla="*/ 5562600 w 8971757"/>
                  <a:gd name="connsiteY111" fmla="*/ 4090988 h 4575969"/>
                  <a:gd name="connsiteX112" fmla="*/ 5693569 w 8971757"/>
                  <a:gd name="connsiteY112" fmla="*/ 4062412 h 4575969"/>
                  <a:gd name="connsiteX113" fmla="*/ 5872162 w 8971757"/>
                  <a:gd name="connsiteY113" fmla="*/ 4079081 h 4575969"/>
                  <a:gd name="connsiteX114" fmla="*/ 5929313 w 8971757"/>
                  <a:gd name="connsiteY114" fmla="*/ 4052888 h 4575969"/>
                  <a:gd name="connsiteX115" fmla="*/ 6062662 w 8971757"/>
                  <a:gd name="connsiteY115" fmla="*/ 4050506 h 4575969"/>
                  <a:gd name="connsiteX116" fmla="*/ 6196012 w 8971757"/>
                  <a:gd name="connsiteY116" fmla="*/ 3952875 h 4575969"/>
                  <a:gd name="connsiteX117" fmla="*/ 6262687 w 8971757"/>
                  <a:gd name="connsiteY117" fmla="*/ 3945731 h 4575969"/>
                  <a:gd name="connsiteX118" fmla="*/ 6360319 w 8971757"/>
                  <a:gd name="connsiteY118" fmla="*/ 3871912 h 4575969"/>
                  <a:gd name="connsiteX119" fmla="*/ 6434138 w 8971757"/>
                  <a:gd name="connsiteY119" fmla="*/ 3802856 h 4575969"/>
                  <a:gd name="connsiteX120" fmla="*/ 6443663 w 8971757"/>
                  <a:gd name="connsiteY120" fmla="*/ 3740944 h 4575969"/>
                  <a:gd name="connsiteX121" fmla="*/ 6477000 w 8971757"/>
                  <a:gd name="connsiteY121" fmla="*/ 3671887 h 4575969"/>
                  <a:gd name="connsiteX122" fmla="*/ 6629400 w 8971757"/>
                  <a:gd name="connsiteY122" fmla="*/ 3564731 h 4575969"/>
                  <a:gd name="connsiteX123" fmla="*/ 6662738 w 8971757"/>
                  <a:gd name="connsiteY123" fmla="*/ 3569494 h 4575969"/>
                  <a:gd name="connsiteX124" fmla="*/ 6715125 w 8971757"/>
                  <a:gd name="connsiteY124" fmla="*/ 3490912 h 4575969"/>
                  <a:gd name="connsiteX125" fmla="*/ 6762750 w 8971757"/>
                  <a:gd name="connsiteY125" fmla="*/ 3452812 h 4575969"/>
                  <a:gd name="connsiteX126" fmla="*/ 6748463 w 8971757"/>
                  <a:gd name="connsiteY126" fmla="*/ 3383756 h 4575969"/>
                  <a:gd name="connsiteX127" fmla="*/ 6698456 w 8971757"/>
                  <a:gd name="connsiteY127" fmla="*/ 3352799 h 4575969"/>
                  <a:gd name="connsiteX128" fmla="*/ 6638925 w 8971757"/>
                  <a:gd name="connsiteY128" fmla="*/ 3298031 h 4575969"/>
                  <a:gd name="connsiteX129" fmla="*/ 6619875 w 8971757"/>
                  <a:gd name="connsiteY129" fmla="*/ 3240881 h 4575969"/>
                  <a:gd name="connsiteX130" fmla="*/ 6584156 w 8971757"/>
                  <a:gd name="connsiteY130" fmla="*/ 3207544 h 4575969"/>
                  <a:gd name="connsiteX131" fmla="*/ 6610350 w 8971757"/>
                  <a:gd name="connsiteY131" fmla="*/ 3155156 h 4575969"/>
                  <a:gd name="connsiteX132" fmla="*/ 6650831 w 8971757"/>
                  <a:gd name="connsiteY132" fmla="*/ 2976562 h 4575969"/>
                  <a:gd name="connsiteX133" fmla="*/ 6691313 w 8971757"/>
                  <a:gd name="connsiteY133" fmla="*/ 2909887 h 4575969"/>
                  <a:gd name="connsiteX134" fmla="*/ 6836569 w 8971757"/>
                  <a:gd name="connsiteY134" fmla="*/ 2893218 h 4575969"/>
                  <a:gd name="connsiteX135" fmla="*/ 6905625 w 8971757"/>
                  <a:gd name="connsiteY135" fmla="*/ 2950369 h 4575969"/>
                  <a:gd name="connsiteX136" fmla="*/ 6981825 w 8971757"/>
                  <a:gd name="connsiteY136" fmla="*/ 2974181 h 4575969"/>
                  <a:gd name="connsiteX137" fmla="*/ 7186612 w 8971757"/>
                  <a:gd name="connsiteY137" fmla="*/ 2978944 h 4575969"/>
                  <a:gd name="connsiteX138" fmla="*/ 7362825 w 8971757"/>
                  <a:gd name="connsiteY138" fmla="*/ 2840831 h 4575969"/>
                  <a:gd name="connsiteX139" fmla="*/ 7419975 w 8971757"/>
                  <a:gd name="connsiteY139" fmla="*/ 2750343 h 4575969"/>
                  <a:gd name="connsiteX140" fmla="*/ 7446169 w 8971757"/>
                  <a:gd name="connsiteY140" fmla="*/ 2667000 h 4575969"/>
                  <a:gd name="connsiteX141" fmla="*/ 7577137 w 8971757"/>
                  <a:gd name="connsiteY141" fmla="*/ 2667000 h 4575969"/>
                  <a:gd name="connsiteX142" fmla="*/ 7750969 w 8971757"/>
                  <a:gd name="connsiteY142" fmla="*/ 2609849 h 4575969"/>
                  <a:gd name="connsiteX143" fmla="*/ 7810500 w 8971757"/>
                  <a:gd name="connsiteY143" fmla="*/ 2497931 h 4575969"/>
                  <a:gd name="connsiteX144" fmla="*/ 7874794 w 8971757"/>
                  <a:gd name="connsiteY144" fmla="*/ 2462212 h 4575969"/>
                  <a:gd name="connsiteX145" fmla="*/ 7853363 w 8971757"/>
                  <a:gd name="connsiteY145" fmla="*/ 2416969 h 4575969"/>
                  <a:gd name="connsiteX146" fmla="*/ 7931944 w 8971757"/>
                  <a:gd name="connsiteY146" fmla="*/ 2247899 h 4575969"/>
                  <a:gd name="connsiteX147" fmla="*/ 7986713 w 8971757"/>
                  <a:gd name="connsiteY147" fmla="*/ 2188369 h 4575969"/>
                  <a:gd name="connsiteX148" fmla="*/ 8024813 w 8971757"/>
                  <a:gd name="connsiteY148" fmla="*/ 2183606 h 4575969"/>
                  <a:gd name="connsiteX149" fmla="*/ 8070056 w 8971757"/>
                  <a:gd name="connsiteY149" fmla="*/ 2188369 h 4575969"/>
                  <a:gd name="connsiteX150" fmla="*/ 8134350 w 8971757"/>
                  <a:gd name="connsiteY150" fmla="*/ 2155031 h 4575969"/>
                  <a:gd name="connsiteX151" fmla="*/ 8143875 w 8971757"/>
                  <a:gd name="connsiteY151" fmla="*/ 2090737 h 4575969"/>
                  <a:gd name="connsiteX152" fmla="*/ 8184355 w 8971757"/>
                  <a:gd name="connsiteY152" fmla="*/ 2055019 h 4575969"/>
                  <a:gd name="connsiteX153" fmla="*/ 8243888 w 8971757"/>
                  <a:gd name="connsiteY153" fmla="*/ 2095499 h 4575969"/>
                  <a:gd name="connsiteX154" fmla="*/ 8270082 w 8971757"/>
                  <a:gd name="connsiteY154" fmla="*/ 2045493 h 4575969"/>
                  <a:gd name="connsiteX155" fmla="*/ 8365331 w 8971757"/>
                  <a:gd name="connsiteY155" fmla="*/ 1976437 h 4575969"/>
                  <a:gd name="connsiteX156" fmla="*/ 8427244 w 8971757"/>
                  <a:gd name="connsiteY156" fmla="*/ 1983581 h 4575969"/>
                  <a:gd name="connsiteX157" fmla="*/ 8477250 w 8971757"/>
                  <a:gd name="connsiteY157" fmla="*/ 1964531 h 4575969"/>
                  <a:gd name="connsiteX158" fmla="*/ 8515350 w 8971757"/>
                  <a:gd name="connsiteY158" fmla="*/ 1935956 h 4575969"/>
                  <a:gd name="connsiteX159" fmla="*/ 8548688 w 8971757"/>
                  <a:gd name="connsiteY159" fmla="*/ 1933575 h 4575969"/>
                  <a:gd name="connsiteX160" fmla="*/ 8584406 w 8971757"/>
                  <a:gd name="connsiteY160" fmla="*/ 1964531 h 4575969"/>
                  <a:gd name="connsiteX161" fmla="*/ 8643938 w 8971757"/>
                  <a:gd name="connsiteY161" fmla="*/ 1964531 h 4575969"/>
                  <a:gd name="connsiteX162" fmla="*/ 8682037 w 8971757"/>
                  <a:gd name="connsiteY162" fmla="*/ 1945481 h 4575969"/>
                  <a:gd name="connsiteX163" fmla="*/ 8765381 w 8971757"/>
                  <a:gd name="connsiteY163" fmla="*/ 1947863 h 4575969"/>
                  <a:gd name="connsiteX164" fmla="*/ 8796338 w 8971757"/>
                  <a:gd name="connsiteY164" fmla="*/ 1902619 h 4575969"/>
                  <a:gd name="connsiteX165" fmla="*/ 8801100 w 8971757"/>
                  <a:gd name="connsiteY165" fmla="*/ 1840706 h 4575969"/>
                  <a:gd name="connsiteX166" fmla="*/ 8751093 w 8971757"/>
                  <a:gd name="connsiteY166" fmla="*/ 1800225 h 4575969"/>
                  <a:gd name="connsiteX167" fmla="*/ 8734425 w 8971757"/>
                  <a:gd name="connsiteY167" fmla="*/ 1745456 h 4575969"/>
                  <a:gd name="connsiteX168" fmla="*/ 8643938 w 8971757"/>
                  <a:gd name="connsiteY168" fmla="*/ 1683544 h 4575969"/>
                  <a:gd name="connsiteX169" fmla="*/ 8603456 w 8971757"/>
                  <a:gd name="connsiteY169" fmla="*/ 1662112 h 4575969"/>
                  <a:gd name="connsiteX170" fmla="*/ 8565356 w 8971757"/>
                  <a:gd name="connsiteY170" fmla="*/ 1616869 h 4575969"/>
                  <a:gd name="connsiteX171" fmla="*/ 8534400 w 8971757"/>
                  <a:gd name="connsiteY171" fmla="*/ 1614487 h 4575969"/>
                  <a:gd name="connsiteX172" fmla="*/ 8517731 w 8971757"/>
                  <a:gd name="connsiteY172" fmla="*/ 1562100 h 4575969"/>
                  <a:gd name="connsiteX173" fmla="*/ 8477250 w 8971757"/>
                  <a:gd name="connsiteY173" fmla="*/ 1545431 h 4575969"/>
                  <a:gd name="connsiteX174" fmla="*/ 8477250 w 8971757"/>
                  <a:gd name="connsiteY174" fmla="*/ 1545431 h 4575969"/>
                  <a:gd name="connsiteX175" fmla="*/ 8436769 w 8971757"/>
                  <a:gd name="connsiteY175" fmla="*/ 1550194 h 4575969"/>
                  <a:gd name="connsiteX176" fmla="*/ 8351043 w 8971757"/>
                  <a:gd name="connsiteY176" fmla="*/ 1476375 h 4575969"/>
                  <a:gd name="connsiteX177" fmla="*/ 8170069 w 8971757"/>
                  <a:gd name="connsiteY177" fmla="*/ 1476374 h 4575969"/>
                  <a:gd name="connsiteX178" fmla="*/ 8117681 w 8971757"/>
                  <a:gd name="connsiteY178" fmla="*/ 1514475 h 4575969"/>
                  <a:gd name="connsiteX179" fmla="*/ 8067675 w 8971757"/>
                  <a:gd name="connsiteY179" fmla="*/ 1593056 h 4575969"/>
                  <a:gd name="connsiteX180" fmla="*/ 8084344 w 8971757"/>
                  <a:gd name="connsiteY180" fmla="*/ 1614487 h 4575969"/>
                  <a:gd name="connsiteX181" fmla="*/ 8039100 w 8971757"/>
                  <a:gd name="connsiteY181" fmla="*/ 1664493 h 4575969"/>
                  <a:gd name="connsiteX182" fmla="*/ 7889081 w 8971757"/>
                  <a:gd name="connsiteY182" fmla="*/ 1588293 h 4575969"/>
                  <a:gd name="connsiteX183" fmla="*/ 7798594 w 8971757"/>
                  <a:gd name="connsiteY183" fmla="*/ 1624012 h 4575969"/>
                  <a:gd name="connsiteX184" fmla="*/ 7724775 w 8971757"/>
                  <a:gd name="connsiteY184" fmla="*/ 1621631 h 4575969"/>
                  <a:gd name="connsiteX185" fmla="*/ 7667625 w 8971757"/>
                  <a:gd name="connsiteY185" fmla="*/ 1716881 h 4575969"/>
                  <a:gd name="connsiteX186" fmla="*/ 7529513 w 8971757"/>
                  <a:gd name="connsiteY18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5548313 w 8971757"/>
                  <a:gd name="connsiteY33" fmla="*/ 1190624 h 4575969"/>
                  <a:gd name="connsiteX34" fmla="*/ 8412956 w 8971757"/>
                  <a:gd name="connsiteY34" fmla="*/ 23812 h 4575969"/>
                  <a:gd name="connsiteX35" fmla="*/ 8949531 w 8971757"/>
                  <a:gd name="connsiteY35" fmla="*/ 0 h 4575969"/>
                  <a:gd name="connsiteX36" fmla="*/ 8971757 w 8971757"/>
                  <a:gd name="connsiteY36" fmla="*/ 4575969 h 4575969"/>
                  <a:gd name="connsiteX37" fmla="*/ 2381 w 8971757"/>
                  <a:gd name="connsiteY37" fmla="*/ 4547392 h 4575969"/>
                  <a:gd name="connsiteX38" fmla="*/ 0 w 8971757"/>
                  <a:gd name="connsiteY38" fmla="*/ 845344 h 4575969"/>
                  <a:gd name="connsiteX39" fmla="*/ 76200 w 8971757"/>
                  <a:gd name="connsiteY39" fmla="*/ 828675 h 4575969"/>
                  <a:gd name="connsiteX40" fmla="*/ 119063 w 8971757"/>
                  <a:gd name="connsiteY40" fmla="*/ 857250 h 4575969"/>
                  <a:gd name="connsiteX41" fmla="*/ 215900 w 8971757"/>
                  <a:gd name="connsiteY41" fmla="*/ 848519 h 4575969"/>
                  <a:gd name="connsiteX42" fmla="*/ 261938 w 8971757"/>
                  <a:gd name="connsiteY42" fmla="*/ 876299 h 4575969"/>
                  <a:gd name="connsiteX43" fmla="*/ 228600 w 8971757"/>
                  <a:gd name="connsiteY43" fmla="*/ 904875 h 4575969"/>
                  <a:gd name="connsiteX44" fmla="*/ 233363 w 8971757"/>
                  <a:gd name="connsiteY44" fmla="*/ 947737 h 4575969"/>
                  <a:gd name="connsiteX45" fmla="*/ 200025 w 8971757"/>
                  <a:gd name="connsiteY45" fmla="*/ 952500 h 4575969"/>
                  <a:gd name="connsiteX46" fmla="*/ 204788 w 8971757"/>
                  <a:gd name="connsiteY46" fmla="*/ 976312 h 4575969"/>
                  <a:gd name="connsiteX47" fmla="*/ 261937 w 8971757"/>
                  <a:gd name="connsiteY47" fmla="*/ 1050131 h 4575969"/>
                  <a:gd name="connsiteX48" fmla="*/ 223838 w 8971757"/>
                  <a:gd name="connsiteY48" fmla="*/ 1097756 h 4575969"/>
                  <a:gd name="connsiteX49" fmla="*/ 278606 w 8971757"/>
                  <a:gd name="connsiteY49" fmla="*/ 1133475 h 4575969"/>
                  <a:gd name="connsiteX50" fmla="*/ 369094 w 8971757"/>
                  <a:gd name="connsiteY50" fmla="*/ 1221581 h 4575969"/>
                  <a:gd name="connsiteX51" fmla="*/ 371475 w 8971757"/>
                  <a:gd name="connsiteY51" fmla="*/ 1281112 h 4575969"/>
                  <a:gd name="connsiteX52" fmla="*/ 507206 w 8971757"/>
                  <a:gd name="connsiteY52" fmla="*/ 1414463 h 4575969"/>
                  <a:gd name="connsiteX53" fmla="*/ 561975 w 8971757"/>
                  <a:gd name="connsiteY53" fmla="*/ 1390650 h 4575969"/>
                  <a:gd name="connsiteX54" fmla="*/ 600075 w 8971757"/>
                  <a:gd name="connsiteY54" fmla="*/ 1416843 h 4575969"/>
                  <a:gd name="connsiteX55" fmla="*/ 614363 w 8971757"/>
                  <a:gd name="connsiteY55" fmla="*/ 1466849 h 4575969"/>
                  <a:gd name="connsiteX56" fmla="*/ 657225 w 8971757"/>
                  <a:gd name="connsiteY56" fmla="*/ 1502569 h 4575969"/>
                  <a:gd name="connsiteX57" fmla="*/ 697706 w 8971757"/>
                  <a:gd name="connsiteY57" fmla="*/ 1490662 h 4575969"/>
                  <a:gd name="connsiteX58" fmla="*/ 716756 w 8971757"/>
                  <a:gd name="connsiteY58" fmla="*/ 1547812 h 4575969"/>
                  <a:gd name="connsiteX59" fmla="*/ 764381 w 8971757"/>
                  <a:gd name="connsiteY59" fmla="*/ 1590675 h 4575969"/>
                  <a:gd name="connsiteX60" fmla="*/ 788194 w 8971757"/>
                  <a:gd name="connsiteY60" fmla="*/ 1693069 h 4575969"/>
                  <a:gd name="connsiteX61" fmla="*/ 785813 w 8971757"/>
                  <a:gd name="connsiteY61" fmla="*/ 1740694 h 4575969"/>
                  <a:gd name="connsiteX62" fmla="*/ 821531 w 8971757"/>
                  <a:gd name="connsiteY62" fmla="*/ 1840706 h 4575969"/>
                  <a:gd name="connsiteX63" fmla="*/ 866775 w 8971757"/>
                  <a:gd name="connsiteY63" fmla="*/ 1897856 h 4575969"/>
                  <a:gd name="connsiteX64" fmla="*/ 883443 w 8971757"/>
                  <a:gd name="connsiteY64" fmla="*/ 2055018 h 4575969"/>
                  <a:gd name="connsiteX65" fmla="*/ 850106 w 8971757"/>
                  <a:gd name="connsiteY65" fmla="*/ 2116931 h 4575969"/>
                  <a:gd name="connsiteX66" fmla="*/ 819150 w 8971757"/>
                  <a:gd name="connsiteY66" fmla="*/ 2193131 h 4575969"/>
                  <a:gd name="connsiteX67" fmla="*/ 833438 w 8971757"/>
                  <a:gd name="connsiteY67" fmla="*/ 2250281 h 4575969"/>
                  <a:gd name="connsiteX68" fmla="*/ 735806 w 8971757"/>
                  <a:gd name="connsiteY68" fmla="*/ 2357438 h 4575969"/>
                  <a:gd name="connsiteX69" fmla="*/ 692944 w 8971757"/>
                  <a:gd name="connsiteY69" fmla="*/ 2471737 h 4575969"/>
                  <a:gd name="connsiteX70" fmla="*/ 726281 w 8971757"/>
                  <a:gd name="connsiteY70" fmla="*/ 2512219 h 4575969"/>
                  <a:gd name="connsiteX71" fmla="*/ 709613 w 8971757"/>
                  <a:gd name="connsiteY71" fmla="*/ 2540794 h 4575969"/>
                  <a:gd name="connsiteX72" fmla="*/ 740569 w 8971757"/>
                  <a:gd name="connsiteY72" fmla="*/ 2597944 h 4575969"/>
                  <a:gd name="connsiteX73" fmla="*/ 769144 w 8971757"/>
                  <a:gd name="connsiteY73" fmla="*/ 2597944 h 4575969"/>
                  <a:gd name="connsiteX74" fmla="*/ 931069 w 8971757"/>
                  <a:gd name="connsiteY74" fmla="*/ 2700337 h 4575969"/>
                  <a:gd name="connsiteX75" fmla="*/ 1035844 w 8971757"/>
                  <a:gd name="connsiteY75" fmla="*/ 2697956 h 4575969"/>
                  <a:gd name="connsiteX76" fmla="*/ 1114425 w 8971757"/>
                  <a:gd name="connsiteY76" fmla="*/ 2752725 h 4575969"/>
                  <a:gd name="connsiteX77" fmla="*/ 1245393 w 8971757"/>
                  <a:gd name="connsiteY77" fmla="*/ 2755106 h 4575969"/>
                  <a:gd name="connsiteX78" fmla="*/ 1435893 w 8971757"/>
                  <a:gd name="connsiteY78" fmla="*/ 2824162 h 4575969"/>
                  <a:gd name="connsiteX79" fmla="*/ 1638300 w 8971757"/>
                  <a:gd name="connsiteY79" fmla="*/ 2974181 h 4575969"/>
                  <a:gd name="connsiteX80" fmla="*/ 1671637 w 8971757"/>
                  <a:gd name="connsiteY80" fmla="*/ 3040856 h 4575969"/>
                  <a:gd name="connsiteX81" fmla="*/ 1838325 w 8971757"/>
                  <a:gd name="connsiteY81" fmla="*/ 3167062 h 4575969"/>
                  <a:gd name="connsiteX82" fmla="*/ 1909763 w 8971757"/>
                  <a:gd name="connsiteY82" fmla="*/ 3162300 h 4575969"/>
                  <a:gd name="connsiteX83" fmla="*/ 1945482 w 8971757"/>
                  <a:gd name="connsiteY83" fmla="*/ 3186112 h 4575969"/>
                  <a:gd name="connsiteX84" fmla="*/ 1916906 w 8971757"/>
                  <a:gd name="connsiteY84" fmla="*/ 3226594 h 4575969"/>
                  <a:gd name="connsiteX85" fmla="*/ 1924050 w 8971757"/>
                  <a:gd name="connsiteY85" fmla="*/ 3278981 h 4575969"/>
                  <a:gd name="connsiteX86" fmla="*/ 1976438 w 8971757"/>
                  <a:gd name="connsiteY86" fmla="*/ 3305175 h 4575969"/>
                  <a:gd name="connsiteX87" fmla="*/ 2038350 w 8971757"/>
                  <a:gd name="connsiteY87" fmla="*/ 3529013 h 4575969"/>
                  <a:gd name="connsiteX88" fmla="*/ 2028825 w 8971757"/>
                  <a:gd name="connsiteY88" fmla="*/ 3593306 h 4575969"/>
                  <a:gd name="connsiteX89" fmla="*/ 2164556 w 8971757"/>
                  <a:gd name="connsiteY89" fmla="*/ 3759994 h 4575969"/>
                  <a:gd name="connsiteX90" fmla="*/ 2183606 w 8971757"/>
                  <a:gd name="connsiteY90" fmla="*/ 3810000 h 4575969"/>
                  <a:gd name="connsiteX91" fmla="*/ 2157413 w 8971757"/>
                  <a:gd name="connsiteY91" fmla="*/ 3829050 h 4575969"/>
                  <a:gd name="connsiteX92" fmla="*/ 2259806 w 8971757"/>
                  <a:gd name="connsiteY92" fmla="*/ 3838575 h 4575969"/>
                  <a:gd name="connsiteX93" fmla="*/ 2371725 w 8971757"/>
                  <a:gd name="connsiteY93" fmla="*/ 3826669 h 4575969"/>
                  <a:gd name="connsiteX94" fmla="*/ 2650331 w 8971757"/>
                  <a:gd name="connsiteY94" fmla="*/ 3910012 h 4575969"/>
                  <a:gd name="connsiteX95" fmla="*/ 3057525 w 8971757"/>
                  <a:gd name="connsiteY95" fmla="*/ 3990975 h 4575969"/>
                  <a:gd name="connsiteX96" fmla="*/ 3255169 w 8971757"/>
                  <a:gd name="connsiteY96" fmla="*/ 3960018 h 4575969"/>
                  <a:gd name="connsiteX97" fmla="*/ 3300413 w 8971757"/>
                  <a:gd name="connsiteY97" fmla="*/ 3971924 h 4575969"/>
                  <a:gd name="connsiteX98" fmla="*/ 3355181 w 8971757"/>
                  <a:gd name="connsiteY98" fmla="*/ 3948113 h 4575969"/>
                  <a:gd name="connsiteX99" fmla="*/ 3748087 w 8971757"/>
                  <a:gd name="connsiteY99" fmla="*/ 4038600 h 4575969"/>
                  <a:gd name="connsiteX100" fmla="*/ 3831432 w 8971757"/>
                  <a:gd name="connsiteY100" fmla="*/ 4136231 h 4575969"/>
                  <a:gd name="connsiteX101" fmla="*/ 3950494 w 8971757"/>
                  <a:gd name="connsiteY101" fmla="*/ 4207669 h 4575969"/>
                  <a:gd name="connsiteX102" fmla="*/ 4010025 w 8971757"/>
                  <a:gd name="connsiteY102" fmla="*/ 4191000 h 4575969"/>
                  <a:gd name="connsiteX103" fmla="*/ 4360068 w 8971757"/>
                  <a:gd name="connsiteY103" fmla="*/ 4364831 h 4575969"/>
                  <a:gd name="connsiteX104" fmla="*/ 4586288 w 8971757"/>
                  <a:gd name="connsiteY104" fmla="*/ 4336256 h 4575969"/>
                  <a:gd name="connsiteX105" fmla="*/ 4595813 w 8971757"/>
                  <a:gd name="connsiteY105" fmla="*/ 4414837 h 4575969"/>
                  <a:gd name="connsiteX106" fmla="*/ 4681538 w 8971757"/>
                  <a:gd name="connsiteY106" fmla="*/ 4410074 h 4575969"/>
                  <a:gd name="connsiteX107" fmla="*/ 4760119 w 8971757"/>
                  <a:gd name="connsiteY107" fmla="*/ 4441031 h 4575969"/>
                  <a:gd name="connsiteX108" fmla="*/ 4802981 w 8971757"/>
                  <a:gd name="connsiteY108" fmla="*/ 4381500 h 4575969"/>
                  <a:gd name="connsiteX109" fmla="*/ 5474494 w 8971757"/>
                  <a:gd name="connsiteY109" fmla="*/ 4062412 h 4575969"/>
                  <a:gd name="connsiteX110" fmla="*/ 5562600 w 8971757"/>
                  <a:gd name="connsiteY110" fmla="*/ 4090988 h 4575969"/>
                  <a:gd name="connsiteX111" fmla="*/ 5693569 w 8971757"/>
                  <a:gd name="connsiteY111" fmla="*/ 4062412 h 4575969"/>
                  <a:gd name="connsiteX112" fmla="*/ 5872162 w 8971757"/>
                  <a:gd name="connsiteY112" fmla="*/ 4079081 h 4575969"/>
                  <a:gd name="connsiteX113" fmla="*/ 5929313 w 8971757"/>
                  <a:gd name="connsiteY113" fmla="*/ 4052888 h 4575969"/>
                  <a:gd name="connsiteX114" fmla="*/ 6062662 w 8971757"/>
                  <a:gd name="connsiteY114" fmla="*/ 4050506 h 4575969"/>
                  <a:gd name="connsiteX115" fmla="*/ 6196012 w 8971757"/>
                  <a:gd name="connsiteY115" fmla="*/ 3952875 h 4575969"/>
                  <a:gd name="connsiteX116" fmla="*/ 6262687 w 8971757"/>
                  <a:gd name="connsiteY116" fmla="*/ 3945731 h 4575969"/>
                  <a:gd name="connsiteX117" fmla="*/ 6360319 w 8971757"/>
                  <a:gd name="connsiteY117" fmla="*/ 3871912 h 4575969"/>
                  <a:gd name="connsiteX118" fmla="*/ 6434138 w 8971757"/>
                  <a:gd name="connsiteY118" fmla="*/ 3802856 h 4575969"/>
                  <a:gd name="connsiteX119" fmla="*/ 6443663 w 8971757"/>
                  <a:gd name="connsiteY119" fmla="*/ 3740944 h 4575969"/>
                  <a:gd name="connsiteX120" fmla="*/ 6477000 w 8971757"/>
                  <a:gd name="connsiteY120" fmla="*/ 3671887 h 4575969"/>
                  <a:gd name="connsiteX121" fmla="*/ 6629400 w 8971757"/>
                  <a:gd name="connsiteY121" fmla="*/ 3564731 h 4575969"/>
                  <a:gd name="connsiteX122" fmla="*/ 6662738 w 8971757"/>
                  <a:gd name="connsiteY122" fmla="*/ 3569494 h 4575969"/>
                  <a:gd name="connsiteX123" fmla="*/ 6715125 w 8971757"/>
                  <a:gd name="connsiteY123" fmla="*/ 3490912 h 4575969"/>
                  <a:gd name="connsiteX124" fmla="*/ 6762750 w 8971757"/>
                  <a:gd name="connsiteY124" fmla="*/ 3452812 h 4575969"/>
                  <a:gd name="connsiteX125" fmla="*/ 6748463 w 8971757"/>
                  <a:gd name="connsiteY125" fmla="*/ 3383756 h 4575969"/>
                  <a:gd name="connsiteX126" fmla="*/ 6698456 w 8971757"/>
                  <a:gd name="connsiteY126" fmla="*/ 3352799 h 4575969"/>
                  <a:gd name="connsiteX127" fmla="*/ 6638925 w 8971757"/>
                  <a:gd name="connsiteY127" fmla="*/ 3298031 h 4575969"/>
                  <a:gd name="connsiteX128" fmla="*/ 6619875 w 8971757"/>
                  <a:gd name="connsiteY128" fmla="*/ 3240881 h 4575969"/>
                  <a:gd name="connsiteX129" fmla="*/ 6584156 w 8971757"/>
                  <a:gd name="connsiteY129" fmla="*/ 3207544 h 4575969"/>
                  <a:gd name="connsiteX130" fmla="*/ 6610350 w 8971757"/>
                  <a:gd name="connsiteY130" fmla="*/ 3155156 h 4575969"/>
                  <a:gd name="connsiteX131" fmla="*/ 6650831 w 8971757"/>
                  <a:gd name="connsiteY131" fmla="*/ 2976562 h 4575969"/>
                  <a:gd name="connsiteX132" fmla="*/ 6691313 w 8971757"/>
                  <a:gd name="connsiteY132" fmla="*/ 2909887 h 4575969"/>
                  <a:gd name="connsiteX133" fmla="*/ 6836569 w 8971757"/>
                  <a:gd name="connsiteY133" fmla="*/ 2893218 h 4575969"/>
                  <a:gd name="connsiteX134" fmla="*/ 6905625 w 8971757"/>
                  <a:gd name="connsiteY134" fmla="*/ 2950369 h 4575969"/>
                  <a:gd name="connsiteX135" fmla="*/ 6981825 w 8971757"/>
                  <a:gd name="connsiteY135" fmla="*/ 2974181 h 4575969"/>
                  <a:gd name="connsiteX136" fmla="*/ 7186612 w 8971757"/>
                  <a:gd name="connsiteY136" fmla="*/ 2978944 h 4575969"/>
                  <a:gd name="connsiteX137" fmla="*/ 7362825 w 8971757"/>
                  <a:gd name="connsiteY137" fmla="*/ 2840831 h 4575969"/>
                  <a:gd name="connsiteX138" fmla="*/ 7419975 w 8971757"/>
                  <a:gd name="connsiteY138" fmla="*/ 2750343 h 4575969"/>
                  <a:gd name="connsiteX139" fmla="*/ 7446169 w 8971757"/>
                  <a:gd name="connsiteY139" fmla="*/ 2667000 h 4575969"/>
                  <a:gd name="connsiteX140" fmla="*/ 7577137 w 8971757"/>
                  <a:gd name="connsiteY140" fmla="*/ 2667000 h 4575969"/>
                  <a:gd name="connsiteX141" fmla="*/ 7750969 w 8971757"/>
                  <a:gd name="connsiteY141" fmla="*/ 2609849 h 4575969"/>
                  <a:gd name="connsiteX142" fmla="*/ 7810500 w 8971757"/>
                  <a:gd name="connsiteY142" fmla="*/ 2497931 h 4575969"/>
                  <a:gd name="connsiteX143" fmla="*/ 7874794 w 8971757"/>
                  <a:gd name="connsiteY143" fmla="*/ 2462212 h 4575969"/>
                  <a:gd name="connsiteX144" fmla="*/ 7853363 w 8971757"/>
                  <a:gd name="connsiteY144" fmla="*/ 2416969 h 4575969"/>
                  <a:gd name="connsiteX145" fmla="*/ 7931944 w 8971757"/>
                  <a:gd name="connsiteY145" fmla="*/ 2247899 h 4575969"/>
                  <a:gd name="connsiteX146" fmla="*/ 7986713 w 8971757"/>
                  <a:gd name="connsiteY146" fmla="*/ 2188369 h 4575969"/>
                  <a:gd name="connsiteX147" fmla="*/ 8024813 w 8971757"/>
                  <a:gd name="connsiteY147" fmla="*/ 2183606 h 4575969"/>
                  <a:gd name="connsiteX148" fmla="*/ 8070056 w 8971757"/>
                  <a:gd name="connsiteY148" fmla="*/ 2188369 h 4575969"/>
                  <a:gd name="connsiteX149" fmla="*/ 8134350 w 8971757"/>
                  <a:gd name="connsiteY149" fmla="*/ 2155031 h 4575969"/>
                  <a:gd name="connsiteX150" fmla="*/ 8143875 w 8971757"/>
                  <a:gd name="connsiteY150" fmla="*/ 2090737 h 4575969"/>
                  <a:gd name="connsiteX151" fmla="*/ 8184355 w 8971757"/>
                  <a:gd name="connsiteY151" fmla="*/ 2055019 h 4575969"/>
                  <a:gd name="connsiteX152" fmla="*/ 8243888 w 8971757"/>
                  <a:gd name="connsiteY152" fmla="*/ 2095499 h 4575969"/>
                  <a:gd name="connsiteX153" fmla="*/ 8270082 w 8971757"/>
                  <a:gd name="connsiteY153" fmla="*/ 2045493 h 4575969"/>
                  <a:gd name="connsiteX154" fmla="*/ 8365331 w 8971757"/>
                  <a:gd name="connsiteY154" fmla="*/ 1976437 h 4575969"/>
                  <a:gd name="connsiteX155" fmla="*/ 8427244 w 8971757"/>
                  <a:gd name="connsiteY155" fmla="*/ 1983581 h 4575969"/>
                  <a:gd name="connsiteX156" fmla="*/ 8477250 w 8971757"/>
                  <a:gd name="connsiteY156" fmla="*/ 1964531 h 4575969"/>
                  <a:gd name="connsiteX157" fmla="*/ 8515350 w 8971757"/>
                  <a:gd name="connsiteY157" fmla="*/ 1935956 h 4575969"/>
                  <a:gd name="connsiteX158" fmla="*/ 8548688 w 8971757"/>
                  <a:gd name="connsiteY158" fmla="*/ 1933575 h 4575969"/>
                  <a:gd name="connsiteX159" fmla="*/ 8584406 w 8971757"/>
                  <a:gd name="connsiteY159" fmla="*/ 1964531 h 4575969"/>
                  <a:gd name="connsiteX160" fmla="*/ 8643938 w 8971757"/>
                  <a:gd name="connsiteY160" fmla="*/ 1964531 h 4575969"/>
                  <a:gd name="connsiteX161" fmla="*/ 8682037 w 8971757"/>
                  <a:gd name="connsiteY161" fmla="*/ 1945481 h 4575969"/>
                  <a:gd name="connsiteX162" fmla="*/ 8765381 w 8971757"/>
                  <a:gd name="connsiteY162" fmla="*/ 1947863 h 4575969"/>
                  <a:gd name="connsiteX163" fmla="*/ 8796338 w 8971757"/>
                  <a:gd name="connsiteY163" fmla="*/ 1902619 h 4575969"/>
                  <a:gd name="connsiteX164" fmla="*/ 8801100 w 8971757"/>
                  <a:gd name="connsiteY164" fmla="*/ 1840706 h 4575969"/>
                  <a:gd name="connsiteX165" fmla="*/ 8751093 w 8971757"/>
                  <a:gd name="connsiteY165" fmla="*/ 1800225 h 4575969"/>
                  <a:gd name="connsiteX166" fmla="*/ 8734425 w 8971757"/>
                  <a:gd name="connsiteY166" fmla="*/ 1745456 h 4575969"/>
                  <a:gd name="connsiteX167" fmla="*/ 8643938 w 8971757"/>
                  <a:gd name="connsiteY167" fmla="*/ 1683544 h 4575969"/>
                  <a:gd name="connsiteX168" fmla="*/ 8603456 w 8971757"/>
                  <a:gd name="connsiteY168" fmla="*/ 1662112 h 4575969"/>
                  <a:gd name="connsiteX169" fmla="*/ 8565356 w 8971757"/>
                  <a:gd name="connsiteY169" fmla="*/ 1616869 h 4575969"/>
                  <a:gd name="connsiteX170" fmla="*/ 8534400 w 8971757"/>
                  <a:gd name="connsiteY170" fmla="*/ 1614487 h 4575969"/>
                  <a:gd name="connsiteX171" fmla="*/ 8517731 w 8971757"/>
                  <a:gd name="connsiteY171" fmla="*/ 1562100 h 4575969"/>
                  <a:gd name="connsiteX172" fmla="*/ 8477250 w 8971757"/>
                  <a:gd name="connsiteY172" fmla="*/ 1545431 h 4575969"/>
                  <a:gd name="connsiteX173" fmla="*/ 8477250 w 8971757"/>
                  <a:gd name="connsiteY173" fmla="*/ 1545431 h 4575969"/>
                  <a:gd name="connsiteX174" fmla="*/ 8436769 w 8971757"/>
                  <a:gd name="connsiteY174" fmla="*/ 1550194 h 4575969"/>
                  <a:gd name="connsiteX175" fmla="*/ 8351043 w 8971757"/>
                  <a:gd name="connsiteY175" fmla="*/ 1476375 h 4575969"/>
                  <a:gd name="connsiteX176" fmla="*/ 8170069 w 8971757"/>
                  <a:gd name="connsiteY176" fmla="*/ 1476374 h 4575969"/>
                  <a:gd name="connsiteX177" fmla="*/ 8117681 w 8971757"/>
                  <a:gd name="connsiteY177" fmla="*/ 1514475 h 4575969"/>
                  <a:gd name="connsiteX178" fmla="*/ 8067675 w 8971757"/>
                  <a:gd name="connsiteY178" fmla="*/ 1593056 h 4575969"/>
                  <a:gd name="connsiteX179" fmla="*/ 8084344 w 8971757"/>
                  <a:gd name="connsiteY179" fmla="*/ 1614487 h 4575969"/>
                  <a:gd name="connsiteX180" fmla="*/ 8039100 w 8971757"/>
                  <a:gd name="connsiteY180" fmla="*/ 1664493 h 4575969"/>
                  <a:gd name="connsiteX181" fmla="*/ 7889081 w 8971757"/>
                  <a:gd name="connsiteY181" fmla="*/ 1588293 h 4575969"/>
                  <a:gd name="connsiteX182" fmla="*/ 7798594 w 8971757"/>
                  <a:gd name="connsiteY182" fmla="*/ 1624012 h 4575969"/>
                  <a:gd name="connsiteX183" fmla="*/ 7724775 w 8971757"/>
                  <a:gd name="connsiteY183" fmla="*/ 1621631 h 4575969"/>
                  <a:gd name="connsiteX184" fmla="*/ 7667625 w 8971757"/>
                  <a:gd name="connsiteY184" fmla="*/ 1716881 h 4575969"/>
                  <a:gd name="connsiteX185" fmla="*/ 7529513 w 8971757"/>
                  <a:gd name="connsiteY18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5636419 w 8971757"/>
                  <a:gd name="connsiteY32" fmla="*/ 1273969 h 4575969"/>
                  <a:gd name="connsiteX33" fmla="*/ 8412956 w 8971757"/>
                  <a:gd name="connsiteY33" fmla="*/ 23812 h 4575969"/>
                  <a:gd name="connsiteX34" fmla="*/ 8949531 w 8971757"/>
                  <a:gd name="connsiteY34" fmla="*/ 0 h 4575969"/>
                  <a:gd name="connsiteX35" fmla="*/ 8971757 w 8971757"/>
                  <a:gd name="connsiteY35" fmla="*/ 4575969 h 4575969"/>
                  <a:gd name="connsiteX36" fmla="*/ 2381 w 8971757"/>
                  <a:gd name="connsiteY36" fmla="*/ 4547392 h 4575969"/>
                  <a:gd name="connsiteX37" fmla="*/ 0 w 8971757"/>
                  <a:gd name="connsiteY37" fmla="*/ 845344 h 4575969"/>
                  <a:gd name="connsiteX38" fmla="*/ 76200 w 8971757"/>
                  <a:gd name="connsiteY38" fmla="*/ 828675 h 4575969"/>
                  <a:gd name="connsiteX39" fmla="*/ 119063 w 8971757"/>
                  <a:gd name="connsiteY39" fmla="*/ 857250 h 4575969"/>
                  <a:gd name="connsiteX40" fmla="*/ 215900 w 8971757"/>
                  <a:gd name="connsiteY40" fmla="*/ 848519 h 4575969"/>
                  <a:gd name="connsiteX41" fmla="*/ 261938 w 8971757"/>
                  <a:gd name="connsiteY41" fmla="*/ 876299 h 4575969"/>
                  <a:gd name="connsiteX42" fmla="*/ 228600 w 8971757"/>
                  <a:gd name="connsiteY42" fmla="*/ 904875 h 4575969"/>
                  <a:gd name="connsiteX43" fmla="*/ 233363 w 8971757"/>
                  <a:gd name="connsiteY43" fmla="*/ 947737 h 4575969"/>
                  <a:gd name="connsiteX44" fmla="*/ 200025 w 8971757"/>
                  <a:gd name="connsiteY44" fmla="*/ 952500 h 4575969"/>
                  <a:gd name="connsiteX45" fmla="*/ 204788 w 8971757"/>
                  <a:gd name="connsiteY45" fmla="*/ 976312 h 4575969"/>
                  <a:gd name="connsiteX46" fmla="*/ 261937 w 8971757"/>
                  <a:gd name="connsiteY46" fmla="*/ 1050131 h 4575969"/>
                  <a:gd name="connsiteX47" fmla="*/ 223838 w 8971757"/>
                  <a:gd name="connsiteY47" fmla="*/ 1097756 h 4575969"/>
                  <a:gd name="connsiteX48" fmla="*/ 278606 w 8971757"/>
                  <a:gd name="connsiteY48" fmla="*/ 1133475 h 4575969"/>
                  <a:gd name="connsiteX49" fmla="*/ 369094 w 8971757"/>
                  <a:gd name="connsiteY49" fmla="*/ 1221581 h 4575969"/>
                  <a:gd name="connsiteX50" fmla="*/ 371475 w 8971757"/>
                  <a:gd name="connsiteY50" fmla="*/ 1281112 h 4575969"/>
                  <a:gd name="connsiteX51" fmla="*/ 507206 w 8971757"/>
                  <a:gd name="connsiteY51" fmla="*/ 1414463 h 4575969"/>
                  <a:gd name="connsiteX52" fmla="*/ 561975 w 8971757"/>
                  <a:gd name="connsiteY52" fmla="*/ 1390650 h 4575969"/>
                  <a:gd name="connsiteX53" fmla="*/ 600075 w 8971757"/>
                  <a:gd name="connsiteY53" fmla="*/ 1416843 h 4575969"/>
                  <a:gd name="connsiteX54" fmla="*/ 614363 w 8971757"/>
                  <a:gd name="connsiteY54" fmla="*/ 1466849 h 4575969"/>
                  <a:gd name="connsiteX55" fmla="*/ 657225 w 8971757"/>
                  <a:gd name="connsiteY55" fmla="*/ 1502569 h 4575969"/>
                  <a:gd name="connsiteX56" fmla="*/ 697706 w 8971757"/>
                  <a:gd name="connsiteY56" fmla="*/ 1490662 h 4575969"/>
                  <a:gd name="connsiteX57" fmla="*/ 716756 w 8971757"/>
                  <a:gd name="connsiteY57" fmla="*/ 1547812 h 4575969"/>
                  <a:gd name="connsiteX58" fmla="*/ 764381 w 8971757"/>
                  <a:gd name="connsiteY58" fmla="*/ 1590675 h 4575969"/>
                  <a:gd name="connsiteX59" fmla="*/ 788194 w 8971757"/>
                  <a:gd name="connsiteY59" fmla="*/ 1693069 h 4575969"/>
                  <a:gd name="connsiteX60" fmla="*/ 785813 w 8971757"/>
                  <a:gd name="connsiteY60" fmla="*/ 1740694 h 4575969"/>
                  <a:gd name="connsiteX61" fmla="*/ 821531 w 8971757"/>
                  <a:gd name="connsiteY61" fmla="*/ 1840706 h 4575969"/>
                  <a:gd name="connsiteX62" fmla="*/ 866775 w 8971757"/>
                  <a:gd name="connsiteY62" fmla="*/ 1897856 h 4575969"/>
                  <a:gd name="connsiteX63" fmla="*/ 883443 w 8971757"/>
                  <a:gd name="connsiteY63" fmla="*/ 2055018 h 4575969"/>
                  <a:gd name="connsiteX64" fmla="*/ 850106 w 8971757"/>
                  <a:gd name="connsiteY64" fmla="*/ 2116931 h 4575969"/>
                  <a:gd name="connsiteX65" fmla="*/ 819150 w 8971757"/>
                  <a:gd name="connsiteY65" fmla="*/ 2193131 h 4575969"/>
                  <a:gd name="connsiteX66" fmla="*/ 833438 w 8971757"/>
                  <a:gd name="connsiteY66" fmla="*/ 2250281 h 4575969"/>
                  <a:gd name="connsiteX67" fmla="*/ 735806 w 8971757"/>
                  <a:gd name="connsiteY67" fmla="*/ 2357438 h 4575969"/>
                  <a:gd name="connsiteX68" fmla="*/ 692944 w 8971757"/>
                  <a:gd name="connsiteY68" fmla="*/ 2471737 h 4575969"/>
                  <a:gd name="connsiteX69" fmla="*/ 726281 w 8971757"/>
                  <a:gd name="connsiteY69" fmla="*/ 2512219 h 4575969"/>
                  <a:gd name="connsiteX70" fmla="*/ 709613 w 8971757"/>
                  <a:gd name="connsiteY70" fmla="*/ 2540794 h 4575969"/>
                  <a:gd name="connsiteX71" fmla="*/ 740569 w 8971757"/>
                  <a:gd name="connsiteY71" fmla="*/ 2597944 h 4575969"/>
                  <a:gd name="connsiteX72" fmla="*/ 769144 w 8971757"/>
                  <a:gd name="connsiteY72" fmla="*/ 2597944 h 4575969"/>
                  <a:gd name="connsiteX73" fmla="*/ 931069 w 8971757"/>
                  <a:gd name="connsiteY73" fmla="*/ 2700337 h 4575969"/>
                  <a:gd name="connsiteX74" fmla="*/ 1035844 w 8971757"/>
                  <a:gd name="connsiteY74" fmla="*/ 2697956 h 4575969"/>
                  <a:gd name="connsiteX75" fmla="*/ 1114425 w 8971757"/>
                  <a:gd name="connsiteY75" fmla="*/ 2752725 h 4575969"/>
                  <a:gd name="connsiteX76" fmla="*/ 1245393 w 8971757"/>
                  <a:gd name="connsiteY76" fmla="*/ 2755106 h 4575969"/>
                  <a:gd name="connsiteX77" fmla="*/ 1435893 w 8971757"/>
                  <a:gd name="connsiteY77" fmla="*/ 2824162 h 4575969"/>
                  <a:gd name="connsiteX78" fmla="*/ 1638300 w 8971757"/>
                  <a:gd name="connsiteY78" fmla="*/ 2974181 h 4575969"/>
                  <a:gd name="connsiteX79" fmla="*/ 1671637 w 8971757"/>
                  <a:gd name="connsiteY79" fmla="*/ 3040856 h 4575969"/>
                  <a:gd name="connsiteX80" fmla="*/ 1838325 w 8971757"/>
                  <a:gd name="connsiteY80" fmla="*/ 3167062 h 4575969"/>
                  <a:gd name="connsiteX81" fmla="*/ 1909763 w 8971757"/>
                  <a:gd name="connsiteY81" fmla="*/ 3162300 h 4575969"/>
                  <a:gd name="connsiteX82" fmla="*/ 1945482 w 8971757"/>
                  <a:gd name="connsiteY82" fmla="*/ 3186112 h 4575969"/>
                  <a:gd name="connsiteX83" fmla="*/ 1916906 w 8971757"/>
                  <a:gd name="connsiteY83" fmla="*/ 3226594 h 4575969"/>
                  <a:gd name="connsiteX84" fmla="*/ 1924050 w 8971757"/>
                  <a:gd name="connsiteY84" fmla="*/ 3278981 h 4575969"/>
                  <a:gd name="connsiteX85" fmla="*/ 1976438 w 8971757"/>
                  <a:gd name="connsiteY85" fmla="*/ 3305175 h 4575969"/>
                  <a:gd name="connsiteX86" fmla="*/ 2038350 w 8971757"/>
                  <a:gd name="connsiteY86" fmla="*/ 3529013 h 4575969"/>
                  <a:gd name="connsiteX87" fmla="*/ 2028825 w 8971757"/>
                  <a:gd name="connsiteY87" fmla="*/ 3593306 h 4575969"/>
                  <a:gd name="connsiteX88" fmla="*/ 2164556 w 8971757"/>
                  <a:gd name="connsiteY88" fmla="*/ 3759994 h 4575969"/>
                  <a:gd name="connsiteX89" fmla="*/ 2183606 w 8971757"/>
                  <a:gd name="connsiteY89" fmla="*/ 3810000 h 4575969"/>
                  <a:gd name="connsiteX90" fmla="*/ 2157413 w 8971757"/>
                  <a:gd name="connsiteY90" fmla="*/ 3829050 h 4575969"/>
                  <a:gd name="connsiteX91" fmla="*/ 2259806 w 8971757"/>
                  <a:gd name="connsiteY91" fmla="*/ 3838575 h 4575969"/>
                  <a:gd name="connsiteX92" fmla="*/ 2371725 w 8971757"/>
                  <a:gd name="connsiteY92" fmla="*/ 3826669 h 4575969"/>
                  <a:gd name="connsiteX93" fmla="*/ 2650331 w 8971757"/>
                  <a:gd name="connsiteY93" fmla="*/ 3910012 h 4575969"/>
                  <a:gd name="connsiteX94" fmla="*/ 3057525 w 8971757"/>
                  <a:gd name="connsiteY94" fmla="*/ 3990975 h 4575969"/>
                  <a:gd name="connsiteX95" fmla="*/ 3255169 w 8971757"/>
                  <a:gd name="connsiteY95" fmla="*/ 3960018 h 4575969"/>
                  <a:gd name="connsiteX96" fmla="*/ 3300413 w 8971757"/>
                  <a:gd name="connsiteY96" fmla="*/ 3971924 h 4575969"/>
                  <a:gd name="connsiteX97" fmla="*/ 3355181 w 8971757"/>
                  <a:gd name="connsiteY97" fmla="*/ 3948113 h 4575969"/>
                  <a:gd name="connsiteX98" fmla="*/ 3748087 w 8971757"/>
                  <a:gd name="connsiteY98" fmla="*/ 4038600 h 4575969"/>
                  <a:gd name="connsiteX99" fmla="*/ 3831432 w 8971757"/>
                  <a:gd name="connsiteY99" fmla="*/ 4136231 h 4575969"/>
                  <a:gd name="connsiteX100" fmla="*/ 3950494 w 8971757"/>
                  <a:gd name="connsiteY100" fmla="*/ 4207669 h 4575969"/>
                  <a:gd name="connsiteX101" fmla="*/ 4010025 w 8971757"/>
                  <a:gd name="connsiteY101" fmla="*/ 4191000 h 4575969"/>
                  <a:gd name="connsiteX102" fmla="*/ 4360068 w 8971757"/>
                  <a:gd name="connsiteY102" fmla="*/ 4364831 h 4575969"/>
                  <a:gd name="connsiteX103" fmla="*/ 4586288 w 8971757"/>
                  <a:gd name="connsiteY103" fmla="*/ 4336256 h 4575969"/>
                  <a:gd name="connsiteX104" fmla="*/ 4595813 w 8971757"/>
                  <a:gd name="connsiteY104" fmla="*/ 4414837 h 4575969"/>
                  <a:gd name="connsiteX105" fmla="*/ 4681538 w 8971757"/>
                  <a:gd name="connsiteY105" fmla="*/ 4410074 h 4575969"/>
                  <a:gd name="connsiteX106" fmla="*/ 4760119 w 8971757"/>
                  <a:gd name="connsiteY106" fmla="*/ 4441031 h 4575969"/>
                  <a:gd name="connsiteX107" fmla="*/ 4802981 w 8971757"/>
                  <a:gd name="connsiteY107" fmla="*/ 4381500 h 4575969"/>
                  <a:gd name="connsiteX108" fmla="*/ 5474494 w 8971757"/>
                  <a:gd name="connsiteY108" fmla="*/ 4062412 h 4575969"/>
                  <a:gd name="connsiteX109" fmla="*/ 5562600 w 8971757"/>
                  <a:gd name="connsiteY109" fmla="*/ 4090988 h 4575969"/>
                  <a:gd name="connsiteX110" fmla="*/ 5693569 w 8971757"/>
                  <a:gd name="connsiteY110" fmla="*/ 4062412 h 4575969"/>
                  <a:gd name="connsiteX111" fmla="*/ 5872162 w 8971757"/>
                  <a:gd name="connsiteY111" fmla="*/ 4079081 h 4575969"/>
                  <a:gd name="connsiteX112" fmla="*/ 5929313 w 8971757"/>
                  <a:gd name="connsiteY112" fmla="*/ 4052888 h 4575969"/>
                  <a:gd name="connsiteX113" fmla="*/ 6062662 w 8971757"/>
                  <a:gd name="connsiteY113" fmla="*/ 4050506 h 4575969"/>
                  <a:gd name="connsiteX114" fmla="*/ 6196012 w 8971757"/>
                  <a:gd name="connsiteY114" fmla="*/ 3952875 h 4575969"/>
                  <a:gd name="connsiteX115" fmla="*/ 6262687 w 8971757"/>
                  <a:gd name="connsiteY115" fmla="*/ 3945731 h 4575969"/>
                  <a:gd name="connsiteX116" fmla="*/ 6360319 w 8971757"/>
                  <a:gd name="connsiteY116" fmla="*/ 3871912 h 4575969"/>
                  <a:gd name="connsiteX117" fmla="*/ 6434138 w 8971757"/>
                  <a:gd name="connsiteY117" fmla="*/ 3802856 h 4575969"/>
                  <a:gd name="connsiteX118" fmla="*/ 6443663 w 8971757"/>
                  <a:gd name="connsiteY118" fmla="*/ 3740944 h 4575969"/>
                  <a:gd name="connsiteX119" fmla="*/ 6477000 w 8971757"/>
                  <a:gd name="connsiteY119" fmla="*/ 3671887 h 4575969"/>
                  <a:gd name="connsiteX120" fmla="*/ 6629400 w 8971757"/>
                  <a:gd name="connsiteY120" fmla="*/ 3564731 h 4575969"/>
                  <a:gd name="connsiteX121" fmla="*/ 6662738 w 8971757"/>
                  <a:gd name="connsiteY121" fmla="*/ 3569494 h 4575969"/>
                  <a:gd name="connsiteX122" fmla="*/ 6715125 w 8971757"/>
                  <a:gd name="connsiteY122" fmla="*/ 3490912 h 4575969"/>
                  <a:gd name="connsiteX123" fmla="*/ 6762750 w 8971757"/>
                  <a:gd name="connsiteY123" fmla="*/ 3452812 h 4575969"/>
                  <a:gd name="connsiteX124" fmla="*/ 6748463 w 8971757"/>
                  <a:gd name="connsiteY124" fmla="*/ 3383756 h 4575969"/>
                  <a:gd name="connsiteX125" fmla="*/ 6698456 w 8971757"/>
                  <a:gd name="connsiteY125" fmla="*/ 3352799 h 4575969"/>
                  <a:gd name="connsiteX126" fmla="*/ 6638925 w 8971757"/>
                  <a:gd name="connsiteY126" fmla="*/ 3298031 h 4575969"/>
                  <a:gd name="connsiteX127" fmla="*/ 6619875 w 8971757"/>
                  <a:gd name="connsiteY127" fmla="*/ 3240881 h 4575969"/>
                  <a:gd name="connsiteX128" fmla="*/ 6584156 w 8971757"/>
                  <a:gd name="connsiteY128" fmla="*/ 3207544 h 4575969"/>
                  <a:gd name="connsiteX129" fmla="*/ 6610350 w 8971757"/>
                  <a:gd name="connsiteY129" fmla="*/ 3155156 h 4575969"/>
                  <a:gd name="connsiteX130" fmla="*/ 6650831 w 8971757"/>
                  <a:gd name="connsiteY130" fmla="*/ 2976562 h 4575969"/>
                  <a:gd name="connsiteX131" fmla="*/ 6691313 w 8971757"/>
                  <a:gd name="connsiteY131" fmla="*/ 2909887 h 4575969"/>
                  <a:gd name="connsiteX132" fmla="*/ 6836569 w 8971757"/>
                  <a:gd name="connsiteY132" fmla="*/ 2893218 h 4575969"/>
                  <a:gd name="connsiteX133" fmla="*/ 6905625 w 8971757"/>
                  <a:gd name="connsiteY133" fmla="*/ 2950369 h 4575969"/>
                  <a:gd name="connsiteX134" fmla="*/ 6981825 w 8971757"/>
                  <a:gd name="connsiteY134" fmla="*/ 2974181 h 4575969"/>
                  <a:gd name="connsiteX135" fmla="*/ 7186612 w 8971757"/>
                  <a:gd name="connsiteY135" fmla="*/ 2978944 h 4575969"/>
                  <a:gd name="connsiteX136" fmla="*/ 7362825 w 8971757"/>
                  <a:gd name="connsiteY136" fmla="*/ 2840831 h 4575969"/>
                  <a:gd name="connsiteX137" fmla="*/ 7419975 w 8971757"/>
                  <a:gd name="connsiteY137" fmla="*/ 2750343 h 4575969"/>
                  <a:gd name="connsiteX138" fmla="*/ 7446169 w 8971757"/>
                  <a:gd name="connsiteY138" fmla="*/ 2667000 h 4575969"/>
                  <a:gd name="connsiteX139" fmla="*/ 7577137 w 8971757"/>
                  <a:gd name="connsiteY139" fmla="*/ 2667000 h 4575969"/>
                  <a:gd name="connsiteX140" fmla="*/ 7750969 w 8971757"/>
                  <a:gd name="connsiteY140" fmla="*/ 2609849 h 4575969"/>
                  <a:gd name="connsiteX141" fmla="*/ 7810500 w 8971757"/>
                  <a:gd name="connsiteY141" fmla="*/ 2497931 h 4575969"/>
                  <a:gd name="connsiteX142" fmla="*/ 7874794 w 8971757"/>
                  <a:gd name="connsiteY142" fmla="*/ 2462212 h 4575969"/>
                  <a:gd name="connsiteX143" fmla="*/ 7853363 w 8971757"/>
                  <a:gd name="connsiteY143" fmla="*/ 2416969 h 4575969"/>
                  <a:gd name="connsiteX144" fmla="*/ 7931944 w 8971757"/>
                  <a:gd name="connsiteY144" fmla="*/ 2247899 h 4575969"/>
                  <a:gd name="connsiteX145" fmla="*/ 7986713 w 8971757"/>
                  <a:gd name="connsiteY145" fmla="*/ 2188369 h 4575969"/>
                  <a:gd name="connsiteX146" fmla="*/ 8024813 w 8971757"/>
                  <a:gd name="connsiteY146" fmla="*/ 2183606 h 4575969"/>
                  <a:gd name="connsiteX147" fmla="*/ 8070056 w 8971757"/>
                  <a:gd name="connsiteY147" fmla="*/ 2188369 h 4575969"/>
                  <a:gd name="connsiteX148" fmla="*/ 8134350 w 8971757"/>
                  <a:gd name="connsiteY148" fmla="*/ 2155031 h 4575969"/>
                  <a:gd name="connsiteX149" fmla="*/ 8143875 w 8971757"/>
                  <a:gd name="connsiteY149" fmla="*/ 2090737 h 4575969"/>
                  <a:gd name="connsiteX150" fmla="*/ 8184355 w 8971757"/>
                  <a:gd name="connsiteY150" fmla="*/ 2055019 h 4575969"/>
                  <a:gd name="connsiteX151" fmla="*/ 8243888 w 8971757"/>
                  <a:gd name="connsiteY151" fmla="*/ 2095499 h 4575969"/>
                  <a:gd name="connsiteX152" fmla="*/ 8270082 w 8971757"/>
                  <a:gd name="connsiteY152" fmla="*/ 2045493 h 4575969"/>
                  <a:gd name="connsiteX153" fmla="*/ 8365331 w 8971757"/>
                  <a:gd name="connsiteY153" fmla="*/ 1976437 h 4575969"/>
                  <a:gd name="connsiteX154" fmla="*/ 8427244 w 8971757"/>
                  <a:gd name="connsiteY154" fmla="*/ 1983581 h 4575969"/>
                  <a:gd name="connsiteX155" fmla="*/ 8477250 w 8971757"/>
                  <a:gd name="connsiteY155" fmla="*/ 1964531 h 4575969"/>
                  <a:gd name="connsiteX156" fmla="*/ 8515350 w 8971757"/>
                  <a:gd name="connsiteY156" fmla="*/ 1935956 h 4575969"/>
                  <a:gd name="connsiteX157" fmla="*/ 8548688 w 8971757"/>
                  <a:gd name="connsiteY157" fmla="*/ 1933575 h 4575969"/>
                  <a:gd name="connsiteX158" fmla="*/ 8584406 w 8971757"/>
                  <a:gd name="connsiteY158" fmla="*/ 1964531 h 4575969"/>
                  <a:gd name="connsiteX159" fmla="*/ 8643938 w 8971757"/>
                  <a:gd name="connsiteY159" fmla="*/ 1964531 h 4575969"/>
                  <a:gd name="connsiteX160" fmla="*/ 8682037 w 8971757"/>
                  <a:gd name="connsiteY160" fmla="*/ 1945481 h 4575969"/>
                  <a:gd name="connsiteX161" fmla="*/ 8765381 w 8971757"/>
                  <a:gd name="connsiteY161" fmla="*/ 1947863 h 4575969"/>
                  <a:gd name="connsiteX162" fmla="*/ 8796338 w 8971757"/>
                  <a:gd name="connsiteY162" fmla="*/ 1902619 h 4575969"/>
                  <a:gd name="connsiteX163" fmla="*/ 8801100 w 8971757"/>
                  <a:gd name="connsiteY163" fmla="*/ 1840706 h 4575969"/>
                  <a:gd name="connsiteX164" fmla="*/ 8751093 w 8971757"/>
                  <a:gd name="connsiteY164" fmla="*/ 1800225 h 4575969"/>
                  <a:gd name="connsiteX165" fmla="*/ 8734425 w 8971757"/>
                  <a:gd name="connsiteY165" fmla="*/ 1745456 h 4575969"/>
                  <a:gd name="connsiteX166" fmla="*/ 8643938 w 8971757"/>
                  <a:gd name="connsiteY166" fmla="*/ 1683544 h 4575969"/>
                  <a:gd name="connsiteX167" fmla="*/ 8603456 w 8971757"/>
                  <a:gd name="connsiteY167" fmla="*/ 1662112 h 4575969"/>
                  <a:gd name="connsiteX168" fmla="*/ 8565356 w 8971757"/>
                  <a:gd name="connsiteY168" fmla="*/ 1616869 h 4575969"/>
                  <a:gd name="connsiteX169" fmla="*/ 8534400 w 8971757"/>
                  <a:gd name="connsiteY169" fmla="*/ 1614487 h 4575969"/>
                  <a:gd name="connsiteX170" fmla="*/ 8517731 w 8971757"/>
                  <a:gd name="connsiteY170" fmla="*/ 1562100 h 4575969"/>
                  <a:gd name="connsiteX171" fmla="*/ 8477250 w 8971757"/>
                  <a:gd name="connsiteY171" fmla="*/ 1545431 h 4575969"/>
                  <a:gd name="connsiteX172" fmla="*/ 8477250 w 8971757"/>
                  <a:gd name="connsiteY172" fmla="*/ 1545431 h 4575969"/>
                  <a:gd name="connsiteX173" fmla="*/ 8436769 w 8971757"/>
                  <a:gd name="connsiteY173" fmla="*/ 1550194 h 4575969"/>
                  <a:gd name="connsiteX174" fmla="*/ 8351043 w 8971757"/>
                  <a:gd name="connsiteY174" fmla="*/ 1476375 h 4575969"/>
                  <a:gd name="connsiteX175" fmla="*/ 8170069 w 8971757"/>
                  <a:gd name="connsiteY175" fmla="*/ 1476374 h 4575969"/>
                  <a:gd name="connsiteX176" fmla="*/ 8117681 w 8971757"/>
                  <a:gd name="connsiteY176" fmla="*/ 1514475 h 4575969"/>
                  <a:gd name="connsiteX177" fmla="*/ 8067675 w 8971757"/>
                  <a:gd name="connsiteY177" fmla="*/ 1593056 h 4575969"/>
                  <a:gd name="connsiteX178" fmla="*/ 8084344 w 8971757"/>
                  <a:gd name="connsiteY178" fmla="*/ 1614487 h 4575969"/>
                  <a:gd name="connsiteX179" fmla="*/ 8039100 w 8971757"/>
                  <a:gd name="connsiteY179" fmla="*/ 1664493 h 4575969"/>
                  <a:gd name="connsiteX180" fmla="*/ 7889081 w 8971757"/>
                  <a:gd name="connsiteY180" fmla="*/ 1588293 h 4575969"/>
                  <a:gd name="connsiteX181" fmla="*/ 7798594 w 8971757"/>
                  <a:gd name="connsiteY181" fmla="*/ 1624012 h 4575969"/>
                  <a:gd name="connsiteX182" fmla="*/ 7724775 w 8971757"/>
                  <a:gd name="connsiteY182" fmla="*/ 1621631 h 4575969"/>
                  <a:gd name="connsiteX183" fmla="*/ 7667625 w 8971757"/>
                  <a:gd name="connsiteY183" fmla="*/ 1716881 h 4575969"/>
                  <a:gd name="connsiteX184" fmla="*/ 7529513 w 8971757"/>
                  <a:gd name="connsiteY18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5834063 w 8971757"/>
                  <a:gd name="connsiteY31" fmla="*/ 1257300 h 4575969"/>
                  <a:gd name="connsiteX32" fmla="*/ 8412956 w 8971757"/>
                  <a:gd name="connsiteY32" fmla="*/ 23812 h 4575969"/>
                  <a:gd name="connsiteX33" fmla="*/ 8949531 w 8971757"/>
                  <a:gd name="connsiteY33" fmla="*/ 0 h 4575969"/>
                  <a:gd name="connsiteX34" fmla="*/ 8971757 w 8971757"/>
                  <a:gd name="connsiteY34" fmla="*/ 4575969 h 4575969"/>
                  <a:gd name="connsiteX35" fmla="*/ 2381 w 8971757"/>
                  <a:gd name="connsiteY35" fmla="*/ 4547392 h 4575969"/>
                  <a:gd name="connsiteX36" fmla="*/ 0 w 8971757"/>
                  <a:gd name="connsiteY36" fmla="*/ 845344 h 4575969"/>
                  <a:gd name="connsiteX37" fmla="*/ 76200 w 8971757"/>
                  <a:gd name="connsiteY37" fmla="*/ 828675 h 4575969"/>
                  <a:gd name="connsiteX38" fmla="*/ 119063 w 8971757"/>
                  <a:gd name="connsiteY38" fmla="*/ 857250 h 4575969"/>
                  <a:gd name="connsiteX39" fmla="*/ 215900 w 8971757"/>
                  <a:gd name="connsiteY39" fmla="*/ 848519 h 4575969"/>
                  <a:gd name="connsiteX40" fmla="*/ 261938 w 8971757"/>
                  <a:gd name="connsiteY40" fmla="*/ 876299 h 4575969"/>
                  <a:gd name="connsiteX41" fmla="*/ 228600 w 8971757"/>
                  <a:gd name="connsiteY41" fmla="*/ 904875 h 4575969"/>
                  <a:gd name="connsiteX42" fmla="*/ 233363 w 8971757"/>
                  <a:gd name="connsiteY42" fmla="*/ 947737 h 4575969"/>
                  <a:gd name="connsiteX43" fmla="*/ 200025 w 8971757"/>
                  <a:gd name="connsiteY43" fmla="*/ 952500 h 4575969"/>
                  <a:gd name="connsiteX44" fmla="*/ 204788 w 8971757"/>
                  <a:gd name="connsiteY44" fmla="*/ 976312 h 4575969"/>
                  <a:gd name="connsiteX45" fmla="*/ 261937 w 8971757"/>
                  <a:gd name="connsiteY45" fmla="*/ 1050131 h 4575969"/>
                  <a:gd name="connsiteX46" fmla="*/ 223838 w 8971757"/>
                  <a:gd name="connsiteY46" fmla="*/ 1097756 h 4575969"/>
                  <a:gd name="connsiteX47" fmla="*/ 278606 w 8971757"/>
                  <a:gd name="connsiteY47" fmla="*/ 1133475 h 4575969"/>
                  <a:gd name="connsiteX48" fmla="*/ 369094 w 8971757"/>
                  <a:gd name="connsiteY48" fmla="*/ 1221581 h 4575969"/>
                  <a:gd name="connsiteX49" fmla="*/ 371475 w 8971757"/>
                  <a:gd name="connsiteY49" fmla="*/ 1281112 h 4575969"/>
                  <a:gd name="connsiteX50" fmla="*/ 507206 w 8971757"/>
                  <a:gd name="connsiteY50" fmla="*/ 1414463 h 4575969"/>
                  <a:gd name="connsiteX51" fmla="*/ 561975 w 8971757"/>
                  <a:gd name="connsiteY51" fmla="*/ 1390650 h 4575969"/>
                  <a:gd name="connsiteX52" fmla="*/ 600075 w 8971757"/>
                  <a:gd name="connsiteY52" fmla="*/ 1416843 h 4575969"/>
                  <a:gd name="connsiteX53" fmla="*/ 614363 w 8971757"/>
                  <a:gd name="connsiteY53" fmla="*/ 1466849 h 4575969"/>
                  <a:gd name="connsiteX54" fmla="*/ 657225 w 8971757"/>
                  <a:gd name="connsiteY54" fmla="*/ 1502569 h 4575969"/>
                  <a:gd name="connsiteX55" fmla="*/ 697706 w 8971757"/>
                  <a:gd name="connsiteY55" fmla="*/ 1490662 h 4575969"/>
                  <a:gd name="connsiteX56" fmla="*/ 716756 w 8971757"/>
                  <a:gd name="connsiteY56" fmla="*/ 1547812 h 4575969"/>
                  <a:gd name="connsiteX57" fmla="*/ 764381 w 8971757"/>
                  <a:gd name="connsiteY57" fmla="*/ 1590675 h 4575969"/>
                  <a:gd name="connsiteX58" fmla="*/ 788194 w 8971757"/>
                  <a:gd name="connsiteY58" fmla="*/ 1693069 h 4575969"/>
                  <a:gd name="connsiteX59" fmla="*/ 785813 w 8971757"/>
                  <a:gd name="connsiteY59" fmla="*/ 1740694 h 4575969"/>
                  <a:gd name="connsiteX60" fmla="*/ 821531 w 8971757"/>
                  <a:gd name="connsiteY60" fmla="*/ 1840706 h 4575969"/>
                  <a:gd name="connsiteX61" fmla="*/ 866775 w 8971757"/>
                  <a:gd name="connsiteY61" fmla="*/ 1897856 h 4575969"/>
                  <a:gd name="connsiteX62" fmla="*/ 883443 w 8971757"/>
                  <a:gd name="connsiteY62" fmla="*/ 2055018 h 4575969"/>
                  <a:gd name="connsiteX63" fmla="*/ 850106 w 8971757"/>
                  <a:gd name="connsiteY63" fmla="*/ 2116931 h 4575969"/>
                  <a:gd name="connsiteX64" fmla="*/ 819150 w 8971757"/>
                  <a:gd name="connsiteY64" fmla="*/ 2193131 h 4575969"/>
                  <a:gd name="connsiteX65" fmla="*/ 833438 w 8971757"/>
                  <a:gd name="connsiteY65" fmla="*/ 2250281 h 4575969"/>
                  <a:gd name="connsiteX66" fmla="*/ 735806 w 8971757"/>
                  <a:gd name="connsiteY66" fmla="*/ 2357438 h 4575969"/>
                  <a:gd name="connsiteX67" fmla="*/ 692944 w 8971757"/>
                  <a:gd name="connsiteY67" fmla="*/ 2471737 h 4575969"/>
                  <a:gd name="connsiteX68" fmla="*/ 726281 w 8971757"/>
                  <a:gd name="connsiteY68" fmla="*/ 2512219 h 4575969"/>
                  <a:gd name="connsiteX69" fmla="*/ 709613 w 8971757"/>
                  <a:gd name="connsiteY69" fmla="*/ 2540794 h 4575969"/>
                  <a:gd name="connsiteX70" fmla="*/ 740569 w 8971757"/>
                  <a:gd name="connsiteY70" fmla="*/ 2597944 h 4575969"/>
                  <a:gd name="connsiteX71" fmla="*/ 769144 w 8971757"/>
                  <a:gd name="connsiteY71" fmla="*/ 2597944 h 4575969"/>
                  <a:gd name="connsiteX72" fmla="*/ 931069 w 8971757"/>
                  <a:gd name="connsiteY72" fmla="*/ 2700337 h 4575969"/>
                  <a:gd name="connsiteX73" fmla="*/ 1035844 w 8971757"/>
                  <a:gd name="connsiteY73" fmla="*/ 2697956 h 4575969"/>
                  <a:gd name="connsiteX74" fmla="*/ 1114425 w 8971757"/>
                  <a:gd name="connsiteY74" fmla="*/ 2752725 h 4575969"/>
                  <a:gd name="connsiteX75" fmla="*/ 1245393 w 8971757"/>
                  <a:gd name="connsiteY75" fmla="*/ 2755106 h 4575969"/>
                  <a:gd name="connsiteX76" fmla="*/ 1435893 w 8971757"/>
                  <a:gd name="connsiteY76" fmla="*/ 2824162 h 4575969"/>
                  <a:gd name="connsiteX77" fmla="*/ 1638300 w 8971757"/>
                  <a:gd name="connsiteY77" fmla="*/ 2974181 h 4575969"/>
                  <a:gd name="connsiteX78" fmla="*/ 1671637 w 8971757"/>
                  <a:gd name="connsiteY78" fmla="*/ 3040856 h 4575969"/>
                  <a:gd name="connsiteX79" fmla="*/ 1838325 w 8971757"/>
                  <a:gd name="connsiteY79" fmla="*/ 3167062 h 4575969"/>
                  <a:gd name="connsiteX80" fmla="*/ 1909763 w 8971757"/>
                  <a:gd name="connsiteY80" fmla="*/ 3162300 h 4575969"/>
                  <a:gd name="connsiteX81" fmla="*/ 1945482 w 8971757"/>
                  <a:gd name="connsiteY81" fmla="*/ 3186112 h 4575969"/>
                  <a:gd name="connsiteX82" fmla="*/ 1916906 w 8971757"/>
                  <a:gd name="connsiteY82" fmla="*/ 3226594 h 4575969"/>
                  <a:gd name="connsiteX83" fmla="*/ 1924050 w 8971757"/>
                  <a:gd name="connsiteY83" fmla="*/ 3278981 h 4575969"/>
                  <a:gd name="connsiteX84" fmla="*/ 1976438 w 8971757"/>
                  <a:gd name="connsiteY84" fmla="*/ 3305175 h 4575969"/>
                  <a:gd name="connsiteX85" fmla="*/ 2038350 w 8971757"/>
                  <a:gd name="connsiteY85" fmla="*/ 3529013 h 4575969"/>
                  <a:gd name="connsiteX86" fmla="*/ 2028825 w 8971757"/>
                  <a:gd name="connsiteY86" fmla="*/ 3593306 h 4575969"/>
                  <a:gd name="connsiteX87" fmla="*/ 2164556 w 8971757"/>
                  <a:gd name="connsiteY87" fmla="*/ 3759994 h 4575969"/>
                  <a:gd name="connsiteX88" fmla="*/ 2183606 w 8971757"/>
                  <a:gd name="connsiteY88" fmla="*/ 3810000 h 4575969"/>
                  <a:gd name="connsiteX89" fmla="*/ 2157413 w 8971757"/>
                  <a:gd name="connsiteY89" fmla="*/ 3829050 h 4575969"/>
                  <a:gd name="connsiteX90" fmla="*/ 2259806 w 8971757"/>
                  <a:gd name="connsiteY90" fmla="*/ 3838575 h 4575969"/>
                  <a:gd name="connsiteX91" fmla="*/ 2371725 w 8971757"/>
                  <a:gd name="connsiteY91" fmla="*/ 3826669 h 4575969"/>
                  <a:gd name="connsiteX92" fmla="*/ 2650331 w 8971757"/>
                  <a:gd name="connsiteY92" fmla="*/ 3910012 h 4575969"/>
                  <a:gd name="connsiteX93" fmla="*/ 3057525 w 8971757"/>
                  <a:gd name="connsiteY93" fmla="*/ 3990975 h 4575969"/>
                  <a:gd name="connsiteX94" fmla="*/ 3255169 w 8971757"/>
                  <a:gd name="connsiteY94" fmla="*/ 3960018 h 4575969"/>
                  <a:gd name="connsiteX95" fmla="*/ 3300413 w 8971757"/>
                  <a:gd name="connsiteY95" fmla="*/ 3971924 h 4575969"/>
                  <a:gd name="connsiteX96" fmla="*/ 3355181 w 8971757"/>
                  <a:gd name="connsiteY96" fmla="*/ 3948113 h 4575969"/>
                  <a:gd name="connsiteX97" fmla="*/ 3748087 w 8971757"/>
                  <a:gd name="connsiteY97" fmla="*/ 4038600 h 4575969"/>
                  <a:gd name="connsiteX98" fmla="*/ 3831432 w 8971757"/>
                  <a:gd name="connsiteY98" fmla="*/ 4136231 h 4575969"/>
                  <a:gd name="connsiteX99" fmla="*/ 3950494 w 8971757"/>
                  <a:gd name="connsiteY99" fmla="*/ 4207669 h 4575969"/>
                  <a:gd name="connsiteX100" fmla="*/ 4010025 w 8971757"/>
                  <a:gd name="connsiteY100" fmla="*/ 4191000 h 4575969"/>
                  <a:gd name="connsiteX101" fmla="*/ 4360068 w 8971757"/>
                  <a:gd name="connsiteY101" fmla="*/ 4364831 h 4575969"/>
                  <a:gd name="connsiteX102" fmla="*/ 4586288 w 8971757"/>
                  <a:gd name="connsiteY102" fmla="*/ 4336256 h 4575969"/>
                  <a:gd name="connsiteX103" fmla="*/ 4595813 w 8971757"/>
                  <a:gd name="connsiteY103" fmla="*/ 4414837 h 4575969"/>
                  <a:gd name="connsiteX104" fmla="*/ 4681538 w 8971757"/>
                  <a:gd name="connsiteY104" fmla="*/ 4410074 h 4575969"/>
                  <a:gd name="connsiteX105" fmla="*/ 4760119 w 8971757"/>
                  <a:gd name="connsiteY105" fmla="*/ 4441031 h 4575969"/>
                  <a:gd name="connsiteX106" fmla="*/ 4802981 w 8971757"/>
                  <a:gd name="connsiteY106" fmla="*/ 4381500 h 4575969"/>
                  <a:gd name="connsiteX107" fmla="*/ 5474494 w 8971757"/>
                  <a:gd name="connsiteY107" fmla="*/ 4062412 h 4575969"/>
                  <a:gd name="connsiteX108" fmla="*/ 5562600 w 8971757"/>
                  <a:gd name="connsiteY108" fmla="*/ 4090988 h 4575969"/>
                  <a:gd name="connsiteX109" fmla="*/ 5693569 w 8971757"/>
                  <a:gd name="connsiteY109" fmla="*/ 4062412 h 4575969"/>
                  <a:gd name="connsiteX110" fmla="*/ 5872162 w 8971757"/>
                  <a:gd name="connsiteY110" fmla="*/ 4079081 h 4575969"/>
                  <a:gd name="connsiteX111" fmla="*/ 5929313 w 8971757"/>
                  <a:gd name="connsiteY111" fmla="*/ 4052888 h 4575969"/>
                  <a:gd name="connsiteX112" fmla="*/ 6062662 w 8971757"/>
                  <a:gd name="connsiteY112" fmla="*/ 4050506 h 4575969"/>
                  <a:gd name="connsiteX113" fmla="*/ 6196012 w 8971757"/>
                  <a:gd name="connsiteY113" fmla="*/ 3952875 h 4575969"/>
                  <a:gd name="connsiteX114" fmla="*/ 6262687 w 8971757"/>
                  <a:gd name="connsiteY114" fmla="*/ 3945731 h 4575969"/>
                  <a:gd name="connsiteX115" fmla="*/ 6360319 w 8971757"/>
                  <a:gd name="connsiteY115" fmla="*/ 3871912 h 4575969"/>
                  <a:gd name="connsiteX116" fmla="*/ 6434138 w 8971757"/>
                  <a:gd name="connsiteY116" fmla="*/ 3802856 h 4575969"/>
                  <a:gd name="connsiteX117" fmla="*/ 6443663 w 8971757"/>
                  <a:gd name="connsiteY117" fmla="*/ 3740944 h 4575969"/>
                  <a:gd name="connsiteX118" fmla="*/ 6477000 w 8971757"/>
                  <a:gd name="connsiteY118" fmla="*/ 3671887 h 4575969"/>
                  <a:gd name="connsiteX119" fmla="*/ 6629400 w 8971757"/>
                  <a:gd name="connsiteY119" fmla="*/ 3564731 h 4575969"/>
                  <a:gd name="connsiteX120" fmla="*/ 6662738 w 8971757"/>
                  <a:gd name="connsiteY120" fmla="*/ 3569494 h 4575969"/>
                  <a:gd name="connsiteX121" fmla="*/ 6715125 w 8971757"/>
                  <a:gd name="connsiteY121" fmla="*/ 3490912 h 4575969"/>
                  <a:gd name="connsiteX122" fmla="*/ 6762750 w 8971757"/>
                  <a:gd name="connsiteY122" fmla="*/ 3452812 h 4575969"/>
                  <a:gd name="connsiteX123" fmla="*/ 6748463 w 8971757"/>
                  <a:gd name="connsiteY123" fmla="*/ 3383756 h 4575969"/>
                  <a:gd name="connsiteX124" fmla="*/ 6698456 w 8971757"/>
                  <a:gd name="connsiteY124" fmla="*/ 3352799 h 4575969"/>
                  <a:gd name="connsiteX125" fmla="*/ 6638925 w 8971757"/>
                  <a:gd name="connsiteY125" fmla="*/ 3298031 h 4575969"/>
                  <a:gd name="connsiteX126" fmla="*/ 6619875 w 8971757"/>
                  <a:gd name="connsiteY126" fmla="*/ 3240881 h 4575969"/>
                  <a:gd name="connsiteX127" fmla="*/ 6584156 w 8971757"/>
                  <a:gd name="connsiteY127" fmla="*/ 3207544 h 4575969"/>
                  <a:gd name="connsiteX128" fmla="*/ 6610350 w 8971757"/>
                  <a:gd name="connsiteY128" fmla="*/ 3155156 h 4575969"/>
                  <a:gd name="connsiteX129" fmla="*/ 6650831 w 8971757"/>
                  <a:gd name="connsiteY129" fmla="*/ 2976562 h 4575969"/>
                  <a:gd name="connsiteX130" fmla="*/ 6691313 w 8971757"/>
                  <a:gd name="connsiteY130" fmla="*/ 2909887 h 4575969"/>
                  <a:gd name="connsiteX131" fmla="*/ 6836569 w 8971757"/>
                  <a:gd name="connsiteY131" fmla="*/ 2893218 h 4575969"/>
                  <a:gd name="connsiteX132" fmla="*/ 6905625 w 8971757"/>
                  <a:gd name="connsiteY132" fmla="*/ 2950369 h 4575969"/>
                  <a:gd name="connsiteX133" fmla="*/ 6981825 w 8971757"/>
                  <a:gd name="connsiteY133" fmla="*/ 2974181 h 4575969"/>
                  <a:gd name="connsiteX134" fmla="*/ 7186612 w 8971757"/>
                  <a:gd name="connsiteY134" fmla="*/ 2978944 h 4575969"/>
                  <a:gd name="connsiteX135" fmla="*/ 7362825 w 8971757"/>
                  <a:gd name="connsiteY135" fmla="*/ 2840831 h 4575969"/>
                  <a:gd name="connsiteX136" fmla="*/ 7419975 w 8971757"/>
                  <a:gd name="connsiteY136" fmla="*/ 2750343 h 4575969"/>
                  <a:gd name="connsiteX137" fmla="*/ 7446169 w 8971757"/>
                  <a:gd name="connsiteY137" fmla="*/ 2667000 h 4575969"/>
                  <a:gd name="connsiteX138" fmla="*/ 7577137 w 8971757"/>
                  <a:gd name="connsiteY138" fmla="*/ 2667000 h 4575969"/>
                  <a:gd name="connsiteX139" fmla="*/ 7750969 w 8971757"/>
                  <a:gd name="connsiteY139" fmla="*/ 2609849 h 4575969"/>
                  <a:gd name="connsiteX140" fmla="*/ 7810500 w 8971757"/>
                  <a:gd name="connsiteY140" fmla="*/ 2497931 h 4575969"/>
                  <a:gd name="connsiteX141" fmla="*/ 7874794 w 8971757"/>
                  <a:gd name="connsiteY141" fmla="*/ 2462212 h 4575969"/>
                  <a:gd name="connsiteX142" fmla="*/ 7853363 w 8971757"/>
                  <a:gd name="connsiteY142" fmla="*/ 2416969 h 4575969"/>
                  <a:gd name="connsiteX143" fmla="*/ 7931944 w 8971757"/>
                  <a:gd name="connsiteY143" fmla="*/ 2247899 h 4575969"/>
                  <a:gd name="connsiteX144" fmla="*/ 7986713 w 8971757"/>
                  <a:gd name="connsiteY144" fmla="*/ 2188369 h 4575969"/>
                  <a:gd name="connsiteX145" fmla="*/ 8024813 w 8971757"/>
                  <a:gd name="connsiteY145" fmla="*/ 2183606 h 4575969"/>
                  <a:gd name="connsiteX146" fmla="*/ 8070056 w 8971757"/>
                  <a:gd name="connsiteY146" fmla="*/ 2188369 h 4575969"/>
                  <a:gd name="connsiteX147" fmla="*/ 8134350 w 8971757"/>
                  <a:gd name="connsiteY147" fmla="*/ 2155031 h 4575969"/>
                  <a:gd name="connsiteX148" fmla="*/ 8143875 w 8971757"/>
                  <a:gd name="connsiteY148" fmla="*/ 2090737 h 4575969"/>
                  <a:gd name="connsiteX149" fmla="*/ 8184355 w 8971757"/>
                  <a:gd name="connsiteY149" fmla="*/ 2055019 h 4575969"/>
                  <a:gd name="connsiteX150" fmla="*/ 8243888 w 8971757"/>
                  <a:gd name="connsiteY150" fmla="*/ 2095499 h 4575969"/>
                  <a:gd name="connsiteX151" fmla="*/ 8270082 w 8971757"/>
                  <a:gd name="connsiteY151" fmla="*/ 2045493 h 4575969"/>
                  <a:gd name="connsiteX152" fmla="*/ 8365331 w 8971757"/>
                  <a:gd name="connsiteY152" fmla="*/ 1976437 h 4575969"/>
                  <a:gd name="connsiteX153" fmla="*/ 8427244 w 8971757"/>
                  <a:gd name="connsiteY153" fmla="*/ 1983581 h 4575969"/>
                  <a:gd name="connsiteX154" fmla="*/ 8477250 w 8971757"/>
                  <a:gd name="connsiteY154" fmla="*/ 1964531 h 4575969"/>
                  <a:gd name="connsiteX155" fmla="*/ 8515350 w 8971757"/>
                  <a:gd name="connsiteY155" fmla="*/ 1935956 h 4575969"/>
                  <a:gd name="connsiteX156" fmla="*/ 8548688 w 8971757"/>
                  <a:gd name="connsiteY156" fmla="*/ 1933575 h 4575969"/>
                  <a:gd name="connsiteX157" fmla="*/ 8584406 w 8971757"/>
                  <a:gd name="connsiteY157" fmla="*/ 1964531 h 4575969"/>
                  <a:gd name="connsiteX158" fmla="*/ 8643938 w 8971757"/>
                  <a:gd name="connsiteY158" fmla="*/ 1964531 h 4575969"/>
                  <a:gd name="connsiteX159" fmla="*/ 8682037 w 8971757"/>
                  <a:gd name="connsiteY159" fmla="*/ 1945481 h 4575969"/>
                  <a:gd name="connsiteX160" fmla="*/ 8765381 w 8971757"/>
                  <a:gd name="connsiteY160" fmla="*/ 1947863 h 4575969"/>
                  <a:gd name="connsiteX161" fmla="*/ 8796338 w 8971757"/>
                  <a:gd name="connsiteY161" fmla="*/ 1902619 h 4575969"/>
                  <a:gd name="connsiteX162" fmla="*/ 8801100 w 8971757"/>
                  <a:gd name="connsiteY162" fmla="*/ 1840706 h 4575969"/>
                  <a:gd name="connsiteX163" fmla="*/ 8751093 w 8971757"/>
                  <a:gd name="connsiteY163" fmla="*/ 1800225 h 4575969"/>
                  <a:gd name="connsiteX164" fmla="*/ 8734425 w 8971757"/>
                  <a:gd name="connsiteY164" fmla="*/ 1745456 h 4575969"/>
                  <a:gd name="connsiteX165" fmla="*/ 8643938 w 8971757"/>
                  <a:gd name="connsiteY165" fmla="*/ 1683544 h 4575969"/>
                  <a:gd name="connsiteX166" fmla="*/ 8603456 w 8971757"/>
                  <a:gd name="connsiteY166" fmla="*/ 1662112 h 4575969"/>
                  <a:gd name="connsiteX167" fmla="*/ 8565356 w 8971757"/>
                  <a:gd name="connsiteY167" fmla="*/ 1616869 h 4575969"/>
                  <a:gd name="connsiteX168" fmla="*/ 8534400 w 8971757"/>
                  <a:gd name="connsiteY168" fmla="*/ 1614487 h 4575969"/>
                  <a:gd name="connsiteX169" fmla="*/ 8517731 w 8971757"/>
                  <a:gd name="connsiteY169" fmla="*/ 1562100 h 4575969"/>
                  <a:gd name="connsiteX170" fmla="*/ 8477250 w 8971757"/>
                  <a:gd name="connsiteY170" fmla="*/ 1545431 h 4575969"/>
                  <a:gd name="connsiteX171" fmla="*/ 8477250 w 8971757"/>
                  <a:gd name="connsiteY171" fmla="*/ 1545431 h 4575969"/>
                  <a:gd name="connsiteX172" fmla="*/ 8436769 w 8971757"/>
                  <a:gd name="connsiteY172" fmla="*/ 1550194 h 4575969"/>
                  <a:gd name="connsiteX173" fmla="*/ 8351043 w 8971757"/>
                  <a:gd name="connsiteY173" fmla="*/ 1476375 h 4575969"/>
                  <a:gd name="connsiteX174" fmla="*/ 8170069 w 8971757"/>
                  <a:gd name="connsiteY174" fmla="*/ 1476374 h 4575969"/>
                  <a:gd name="connsiteX175" fmla="*/ 8117681 w 8971757"/>
                  <a:gd name="connsiteY175" fmla="*/ 1514475 h 4575969"/>
                  <a:gd name="connsiteX176" fmla="*/ 8067675 w 8971757"/>
                  <a:gd name="connsiteY176" fmla="*/ 1593056 h 4575969"/>
                  <a:gd name="connsiteX177" fmla="*/ 8084344 w 8971757"/>
                  <a:gd name="connsiteY177" fmla="*/ 1614487 h 4575969"/>
                  <a:gd name="connsiteX178" fmla="*/ 8039100 w 8971757"/>
                  <a:gd name="connsiteY178" fmla="*/ 1664493 h 4575969"/>
                  <a:gd name="connsiteX179" fmla="*/ 7889081 w 8971757"/>
                  <a:gd name="connsiteY179" fmla="*/ 1588293 h 4575969"/>
                  <a:gd name="connsiteX180" fmla="*/ 7798594 w 8971757"/>
                  <a:gd name="connsiteY180" fmla="*/ 1624012 h 4575969"/>
                  <a:gd name="connsiteX181" fmla="*/ 7724775 w 8971757"/>
                  <a:gd name="connsiteY181" fmla="*/ 1621631 h 4575969"/>
                  <a:gd name="connsiteX182" fmla="*/ 7667625 w 8971757"/>
                  <a:gd name="connsiteY182" fmla="*/ 1716881 h 4575969"/>
                  <a:gd name="connsiteX183" fmla="*/ 7529513 w 8971757"/>
                  <a:gd name="connsiteY18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5895975 w 8971757"/>
                  <a:gd name="connsiteY30" fmla="*/ 1302544 h 4575969"/>
                  <a:gd name="connsiteX31" fmla="*/ 8412956 w 8971757"/>
                  <a:gd name="connsiteY31" fmla="*/ 23812 h 4575969"/>
                  <a:gd name="connsiteX32" fmla="*/ 8949531 w 8971757"/>
                  <a:gd name="connsiteY32" fmla="*/ 0 h 4575969"/>
                  <a:gd name="connsiteX33" fmla="*/ 8971757 w 8971757"/>
                  <a:gd name="connsiteY33" fmla="*/ 4575969 h 4575969"/>
                  <a:gd name="connsiteX34" fmla="*/ 2381 w 8971757"/>
                  <a:gd name="connsiteY34" fmla="*/ 4547392 h 4575969"/>
                  <a:gd name="connsiteX35" fmla="*/ 0 w 8971757"/>
                  <a:gd name="connsiteY35" fmla="*/ 845344 h 4575969"/>
                  <a:gd name="connsiteX36" fmla="*/ 76200 w 8971757"/>
                  <a:gd name="connsiteY36" fmla="*/ 828675 h 4575969"/>
                  <a:gd name="connsiteX37" fmla="*/ 119063 w 8971757"/>
                  <a:gd name="connsiteY37" fmla="*/ 857250 h 4575969"/>
                  <a:gd name="connsiteX38" fmla="*/ 215900 w 8971757"/>
                  <a:gd name="connsiteY38" fmla="*/ 848519 h 4575969"/>
                  <a:gd name="connsiteX39" fmla="*/ 261938 w 8971757"/>
                  <a:gd name="connsiteY39" fmla="*/ 876299 h 4575969"/>
                  <a:gd name="connsiteX40" fmla="*/ 228600 w 8971757"/>
                  <a:gd name="connsiteY40" fmla="*/ 904875 h 4575969"/>
                  <a:gd name="connsiteX41" fmla="*/ 233363 w 8971757"/>
                  <a:gd name="connsiteY41" fmla="*/ 947737 h 4575969"/>
                  <a:gd name="connsiteX42" fmla="*/ 200025 w 8971757"/>
                  <a:gd name="connsiteY42" fmla="*/ 952500 h 4575969"/>
                  <a:gd name="connsiteX43" fmla="*/ 204788 w 8971757"/>
                  <a:gd name="connsiteY43" fmla="*/ 976312 h 4575969"/>
                  <a:gd name="connsiteX44" fmla="*/ 261937 w 8971757"/>
                  <a:gd name="connsiteY44" fmla="*/ 1050131 h 4575969"/>
                  <a:gd name="connsiteX45" fmla="*/ 223838 w 8971757"/>
                  <a:gd name="connsiteY45" fmla="*/ 1097756 h 4575969"/>
                  <a:gd name="connsiteX46" fmla="*/ 278606 w 8971757"/>
                  <a:gd name="connsiteY46" fmla="*/ 1133475 h 4575969"/>
                  <a:gd name="connsiteX47" fmla="*/ 369094 w 8971757"/>
                  <a:gd name="connsiteY47" fmla="*/ 1221581 h 4575969"/>
                  <a:gd name="connsiteX48" fmla="*/ 371475 w 8971757"/>
                  <a:gd name="connsiteY48" fmla="*/ 1281112 h 4575969"/>
                  <a:gd name="connsiteX49" fmla="*/ 507206 w 8971757"/>
                  <a:gd name="connsiteY49" fmla="*/ 1414463 h 4575969"/>
                  <a:gd name="connsiteX50" fmla="*/ 561975 w 8971757"/>
                  <a:gd name="connsiteY50" fmla="*/ 1390650 h 4575969"/>
                  <a:gd name="connsiteX51" fmla="*/ 600075 w 8971757"/>
                  <a:gd name="connsiteY51" fmla="*/ 1416843 h 4575969"/>
                  <a:gd name="connsiteX52" fmla="*/ 614363 w 8971757"/>
                  <a:gd name="connsiteY52" fmla="*/ 1466849 h 4575969"/>
                  <a:gd name="connsiteX53" fmla="*/ 657225 w 8971757"/>
                  <a:gd name="connsiteY53" fmla="*/ 1502569 h 4575969"/>
                  <a:gd name="connsiteX54" fmla="*/ 697706 w 8971757"/>
                  <a:gd name="connsiteY54" fmla="*/ 1490662 h 4575969"/>
                  <a:gd name="connsiteX55" fmla="*/ 716756 w 8971757"/>
                  <a:gd name="connsiteY55" fmla="*/ 1547812 h 4575969"/>
                  <a:gd name="connsiteX56" fmla="*/ 764381 w 8971757"/>
                  <a:gd name="connsiteY56" fmla="*/ 1590675 h 4575969"/>
                  <a:gd name="connsiteX57" fmla="*/ 788194 w 8971757"/>
                  <a:gd name="connsiteY57" fmla="*/ 1693069 h 4575969"/>
                  <a:gd name="connsiteX58" fmla="*/ 785813 w 8971757"/>
                  <a:gd name="connsiteY58" fmla="*/ 1740694 h 4575969"/>
                  <a:gd name="connsiteX59" fmla="*/ 821531 w 8971757"/>
                  <a:gd name="connsiteY59" fmla="*/ 1840706 h 4575969"/>
                  <a:gd name="connsiteX60" fmla="*/ 866775 w 8971757"/>
                  <a:gd name="connsiteY60" fmla="*/ 1897856 h 4575969"/>
                  <a:gd name="connsiteX61" fmla="*/ 883443 w 8971757"/>
                  <a:gd name="connsiteY61" fmla="*/ 2055018 h 4575969"/>
                  <a:gd name="connsiteX62" fmla="*/ 850106 w 8971757"/>
                  <a:gd name="connsiteY62" fmla="*/ 2116931 h 4575969"/>
                  <a:gd name="connsiteX63" fmla="*/ 819150 w 8971757"/>
                  <a:gd name="connsiteY63" fmla="*/ 2193131 h 4575969"/>
                  <a:gd name="connsiteX64" fmla="*/ 833438 w 8971757"/>
                  <a:gd name="connsiteY64" fmla="*/ 2250281 h 4575969"/>
                  <a:gd name="connsiteX65" fmla="*/ 735806 w 8971757"/>
                  <a:gd name="connsiteY65" fmla="*/ 2357438 h 4575969"/>
                  <a:gd name="connsiteX66" fmla="*/ 692944 w 8971757"/>
                  <a:gd name="connsiteY66" fmla="*/ 2471737 h 4575969"/>
                  <a:gd name="connsiteX67" fmla="*/ 726281 w 8971757"/>
                  <a:gd name="connsiteY67" fmla="*/ 2512219 h 4575969"/>
                  <a:gd name="connsiteX68" fmla="*/ 709613 w 8971757"/>
                  <a:gd name="connsiteY68" fmla="*/ 2540794 h 4575969"/>
                  <a:gd name="connsiteX69" fmla="*/ 740569 w 8971757"/>
                  <a:gd name="connsiteY69" fmla="*/ 2597944 h 4575969"/>
                  <a:gd name="connsiteX70" fmla="*/ 769144 w 8971757"/>
                  <a:gd name="connsiteY70" fmla="*/ 2597944 h 4575969"/>
                  <a:gd name="connsiteX71" fmla="*/ 931069 w 8971757"/>
                  <a:gd name="connsiteY71" fmla="*/ 2700337 h 4575969"/>
                  <a:gd name="connsiteX72" fmla="*/ 1035844 w 8971757"/>
                  <a:gd name="connsiteY72" fmla="*/ 2697956 h 4575969"/>
                  <a:gd name="connsiteX73" fmla="*/ 1114425 w 8971757"/>
                  <a:gd name="connsiteY73" fmla="*/ 2752725 h 4575969"/>
                  <a:gd name="connsiteX74" fmla="*/ 1245393 w 8971757"/>
                  <a:gd name="connsiteY74" fmla="*/ 2755106 h 4575969"/>
                  <a:gd name="connsiteX75" fmla="*/ 1435893 w 8971757"/>
                  <a:gd name="connsiteY75" fmla="*/ 2824162 h 4575969"/>
                  <a:gd name="connsiteX76" fmla="*/ 1638300 w 8971757"/>
                  <a:gd name="connsiteY76" fmla="*/ 2974181 h 4575969"/>
                  <a:gd name="connsiteX77" fmla="*/ 1671637 w 8971757"/>
                  <a:gd name="connsiteY77" fmla="*/ 3040856 h 4575969"/>
                  <a:gd name="connsiteX78" fmla="*/ 1838325 w 8971757"/>
                  <a:gd name="connsiteY78" fmla="*/ 3167062 h 4575969"/>
                  <a:gd name="connsiteX79" fmla="*/ 1909763 w 8971757"/>
                  <a:gd name="connsiteY79" fmla="*/ 3162300 h 4575969"/>
                  <a:gd name="connsiteX80" fmla="*/ 1945482 w 8971757"/>
                  <a:gd name="connsiteY80" fmla="*/ 3186112 h 4575969"/>
                  <a:gd name="connsiteX81" fmla="*/ 1916906 w 8971757"/>
                  <a:gd name="connsiteY81" fmla="*/ 3226594 h 4575969"/>
                  <a:gd name="connsiteX82" fmla="*/ 1924050 w 8971757"/>
                  <a:gd name="connsiteY82" fmla="*/ 3278981 h 4575969"/>
                  <a:gd name="connsiteX83" fmla="*/ 1976438 w 8971757"/>
                  <a:gd name="connsiteY83" fmla="*/ 3305175 h 4575969"/>
                  <a:gd name="connsiteX84" fmla="*/ 2038350 w 8971757"/>
                  <a:gd name="connsiteY84" fmla="*/ 3529013 h 4575969"/>
                  <a:gd name="connsiteX85" fmla="*/ 2028825 w 8971757"/>
                  <a:gd name="connsiteY85" fmla="*/ 3593306 h 4575969"/>
                  <a:gd name="connsiteX86" fmla="*/ 2164556 w 8971757"/>
                  <a:gd name="connsiteY86" fmla="*/ 3759994 h 4575969"/>
                  <a:gd name="connsiteX87" fmla="*/ 2183606 w 8971757"/>
                  <a:gd name="connsiteY87" fmla="*/ 3810000 h 4575969"/>
                  <a:gd name="connsiteX88" fmla="*/ 2157413 w 8971757"/>
                  <a:gd name="connsiteY88" fmla="*/ 3829050 h 4575969"/>
                  <a:gd name="connsiteX89" fmla="*/ 2259806 w 8971757"/>
                  <a:gd name="connsiteY89" fmla="*/ 3838575 h 4575969"/>
                  <a:gd name="connsiteX90" fmla="*/ 2371725 w 8971757"/>
                  <a:gd name="connsiteY90" fmla="*/ 3826669 h 4575969"/>
                  <a:gd name="connsiteX91" fmla="*/ 2650331 w 8971757"/>
                  <a:gd name="connsiteY91" fmla="*/ 3910012 h 4575969"/>
                  <a:gd name="connsiteX92" fmla="*/ 3057525 w 8971757"/>
                  <a:gd name="connsiteY92" fmla="*/ 3990975 h 4575969"/>
                  <a:gd name="connsiteX93" fmla="*/ 3255169 w 8971757"/>
                  <a:gd name="connsiteY93" fmla="*/ 3960018 h 4575969"/>
                  <a:gd name="connsiteX94" fmla="*/ 3300413 w 8971757"/>
                  <a:gd name="connsiteY94" fmla="*/ 3971924 h 4575969"/>
                  <a:gd name="connsiteX95" fmla="*/ 3355181 w 8971757"/>
                  <a:gd name="connsiteY95" fmla="*/ 3948113 h 4575969"/>
                  <a:gd name="connsiteX96" fmla="*/ 3748087 w 8971757"/>
                  <a:gd name="connsiteY96" fmla="*/ 4038600 h 4575969"/>
                  <a:gd name="connsiteX97" fmla="*/ 3831432 w 8971757"/>
                  <a:gd name="connsiteY97" fmla="*/ 4136231 h 4575969"/>
                  <a:gd name="connsiteX98" fmla="*/ 3950494 w 8971757"/>
                  <a:gd name="connsiteY98" fmla="*/ 4207669 h 4575969"/>
                  <a:gd name="connsiteX99" fmla="*/ 4010025 w 8971757"/>
                  <a:gd name="connsiteY99" fmla="*/ 4191000 h 4575969"/>
                  <a:gd name="connsiteX100" fmla="*/ 4360068 w 8971757"/>
                  <a:gd name="connsiteY100" fmla="*/ 4364831 h 4575969"/>
                  <a:gd name="connsiteX101" fmla="*/ 4586288 w 8971757"/>
                  <a:gd name="connsiteY101" fmla="*/ 4336256 h 4575969"/>
                  <a:gd name="connsiteX102" fmla="*/ 4595813 w 8971757"/>
                  <a:gd name="connsiteY102" fmla="*/ 4414837 h 4575969"/>
                  <a:gd name="connsiteX103" fmla="*/ 4681538 w 8971757"/>
                  <a:gd name="connsiteY103" fmla="*/ 4410074 h 4575969"/>
                  <a:gd name="connsiteX104" fmla="*/ 4760119 w 8971757"/>
                  <a:gd name="connsiteY104" fmla="*/ 4441031 h 4575969"/>
                  <a:gd name="connsiteX105" fmla="*/ 4802981 w 8971757"/>
                  <a:gd name="connsiteY105" fmla="*/ 4381500 h 4575969"/>
                  <a:gd name="connsiteX106" fmla="*/ 5474494 w 8971757"/>
                  <a:gd name="connsiteY106" fmla="*/ 4062412 h 4575969"/>
                  <a:gd name="connsiteX107" fmla="*/ 5562600 w 8971757"/>
                  <a:gd name="connsiteY107" fmla="*/ 4090988 h 4575969"/>
                  <a:gd name="connsiteX108" fmla="*/ 5693569 w 8971757"/>
                  <a:gd name="connsiteY108" fmla="*/ 4062412 h 4575969"/>
                  <a:gd name="connsiteX109" fmla="*/ 5872162 w 8971757"/>
                  <a:gd name="connsiteY109" fmla="*/ 4079081 h 4575969"/>
                  <a:gd name="connsiteX110" fmla="*/ 5929313 w 8971757"/>
                  <a:gd name="connsiteY110" fmla="*/ 4052888 h 4575969"/>
                  <a:gd name="connsiteX111" fmla="*/ 6062662 w 8971757"/>
                  <a:gd name="connsiteY111" fmla="*/ 4050506 h 4575969"/>
                  <a:gd name="connsiteX112" fmla="*/ 6196012 w 8971757"/>
                  <a:gd name="connsiteY112" fmla="*/ 3952875 h 4575969"/>
                  <a:gd name="connsiteX113" fmla="*/ 6262687 w 8971757"/>
                  <a:gd name="connsiteY113" fmla="*/ 3945731 h 4575969"/>
                  <a:gd name="connsiteX114" fmla="*/ 6360319 w 8971757"/>
                  <a:gd name="connsiteY114" fmla="*/ 3871912 h 4575969"/>
                  <a:gd name="connsiteX115" fmla="*/ 6434138 w 8971757"/>
                  <a:gd name="connsiteY115" fmla="*/ 3802856 h 4575969"/>
                  <a:gd name="connsiteX116" fmla="*/ 6443663 w 8971757"/>
                  <a:gd name="connsiteY116" fmla="*/ 3740944 h 4575969"/>
                  <a:gd name="connsiteX117" fmla="*/ 6477000 w 8971757"/>
                  <a:gd name="connsiteY117" fmla="*/ 3671887 h 4575969"/>
                  <a:gd name="connsiteX118" fmla="*/ 6629400 w 8971757"/>
                  <a:gd name="connsiteY118" fmla="*/ 3564731 h 4575969"/>
                  <a:gd name="connsiteX119" fmla="*/ 6662738 w 8971757"/>
                  <a:gd name="connsiteY119" fmla="*/ 3569494 h 4575969"/>
                  <a:gd name="connsiteX120" fmla="*/ 6715125 w 8971757"/>
                  <a:gd name="connsiteY120" fmla="*/ 3490912 h 4575969"/>
                  <a:gd name="connsiteX121" fmla="*/ 6762750 w 8971757"/>
                  <a:gd name="connsiteY121" fmla="*/ 3452812 h 4575969"/>
                  <a:gd name="connsiteX122" fmla="*/ 6748463 w 8971757"/>
                  <a:gd name="connsiteY122" fmla="*/ 3383756 h 4575969"/>
                  <a:gd name="connsiteX123" fmla="*/ 6698456 w 8971757"/>
                  <a:gd name="connsiteY123" fmla="*/ 3352799 h 4575969"/>
                  <a:gd name="connsiteX124" fmla="*/ 6638925 w 8971757"/>
                  <a:gd name="connsiteY124" fmla="*/ 3298031 h 4575969"/>
                  <a:gd name="connsiteX125" fmla="*/ 6619875 w 8971757"/>
                  <a:gd name="connsiteY125" fmla="*/ 3240881 h 4575969"/>
                  <a:gd name="connsiteX126" fmla="*/ 6584156 w 8971757"/>
                  <a:gd name="connsiteY126" fmla="*/ 3207544 h 4575969"/>
                  <a:gd name="connsiteX127" fmla="*/ 6610350 w 8971757"/>
                  <a:gd name="connsiteY127" fmla="*/ 3155156 h 4575969"/>
                  <a:gd name="connsiteX128" fmla="*/ 6650831 w 8971757"/>
                  <a:gd name="connsiteY128" fmla="*/ 2976562 h 4575969"/>
                  <a:gd name="connsiteX129" fmla="*/ 6691313 w 8971757"/>
                  <a:gd name="connsiteY129" fmla="*/ 2909887 h 4575969"/>
                  <a:gd name="connsiteX130" fmla="*/ 6836569 w 8971757"/>
                  <a:gd name="connsiteY130" fmla="*/ 2893218 h 4575969"/>
                  <a:gd name="connsiteX131" fmla="*/ 6905625 w 8971757"/>
                  <a:gd name="connsiteY131" fmla="*/ 2950369 h 4575969"/>
                  <a:gd name="connsiteX132" fmla="*/ 6981825 w 8971757"/>
                  <a:gd name="connsiteY132" fmla="*/ 2974181 h 4575969"/>
                  <a:gd name="connsiteX133" fmla="*/ 7186612 w 8971757"/>
                  <a:gd name="connsiteY133" fmla="*/ 2978944 h 4575969"/>
                  <a:gd name="connsiteX134" fmla="*/ 7362825 w 8971757"/>
                  <a:gd name="connsiteY134" fmla="*/ 2840831 h 4575969"/>
                  <a:gd name="connsiteX135" fmla="*/ 7419975 w 8971757"/>
                  <a:gd name="connsiteY135" fmla="*/ 2750343 h 4575969"/>
                  <a:gd name="connsiteX136" fmla="*/ 7446169 w 8971757"/>
                  <a:gd name="connsiteY136" fmla="*/ 2667000 h 4575969"/>
                  <a:gd name="connsiteX137" fmla="*/ 7577137 w 8971757"/>
                  <a:gd name="connsiteY137" fmla="*/ 2667000 h 4575969"/>
                  <a:gd name="connsiteX138" fmla="*/ 7750969 w 8971757"/>
                  <a:gd name="connsiteY138" fmla="*/ 2609849 h 4575969"/>
                  <a:gd name="connsiteX139" fmla="*/ 7810500 w 8971757"/>
                  <a:gd name="connsiteY139" fmla="*/ 2497931 h 4575969"/>
                  <a:gd name="connsiteX140" fmla="*/ 7874794 w 8971757"/>
                  <a:gd name="connsiteY140" fmla="*/ 2462212 h 4575969"/>
                  <a:gd name="connsiteX141" fmla="*/ 7853363 w 8971757"/>
                  <a:gd name="connsiteY141" fmla="*/ 2416969 h 4575969"/>
                  <a:gd name="connsiteX142" fmla="*/ 7931944 w 8971757"/>
                  <a:gd name="connsiteY142" fmla="*/ 2247899 h 4575969"/>
                  <a:gd name="connsiteX143" fmla="*/ 7986713 w 8971757"/>
                  <a:gd name="connsiteY143" fmla="*/ 2188369 h 4575969"/>
                  <a:gd name="connsiteX144" fmla="*/ 8024813 w 8971757"/>
                  <a:gd name="connsiteY144" fmla="*/ 2183606 h 4575969"/>
                  <a:gd name="connsiteX145" fmla="*/ 8070056 w 8971757"/>
                  <a:gd name="connsiteY145" fmla="*/ 2188369 h 4575969"/>
                  <a:gd name="connsiteX146" fmla="*/ 8134350 w 8971757"/>
                  <a:gd name="connsiteY146" fmla="*/ 2155031 h 4575969"/>
                  <a:gd name="connsiteX147" fmla="*/ 8143875 w 8971757"/>
                  <a:gd name="connsiteY147" fmla="*/ 2090737 h 4575969"/>
                  <a:gd name="connsiteX148" fmla="*/ 8184355 w 8971757"/>
                  <a:gd name="connsiteY148" fmla="*/ 2055019 h 4575969"/>
                  <a:gd name="connsiteX149" fmla="*/ 8243888 w 8971757"/>
                  <a:gd name="connsiteY149" fmla="*/ 2095499 h 4575969"/>
                  <a:gd name="connsiteX150" fmla="*/ 8270082 w 8971757"/>
                  <a:gd name="connsiteY150" fmla="*/ 2045493 h 4575969"/>
                  <a:gd name="connsiteX151" fmla="*/ 8365331 w 8971757"/>
                  <a:gd name="connsiteY151" fmla="*/ 1976437 h 4575969"/>
                  <a:gd name="connsiteX152" fmla="*/ 8427244 w 8971757"/>
                  <a:gd name="connsiteY152" fmla="*/ 1983581 h 4575969"/>
                  <a:gd name="connsiteX153" fmla="*/ 8477250 w 8971757"/>
                  <a:gd name="connsiteY153" fmla="*/ 1964531 h 4575969"/>
                  <a:gd name="connsiteX154" fmla="*/ 8515350 w 8971757"/>
                  <a:gd name="connsiteY154" fmla="*/ 1935956 h 4575969"/>
                  <a:gd name="connsiteX155" fmla="*/ 8548688 w 8971757"/>
                  <a:gd name="connsiteY155" fmla="*/ 1933575 h 4575969"/>
                  <a:gd name="connsiteX156" fmla="*/ 8584406 w 8971757"/>
                  <a:gd name="connsiteY156" fmla="*/ 1964531 h 4575969"/>
                  <a:gd name="connsiteX157" fmla="*/ 8643938 w 8971757"/>
                  <a:gd name="connsiteY157" fmla="*/ 1964531 h 4575969"/>
                  <a:gd name="connsiteX158" fmla="*/ 8682037 w 8971757"/>
                  <a:gd name="connsiteY158" fmla="*/ 1945481 h 4575969"/>
                  <a:gd name="connsiteX159" fmla="*/ 8765381 w 8971757"/>
                  <a:gd name="connsiteY159" fmla="*/ 1947863 h 4575969"/>
                  <a:gd name="connsiteX160" fmla="*/ 8796338 w 8971757"/>
                  <a:gd name="connsiteY160" fmla="*/ 1902619 h 4575969"/>
                  <a:gd name="connsiteX161" fmla="*/ 8801100 w 8971757"/>
                  <a:gd name="connsiteY161" fmla="*/ 1840706 h 4575969"/>
                  <a:gd name="connsiteX162" fmla="*/ 8751093 w 8971757"/>
                  <a:gd name="connsiteY162" fmla="*/ 1800225 h 4575969"/>
                  <a:gd name="connsiteX163" fmla="*/ 8734425 w 8971757"/>
                  <a:gd name="connsiteY163" fmla="*/ 1745456 h 4575969"/>
                  <a:gd name="connsiteX164" fmla="*/ 8643938 w 8971757"/>
                  <a:gd name="connsiteY164" fmla="*/ 1683544 h 4575969"/>
                  <a:gd name="connsiteX165" fmla="*/ 8603456 w 8971757"/>
                  <a:gd name="connsiteY165" fmla="*/ 1662112 h 4575969"/>
                  <a:gd name="connsiteX166" fmla="*/ 8565356 w 8971757"/>
                  <a:gd name="connsiteY166" fmla="*/ 1616869 h 4575969"/>
                  <a:gd name="connsiteX167" fmla="*/ 8534400 w 8971757"/>
                  <a:gd name="connsiteY167" fmla="*/ 1614487 h 4575969"/>
                  <a:gd name="connsiteX168" fmla="*/ 8517731 w 8971757"/>
                  <a:gd name="connsiteY168" fmla="*/ 1562100 h 4575969"/>
                  <a:gd name="connsiteX169" fmla="*/ 8477250 w 8971757"/>
                  <a:gd name="connsiteY169" fmla="*/ 1545431 h 4575969"/>
                  <a:gd name="connsiteX170" fmla="*/ 8477250 w 8971757"/>
                  <a:gd name="connsiteY170" fmla="*/ 1545431 h 4575969"/>
                  <a:gd name="connsiteX171" fmla="*/ 8436769 w 8971757"/>
                  <a:gd name="connsiteY171" fmla="*/ 1550194 h 4575969"/>
                  <a:gd name="connsiteX172" fmla="*/ 8351043 w 8971757"/>
                  <a:gd name="connsiteY172" fmla="*/ 1476375 h 4575969"/>
                  <a:gd name="connsiteX173" fmla="*/ 8170069 w 8971757"/>
                  <a:gd name="connsiteY173" fmla="*/ 1476374 h 4575969"/>
                  <a:gd name="connsiteX174" fmla="*/ 8117681 w 8971757"/>
                  <a:gd name="connsiteY174" fmla="*/ 1514475 h 4575969"/>
                  <a:gd name="connsiteX175" fmla="*/ 8067675 w 8971757"/>
                  <a:gd name="connsiteY175" fmla="*/ 1593056 h 4575969"/>
                  <a:gd name="connsiteX176" fmla="*/ 8084344 w 8971757"/>
                  <a:gd name="connsiteY176" fmla="*/ 1614487 h 4575969"/>
                  <a:gd name="connsiteX177" fmla="*/ 8039100 w 8971757"/>
                  <a:gd name="connsiteY177" fmla="*/ 1664493 h 4575969"/>
                  <a:gd name="connsiteX178" fmla="*/ 7889081 w 8971757"/>
                  <a:gd name="connsiteY178" fmla="*/ 1588293 h 4575969"/>
                  <a:gd name="connsiteX179" fmla="*/ 7798594 w 8971757"/>
                  <a:gd name="connsiteY179" fmla="*/ 1624012 h 4575969"/>
                  <a:gd name="connsiteX180" fmla="*/ 7724775 w 8971757"/>
                  <a:gd name="connsiteY180" fmla="*/ 1621631 h 4575969"/>
                  <a:gd name="connsiteX181" fmla="*/ 7667625 w 8971757"/>
                  <a:gd name="connsiteY181" fmla="*/ 1716881 h 4575969"/>
                  <a:gd name="connsiteX182" fmla="*/ 7529513 w 8971757"/>
                  <a:gd name="connsiteY18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6093619 w 8971757"/>
                  <a:gd name="connsiteY29" fmla="*/ 1309687 h 4575969"/>
                  <a:gd name="connsiteX30" fmla="*/ 8412956 w 8971757"/>
                  <a:gd name="connsiteY30" fmla="*/ 23812 h 4575969"/>
                  <a:gd name="connsiteX31" fmla="*/ 8949531 w 8971757"/>
                  <a:gd name="connsiteY31" fmla="*/ 0 h 4575969"/>
                  <a:gd name="connsiteX32" fmla="*/ 8971757 w 8971757"/>
                  <a:gd name="connsiteY32" fmla="*/ 4575969 h 4575969"/>
                  <a:gd name="connsiteX33" fmla="*/ 2381 w 8971757"/>
                  <a:gd name="connsiteY33" fmla="*/ 4547392 h 4575969"/>
                  <a:gd name="connsiteX34" fmla="*/ 0 w 8971757"/>
                  <a:gd name="connsiteY34" fmla="*/ 845344 h 4575969"/>
                  <a:gd name="connsiteX35" fmla="*/ 76200 w 8971757"/>
                  <a:gd name="connsiteY35" fmla="*/ 828675 h 4575969"/>
                  <a:gd name="connsiteX36" fmla="*/ 119063 w 8971757"/>
                  <a:gd name="connsiteY36" fmla="*/ 857250 h 4575969"/>
                  <a:gd name="connsiteX37" fmla="*/ 215900 w 8971757"/>
                  <a:gd name="connsiteY37" fmla="*/ 848519 h 4575969"/>
                  <a:gd name="connsiteX38" fmla="*/ 261938 w 8971757"/>
                  <a:gd name="connsiteY38" fmla="*/ 876299 h 4575969"/>
                  <a:gd name="connsiteX39" fmla="*/ 228600 w 8971757"/>
                  <a:gd name="connsiteY39" fmla="*/ 904875 h 4575969"/>
                  <a:gd name="connsiteX40" fmla="*/ 233363 w 8971757"/>
                  <a:gd name="connsiteY40" fmla="*/ 947737 h 4575969"/>
                  <a:gd name="connsiteX41" fmla="*/ 200025 w 8971757"/>
                  <a:gd name="connsiteY41" fmla="*/ 952500 h 4575969"/>
                  <a:gd name="connsiteX42" fmla="*/ 204788 w 8971757"/>
                  <a:gd name="connsiteY42" fmla="*/ 976312 h 4575969"/>
                  <a:gd name="connsiteX43" fmla="*/ 261937 w 8971757"/>
                  <a:gd name="connsiteY43" fmla="*/ 1050131 h 4575969"/>
                  <a:gd name="connsiteX44" fmla="*/ 223838 w 8971757"/>
                  <a:gd name="connsiteY44" fmla="*/ 1097756 h 4575969"/>
                  <a:gd name="connsiteX45" fmla="*/ 278606 w 8971757"/>
                  <a:gd name="connsiteY45" fmla="*/ 1133475 h 4575969"/>
                  <a:gd name="connsiteX46" fmla="*/ 369094 w 8971757"/>
                  <a:gd name="connsiteY46" fmla="*/ 1221581 h 4575969"/>
                  <a:gd name="connsiteX47" fmla="*/ 371475 w 8971757"/>
                  <a:gd name="connsiteY47" fmla="*/ 1281112 h 4575969"/>
                  <a:gd name="connsiteX48" fmla="*/ 507206 w 8971757"/>
                  <a:gd name="connsiteY48" fmla="*/ 1414463 h 4575969"/>
                  <a:gd name="connsiteX49" fmla="*/ 561975 w 8971757"/>
                  <a:gd name="connsiteY49" fmla="*/ 1390650 h 4575969"/>
                  <a:gd name="connsiteX50" fmla="*/ 600075 w 8971757"/>
                  <a:gd name="connsiteY50" fmla="*/ 1416843 h 4575969"/>
                  <a:gd name="connsiteX51" fmla="*/ 614363 w 8971757"/>
                  <a:gd name="connsiteY51" fmla="*/ 1466849 h 4575969"/>
                  <a:gd name="connsiteX52" fmla="*/ 657225 w 8971757"/>
                  <a:gd name="connsiteY52" fmla="*/ 1502569 h 4575969"/>
                  <a:gd name="connsiteX53" fmla="*/ 697706 w 8971757"/>
                  <a:gd name="connsiteY53" fmla="*/ 1490662 h 4575969"/>
                  <a:gd name="connsiteX54" fmla="*/ 716756 w 8971757"/>
                  <a:gd name="connsiteY54" fmla="*/ 1547812 h 4575969"/>
                  <a:gd name="connsiteX55" fmla="*/ 764381 w 8971757"/>
                  <a:gd name="connsiteY55" fmla="*/ 1590675 h 4575969"/>
                  <a:gd name="connsiteX56" fmla="*/ 788194 w 8971757"/>
                  <a:gd name="connsiteY56" fmla="*/ 1693069 h 4575969"/>
                  <a:gd name="connsiteX57" fmla="*/ 785813 w 8971757"/>
                  <a:gd name="connsiteY57" fmla="*/ 1740694 h 4575969"/>
                  <a:gd name="connsiteX58" fmla="*/ 821531 w 8971757"/>
                  <a:gd name="connsiteY58" fmla="*/ 1840706 h 4575969"/>
                  <a:gd name="connsiteX59" fmla="*/ 866775 w 8971757"/>
                  <a:gd name="connsiteY59" fmla="*/ 1897856 h 4575969"/>
                  <a:gd name="connsiteX60" fmla="*/ 883443 w 8971757"/>
                  <a:gd name="connsiteY60" fmla="*/ 2055018 h 4575969"/>
                  <a:gd name="connsiteX61" fmla="*/ 850106 w 8971757"/>
                  <a:gd name="connsiteY61" fmla="*/ 2116931 h 4575969"/>
                  <a:gd name="connsiteX62" fmla="*/ 819150 w 8971757"/>
                  <a:gd name="connsiteY62" fmla="*/ 2193131 h 4575969"/>
                  <a:gd name="connsiteX63" fmla="*/ 833438 w 8971757"/>
                  <a:gd name="connsiteY63" fmla="*/ 2250281 h 4575969"/>
                  <a:gd name="connsiteX64" fmla="*/ 735806 w 8971757"/>
                  <a:gd name="connsiteY64" fmla="*/ 2357438 h 4575969"/>
                  <a:gd name="connsiteX65" fmla="*/ 692944 w 8971757"/>
                  <a:gd name="connsiteY65" fmla="*/ 2471737 h 4575969"/>
                  <a:gd name="connsiteX66" fmla="*/ 726281 w 8971757"/>
                  <a:gd name="connsiteY66" fmla="*/ 2512219 h 4575969"/>
                  <a:gd name="connsiteX67" fmla="*/ 709613 w 8971757"/>
                  <a:gd name="connsiteY67" fmla="*/ 2540794 h 4575969"/>
                  <a:gd name="connsiteX68" fmla="*/ 740569 w 8971757"/>
                  <a:gd name="connsiteY68" fmla="*/ 2597944 h 4575969"/>
                  <a:gd name="connsiteX69" fmla="*/ 769144 w 8971757"/>
                  <a:gd name="connsiteY69" fmla="*/ 2597944 h 4575969"/>
                  <a:gd name="connsiteX70" fmla="*/ 931069 w 8971757"/>
                  <a:gd name="connsiteY70" fmla="*/ 2700337 h 4575969"/>
                  <a:gd name="connsiteX71" fmla="*/ 1035844 w 8971757"/>
                  <a:gd name="connsiteY71" fmla="*/ 2697956 h 4575969"/>
                  <a:gd name="connsiteX72" fmla="*/ 1114425 w 8971757"/>
                  <a:gd name="connsiteY72" fmla="*/ 2752725 h 4575969"/>
                  <a:gd name="connsiteX73" fmla="*/ 1245393 w 8971757"/>
                  <a:gd name="connsiteY73" fmla="*/ 2755106 h 4575969"/>
                  <a:gd name="connsiteX74" fmla="*/ 1435893 w 8971757"/>
                  <a:gd name="connsiteY74" fmla="*/ 2824162 h 4575969"/>
                  <a:gd name="connsiteX75" fmla="*/ 1638300 w 8971757"/>
                  <a:gd name="connsiteY75" fmla="*/ 2974181 h 4575969"/>
                  <a:gd name="connsiteX76" fmla="*/ 1671637 w 8971757"/>
                  <a:gd name="connsiteY76" fmla="*/ 3040856 h 4575969"/>
                  <a:gd name="connsiteX77" fmla="*/ 1838325 w 8971757"/>
                  <a:gd name="connsiteY77" fmla="*/ 3167062 h 4575969"/>
                  <a:gd name="connsiteX78" fmla="*/ 1909763 w 8971757"/>
                  <a:gd name="connsiteY78" fmla="*/ 3162300 h 4575969"/>
                  <a:gd name="connsiteX79" fmla="*/ 1945482 w 8971757"/>
                  <a:gd name="connsiteY79" fmla="*/ 3186112 h 4575969"/>
                  <a:gd name="connsiteX80" fmla="*/ 1916906 w 8971757"/>
                  <a:gd name="connsiteY80" fmla="*/ 3226594 h 4575969"/>
                  <a:gd name="connsiteX81" fmla="*/ 1924050 w 8971757"/>
                  <a:gd name="connsiteY81" fmla="*/ 3278981 h 4575969"/>
                  <a:gd name="connsiteX82" fmla="*/ 1976438 w 8971757"/>
                  <a:gd name="connsiteY82" fmla="*/ 3305175 h 4575969"/>
                  <a:gd name="connsiteX83" fmla="*/ 2038350 w 8971757"/>
                  <a:gd name="connsiteY83" fmla="*/ 3529013 h 4575969"/>
                  <a:gd name="connsiteX84" fmla="*/ 2028825 w 8971757"/>
                  <a:gd name="connsiteY84" fmla="*/ 3593306 h 4575969"/>
                  <a:gd name="connsiteX85" fmla="*/ 2164556 w 8971757"/>
                  <a:gd name="connsiteY85" fmla="*/ 3759994 h 4575969"/>
                  <a:gd name="connsiteX86" fmla="*/ 2183606 w 8971757"/>
                  <a:gd name="connsiteY86" fmla="*/ 3810000 h 4575969"/>
                  <a:gd name="connsiteX87" fmla="*/ 2157413 w 8971757"/>
                  <a:gd name="connsiteY87" fmla="*/ 3829050 h 4575969"/>
                  <a:gd name="connsiteX88" fmla="*/ 2259806 w 8971757"/>
                  <a:gd name="connsiteY88" fmla="*/ 3838575 h 4575969"/>
                  <a:gd name="connsiteX89" fmla="*/ 2371725 w 8971757"/>
                  <a:gd name="connsiteY89" fmla="*/ 3826669 h 4575969"/>
                  <a:gd name="connsiteX90" fmla="*/ 2650331 w 8971757"/>
                  <a:gd name="connsiteY90" fmla="*/ 3910012 h 4575969"/>
                  <a:gd name="connsiteX91" fmla="*/ 3057525 w 8971757"/>
                  <a:gd name="connsiteY91" fmla="*/ 3990975 h 4575969"/>
                  <a:gd name="connsiteX92" fmla="*/ 3255169 w 8971757"/>
                  <a:gd name="connsiteY92" fmla="*/ 3960018 h 4575969"/>
                  <a:gd name="connsiteX93" fmla="*/ 3300413 w 8971757"/>
                  <a:gd name="connsiteY93" fmla="*/ 3971924 h 4575969"/>
                  <a:gd name="connsiteX94" fmla="*/ 3355181 w 8971757"/>
                  <a:gd name="connsiteY94" fmla="*/ 3948113 h 4575969"/>
                  <a:gd name="connsiteX95" fmla="*/ 3748087 w 8971757"/>
                  <a:gd name="connsiteY95" fmla="*/ 4038600 h 4575969"/>
                  <a:gd name="connsiteX96" fmla="*/ 3831432 w 8971757"/>
                  <a:gd name="connsiteY96" fmla="*/ 4136231 h 4575969"/>
                  <a:gd name="connsiteX97" fmla="*/ 3950494 w 8971757"/>
                  <a:gd name="connsiteY97" fmla="*/ 4207669 h 4575969"/>
                  <a:gd name="connsiteX98" fmla="*/ 4010025 w 8971757"/>
                  <a:gd name="connsiteY98" fmla="*/ 4191000 h 4575969"/>
                  <a:gd name="connsiteX99" fmla="*/ 4360068 w 8971757"/>
                  <a:gd name="connsiteY99" fmla="*/ 4364831 h 4575969"/>
                  <a:gd name="connsiteX100" fmla="*/ 4586288 w 8971757"/>
                  <a:gd name="connsiteY100" fmla="*/ 4336256 h 4575969"/>
                  <a:gd name="connsiteX101" fmla="*/ 4595813 w 8971757"/>
                  <a:gd name="connsiteY101" fmla="*/ 4414837 h 4575969"/>
                  <a:gd name="connsiteX102" fmla="*/ 4681538 w 8971757"/>
                  <a:gd name="connsiteY102" fmla="*/ 4410074 h 4575969"/>
                  <a:gd name="connsiteX103" fmla="*/ 4760119 w 8971757"/>
                  <a:gd name="connsiteY103" fmla="*/ 4441031 h 4575969"/>
                  <a:gd name="connsiteX104" fmla="*/ 4802981 w 8971757"/>
                  <a:gd name="connsiteY104" fmla="*/ 4381500 h 4575969"/>
                  <a:gd name="connsiteX105" fmla="*/ 5474494 w 8971757"/>
                  <a:gd name="connsiteY105" fmla="*/ 4062412 h 4575969"/>
                  <a:gd name="connsiteX106" fmla="*/ 5562600 w 8971757"/>
                  <a:gd name="connsiteY106" fmla="*/ 4090988 h 4575969"/>
                  <a:gd name="connsiteX107" fmla="*/ 5693569 w 8971757"/>
                  <a:gd name="connsiteY107" fmla="*/ 4062412 h 4575969"/>
                  <a:gd name="connsiteX108" fmla="*/ 5872162 w 8971757"/>
                  <a:gd name="connsiteY108" fmla="*/ 4079081 h 4575969"/>
                  <a:gd name="connsiteX109" fmla="*/ 5929313 w 8971757"/>
                  <a:gd name="connsiteY109" fmla="*/ 4052888 h 4575969"/>
                  <a:gd name="connsiteX110" fmla="*/ 6062662 w 8971757"/>
                  <a:gd name="connsiteY110" fmla="*/ 4050506 h 4575969"/>
                  <a:gd name="connsiteX111" fmla="*/ 6196012 w 8971757"/>
                  <a:gd name="connsiteY111" fmla="*/ 3952875 h 4575969"/>
                  <a:gd name="connsiteX112" fmla="*/ 6262687 w 8971757"/>
                  <a:gd name="connsiteY112" fmla="*/ 3945731 h 4575969"/>
                  <a:gd name="connsiteX113" fmla="*/ 6360319 w 8971757"/>
                  <a:gd name="connsiteY113" fmla="*/ 3871912 h 4575969"/>
                  <a:gd name="connsiteX114" fmla="*/ 6434138 w 8971757"/>
                  <a:gd name="connsiteY114" fmla="*/ 3802856 h 4575969"/>
                  <a:gd name="connsiteX115" fmla="*/ 6443663 w 8971757"/>
                  <a:gd name="connsiteY115" fmla="*/ 3740944 h 4575969"/>
                  <a:gd name="connsiteX116" fmla="*/ 6477000 w 8971757"/>
                  <a:gd name="connsiteY116" fmla="*/ 3671887 h 4575969"/>
                  <a:gd name="connsiteX117" fmla="*/ 6629400 w 8971757"/>
                  <a:gd name="connsiteY117" fmla="*/ 3564731 h 4575969"/>
                  <a:gd name="connsiteX118" fmla="*/ 6662738 w 8971757"/>
                  <a:gd name="connsiteY118" fmla="*/ 3569494 h 4575969"/>
                  <a:gd name="connsiteX119" fmla="*/ 6715125 w 8971757"/>
                  <a:gd name="connsiteY119" fmla="*/ 3490912 h 4575969"/>
                  <a:gd name="connsiteX120" fmla="*/ 6762750 w 8971757"/>
                  <a:gd name="connsiteY120" fmla="*/ 3452812 h 4575969"/>
                  <a:gd name="connsiteX121" fmla="*/ 6748463 w 8971757"/>
                  <a:gd name="connsiteY121" fmla="*/ 3383756 h 4575969"/>
                  <a:gd name="connsiteX122" fmla="*/ 6698456 w 8971757"/>
                  <a:gd name="connsiteY122" fmla="*/ 3352799 h 4575969"/>
                  <a:gd name="connsiteX123" fmla="*/ 6638925 w 8971757"/>
                  <a:gd name="connsiteY123" fmla="*/ 3298031 h 4575969"/>
                  <a:gd name="connsiteX124" fmla="*/ 6619875 w 8971757"/>
                  <a:gd name="connsiteY124" fmla="*/ 3240881 h 4575969"/>
                  <a:gd name="connsiteX125" fmla="*/ 6584156 w 8971757"/>
                  <a:gd name="connsiteY125" fmla="*/ 3207544 h 4575969"/>
                  <a:gd name="connsiteX126" fmla="*/ 6610350 w 8971757"/>
                  <a:gd name="connsiteY126" fmla="*/ 3155156 h 4575969"/>
                  <a:gd name="connsiteX127" fmla="*/ 6650831 w 8971757"/>
                  <a:gd name="connsiteY127" fmla="*/ 2976562 h 4575969"/>
                  <a:gd name="connsiteX128" fmla="*/ 6691313 w 8971757"/>
                  <a:gd name="connsiteY128" fmla="*/ 2909887 h 4575969"/>
                  <a:gd name="connsiteX129" fmla="*/ 6836569 w 8971757"/>
                  <a:gd name="connsiteY129" fmla="*/ 2893218 h 4575969"/>
                  <a:gd name="connsiteX130" fmla="*/ 6905625 w 8971757"/>
                  <a:gd name="connsiteY130" fmla="*/ 2950369 h 4575969"/>
                  <a:gd name="connsiteX131" fmla="*/ 6981825 w 8971757"/>
                  <a:gd name="connsiteY131" fmla="*/ 2974181 h 4575969"/>
                  <a:gd name="connsiteX132" fmla="*/ 7186612 w 8971757"/>
                  <a:gd name="connsiteY132" fmla="*/ 2978944 h 4575969"/>
                  <a:gd name="connsiteX133" fmla="*/ 7362825 w 8971757"/>
                  <a:gd name="connsiteY133" fmla="*/ 2840831 h 4575969"/>
                  <a:gd name="connsiteX134" fmla="*/ 7419975 w 8971757"/>
                  <a:gd name="connsiteY134" fmla="*/ 2750343 h 4575969"/>
                  <a:gd name="connsiteX135" fmla="*/ 7446169 w 8971757"/>
                  <a:gd name="connsiteY135" fmla="*/ 2667000 h 4575969"/>
                  <a:gd name="connsiteX136" fmla="*/ 7577137 w 8971757"/>
                  <a:gd name="connsiteY136" fmla="*/ 2667000 h 4575969"/>
                  <a:gd name="connsiteX137" fmla="*/ 7750969 w 8971757"/>
                  <a:gd name="connsiteY137" fmla="*/ 2609849 h 4575969"/>
                  <a:gd name="connsiteX138" fmla="*/ 7810500 w 8971757"/>
                  <a:gd name="connsiteY138" fmla="*/ 2497931 h 4575969"/>
                  <a:gd name="connsiteX139" fmla="*/ 7874794 w 8971757"/>
                  <a:gd name="connsiteY139" fmla="*/ 2462212 h 4575969"/>
                  <a:gd name="connsiteX140" fmla="*/ 7853363 w 8971757"/>
                  <a:gd name="connsiteY140" fmla="*/ 2416969 h 4575969"/>
                  <a:gd name="connsiteX141" fmla="*/ 7931944 w 8971757"/>
                  <a:gd name="connsiteY141" fmla="*/ 2247899 h 4575969"/>
                  <a:gd name="connsiteX142" fmla="*/ 7986713 w 8971757"/>
                  <a:gd name="connsiteY142" fmla="*/ 2188369 h 4575969"/>
                  <a:gd name="connsiteX143" fmla="*/ 8024813 w 8971757"/>
                  <a:gd name="connsiteY143" fmla="*/ 2183606 h 4575969"/>
                  <a:gd name="connsiteX144" fmla="*/ 8070056 w 8971757"/>
                  <a:gd name="connsiteY144" fmla="*/ 2188369 h 4575969"/>
                  <a:gd name="connsiteX145" fmla="*/ 8134350 w 8971757"/>
                  <a:gd name="connsiteY145" fmla="*/ 2155031 h 4575969"/>
                  <a:gd name="connsiteX146" fmla="*/ 8143875 w 8971757"/>
                  <a:gd name="connsiteY146" fmla="*/ 2090737 h 4575969"/>
                  <a:gd name="connsiteX147" fmla="*/ 8184355 w 8971757"/>
                  <a:gd name="connsiteY147" fmla="*/ 2055019 h 4575969"/>
                  <a:gd name="connsiteX148" fmla="*/ 8243888 w 8971757"/>
                  <a:gd name="connsiteY148" fmla="*/ 2095499 h 4575969"/>
                  <a:gd name="connsiteX149" fmla="*/ 8270082 w 8971757"/>
                  <a:gd name="connsiteY149" fmla="*/ 2045493 h 4575969"/>
                  <a:gd name="connsiteX150" fmla="*/ 8365331 w 8971757"/>
                  <a:gd name="connsiteY150" fmla="*/ 1976437 h 4575969"/>
                  <a:gd name="connsiteX151" fmla="*/ 8427244 w 8971757"/>
                  <a:gd name="connsiteY151" fmla="*/ 1983581 h 4575969"/>
                  <a:gd name="connsiteX152" fmla="*/ 8477250 w 8971757"/>
                  <a:gd name="connsiteY152" fmla="*/ 1964531 h 4575969"/>
                  <a:gd name="connsiteX153" fmla="*/ 8515350 w 8971757"/>
                  <a:gd name="connsiteY153" fmla="*/ 1935956 h 4575969"/>
                  <a:gd name="connsiteX154" fmla="*/ 8548688 w 8971757"/>
                  <a:gd name="connsiteY154" fmla="*/ 1933575 h 4575969"/>
                  <a:gd name="connsiteX155" fmla="*/ 8584406 w 8971757"/>
                  <a:gd name="connsiteY155" fmla="*/ 1964531 h 4575969"/>
                  <a:gd name="connsiteX156" fmla="*/ 8643938 w 8971757"/>
                  <a:gd name="connsiteY156" fmla="*/ 1964531 h 4575969"/>
                  <a:gd name="connsiteX157" fmla="*/ 8682037 w 8971757"/>
                  <a:gd name="connsiteY157" fmla="*/ 1945481 h 4575969"/>
                  <a:gd name="connsiteX158" fmla="*/ 8765381 w 8971757"/>
                  <a:gd name="connsiteY158" fmla="*/ 1947863 h 4575969"/>
                  <a:gd name="connsiteX159" fmla="*/ 8796338 w 8971757"/>
                  <a:gd name="connsiteY159" fmla="*/ 1902619 h 4575969"/>
                  <a:gd name="connsiteX160" fmla="*/ 8801100 w 8971757"/>
                  <a:gd name="connsiteY160" fmla="*/ 1840706 h 4575969"/>
                  <a:gd name="connsiteX161" fmla="*/ 8751093 w 8971757"/>
                  <a:gd name="connsiteY161" fmla="*/ 1800225 h 4575969"/>
                  <a:gd name="connsiteX162" fmla="*/ 8734425 w 8971757"/>
                  <a:gd name="connsiteY162" fmla="*/ 1745456 h 4575969"/>
                  <a:gd name="connsiteX163" fmla="*/ 8643938 w 8971757"/>
                  <a:gd name="connsiteY163" fmla="*/ 1683544 h 4575969"/>
                  <a:gd name="connsiteX164" fmla="*/ 8603456 w 8971757"/>
                  <a:gd name="connsiteY164" fmla="*/ 1662112 h 4575969"/>
                  <a:gd name="connsiteX165" fmla="*/ 8565356 w 8971757"/>
                  <a:gd name="connsiteY165" fmla="*/ 1616869 h 4575969"/>
                  <a:gd name="connsiteX166" fmla="*/ 8534400 w 8971757"/>
                  <a:gd name="connsiteY166" fmla="*/ 1614487 h 4575969"/>
                  <a:gd name="connsiteX167" fmla="*/ 8517731 w 8971757"/>
                  <a:gd name="connsiteY167" fmla="*/ 1562100 h 4575969"/>
                  <a:gd name="connsiteX168" fmla="*/ 8477250 w 8971757"/>
                  <a:gd name="connsiteY168" fmla="*/ 1545431 h 4575969"/>
                  <a:gd name="connsiteX169" fmla="*/ 8477250 w 8971757"/>
                  <a:gd name="connsiteY169" fmla="*/ 1545431 h 4575969"/>
                  <a:gd name="connsiteX170" fmla="*/ 8436769 w 8971757"/>
                  <a:gd name="connsiteY170" fmla="*/ 1550194 h 4575969"/>
                  <a:gd name="connsiteX171" fmla="*/ 8351043 w 8971757"/>
                  <a:gd name="connsiteY171" fmla="*/ 1476375 h 4575969"/>
                  <a:gd name="connsiteX172" fmla="*/ 8170069 w 8971757"/>
                  <a:gd name="connsiteY172" fmla="*/ 1476374 h 4575969"/>
                  <a:gd name="connsiteX173" fmla="*/ 8117681 w 8971757"/>
                  <a:gd name="connsiteY173" fmla="*/ 1514475 h 4575969"/>
                  <a:gd name="connsiteX174" fmla="*/ 8067675 w 8971757"/>
                  <a:gd name="connsiteY174" fmla="*/ 1593056 h 4575969"/>
                  <a:gd name="connsiteX175" fmla="*/ 8084344 w 8971757"/>
                  <a:gd name="connsiteY175" fmla="*/ 1614487 h 4575969"/>
                  <a:gd name="connsiteX176" fmla="*/ 8039100 w 8971757"/>
                  <a:gd name="connsiteY176" fmla="*/ 1664493 h 4575969"/>
                  <a:gd name="connsiteX177" fmla="*/ 7889081 w 8971757"/>
                  <a:gd name="connsiteY177" fmla="*/ 1588293 h 4575969"/>
                  <a:gd name="connsiteX178" fmla="*/ 7798594 w 8971757"/>
                  <a:gd name="connsiteY178" fmla="*/ 1624012 h 4575969"/>
                  <a:gd name="connsiteX179" fmla="*/ 7724775 w 8971757"/>
                  <a:gd name="connsiteY179" fmla="*/ 1621631 h 4575969"/>
                  <a:gd name="connsiteX180" fmla="*/ 7667625 w 8971757"/>
                  <a:gd name="connsiteY180" fmla="*/ 1716881 h 4575969"/>
                  <a:gd name="connsiteX181" fmla="*/ 7529513 w 8971757"/>
                  <a:gd name="connsiteY18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6119813 w 8971757"/>
                  <a:gd name="connsiteY28" fmla="*/ 1273969 h 4575969"/>
                  <a:gd name="connsiteX29" fmla="*/ 8412956 w 8971757"/>
                  <a:gd name="connsiteY29" fmla="*/ 23812 h 4575969"/>
                  <a:gd name="connsiteX30" fmla="*/ 8949531 w 8971757"/>
                  <a:gd name="connsiteY30" fmla="*/ 0 h 4575969"/>
                  <a:gd name="connsiteX31" fmla="*/ 8971757 w 8971757"/>
                  <a:gd name="connsiteY31" fmla="*/ 4575969 h 4575969"/>
                  <a:gd name="connsiteX32" fmla="*/ 2381 w 8971757"/>
                  <a:gd name="connsiteY32" fmla="*/ 4547392 h 4575969"/>
                  <a:gd name="connsiteX33" fmla="*/ 0 w 8971757"/>
                  <a:gd name="connsiteY33" fmla="*/ 845344 h 4575969"/>
                  <a:gd name="connsiteX34" fmla="*/ 76200 w 8971757"/>
                  <a:gd name="connsiteY34" fmla="*/ 828675 h 4575969"/>
                  <a:gd name="connsiteX35" fmla="*/ 119063 w 8971757"/>
                  <a:gd name="connsiteY35" fmla="*/ 857250 h 4575969"/>
                  <a:gd name="connsiteX36" fmla="*/ 215900 w 8971757"/>
                  <a:gd name="connsiteY36" fmla="*/ 848519 h 4575969"/>
                  <a:gd name="connsiteX37" fmla="*/ 261938 w 8971757"/>
                  <a:gd name="connsiteY37" fmla="*/ 876299 h 4575969"/>
                  <a:gd name="connsiteX38" fmla="*/ 228600 w 8971757"/>
                  <a:gd name="connsiteY38" fmla="*/ 904875 h 4575969"/>
                  <a:gd name="connsiteX39" fmla="*/ 233363 w 8971757"/>
                  <a:gd name="connsiteY39" fmla="*/ 947737 h 4575969"/>
                  <a:gd name="connsiteX40" fmla="*/ 200025 w 8971757"/>
                  <a:gd name="connsiteY40" fmla="*/ 952500 h 4575969"/>
                  <a:gd name="connsiteX41" fmla="*/ 204788 w 8971757"/>
                  <a:gd name="connsiteY41" fmla="*/ 976312 h 4575969"/>
                  <a:gd name="connsiteX42" fmla="*/ 261937 w 8971757"/>
                  <a:gd name="connsiteY42" fmla="*/ 1050131 h 4575969"/>
                  <a:gd name="connsiteX43" fmla="*/ 223838 w 8971757"/>
                  <a:gd name="connsiteY43" fmla="*/ 1097756 h 4575969"/>
                  <a:gd name="connsiteX44" fmla="*/ 278606 w 8971757"/>
                  <a:gd name="connsiteY44" fmla="*/ 1133475 h 4575969"/>
                  <a:gd name="connsiteX45" fmla="*/ 369094 w 8971757"/>
                  <a:gd name="connsiteY45" fmla="*/ 1221581 h 4575969"/>
                  <a:gd name="connsiteX46" fmla="*/ 371475 w 8971757"/>
                  <a:gd name="connsiteY46" fmla="*/ 1281112 h 4575969"/>
                  <a:gd name="connsiteX47" fmla="*/ 507206 w 8971757"/>
                  <a:gd name="connsiteY47" fmla="*/ 1414463 h 4575969"/>
                  <a:gd name="connsiteX48" fmla="*/ 561975 w 8971757"/>
                  <a:gd name="connsiteY48" fmla="*/ 1390650 h 4575969"/>
                  <a:gd name="connsiteX49" fmla="*/ 600075 w 8971757"/>
                  <a:gd name="connsiteY49" fmla="*/ 1416843 h 4575969"/>
                  <a:gd name="connsiteX50" fmla="*/ 614363 w 8971757"/>
                  <a:gd name="connsiteY50" fmla="*/ 1466849 h 4575969"/>
                  <a:gd name="connsiteX51" fmla="*/ 657225 w 8971757"/>
                  <a:gd name="connsiteY51" fmla="*/ 1502569 h 4575969"/>
                  <a:gd name="connsiteX52" fmla="*/ 697706 w 8971757"/>
                  <a:gd name="connsiteY52" fmla="*/ 1490662 h 4575969"/>
                  <a:gd name="connsiteX53" fmla="*/ 716756 w 8971757"/>
                  <a:gd name="connsiteY53" fmla="*/ 1547812 h 4575969"/>
                  <a:gd name="connsiteX54" fmla="*/ 764381 w 8971757"/>
                  <a:gd name="connsiteY54" fmla="*/ 1590675 h 4575969"/>
                  <a:gd name="connsiteX55" fmla="*/ 788194 w 8971757"/>
                  <a:gd name="connsiteY55" fmla="*/ 1693069 h 4575969"/>
                  <a:gd name="connsiteX56" fmla="*/ 785813 w 8971757"/>
                  <a:gd name="connsiteY56" fmla="*/ 1740694 h 4575969"/>
                  <a:gd name="connsiteX57" fmla="*/ 821531 w 8971757"/>
                  <a:gd name="connsiteY57" fmla="*/ 1840706 h 4575969"/>
                  <a:gd name="connsiteX58" fmla="*/ 866775 w 8971757"/>
                  <a:gd name="connsiteY58" fmla="*/ 1897856 h 4575969"/>
                  <a:gd name="connsiteX59" fmla="*/ 883443 w 8971757"/>
                  <a:gd name="connsiteY59" fmla="*/ 2055018 h 4575969"/>
                  <a:gd name="connsiteX60" fmla="*/ 850106 w 8971757"/>
                  <a:gd name="connsiteY60" fmla="*/ 2116931 h 4575969"/>
                  <a:gd name="connsiteX61" fmla="*/ 819150 w 8971757"/>
                  <a:gd name="connsiteY61" fmla="*/ 2193131 h 4575969"/>
                  <a:gd name="connsiteX62" fmla="*/ 833438 w 8971757"/>
                  <a:gd name="connsiteY62" fmla="*/ 2250281 h 4575969"/>
                  <a:gd name="connsiteX63" fmla="*/ 735806 w 8971757"/>
                  <a:gd name="connsiteY63" fmla="*/ 2357438 h 4575969"/>
                  <a:gd name="connsiteX64" fmla="*/ 692944 w 8971757"/>
                  <a:gd name="connsiteY64" fmla="*/ 2471737 h 4575969"/>
                  <a:gd name="connsiteX65" fmla="*/ 726281 w 8971757"/>
                  <a:gd name="connsiteY65" fmla="*/ 2512219 h 4575969"/>
                  <a:gd name="connsiteX66" fmla="*/ 709613 w 8971757"/>
                  <a:gd name="connsiteY66" fmla="*/ 2540794 h 4575969"/>
                  <a:gd name="connsiteX67" fmla="*/ 740569 w 8971757"/>
                  <a:gd name="connsiteY67" fmla="*/ 2597944 h 4575969"/>
                  <a:gd name="connsiteX68" fmla="*/ 769144 w 8971757"/>
                  <a:gd name="connsiteY68" fmla="*/ 2597944 h 4575969"/>
                  <a:gd name="connsiteX69" fmla="*/ 931069 w 8971757"/>
                  <a:gd name="connsiteY69" fmla="*/ 2700337 h 4575969"/>
                  <a:gd name="connsiteX70" fmla="*/ 1035844 w 8971757"/>
                  <a:gd name="connsiteY70" fmla="*/ 2697956 h 4575969"/>
                  <a:gd name="connsiteX71" fmla="*/ 1114425 w 8971757"/>
                  <a:gd name="connsiteY71" fmla="*/ 2752725 h 4575969"/>
                  <a:gd name="connsiteX72" fmla="*/ 1245393 w 8971757"/>
                  <a:gd name="connsiteY72" fmla="*/ 2755106 h 4575969"/>
                  <a:gd name="connsiteX73" fmla="*/ 1435893 w 8971757"/>
                  <a:gd name="connsiteY73" fmla="*/ 2824162 h 4575969"/>
                  <a:gd name="connsiteX74" fmla="*/ 1638300 w 8971757"/>
                  <a:gd name="connsiteY74" fmla="*/ 2974181 h 4575969"/>
                  <a:gd name="connsiteX75" fmla="*/ 1671637 w 8971757"/>
                  <a:gd name="connsiteY75" fmla="*/ 3040856 h 4575969"/>
                  <a:gd name="connsiteX76" fmla="*/ 1838325 w 8971757"/>
                  <a:gd name="connsiteY76" fmla="*/ 3167062 h 4575969"/>
                  <a:gd name="connsiteX77" fmla="*/ 1909763 w 8971757"/>
                  <a:gd name="connsiteY77" fmla="*/ 3162300 h 4575969"/>
                  <a:gd name="connsiteX78" fmla="*/ 1945482 w 8971757"/>
                  <a:gd name="connsiteY78" fmla="*/ 3186112 h 4575969"/>
                  <a:gd name="connsiteX79" fmla="*/ 1916906 w 8971757"/>
                  <a:gd name="connsiteY79" fmla="*/ 3226594 h 4575969"/>
                  <a:gd name="connsiteX80" fmla="*/ 1924050 w 8971757"/>
                  <a:gd name="connsiteY80" fmla="*/ 3278981 h 4575969"/>
                  <a:gd name="connsiteX81" fmla="*/ 1976438 w 8971757"/>
                  <a:gd name="connsiteY81" fmla="*/ 3305175 h 4575969"/>
                  <a:gd name="connsiteX82" fmla="*/ 2038350 w 8971757"/>
                  <a:gd name="connsiteY82" fmla="*/ 3529013 h 4575969"/>
                  <a:gd name="connsiteX83" fmla="*/ 2028825 w 8971757"/>
                  <a:gd name="connsiteY83" fmla="*/ 3593306 h 4575969"/>
                  <a:gd name="connsiteX84" fmla="*/ 2164556 w 8971757"/>
                  <a:gd name="connsiteY84" fmla="*/ 3759994 h 4575969"/>
                  <a:gd name="connsiteX85" fmla="*/ 2183606 w 8971757"/>
                  <a:gd name="connsiteY85" fmla="*/ 3810000 h 4575969"/>
                  <a:gd name="connsiteX86" fmla="*/ 2157413 w 8971757"/>
                  <a:gd name="connsiteY86" fmla="*/ 3829050 h 4575969"/>
                  <a:gd name="connsiteX87" fmla="*/ 2259806 w 8971757"/>
                  <a:gd name="connsiteY87" fmla="*/ 3838575 h 4575969"/>
                  <a:gd name="connsiteX88" fmla="*/ 2371725 w 8971757"/>
                  <a:gd name="connsiteY88" fmla="*/ 3826669 h 4575969"/>
                  <a:gd name="connsiteX89" fmla="*/ 2650331 w 8971757"/>
                  <a:gd name="connsiteY89" fmla="*/ 3910012 h 4575969"/>
                  <a:gd name="connsiteX90" fmla="*/ 3057525 w 8971757"/>
                  <a:gd name="connsiteY90" fmla="*/ 3990975 h 4575969"/>
                  <a:gd name="connsiteX91" fmla="*/ 3255169 w 8971757"/>
                  <a:gd name="connsiteY91" fmla="*/ 3960018 h 4575969"/>
                  <a:gd name="connsiteX92" fmla="*/ 3300413 w 8971757"/>
                  <a:gd name="connsiteY92" fmla="*/ 3971924 h 4575969"/>
                  <a:gd name="connsiteX93" fmla="*/ 3355181 w 8971757"/>
                  <a:gd name="connsiteY93" fmla="*/ 3948113 h 4575969"/>
                  <a:gd name="connsiteX94" fmla="*/ 3748087 w 8971757"/>
                  <a:gd name="connsiteY94" fmla="*/ 4038600 h 4575969"/>
                  <a:gd name="connsiteX95" fmla="*/ 3831432 w 8971757"/>
                  <a:gd name="connsiteY95" fmla="*/ 4136231 h 4575969"/>
                  <a:gd name="connsiteX96" fmla="*/ 3950494 w 8971757"/>
                  <a:gd name="connsiteY96" fmla="*/ 4207669 h 4575969"/>
                  <a:gd name="connsiteX97" fmla="*/ 4010025 w 8971757"/>
                  <a:gd name="connsiteY97" fmla="*/ 4191000 h 4575969"/>
                  <a:gd name="connsiteX98" fmla="*/ 4360068 w 8971757"/>
                  <a:gd name="connsiteY98" fmla="*/ 4364831 h 4575969"/>
                  <a:gd name="connsiteX99" fmla="*/ 4586288 w 8971757"/>
                  <a:gd name="connsiteY99" fmla="*/ 4336256 h 4575969"/>
                  <a:gd name="connsiteX100" fmla="*/ 4595813 w 8971757"/>
                  <a:gd name="connsiteY100" fmla="*/ 4414837 h 4575969"/>
                  <a:gd name="connsiteX101" fmla="*/ 4681538 w 8971757"/>
                  <a:gd name="connsiteY101" fmla="*/ 4410074 h 4575969"/>
                  <a:gd name="connsiteX102" fmla="*/ 4760119 w 8971757"/>
                  <a:gd name="connsiteY102" fmla="*/ 4441031 h 4575969"/>
                  <a:gd name="connsiteX103" fmla="*/ 4802981 w 8971757"/>
                  <a:gd name="connsiteY103" fmla="*/ 4381500 h 4575969"/>
                  <a:gd name="connsiteX104" fmla="*/ 5474494 w 8971757"/>
                  <a:gd name="connsiteY104" fmla="*/ 4062412 h 4575969"/>
                  <a:gd name="connsiteX105" fmla="*/ 5562600 w 8971757"/>
                  <a:gd name="connsiteY105" fmla="*/ 4090988 h 4575969"/>
                  <a:gd name="connsiteX106" fmla="*/ 5693569 w 8971757"/>
                  <a:gd name="connsiteY106" fmla="*/ 4062412 h 4575969"/>
                  <a:gd name="connsiteX107" fmla="*/ 5872162 w 8971757"/>
                  <a:gd name="connsiteY107" fmla="*/ 4079081 h 4575969"/>
                  <a:gd name="connsiteX108" fmla="*/ 5929313 w 8971757"/>
                  <a:gd name="connsiteY108" fmla="*/ 4052888 h 4575969"/>
                  <a:gd name="connsiteX109" fmla="*/ 6062662 w 8971757"/>
                  <a:gd name="connsiteY109" fmla="*/ 4050506 h 4575969"/>
                  <a:gd name="connsiteX110" fmla="*/ 6196012 w 8971757"/>
                  <a:gd name="connsiteY110" fmla="*/ 3952875 h 4575969"/>
                  <a:gd name="connsiteX111" fmla="*/ 6262687 w 8971757"/>
                  <a:gd name="connsiteY111" fmla="*/ 3945731 h 4575969"/>
                  <a:gd name="connsiteX112" fmla="*/ 6360319 w 8971757"/>
                  <a:gd name="connsiteY112" fmla="*/ 3871912 h 4575969"/>
                  <a:gd name="connsiteX113" fmla="*/ 6434138 w 8971757"/>
                  <a:gd name="connsiteY113" fmla="*/ 3802856 h 4575969"/>
                  <a:gd name="connsiteX114" fmla="*/ 6443663 w 8971757"/>
                  <a:gd name="connsiteY114" fmla="*/ 3740944 h 4575969"/>
                  <a:gd name="connsiteX115" fmla="*/ 6477000 w 8971757"/>
                  <a:gd name="connsiteY115" fmla="*/ 3671887 h 4575969"/>
                  <a:gd name="connsiteX116" fmla="*/ 6629400 w 8971757"/>
                  <a:gd name="connsiteY116" fmla="*/ 3564731 h 4575969"/>
                  <a:gd name="connsiteX117" fmla="*/ 6662738 w 8971757"/>
                  <a:gd name="connsiteY117" fmla="*/ 3569494 h 4575969"/>
                  <a:gd name="connsiteX118" fmla="*/ 6715125 w 8971757"/>
                  <a:gd name="connsiteY118" fmla="*/ 3490912 h 4575969"/>
                  <a:gd name="connsiteX119" fmla="*/ 6762750 w 8971757"/>
                  <a:gd name="connsiteY119" fmla="*/ 3452812 h 4575969"/>
                  <a:gd name="connsiteX120" fmla="*/ 6748463 w 8971757"/>
                  <a:gd name="connsiteY120" fmla="*/ 3383756 h 4575969"/>
                  <a:gd name="connsiteX121" fmla="*/ 6698456 w 8971757"/>
                  <a:gd name="connsiteY121" fmla="*/ 3352799 h 4575969"/>
                  <a:gd name="connsiteX122" fmla="*/ 6638925 w 8971757"/>
                  <a:gd name="connsiteY122" fmla="*/ 3298031 h 4575969"/>
                  <a:gd name="connsiteX123" fmla="*/ 6619875 w 8971757"/>
                  <a:gd name="connsiteY123" fmla="*/ 3240881 h 4575969"/>
                  <a:gd name="connsiteX124" fmla="*/ 6584156 w 8971757"/>
                  <a:gd name="connsiteY124" fmla="*/ 3207544 h 4575969"/>
                  <a:gd name="connsiteX125" fmla="*/ 6610350 w 8971757"/>
                  <a:gd name="connsiteY125" fmla="*/ 3155156 h 4575969"/>
                  <a:gd name="connsiteX126" fmla="*/ 6650831 w 8971757"/>
                  <a:gd name="connsiteY126" fmla="*/ 2976562 h 4575969"/>
                  <a:gd name="connsiteX127" fmla="*/ 6691313 w 8971757"/>
                  <a:gd name="connsiteY127" fmla="*/ 2909887 h 4575969"/>
                  <a:gd name="connsiteX128" fmla="*/ 6836569 w 8971757"/>
                  <a:gd name="connsiteY128" fmla="*/ 2893218 h 4575969"/>
                  <a:gd name="connsiteX129" fmla="*/ 6905625 w 8971757"/>
                  <a:gd name="connsiteY129" fmla="*/ 2950369 h 4575969"/>
                  <a:gd name="connsiteX130" fmla="*/ 6981825 w 8971757"/>
                  <a:gd name="connsiteY130" fmla="*/ 2974181 h 4575969"/>
                  <a:gd name="connsiteX131" fmla="*/ 7186612 w 8971757"/>
                  <a:gd name="connsiteY131" fmla="*/ 2978944 h 4575969"/>
                  <a:gd name="connsiteX132" fmla="*/ 7362825 w 8971757"/>
                  <a:gd name="connsiteY132" fmla="*/ 2840831 h 4575969"/>
                  <a:gd name="connsiteX133" fmla="*/ 7419975 w 8971757"/>
                  <a:gd name="connsiteY133" fmla="*/ 2750343 h 4575969"/>
                  <a:gd name="connsiteX134" fmla="*/ 7446169 w 8971757"/>
                  <a:gd name="connsiteY134" fmla="*/ 2667000 h 4575969"/>
                  <a:gd name="connsiteX135" fmla="*/ 7577137 w 8971757"/>
                  <a:gd name="connsiteY135" fmla="*/ 2667000 h 4575969"/>
                  <a:gd name="connsiteX136" fmla="*/ 7750969 w 8971757"/>
                  <a:gd name="connsiteY136" fmla="*/ 2609849 h 4575969"/>
                  <a:gd name="connsiteX137" fmla="*/ 7810500 w 8971757"/>
                  <a:gd name="connsiteY137" fmla="*/ 2497931 h 4575969"/>
                  <a:gd name="connsiteX138" fmla="*/ 7874794 w 8971757"/>
                  <a:gd name="connsiteY138" fmla="*/ 2462212 h 4575969"/>
                  <a:gd name="connsiteX139" fmla="*/ 7853363 w 8971757"/>
                  <a:gd name="connsiteY139" fmla="*/ 2416969 h 4575969"/>
                  <a:gd name="connsiteX140" fmla="*/ 7931944 w 8971757"/>
                  <a:gd name="connsiteY140" fmla="*/ 2247899 h 4575969"/>
                  <a:gd name="connsiteX141" fmla="*/ 7986713 w 8971757"/>
                  <a:gd name="connsiteY141" fmla="*/ 2188369 h 4575969"/>
                  <a:gd name="connsiteX142" fmla="*/ 8024813 w 8971757"/>
                  <a:gd name="connsiteY142" fmla="*/ 2183606 h 4575969"/>
                  <a:gd name="connsiteX143" fmla="*/ 8070056 w 8971757"/>
                  <a:gd name="connsiteY143" fmla="*/ 2188369 h 4575969"/>
                  <a:gd name="connsiteX144" fmla="*/ 8134350 w 8971757"/>
                  <a:gd name="connsiteY144" fmla="*/ 2155031 h 4575969"/>
                  <a:gd name="connsiteX145" fmla="*/ 8143875 w 8971757"/>
                  <a:gd name="connsiteY145" fmla="*/ 2090737 h 4575969"/>
                  <a:gd name="connsiteX146" fmla="*/ 8184355 w 8971757"/>
                  <a:gd name="connsiteY146" fmla="*/ 2055019 h 4575969"/>
                  <a:gd name="connsiteX147" fmla="*/ 8243888 w 8971757"/>
                  <a:gd name="connsiteY147" fmla="*/ 2095499 h 4575969"/>
                  <a:gd name="connsiteX148" fmla="*/ 8270082 w 8971757"/>
                  <a:gd name="connsiteY148" fmla="*/ 2045493 h 4575969"/>
                  <a:gd name="connsiteX149" fmla="*/ 8365331 w 8971757"/>
                  <a:gd name="connsiteY149" fmla="*/ 1976437 h 4575969"/>
                  <a:gd name="connsiteX150" fmla="*/ 8427244 w 8971757"/>
                  <a:gd name="connsiteY150" fmla="*/ 1983581 h 4575969"/>
                  <a:gd name="connsiteX151" fmla="*/ 8477250 w 8971757"/>
                  <a:gd name="connsiteY151" fmla="*/ 1964531 h 4575969"/>
                  <a:gd name="connsiteX152" fmla="*/ 8515350 w 8971757"/>
                  <a:gd name="connsiteY152" fmla="*/ 1935956 h 4575969"/>
                  <a:gd name="connsiteX153" fmla="*/ 8548688 w 8971757"/>
                  <a:gd name="connsiteY153" fmla="*/ 1933575 h 4575969"/>
                  <a:gd name="connsiteX154" fmla="*/ 8584406 w 8971757"/>
                  <a:gd name="connsiteY154" fmla="*/ 1964531 h 4575969"/>
                  <a:gd name="connsiteX155" fmla="*/ 8643938 w 8971757"/>
                  <a:gd name="connsiteY155" fmla="*/ 1964531 h 4575969"/>
                  <a:gd name="connsiteX156" fmla="*/ 8682037 w 8971757"/>
                  <a:gd name="connsiteY156" fmla="*/ 1945481 h 4575969"/>
                  <a:gd name="connsiteX157" fmla="*/ 8765381 w 8971757"/>
                  <a:gd name="connsiteY157" fmla="*/ 1947863 h 4575969"/>
                  <a:gd name="connsiteX158" fmla="*/ 8796338 w 8971757"/>
                  <a:gd name="connsiteY158" fmla="*/ 1902619 h 4575969"/>
                  <a:gd name="connsiteX159" fmla="*/ 8801100 w 8971757"/>
                  <a:gd name="connsiteY159" fmla="*/ 1840706 h 4575969"/>
                  <a:gd name="connsiteX160" fmla="*/ 8751093 w 8971757"/>
                  <a:gd name="connsiteY160" fmla="*/ 1800225 h 4575969"/>
                  <a:gd name="connsiteX161" fmla="*/ 8734425 w 8971757"/>
                  <a:gd name="connsiteY161" fmla="*/ 1745456 h 4575969"/>
                  <a:gd name="connsiteX162" fmla="*/ 8643938 w 8971757"/>
                  <a:gd name="connsiteY162" fmla="*/ 1683544 h 4575969"/>
                  <a:gd name="connsiteX163" fmla="*/ 8603456 w 8971757"/>
                  <a:gd name="connsiteY163" fmla="*/ 1662112 h 4575969"/>
                  <a:gd name="connsiteX164" fmla="*/ 8565356 w 8971757"/>
                  <a:gd name="connsiteY164" fmla="*/ 1616869 h 4575969"/>
                  <a:gd name="connsiteX165" fmla="*/ 8534400 w 8971757"/>
                  <a:gd name="connsiteY165" fmla="*/ 1614487 h 4575969"/>
                  <a:gd name="connsiteX166" fmla="*/ 8517731 w 8971757"/>
                  <a:gd name="connsiteY166" fmla="*/ 1562100 h 4575969"/>
                  <a:gd name="connsiteX167" fmla="*/ 8477250 w 8971757"/>
                  <a:gd name="connsiteY167" fmla="*/ 1545431 h 4575969"/>
                  <a:gd name="connsiteX168" fmla="*/ 8477250 w 8971757"/>
                  <a:gd name="connsiteY168" fmla="*/ 1545431 h 4575969"/>
                  <a:gd name="connsiteX169" fmla="*/ 8436769 w 8971757"/>
                  <a:gd name="connsiteY169" fmla="*/ 1550194 h 4575969"/>
                  <a:gd name="connsiteX170" fmla="*/ 8351043 w 8971757"/>
                  <a:gd name="connsiteY170" fmla="*/ 1476375 h 4575969"/>
                  <a:gd name="connsiteX171" fmla="*/ 8170069 w 8971757"/>
                  <a:gd name="connsiteY171" fmla="*/ 1476374 h 4575969"/>
                  <a:gd name="connsiteX172" fmla="*/ 8117681 w 8971757"/>
                  <a:gd name="connsiteY172" fmla="*/ 1514475 h 4575969"/>
                  <a:gd name="connsiteX173" fmla="*/ 8067675 w 8971757"/>
                  <a:gd name="connsiteY173" fmla="*/ 1593056 h 4575969"/>
                  <a:gd name="connsiteX174" fmla="*/ 8084344 w 8971757"/>
                  <a:gd name="connsiteY174" fmla="*/ 1614487 h 4575969"/>
                  <a:gd name="connsiteX175" fmla="*/ 8039100 w 8971757"/>
                  <a:gd name="connsiteY175" fmla="*/ 1664493 h 4575969"/>
                  <a:gd name="connsiteX176" fmla="*/ 7889081 w 8971757"/>
                  <a:gd name="connsiteY176" fmla="*/ 1588293 h 4575969"/>
                  <a:gd name="connsiteX177" fmla="*/ 7798594 w 8971757"/>
                  <a:gd name="connsiteY177" fmla="*/ 1624012 h 4575969"/>
                  <a:gd name="connsiteX178" fmla="*/ 7724775 w 8971757"/>
                  <a:gd name="connsiteY178" fmla="*/ 1621631 h 4575969"/>
                  <a:gd name="connsiteX179" fmla="*/ 7667625 w 8971757"/>
                  <a:gd name="connsiteY179" fmla="*/ 1716881 h 4575969"/>
                  <a:gd name="connsiteX180" fmla="*/ 7529513 w 8971757"/>
                  <a:gd name="connsiteY18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6172200 w 8971757"/>
                  <a:gd name="connsiteY27" fmla="*/ 1309687 h 4575969"/>
                  <a:gd name="connsiteX28" fmla="*/ 8412956 w 8971757"/>
                  <a:gd name="connsiteY28" fmla="*/ 23812 h 4575969"/>
                  <a:gd name="connsiteX29" fmla="*/ 8949531 w 8971757"/>
                  <a:gd name="connsiteY29" fmla="*/ 0 h 4575969"/>
                  <a:gd name="connsiteX30" fmla="*/ 8971757 w 8971757"/>
                  <a:gd name="connsiteY30" fmla="*/ 4575969 h 4575969"/>
                  <a:gd name="connsiteX31" fmla="*/ 2381 w 8971757"/>
                  <a:gd name="connsiteY31" fmla="*/ 4547392 h 4575969"/>
                  <a:gd name="connsiteX32" fmla="*/ 0 w 8971757"/>
                  <a:gd name="connsiteY32" fmla="*/ 845344 h 4575969"/>
                  <a:gd name="connsiteX33" fmla="*/ 76200 w 8971757"/>
                  <a:gd name="connsiteY33" fmla="*/ 828675 h 4575969"/>
                  <a:gd name="connsiteX34" fmla="*/ 119063 w 8971757"/>
                  <a:gd name="connsiteY34" fmla="*/ 857250 h 4575969"/>
                  <a:gd name="connsiteX35" fmla="*/ 215900 w 8971757"/>
                  <a:gd name="connsiteY35" fmla="*/ 848519 h 4575969"/>
                  <a:gd name="connsiteX36" fmla="*/ 261938 w 8971757"/>
                  <a:gd name="connsiteY36" fmla="*/ 876299 h 4575969"/>
                  <a:gd name="connsiteX37" fmla="*/ 228600 w 8971757"/>
                  <a:gd name="connsiteY37" fmla="*/ 904875 h 4575969"/>
                  <a:gd name="connsiteX38" fmla="*/ 233363 w 8971757"/>
                  <a:gd name="connsiteY38" fmla="*/ 947737 h 4575969"/>
                  <a:gd name="connsiteX39" fmla="*/ 200025 w 8971757"/>
                  <a:gd name="connsiteY39" fmla="*/ 952500 h 4575969"/>
                  <a:gd name="connsiteX40" fmla="*/ 204788 w 8971757"/>
                  <a:gd name="connsiteY40" fmla="*/ 976312 h 4575969"/>
                  <a:gd name="connsiteX41" fmla="*/ 261937 w 8971757"/>
                  <a:gd name="connsiteY41" fmla="*/ 1050131 h 4575969"/>
                  <a:gd name="connsiteX42" fmla="*/ 223838 w 8971757"/>
                  <a:gd name="connsiteY42" fmla="*/ 1097756 h 4575969"/>
                  <a:gd name="connsiteX43" fmla="*/ 278606 w 8971757"/>
                  <a:gd name="connsiteY43" fmla="*/ 1133475 h 4575969"/>
                  <a:gd name="connsiteX44" fmla="*/ 369094 w 8971757"/>
                  <a:gd name="connsiteY44" fmla="*/ 1221581 h 4575969"/>
                  <a:gd name="connsiteX45" fmla="*/ 371475 w 8971757"/>
                  <a:gd name="connsiteY45" fmla="*/ 1281112 h 4575969"/>
                  <a:gd name="connsiteX46" fmla="*/ 507206 w 8971757"/>
                  <a:gd name="connsiteY46" fmla="*/ 1414463 h 4575969"/>
                  <a:gd name="connsiteX47" fmla="*/ 561975 w 8971757"/>
                  <a:gd name="connsiteY47" fmla="*/ 1390650 h 4575969"/>
                  <a:gd name="connsiteX48" fmla="*/ 600075 w 8971757"/>
                  <a:gd name="connsiteY48" fmla="*/ 1416843 h 4575969"/>
                  <a:gd name="connsiteX49" fmla="*/ 614363 w 8971757"/>
                  <a:gd name="connsiteY49" fmla="*/ 1466849 h 4575969"/>
                  <a:gd name="connsiteX50" fmla="*/ 657225 w 8971757"/>
                  <a:gd name="connsiteY50" fmla="*/ 1502569 h 4575969"/>
                  <a:gd name="connsiteX51" fmla="*/ 697706 w 8971757"/>
                  <a:gd name="connsiteY51" fmla="*/ 1490662 h 4575969"/>
                  <a:gd name="connsiteX52" fmla="*/ 716756 w 8971757"/>
                  <a:gd name="connsiteY52" fmla="*/ 1547812 h 4575969"/>
                  <a:gd name="connsiteX53" fmla="*/ 764381 w 8971757"/>
                  <a:gd name="connsiteY53" fmla="*/ 1590675 h 4575969"/>
                  <a:gd name="connsiteX54" fmla="*/ 788194 w 8971757"/>
                  <a:gd name="connsiteY54" fmla="*/ 1693069 h 4575969"/>
                  <a:gd name="connsiteX55" fmla="*/ 785813 w 8971757"/>
                  <a:gd name="connsiteY55" fmla="*/ 1740694 h 4575969"/>
                  <a:gd name="connsiteX56" fmla="*/ 821531 w 8971757"/>
                  <a:gd name="connsiteY56" fmla="*/ 1840706 h 4575969"/>
                  <a:gd name="connsiteX57" fmla="*/ 866775 w 8971757"/>
                  <a:gd name="connsiteY57" fmla="*/ 1897856 h 4575969"/>
                  <a:gd name="connsiteX58" fmla="*/ 883443 w 8971757"/>
                  <a:gd name="connsiteY58" fmla="*/ 2055018 h 4575969"/>
                  <a:gd name="connsiteX59" fmla="*/ 850106 w 8971757"/>
                  <a:gd name="connsiteY59" fmla="*/ 2116931 h 4575969"/>
                  <a:gd name="connsiteX60" fmla="*/ 819150 w 8971757"/>
                  <a:gd name="connsiteY60" fmla="*/ 2193131 h 4575969"/>
                  <a:gd name="connsiteX61" fmla="*/ 833438 w 8971757"/>
                  <a:gd name="connsiteY61" fmla="*/ 2250281 h 4575969"/>
                  <a:gd name="connsiteX62" fmla="*/ 735806 w 8971757"/>
                  <a:gd name="connsiteY62" fmla="*/ 2357438 h 4575969"/>
                  <a:gd name="connsiteX63" fmla="*/ 692944 w 8971757"/>
                  <a:gd name="connsiteY63" fmla="*/ 2471737 h 4575969"/>
                  <a:gd name="connsiteX64" fmla="*/ 726281 w 8971757"/>
                  <a:gd name="connsiteY64" fmla="*/ 2512219 h 4575969"/>
                  <a:gd name="connsiteX65" fmla="*/ 709613 w 8971757"/>
                  <a:gd name="connsiteY65" fmla="*/ 2540794 h 4575969"/>
                  <a:gd name="connsiteX66" fmla="*/ 740569 w 8971757"/>
                  <a:gd name="connsiteY66" fmla="*/ 2597944 h 4575969"/>
                  <a:gd name="connsiteX67" fmla="*/ 769144 w 8971757"/>
                  <a:gd name="connsiteY67" fmla="*/ 2597944 h 4575969"/>
                  <a:gd name="connsiteX68" fmla="*/ 931069 w 8971757"/>
                  <a:gd name="connsiteY68" fmla="*/ 2700337 h 4575969"/>
                  <a:gd name="connsiteX69" fmla="*/ 1035844 w 8971757"/>
                  <a:gd name="connsiteY69" fmla="*/ 2697956 h 4575969"/>
                  <a:gd name="connsiteX70" fmla="*/ 1114425 w 8971757"/>
                  <a:gd name="connsiteY70" fmla="*/ 2752725 h 4575969"/>
                  <a:gd name="connsiteX71" fmla="*/ 1245393 w 8971757"/>
                  <a:gd name="connsiteY71" fmla="*/ 2755106 h 4575969"/>
                  <a:gd name="connsiteX72" fmla="*/ 1435893 w 8971757"/>
                  <a:gd name="connsiteY72" fmla="*/ 2824162 h 4575969"/>
                  <a:gd name="connsiteX73" fmla="*/ 1638300 w 8971757"/>
                  <a:gd name="connsiteY73" fmla="*/ 2974181 h 4575969"/>
                  <a:gd name="connsiteX74" fmla="*/ 1671637 w 8971757"/>
                  <a:gd name="connsiteY74" fmla="*/ 3040856 h 4575969"/>
                  <a:gd name="connsiteX75" fmla="*/ 1838325 w 8971757"/>
                  <a:gd name="connsiteY75" fmla="*/ 3167062 h 4575969"/>
                  <a:gd name="connsiteX76" fmla="*/ 1909763 w 8971757"/>
                  <a:gd name="connsiteY76" fmla="*/ 3162300 h 4575969"/>
                  <a:gd name="connsiteX77" fmla="*/ 1945482 w 8971757"/>
                  <a:gd name="connsiteY77" fmla="*/ 3186112 h 4575969"/>
                  <a:gd name="connsiteX78" fmla="*/ 1916906 w 8971757"/>
                  <a:gd name="connsiteY78" fmla="*/ 3226594 h 4575969"/>
                  <a:gd name="connsiteX79" fmla="*/ 1924050 w 8971757"/>
                  <a:gd name="connsiteY79" fmla="*/ 3278981 h 4575969"/>
                  <a:gd name="connsiteX80" fmla="*/ 1976438 w 8971757"/>
                  <a:gd name="connsiteY80" fmla="*/ 3305175 h 4575969"/>
                  <a:gd name="connsiteX81" fmla="*/ 2038350 w 8971757"/>
                  <a:gd name="connsiteY81" fmla="*/ 3529013 h 4575969"/>
                  <a:gd name="connsiteX82" fmla="*/ 2028825 w 8971757"/>
                  <a:gd name="connsiteY82" fmla="*/ 3593306 h 4575969"/>
                  <a:gd name="connsiteX83" fmla="*/ 2164556 w 8971757"/>
                  <a:gd name="connsiteY83" fmla="*/ 3759994 h 4575969"/>
                  <a:gd name="connsiteX84" fmla="*/ 2183606 w 8971757"/>
                  <a:gd name="connsiteY84" fmla="*/ 3810000 h 4575969"/>
                  <a:gd name="connsiteX85" fmla="*/ 2157413 w 8971757"/>
                  <a:gd name="connsiteY85" fmla="*/ 3829050 h 4575969"/>
                  <a:gd name="connsiteX86" fmla="*/ 2259806 w 8971757"/>
                  <a:gd name="connsiteY86" fmla="*/ 3838575 h 4575969"/>
                  <a:gd name="connsiteX87" fmla="*/ 2371725 w 8971757"/>
                  <a:gd name="connsiteY87" fmla="*/ 3826669 h 4575969"/>
                  <a:gd name="connsiteX88" fmla="*/ 2650331 w 8971757"/>
                  <a:gd name="connsiteY88" fmla="*/ 3910012 h 4575969"/>
                  <a:gd name="connsiteX89" fmla="*/ 3057525 w 8971757"/>
                  <a:gd name="connsiteY89" fmla="*/ 3990975 h 4575969"/>
                  <a:gd name="connsiteX90" fmla="*/ 3255169 w 8971757"/>
                  <a:gd name="connsiteY90" fmla="*/ 3960018 h 4575969"/>
                  <a:gd name="connsiteX91" fmla="*/ 3300413 w 8971757"/>
                  <a:gd name="connsiteY91" fmla="*/ 3971924 h 4575969"/>
                  <a:gd name="connsiteX92" fmla="*/ 3355181 w 8971757"/>
                  <a:gd name="connsiteY92" fmla="*/ 3948113 h 4575969"/>
                  <a:gd name="connsiteX93" fmla="*/ 3748087 w 8971757"/>
                  <a:gd name="connsiteY93" fmla="*/ 4038600 h 4575969"/>
                  <a:gd name="connsiteX94" fmla="*/ 3831432 w 8971757"/>
                  <a:gd name="connsiteY94" fmla="*/ 4136231 h 4575969"/>
                  <a:gd name="connsiteX95" fmla="*/ 3950494 w 8971757"/>
                  <a:gd name="connsiteY95" fmla="*/ 4207669 h 4575969"/>
                  <a:gd name="connsiteX96" fmla="*/ 4010025 w 8971757"/>
                  <a:gd name="connsiteY96" fmla="*/ 4191000 h 4575969"/>
                  <a:gd name="connsiteX97" fmla="*/ 4360068 w 8971757"/>
                  <a:gd name="connsiteY97" fmla="*/ 4364831 h 4575969"/>
                  <a:gd name="connsiteX98" fmla="*/ 4586288 w 8971757"/>
                  <a:gd name="connsiteY98" fmla="*/ 4336256 h 4575969"/>
                  <a:gd name="connsiteX99" fmla="*/ 4595813 w 8971757"/>
                  <a:gd name="connsiteY99" fmla="*/ 4414837 h 4575969"/>
                  <a:gd name="connsiteX100" fmla="*/ 4681538 w 8971757"/>
                  <a:gd name="connsiteY100" fmla="*/ 4410074 h 4575969"/>
                  <a:gd name="connsiteX101" fmla="*/ 4760119 w 8971757"/>
                  <a:gd name="connsiteY101" fmla="*/ 4441031 h 4575969"/>
                  <a:gd name="connsiteX102" fmla="*/ 4802981 w 8971757"/>
                  <a:gd name="connsiteY102" fmla="*/ 4381500 h 4575969"/>
                  <a:gd name="connsiteX103" fmla="*/ 5474494 w 8971757"/>
                  <a:gd name="connsiteY103" fmla="*/ 4062412 h 4575969"/>
                  <a:gd name="connsiteX104" fmla="*/ 5562600 w 8971757"/>
                  <a:gd name="connsiteY104" fmla="*/ 4090988 h 4575969"/>
                  <a:gd name="connsiteX105" fmla="*/ 5693569 w 8971757"/>
                  <a:gd name="connsiteY105" fmla="*/ 4062412 h 4575969"/>
                  <a:gd name="connsiteX106" fmla="*/ 5872162 w 8971757"/>
                  <a:gd name="connsiteY106" fmla="*/ 4079081 h 4575969"/>
                  <a:gd name="connsiteX107" fmla="*/ 5929313 w 8971757"/>
                  <a:gd name="connsiteY107" fmla="*/ 4052888 h 4575969"/>
                  <a:gd name="connsiteX108" fmla="*/ 6062662 w 8971757"/>
                  <a:gd name="connsiteY108" fmla="*/ 4050506 h 4575969"/>
                  <a:gd name="connsiteX109" fmla="*/ 6196012 w 8971757"/>
                  <a:gd name="connsiteY109" fmla="*/ 3952875 h 4575969"/>
                  <a:gd name="connsiteX110" fmla="*/ 6262687 w 8971757"/>
                  <a:gd name="connsiteY110" fmla="*/ 3945731 h 4575969"/>
                  <a:gd name="connsiteX111" fmla="*/ 6360319 w 8971757"/>
                  <a:gd name="connsiteY111" fmla="*/ 3871912 h 4575969"/>
                  <a:gd name="connsiteX112" fmla="*/ 6434138 w 8971757"/>
                  <a:gd name="connsiteY112" fmla="*/ 3802856 h 4575969"/>
                  <a:gd name="connsiteX113" fmla="*/ 6443663 w 8971757"/>
                  <a:gd name="connsiteY113" fmla="*/ 3740944 h 4575969"/>
                  <a:gd name="connsiteX114" fmla="*/ 6477000 w 8971757"/>
                  <a:gd name="connsiteY114" fmla="*/ 3671887 h 4575969"/>
                  <a:gd name="connsiteX115" fmla="*/ 6629400 w 8971757"/>
                  <a:gd name="connsiteY115" fmla="*/ 3564731 h 4575969"/>
                  <a:gd name="connsiteX116" fmla="*/ 6662738 w 8971757"/>
                  <a:gd name="connsiteY116" fmla="*/ 3569494 h 4575969"/>
                  <a:gd name="connsiteX117" fmla="*/ 6715125 w 8971757"/>
                  <a:gd name="connsiteY117" fmla="*/ 3490912 h 4575969"/>
                  <a:gd name="connsiteX118" fmla="*/ 6762750 w 8971757"/>
                  <a:gd name="connsiteY118" fmla="*/ 3452812 h 4575969"/>
                  <a:gd name="connsiteX119" fmla="*/ 6748463 w 8971757"/>
                  <a:gd name="connsiteY119" fmla="*/ 3383756 h 4575969"/>
                  <a:gd name="connsiteX120" fmla="*/ 6698456 w 8971757"/>
                  <a:gd name="connsiteY120" fmla="*/ 3352799 h 4575969"/>
                  <a:gd name="connsiteX121" fmla="*/ 6638925 w 8971757"/>
                  <a:gd name="connsiteY121" fmla="*/ 3298031 h 4575969"/>
                  <a:gd name="connsiteX122" fmla="*/ 6619875 w 8971757"/>
                  <a:gd name="connsiteY122" fmla="*/ 3240881 h 4575969"/>
                  <a:gd name="connsiteX123" fmla="*/ 6584156 w 8971757"/>
                  <a:gd name="connsiteY123" fmla="*/ 3207544 h 4575969"/>
                  <a:gd name="connsiteX124" fmla="*/ 6610350 w 8971757"/>
                  <a:gd name="connsiteY124" fmla="*/ 3155156 h 4575969"/>
                  <a:gd name="connsiteX125" fmla="*/ 6650831 w 8971757"/>
                  <a:gd name="connsiteY125" fmla="*/ 2976562 h 4575969"/>
                  <a:gd name="connsiteX126" fmla="*/ 6691313 w 8971757"/>
                  <a:gd name="connsiteY126" fmla="*/ 2909887 h 4575969"/>
                  <a:gd name="connsiteX127" fmla="*/ 6836569 w 8971757"/>
                  <a:gd name="connsiteY127" fmla="*/ 2893218 h 4575969"/>
                  <a:gd name="connsiteX128" fmla="*/ 6905625 w 8971757"/>
                  <a:gd name="connsiteY128" fmla="*/ 2950369 h 4575969"/>
                  <a:gd name="connsiteX129" fmla="*/ 6981825 w 8971757"/>
                  <a:gd name="connsiteY129" fmla="*/ 2974181 h 4575969"/>
                  <a:gd name="connsiteX130" fmla="*/ 7186612 w 8971757"/>
                  <a:gd name="connsiteY130" fmla="*/ 2978944 h 4575969"/>
                  <a:gd name="connsiteX131" fmla="*/ 7362825 w 8971757"/>
                  <a:gd name="connsiteY131" fmla="*/ 2840831 h 4575969"/>
                  <a:gd name="connsiteX132" fmla="*/ 7419975 w 8971757"/>
                  <a:gd name="connsiteY132" fmla="*/ 2750343 h 4575969"/>
                  <a:gd name="connsiteX133" fmla="*/ 7446169 w 8971757"/>
                  <a:gd name="connsiteY133" fmla="*/ 2667000 h 4575969"/>
                  <a:gd name="connsiteX134" fmla="*/ 7577137 w 8971757"/>
                  <a:gd name="connsiteY134" fmla="*/ 2667000 h 4575969"/>
                  <a:gd name="connsiteX135" fmla="*/ 7750969 w 8971757"/>
                  <a:gd name="connsiteY135" fmla="*/ 2609849 h 4575969"/>
                  <a:gd name="connsiteX136" fmla="*/ 7810500 w 8971757"/>
                  <a:gd name="connsiteY136" fmla="*/ 2497931 h 4575969"/>
                  <a:gd name="connsiteX137" fmla="*/ 7874794 w 8971757"/>
                  <a:gd name="connsiteY137" fmla="*/ 2462212 h 4575969"/>
                  <a:gd name="connsiteX138" fmla="*/ 7853363 w 8971757"/>
                  <a:gd name="connsiteY138" fmla="*/ 2416969 h 4575969"/>
                  <a:gd name="connsiteX139" fmla="*/ 7931944 w 8971757"/>
                  <a:gd name="connsiteY139" fmla="*/ 2247899 h 4575969"/>
                  <a:gd name="connsiteX140" fmla="*/ 7986713 w 8971757"/>
                  <a:gd name="connsiteY140" fmla="*/ 2188369 h 4575969"/>
                  <a:gd name="connsiteX141" fmla="*/ 8024813 w 8971757"/>
                  <a:gd name="connsiteY141" fmla="*/ 2183606 h 4575969"/>
                  <a:gd name="connsiteX142" fmla="*/ 8070056 w 8971757"/>
                  <a:gd name="connsiteY142" fmla="*/ 2188369 h 4575969"/>
                  <a:gd name="connsiteX143" fmla="*/ 8134350 w 8971757"/>
                  <a:gd name="connsiteY143" fmla="*/ 2155031 h 4575969"/>
                  <a:gd name="connsiteX144" fmla="*/ 8143875 w 8971757"/>
                  <a:gd name="connsiteY144" fmla="*/ 2090737 h 4575969"/>
                  <a:gd name="connsiteX145" fmla="*/ 8184355 w 8971757"/>
                  <a:gd name="connsiteY145" fmla="*/ 2055019 h 4575969"/>
                  <a:gd name="connsiteX146" fmla="*/ 8243888 w 8971757"/>
                  <a:gd name="connsiteY146" fmla="*/ 2095499 h 4575969"/>
                  <a:gd name="connsiteX147" fmla="*/ 8270082 w 8971757"/>
                  <a:gd name="connsiteY147" fmla="*/ 2045493 h 4575969"/>
                  <a:gd name="connsiteX148" fmla="*/ 8365331 w 8971757"/>
                  <a:gd name="connsiteY148" fmla="*/ 1976437 h 4575969"/>
                  <a:gd name="connsiteX149" fmla="*/ 8427244 w 8971757"/>
                  <a:gd name="connsiteY149" fmla="*/ 1983581 h 4575969"/>
                  <a:gd name="connsiteX150" fmla="*/ 8477250 w 8971757"/>
                  <a:gd name="connsiteY150" fmla="*/ 1964531 h 4575969"/>
                  <a:gd name="connsiteX151" fmla="*/ 8515350 w 8971757"/>
                  <a:gd name="connsiteY151" fmla="*/ 1935956 h 4575969"/>
                  <a:gd name="connsiteX152" fmla="*/ 8548688 w 8971757"/>
                  <a:gd name="connsiteY152" fmla="*/ 1933575 h 4575969"/>
                  <a:gd name="connsiteX153" fmla="*/ 8584406 w 8971757"/>
                  <a:gd name="connsiteY153" fmla="*/ 1964531 h 4575969"/>
                  <a:gd name="connsiteX154" fmla="*/ 8643938 w 8971757"/>
                  <a:gd name="connsiteY154" fmla="*/ 1964531 h 4575969"/>
                  <a:gd name="connsiteX155" fmla="*/ 8682037 w 8971757"/>
                  <a:gd name="connsiteY155" fmla="*/ 1945481 h 4575969"/>
                  <a:gd name="connsiteX156" fmla="*/ 8765381 w 8971757"/>
                  <a:gd name="connsiteY156" fmla="*/ 1947863 h 4575969"/>
                  <a:gd name="connsiteX157" fmla="*/ 8796338 w 8971757"/>
                  <a:gd name="connsiteY157" fmla="*/ 1902619 h 4575969"/>
                  <a:gd name="connsiteX158" fmla="*/ 8801100 w 8971757"/>
                  <a:gd name="connsiteY158" fmla="*/ 1840706 h 4575969"/>
                  <a:gd name="connsiteX159" fmla="*/ 8751093 w 8971757"/>
                  <a:gd name="connsiteY159" fmla="*/ 1800225 h 4575969"/>
                  <a:gd name="connsiteX160" fmla="*/ 8734425 w 8971757"/>
                  <a:gd name="connsiteY160" fmla="*/ 1745456 h 4575969"/>
                  <a:gd name="connsiteX161" fmla="*/ 8643938 w 8971757"/>
                  <a:gd name="connsiteY161" fmla="*/ 1683544 h 4575969"/>
                  <a:gd name="connsiteX162" fmla="*/ 8603456 w 8971757"/>
                  <a:gd name="connsiteY162" fmla="*/ 1662112 h 4575969"/>
                  <a:gd name="connsiteX163" fmla="*/ 8565356 w 8971757"/>
                  <a:gd name="connsiteY163" fmla="*/ 1616869 h 4575969"/>
                  <a:gd name="connsiteX164" fmla="*/ 8534400 w 8971757"/>
                  <a:gd name="connsiteY164" fmla="*/ 1614487 h 4575969"/>
                  <a:gd name="connsiteX165" fmla="*/ 8517731 w 8971757"/>
                  <a:gd name="connsiteY165" fmla="*/ 1562100 h 4575969"/>
                  <a:gd name="connsiteX166" fmla="*/ 8477250 w 8971757"/>
                  <a:gd name="connsiteY166" fmla="*/ 1545431 h 4575969"/>
                  <a:gd name="connsiteX167" fmla="*/ 8477250 w 8971757"/>
                  <a:gd name="connsiteY167" fmla="*/ 1545431 h 4575969"/>
                  <a:gd name="connsiteX168" fmla="*/ 8436769 w 8971757"/>
                  <a:gd name="connsiteY168" fmla="*/ 1550194 h 4575969"/>
                  <a:gd name="connsiteX169" fmla="*/ 8351043 w 8971757"/>
                  <a:gd name="connsiteY169" fmla="*/ 1476375 h 4575969"/>
                  <a:gd name="connsiteX170" fmla="*/ 8170069 w 8971757"/>
                  <a:gd name="connsiteY170" fmla="*/ 1476374 h 4575969"/>
                  <a:gd name="connsiteX171" fmla="*/ 8117681 w 8971757"/>
                  <a:gd name="connsiteY171" fmla="*/ 1514475 h 4575969"/>
                  <a:gd name="connsiteX172" fmla="*/ 8067675 w 8971757"/>
                  <a:gd name="connsiteY172" fmla="*/ 1593056 h 4575969"/>
                  <a:gd name="connsiteX173" fmla="*/ 8084344 w 8971757"/>
                  <a:gd name="connsiteY173" fmla="*/ 1614487 h 4575969"/>
                  <a:gd name="connsiteX174" fmla="*/ 8039100 w 8971757"/>
                  <a:gd name="connsiteY174" fmla="*/ 1664493 h 4575969"/>
                  <a:gd name="connsiteX175" fmla="*/ 7889081 w 8971757"/>
                  <a:gd name="connsiteY175" fmla="*/ 1588293 h 4575969"/>
                  <a:gd name="connsiteX176" fmla="*/ 7798594 w 8971757"/>
                  <a:gd name="connsiteY176" fmla="*/ 1624012 h 4575969"/>
                  <a:gd name="connsiteX177" fmla="*/ 7724775 w 8971757"/>
                  <a:gd name="connsiteY177" fmla="*/ 1621631 h 4575969"/>
                  <a:gd name="connsiteX178" fmla="*/ 7667625 w 8971757"/>
                  <a:gd name="connsiteY178" fmla="*/ 1716881 h 4575969"/>
                  <a:gd name="connsiteX179" fmla="*/ 7529513 w 8971757"/>
                  <a:gd name="connsiteY17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6231732 w 8971757"/>
                  <a:gd name="connsiteY26" fmla="*/ 1304925 h 4575969"/>
                  <a:gd name="connsiteX27" fmla="*/ 8412956 w 8971757"/>
                  <a:gd name="connsiteY27" fmla="*/ 23812 h 4575969"/>
                  <a:gd name="connsiteX28" fmla="*/ 8949531 w 8971757"/>
                  <a:gd name="connsiteY28" fmla="*/ 0 h 4575969"/>
                  <a:gd name="connsiteX29" fmla="*/ 8971757 w 8971757"/>
                  <a:gd name="connsiteY29" fmla="*/ 4575969 h 4575969"/>
                  <a:gd name="connsiteX30" fmla="*/ 2381 w 8971757"/>
                  <a:gd name="connsiteY30" fmla="*/ 4547392 h 4575969"/>
                  <a:gd name="connsiteX31" fmla="*/ 0 w 8971757"/>
                  <a:gd name="connsiteY31" fmla="*/ 845344 h 4575969"/>
                  <a:gd name="connsiteX32" fmla="*/ 76200 w 8971757"/>
                  <a:gd name="connsiteY32" fmla="*/ 828675 h 4575969"/>
                  <a:gd name="connsiteX33" fmla="*/ 119063 w 8971757"/>
                  <a:gd name="connsiteY33" fmla="*/ 857250 h 4575969"/>
                  <a:gd name="connsiteX34" fmla="*/ 215900 w 8971757"/>
                  <a:gd name="connsiteY34" fmla="*/ 848519 h 4575969"/>
                  <a:gd name="connsiteX35" fmla="*/ 261938 w 8971757"/>
                  <a:gd name="connsiteY35" fmla="*/ 876299 h 4575969"/>
                  <a:gd name="connsiteX36" fmla="*/ 228600 w 8971757"/>
                  <a:gd name="connsiteY36" fmla="*/ 904875 h 4575969"/>
                  <a:gd name="connsiteX37" fmla="*/ 233363 w 8971757"/>
                  <a:gd name="connsiteY37" fmla="*/ 947737 h 4575969"/>
                  <a:gd name="connsiteX38" fmla="*/ 200025 w 8971757"/>
                  <a:gd name="connsiteY38" fmla="*/ 952500 h 4575969"/>
                  <a:gd name="connsiteX39" fmla="*/ 204788 w 8971757"/>
                  <a:gd name="connsiteY39" fmla="*/ 976312 h 4575969"/>
                  <a:gd name="connsiteX40" fmla="*/ 261937 w 8971757"/>
                  <a:gd name="connsiteY40" fmla="*/ 1050131 h 4575969"/>
                  <a:gd name="connsiteX41" fmla="*/ 223838 w 8971757"/>
                  <a:gd name="connsiteY41" fmla="*/ 1097756 h 4575969"/>
                  <a:gd name="connsiteX42" fmla="*/ 278606 w 8971757"/>
                  <a:gd name="connsiteY42" fmla="*/ 1133475 h 4575969"/>
                  <a:gd name="connsiteX43" fmla="*/ 369094 w 8971757"/>
                  <a:gd name="connsiteY43" fmla="*/ 1221581 h 4575969"/>
                  <a:gd name="connsiteX44" fmla="*/ 371475 w 8971757"/>
                  <a:gd name="connsiteY44" fmla="*/ 1281112 h 4575969"/>
                  <a:gd name="connsiteX45" fmla="*/ 507206 w 8971757"/>
                  <a:gd name="connsiteY45" fmla="*/ 1414463 h 4575969"/>
                  <a:gd name="connsiteX46" fmla="*/ 561975 w 8971757"/>
                  <a:gd name="connsiteY46" fmla="*/ 1390650 h 4575969"/>
                  <a:gd name="connsiteX47" fmla="*/ 600075 w 8971757"/>
                  <a:gd name="connsiteY47" fmla="*/ 1416843 h 4575969"/>
                  <a:gd name="connsiteX48" fmla="*/ 614363 w 8971757"/>
                  <a:gd name="connsiteY48" fmla="*/ 1466849 h 4575969"/>
                  <a:gd name="connsiteX49" fmla="*/ 657225 w 8971757"/>
                  <a:gd name="connsiteY49" fmla="*/ 1502569 h 4575969"/>
                  <a:gd name="connsiteX50" fmla="*/ 697706 w 8971757"/>
                  <a:gd name="connsiteY50" fmla="*/ 1490662 h 4575969"/>
                  <a:gd name="connsiteX51" fmla="*/ 716756 w 8971757"/>
                  <a:gd name="connsiteY51" fmla="*/ 1547812 h 4575969"/>
                  <a:gd name="connsiteX52" fmla="*/ 764381 w 8971757"/>
                  <a:gd name="connsiteY52" fmla="*/ 1590675 h 4575969"/>
                  <a:gd name="connsiteX53" fmla="*/ 788194 w 8971757"/>
                  <a:gd name="connsiteY53" fmla="*/ 1693069 h 4575969"/>
                  <a:gd name="connsiteX54" fmla="*/ 785813 w 8971757"/>
                  <a:gd name="connsiteY54" fmla="*/ 1740694 h 4575969"/>
                  <a:gd name="connsiteX55" fmla="*/ 821531 w 8971757"/>
                  <a:gd name="connsiteY55" fmla="*/ 1840706 h 4575969"/>
                  <a:gd name="connsiteX56" fmla="*/ 866775 w 8971757"/>
                  <a:gd name="connsiteY56" fmla="*/ 1897856 h 4575969"/>
                  <a:gd name="connsiteX57" fmla="*/ 883443 w 8971757"/>
                  <a:gd name="connsiteY57" fmla="*/ 2055018 h 4575969"/>
                  <a:gd name="connsiteX58" fmla="*/ 850106 w 8971757"/>
                  <a:gd name="connsiteY58" fmla="*/ 2116931 h 4575969"/>
                  <a:gd name="connsiteX59" fmla="*/ 819150 w 8971757"/>
                  <a:gd name="connsiteY59" fmla="*/ 2193131 h 4575969"/>
                  <a:gd name="connsiteX60" fmla="*/ 833438 w 8971757"/>
                  <a:gd name="connsiteY60" fmla="*/ 2250281 h 4575969"/>
                  <a:gd name="connsiteX61" fmla="*/ 735806 w 8971757"/>
                  <a:gd name="connsiteY61" fmla="*/ 2357438 h 4575969"/>
                  <a:gd name="connsiteX62" fmla="*/ 692944 w 8971757"/>
                  <a:gd name="connsiteY62" fmla="*/ 2471737 h 4575969"/>
                  <a:gd name="connsiteX63" fmla="*/ 726281 w 8971757"/>
                  <a:gd name="connsiteY63" fmla="*/ 2512219 h 4575969"/>
                  <a:gd name="connsiteX64" fmla="*/ 709613 w 8971757"/>
                  <a:gd name="connsiteY64" fmla="*/ 2540794 h 4575969"/>
                  <a:gd name="connsiteX65" fmla="*/ 740569 w 8971757"/>
                  <a:gd name="connsiteY65" fmla="*/ 2597944 h 4575969"/>
                  <a:gd name="connsiteX66" fmla="*/ 769144 w 8971757"/>
                  <a:gd name="connsiteY66" fmla="*/ 2597944 h 4575969"/>
                  <a:gd name="connsiteX67" fmla="*/ 931069 w 8971757"/>
                  <a:gd name="connsiteY67" fmla="*/ 2700337 h 4575969"/>
                  <a:gd name="connsiteX68" fmla="*/ 1035844 w 8971757"/>
                  <a:gd name="connsiteY68" fmla="*/ 2697956 h 4575969"/>
                  <a:gd name="connsiteX69" fmla="*/ 1114425 w 8971757"/>
                  <a:gd name="connsiteY69" fmla="*/ 2752725 h 4575969"/>
                  <a:gd name="connsiteX70" fmla="*/ 1245393 w 8971757"/>
                  <a:gd name="connsiteY70" fmla="*/ 2755106 h 4575969"/>
                  <a:gd name="connsiteX71" fmla="*/ 1435893 w 8971757"/>
                  <a:gd name="connsiteY71" fmla="*/ 2824162 h 4575969"/>
                  <a:gd name="connsiteX72" fmla="*/ 1638300 w 8971757"/>
                  <a:gd name="connsiteY72" fmla="*/ 2974181 h 4575969"/>
                  <a:gd name="connsiteX73" fmla="*/ 1671637 w 8971757"/>
                  <a:gd name="connsiteY73" fmla="*/ 3040856 h 4575969"/>
                  <a:gd name="connsiteX74" fmla="*/ 1838325 w 8971757"/>
                  <a:gd name="connsiteY74" fmla="*/ 3167062 h 4575969"/>
                  <a:gd name="connsiteX75" fmla="*/ 1909763 w 8971757"/>
                  <a:gd name="connsiteY75" fmla="*/ 3162300 h 4575969"/>
                  <a:gd name="connsiteX76" fmla="*/ 1945482 w 8971757"/>
                  <a:gd name="connsiteY76" fmla="*/ 3186112 h 4575969"/>
                  <a:gd name="connsiteX77" fmla="*/ 1916906 w 8971757"/>
                  <a:gd name="connsiteY77" fmla="*/ 3226594 h 4575969"/>
                  <a:gd name="connsiteX78" fmla="*/ 1924050 w 8971757"/>
                  <a:gd name="connsiteY78" fmla="*/ 3278981 h 4575969"/>
                  <a:gd name="connsiteX79" fmla="*/ 1976438 w 8971757"/>
                  <a:gd name="connsiteY79" fmla="*/ 3305175 h 4575969"/>
                  <a:gd name="connsiteX80" fmla="*/ 2038350 w 8971757"/>
                  <a:gd name="connsiteY80" fmla="*/ 3529013 h 4575969"/>
                  <a:gd name="connsiteX81" fmla="*/ 2028825 w 8971757"/>
                  <a:gd name="connsiteY81" fmla="*/ 3593306 h 4575969"/>
                  <a:gd name="connsiteX82" fmla="*/ 2164556 w 8971757"/>
                  <a:gd name="connsiteY82" fmla="*/ 3759994 h 4575969"/>
                  <a:gd name="connsiteX83" fmla="*/ 2183606 w 8971757"/>
                  <a:gd name="connsiteY83" fmla="*/ 3810000 h 4575969"/>
                  <a:gd name="connsiteX84" fmla="*/ 2157413 w 8971757"/>
                  <a:gd name="connsiteY84" fmla="*/ 3829050 h 4575969"/>
                  <a:gd name="connsiteX85" fmla="*/ 2259806 w 8971757"/>
                  <a:gd name="connsiteY85" fmla="*/ 3838575 h 4575969"/>
                  <a:gd name="connsiteX86" fmla="*/ 2371725 w 8971757"/>
                  <a:gd name="connsiteY86" fmla="*/ 3826669 h 4575969"/>
                  <a:gd name="connsiteX87" fmla="*/ 2650331 w 8971757"/>
                  <a:gd name="connsiteY87" fmla="*/ 3910012 h 4575969"/>
                  <a:gd name="connsiteX88" fmla="*/ 3057525 w 8971757"/>
                  <a:gd name="connsiteY88" fmla="*/ 3990975 h 4575969"/>
                  <a:gd name="connsiteX89" fmla="*/ 3255169 w 8971757"/>
                  <a:gd name="connsiteY89" fmla="*/ 3960018 h 4575969"/>
                  <a:gd name="connsiteX90" fmla="*/ 3300413 w 8971757"/>
                  <a:gd name="connsiteY90" fmla="*/ 3971924 h 4575969"/>
                  <a:gd name="connsiteX91" fmla="*/ 3355181 w 8971757"/>
                  <a:gd name="connsiteY91" fmla="*/ 3948113 h 4575969"/>
                  <a:gd name="connsiteX92" fmla="*/ 3748087 w 8971757"/>
                  <a:gd name="connsiteY92" fmla="*/ 4038600 h 4575969"/>
                  <a:gd name="connsiteX93" fmla="*/ 3831432 w 8971757"/>
                  <a:gd name="connsiteY93" fmla="*/ 4136231 h 4575969"/>
                  <a:gd name="connsiteX94" fmla="*/ 3950494 w 8971757"/>
                  <a:gd name="connsiteY94" fmla="*/ 4207669 h 4575969"/>
                  <a:gd name="connsiteX95" fmla="*/ 4010025 w 8971757"/>
                  <a:gd name="connsiteY95" fmla="*/ 4191000 h 4575969"/>
                  <a:gd name="connsiteX96" fmla="*/ 4360068 w 8971757"/>
                  <a:gd name="connsiteY96" fmla="*/ 4364831 h 4575969"/>
                  <a:gd name="connsiteX97" fmla="*/ 4586288 w 8971757"/>
                  <a:gd name="connsiteY97" fmla="*/ 4336256 h 4575969"/>
                  <a:gd name="connsiteX98" fmla="*/ 4595813 w 8971757"/>
                  <a:gd name="connsiteY98" fmla="*/ 4414837 h 4575969"/>
                  <a:gd name="connsiteX99" fmla="*/ 4681538 w 8971757"/>
                  <a:gd name="connsiteY99" fmla="*/ 4410074 h 4575969"/>
                  <a:gd name="connsiteX100" fmla="*/ 4760119 w 8971757"/>
                  <a:gd name="connsiteY100" fmla="*/ 4441031 h 4575969"/>
                  <a:gd name="connsiteX101" fmla="*/ 4802981 w 8971757"/>
                  <a:gd name="connsiteY101" fmla="*/ 4381500 h 4575969"/>
                  <a:gd name="connsiteX102" fmla="*/ 5474494 w 8971757"/>
                  <a:gd name="connsiteY102" fmla="*/ 4062412 h 4575969"/>
                  <a:gd name="connsiteX103" fmla="*/ 5562600 w 8971757"/>
                  <a:gd name="connsiteY103" fmla="*/ 4090988 h 4575969"/>
                  <a:gd name="connsiteX104" fmla="*/ 5693569 w 8971757"/>
                  <a:gd name="connsiteY104" fmla="*/ 4062412 h 4575969"/>
                  <a:gd name="connsiteX105" fmla="*/ 5872162 w 8971757"/>
                  <a:gd name="connsiteY105" fmla="*/ 4079081 h 4575969"/>
                  <a:gd name="connsiteX106" fmla="*/ 5929313 w 8971757"/>
                  <a:gd name="connsiteY106" fmla="*/ 4052888 h 4575969"/>
                  <a:gd name="connsiteX107" fmla="*/ 6062662 w 8971757"/>
                  <a:gd name="connsiteY107" fmla="*/ 4050506 h 4575969"/>
                  <a:gd name="connsiteX108" fmla="*/ 6196012 w 8971757"/>
                  <a:gd name="connsiteY108" fmla="*/ 3952875 h 4575969"/>
                  <a:gd name="connsiteX109" fmla="*/ 6262687 w 8971757"/>
                  <a:gd name="connsiteY109" fmla="*/ 3945731 h 4575969"/>
                  <a:gd name="connsiteX110" fmla="*/ 6360319 w 8971757"/>
                  <a:gd name="connsiteY110" fmla="*/ 3871912 h 4575969"/>
                  <a:gd name="connsiteX111" fmla="*/ 6434138 w 8971757"/>
                  <a:gd name="connsiteY111" fmla="*/ 3802856 h 4575969"/>
                  <a:gd name="connsiteX112" fmla="*/ 6443663 w 8971757"/>
                  <a:gd name="connsiteY112" fmla="*/ 3740944 h 4575969"/>
                  <a:gd name="connsiteX113" fmla="*/ 6477000 w 8971757"/>
                  <a:gd name="connsiteY113" fmla="*/ 3671887 h 4575969"/>
                  <a:gd name="connsiteX114" fmla="*/ 6629400 w 8971757"/>
                  <a:gd name="connsiteY114" fmla="*/ 3564731 h 4575969"/>
                  <a:gd name="connsiteX115" fmla="*/ 6662738 w 8971757"/>
                  <a:gd name="connsiteY115" fmla="*/ 3569494 h 4575969"/>
                  <a:gd name="connsiteX116" fmla="*/ 6715125 w 8971757"/>
                  <a:gd name="connsiteY116" fmla="*/ 3490912 h 4575969"/>
                  <a:gd name="connsiteX117" fmla="*/ 6762750 w 8971757"/>
                  <a:gd name="connsiteY117" fmla="*/ 3452812 h 4575969"/>
                  <a:gd name="connsiteX118" fmla="*/ 6748463 w 8971757"/>
                  <a:gd name="connsiteY118" fmla="*/ 3383756 h 4575969"/>
                  <a:gd name="connsiteX119" fmla="*/ 6698456 w 8971757"/>
                  <a:gd name="connsiteY119" fmla="*/ 3352799 h 4575969"/>
                  <a:gd name="connsiteX120" fmla="*/ 6638925 w 8971757"/>
                  <a:gd name="connsiteY120" fmla="*/ 3298031 h 4575969"/>
                  <a:gd name="connsiteX121" fmla="*/ 6619875 w 8971757"/>
                  <a:gd name="connsiteY121" fmla="*/ 3240881 h 4575969"/>
                  <a:gd name="connsiteX122" fmla="*/ 6584156 w 8971757"/>
                  <a:gd name="connsiteY122" fmla="*/ 3207544 h 4575969"/>
                  <a:gd name="connsiteX123" fmla="*/ 6610350 w 8971757"/>
                  <a:gd name="connsiteY123" fmla="*/ 3155156 h 4575969"/>
                  <a:gd name="connsiteX124" fmla="*/ 6650831 w 8971757"/>
                  <a:gd name="connsiteY124" fmla="*/ 2976562 h 4575969"/>
                  <a:gd name="connsiteX125" fmla="*/ 6691313 w 8971757"/>
                  <a:gd name="connsiteY125" fmla="*/ 2909887 h 4575969"/>
                  <a:gd name="connsiteX126" fmla="*/ 6836569 w 8971757"/>
                  <a:gd name="connsiteY126" fmla="*/ 2893218 h 4575969"/>
                  <a:gd name="connsiteX127" fmla="*/ 6905625 w 8971757"/>
                  <a:gd name="connsiteY127" fmla="*/ 2950369 h 4575969"/>
                  <a:gd name="connsiteX128" fmla="*/ 6981825 w 8971757"/>
                  <a:gd name="connsiteY128" fmla="*/ 2974181 h 4575969"/>
                  <a:gd name="connsiteX129" fmla="*/ 7186612 w 8971757"/>
                  <a:gd name="connsiteY129" fmla="*/ 2978944 h 4575969"/>
                  <a:gd name="connsiteX130" fmla="*/ 7362825 w 8971757"/>
                  <a:gd name="connsiteY130" fmla="*/ 2840831 h 4575969"/>
                  <a:gd name="connsiteX131" fmla="*/ 7419975 w 8971757"/>
                  <a:gd name="connsiteY131" fmla="*/ 2750343 h 4575969"/>
                  <a:gd name="connsiteX132" fmla="*/ 7446169 w 8971757"/>
                  <a:gd name="connsiteY132" fmla="*/ 2667000 h 4575969"/>
                  <a:gd name="connsiteX133" fmla="*/ 7577137 w 8971757"/>
                  <a:gd name="connsiteY133" fmla="*/ 2667000 h 4575969"/>
                  <a:gd name="connsiteX134" fmla="*/ 7750969 w 8971757"/>
                  <a:gd name="connsiteY134" fmla="*/ 2609849 h 4575969"/>
                  <a:gd name="connsiteX135" fmla="*/ 7810500 w 8971757"/>
                  <a:gd name="connsiteY135" fmla="*/ 2497931 h 4575969"/>
                  <a:gd name="connsiteX136" fmla="*/ 7874794 w 8971757"/>
                  <a:gd name="connsiteY136" fmla="*/ 2462212 h 4575969"/>
                  <a:gd name="connsiteX137" fmla="*/ 7853363 w 8971757"/>
                  <a:gd name="connsiteY137" fmla="*/ 2416969 h 4575969"/>
                  <a:gd name="connsiteX138" fmla="*/ 7931944 w 8971757"/>
                  <a:gd name="connsiteY138" fmla="*/ 2247899 h 4575969"/>
                  <a:gd name="connsiteX139" fmla="*/ 7986713 w 8971757"/>
                  <a:gd name="connsiteY139" fmla="*/ 2188369 h 4575969"/>
                  <a:gd name="connsiteX140" fmla="*/ 8024813 w 8971757"/>
                  <a:gd name="connsiteY140" fmla="*/ 2183606 h 4575969"/>
                  <a:gd name="connsiteX141" fmla="*/ 8070056 w 8971757"/>
                  <a:gd name="connsiteY141" fmla="*/ 2188369 h 4575969"/>
                  <a:gd name="connsiteX142" fmla="*/ 8134350 w 8971757"/>
                  <a:gd name="connsiteY142" fmla="*/ 2155031 h 4575969"/>
                  <a:gd name="connsiteX143" fmla="*/ 8143875 w 8971757"/>
                  <a:gd name="connsiteY143" fmla="*/ 2090737 h 4575969"/>
                  <a:gd name="connsiteX144" fmla="*/ 8184355 w 8971757"/>
                  <a:gd name="connsiteY144" fmla="*/ 2055019 h 4575969"/>
                  <a:gd name="connsiteX145" fmla="*/ 8243888 w 8971757"/>
                  <a:gd name="connsiteY145" fmla="*/ 2095499 h 4575969"/>
                  <a:gd name="connsiteX146" fmla="*/ 8270082 w 8971757"/>
                  <a:gd name="connsiteY146" fmla="*/ 2045493 h 4575969"/>
                  <a:gd name="connsiteX147" fmla="*/ 8365331 w 8971757"/>
                  <a:gd name="connsiteY147" fmla="*/ 1976437 h 4575969"/>
                  <a:gd name="connsiteX148" fmla="*/ 8427244 w 8971757"/>
                  <a:gd name="connsiteY148" fmla="*/ 1983581 h 4575969"/>
                  <a:gd name="connsiteX149" fmla="*/ 8477250 w 8971757"/>
                  <a:gd name="connsiteY149" fmla="*/ 1964531 h 4575969"/>
                  <a:gd name="connsiteX150" fmla="*/ 8515350 w 8971757"/>
                  <a:gd name="connsiteY150" fmla="*/ 1935956 h 4575969"/>
                  <a:gd name="connsiteX151" fmla="*/ 8548688 w 8971757"/>
                  <a:gd name="connsiteY151" fmla="*/ 1933575 h 4575969"/>
                  <a:gd name="connsiteX152" fmla="*/ 8584406 w 8971757"/>
                  <a:gd name="connsiteY152" fmla="*/ 1964531 h 4575969"/>
                  <a:gd name="connsiteX153" fmla="*/ 8643938 w 8971757"/>
                  <a:gd name="connsiteY153" fmla="*/ 1964531 h 4575969"/>
                  <a:gd name="connsiteX154" fmla="*/ 8682037 w 8971757"/>
                  <a:gd name="connsiteY154" fmla="*/ 1945481 h 4575969"/>
                  <a:gd name="connsiteX155" fmla="*/ 8765381 w 8971757"/>
                  <a:gd name="connsiteY155" fmla="*/ 1947863 h 4575969"/>
                  <a:gd name="connsiteX156" fmla="*/ 8796338 w 8971757"/>
                  <a:gd name="connsiteY156" fmla="*/ 1902619 h 4575969"/>
                  <a:gd name="connsiteX157" fmla="*/ 8801100 w 8971757"/>
                  <a:gd name="connsiteY157" fmla="*/ 1840706 h 4575969"/>
                  <a:gd name="connsiteX158" fmla="*/ 8751093 w 8971757"/>
                  <a:gd name="connsiteY158" fmla="*/ 1800225 h 4575969"/>
                  <a:gd name="connsiteX159" fmla="*/ 8734425 w 8971757"/>
                  <a:gd name="connsiteY159" fmla="*/ 1745456 h 4575969"/>
                  <a:gd name="connsiteX160" fmla="*/ 8643938 w 8971757"/>
                  <a:gd name="connsiteY160" fmla="*/ 1683544 h 4575969"/>
                  <a:gd name="connsiteX161" fmla="*/ 8603456 w 8971757"/>
                  <a:gd name="connsiteY161" fmla="*/ 1662112 h 4575969"/>
                  <a:gd name="connsiteX162" fmla="*/ 8565356 w 8971757"/>
                  <a:gd name="connsiteY162" fmla="*/ 1616869 h 4575969"/>
                  <a:gd name="connsiteX163" fmla="*/ 8534400 w 8971757"/>
                  <a:gd name="connsiteY163" fmla="*/ 1614487 h 4575969"/>
                  <a:gd name="connsiteX164" fmla="*/ 8517731 w 8971757"/>
                  <a:gd name="connsiteY164" fmla="*/ 1562100 h 4575969"/>
                  <a:gd name="connsiteX165" fmla="*/ 8477250 w 8971757"/>
                  <a:gd name="connsiteY165" fmla="*/ 1545431 h 4575969"/>
                  <a:gd name="connsiteX166" fmla="*/ 8477250 w 8971757"/>
                  <a:gd name="connsiteY166" fmla="*/ 1545431 h 4575969"/>
                  <a:gd name="connsiteX167" fmla="*/ 8436769 w 8971757"/>
                  <a:gd name="connsiteY167" fmla="*/ 1550194 h 4575969"/>
                  <a:gd name="connsiteX168" fmla="*/ 8351043 w 8971757"/>
                  <a:gd name="connsiteY168" fmla="*/ 1476375 h 4575969"/>
                  <a:gd name="connsiteX169" fmla="*/ 8170069 w 8971757"/>
                  <a:gd name="connsiteY169" fmla="*/ 1476374 h 4575969"/>
                  <a:gd name="connsiteX170" fmla="*/ 8117681 w 8971757"/>
                  <a:gd name="connsiteY170" fmla="*/ 1514475 h 4575969"/>
                  <a:gd name="connsiteX171" fmla="*/ 8067675 w 8971757"/>
                  <a:gd name="connsiteY171" fmla="*/ 1593056 h 4575969"/>
                  <a:gd name="connsiteX172" fmla="*/ 8084344 w 8971757"/>
                  <a:gd name="connsiteY172" fmla="*/ 1614487 h 4575969"/>
                  <a:gd name="connsiteX173" fmla="*/ 8039100 w 8971757"/>
                  <a:gd name="connsiteY173" fmla="*/ 1664493 h 4575969"/>
                  <a:gd name="connsiteX174" fmla="*/ 7889081 w 8971757"/>
                  <a:gd name="connsiteY174" fmla="*/ 1588293 h 4575969"/>
                  <a:gd name="connsiteX175" fmla="*/ 7798594 w 8971757"/>
                  <a:gd name="connsiteY175" fmla="*/ 1624012 h 4575969"/>
                  <a:gd name="connsiteX176" fmla="*/ 7724775 w 8971757"/>
                  <a:gd name="connsiteY176" fmla="*/ 1621631 h 4575969"/>
                  <a:gd name="connsiteX177" fmla="*/ 7667625 w 8971757"/>
                  <a:gd name="connsiteY177" fmla="*/ 1716881 h 4575969"/>
                  <a:gd name="connsiteX178" fmla="*/ 7529513 w 8971757"/>
                  <a:gd name="connsiteY17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6353175 w 8971757"/>
                  <a:gd name="connsiteY25" fmla="*/ 1212056 h 4575969"/>
                  <a:gd name="connsiteX26" fmla="*/ 8412956 w 8971757"/>
                  <a:gd name="connsiteY26" fmla="*/ 23812 h 4575969"/>
                  <a:gd name="connsiteX27" fmla="*/ 8949531 w 8971757"/>
                  <a:gd name="connsiteY27" fmla="*/ 0 h 4575969"/>
                  <a:gd name="connsiteX28" fmla="*/ 8971757 w 8971757"/>
                  <a:gd name="connsiteY28" fmla="*/ 4575969 h 4575969"/>
                  <a:gd name="connsiteX29" fmla="*/ 2381 w 8971757"/>
                  <a:gd name="connsiteY29" fmla="*/ 4547392 h 4575969"/>
                  <a:gd name="connsiteX30" fmla="*/ 0 w 8971757"/>
                  <a:gd name="connsiteY30" fmla="*/ 845344 h 4575969"/>
                  <a:gd name="connsiteX31" fmla="*/ 76200 w 8971757"/>
                  <a:gd name="connsiteY31" fmla="*/ 828675 h 4575969"/>
                  <a:gd name="connsiteX32" fmla="*/ 119063 w 8971757"/>
                  <a:gd name="connsiteY32" fmla="*/ 857250 h 4575969"/>
                  <a:gd name="connsiteX33" fmla="*/ 215900 w 8971757"/>
                  <a:gd name="connsiteY33" fmla="*/ 848519 h 4575969"/>
                  <a:gd name="connsiteX34" fmla="*/ 261938 w 8971757"/>
                  <a:gd name="connsiteY34" fmla="*/ 876299 h 4575969"/>
                  <a:gd name="connsiteX35" fmla="*/ 228600 w 8971757"/>
                  <a:gd name="connsiteY35" fmla="*/ 904875 h 4575969"/>
                  <a:gd name="connsiteX36" fmla="*/ 233363 w 8971757"/>
                  <a:gd name="connsiteY36" fmla="*/ 947737 h 4575969"/>
                  <a:gd name="connsiteX37" fmla="*/ 200025 w 8971757"/>
                  <a:gd name="connsiteY37" fmla="*/ 952500 h 4575969"/>
                  <a:gd name="connsiteX38" fmla="*/ 204788 w 8971757"/>
                  <a:gd name="connsiteY38" fmla="*/ 976312 h 4575969"/>
                  <a:gd name="connsiteX39" fmla="*/ 261937 w 8971757"/>
                  <a:gd name="connsiteY39" fmla="*/ 1050131 h 4575969"/>
                  <a:gd name="connsiteX40" fmla="*/ 223838 w 8971757"/>
                  <a:gd name="connsiteY40" fmla="*/ 1097756 h 4575969"/>
                  <a:gd name="connsiteX41" fmla="*/ 278606 w 8971757"/>
                  <a:gd name="connsiteY41" fmla="*/ 1133475 h 4575969"/>
                  <a:gd name="connsiteX42" fmla="*/ 369094 w 8971757"/>
                  <a:gd name="connsiteY42" fmla="*/ 1221581 h 4575969"/>
                  <a:gd name="connsiteX43" fmla="*/ 371475 w 8971757"/>
                  <a:gd name="connsiteY43" fmla="*/ 1281112 h 4575969"/>
                  <a:gd name="connsiteX44" fmla="*/ 507206 w 8971757"/>
                  <a:gd name="connsiteY44" fmla="*/ 1414463 h 4575969"/>
                  <a:gd name="connsiteX45" fmla="*/ 561975 w 8971757"/>
                  <a:gd name="connsiteY45" fmla="*/ 1390650 h 4575969"/>
                  <a:gd name="connsiteX46" fmla="*/ 600075 w 8971757"/>
                  <a:gd name="connsiteY46" fmla="*/ 1416843 h 4575969"/>
                  <a:gd name="connsiteX47" fmla="*/ 614363 w 8971757"/>
                  <a:gd name="connsiteY47" fmla="*/ 1466849 h 4575969"/>
                  <a:gd name="connsiteX48" fmla="*/ 657225 w 8971757"/>
                  <a:gd name="connsiteY48" fmla="*/ 1502569 h 4575969"/>
                  <a:gd name="connsiteX49" fmla="*/ 697706 w 8971757"/>
                  <a:gd name="connsiteY49" fmla="*/ 1490662 h 4575969"/>
                  <a:gd name="connsiteX50" fmla="*/ 716756 w 8971757"/>
                  <a:gd name="connsiteY50" fmla="*/ 1547812 h 4575969"/>
                  <a:gd name="connsiteX51" fmla="*/ 764381 w 8971757"/>
                  <a:gd name="connsiteY51" fmla="*/ 1590675 h 4575969"/>
                  <a:gd name="connsiteX52" fmla="*/ 788194 w 8971757"/>
                  <a:gd name="connsiteY52" fmla="*/ 1693069 h 4575969"/>
                  <a:gd name="connsiteX53" fmla="*/ 785813 w 8971757"/>
                  <a:gd name="connsiteY53" fmla="*/ 1740694 h 4575969"/>
                  <a:gd name="connsiteX54" fmla="*/ 821531 w 8971757"/>
                  <a:gd name="connsiteY54" fmla="*/ 1840706 h 4575969"/>
                  <a:gd name="connsiteX55" fmla="*/ 866775 w 8971757"/>
                  <a:gd name="connsiteY55" fmla="*/ 1897856 h 4575969"/>
                  <a:gd name="connsiteX56" fmla="*/ 883443 w 8971757"/>
                  <a:gd name="connsiteY56" fmla="*/ 2055018 h 4575969"/>
                  <a:gd name="connsiteX57" fmla="*/ 850106 w 8971757"/>
                  <a:gd name="connsiteY57" fmla="*/ 2116931 h 4575969"/>
                  <a:gd name="connsiteX58" fmla="*/ 819150 w 8971757"/>
                  <a:gd name="connsiteY58" fmla="*/ 2193131 h 4575969"/>
                  <a:gd name="connsiteX59" fmla="*/ 833438 w 8971757"/>
                  <a:gd name="connsiteY59" fmla="*/ 2250281 h 4575969"/>
                  <a:gd name="connsiteX60" fmla="*/ 735806 w 8971757"/>
                  <a:gd name="connsiteY60" fmla="*/ 2357438 h 4575969"/>
                  <a:gd name="connsiteX61" fmla="*/ 692944 w 8971757"/>
                  <a:gd name="connsiteY61" fmla="*/ 2471737 h 4575969"/>
                  <a:gd name="connsiteX62" fmla="*/ 726281 w 8971757"/>
                  <a:gd name="connsiteY62" fmla="*/ 2512219 h 4575969"/>
                  <a:gd name="connsiteX63" fmla="*/ 709613 w 8971757"/>
                  <a:gd name="connsiteY63" fmla="*/ 2540794 h 4575969"/>
                  <a:gd name="connsiteX64" fmla="*/ 740569 w 8971757"/>
                  <a:gd name="connsiteY64" fmla="*/ 2597944 h 4575969"/>
                  <a:gd name="connsiteX65" fmla="*/ 769144 w 8971757"/>
                  <a:gd name="connsiteY65" fmla="*/ 2597944 h 4575969"/>
                  <a:gd name="connsiteX66" fmla="*/ 931069 w 8971757"/>
                  <a:gd name="connsiteY66" fmla="*/ 2700337 h 4575969"/>
                  <a:gd name="connsiteX67" fmla="*/ 1035844 w 8971757"/>
                  <a:gd name="connsiteY67" fmla="*/ 2697956 h 4575969"/>
                  <a:gd name="connsiteX68" fmla="*/ 1114425 w 8971757"/>
                  <a:gd name="connsiteY68" fmla="*/ 2752725 h 4575969"/>
                  <a:gd name="connsiteX69" fmla="*/ 1245393 w 8971757"/>
                  <a:gd name="connsiteY69" fmla="*/ 2755106 h 4575969"/>
                  <a:gd name="connsiteX70" fmla="*/ 1435893 w 8971757"/>
                  <a:gd name="connsiteY70" fmla="*/ 2824162 h 4575969"/>
                  <a:gd name="connsiteX71" fmla="*/ 1638300 w 8971757"/>
                  <a:gd name="connsiteY71" fmla="*/ 2974181 h 4575969"/>
                  <a:gd name="connsiteX72" fmla="*/ 1671637 w 8971757"/>
                  <a:gd name="connsiteY72" fmla="*/ 3040856 h 4575969"/>
                  <a:gd name="connsiteX73" fmla="*/ 1838325 w 8971757"/>
                  <a:gd name="connsiteY73" fmla="*/ 3167062 h 4575969"/>
                  <a:gd name="connsiteX74" fmla="*/ 1909763 w 8971757"/>
                  <a:gd name="connsiteY74" fmla="*/ 3162300 h 4575969"/>
                  <a:gd name="connsiteX75" fmla="*/ 1945482 w 8971757"/>
                  <a:gd name="connsiteY75" fmla="*/ 3186112 h 4575969"/>
                  <a:gd name="connsiteX76" fmla="*/ 1916906 w 8971757"/>
                  <a:gd name="connsiteY76" fmla="*/ 3226594 h 4575969"/>
                  <a:gd name="connsiteX77" fmla="*/ 1924050 w 8971757"/>
                  <a:gd name="connsiteY77" fmla="*/ 3278981 h 4575969"/>
                  <a:gd name="connsiteX78" fmla="*/ 1976438 w 8971757"/>
                  <a:gd name="connsiteY78" fmla="*/ 3305175 h 4575969"/>
                  <a:gd name="connsiteX79" fmla="*/ 2038350 w 8971757"/>
                  <a:gd name="connsiteY79" fmla="*/ 3529013 h 4575969"/>
                  <a:gd name="connsiteX80" fmla="*/ 2028825 w 8971757"/>
                  <a:gd name="connsiteY80" fmla="*/ 3593306 h 4575969"/>
                  <a:gd name="connsiteX81" fmla="*/ 2164556 w 8971757"/>
                  <a:gd name="connsiteY81" fmla="*/ 3759994 h 4575969"/>
                  <a:gd name="connsiteX82" fmla="*/ 2183606 w 8971757"/>
                  <a:gd name="connsiteY82" fmla="*/ 3810000 h 4575969"/>
                  <a:gd name="connsiteX83" fmla="*/ 2157413 w 8971757"/>
                  <a:gd name="connsiteY83" fmla="*/ 3829050 h 4575969"/>
                  <a:gd name="connsiteX84" fmla="*/ 2259806 w 8971757"/>
                  <a:gd name="connsiteY84" fmla="*/ 3838575 h 4575969"/>
                  <a:gd name="connsiteX85" fmla="*/ 2371725 w 8971757"/>
                  <a:gd name="connsiteY85" fmla="*/ 3826669 h 4575969"/>
                  <a:gd name="connsiteX86" fmla="*/ 2650331 w 8971757"/>
                  <a:gd name="connsiteY86" fmla="*/ 3910012 h 4575969"/>
                  <a:gd name="connsiteX87" fmla="*/ 3057525 w 8971757"/>
                  <a:gd name="connsiteY87" fmla="*/ 3990975 h 4575969"/>
                  <a:gd name="connsiteX88" fmla="*/ 3255169 w 8971757"/>
                  <a:gd name="connsiteY88" fmla="*/ 3960018 h 4575969"/>
                  <a:gd name="connsiteX89" fmla="*/ 3300413 w 8971757"/>
                  <a:gd name="connsiteY89" fmla="*/ 3971924 h 4575969"/>
                  <a:gd name="connsiteX90" fmla="*/ 3355181 w 8971757"/>
                  <a:gd name="connsiteY90" fmla="*/ 3948113 h 4575969"/>
                  <a:gd name="connsiteX91" fmla="*/ 3748087 w 8971757"/>
                  <a:gd name="connsiteY91" fmla="*/ 4038600 h 4575969"/>
                  <a:gd name="connsiteX92" fmla="*/ 3831432 w 8971757"/>
                  <a:gd name="connsiteY92" fmla="*/ 4136231 h 4575969"/>
                  <a:gd name="connsiteX93" fmla="*/ 3950494 w 8971757"/>
                  <a:gd name="connsiteY93" fmla="*/ 4207669 h 4575969"/>
                  <a:gd name="connsiteX94" fmla="*/ 4010025 w 8971757"/>
                  <a:gd name="connsiteY94" fmla="*/ 4191000 h 4575969"/>
                  <a:gd name="connsiteX95" fmla="*/ 4360068 w 8971757"/>
                  <a:gd name="connsiteY95" fmla="*/ 4364831 h 4575969"/>
                  <a:gd name="connsiteX96" fmla="*/ 4586288 w 8971757"/>
                  <a:gd name="connsiteY96" fmla="*/ 4336256 h 4575969"/>
                  <a:gd name="connsiteX97" fmla="*/ 4595813 w 8971757"/>
                  <a:gd name="connsiteY97" fmla="*/ 4414837 h 4575969"/>
                  <a:gd name="connsiteX98" fmla="*/ 4681538 w 8971757"/>
                  <a:gd name="connsiteY98" fmla="*/ 4410074 h 4575969"/>
                  <a:gd name="connsiteX99" fmla="*/ 4760119 w 8971757"/>
                  <a:gd name="connsiteY99" fmla="*/ 4441031 h 4575969"/>
                  <a:gd name="connsiteX100" fmla="*/ 4802981 w 8971757"/>
                  <a:gd name="connsiteY100" fmla="*/ 4381500 h 4575969"/>
                  <a:gd name="connsiteX101" fmla="*/ 5474494 w 8971757"/>
                  <a:gd name="connsiteY101" fmla="*/ 4062412 h 4575969"/>
                  <a:gd name="connsiteX102" fmla="*/ 5562600 w 8971757"/>
                  <a:gd name="connsiteY102" fmla="*/ 4090988 h 4575969"/>
                  <a:gd name="connsiteX103" fmla="*/ 5693569 w 8971757"/>
                  <a:gd name="connsiteY103" fmla="*/ 4062412 h 4575969"/>
                  <a:gd name="connsiteX104" fmla="*/ 5872162 w 8971757"/>
                  <a:gd name="connsiteY104" fmla="*/ 4079081 h 4575969"/>
                  <a:gd name="connsiteX105" fmla="*/ 5929313 w 8971757"/>
                  <a:gd name="connsiteY105" fmla="*/ 4052888 h 4575969"/>
                  <a:gd name="connsiteX106" fmla="*/ 6062662 w 8971757"/>
                  <a:gd name="connsiteY106" fmla="*/ 4050506 h 4575969"/>
                  <a:gd name="connsiteX107" fmla="*/ 6196012 w 8971757"/>
                  <a:gd name="connsiteY107" fmla="*/ 3952875 h 4575969"/>
                  <a:gd name="connsiteX108" fmla="*/ 6262687 w 8971757"/>
                  <a:gd name="connsiteY108" fmla="*/ 3945731 h 4575969"/>
                  <a:gd name="connsiteX109" fmla="*/ 6360319 w 8971757"/>
                  <a:gd name="connsiteY109" fmla="*/ 3871912 h 4575969"/>
                  <a:gd name="connsiteX110" fmla="*/ 6434138 w 8971757"/>
                  <a:gd name="connsiteY110" fmla="*/ 3802856 h 4575969"/>
                  <a:gd name="connsiteX111" fmla="*/ 6443663 w 8971757"/>
                  <a:gd name="connsiteY111" fmla="*/ 3740944 h 4575969"/>
                  <a:gd name="connsiteX112" fmla="*/ 6477000 w 8971757"/>
                  <a:gd name="connsiteY112" fmla="*/ 3671887 h 4575969"/>
                  <a:gd name="connsiteX113" fmla="*/ 6629400 w 8971757"/>
                  <a:gd name="connsiteY113" fmla="*/ 3564731 h 4575969"/>
                  <a:gd name="connsiteX114" fmla="*/ 6662738 w 8971757"/>
                  <a:gd name="connsiteY114" fmla="*/ 3569494 h 4575969"/>
                  <a:gd name="connsiteX115" fmla="*/ 6715125 w 8971757"/>
                  <a:gd name="connsiteY115" fmla="*/ 3490912 h 4575969"/>
                  <a:gd name="connsiteX116" fmla="*/ 6762750 w 8971757"/>
                  <a:gd name="connsiteY116" fmla="*/ 3452812 h 4575969"/>
                  <a:gd name="connsiteX117" fmla="*/ 6748463 w 8971757"/>
                  <a:gd name="connsiteY117" fmla="*/ 3383756 h 4575969"/>
                  <a:gd name="connsiteX118" fmla="*/ 6698456 w 8971757"/>
                  <a:gd name="connsiteY118" fmla="*/ 3352799 h 4575969"/>
                  <a:gd name="connsiteX119" fmla="*/ 6638925 w 8971757"/>
                  <a:gd name="connsiteY119" fmla="*/ 3298031 h 4575969"/>
                  <a:gd name="connsiteX120" fmla="*/ 6619875 w 8971757"/>
                  <a:gd name="connsiteY120" fmla="*/ 3240881 h 4575969"/>
                  <a:gd name="connsiteX121" fmla="*/ 6584156 w 8971757"/>
                  <a:gd name="connsiteY121" fmla="*/ 3207544 h 4575969"/>
                  <a:gd name="connsiteX122" fmla="*/ 6610350 w 8971757"/>
                  <a:gd name="connsiteY122" fmla="*/ 3155156 h 4575969"/>
                  <a:gd name="connsiteX123" fmla="*/ 6650831 w 8971757"/>
                  <a:gd name="connsiteY123" fmla="*/ 2976562 h 4575969"/>
                  <a:gd name="connsiteX124" fmla="*/ 6691313 w 8971757"/>
                  <a:gd name="connsiteY124" fmla="*/ 2909887 h 4575969"/>
                  <a:gd name="connsiteX125" fmla="*/ 6836569 w 8971757"/>
                  <a:gd name="connsiteY125" fmla="*/ 2893218 h 4575969"/>
                  <a:gd name="connsiteX126" fmla="*/ 6905625 w 8971757"/>
                  <a:gd name="connsiteY126" fmla="*/ 2950369 h 4575969"/>
                  <a:gd name="connsiteX127" fmla="*/ 6981825 w 8971757"/>
                  <a:gd name="connsiteY127" fmla="*/ 2974181 h 4575969"/>
                  <a:gd name="connsiteX128" fmla="*/ 7186612 w 8971757"/>
                  <a:gd name="connsiteY128" fmla="*/ 2978944 h 4575969"/>
                  <a:gd name="connsiteX129" fmla="*/ 7362825 w 8971757"/>
                  <a:gd name="connsiteY129" fmla="*/ 2840831 h 4575969"/>
                  <a:gd name="connsiteX130" fmla="*/ 7419975 w 8971757"/>
                  <a:gd name="connsiteY130" fmla="*/ 2750343 h 4575969"/>
                  <a:gd name="connsiteX131" fmla="*/ 7446169 w 8971757"/>
                  <a:gd name="connsiteY131" fmla="*/ 2667000 h 4575969"/>
                  <a:gd name="connsiteX132" fmla="*/ 7577137 w 8971757"/>
                  <a:gd name="connsiteY132" fmla="*/ 2667000 h 4575969"/>
                  <a:gd name="connsiteX133" fmla="*/ 7750969 w 8971757"/>
                  <a:gd name="connsiteY133" fmla="*/ 2609849 h 4575969"/>
                  <a:gd name="connsiteX134" fmla="*/ 7810500 w 8971757"/>
                  <a:gd name="connsiteY134" fmla="*/ 2497931 h 4575969"/>
                  <a:gd name="connsiteX135" fmla="*/ 7874794 w 8971757"/>
                  <a:gd name="connsiteY135" fmla="*/ 2462212 h 4575969"/>
                  <a:gd name="connsiteX136" fmla="*/ 7853363 w 8971757"/>
                  <a:gd name="connsiteY136" fmla="*/ 2416969 h 4575969"/>
                  <a:gd name="connsiteX137" fmla="*/ 7931944 w 8971757"/>
                  <a:gd name="connsiteY137" fmla="*/ 2247899 h 4575969"/>
                  <a:gd name="connsiteX138" fmla="*/ 7986713 w 8971757"/>
                  <a:gd name="connsiteY138" fmla="*/ 2188369 h 4575969"/>
                  <a:gd name="connsiteX139" fmla="*/ 8024813 w 8971757"/>
                  <a:gd name="connsiteY139" fmla="*/ 2183606 h 4575969"/>
                  <a:gd name="connsiteX140" fmla="*/ 8070056 w 8971757"/>
                  <a:gd name="connsiteY140" fmla="*/ 2188369 h 4575969"/>
                  <a:gd name="connsiteX141" fmla="*/ 8134350 w 8971757"/>
                  <a:gd name="connsiteY141" fmla="*/ 2155031 h 4575969"/>
                  <a:gd name="connsiteX142" fmla="*/ 8143875 w 8971757"/>
                  <a:gd name="connsiteY142" fmla="*/ 2090737 h 4575969"/>
                  <a:gd name="connsiteX143" fmla="*/ 8184355 w 8971757"/>
                  <a:gd name="connsiteY143" fmla="*/ 2055019 h 4575969"/>
                  <a:gd name="connsiteX144" fmla="*/ 8243888 w 8971757"/>
                  <a:gd name="connsiteY144" fmla="*/ 2095499 h 4575969"/>
                  <a:gd name="connsiteX145" fmla="*/ 8270082 w 8971757"/>
                  <a:gd name="connsiteY145" fmla="*/ 2045493 h 4575969"/>
                  <a:gd name="connsiteX146" fmla="*/ 8365331 w 8971757"/>
                  <a:gd name="connsiteY146" fmla="*/ 1976437 h 4575969"/>
                  <a:gd name="connsiteX147" fmla="*/ 8427244 w 8971757"/>
                  <a:gd name="connsiteY147" fmla="*/ 1983581 h 4575969"/>
                  <a:gd name="connsiteX148" fmla="*/ 8477250 w 8971757"/>
                  <a:gd name="connsiteY148" fmla="*/ 1964531 h 4575969"/>
                  <a:gd name="connsiteX149" fmla="*/ 8515350 w 8971757"/>
                  <a:gd name="connsiteY149" fmla="*/ 1935956 h 4575969"/>
                  <a:gd name="connsiteX150" fmla="*/ 8548688 w 8971757"/>
                  <a:gd name="connsiteY150" fmla="*/ 1933575 h 4575969"/>
                  <a:gd name="connsiteX151" fmla="*/ 8584406 w 8971757"/>
                  <a:gd name="connsiteY151" fmla="*/ 1964531 h 4575969"/>
                  <a:gd name="connsiteX152" fmla="*/ 8643938 w 8971757"/>
                  <a:gd name="connsiteY152" fmla="*/ 1964531 h 4575969"/>
                  <a:gd name="connsiteX153" fmla="*/ 8682037 w 8971757"/>
                  <a:gd name="connsiteY153" fmla="*/ 1945481 h 4575969"/>
                  <a:gd name="connsiteX154" fmla="*/ 8765381 w 8971757"/>
                  <a:gd name="connsiteY154" fmla="*/ 1947863 h 4575969"/>
                  <a:gd name="connsiteX155" fmla="*/ 8796338 w 8971757"/>
                  <a:gd name="connsiteY155" fmla="*/ 1902619 h 4575969"/>
                  <a:gd name="connsiteX156" fmla="*/ 8801100 w 8971757"/>
                  <a:gd name="connsiteY156" fmla="*/ 1840706 h 4575969"/>
                  <a:gd name="connsiteX157" fmla="*/ 8751093 w 8971757"/>
                  <a:gd name="connsiteY157" fmla="*/ 1800225 h 4575969"/>
                  <a:gd name="connsiteX158" fmla="*/ 8734425 w 8971757"/>
                  <a:gd name="connsiteY158" fmla="*/ 1745456 h 4575969"/>
                  <a:gd name="connsiteX159" fmla="*/ 8643938 w 8971757"/>
                  <a:gd name="connsiteY159" fmla="*/ 1683544 h 4575969"/>
                  <a:gd name="connsiteX160" fmla="*/ 8603456 w 8971757"/>
                  <a:gd name="connsiteY160" fmla="*/ 1662112 h 4575969"/>
                  <a:gd name="connsiteX161" fmla="*/ 8565356 w 8971757"/>
                  <a:gd name="connsiteY161" fmla="*/ 1616869 h 4575969"/>
                  <a:gd name="connsiteX162" fmla="*/ 8534400 w 8971757"/>
                  <a:gd name="connsiteY162" fmla="*/ 1614487 h 4575969"/>
                  <a:gd name="connsiteX163" fmla="*/ 8517731 w 8971757"/>
                  <a:gd name="connsiteY163" fmla="*/ 1562100 h 4575969"/>
                  <a:gd name="connsiteX164" fmla="*/ 8477250 w 8971757"/>
                  <a:gd name="connsiteY164" fmla="*/ 1545431 h 4575969"/>
                  <a:gd name="connsiteX165" fmla="*/ 8477250 w 8971757"/>
                  <a:gd name="connsiteY165" fmla="*/ 1545431 h 4575969"/>
                  <a:gd name="connsiteX166" fmla="*/ 8436769 w 8971757"/>
                  <a:gd name="connsiteY166" fmla="*/ 1550194 h 4575969"/>
                  <a:gd name="connsiteX167" fmla="*/ 8351043 w 8971757"/>
                  <a:gd name="connsiteY167" fmla="*/ 1476375 h 4575969"/>
                  <a:gd name="connsiteX168" fmla="*/ 8170069 w 8971757"/>
                  <a:gd name="connsiteY168" fmla="*/ 1476374 h 4575969"/>
                  <a:gd name="connsiteX169" fmla="*/ 8117681 w 8971757"/>
                  <a:gd name="connsiteY169" fmla="*/ 1514475 h 4575969"/>
                  <a:gd name="connsiteX170" fmla="*/ 8067675 w 8971757"/>
                  <a:gd name="connsiteY170" fmla="*/ 1593056 h 4575969"/>
                  <a:gd name="connsiteX171" fmla="*/ 8084344 w 8971757"/>
                  <a:gd name="connsiteY171" fmla="*/ 1614487 h 4575969"/>
                  <a:gd name="connsiteX172" fmla="*/ 8039100 w 8971757"/>
                  <a:gd name="connsiteY172" fmla="*/ 1664493 h 4575969"/>
                  <a:gd name="connsiteX173" fmla="*/ 7889081 w 8971757"/>
                  <a:gd name="connsiteY173" fmla="*/ 1588293 h 4575969"/>
                  <a:gd name="connsiteX174" fmla="*/ 7798594 w 8971757"/>
                  <a:gd name="connsiteY174" fmla="*/ 1624012 h 4575969"/>
                  <a:gd name="connsiteX175" fmla="*/ 7724775 w 8971757"/>
                  <a:gd name="connsiteY175" fmla="*/ 1621631 h 4575969"/>
                  <a:gd name="connsiteX176" fmla="*/ 7667625 w 8971757"/>
                  <a:gd name="connsiteY176" fmla="*/ 1716881 h 4575969"/>
                  <a:gd name="connsiteX177" fmla="*/ 7529513 w 8971757"/>
                  <a:gd name="connsiteY17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6403181 w 8971757"/>
                  <a:gd name="connsiteY24" fmla="*/ 1207294 h 4575969"/>
                  <a:gd name="connsiteX25" fmla="*/ 8412956 w 8971757"/>
                  <a:gd name="connsiteY25" fmla="*/ 23812 h 4575969"/>
                  <a:gd name="connsiteX26" fmla="*/ 8949531 w 8971757"/>
                  <a:gd name="connsiteY26" fmla="*/ 0 h 4575969"/>
                  <a:gd name="connsiteX27" fmla="*/ 8971757 w 8971757"/>
                  <a:gd name="connsiteY27" fmla="*/ 4575969 h 4575969"/>
                  <a:gd name="connsiteX28" fmla="*/ 2381 w 8971757"/>
                  <a:gd name="connsiteY28" fmla="*/ 4547392 h 4575969"/>
                  <a:gd name="connsiteX29" fmla="*/ 0 w 8971757"/>
                  <a:gd name="connsiteY29" fmla="*/ 845344 h 4575969"/>
                  <a:gd name="connsiteX30" fmla="*/ 76200 w 8971757"/>
                  <a:gd name="connsiteY30" fmla="*/ 828675 h 4575969"/>
                  <a:gd name="connsiteX31" fmla="*/ 119063 w 8971757"/>
                  <a:gd name="connsiteY31" fmla="*/ 857250 h 4575969"/>
                  <a:gd name="connsiteX32" fmla="*/ 215900 w 8971757"/>
                  <a:gd name="connsiteY32" fmla="*/ 848519 h 4575969"/>
                  <a:gd name="connsiteX33" fmla="*/ 261938 w 8971757"/>
                  <a:gd name="connsiteY33" fmla="*/ 876299 h 4575969"/>
                  <a:gd name="connsiteX34" fmla="*/ 228600 w 8971757"/>
                  <a:gd name="connsiteY34" fmla="*/ 904875 h 4575969"/>
                  <a:gd name="connsiteX35" fmla="*/ 233363 w 8971757"/>
                  <a:gd name="connsiteY35" fmla="*/ 947737 h 4575969"/>
                  <a:gd name="connsiteX36" fmla="*/ 200025 w 8971757"/>
                  <a:gd name="connsiteY36" fmla="*/ 952500 h 4575969"/>
                  <a:gd name="connsiteX37" fmla="*/ 204788 w 8971757"/>
                  <a:gd name="connsiteY37" fmla="*/ 976312 h 4575969"/>
                  <a:gd name="connsiteX38" fmla="*/ 261937 w 8971757"/>
                  <a:gd name="connsiteY38" fmla="*/ 1050131 h 4575969"/>
                  <a:gd name="connsiteX39" fmla="*/ 223838 w 8971757"/>
                  <a:gd name="connsiteY39" fmla="*/ 1097756 h 4575969"/>
                  <a:gd name="connsiteX40" fmla="*/ 278606 w 8971757"/>
                  <a:gd name="connsiteY40" fmla="*/ 1133475 h 4575969"/>
                  <a:gd name="connsiteX41" fmla="*/ 369094 w 8971757"/>
                  <a:gd name="connsiteY41" fmla="*/ 1221581 h 4575969"/>
                  <a:gd name="connsiteX42" fmla="*/ 371475 w 8971757"/>
                  <a:gd name="connsiteY42" fmla="*/ 1281112 h 4575969"/>
                  <a:gd name="connsiteX43" fmla="*/ 507206 w 8971757"/>
                  <a:gd name="connsiteY43" fmla="*/ 1414463 h 4575969"/>
                  <a:gd name="connsiteX44" fmla="*/ 561975 w 8971757"/>
                  <a:gd name="connsiteY44" fmla="*/ 1390650 h 4575969"/>
                  <a:gd name="connsiteX45" fmla="*/ 600075 w 8971757"/>
                  <a:gd name="connsiteY45" fmla="*/ 1416843 h 4575969"/>
                  <a:gd name="connsiteX46" fmla="*/ 614363 w 8971757"/>
                  <a:gd name="connsiteY46" fmla="*/ 1466849 h 4575969"/>
                  <a:gd name="connsiteX47" fmla="*/ 657225 w 8971757"/>
                  <a:gd name="connsiteY47" fmla="*/ 1502569 h 4575969"/>
                  <a:gd name="connsiteX48" fmla="*/ 697706 w 8971757"/>
                  <a:gd name="connsiteY48" fmla="*/ 1490662 h 4575969"/>
                  <a:gd name="connsiteX49" fmla="*/ 716756 w 8971757"/>
                  <a:gd name="connsiteY49" fmla="*/ 1547812 h 4575969"/>
                  <a:gd name="connsiteX50" fmla="*/ 764381 w 8971757"/>
                  <a:gd name="connsiteY50" fmla="*/ 1590675 h 4575969"/>
                  <a:gd name="connsiteX51" fmla="*/ 788194 w 8971757"/>
                  <a:gd name="connsiteY51" fmla="*/ 1693069 h 4575969"/>
                  <a:gd name="connsiteX52" fmla="*/ 785813 w 8971757"/>
                  <a:gd name="connsiteY52" fmla="*/ 1740694 h 4575969"/>
                  <a:gd name="connsiteX53" fmla="*/ 821531 w 8971757"/>
                  <a:gd name="connsiteY53" fmla="*/ 1840706 h 4575969"/>
                  <a:gd name="connsiteX54" fmla="*/ 866775 w 8971757"/>
                  <a:gd name="connsiteY54" fmla="*/ 1897856 h 4575969"/>
                  <a:gd name="connsiteX55" fmla="*/ 883443 w 8971757"/>
                  <a:gd name="connsiteY55" fmla="*/ 2055018 h 4575969"/>
                  <a:gd name="connsiteX56" fmla="*/ 850106 w 8971757"/>
                  <a:gd name="connsiteY56" fmla="*/ 2116931 h 4575969"/>
                  <a:gd name="connsiteX57" fmla="*/ 819150 w 8971757"/>
                  <a:gd name="connsiteY57" fmla="*/ 2193131 h 4575969"/>
                  <a:gd name="connsiteX58" fmla="*/ 833438 w 8971757"/>
                  <a:gd name="connsiteY58" fmla="*/ 2250281 h 4575969"/>
                  <a:gd name="connsiteX59" fmla="*/ 735806 w 8971757"/>
                  <a:gd name="connsiteY59" fmla="*/ 2357438 h 4575969"/>
                  <a:gd name="connsiteX60" fmla="*/ 692944 w 8971757"/>
                  <a:gd name="connsiteY60" fmla="*/ 2471737 h 4575969"/>
                  <a:gd name="connsiteX61" fmla="*/ 726281 w 8971757"/>
                  <a:gd name="connsiteY61" fmla="*/ 2512219 h 4575969"/>
                  <a:gd name="connsiteX62" fmla="*/ 709613 w 8971757"/>
                  <a:gd name="connsiteY62" fmla="*/ 2540794 h 4575969"/>
                  <a:gd name="connsiteX63" fmla="*/ 740569 w 8971757"/>
                  <a:gd name="connsiteY63" fmla="*/ 2597944 h 4575969"/>
                  <a:gd name="connsiteX64" fmla="*/ 769144 w 8971757"/>
                  <a:gd name="connsiteY64" fmla="*/ 2597944 h 4575969"/>
                  <a:gd name="connsiteX65" fmla="*/ 931069 w 8971757"/>
                  <a:gd name="connsiteY65" fmla="*/ 2700337 h 4575969"/>
                  <a:gd name="connsiteX66" fmla="*/ 1035844 w 8971757"/>
                  <a:gd name="connsiteY66" fmla="*/ 2697956 h 4575969"/>
                  <a:gd name="connsiteX67" fmla="*/ 1114425 w 8971757"/>
                  <a:gd name="connsiteY67" fmla="*/ 2752725 h 4575969"/>
                  <a:gd name="connsiteX68" fmla="*/ 1245393 w 8971757"/>
                  <a:gd name="connsiteY68" fmla="*/ 2755106 h 4575969"/>
                  <a:gd name="connsiteX69" fmla="*/ 1435893 w 8971757"/>
                  <a:gd name="connsiteY69" fmla="*/ 2824162 h 4575969"/>
                  <a:gd name="connsiteX70" fmla="*/ 1638300 w 8971757"/>
                  <a:gd name="connsiteY70" fmla="*/ 2974181 h 4575969"/>
                  <a:gd name="connsiteX71" fmla="*/ 1671637 w 8971757"/>
                  <a:gd name="connsiteY71" fmla="*/ 3040856 h 4575969"/>
                  <a:gd name="connsiteX72" fmla="*/ 1838325 w 8971757"/>
                  <a:gd name="connsiteY72" fmla="*/ 3167062 h 4575969"/>
                  <a:gd name="connsiteX73" fmla="*/ 1909763 w 8971757"/>
                  <a:gd name="connsiteY73" fmla="*/ 3162300 h 4575969"/>
                  <a:gd name="connsiteX74" fmla="*/ 1945482 w 8971757"/>
                  <a:gd name="connsiteY74" fmla="*/ 3186112 h 4575969"/>
                  <a:gd name="connsiteX75" fmla="*/ 1916906 w 8971757"/>
                  <a:gd name="connsiteY75" fmla="*/ 3226594 h 4575969"/>
                  <a:gd name="connsiteX76" fmla="*/ 1924050 w 8971757"/>
                  <a:gd name="connsiteY76" fmla="*/ 3278981 h 4575969"/>
                  <a:gd name="connsiteX77" fmla="*/ 1976438 w 8971757"/>
                  <a:gd name="connsiteY77" fmla="*/ 3305175 h 4575969"/>
                  <a:gd name="connsiteX78" fmla="*/ 2038350 w 8971757"/>
                  <a:gd name="connsiteY78" fmla="*/ 3529013 h 4575969"/>
                  <a:gd name="connsiteX79" fmla="*/ 2028825 w 8971757"/>
                  <a:gd name="connsiteY79" fmla="*/ 3593306 h 4575969"/>
                  <a:gd name="connsiteX80" fmla="*/ 2164556 w 8971757"/>
                  <a:gd name="connsiteY80" fmla="*/ 3759994 h 4575969"/>
                  <a:gd name="connsiteX81" fmla="*/ 2183606 w 8971757"/>
                  <a:gd name="connsiteY81" fmla="*/ 3810000 h 4575969"/>
                  <a:gd name="connsiteX82" fmla="*/ 2157413 w 8971757"/>
                  <a:gd name="connsiteY82" fmla="*/ 3829050 h 4575969"/>
                  <a:gd name="connsiteX83" fmla="*/ 2259806 w 8971757"/>
                  <a:gd name="connsiteY83" fmla="*/ 3838575 h 4575969"/>
                  <a:gd name="connsiteX84" fmla="*/ 2371725 w 8971757"/>
                  <a:gd name="connsiteY84" fmla="*/ 3826669 h 4575969"/>
                  <a:gd name="connsiteX85" fmla="*/ 2650331 w 8971757"/>
                  <a:gd name="connsiteY85" fmla="*/ 3910012 h 4575969"/>
                  <a:gd name="connsiteX86" fmla="*/ 3057525 w 8971757"/>
                  <a:gd name="connsiteY86" fmla="*/ 3990975 h 4575969"/>
                  <a:gd name="connsiteX87" fmla="*/ 3255169 w 8971757"/>
                  <a:gd name="connsiteY87" fmla="*/ 3960018 h 4575969"/>
                  <a:gd name="connsiteX88" fmla="*/ 3300413 w 8971757"/>
                  <a:gd name="connsiteY88" fmla="*/ 3971924 h 4575969"/>
                  <a:gd name="connsiteX89" fmla="*/ 3355181 w 8971757"/>
                  <a:gd name="connsiteY89" fmla="*/ 3948113 h 4575969"/>
                  <a:gd name="connsiteX90" fmla="*/ 3748087 w 8971757"/>
                  <a:gd name="connsiteY90" fmla="*/ 4038600 h 4575969"/>
                  <a:gd name="connsiteX91" fmla="*/ 3831432 w 8971757"/>
                  <a:gd name="connsiteY91" fmla="*/ 4136231 h 4575969"/>
                  <a:gd name="connsiteX92" fmla="*/ 3950494 w 8971757"/>
                  <a:gd name="connsiteY92" fmla="*/ 4207669 h 4575969"/>
                  <a:gd name="connsiteX93" fmla="*/ 4010025 w 8971757"/>
                  <a:gd name="connsiteY93" fmla="*/ 4191000 h 4575969"/>
                  <a:gd name="connsiteX94" fmla="*/ 4360068 w 8971757"/>
                  <a:gd name="connsiteY94" fmla="*/ 4364831 h 4575969"/>
                  <a:gd name="connsiteX95" fmla="*/ 4586288 w 8971757"/>
                  <a:gd name="connsiteY95" fmla="*/ 4336256 h 4575969"/>
                  <a:gd name="connsiteX96" fmla="*/ 4595813 w 8971757"/>
                  <a:gd name="connsiteY96" fmla="*/ 4414837 h 4575969"/>
                  <a:gd name="connsiteX97" fmla="*/ 4681538 w 8971757"/>
                  <a:gd name="connsiteY97" fmla="*/ 4410074 h 4575969"/>
                  <a:gd name="connsiteX98" fmla="*/ 4760119 w 8971757"/>
                  <a:gd name="connsiteY98" fmla="*/ 4441031 h 4575969"/>
                  <a:gd name="connsiteX99" fmla="*/ 4802981 w 8971757"/>
                  <a:gd name="connsiteY99" fmla="*/ 4381500 h 4575969"/>
                  <a:gd name="connsiteX100" fmla="*/ 5474494 w 8971757"/>
                  <a:gd name="connsiteY100" fmla="*/ 4062412 h 4575969"/>
                  <a:gd name="connsiteX101" fmla="*/ 5562600 w 8971757"/>
                  <a:gd name="connsiteY101" fmla="*/ 4090988 h 4575969"/>
                  <a:gd name="connsiteX102" fmla="*/ 5693569 w 8971757"/>
                  <a:gd name="connsiteY102" fmla="*/ 4062412 h 4575969"/>
                  <a:gd name="connsiteX103" fmla="*/ 5872162 w 8971757"/>
                  <a:gd name="connsiteY103" fmla="*/ 4079081 h 4575969"/>
                  <a:gd name="connsiteX104" fmla="*/ 5929313 w 8971757"/>
                  <a:gd name="connsiteY104" fmla="*/ 4052888 h 4575969"/>
                  <a:gd name="connsiteX105" fmla="*/ 6062662 w 8971757"/>
                  <a:gd name="connsiteY105" fmla="*/ 4050506 h 4575969"/>
                  <a:gd name="connsiteX106" fmla="*/ 6196012 w 8971757"/>
                  <a:gd name="connsiteY106" fmla="*/ 3952875 h 4575969"/>
                  <a:gd name="connsiteX107" fmla="*/ 6262687 w 8971757"/>
                  <a:gd name="connsiteY107" fmla="*/ 3945731 h 4575969"/>
                  <a:gd name="connsiteX108" fmla="*/ 6360319 w 8971757"/>
                  <a:gd name="connsiteY108" fmla="*/ 3871912 h 4575969"/>
                  <a:gd name="connsiteX109" fmla="*/ 6434138 w 8971757"/>
                  <a:gd name="connsiteY109" fmla="*/ 3802856 h 4575969"/>
                  <a:gd name="connsiteX110" fmla="*/ 6443663 w 8971757"/>
                  <a:gd name="connsiteY110" fmla="*/ 3740944 h 4575969"/>
                  <a:gd name="connsiteX111" fmla="*/ 6477000 w 8971757"/>
                  <a:gd name="connsiteY111" fmla="*/ 3671887 h 4575969"/>
                  <a:gd name="connsiteX112" fmla="*/ 6629400 w 8971757"/>
                  <a:gd name="connsiteY112" fmla="*/ 3564731 h 4575969"/>
                  <a:gd name="connsiteX113" fmla="*/ 6662738 w 8971757"/>
                  <a:gd name="connsiteY113" fmla="*/ 3569494 h 4575969"/>
                  <a:gd name="connsiteX114" fmla="*/ 6715125 w 8971757"/>
                  <a:gd name="connsiteY114" fmla="*/ 3490912 h 4575969"/>
                  <a:gd name="connsiteX115" fmla="*/ 6762750 w 8971757"/>
                  <a:gd name="connsiteY115" fmla="*/ 3452812 h 4575969"/>
                  <a:gd name="connsiteX116" fmla="*/ 6748463 w 8971757"/>
                  <a:gd name="connsiteY116" fmla="*/ 3383756 h 4575969"/>
                  <a:gd name="connsiteX117" fmla="*/ 6698456 w 8971757"/>
                  <a:gd name="connsiteY117" fmla="*/ 3352799 h 4575969"/>
                  <a:gd name="connsiteX118" fmla="*/ 6638925 w 8971757"/>
                  <a:gd name="connsiteY118" fmla="*/ 3298031 h 4575969"/>
                  <a:gd name="connsiteX119" fmla="*/ 6619875 w 8971757"/>
                  <a:gd name="connsiteY119" fmla="*/ 3240881 h 4575969"/>
                  <a:gd name="connsiteX120" fmla="*/ 6584156 w 8971757"/>
                  <a:gd name="connsiteY120" fmla="*/ 3207544 h 4575969"/>
                  <a:gd name="connsiteX121" fmla="*/ 6610350 w 8971757"/>
                  <a:gd name="connsiteY121" fmla="*/ 3155156 h 4575969"/>
                  <a:gd name="connsiteX122" fmla="*/ 6650831 w 8971757"/>
                  <a:gd name="connsiteY122" fmla="*/ 2976562 h 4575969"/>
                  <a:gd name="connsiteX123" fmla="*/ 6691313 w 8971757"/>
                  <a:gd name="connsiteY123" fmla="*/ 2909887 h 4575969"/>
                  <a:gd name="connsiteX124" fmla="*/ 6836569 w 8971757"/>
                  <a:gd name="connsiteY124" fmla="*/ 2893218 h 4575969"/>
                  <a:gd name="connsiteX125" fmla="*/ 6905625 w 8971757"/>
                  <a:gd name="connsiteY125" fmla="*/ 2950369 h 4575969"/>
                  <a:gd name="connsiteX126" fmla="*/ 6981825 w 8971757"/>
                  <a:gd name="connsiteY126" fmla="*/ 2974181 h 4575969"/>
                  <a:gd name="connsiteX127" fmla="*/ 7186612 w 8971757"/>
                  <a:gd name="connsiteY127" fmla="*/ 2978944 h 4575969"/>
                  <a:gd name="connsiteX128" fmla="*/ 7362825 w 8971757"/>
                  <a:gd name="connsiteY128" fmla="*/ 2840831 h 4575969"/>
                  <a:gd name="connsiteX129" fmla="*/ 7419975 w 8971757"/>
                  <a:gd name="connsiteY129" fmla="*/ 2750343 h 4575969"/>
                  <a:gd name="connsiteX130" fmla="*/ 7446169 w 8971757"/>
                  <a:gd name="connsiteY130" fmla="*/ 2667000 h 4575969"/>
                  <a:gd name="connsiteX131" fmla="*/ 7577137 w 8971757"/>
                  <a:gd name="connsiteY131" fmla="*/ 2667000 h 4575969"/>
                  <a:gd name="connsiteX132" fmla="*/ 7750969 w 8971757"/>
                  <a:gd name="connsiteY132" fmla="*/ 2609849 h 4575969"/>
                  <a:gd name="connsiteX133" fmla="*/ 7810500 w 8971757"/>
                  <a:gd name="connsiteY133" fmla="*/ 2497931 h 4575969"/>
                  <a:gd name="connsiteX134" fmla="*/ 7874794 w 8971757"/>
                  <a:gd name="connsiteY134" fmla="*/ 2462212 h 4575969"/>
                  <a:gd name="connsiteX135" fmla="*/ 7853363 w 8971757"/>
                  <a:gd name="connsiteY135" fmla="*/ 2416969 h 4575969"/>
                  <a:gd name="connsiteX136" fmla="*/ 7931944 w 8971757"/>
                  <a:gd name="connsiteY136" fmla="*/ 2247899 h 4575969"/>
                  <a:gd name="connsiteX137" fmla="*/ 7986713 w 8971757"/>
                  <a:gd name="connsiteY137" fmla="*/ 2188369 h 4575969"/>
                  <a:gd name="connsiteX138" fmla="*/ 8024813 w 8971757"/>
                  <a:gd name="connsiteY138" fmla="*/ 2183606 h 4575969"/>
                  <a:gd name="connsiteX139" fmla="*/ 8070056 w 8971757"/>
                  <a:gd name="connsiteY139" fmla="*/ 2188369 h 4575969"/>
                  <a:gd name="connsiteX140" fmla="*/ 8134350 w 8971757"/>
                  <a:gd name="connsiteY140" fmla="*/ 2155031 h 4575969"/>
                  <a:gd name="connsiteX141" fmla="*/ 8143875 w 8971757"/>
                  <a:gd name="connsiteY141" fmla="*/ 2090737 h 4575969"/>
                  <a:gd name="connsiteX142" fmla="*/ 8184355 w 8971757"/>
                  <a:gd name="connsiteY142" fmla="*/ 2055019 h 4575969"/>
                  <a:gd name="connsiteX143" fmla="*/ 8243888 w 8971757"/>
                  <a:gd name="connsiteY143" fmla="*/ 2095499 h 4575969"/>
                  <a:gd name="connsiteX144" fmla="*/ 8270082 w 8971757"/>
                  <a:gd name="connsiteY144" fmla="*/ 2045493 h 4575969"/>
                  <a:gd name="connsiteX145" fmla="*/ 8365331 w 8971757"/>
                  <a:gd name="connsiteY145" fmla="*/ 1976437 h 4575969"/>
                  <a:gd name="connsiteX146" fmla="*/ 8427244 w 8971757"/>
                  <a:gd name="connsiteY146" fmla="*/ 1983581 h 4575969"/>
                  <a:gd name="connsiteX147" fmla="*/ 8477250 w 8971757"/>
                  <a:gd name="connsiteY147" fmla="*/ 1964531 h 4575969"/>
                  <a:gd name="connsiteX148" fmla="*/ 8515350 w 8971757"/>
                  <a:gd name="connsiteY148" fmla="*/ 1935956 h 4575969"/>
                  <a:gd name="connsiteX149" fmla="*/ 8548688 w 8971757"/>
                  <a:gd name="connsiteY149" fmla="*/ 1933575 h 4575969"/>
                  <a:gd name="connsiteX150" fmla="*/ 8584406 w 8971757"/>
                  <a:gd name="connsiteY150" fmla="*/ 1964531 h 4575969"/>
                  <a:gd name="connsiteX151" fmla="*/ 8643938 w 8971757"/>
                  <a:gd name="connsiteY151" fmla="*/ 1964531 h 4575969"/>
                  <a:gd name="connsiteX152" fmla="*/ 8682037 w 8971757"/>
                  <a:gd name="connsiteY152" fmla="*/ 1945481 h 4575969"/>
                  <a:gd name="connsiteX153" fmla="*/ 8765381 w 8971757"/>
                  <a:gd name="connsiteY153" fmla="*/ 1947863 h 4575969"/>
                  <a:gd name="connsiteX154" fmla="*/ 8796338 w 8971757"/>
                  <a:gd name="connsiteY154" fmla="*/ 1902619 h 4575969"/>
                  <a:gd name="connsiteX155" fmla="*/ 8801100 w 8971757"/>
                  <a:gd name="connsiteY155" fmla="*/ 1840706 h 4575969"/>
                  <a:gd name="connsiteX156" fmla="*/ 8751093 w 8971757"/>
                  <a:gd name="connsiteY156" fmla="*/ 1800225 h 4575969"/>
                  <a:gd name="connsiteX157" fmla="*/ 8734425 w 8971757"/>
                  <a:gd name="connsiteY157" fmla="*/ 1745456 h 4575969"/>
                  <a:gd name="connsiteX158" fmla="*/ 8643938 w 8971757"/>
                  <a:gd name="connsiteY158" fmla="*/ 1683544 h 4575969"/>
                  <a:gd name="connsiteX159" fmla="*/ 8603456 w 8971757"/>
                  <a:gd name="connsiteY159" fmla="*/ 1662112 h 4575969"/>
                  <a:gd name="connsiteX160" fmla="*/ 8565356 w 8971757"/>
                  <a:gd name="connsiteY160" fmla="*/ 1616869 h 4575969"/>
                  <a:gd name="connsiteX161" fmla="*/ 8534400 w 8971757"/>
                  <a:gd name="connsiteY161" fmla="*/ 1614487 h 4575969"/>
                  <a:gd name="connsiteX162" fmla="*/ 8517731 w 8971757"/>
                  <a:gd name="connsiteY162" fmla="*/ 1562100 h 4575969"/>
                  <a:gd name="connsiteX163" fmla="*/ 8477250 w 8971757"/>
                  <a:gd name="connsiteY163" fmla="*/ 1545431 h 4575969"/>
                  <a:gd name="connsiteX164" fmla="*/ 8477250 w 8971757"/>
                  <a:gd name="connsiteY164" fmla="*/ 1545431 h 4575969"/>
                  <a:gd name="connsiteX165" fmla="*/ 8436769 w 8971757"/>
                  <a:gd name="connsiteY165" fmla="*/ 1550194 h 4575969"/>
                  <a:gd name="connsiteX166" fmla="*/ 8351043 w 8971757"/>
                  <a:gd name="connsiteY166" fmla="*/ 1476375 h 4575969"/>
                  <a:gd name="connsiteX167" fmla="*/ 8170069 w 8971757"/>
                  <a:gd name="connsiteY167" fmla="*/ 1476374 h 4575969"/>
                  <a:gd name="connsiteX168" fmla="*/ 8117681 w 8971757"/>
                  <a:gd name="connsiteY168" fmla="*/ 1514475 h 4575969"/>
                  <a:gd name="connsiteX169" fmla="*/ 8067675 w 8971757"/>
                  <a:gd name="connsiteY169" fmla="*/ 1593056 h 4575969"/>
                  <a:gd name="connsiteX170" fmla="*/ 8084344 w 8971757"/>
                  <a:gd name="connsiteY170" fmla="*/ 1614487 h 4575969"/>
                  <a:gd name="connsiteX171" fmla="*/ 8039100 w 8971757"/>
                  <a:gd name="connsiteY171" fmla="*/ 1664493 h 4575969"/>
                  <a:gd name="connsiteX172" fmla="*/ 7889081 w 8971757"/>
                  <a:gd name="connsiteY172" fmla="*/ 1588293 h 4575969"/>
                  <a:gd name="connsiteX173" fmla="*/ 7798594 w 8971757"/>
                  <a:gd name="connsiteY173" fmla="*/ 1624012 h 4575969"/>
                  <a:gd name="connsiteX174" fmla="*/ 7724775 w 8971757"/>
                  <a:gd name="connsiteY174" fmla="*/ 1621631 h 4575969"/>
                  <a:gd name="connsiteX175" fmla="*/ 7667625 w 8971757"/>
                  <a:gd name="connsiteY175" fmla="*/ 1716881 h 4575969"/>
                  <a:gd name="connsiteX176" fmla="*/ 7529513 w 8971757"/>
                  <a:gd name="connsiteY17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6443663 w 8971757"/>
                  <a:gd name="connsiteY23" fmla="*/ 1173956 h 4575969"/>
                  <a:gd name="connsiteX24" fmla="*/ 8412956 w 8971757"/>
                  <a:gd name="connsiteY24" fmla="*/ 23812 h 4575969"/>
                  <a:gd name="connsiteX25" fmla="*/ 8949531 w 8971757"/>
                  <a:gd name="connsiteY25" fmla="*/ 0 h 4575969"/>
                  <a:gd name="connsiteX26" fmla="*/ 8971757 w 8971757"/>
                  <a:gd name="connsiteY26" fmla="*/ 4575969 h 4575969"/>
                  <a:gd name="connsiteX27" fmla="*/ 2381 w 8971757"/>
                  <a:gd name="connsiteY27" fmla="*/ 4547392 h 4575969"/>
                  <a:gd name="connsiteX28" fmla="*/ 0 w 8971757"/>
                  <a:gd name="connsiteY28" fmla="*/ 845344 h 4575969"/>
                  <a:gd name="connsiteX29" fmla="*/ 76200 w 8971757"/>
                  <a:gd name="connsiteY29" fmla="*/ 828675 h 4575969"/>
                  <a:gd name="connsiteX30" fmla="*/ 119063 w 8971757"/>
                  <a:gd name="connsiteY30" fmla="*/ 857250 h 4575969"/>
                  <a:gd name="connsiteX31" fmla="*/ 215900 w 8971757"/>
                  <a:gd name="connsiteY31" fmla="*/ 848519 h 4575969"/>
                  <a:gd name="connsiteX32" fmla="*/ 261938 w 8971757"/>
                  <a:gd name="connsiteY32" fmla="*/ 876299 h 4575969"/>
                  <a:gd name="connsiteX33" fmla="*/ 228600 w 8971757"/>
                  <a:gd name="connsiteY33" fmla="*/ 904875 h 4575969"/>
                  <a:gd name="connsiteX34" fmla="*/ 233363 w 8971757"/>
                  <a:gd name="connsiteY34" fmla="*/ 947737 h 4575969"/>
                  <a:gd name="connsiteX35" fmla="*/ 200025 w 8971757"/>
                  <a:gd name="connsiteY35" fmla="*/ 952500 h 4575969"/>
                  <a:gd name="connsiteX36" fmla="*/ 204788 w 8971757"/>
                  <a:gd name="connsiteY36" fmla="*/ 976312 h 4575969"/>
                  <a:gd name="connsiteX37" fmla="*/ 261937 w 8971757"/>
                  <a:gd name="connsiteY37" fmla="*/ 1050131 h 4575969"/>
                  <a:gd name="connsiteX38" fmla="*/ 223838 w 8971757"/>
                  <a:gd name="connsiteY38" fmla="*/ 1097756 h 4575969"/>
                  <a:gd name="connsiteX39" fmla="*/ 278606 w 8971757"/>
                  <a:gd name="connsiteY39" fmla="*/ 1133475 h 4575969"/>
                  <a:gd name="connsiteX40" fmla="*/ 369094 w 8971757"/>
                  <a:gd name="connsiteY40" fmla="*/ 1221581 h 4575969"/>
                  <a:gd name="connsiteX41" fmla="*/ 371475 w 8971757"/>
                  <a:gd name="connsiteY41" fmla="*/ 1281112 h 4575969"/>
                  <a:gd name="connsiteX42" fmla="*/ 507206 w 8971757"/>
                  <a:gd name="connsiteY42" fmla="*/ 1414463 h 4575969"/>
                  <a:gd name="connsiteX43" fmla="*/ 561975 w 8971757"/>
                  <a:gd name="connsiteY43" fmla="*/ 1390650 h 4575969"/>
                  <a:gd name="connsiteX44" fmla="*/ 600075 w 8971757"/>
                  <a:gd name="connsiteY44" fmla="*/ 1416843 h 4575969"/>
                  <a:gd name="connsiteX45" fmla="*/ 614363 w 8971757"/>
                  <a:gd name="connsiteY45" fmla="*/ 1466849 h 4575969"/>
                  <a:gd name="connsiteX46" fmla="*/ 657225 w 8971757"/>
                  <a:gd name="connsiteY46" fmla="*/ 1502569 h 4575969"/>
                  <a:gd name="connsiteX47" fmla="*/ 697706 w 8971757"/>
                  <a:gd name="connsiteY47" fmla="*/ 1490662 h 4575969"/>
                  <a:gd name="connsiteX48" fmla="*/ 716756 w 8971757"/>
                  <a:gd name="connsiteY48" fmla="*/ 1547812 h 4575969"/>
                  <a:gd name="connsiteX49" fmla="*/ 764381 w 8971757"/>
                  <a:gd name="connsiteY49" fmla="*/ 1590675 h 4575969"/>
                  <a:gd name="connsiteX50" fmla="*/ 788194 w 8971757"/>
                  <a:gd name="connsiteY50" fmla="*/ 1693069 h 4575969"/>
                  <a:gd name="connsiteX51" fmla="*/ 785813 w 8971757"/>
                  <a:gd name="connsiteY51" fmla="*/ 1740694 h 4575969"/>
                  <a:gd name="connsiteX52" fmla="*/ 821531 w 8971757"/>
                  <a:gd name="connsiteY52" fmla="*/ 1840706 h 4575969"/>
                  <a:gd name="connsiteX53" fmla="*/ 866775 w 8971757"/>
                  <a:gd name="connsiteY53" fmla="*/ 1897856 h 4575969"/>
                  <a:gd name="connsiteX54" fmla="*/ 883443 w 8971757"/>
                  <a:gd name="connsiteY54" fmla="*/ 2055018 h 4575969"/>
                  <a:gd name="connsiteX55" fmla="*/ 850106 w 8971757"/>
                  <a:gd name="connsiteY55" fmla="*/ 2116931 h 4575969"/>
                  <a:gd name="connsiteX56" fmla="*/ 819150 w 8971757"/>
                  <a:gd name="connsiteY56" fmla="*/ 2193131 h 4575969"/>
                  <a:gd name="connsiteX57" fmla="*/ 833438 w 8971757"/>
                  <a:gd name="connsiteY57" fmla="*/ 2250281 h 4575969"/>
                  <a:gd name="connsiteX58" fmla="*/ 735806 w 8971757"/>
                  <a:gd name="connsiteY58" fmla="*/ 2357438 h 4575969"/>
                  <a:gd name="connsiteX59" fmla="*/ 692944 w 8971757"/>
                  <a:gd name="connsiteY59" fmla="*/ 2471737 h 4575969"/>
                  <a:gd name="connsiteX60" fmla="*/ 726281 w 8971757"/>
                  <a:gd name="connsiteY60" fmla="*/ 2512219 h 4575969"/>
                  <a:gd name="connsiteX61" fmla="*/ 709613 w 8971757"/>
                  <a:gd name="connsiteY61" fmla="*/ 2540794 h 4575969"/>
                  <a:gd name="connsiteX62" fmla="*/ 740569 w 8971757"/>
                  <a:gd name="connsiteY62" fmla="*/ 2597944 h 4575969"/>
                  <a:gd name="connsiteX63" fmla="*/ 769144 w 8971757"/>
                  <a:gd name="connsiteY63" fmla="*/ 2597944 h 4575969"/>
                  <a:gd name="connsiteX64" fmla="*/ 931069 w 8971757"/>
                  <a:gd name="connsiteY64" fmla="*/ 2700337 h 4575969"/>
                  <a:gd name="connsiteX65" fmla="*/ 1035844 w 8971757"/>
                  <a:gd name="connsiteY65" fmla="*/ 2697956 h 4575969"/>
                  <a:gd name="connsiteX66" fmla="*/ 1114425 w 8971757"/>
                  <a:gd name="connsiteY66" fmla="*/ 2752725 h 4575969"/>
                  <a:gd name="connsiteX67" fmla="*/ 1245393 w 8971757"/>
                  <a:gd name="connsiteY67" fmla="*/ 2755106 h 4575969"/>
                  <a:gd name="connsiteX68" fmla="*/ 1435893 w 8971757"/>
                  <a:gd name="connsiteY68" fmla="*/ 2824162 h 4575969"/>
                  <a:gd name="connsiteX69" fmla="*/ 1638300 w 8971757"/>
                  <a:gd name="connsiteY69" fmla="*/ 2974181 h 4575969"/>
                  <a:gd name="connsiteX70" fmla="*/ 1671637 w 8971757"/>
                  <a:gd name="connsiteY70" fmla="*/ 3040856 h 4575969"/>
                  <a:gd name="connsiteX71" fmla="*/ 1838325 w 8971757"/>
                  <a:gd name="connsiteY71" fmla="*/ 3167062 h 4575969"/>
                  <a:gd name="connsiteX72" fmla="*/ 1909763 w 8971757"/>
                  <a:gd name="connsiteY72" fmla="*/ 3162300 h 4575969"/>
                  <a:gd name="connsiteX73" fmla="*/ 1945482 w 8971757"/>
                  <a:gd name="connsiteY73" fmla="*/ 3186112 h 4575969"/>
                  <a:gd name="connsiteX74" fmla="*/ 1916906 w 8971757"/>
                  <a:gd name="connsiteY74" fmla="*/ 3226594 h 4575969"/>
                  <a:gd name="connsiteX75" fmla="*/ 1924050 w 8971757"/>
                  <a:gd name="connsiteY75" fmla="*/ 3278981 h 4575969"/>
                  <a:gd name="connsiteX76" fmla="*/ 1976438 w 8971757"/>
                  <a:gd name="connsiteY76" fmla="*/ 3305175 h 4575969"/>
                  <a:gd name="connsiteX77" fmla="*/ 2038350 w 8971757"/>
                  <a:gd name="connsiteY77" fmla="*/ 3529013 h 4575969"/>
                  <a:gd name="connsiteX78" fmla="*/ 2028825 w 8971757"/>
                  <a:gd name="connsiteY78" fmla="*/ 3593306 h 4575969"/>
                  <a:gd name="connsiteX79" fmla="*/ 2164556 w 8971757"/>
                  <a:gd name="connsiteY79" fmla="*/ 3759994 h 4575969"/>
                  <a:gd name="connsiteX80" fmla="*/ 2183606 w 8971757"/>
                  <a:gd name="connsiteY80" fmla="*/ 3810000 h 4575969"/>
                  <a:gd name="connsiteX81" fmla="*/ 2157413 w 8971757"/>
                  <a:gd name="connsiteY81" fmla="*/ 3829050 h 4575969"/>
                  <a:gd name="connsiteX82" fmla="*/ 2259806 w 8971757"/>
                  <a:gd name="connsiteY82" fmla="*/ 3838575 h 4575969"/>
                  <a:gd name="connsiteX83" fmla="*/ 2371725 w 8971757"/>
                  <a:gd name="connsiteY83" fmla="*/ 3826669 h 4575969"/>
                  <a:gd name="connsiteX84" fmla="*/ 2650331 w 8971757"/>
                  <a:gd name="connsiteY84" fmla="*/ 3910012 h 4575969"/>
                  <a:gd name="connsiteX85" fmla="*/ 3057525 w 8971757"/>
                  <a:gd name="connsiteY85" fmla="*/ 3990975 h 4575969"/>
                  <a:gd name="connsiteX86" fmla="*/ 3255169 w 8971757"/>
                  <a:gd name="connsiteY86" fmla="*/ 3960018 h 4575969"/>
                  <a:gd name="connsiteX87" fmla="*/ 3300413 w 8971757"/>
                  <a:gd name="connsiteY87" fmla="*/ 3971924 h 4575969"/>
                  <a:gd name="connsiteX88" fmla="*/ 3355181 w 8971757"/>
                  <a:gd name="connsiteY88" fmla="*/ 3948113 h 4575969"/>
                  <a:gd name="connsiteX89" fmla="*/ 3748087 w 8971757"/>
                  <a:gd name="connsiteY89" fmla="*/ 4038600 h 4575969"/>
                  <a:gd name="connsiteX90" fmla="*/ 3831432 w 8971757"/>
                  <a:gd name="connsiteY90" fmla="*/ 4136231 h 4575969"/>
                  <a:gd name="connsiteX91" fmla="*/ 3950494 w 8971757"/>
                  <a:gd name="connsiteY91" fmla="*/ 4207669 h 4575969"/>
                  <a:gd name="connsiteX92" fmla="*/ 4010025 w 8971757"/>
                  <a:gd name="connsiteY92" fmla="*/ 4191000 h 4575969"/>
                  <a:gd name="connsiteX93" fmla="*/ 4360068 w 8971757"/>
                  <a:gd name="connsiteY93" fmla="*/ 4364831 h 4575969"/>
                  <a:gd name="connsiteX94" fmla="*/ 4586288 w 8971757"/>
                  <a:gd name="connsiteY94" fmla="*/ 4336256 h 4575969"/>
                  <a:gd name="connsiteX95" fmla="*/ 4595813 w 8971757"/>
                  <a:gd name="connsiteY95" fmla="*/ 4414837 h 4575969"/>
                  <a:gd name="connsiteX96" fmla="*/ 4681538 w 8971757"/>
                  <a:gd name="connsiteY96" fmla="*/ 4410074 h 4575969"/>
                  <a:gd name="connsiteX97" fmla="*/ 4760119 w 8971757"/>
                  <a:gd name="connsiteY97" fmla="*/ 4441031 h 4575969"/>
                  <a:gd name="connsiteX98" fmla="*/ 4802981 w 8971757"/>
                  <a:gd name="connsiteY98" fmla="*/ 4381500 h 4575969"/>
                  <a:gd name="connsiteX99" fmla="*/ 5474494 w 8971757"/>
                  <a:gd name="connsiteY99" fmla="*/ 4062412 h 4575969"/>
                  <a:gd name="connsiteX100" fmla="*/ 5562600 w 8971757"/>
                  <a:gd name="connsiteY100" fmla="*/ 4090988 h 4575969"/>
                  <a:gd name="connsiteX101" fmla="*/ 5693569 w 8971757"/>
                  <a:gd name="connsiteY101" fmla="*/ 4062412 h 4575969"/>
                  <a:gd name="connsiteX102" fmla="*/ 5872162 w 8971757"/>
                  <a:gd name="connsiteY102" fmla="*/ 4079081 h 4575969"/>
                  <a:gd name="connsiteX103" fmla="*/ 5929313 w 8971757"/>
                  <a:gd name="connsiteY103" fmla="*/ 4052888 h 4575969"/>
                  <a:gd name="connsiteX104" fmla="*/ 6062662 w 8971757"/>
                  <a:gd name="connsiteY104" fmla="*/ 4050506 h 4575969"/>
                  <a:gd name="connsiteX105" fmla="*/ 6196012 w 8971757"/>
                  <a:gd name="connsiteY105" fmla="*/ 3952875 h 4575969"/>
                  <a:gd name="connsiteX106" fmla="*/ 6262687 w 8971757"/>
                  <a:gd name="connsiteY106" fmla="*/ 3945731 h 4575969"/>
                  <a:gd name="connsiteX107" fmla="*/ 6360319 w 8971757"/>
                  <a:gd name="connsiteY107" fmla="*/ 3871912 h 4575969"/>
                  <a:gd name="connsiteX108" fmla="*/ 6434138 w 8971757"/>
                  <a:gd name="connsiteY108" fmla="*/ 3802856 h 4575969"/>
                  <a:gd name="connsiteX109" fmla="*/ 6443663 w 8971757"/>
                  <a:gd name="connsiteY109" fmla="*/ 3740944 h 4575969"/>
                  <a:gd name="connsiteX110" fmla="*/ 6477000 w 8971757"/>
                  <a:gd name="connsiteY110" fmla="*/ 3671887 h 4575969"/>
                  <a:gd name="connsiteX111" fmla="*/ 6629400 w 8971757"/>
                  <a:gd name="connsiteY111" fmla="*/ 3564731 h 4575969"/>
                  <a:gd name="connsiteX112" fmla="*/ 6662738 w 8971757"/>
                  <a:gd name="connsiteY112" fmla="*/ 3569494 h 4575969"/>
                  <a:gd name="connsiteX113" fmla="*/ 6715125 w 8971757"/>
                  <a:gd name="connsiteY113" fmla="*/ 3490912 h 4575969"/>
                  <a:gd name="connsiteX114" fmla="*/ 6762750 w 8971757"/>
                  <a:gd name="connsiteY114" fmla="*/ 3452812 h 4575969"/>
                  <a:gd name="connsiteX115" fmla="*/ 6748463 w 8971757"/>
                  <a:gd name="connsiteY115" fmla="*/ 3383756 h 4575969"/>
                  <a:gd name="connsiteX116" fmla="*/ 6698456 w 8971757"/>
                  <a:gd name="connsiteY116" fmla="*/ 3352799 h 4575969"/>
                  <a:gd name="connsiteX117" fmla="*/ 6638925 w 8971757"/>
                  <a:gd name="connsiteY117" fmla="*/ 3298031 h 4575969"/>
                  <a:gd name="connsiteX118" fmla="*/ 6619875 w 8971757"/>
                  <a:gd name="connsiteY118" fmla="*/ 3240881 h 4575969"/>
                  <a:gd name="connsiteX119" fmla="*/ 6584156 w 8971757"/>
                  <a:gd name="connsiteY119" fmla="*/ 3207544 h 4575969"/>
                  <a:gd name="connsiteX120" fmla="*/ 6610350 w 8971757"/>
                  <a:gd name="connsiteY120" fmla="*/ 3155156 h 4575969"/>
                  <a:gd name="connsiteX121" fmla="*/ 6650831 w 8971757"/>
                  <a:gd name="connsiteY121" fmla="*/ 2976562 h 4575969"/>
                  <a:gd name="connsiteX122" fmla="*/ 6691313 w 8971757"/>
                  <a:gd name="connsiteY122" fmla="*/ 2909887 h 4575969"/>
                  <a:gd name="connsiteX123" fmla="*/ 6836569 w 8971757"/>
                  <a:gd name="connsiteY123" fmla="*/ 2893218 h 4575969"/>
                  <a:gd name="connsiteX124" fmla="*/ 6905625 w 8971757"/>
                  <a:gd name="connsiteY124" fmla="*/ 2950369 h 4575969"/>
                  <a:gd name="connsiteX125" fmla="*/ 6981825 w 8971757"/>
                  <a:gd name="connsiteY125" fmla="*/ 2974181 h 4575969"/>
                  <a:gd name="connsiteX126" fmla="*/ 7186612 w 8971757"/>
                  <a:gd name="connsiteY126" fmla="*/ 2978944 h 4575969"/>
                  <a:gd name="connsiteX127" fmla="*/ 7362825 w 8971757"/>
                  <a:gd name="connsiteY127" fmla="*/ 2840831 h 4575969"/>
                  <a:gd name="connsiteX128" fmla="*/ 7419975 w 8971757"/>
                  <a:gd name="connsiteY128" fmla="*/ 2750343 h 4575969"/>
                  <a:gd name="connsiteX129" fmla="*/ 7446169 w 8971757"/>
                  <a:gd name="connsiteY129" fmla="*/ 2667000 h 4575969"/>
                  <a:gd name="connsiteX130" fmla="*/ 7577137 w 8971757"/>
                  <a:gd name="connsiteY130" fmla="*/ 2667000 h 4575969"/>
                  <a:gd name="connsiteX131" fmla="*/ 7750969 w 8971757"/>
                  <a:gd name="connsiteY131" fmla="*/ 2609849 h 4575969"/>
                  <a:gd name="connsiteX132" fmla="*/ 7810500 w 8971757"/>
                  <a:gd name="connsiteY132" fmla="*/ 2497931 h 4575969"/>
                  <a:gd name="connsiteX133" fmla="*/ 7874794 w 8971757"/>
                  <a:gd name="connsiteY133" fmla="*/ 2462212 h 4575969"/>
                  <a:gd name="connsiteX134" fmla="*/ 7853363 w 8971757"/>
                  <a:gd name="connsiteY134" fmla="*/ 2416969 h 4575969"/>
                  <a:gd name="connsiteX135" fmla="*/ 7931944 w 8971757"/>
                  <a:gd name="connsiteY135" fmla="*/ 2247899 h 4575969"/>
                  <a:gd name="connsiteX136" fmla="*/ 7986713 w 8971757"/>
                  <a:gd name="connsiteY136" fmla="*/ 2188369 h 4575969"/>
                  <a:gd name="connsiteX137" fmla="*/ 8024813 w 8971757"/>
                  <a:gd name="connsiteY137" fmla="*/ 2183606 h 4575969"/>
                  <a:gd name="connsiteX138" fmla="*/ 8070056 w 8971757"/>
                  <a:gd name="connsiteY138" fmla="*/ 2188369 h 4575969"/>
                  <a:gd name="connsiteX139" fmla="*/ 8134350 w 8971757"/>
                  <a:gd name="connsiteY139" fmla="*/ 2155031 h 4575969"/>
                  <a:gd name="connsiteX140" fmla="*/ 8143875 w 8971757"/>
                  <a:gd name="connsiteY140" fmla="*/ 2090737 h 4575969"/>
                  <a:gd name="connsiteX141" fmla="*/ 8184355 w 8971757"/>
                  <a:gd name="connsiteY141" fmla="*/ 2055019 h 4575969"/>
                  <a:gd name="connsiteX142" fmla="*/ 8243888 w 8971757"/>
                  <a:gd name="connsiteY142" fmla="*/ 2095499 h 4575969"/>
                  <a:gd name="connsiteX143" fmla="*/ 8270082 w 8971757"/>
                  <a:gd name="connsiteY143" fmla="*/ 2045493 h 4575969"/>
                  <a:gd name="connsiteX144" fmla="*/ 8365331 w 8971757"/>
                  <a:gd name="connsiteY144" fmla="*/ 1976437 h 4575969"/>
                  <a:gd name="connsiteX145" fmla="*/ 8427244 w 8971757"/>
                  <a:gd name="connsiteY145" fmla="*/ 1983581 h 4575969"/>
                  <a:gd name="connsiteX146" fmla="*/ 8477250 w 8971757"/>
                  <a:gd name="connsiteY146" fmla="*/ 1964531 h 4575969"/>
                  <a:gd name="connsiteX147" fmla="*/ 8515350 w 8971757"/>
                  <a:gd name="connsiteY147" fmla="*/ 1935956 h 4575969"/>
                  <a:gd name="connsiteX148" fmla="*/ 8548688 w 8971757"/>
                  <a:gd name="connsiteY148" fmla="*/ 1933575 h 4575969"/>
                  <a:gd name="connsiteX149" fmla="*/ 8584406 w 8971757"/>
                  <a:gd name="connsiteY149" fmla="*/ 1964531 h 4575969"/>
                  <a:gd name="connsiteX150" fmla="*/ 8643938 w 8971757"/>
                  <a:gd name="connsiteY150" fmla="*/ 1964531 h 4575969"/>
                  <a:gd name="connsiteX151" fmla="*/ 8682037 w 8971757"/>
                  <a:gd name="connsiteY151" fmla="*/ 1945481 h 4575969"/>
                  <a:gd name="connsiteX152" fmla="*/ 8765381 w 8971757"/>
                  <a:gd name="connsiteY152" fmla="*/ 1947863 h 4575969"/>
                  <a:gd name="connsiteX153" fmla="*/ 8796338 w 8971757"/>
                  <a:gd name="connsiteY153" fmla="*/ 1902619 h 4575969"/>
                  <a:gd name="connsiteX154" fmla="*/ 8801100 w 8971757"/>
                  <a:gd name="connsiteY154" fmla="*/ 1840706 h 4575969"/>
                  <a:gd name="connsiteX155" fmla="*/ 8751093 w 8971757"/>
                  <a:gd name="connsiteY155" fmla="*/ 1800225 h 4575969"/>
                  <a:gd name="connsiteX156" fmla="*/ 8734425 w 8971757"/>
                  <a:gd name="connsiteY156" fmla="*/ 1745456 h 4575969"/>
                  <a:gd name="connsiteX157" fmla="*/ 8643938 w 8971757"/>
                  <a:gd name="connsiteY157" fmla="*/ 1683544 h 4575969"/>
                  <a:gd name="connsiteX158" fmla="*/ 8603456 w 8971757"/>
                  <a:gd name="connsiteY158" fmla="*/ 1662112 h 4575969"/>
                  <a:gd name="connsiteX159" fmla="*/ 8565356 w 8971757"/>
                  <a:gd name="connsiteY159" fmla="*/ 1616869 h 4575969"/>
                  <a:gd name="connsiteX160" fmla="*/ 8534400 w 8971757"/>
                  <a:gd name="connsiteY160" fmla="*/ 1614487 h 4575969"/>
                  <a:gd name="connsiteX161" fmla="*/ 8517731 w 8971757"/>
                  <a:gd name="connsiteY161" fmla="*/ 1562100 h 4575969"/>
                  <a:gd name="connsiteX162" fmla="*/ 8477250 w 8971757"/>
                  <a:gd name="connsiteY162" fmla="*/ 1545431 h 4575969"/>
                  <a:gd name="connsiteX163" fmla="*/ 8477250 w 8971757"/>
                  <a:gd name="connsiteY163" fmla="*/ 1545431 h 4575969"/>
                  <a:gd name="connsiteX164" fmla="*/ 8436769 w 8971757"/>
                  <a:gd name="connsiteY164" fmla="*/ 1550194 h 4575969"/>
                  <a:gd name="connsiteX165" fmla="*/ 8351043 w 8971757"/>
                  <a:gd name="connsiteY165" fmla="*/ 1476375 h 4575969"/>
                  <a:gd name="connsiteX166" fmla="*/ 8170069 w 8971757"/>
                  <a:gd name="connsiteY166" fmla="*/ 1476374 h 4575969"/>
                  <a:gd name="connsiteX167" fmla="*/ 8117681 w 8971757"/>
                  <a:gd name="connsiteY167" fmla="*/ 1514475 h 4575969"/>
                  <a:gd name="connsiteX168" fmla="*/ 8067675 w 8971757"/>
                  <a:gd name="connsiteY168" fmla="*/ 1593056 h 4575969"/>
                  <a:gd name="connsiteX169" fmla="*/ 8084344 w 8971757"/>
                  <a:gd name="connsiteY169" fmla="*/ 1614487 h 4575969"/>
                  <a:gd name="connsiteX170" fmla="*/ 8039100 w 8971757"/>
                  <a:gd name="connsiteY170" fmla="*/ 1664493 h 4575969"/>
                  <a:gd name="connsiteX171" fmla="*/ 7889081 w 8971757"/>
                  <a:gd name="connsiteY171" fmla="*/ 1588293 h 4575969"/>
                  <a:gd name="connsiteX172" fmla="*/ 7798594 w 8971757"/>
                  <a:gd name="connsiteY172" fmla="*/ 1624012 h 4575969"/>
                  <a:gd name="connsiteX173" fmla="*/ 7724775 w 8971757"/>
                  <a:gd name="connsiteY173" fmla="*/ 1621631 h 4575969"/>
                  <a:gd name="connsiteX174" fmla="*/ 7667625 w 8971757"/>
                  <a:gd name="connsiteY174" fmla="*/ 1716881 h 4575969"/>
                  <a:gd name="connsiteX175" fmla="*/ 7529513 w 8971757"/>
                  <a:gd name="connsiteY17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6524625 w 8971757"/>
                  <a:gd name="connsiteY22" fmla="*/ 1164431 h 4575969"/>
                  <a:gd name="connsiteX23" fmla="*/ 8412956 w 8971757"/>
                  <a:gd name="connsiteY23" fmla="*/ 23812 h 4575969"/>
                  <a:gd name="connsiteX24" fmla="*/ 8949531 w 8971757"/>
                  <a:gd name="connsiteY24" fmla="*/ 0 h 4575969"/>
                  <a:gd name="connsiteX25" fmla="*/ 8971757 w 8971757"/>
                  <a:gd name="connsiteY25" fmla="*/ 4575969 h 4575969"/>
                  <a:gd name="connsiteX26" fmla="*/ 2381 w 8971757"/>
                  <a:gd name="connsiteY26" fmla="*/ 4547392 h 4575969"/>
                  <a:gd name="connsiteX27" fmla="*/ 0 w 8971757"/>
                  <a:gd name="connsiteY27" fmla="*/ 845344 h 4575969"/>
                  <a:gd name="connsiteX28" fmla="*/ 76200 w 8971757"/>
                  <a:gd name="connsiteY28" fmla="*/ 828675 h 4575969"/>
                  <a:gd name="connsiteX29" fmla="*/ 119063 w 8971757"/>
                  <a:gd name="connsiteY29" fmla="*/ 857250 h 4575969"/>
                  <a:gd name="connsiteX30" fmla="*/ 215900 w 8971757"/>
                  <a:gd name="connsiteY30" fmla="*/ 848519 h 4575969"/>
                  <a:gd name="connsiteX31" fmla="*/ 261938 w 8971757"/>
                  <a:gd name="connsiteY31" fmla="*/ 876299 h 4575969"/>
                  <a:gd name="connsiteX32" fmla="*/ 228600 w 8971757"/>
                  <a:gd name="connsiteY32" fmla="*/ 904875 h 4575969"/>
                  <a:gd name="connsiteX33" fmla="*/ 233363 w 8971757"/>
                  <a:gd name="connsiteY33" fmla="*/ 947737 h 4575969"/>
                  <a:gd name="connsiteX34" fmla="*/ 200025 w 8971757"/>
                  <a:gd name="connsiteY34" fmla="*/ 952500 h 4575969"/>
                  <a:gd name="connsiteX35" fmla="*/ 204788 w 8971757"/>
                  <a:gd name="connsiteY35" fmla="*/ 976312 h 4575969"/>
                  <a:gd name="connsiteX36" fmla="*/ 261937 w 8971757"/>
                  <a:gd name="connsiteY36" fmla="*/ 1050131 h 4575969"/>
                  <a:gd name="connsiteX37" fmla="*/ 223838 w 8971757"/>
                  <a:gd name="connsiteY37" fmla="*/ 1097756 h 4575969"/>
                  <a:gd name="connsiteX38" fmla="*/ 278606 w 8971757"/>
                  <a:gd name="connsiteY38" fmla="*/ 1133475 h 4575969"/>
                  <a:gd name="connsiteX39" fmla="*/ 369094 w 8971757"/>
                  <a:gd name="connsiteY39" fmla="*/ 1221581 h 4575969"/>
                  <a:gd name="connsiteX40" fmla="*/ 371475 w 8971757"/>
                  <a:gd name="connsiteY40" fmla="*/ 1281112 h 4575969"/>
                  <a:gd name="connsiteX41" fmla="*/ 507206 w 8971757"/>
                  <a:gd name="connsiteY41" fmla="*/ 1414463 h 4575969"/>
                  <a:gd name="connsiteX42" fmla="*/ 561975 w 8971757"/>
                  <a:gd name="connsiteY42" fmla="*/ 1390650 h 4575969"/>
                  <a:gd name="connsiteX43" fmla="*/ 600075 w 8971757"/>
                  <a:gd name="connsiteY43" fmla="*/ 1416843 h 4575969"/>
                  <a:gd name="connsiteX44" fmla="*/ 614363 w 8971757"/>
                  <a:gd name="connsiteY44" fmla="*/ 1466849 h 4575969"/>
                  <a:gd name="connsiteX45" fmla="*/ 657225 w 8971757"/>
                  <a:gd name="connsiteY45" fmla="*/ 1502569 h 4575969"/>
                  <a:gd name="connsiteX46" fmla="*/ 697706 w 8971757"/>
                  <a:gd name="connsiteY46" fmla="*/ 1490662 h 4575969"/>
                  <a:gd name="connsiteX47" fmla="*/ 716756 w 8971757"/>
                  <a:gd name="connsiteY47" fmla="*/ 1547812 h 4575969"/>
                  <a:gd name="connsiteX48" fmla="*/ 764381 w 8971757"/>
                  <a:gd name="connsiteY48" fmla="*/ 1590675 h 4575969"/>
                  <a:gd name="connsiteX49" fmla="*/ 788194 w 8971757"/>
                  <a:gd name="connsiteY49" fmla="*/ 1693069 h 4575969"/>
                  <a:gd name="connsiteX50" fmla="*/ 785813 w 8971757"/>
                  <a:gd name="connsiteY50" fmla="*/ 1740694 h 4575969"/>
                  <a:gd name="connsiteX51" fmla="*/ 821531 w 8971757"/>
                  <a:gd name="connsiteY51" fmla="*/ 1840706 h 4575969"/>
                  <a:gd name="connsiteX52" fmla="*/ 866775 w 8971757"/>
                  <a:gd name="connsiteY52" fmla="*/ 1897856 h 4575969"/>
                  <a:gd name="connsiteX53" fmla="*/ 883443 w 8971757"/>
                  <a:gd name="connsiteY53" fmla="*/ 2055018 h 4575969"/>
                  <a:gd name="connsiteX54" fmla="*/ 850106 w 8971757"/>
                  <a:gd name="connsiteY54" fmla="*/ 2116931 h 4575969"/>
                  <a:gd name="connsiteX55" fmla="*/ 819150 w 8971757"/>
                  <a:gd name="connsiteY55" fmla="*/ 2193131 h 4575969"/>
                  <a:gd name="connsiteX56" fmla="*/ 833438 w 8971757"/>
                  <a:gd name="connsiteY56" fmla="*/ 2250281 h 4575969"/>
                  <a:gd name="connsiteX57" fmla="*/ 735806 w 8971757"/>
                  <a:gd name="connsiteY57" fmla="*/ 2357438 h 4575969"/>
                  <a:gd name="connsiteX58" fmla="*/ 692944 w 8971757"/>
                  <a:gd name="connsiteY58" fmla="*/ 2471737 h 4575969"/>
                  <a:gd name="connsiteX59" fmla="*/ 726281 w 8971757"/>
                  <a:gd name="connsiteY59" fmla="*/ 2512219 h 4575969"/>
                  <a:gd name="connsiteX60" fmla="*/ 709613 w 8971757"/>
                  <a:gd name="connsiteY60" fmla="*/ 2540794 h 4575969"/>
                  <a:gd name="connsiteX61" fmla="*/ 740569 w 8971757"/>
                  <a:gd name="connsiteY61" fmla="*/ 2597944 h 4575969"/>
                  <a:gd name="connsiteX62" fmla="*/ 769144 w 8971757"/>
                  <a:gd name="connsiteY62" fmla="*/ 2597944 h 4575969"/>
                  <a:gd name="connsiteX63" fmla="*/ 931069 w 8971757"/>
                  <a:gd name="connsiteY63" fmla="*/ 2700337 h 4575969"/>
                  <a:gd name="connsiteX64" fmla="*/ 1035844 w 8971757"/>
                  <a:gd name="connsiteY64" fmla="*/ 2697956 h 4575969"/>
                  <a:gd name="connsiteX65" fmla="*/ 1114425 w 8971757"/>
                  <a:gd name="connsiteY65" fmla="*/ 2752725 h 4575969"/>
                  <a:gd name="connsiteX66" fmla="*/ 1245393 w 8971757"/>
                  <a:gd name="connsiteY66" fmla="*/ 2755106 h 4575969"/>
                  <a:gd name="connsiteX67" fmla="*/ 1435893 w 8971757"/>
                  <a:gd name="connsiteY67" fmla="*/ 2824162 h 4575969"/>
                  <a:gd name="connsiteX68" fmla="*/ 1638300 w 8971757"/>
                  <a:gd name="connsiteY68" fmla="*/ 2974181 h 4575969"/>
                  <a:gd name="connsiteX69" fmla="*/ 1671637 w 8971757"/>
                  <a:gd name="connsiteY69" fmla="*/ 3040856 h 4575969"/>
                  <a:gd name="connsiteX70" fmla="*/ 1838325 w 8971757"/>
                  <a:gd name="connsiteY70" fmla="*/ 3167062 h 4575969"/>
                  <a:gd name="connsiteX71" fmla="*/ 1909763 w 8971757"/>
                  <a:gd name="connsiteY71" fmla="*/ 3162300 h 4575969"/>
                  <a:gd name="connsiteX72" fmla="*/ 1945482 w 8971757"/>
                  <a:gd name="connsiteY72" fmla="*/ 3186112 h 4575969"/>
                  <a:gd name="connsiteX73" fmla="*/ 1916906 w 8971757"/>
                  <a:gd name="connsiteY73" fmla="*/ 3226594 h 4575969"/>
                  <a:gd name="connsiteX74" fmla="*/ 1924050 w 8971757"/>
                  <a:gd name="connsiteY74" fmla="*/ 3278981 h 4575969"/>
                  <a:gd name="connsiteX75" fmla="*/ 1976438 w 8971757"/>
                  <a:gd name="connsiteY75" fmla="*/ 3305175 h 4575969"/>
                  <a:gd name="connsiteX76" fmla="*/ 2038350 w 8971757"/>
                  <a:gd name="connsiteY76" fmla="*/ 3529013 h 4575969"/>
                  <a:gd name="connsiteX77" fmla="*/ 2028825 w 8971757"/>
                  <a:gd name="connsiteY77" fmla="*/ 3593306 h 4575969"/>
                  <a:gd name="connsiteX78" fmla="*/ 2164556 w 8971757"/>
                  <a:gd name="connsiteY78" fmla="*/ 3759994 h 4575969"/>
                  <a:gd name="connsiteX79" fmla="*/ 2183606 w 8971757"/>
                  <a:gd name="connsiteY79" fmla="*/ 3810000 h 4575969"/>
                  <a:gd name="connsiteX80" fmla="*/ 2157413 w 8971757"/>
                  <a:gd name="connsiteY80" fmla="*/ 3829050 h 4575969"/>
                  <a:gd name="connsiteX81" fmla="*/ 2259806 w 8971757"/>
                  <a:gd name="connsiteY81" fmla="*/ 3838575 h 4575969"/>
                  <a:gd name="connsiteX82" fmla="*/ 2371725 w 8971757"/>
                  <a:gd name="connsiteY82" fmla="*/ 3826669 h 4575969"/>
                  <a:gd name="connsiteX83" fmla="*/ 2650331 w 8971757"/>
                  <a:gd name="connsiteY83" fmla="*/ 3910012 h 4575969"/>
                  <a:gd name="connsiteX84" fmla="*/ 3057525 w 8971757"/>
                  <a:gd name="connsiteY84" fmla="*/ 3990975 h 4575969"/>
                  <a:gd name="connsiteX85" fmla="*/ 3255169 w 8971757"/>
                  <a:gd name="connsiteY85" fmla="*/ 3960018 h 4575969"/>
                  <a:gd name="connsiteX86" fmla="*/ 3300413 w 8971757"/>
                  <a:gd name="connsiteY86" fmla="*/ 3971924 h 4575969"/>
                  <a:gd name="connsiteX87" fmla="*/ 3355181 w 8971757"/>
                  <a:gd name="connsiteY87" fmla="*/ 3948113 h 4575969"/>
                  <a:gd name="connsiteX88" fmla="*/ 3748087 w 8971757"/>
                  <a:gd name="connsiteY88" fmla="*/ 4038600 h 4575969"/>
                  <a:gd name="connsiteX89" fmla="*/ 3831432 w 8971757"/>
                  <a:gd name="connsiteY89" fmla="*/ 4136231 h 4575969"/>
                  <a:gd name="connsiteX90" fmla="*/ 3950494 w 8971757"/>
                  <a:gd name="connsiteY90" fmla="*/ 4207669 h 4575969"/>
                  <a:gd name="connsiteX91" fmla="*/ 4010025 w 8971757"/>
                  <a:gd name="connsiteY91" fmla="*/ 4191000 h 4575969"/>
                  <a:gd name="connsiteX92" fmla="*/ 4360068 w 8971757"/>
                  <a:gd name="connsiteY92" fmla="*/ 4364831 h 4575969"/>
                  <a:gd name="connsiteX93" fmla="*/ 4586288 w 8971757"/>
                  <a:gd name="connsiteY93" fmla="*/ 4336256 h 4575969"/>
                  <a:gd name="connsiteX94" fmla="*/ 4595813 w 8971757"/>
                  <a:gd name="connsiteY94" fmla="*/ 4414837 h 4575969"/>
                  <a:gd name="connsiteX95" fmla="*/ 4681538 w 8971757"/>
                  <a:gd name="connsiteY95" fmla="*/ 4410074 h 4575969"/>
                  <a:gd name="connsiteX96" fmla="*/ 4760119 w 8971757"/>
                  <a:gd name="connsiteY96" fmla="*/ 4441031 h 4575969"/>
                  <a:gd name="connsiteX97" fmla="*/ 4802981 w 8971757"/>
                  <a:gd name="connsiteY97" fmla="*/ 4381500 h 4575969"/>
                  <a:gd name="connsiteX98" fmla="*/ 5474494 w 8971757"/>
                  <a:gd name="connsiteY98" fmla="*/ 4062412 h 4575969"/>
                  <a:gd name="connsiteX99" fmla="*/ 5562600 w 8971757"/>
                  <a:gd name="connsiteY99" fmla="*/ 4090988 h 4575969"/>
                  <a:gd name="connsiteX100" fmla="*/ 5693569 w 8971757"/>
                  <a:gd name="connsiteY100" fmla="*/ 4062412 h 4575969"/>
                  <a:gd name="connsiteX101" fmla="*/ 5872162 w 8971757"/>
                  <a:gd name="connsiteY101" fmla="*/ 4079081 h 4575969"/>
                  <a:gd name="connsiteX102" fmla="*/ 5929313 w 8971757"/>
                  <a:gd name="connsiteY102" fmla="*/ 4052888 h 4575969"/>
                  <a:gd name="connsiteX103" fmla="*/ 6062662 w 8971757"/>
                  <a:gd name="connsiteY103" fmla="*/ 4050506 h 4575969"/>
                  <a:gd name="connsiteX104" fmla="*/ 6196012 w 8971757"/>
                  <a:gd name="connsiteY104" fmla="*/ 3952875 h 4575969"/>
                  <a:gd name="connsiteX105" fmla="*/ 6262687 w 8971757"/>
                  <a:gd name="connsiteY105" fmla="*/ 3945731 h 4575969"/>
                  <a:gd name="connsiteX106" fmla="*/ 6360319 w 8971757"/>
                  <a:gd name="connsiteY106" fmla="*/ 3871912 h 4575969"/>
                  <a:gd name="connsiteX107" fmla="*/ 6434138 w 8971757"/>
                  <a:gd name="connsiteY107" fmla="*/ 3802856 h 4575969"/>
                  <a:gd name="connsiteX108" fmla="*/ 6443663 w 8971757"/>
                  <a:gd name="connsiteY108" fmla="*/ 3740944 h 4575969"/>
                  <a:gd name="connsiteX109" fmla="*/ 6477000 w 8971757"/>
                  <a:gd name="connsiteY109" fmla="*/ 3671887 h 4575969"/>
                  <a:gd name="connsiteX110" fmla="*/ 6629400 w 8971757"/>
                  <a:gd name="connsiteY110" fmla="*/ 3564731 h 4575969"/>
                  <a:gd name="connsiteX111" fmla="*/ 6662738 w 8971757"/>
                  <a:gd name="connsiteY111" fmla="*/ 3569494 h 4575969"/>
                  <a:gd name="connsiteX112" fmla="*/ 6715125 w 8971757"/>
                  <a:gd name="connsiteY112" fmla="*/ 3490912 h 4575969"/>
                  <a:gd name="connsiteX113" fmla="*/ 6762750 w 8971757"/>
                  <a:gd name="connsiteY113" fmla="*/ 3452812 h 4575969"/>
                  <a:gd name="connsiteX114" fmla="*/ 6748463 w 8971757"/>
                  <a:gd name="connsiteY114" fmla="*/ 3383756 h 4575969"/>
                  <a:gd name="connsiteX115" fmla="*/ 6698456 w 8971757"/>
                  <a:gd name="connsiteY115" fmla="*/ 3352799 h 4575969"/>
                  <a:gd name="connsiteX116" fmla="*/ 6638925 w 8971757"/>
                  <a:gd name="connsiteY116" fmla="*/ 3298031 h 4575969"/>
                  <a:gd name="connsiteX117" fmla="*/ 6619875 w 8971757"/>
                  <a:gd name="connsiteY117" fmla="*/ 3240881 h 4575969"/>
                  <a:gd name="connsiteX118" fmla="*/ 6584156 w 8971757"/>
                  <a:gd name="connsiteY118" fmla="*/ 3207544 h 4575969"/>
                  <a:gd name="connsiteX119" fmla="*/ 6610350 w 8971757"/>
                  <a:gd name="connsiteY119" fmla="*/ 3155156 h 4575969"/>
                  <a:gd name="connsiteX120" fmla="*/ 6650831 w 8971757"/>
                  <a:gd name="connsiteY120" fmla="*/ 2976562 h 4575969"/>
                  <a:gd name="connsiteX121" fmla="*/ 6691313 w 8971757"/>
                  <a:gd name="connsiteY121" fmla="*/ 2909887 h 4575969"/>
                  <a:gd name="connsiteX122" fmla="*/ 6836569 w 8971757"/>
                  <a:gd name="connsiteY122" fmla="*/ 2893218 h 4575969"/>
                  <a:gd name="connsiteX123" fmla="*/ 6905625 w 8971757"/>
                  <a:gd name="connsiteY123" fmla="*/ 2950369 h 4575969"/>
                  <a:gd name="connsiteX124" fmla="*/ 6981825 w 8971757"/>
                  <a:gd name="connsiteY124" fmla="*/ 2974181 h 4575969"/>
                  <a:gd name="connsiteX125" fmla="*/ 7186612 w 8971757"/>
                  <a:gd name="connsiteY125" fmla="*/ 2978944 h 4575969"/>
                  <a:gd name="connsiteX126" fmla="*/ 7362825 w 8971757"/>
                  <a:gd name="connsiteY126" fmla="*/ 2840831 h 4575969"/>
                  <a:gd name="connsiteX127" fmla="*/ 7419975 w 8971757"/>
                  <a:gd name="connsiteY127" fmla="*/ 2750343 h 4575969"/>
                  <a:gd name="connsiteX128" fmla="*/ 7446169 w 8971757"/>
                  <a:gd name="connsiteY128" fmla="*/ 2667000 h 4575969"/>
                  <a:gd name="connsiteX129" fmla="*/ 7577137 w 8971757"/>
                  <a:gd name="connsiteY129" fmla="*/ 2667000 h 4575969"/>
                  <a:gd name="connsiteX130" fmla="*/ 7750969 w 8971757"/>
                  <a:gd name="connsiteY130" fmla="*/ 2609849 h 4575969"/>
                  <a:gd name="connsiteX131" fmla="*/ 7810500 w 8971757"/>
                  <a:gd name="connsiteY131" fmla="*/ 2497931 h 4575969"/>
                  <a:gd name="connsiteX132" fmla="*/ 7874794 w 8971757"/>
                  <a:gd name="connsiteY132" fmla="*/ 2462212 h 4575969"/>
                  <a:gd name="connsiteX133" fmla="*/ 7853363 w 8971757"/>
                  <a:gd name="connsiteY133" fmla="*/ 2416969 h 4575969"/>
                  <a:gd name="connsiteX134" fmla="*/ 7931944 w 8971757"/>
                  <a:gd name="connsiteY134" fmla="*/ 2247899 h 4575969"/>
                  <a:gd name="connsiteX135" fmla="*/ 7986713 w 8971757"/>
                  <a:gd name="connsiteY135" fmla="*/ 2188369 h 4575969"/>
                  <a:gd name="connsiteX136" fmla="*/ 8024813 w 8971757"/>
                  <a:gd name="connsiteY136" fmla="*/ 2183606 h 4575969"/>
                  <a:gd name="connsiteX137" fmla="*/ 8070056 w 8971757"/>
                  <a:gd name="connsiteY137" fmla="*/ 2188369 h 4575969"/>
                  <a:gd name="connsiteX138" fmla="*/ 8134350 w 8971757"/>
                  <a:gd name="connsiteY138" fmla="*/ 2155031 h 4575969"/>
                  <a:gd name="connsiteX139" fmla="*/ 8143875 w 8971757"/>
                  <a:gd name="connsiteY139" fmla="*/ 2090737 h 4575969"/>
                  <a:gd name="connsiteX140" fmla="*/ 8184355 w 8971757"/>
                  <a:gd name="connsiteY140" fmla="*/ 2055019 h 4575969"/>
                  <a:gd name="connsiteX141" fmla="*/ 8243888 w 8971757"/>
                  <a:gd name="connsiteY141" fmla="*/ 2095499 h 4575969"/>
                  <a:gd name="connsiteX142" fmla="*/ 8270082 w 8971757"/>
                  <a:gd name="connsiteY142" fmla="*/ 2045493 h 4575969"/>
                  <a:gd name="connsiteX143" fmla="*/ 8365331 w 8971757"/>
                  <a:gd name="connsiteY143" fmla="*/ 1976437 h 4575969"/>
                  <a:gd name="connsiteX144" fmla="*/ 8427244 w 8971757"/>
                  <a:gd name="connsiteY144" fmla="*/ 1983581 h 4575969"/>
                  <a:gd name="connsiteX145" fmla="*/ 8477250 w 8971757"/>
                  <a:gd name="connsiteY145" fmla="*/ 1964531 h 4575969"/>
                  <a:gd name="connsiteX146" fmla="*/ 8515350 w 8971757"/>
                  <a:gd name="connsiteY146" fmla="*/ 1935956 h 4575969"/>
                  <a:gd name="connsiteX147" fmla="*/ 8548688 w 8971757"/>
                  <a:gd name="connsiteY147" fmla="*/ 1933575 h 4575969"/>
                  <a:gd name="connsiteX148" fmla="*/ 8584406 w 8971757"/>
                  <a:gd name="connsiteY148" fmla="*/ 1964531 h 4575969"/>
                  <a:gd name="connsiteX149" fmla="*/ 8643938 w 8971757"/>
                  <a:gd name="connsiteY149" fmla="*/ 1964531 h 4575969"/>
                  <a:gd name="connsiteX150" fmla="*/ 8682037 w 8971757"/>
                  <a:gd name="connsiteY150" fmla="*/ 1945481 h 4575969"/>
                  <a:gd name="connsiteX151" fmla="*/ 8765381 w 8971757"/>
                  <a:gd name="connsiteY151" fmla="*/ 1947863 h 4575969"/>
                  <a:gd name="connsiteX152" fmla="*/ 8796338 w 8971757"/>
                  <a:gd name="connsiteY152" fmla="*/ 1902619 h 4575969"/>
                  <a:gd name="connsiteX153" fmla="*/ 8801100 w 8971757"/>
                  <a:gd name="connsiteY153" fmla="*/ 1840706 h 4575969"/>
                  <a:gd name="connsiteX154" fmla="*/ 8751093 w 8971757"/>
                  <a:gd name="connsiteY154" fmla="*/ 1800225 h 4575969"/>
                  <a:gd name="connsiteX155" fmla="*/ 8734425 w 8971757"/>
                  <a:gd name="connsiteY155" fmla="*/ 1745456 h 4575969"/>
                  <a:gd name="connsiteX156" fmla="*/ 8643938 w 8971757"/>
                  <a:gd name="connsiteY156" fmla="*/ 1683544 h 4575969"/>
                  <a:gd name="connsiteX157" fmla="*/ 8603456 w 8971757"/>
                  <a:gd name="connsiteY157" fmla="*/ 1662112 h 4575969"/>
                  <a:gd name="connsiteX158" fmla="*/ 8565356 w 8971757"/>
                  <a:gd name="connsiteY158" fmla="*/ 1616869 h 4575969"/>
                  <a:gd name="connsiteX159" fmla="*/ 8534400 w 8971757"/>
                  <a:gd name="connsiteY159" fmla="*/ 1614487 h 4575969"/>
                  <a:gd name="connsiteX160" fmla="*/ 8517731 w 8971757"/>
                  <a:gd name="connsiteY160" fmla="*/ 1562100 h 4575969"/>
                  <a:gd name="connsiteX161" fmla="*/ 8477250 w 8971757"/>
                  <a:gd name="connsiteY161" fmla="*/ 1545431 h 4575969"/>
                  <a:gd name="connsiteX162" fmla="*/ 8477250 w 8971757"/>
                  <a:gd name="connsiteY162" fmla="*/ 1545431 h 4575969"/>
                  <a:gd name="connsiteX163" fmla="*/ 8436769 w 8971757"/>
                  <a:gd name="connsiteY163" fmla="*/ 1550194 h 4575969"/>
                  <a:gd name="connsiteX164" fmla="*/ 8351043 w 8971757"/>
                  <a:gd name="connsiteY164" fmla="*/ 1476375 h 4575969"/>
                  <a:gd name="connsiteX165" fmla="*/ 8170069 w 8971757"/>
                  <a:gd name="connsiteY165" fmla="*/ 1476374 h 4575969"/>
                  <a:gd name="connsiteX166" fmla="*/ 8117681 w 8971757"/>
                  <a:gd name="connsiteY166" fmla="*/ 1514475 h 4575969"/>
                  <a:gd name="connsiteX167" fmla="*/ 8067675 w 8971757"/>
                  <a:gd name="connsiteY167" fmla="*/ 1593056 h 4575969"/>
                  <a:gd name="connsiteX168" fmla="*/ 8084344 w 8971757"/>
                  <a:gd name="connsiteY168" fmla="*/ 1614487 h 4575969"/>
                  <a:gd name="connsiteX169" fmla="*/ 8039100 w 8971757"/>
                  <a:gd name="connsiteY169" fmla="*/ 1664493 h 4575969"/>
                  <a:gd name="connsiteX170" fmla="*/ 7889081 w 8971757"/>
                  <a:gd name="connsiteY170" fmla="*/ 1588293 h 4575969"/>
                  <a:gd name="connsiteX171" fmla="*/ 7798594 w 8971757"/>
                  <a:gd name="connsiteY171" fmla="*/ 1624012 h 4575969"/>
                  <a:gd name="connsiteX172" fmla="*/ 7724775 w 8971757"/>
                  <a:gd name="connsiteY172" fmla="*/ 1621631 h 4575969"/>
                  <a:gd name="connsiteX173" fmla="*/ 7667625 w 8971757"/>
                  <a:gd name="connsiteY173" fmla="*/ 1716881 h 4575969"/>
                  <a:gd name="connsiteX174" fmla="*/ 7529513 w 8971757"/>
                  <a:gd name="connsiteY17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6619875 w 8971757"/>
                  <a:gd name="connsiteY21" fmla="*/ 1109663 h 4575969"/>
                  <a:gd name="connsiteX22" fmla="*/ 8412956 w 8971757"/>
                  <a:gd name="connsiteY22" fmla="*/ 23812 h 4575969"/>
                  <a:gd name="connsiteX23" fmla="*/ 8949531 w 8971757"/>
                  <a:gd name="connsiteY23" fmla="*/ 0 h 4575969"/>
                  <a:gd name="connsiteX24" fmla="*/ 8971757 w 8971757"/>
                  <a:gd name="connsiteY24" fmla="*/ 4575969 h 4575969"/>
                  <a:gd name="connsiteX25" fmla="*/ 2381 w 8971757"/>
                  <a:gd name="connsiteY25" fmla="*/ 4547392 h 4575969"/>
                  <a:gd name="connsiteX26" fmla="*/ 0 w 8971757"/>
                  <a:gd name="connsiteY26" fmla="*/ 845344 h 4575969"/>
                  <a:gd name="connsiteX27" fmla="*/ 76200 w 8971757"/>
                  <a:gd name="connsiteY27" fmla="*/ 828675 h 4575969"/>
                  <a:gd name="connsiteX28" fmla="*/ 119063 w 8971757"/>
                  <a:gd name="connsiteY28" fmla="*/ 857250 h 4575969"/>
                  <a:gd name="connsiteX29" fmla="*/ 215900 w 8971757"/>
                  <a:gd name="connsiteY29" fmla="*/ 848519 h 4575969"/>
                  <a:gd name="connsiteX30" fmla="*/ 261938 w 8971757"/>
                  <a:gd name="connsiteY30" fmla="*/ 876299 h 4575969"/>
                  <a:gd name="connsiteX31" fmla="*/ 228600 w 8971757"/>
                  <a:gd name="connsiteY31" fmla="*/ 904875 h 4575969"/>
                  <a:gd name="connsiteX32" fmla="*/ 233363 w 8971757"/>
                  <a:gd name="connsiteY32" fmla="*/ 947737 h 4575969"/>
                  <a:gd name="connsiteX33" fmla="*/ 200025 w 8971757"/>
                  <a:gd name="connsiteY33" fmla="*/ 952500 h 4575969"/>
                  <a:gd name="connsiteX34" fmla="*/ 204788 w 8971757"/>
                  <a:gd name="connsiteY34" fmla="*/ 976312 h 4575969"/>
                  <a:gd name="connsiteX35" fmla="*/ 261937 w 8971757"/>
                  <a:gd name="connsiteY35" fmla="*/ 1050131 h 4575969"/>
                  <a:gd name="connsiteX36" fmla="*/ 223838 w 8971757"/>
                  <a:gd name="connsiteY36" fmla="*/ 1097756 h 4575969"/>
                  <a:gd name="connsiteX37" fmla="*/ 278606 w 8971757"/>
                  <a:gd name="connsiteY37" fmla="*/ 1133475 h 4575969"/>
                  <a:gd name="connsiteX38" fmla="*/ 369094 w 8971757"/>
                  <a:gd name="connsiteY38" fmla="*/ 1221581 h 4575969"/>
                  <a:gd name="connsiteX39" fmla="*/ 371475 w 8971757"/>
                  <a:gd name="connsiteY39" fmla="*/ 1281112 h 4575969"/>
                  <a:gd name="connsiteX40" fmla="*/ 507206 w 8971757"/>
                  <a:gd name="connsiteY40" fmla="*/ 1414463 h 4575969"/>
                  <a:gd name="connsiteX41" fmla="*/ 561975 w 8971757"/>
                  <a:gd name="connsiteY41" fmla="*/ 1390650 h 4575969"/>
                  <a:gd name="connsiteX42" fmla="*/ 600075 w 8971757"/>
                  <a:gd name="connsiteY42" fmla="*/ 1416843 h 4575969"/>
                  <a:gd name="connsiteX43" fmla="*/ 614363 w 8971757"/>
                  <a:gd name="connsiteY43" fmla="*/ 1466849 h 4575969"/>
                  <a:gd name="connsiteX44" fmla="*/ 657225 w 8971757"/>
                  <a:gd name="connsiteY44" fmla="*/ 1502569 h 4575969"/>
                  <a:gd name="connsiteX45" fmla="*/ 697706 w 8971757"/>
                  <a:gd name="connsiteY45" fmla="*/ 1490662 h 4575969"/>
                  <a:gd name="connsiteX46" fmla="*/ 716756 w 8971757"/>
                  <a:gd name="connsiteY46" fmla="*/ 1547812 h 4575969"/>
                  <a:gd name="connsiteX47" fmla="*/ 764381 w 8971757"/>
                  <a:gd name="connsiteY47" fmla="*/ 1590675 h 4575969"/>
                  <a:gd name="connsiteX48" fmla="*/ 788194 w 8971757"/>
                  <a:gd name="connsiteY48" fmla="*/ 1693069 h 4575969"/>
                  <a:gd name="connsiteX49" fmla="*/ 785813 w 8971757"/>
                  <a:gd name="connsiteY49" fmla="*/ 1740694 h 4575969"/>
                  <a:gd name="connsiteX50" fmla="*/ 821531 w 8971757"/>
                  <a:gd name="connsiteY50" fmla="*/ 1840706 h 4575969"/>
                  <a:gd name="connsiteX51" fmla="*/ 866775 w 8971757"/>
                  <a:gd name="connsiteY51" fmla="*/ 1897856 h 4575969"/>
                  <a:gd name="connsiteX52" fmla="*/ 883443 w 8971757"/>
                  <a:gd name="connsiteY52" fmla="*/ 2055018 h 4575969"/>
                  <a:gd name="connsiteX53" fmla="*/ 850106 w 8971757"/>
                  <a:gd name="connsiteY53" fmla="*/ 2116931 h 4575969"/>
                  <a:gd name="connsiteX54" fmla="*/ 819150 w 8971757"/>
                  <a:gd name="connsiteY54" fmla="*/ 2193131 h 4575969"/>
                  <a:gd name="connsiteX55" fmla="*/ 833438 w 8971757"/>
                  <a:gd name="connsiteY55" fmla="*/ 2250281 h 4575969"/>
                  <a:gd name="connsiteX56" fmla="*/ 735806 w 8971757"/>
                  <a:gd name="connsiteY56" fmla="*/ 2357438 h 4575969"/>
                  <a:gd name="connsiteX57" fmla="*/ 692944 w 8971757"/>
                  <a:gd name="connsiteY57" fmla="*/ 2471737 h 4575969"/>
                  <a:gd name="connsiteX58" fmla="*/ 726281 w 8971757"/>
                  <a:gd name="connsiteY58" fmla="*/ 2512219 h 4575969"/>
                  <a:gd name="connsiteX59" fmla="*/ 709613 w 8971757"/>
                  <a:gd name="connsiteY59" fmla="*/ 2540794 h 4575969"/>
                  <a:gd name="connsiteX60" fmla="*/ 740569 w 8971757"/>
                  <a:gd name="connsiteY60" fmla="*/ 2597944 h 4575969"/>
                  <a:gd name="connsiteX61" fmla="*/ 769144 w 8971757"/>
                  <a:gd name="connsiteY61" fmla="*/ 2597944 h 4575969"/>
                  <a:gd name="connsiteX62" fmla="*/ 931069 w 8971757"/>
                  <a:gd name="connsiteY62" fmla="*/ 2700337 h 4575969"/>
                  <a:gd name="connsiteX63" fmla="*/ 1035844 w 8971757"/>
                  <a:gd name="connsiteY63" fmla="*/ 2697956 h 4575969"/>
                  <a:gd name="connsiteX64" fmla="*/ 1114425 w 8971757"/>
                  <a:gd name="connsiteY64" fmla="*/ 2752725 h 4575969"/>
                  <a:gd name="connsiteX65" fmla="*/ 1245393 w 8971757"/>
                  <a:gd name="connsiteY65" fmla="*/ 2755106 h 4575969"/>
                  <a:gd name="connsiteX66" fmla="*/ 1435893 w 8971757"/>
                  <a:gd name="connsiteY66" fmla="*/ 2824162 h 4575969"/>
                  <a:gd name="connsiteX67" fmla="*/ 1638300 w 8971757"/>
                  <a:gd name="connsiteY67" fmla="*/ 2974181 h 4575969"/>
                  <a:gd name="connsiteX68" fmla="*/ 1671637 w 8971757"/>
                  <a:gd name="connsiteY68" fmla="*/ 3040856 h 4575969"/>
                  <a:gd name="connsiteX69" fmla="*/ 1838325 w 8971757"/>
                  <a:gd name="connsiteY69" fmla="*/ 3167062 h 4575969"/>
                  <a:gd name="connsiteX70" fmla="*/ 1909763 w 8971757"/>
                  <a:gd name="connsiteY70" fmla="*/ 3162300 h 4575969"/>
                  <a:gd name="connsiteX71" fmla="*/ 1945482 w 8971757"/>
                  <a:gd name="connsiteY71" fmla="*/ 3186112 h 4575969"/>
                  <a:gd name="connsiteX72" fmla="*/ 1916906 w 8971757"/>
                  <a:gd name="connsiteY72" fmla="*/ 3226594 h 4575969"/>
                  <a:gd name="connsiteX73" fmla="*/ 1924050 w 8971757"/>
                  <a:gd name="connsiteY73" fmla="*/ 3278981 h 4575969"/>
                  <a:gd name="connsiteX74" fmla="*/ 1976438 w 8971757"/>
                  <a:gd name="connsiteY74" fmla="*/ 3305175 h 4575969"/>
                  <a:gd name="connsiteX75" fmla="*/ 2038350 w 8971757"/>
                  <a:gd name="connsiteY75" fmla="*/ 3529013 h 4575969"/>
                  <a:gd name="connsiteX76" fmla="*/ 2028825 w 8971757"/>
                  <a:gd name="connsiteY76" fmla="*/ 3593306 h 4575969"/>
                  <a:gd name="connsiteX77" fmla="*/ 2164556 w 8971757"/>
                  <a:gd name="connsiteY77" fmla="*/ 3759994 h 4575969"/>
                  <a:gd name="connsiteX78" fmla="*/ 2183606 w 8971757"/>
                  <a:gd name="connsiteY78" fmla="*/ 3810000 h 4575969"/>
                  <a:gd name="connsiteX79" fmla="*/ 2157413 w 8971757"/>
                  <a:gd name="connsiteY79" fmla="*/ 3829050 h 4575969"/>
                  <a:gd name="connsiteX80" fmla="*/ 2259806 w 8971757"/>
                  <a:gd name="connsiteY80" fmla="*/ 3838575 h 4575969"/>
                  <a:gd name="connsiteX81" fmla="*/ 2371725 w 8971757"/>
                  <a:gd name="connsiteY81" fmla="*/ 3826669 h 4575969"/>
                  <a:gd name="connsiteX82" fmla="*/ 2650331 w 8971757"/>
                  <a:gd name="connsiteY82" fmla="*/ 3910012 h 4575969"/>
                  <a:gd name="connsiteX83" fmla="*/ 3057525 w 8971757"/>
                  <a:gd name="connsiteY83" fmla="*/ 3990975 h 4575969"/>
                  <a:gd name="connsiteX84" fmla="*/ 3255169 w 8971757"/>
                  <a:gd name="connsiteY84" fmla="*/ 3960018 h 4575969"/>
                  <a:gd name="connsiteX85" fmla="*/ 3300413 w 8971757"/>
                  <a:gd name="connsiteY85" fmla="*/ 3971924 h 4575969"/>
                  <a:gd name="connsiteX86" fmla="*/ 3355181 w 8971757"/>
                  <a:gd name="connsiteY86" fmla="*/ 3948113 h 4575969"/>
                  <a:gd name="connsiteX87" fmla="*/ 3748087 w 8971757"/>
                  <a:gd name="connsiteY87" fmla="*/ 4038600 h 4575969"/>
                  <a:gd name="connsiteX88" fmla="*/ 3831432 w 8971757"/>
                  <a:gd name="connsiteY88" fmla="*/ 4136231 h 4575969"/>
                  <a:gd name="connsiteX89" fmla="*/ 3950494 w 8971757"/>
                  <a:gd name="connsiteY89" fmla="*/ 4207669 h 4575969"/>
                  <a:gd name="connsiteX90" fmla="*/ 4010025 w 8971757"/>
                  <a:gd name="connsiteY90" fmla="*/ 4191000 h 4575969"/>
                  <a:gd name="connsiteX91" fmla="*/ 4360068 w 8971757"/>
                  <a:gd name="connsiteY91" fmla="*/ 4364831 h 4575969"/>
                  <a:gd name="connsiteX92" fmla="*/ 4586288 w 8971757"/>
                  <a:gd name="connsiteY92" fmla="*/ 4336256 h 4575969"/>
                  <a:gd name="connsiteX93" fmla="*/ 4595813 w 8971757"/>
                  <a:gd name="connsiteY93" fmla="*/ 4414837 h 4575969"/>
                  <a:gd name="connsiteX94" fmla="*/ 4681538 w 8971757"/>
                  <a:gd name="connsiteY94" fmla="*/ 4410074 h 4575969"/>
                  <a:gd name="connsiteX95" fmla="*/ 4760119 w 8971757"/>
                  <a:gd name="connsiteY95" fmla="*/ 4441031 h 4575969"/>
                  <a:gd name="connsiteX96" fmla="*/ 4802981 w 8971757"/>
                  <a:gd name="connsiteY96" fmla="*/ 4381500 h 4575969"/>
                  <a:gd name="connsiteX97" fmla="*/ 5474494 w 8971757"/>
                  <a:gd name="connsiteY97" fmla="*/ 4062412 h 4575969"/>
                  <a:gd name="connsiteX98" fmla="*/ 5562600 w 8971757"/>
                  <a:gd name="connsiteY98" fmla="*/ 4090988 h 4575969"/>
                  <a:gd name="connsiteX99" fmla="*/ 5693569 w 8971757"/>
                  <a:gd name="connsiteY99" fmla="*/ 4062412 h 4575969"/>
                  <a:gd name="connsiteX100" fmla="*/ 5872162 w 8971757"/>
                  <a:gd name="connsiteY100" fmla="*/ 4079081 h 4575969"/>
                  <a:gd name="connsiteX101" fmla="*/ 5929313 w 8971757"/>
                  <a:gd name="connsiteY101" fmla="*/ 4052888 h 4575969"/>
                  <a:gd name="connsiteX102" fmla="*/ 6062662 w 8971757"/>
                  <a:gd name="connsiteY102" fmla="*/ 4050506 h 4575969"/>
                  <a:gd name="connsiteX103" fmla="*/ 6196012 w 8971757"/>
                  <a:gd name="connsiteY103" fmla="*/ 3952875 h 4575969"/>
                  <a:gd name="connsiteX104" fmla="*/ 6262687 w 8971757"/>
                  <a:gd name="connsiteY104" fmla="*/ 3945731 h 4575969"/>
                  <a:gd name="connsiteX105" fmla="*/ 6360319 w 8971757"/>
                  <a:gd name="connsiteY105" fmla="*/ 3871912 h 4575969"/>
                  <a:gd name="connsiteX106" fmla="*/ 6434138 w 8971757"/>
                  <a:gd name="connsiteY106" fmla="*/ 3802856 h 4575969"/>
                  <a:gd name="connsiteX107" fmla="*/ 6443663 w 8971757"/>
                  <a:gd name="connsiteY107" fmla="*/ 3740944 h 4575969"/>
                  <a:gd name="connsiteX108" fmla="*/ 6477000 w 8971757"/>
                  <a:gd name="connsiteY108" fmla="*/ 3671887 h 4575969"/>
                  <a:gd name="connsiteX109" fmla="*/ 6629400 w 8971757"/>
                  <a:gd name="connsiteY109" fmla="*/ 3564731 h 4575969"/>
                  <a:gd name="connsiteX110" fmla="*/ 6662738 w 8971757"/>
                  <a:gd name="connsiteY110" fmla="*/ 3569494 h 4575969"/>
                  <a:gd name="connsiteX111" fmla="*/ 6715125 w 8971757"/>
                  <a:gd name="connsiteY111" fmla="*/ 3490912 h 4575969"/>
                  <a:gd name="connsiteX112" fmla="*/ 6762750 w 8971757"/>
                  <a:gd name="connsiteY112" fmla="*/ 3452812 h 4575969"/>
                  <a:gd name="connsiteX113" fmla="*/ 6748463 w 8971757"/>
                  <a:gd name="connsiteY113" fmla="*/ 3383756 h 4575969"/>
                  <a:gd name="connsiteX114" fmla="*/ 6698456 w 8971757"/>
                  <a:gd name="connsiteY114" fmla="*/ 3352799 h 4575969"/>
                  <a:gd name="connsiteX115" fmla="*/ 6638925 w 8971757"/>
                  <a:gd name="connsiteY115" fmla="*/ 3298031 h 4575969"/>
                  <a:gd name="connsiteX116" fmla="*/ 6619875 w 8971757"/>
                  <a:gd name="connsiteY116" fmla="*/ 3240881 h 4575969"/>
                  <a:gd name="connsiteX117" fmla="*/ 6584156 w 8971757"/>
                  <a:gd name="connsiteY117" fmla="*/ 3207544 h 4575969"/>
                  <a:gd name="connsiteX118" fmla="*/ 6610350 w 8971757"/>
                  <a:gd name="connsiteY118" fmla="*/ 3155156 h 4575969"/>
                  <a:gd name="connsiteX119" fmla="*/ 6650831 w 8971757"/>
                  <a:gd name="connsiteY119" fmla="*/ 2976562 h 4575969"/>
                  <a:gd name="connsiteX120" fmla="*/ 6691313 w 8971757"/>
                  <a:gd name="connsiteY120" fmla="*/ 2909887 h 4575969"/>
                  <a:gd name="connsiteX121" fmla="*/ 6836569 w 8971757"/>
                  <a:gd name="connsiteY121" fmla="*/ 2893218 h 4575969"/>
                  <a:gd name="connsiteX122" fmla="*/ 6905625 w 8971757"/>
                  <a:gd name="connsiteY122" fmla="*/ 2950369 h 4575969"/>
                  <a:gd name="connsiteX123" fmla="*/ 6981825 w 8971757"/>
                  <a:gd name="connsiteY123" fmla="*/ 2974181 h 4575969"/>
                  <a:gd name="connsiteX124" fmla="*/ 7186612 w 8971757"/>
                  <a:gd name="connsiteY124" fmla="*/ 2978944 h 4575969"/>
                  <a:gd name="connsiteX125" fmla="*/ 7362825 w 8971757"/>
                  <a:gd name="connsiteY125" fmla="*/ 2840831 h 4575969"/>
                  <a:gd name="connsiteX126" fmla="*/ 7419975 w 8971757"/>
                  <a:gd name="connsiteY126" fmla="*/ 2750343 h 4575969"/>
                  <a:gd name="connsiteX127" fmla="*/ 7446169 w 8971757"/>
                  <a:gd name="connsiteY127" fmla="*/ 2667000 h 4575969"/>
                  <a:gd name="connsiteX128" fmla="*/ 7577137 w 8971757"/>
                  <a:gd name="connsiteY128" fmla="*/ 2667000 h 4575969"/>
                  <a:gd name="connsiteX129" fmla="*/ 7750969 w 8971757"/>
                  <a:gd name="connsiteY129" fmla="*/ 2609849 h 4575969"/>
                  <a:gd name="connsiteX130" fmla="*/ 7810500 w 8971757"/>
                  <a:gd name="connsiteY130" fmla="*/ 2497931 h 4575969"/>
                  <a:gd name="connsiteX131" fmla="*/ 7874794 w 8971757"/>
                  <a:gd name="connsiteY131" fmla="*/ 2462212 h 4575969"/>
                  <a:gd name="connsiteX132" fmla="*/ 7853363 w 8971757"/>
                  <a:gd name="connsiteY132" fmla="*/ 2416969 h 4575969"/>
                  <a:gd name="connsiteX133" fmla="*/ 7931944 w 8971757"/>
                  <a:gd name="connsiteY133" fmla="*/ 2247899 h 4575969"/>
                  <a:gd name="connsiteX134" fmla="*/ 7986713 w 8971757"/>
                  <a:gd name="connsiteY134" fmla="*/ 2188369 h 4575969"/>
                  <a:gd name="connsiteX135" fmla="*/ 8024813 w 8971757"/>
                  <a:gd name="connsiteY135" fmla="*/ 2183606 h 4575969"/>
                  <a:gd name="connsiteX136" fmla="*/ 8070056 w 8971757"/>
                  <a:gd name="connsiteY136" fmla="*/ 2188369 h 4575969"/>
                  <a:gd name="connsiteX137" fmla="*/ 8134350 w 8971757"/>
                  <a:gd name="connsiteY137" fmla="*/ 2155031 h 4575969"/>
                  <a:gd name="connsiteX138" fmla="*/ 8143875 w 8971757"/>
                  <a:gd name="connsiteY138" fmla="*/ 2090737 h 4575969"/>
                  <a:gd name="connsiteX139" fmla="*/ 8184355 w 8971757"/>
                  <a:gd name="connsiteY139" fmla="*/ 2055019 h 4575969"/>
                  <a:gd name="connsiteX140" fmla="*/ 8243888 w 8971757"/>
                  <a:gd name="connsiteY140" fmla="*/ 2095499 h 4575969"/>
                  <a:gd name="connsiteX141" fmla="*/ 8270082 w 8971757"/>
                  <a:gd name="connsiteY141" fmla="*/ 2045493 h 4575969"/>
                  <a:gd name="connsiteX142" fmla="*/ 8365331 w 8971757"/>
                  <a:gd name="connsiteY142" fmla="*/ 1976437 h 4575969"/>
                  <a:gd name="connsiteX143" fmla="*/ 8427244 w 8971757"/>
                  <a:gd name="connsiteY143" fmla="*/ 1983581 h 4575969"/>
                  <a:gd name="connsiteX144" fmla="*/ 8477250 w 8971757"/>
                  <a:gd name="connsiteY144" fmla="*/ 1964531 h 4575969"/>
                  <a:gd name="connsiteX145" fmla="*/ 8515350 w 8971757"/>
                  <a:gd name="connsiteY145" fmla="*/ 1935956 h 4575969"/>
                  <a:gd name="connsiteX146" fmla="*/ 8548688 w 8971757"/>
                  <a:gd name="connsiteY146" fmla="*/ 1933575 h 4575969"/>
                  <a:gd name="connsiteX147" fmla="*/ 8584406 w 8971757"/>
                  <a:gd name="connsiteY147" fmla="*/ 1964531 h 4575969"/>
                  <a:gd name="connsiteX148" fmla="*/ 8643938 w 8971757"/>
                  <a:gd name="connsiteY148" fmla="*/ 1964531 h 4575969"/>
                  <a:gd name="connsiteX149" fmla="*/ 8682037 w 8971757"/>
                  <a:gd name="connsiteY149" fmla="*/ 1945481 h 4575969"/>
                  <a:gd name="connsiteX150" fmla="*/ 8765381 w 8971757"/>
                  <a:gd name="connsiteY150" fmla="*/ 1947863 h 4575969"/>
                  <a:gd name="connsiteX151" fmla="*/ 8796338 w 8971757"/>
                  <a:gd name="connsiteY151" fmla="*/ 1902619 h 4575969"/>
                  <a:gd name="connsiteX152" fmla="*/ 8801100 w 8971757"/>
                  <a:gd name="connsiteY152" fmla="*/ 1840706 h 4575969"/>
                  <a:gd name="connsiteX153" fmla="*/ 8751093 w 8971757"/>
                  <a:gd name="connsiteY153" fmla="*/ 1800225 h 4575969"/>
                  <a:gd name="connsiteX154" fmla="*/ 8734425 w 8971757"/>
                  <a:gd name="connsiteY154" fmla="*/ 1745456 h 4575969"/>
                  <a:gd name="connsiteX155" fmla="*/ 8643938 w 8971757"/>
                  <a:gd name="connsiteY155" fmla="*/ 1683544 h 4575969"/>
                  <a:gd name="connsiteX156" fmla="*/ 8603456 w 8971757"/>
                  <a:gd name="connsiteY156" fmla="*/ 1662112 h 4575969"/>
                  <a:gd name="connsiteX157" fmla="*/ 8565356 w 8971757"/>
                  <a:gd name="connsiteY157" fmla="*/ 1616869 h 4575969"/>
                  <a:gd name="connsiteX158" fmla="*/ 8534400 w 8971757"/>
                  <a:gd name="connsiteY158" fmla="*/ 1614487 h 4575969"/>
                  <a:gd name="connsiteX159" fmla="*/ 8517731 w 8971757"/>
                  <a:gd name="connsiteY159" fmla="*/ 1562100 h 4575969"/>
                  <a:gd name="connsiteX160" fmla="*/ 8477250 w 8971757"/>
                  <a:gd name="connsiteY160" fmla="*/ 1545431 h 4575969"/>
                  <a:gd name="connsiteX161" fmla="*/ 8477250 w 8971757"/>
                  <a:gd name="connsiteY161" fmla="*/ 1545431 h 4575969"/>
                  <a:gd name="connsiteX162" fmla="*/ 8436769 w 8971757"/>
                  <a:gd name="connsiteY162" fmla="*/ 1550194 h 4575969"/>
                  <a:gd name="connsiteX163" fmla="*/ 8351043 w 8971757"/>
                  <a:gd name="connsiteY163" fmla="*/ 1476375 h 4575969"/>
                  <a:gd name="connsiteX164" fmla="*/ 8170069 w 8971757"/>
                  <a:gd name="connsiteY164" fmla="*/ 1476374 h 4575969"/>
                  <a:gd name="connsiteX165" fmla="*/ 8117681 w 8971757"/>
                  <a:gd name="connsiteY165" fmla="*/ 1514475 h 4575969"/>
                  <a:gd name="connsiteX166" fmla="*/ 8067675 w 8971757"/>
                  <a:gd name="connsiteY166" fmla="*/ 1593056 h 4575969"/>
                  <a:gd name="connsiteX167" fmla="*/ 8084344 w 8971757"/>
                  <a:gd name="connsiteY167" fmla="*/ 1614487 h 4575969"/>
                  <a:gd name="connsiteX168" fmla="*/ 8039100 w 8971757"/>
                  <a:gd name="connsiteY168" fmla="*/ 1664493 h 4575969"/>
                  <a:gd name="connsiteX169" fmla="*/ 7889081 w 8971757"/>
                  <a:gd name="connsiteY169" fmla="*/ 1588293 h 4575969"/>
                  <a:gd name="connsiteX170" fmla="*/ 7798594 w 8971757"/>
                  <a:gd name="connsiteY170" fmla="*/ 1624012 h 4575969"/>
                  <a:gd name="connsiteX171" fmla="*/ 7724775 w 8971757"/>
                  <a:gd name="connsiteY171" fmla="*/ 1621631 h 4575969"/>
                  <a:gd name="connsiteX172" fmla="*/ 7667625 w 8971757"/>
                  <a:gd name="connsiteY172" fmla="*/ 1716881 h 4575969"/>
                  <a:gd name="connsiteX173" fmla="*/ 7529513 w 8971757"/>
                  <a:gd name="connsiteY17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6719888 w 8971757"/>
                  <a:gd name="connsiteY20" fmla="*/ 1109662 h 4575969"/>
                  <a:gd name="connsiteX21" fmla="*/ 8412956 w 8971757"/>
                  <a:gd name="connsiteY21" fmla="*/ 23812 h 4575969"/>
                  <a:gd name="connsiteX22" fmla="*/ 8949531 w 8971757"/>
                  <a:gd name="connsiteY22" fmla="*/ 0 h 4575969"/>
                  <a:gd name="connsiteX23" fmla="*/ 8971757 w 8971757"/>
                  <a:gd name="connsiteY23" fmla="*/ 4575969 h 4575969"/>
                  <a:gd name="connsiteX24" fmla="*/ 2381 w 8971757"/>
                  <a:gd name="connsiteY24" fmla="*/ 4547392 h 4575969"/>
                  <a:gd name="connsiteX25" fmla="*/ 0 w 8971757"/>
                  <a:gd name="connsiteY25" fmla="*/ 845344 h 4575969"/>
                  <a:gd name="connsiteX26" fmla="*/ 76200 w 8971757"/>
                  <a:gd name="connsiteY26" fmla="*/ 828675 h 4575969"/>
                  <a:gd name="connsiteX27" fmla="*/ 119063 w 8971757"/>
                  <a:gd name="connsiteY27" fmla="*/ 857250 h 4575969"/>
                  <a:gd name="connsiteX28" fmla="*/ 215900 w 8971757"/>
                  <a:gd name="connsiteY28" fmla="*/ 848519 h 4575969"/>
                  <a:gd name="connsiteX29" fmla="*/ 261938 w 8971757"/>
                  <a:gd name="connsiteY29" fmla="*/ 876299 h 4575969"/>
                  <a:gd name="connsiteX30" fmla="*/ 228600 w 8971757"/>
                  <a:gd name="connsiteY30" fmla="*/ 904875 h 4575969"/>
                  <a:gd name="connsiteX31" fmla="*/ 233363 w 8971757"/>
                  <a:gd name="connsiteY31" fmla="*/ 947737 h 4575969"/>
                  <a:gd name="connsiteX32" fmla="*/ 200025 w 8971757"/>
                  <a:gd name="connsiteY32" fmla="*/ 952500 h 4575969"/>
                  <a:gd name="connsiteX33" fmla="*/ 204788 w 8971757"/>
                  <a:gd name="connsiteY33" fmla="*/ 976312 h 4575969"/>
                  <a:gd name="connsiteX34" fmla="*/ 261937 w 8971757"/>
                  <a:gd name="connsiteY34" fmla="*/ 1050131 h 4575969"/>
                  <a:gd name="connsiteX35" fmla="*/ 223838 w 8971757"/>
                  <a:gd name="connsiteY35" fmla="*/ 1097756 h 4575969"/>
                  <a:gd name="connsiteX36" fmla="*/ 278606 w 8971757"/>
                  <a:gd name="connsiteY36" fmla="*/ 1133475 h 4575969"/>
                  <a:gd name="connsiteX37" fmla="*/ 369094 w 8971757"/>
                  <a:gd name="connsiteY37" fmla="*/ 1221581 h 4575969"/>
                  <a:gd name="connsiteX38" fmla="*/ 371475 w 8971757"/>
                  <a:gd name="connsiteY38" fmla="*/ 1281112 h 4575969"/>
                  <a:gd name="connsiteX39" fmla="*/ 507206 w 8971757"/>
                  <a:gd name="connsiteY39" fmla="*/ 1414463 h 4575969"/>
                  <a:gd name="connsiteX40" fmla="*/ 561975 w 8971757"/>
                  <a:gd name="connsiteY40" fmla="*/ 1390650 h 4575969"/>
                  <a:gd name="connsiteX41" fmla="*/ 600075 w 8971757"/>
                  <a:gd name="connsiteY41" fmla="*/ 1416843 h 4575969"/>
                  <a:gd name="connsiteX42" fmla="*/ 614363 w 8971757"/>
                  <a:gd name="connsiteY42" fmla="*/ 1466849 h 4575969"/>
                  <a:gd name="connsiteX43" fmla="*/ 657225 w 8971757"/>
                  <a:gd name="connsiteY43" fmla="*/ 1502569 h 4575969"/>
                  <a:gd name="connsiteX44" fmla="*/ 697706 w 8971757"/>
                  <a:gd name="connsiteY44" fmla="*/ 1490662 h 4575969"/>
                  <a:gd name="connsiteX45" fmla="*/ 716756 w 8971757"/>
                  <a:gd name="connsiteY45" fmla="*/ 1547812 h 4575969"/>
                  <a:gd name="connsiteX46" fmla="*/ 764381 w 8971757"/>
                  <a:gd name="connsiteY46" fmla="*/ 1590675 h 4575969"/>
                  <a:gd name="connsiteX47" fmla="*/ 788194 w 8971757"/>
                  <a:gd name="connsiteY47" fmla="*/ 1693069 h 4575969"/>
                  <a:gd name="connsiteX48" fmla="*/ 785813 w 8971757"/>
                  <a:gd name="connsiteY48" fmla="*/ 1740694 h 4575969"/>
                  <a:gd name="connsiteX49" fmla="*/ 821531 w 8971757"/>
                  <a:gd name="connsiteY49" fmla="*/ 1840706 h 4575969"/>
                  <a:gd name="connsiteX50" fmla="*/ 866775 w 8971757"/>
                  <a:gd name="connsiteY50" fmla="*/ 1897856 h 4575969"/>
                  <a:gd name="connsiteX51" fmla="*/ 883443 w 8971757"/>
                  <a:gd name="connsiteY51" fmla="*/ 2055018 h 4575969"/>
                  <a:gd name="connsiteX52" fmla="*/ 850106 w 8971757"/>
                  <a:gd name="connsiteY52" fmla="*/ 2116931 h 4575969"/>
                  <a:gd name="connsiteX53" fmla="*/ 819150 w 8971757"/>
                  <a:gd name="connsiteY53" fmla="*/ 2193131 h 4575969"/>
                  <a:gd name="connsiteX54" fmla="*/ 833438 w 8971757"/>
                  <a:gd name="connsiteY54" fmla="*/ 2250281 h 4575969"/>
                  <a:gd name="connsiteX55" fmla="*/ 735806 w 8971757"/>
                  <a:gd name="connsiteY55" fmla="*/ 2357438 h 4575969"/>
                  <a:gd name="connsiteX56" fmla="*/ 692944 w 8971757"/>
                  <a:gd name="connsiteY56" fmla="*/ 2471737 h 4575969"/>
                  <a:gd name="connsiteX57" fmla="*/ 726281 w 8971757"/>
                  <a:gd name="connsiteY57" fmla="*/ 2512219 h 4575969"/>
                  <a:gd name="connsiteX58" fmla="*/ 709613 w 8971757"/>
                  <a:gd name="connsiteY58" fmla="*/ 2540794 h 4575969"/>
                  <a:gd name="connsiteX59" fmla="*/ 740569 w 8971757"/>
                  <a:gd name="connsiteY59" fmla="*/ 2597944 h 4575969"/>
                  <a:gd name="connsiteX60" fmla="*/ 769144 w 8971757"/>
                  <a:gd name="connsiteY60" fmla="*/ 2597944 h 4575969"/>
                  <a:gd name="connsiteX61" fmla="*/ 931069 w 8971757"/>
                  <a:gd name="connsiteY61" fmla="*/ 2700337 h 4575969"/>
                  <a:gd name="connsiteX62" fmla="*/ 1035844 w 8971757"/>
                  <a:gd name="connsiteY62" fmla="*/ 2697956 h 4575969"/>
                  <a:gd name="connsiteX63" fmla="*/ 1114425 w 8971757"/>
                  <a:gd name="connsiteY63" fmla="*/ 2752725 h 4575969"/>
                  <a:gd name="connsiteX64" fmla="*/ 1245393 w 8971757"/>
                  <a:gd name="connsiteY64" fmla="*/ 2755106 h 4575969"/>
                  <a:gd name="connsiteX65" fmla="*/ 1435893 w 8971757"/>
                  <a:gd name="connsiteY65" fmla="*/ 2824162 h 4575969"/>
                  <a:gd name="connsiteX66" fmla="*/ 1638300 w 8971757"/>
                  <a:gd name="connsiteY66" fmla="*/ 2974181 h 4575969"/>
                  <a:gd name="connsiteX67" fmla="*/ 1671637 w 8971757"/>
                  <a:gd name="connsiteY67" fmla="*/ 3040856 h 4575969"/>
                  <a:gd name="connsiteX68" fmla="*/ 1838325 w 8971757"/>
                  <a:gd name="connsiteY68" fmla="*/ 3167062 h 4575969"/>
                  <a:gd name="connsiteX69" fmla="*/ 1909763 w 8971757"/>
                  <a:gd name="connsiteY69" fmla="*/ 3162300 h 4575969"/>
                  <a:gd name="connsiteX70" fmla="*/ 1945482 w 8971757"/>
                  <a:gd name="connsiteY70" fmla="*/ 3186112 h 4575969"/>
                  <a:gd name="connsiteX71" fmla="*/ 1916906 w 8971757"/>
                  <a:gd name="connsiteY71" fmla="*/ 3226594 h 4575969"/>
                  <a:gd name="connsiteX72" fmla="*/ 1924050 w 8971757"/>
                  <a:gd name="connsiteY72" fmla="*/ 3278981 h 4575969"/>
                  <a:gd name="connsiteX73" fmla="*/ 1976438 w 8971757"/>
                  <a:gd name="connsiteY73" fmla="*/ 3305175 h 4575969"/>
                  <a:gd name="connsiteX74" fmla="*/ 2038350 w 8971757"/>
                  <a:gd name="connsiteY74" fmla="*/ 3529013 h 4575969"/>
                  <a:gd name="connsiteX75" fmla="*/ 2028825 w 8971757"/>
                  <a:gd name="connsiteY75" fmla="*/ 3593306 h 4575969"/>
                  <a:gd name="connsiteX76" fmla="*/ 2164556 w 8971757"/>
                  <a:gd name="connsiteY76" fmla="*/ 3759994 h 4575969"/>
                  <a:gd name="connsiteX77" fmla="*/ 2183606 w 8971757"/>
                  <a:gd name="connsiteY77" fmla="*/ 3810000 h 4575969"/>
                  <a:gd name="connsiteX78" fmla="*/ 2157413 w 8971757"/>
                  <a:gd name="connsiteY78" fmla="*/ 3829050 h 4575969"/>
                  <a:gd name="connsiteX79" fmla="*/ 2259806 w 8971757"/>
                  <a:gd name="connsiteY79" fmla="*/ 3838575 h 4575969"/>
                  <a:gd name="connsiteX80" fmla="*/ 2371725 w 8971757"/>
                  <a:gd name="connsiteY80" fmla="*/ 3826669 h 4575969"/>
                  <a:gd name="connsiteX81" fmla="*/ 2650331 w 8971757"/>
                  <a:gd name="connsiteY81" fmla="*/ 3910012 h 4575969"/>
                  <a:gd name="connsiteX82" fmla="*/ 3057525 w 8971757"/>
                  <a:gd name="connsiteY82" fmla="*/ 3990975 h 4575969"/>
                  <a:gd name="connsiteX83" fmla="*/ 3255169 w 8971757"/>
                  <a:gd name="connsiteY83" fmla="*/ 3960018 h 4575969"/>
                  <a:gd name="connsiteX84" fmla="*/ 3300413 w 8971757"/>
                  <a:gd name="connsiteY84" fmla="*/ 3971924 h 4575969"/>
                  <a:gd name="connsiteX85" fmla="*/ 3355181 w 8971757"/>
                  <a:gd name="connsiteY85" fmla="*/ 3948113 h 4575969"/>
                  <a:gd name="connsiteX86" fmla="*/ 3748087 w 8971757"/>
                  <a:gd name="connsiteY86" fmla="*/ 4038600 h 4575969"/>
                  <a:gd name="connsiteX87" fmla="*/ 3831432 w 8971757"/>
                  <a:gd name="connsiteY87" fmla="*/ 4136231 h 4575969"/>
                  <a:gd name="connsiteX88" fmla="*/ 3950494 w 8971757"/>
                  <a:gd name="connsiteY88" fmla="*/ 4207669 h 4575969"/>
                  <a:gd name="connsiteX89" fmla="*/ 4010025 w 8971757"/>
                  <a:gd name="connsiteY89" fmla="*/ 4191000 h 4575969"/>
                  <a:gd name="connsiteX90" fmla="*/ 4360068 w 8971757"/>
                  <a:gd name="connsiteY90" fmla="*/ 4364831 h 4575969"/>
                  <a:gd name="connsiteX91" fmla="*/ 4586288 w 8971757"/>
                  <a:gd name="connsiteY91" fmla="*/ 4336256 h 4575969"/>
                  <a:gd name="connsiteX92" fmla="*/ 4595813 w 8971757"/>
                  <a:gd name="connsiteY92" fmla="*/ 4414837 h 4575969"/>
                  <a:gd name="connsiteX93" fmla="*/ 4681538 w 8971757"/>
                  <a:gd name="connsiteY93" fmla="*/ 4410074 h 4575969"/>
                  <a:gd name="connsiteX94" fmla="*/ 4760119 w 8971757"/>
                  <a:gd name="connsiteY94" fmla="*/ 4441031 h 4575969"/>
                  <a:gd name="connsiteX95" fmla="*/ 4802981 w 8971757"/>
                  <a:gd name="connsiteY95" fmla="*/ 4381500 h 4575969"/>
                  <a:gd name="connsiteX96" fmla="*/ 5474494 w 8971757"/>
                  <a:gd name="connsiteY96" fmla="*/ 4062412 h 4575969"/>
                  <a:gd name="connsiteX97" fmla="*/ 5562600 w 8971757"/>
                  <a:gd name="connsiteY97" fmla="*/ 4090988 h 4575969"/>
                  <a:gd name="connsiteX98" fmla="*/ 5693569 w 8971757"/>
                  <a:gd name="connsiteY98" fmla="*/ 4062412 h 4575969"/>
                  <a:gd name="connsiteX99" fmla="*/ 5872162 w 8971757"/>
                  <a:gd name="connsiteY99" fmla="*/ 4079081 h 4575969"/>
                  <a:gd name="connsiteX100" fmla="*/ 5929313 w 8971757"/>
                  <a:gd name="connsiteY100" fmla="*/ 4052888 h 4575969"/>
                  <a:gd name="connsiteX101" fmla="*/ 6062662 w 8971757"/>
                  <a:gd name="connsiteY101" fmla="*/ 4050506 h 4575969"/>
                  <a:gd name="connsiteX102" fmla="*/ 6196012 w 8971757"/>
                  <a:gd name="connsiteY102" fmla="*/ 3952875 h 4575969"/>
                  <a:gd name="connsiteX103" fmla="*/ 6262687 w 8971757"/>
                  <a:gd name="connsiteY103" fmla="*/ 3945731 h 4575969"/>
                  <a:gd name="connsiteX104" fmla="*/ 6360319 w 8971757"/>
                  <a:gd name="connsiteY104" fmla="*/ 3871912 h 4575969"/>
                  <a:gd name="connsiteX105" fmla="*/ 6434138 w 8971757"/>
                  <a:gd name="connsiteY105" fmla="*/ 3802856 h 4575969"/>
                  <a:gd name="connsiteX106" fmla="*/ 6443663 w 8971757"/>
                  <a:gd name="connsiteY106" fmla="*/ 3740944 h 4575969"/>
                  <a:gd name="connsiteX107" fmla="*/ 6477000 w 8971757"/>
                  <a:gd name="connsiteY107" fmla="*/ 3671887 h 4575969"/>
                  <a:gd name="connsiteX108" fmla="*/ 6629400 w 8971757"/>
                  <a:gd name="connsiteY108" fmla="*/ 3564731 h 4575969"/>
                  <a:gd name="connsiteX109" fmla="*/ 6662738 w 8971757"/>
                  <a:gd name="connsiteY109" fmla="*/ 3569494 h 4575969"/>
                  <a:gd name="connsiteX110" fmla="*/ 6715125 w 8971757"/>
                  <a:gd name="connsiteY110" fmla="*/ 3490912 h 4575969"/>
                  <a:gd name="connsiteX111" fmla="*/ 6762750 w 8971757"/>
                  <a:gd name="connsiteY111" fmla="*/ 3452812 h 4575969"/>
                  <a:gd name="connsiteX112" fmla="*/ 6748463 w 8971757"/>
                  <a:gd name="connsiteY112" fmla="*/ 3383756 h 4575969"/>
                  <a:gd name="connsiteX113" fmla="*/ 6698456 w 8971757"/>
                  <a:gd name="connsiteY113" fmla="*/ 3352799 h 4575969"/>
                  <a:gd name="connsiteX114" fmla="*/ 6638925 w 8971757"/>
                  <a:gd name="connsiteY114" fmla="*/ 3298031 h 4575969"/>
                  <a:gd name="connsiteX115" fmla="*/ 6619875 w 8971757"/>
                  <a:gd name="connsiteY115" fmla="*/ 3240881 h 4575969"/>
                  <a:gd name="connsiteX116" fmla="*/ 6584156 w 8971757"/>
                  <a:gd name="connsiteY116" fmla="*/ 3207544 h 4575969"/>
                  <a:gd name="connsiteX117" fmla="*/ 6610350 w 8971757"/>
                  <a:gd name="connsiteY117" fmla="*/ 3155156 h 4575969"/>
                  <a:gd name="connsiteX118" fmla="*/ 6650831 w 8971757"/>
                  <a:gd name="connsiteY118" fmla="*/ 2976562 h 4575969"/>
                  <a:gd name="connsiteX119" fmla="*/ 6691313 w 8971757"/>
                  <a:gd name="connsiteY119" fmla="*/ 2909887 h 4575969"/>
                  <a:gd name="connsiteX120" fmla="*/ 6836569 w 8971757"/>
                  <a:gd name="connsiteY120" fmla="*/ 2893218 h 4575969"/>
                  <a:gd name="connsiteX121" fmla="*/ 6905625 w 8971757"/>
                  <a:gd name="connsiteY121" fmla="*/ 2950369 h 4575969"/>
                  <a:gd name="connsiteX122" fmla="*/ 6981825 w 8971757"/>
                  <a:gd name="connsiteY122" fmla="*/ 2974181 h 4575969"/>
                  <a:gd name="connsiteX123" fmla="*/ 7186612 w 8971757"/>
                  <a:gd name="connsiteY123" fmla="*/ 2978944 h 4575969"/>
                  <a:gd name="connsiteX124" fmla="*/ 7362825 w 8971757"/>
                  <a:gd name="connsiteY124" fmla="*/ 2840831 h 4575969"/>
                  <a:gd name="connsiteX125" fmla="*/ 7419975 w 8971757"/>
                  <a:gd name="connsiteY125" fmla="*/ 2750343 h 4575969"/>
                  <a:gd name="connsiteX126" fmla="*/ 7446169 w 8971757"/>
                  <a:gd name="connsiteY126" fmla="*/ 2667000 h 4575969"/>
                  <a:gd name="connsiteX127" fmla="*/ 7577137 w 8971757"/>
                  <a:gd name="connsiteY127" fmla="*/ 2667000 h 4575969"/>
                  <a:gd name="connsiteX128" fmla="*/ 7750969 w 8971757"/>
                  <a:gd name="connsiteY128" fmla="*/ 2609849 h 4575969"/>
                  <a:gd name="connsiteX129" fmla="*/ 7810500 w 8971757"/>
                  <a:gd name="connsiteY129" fmla="*/ 2497931 h 4575969"/>
                  <a:gd name="connsiteX130" fmla="*/ 7874794 w 8971757"/>
                  <a:gd name="connsiteY130" fmla="*/ 2462212 h 4575969"/>
                  <a:gd name="connsiteX131" fmla="*/ 7853363 w 8971757"/>
                  <a:gd name="connsiteY131" fmla="*/ 2416969 h 4575969"/>
                  <a:gd name="connsiteX132" fmla="*/ 7931944 w 8971757"/>
                  <a:gd name="connsiteY132" fmla="*/ 2247899 h 4575969"/>
                  <a:gd name="connsiteX133" fmla="*/ 7986713 w 8971757"/>
                  <a:gd name="connsiteY133" fmla="*/ 2188369 h 4575969"/>
                  <a:gd name="connsiteX134" fmla="*/ 8024813 w 8971757"/>
                  <a:gd name="connsiteY134" fmla="*/ 2183606 h 4575969"/>
                  <a:gd name="connsiteX135" fmla="*/ 8070056 w 8971757"/>
                  <a:gd name="connsiteY135" fmla="*/ 2188369 h 4575969"/>
                  <a:gd name="connsiteX136" fmla="*/ 8134350 w 8971757"/>
                  <a:gd name="connsiteY136" fmla="*/ 2155031 h 4575969"/>
                  <a:gd name="connsiteX137" fmla="*/ 8143875 w 8971757"/>
                  <a:gd name="connsiteY137" fmla="*/ 2090737 h 4575969"/>
                  <a:gd name="connsiteX138" fmla="*/ 8184355 w 8971757"/>
                  <a:gd name="connsiteY138" fmla="*/ 2055019 h 4575969"/>
                  <a:gd name="connsiteX139" fmla="*/ 8243888 w 8971757"/>
                  <a:gd name="connsiteY139" fmla="*/ 2095499 h 4575969"/>
                  <a:gd name="connsiteX140" fmla="*/ 8270082 w 8971757"/>
                  <a:gd name="connsiteY140" fmla="*/ 2045493 h 4575969"/>
                  <a:gd name="connsiteX141" fmla="*/ 8365331 w 8971757"/>
                  <a:gd name="connsiteY141" fmla="*/ 1976437 h 4575969"/>
                  <a:gd name="connsiteX142" fmla="*/ 8427244 w 8971757"/>
                  <a:gd name="connsiteY142" fmla="*/ 1983581 h 4575969"/>
                  <a:gd name="connsiteX143" fmla="*/ 8477250 w 8971757"/>
                  <a:gd name="connsiteY143" fmla="*/ 1964531 h 4575969"/>
                  <a:gd name="connsiteX144" fmla="*/ 8515350 w 8971757"/>
                  <a:gd name="connsiteY144" fmla="*/ 1935956 h 4575969"/>
                  <a:gd name="connsiteX145" fmla="*/ 8548688 w 8971757"/>
                  <a:gd name="connsiteY145" fmla="*/ 1933575 h 4575969"/>
                  <a:gd name="connsiteX146" fmla="*/ 8584406 w 8971757"/>
                  <a:gd name="connsiteY146" fmla="*/ 1964531 h 4575969"/>
                  <a:gd name="connsiteX147" fmla="*/ 8643938 w 8971757"/>
                  <a:gd name="connsiteY147" fmla="*/ 1964531 h 4575969"/>
                  <a:gd name="connsiteX148" fmla="*/ 8682037 w 8971757"/>
                  <a:gd name="connsiteY148" fmla="*/ 1945481 h 4575969"/>
                  <a:gd name="connsiteX149" fmla="*/ 8765381 w 8971757"/>
                  <a:gd name="connsiteY149" fmla="*/ 1947863 h 4575969"/>
                  <a:gd name="connsiteX150" fmla="*/ 8796338 w 8971757"/>
                  <a:gd name="connsiteY150" fmla="*/ 1902619 h 4575969"/>
                  <a:gd name="connsiteX151" fmla="*/ 8801100 w 8971757"/>
                  <a:gd name="connsiteY151" fmla="*/ 1840706 h 4575969"/>
                  <a:gd name="connsiteX152" fmla="*/ 8751093 w 8971757"/>
                  <a:gd name="connsiteY152" fmla="*/ 1800225 h 4575969"/>
                  <a:gd name="connsiteX153" fmla="*/ 8734425 w 8971757"/>
                  <a:gd name="connsiteY153" fmla="*/ 1745456 h 4575969"/>
                  <a:gd name="connsiteX154" fmla="*/ 8643938 w 8971757"/>
                  <a:gd name="connsiteY154" fmla="*/ 1683544 h 4575969"/>
                  <a:gd name="connsiteX155" fmla="*/ 8603456 w 8971757"/>
                  <a:gd name="connsiteY155" fmla="*/ 1662112 h 4575969"/>
                  <a:gd name="connsiteX156" fmla="*/ 8565356 w 8971757"/>
                  <a:gd name="connsiteY156" fmla="*/ 1616869 h 4575969"/>
                  <a:gd name="connsiteX157" fmla="*/ 8534400 w 8971757"/>
                  <a:gd name="connsiteY157" fmla="*/ 1614487 h 4575969"/>
                  <a:gd name="connsiteX158" fmla="*/ 8517731 w 8971757"/>
                  <a:gd name="connsiteY158" fmla="*/ 1562100 h 4575969"/>
                  <a:gd name="connsiteX159" fmla="*/ 8477250 w 8971757"/>
                  <a:gd name="connsiteY159" fmla="*/ 1545431 h 4575969"/>
                  <a:gd name="connsiteX160" fmla="*/ 8477250 w 8971757"/>
                  <a:gd name="connsiteY160" fmla="*/ 1545431 h 4575969"/>
                  <a:gd name="connsiteX161" fmla="*/ 8436769 w 8971757"/>
                  <a:gd name="connsiteY161" fmla="*/ 1550194 h 4575969"/>
                  <a:gd name="connsiteX162" fmla="*/ 8351043 w 8971757"/>
                  <a:gd name="connsiteY162" fmla="*/ 1476375 h 4575969"/>
                  <a:gd name="connsiteX163" fmla="*/ 8170069 w 8971757"/>
                  <a:gd name="connsiteY163" fmla="*/ 1476374 h 4575969"/>
                  <a:gd name="connsiteX164" fmla="*/ 8117681 w 8971757"/>
                  <a:gd name="connsiteY164" fmla="*/ 1514475 h 4575969"/>
                  <a:gd name="connsiteX165" fmla="*/ 8067675 w 8971757"/>
                  <a:gd name="connsiteY165" fmla="*/ 1593056 h 4575969"/>
                  <a:gd name="connsiteX166" fmla="*/ 8084344 w 8971757"/>
                  <a:gd name="connsiteY166" fmla="*/ 1614487 h 4575969"/>
                  <a:gd name="connsiteX167" fmla="*/ 8039100 w 8971757"/>
                  <a:gd name="connsiteY167" fmla="*/ 1664493 h 4575969"/>
                  <a:gd name="connsiteX168" fmla="*/ 7889081 w 8971757"/>
                  <a:gd name="connsiteY168" fmla="*/ 1588293 h 4575969"/>
                  <a:gd name="connsiteX169" fmla="*/ 7798594 w 8971757"/>
                  <a:gd name="connsiteY169" fmla="*/ 1624012 h 4575969"/>
                  <a:gd name="connsiteX170" fmla="*/ 7724775 w 8971757"/>
                  <a:gd name="connsiteY170" fmla="*/ 1621631 h 4575969"/>
                  <a:gd name="connsiteX171" fmla="*/ 7667625 w 8971757"/>
                  <a:gd name="connsiteY171" fmla="*/ 1716881 h 4575969"/>
                  <a:gd name="connsiteX172" fmla="*/ 7529513 w 8971757"/>
                  <a:gd name="connsiteY17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6753225 w 8971757"/>
                  <a:gd name="connsiteY19" fmla="*/ 1078706 h 4575969"/>
                  <a:gd name="connsiteX20" fmla="*/ 8412956 w 8971757"/>
                  <a:gd name="connsiteY20" fmla="*/ 23812 h 4575969"/>
                  <a:gd name="connsiteX21" fmla="*/ 8949531 w 8971757"/>
                  <a:gd name="connsiteY21" fmla="*/ 0 h 4575969"/>
                  <a:gd name="connsiteX22" fmla="*/ 8971757 w 8971757"/>
                  <a:gd name="connsiteY22" fmla="*/ 4575969 h 4575969"/>
                  <a:gd name="connsiteX23" fmla="*/ 2381 w 8971757"/>
                  <a:gd name="connsiteY23" fmla="*/ 4547392 h 4575969"/>
                  <a:gd name="connsiteX24" fmla="*/ 0 w 8971757"/>
                  <a:gd name="connsiteY24" fmla="*/ 845344 h 4575969"/>
                  <a:gd name="connsiteX25" fmla="*/ 76200 w 8971757"/>
                  <a:gd name="connsiteY25" fmla="*/ 828675 h 4575969"/>
                  <a:gd name="connsiteX26" fmla="*/ 119063 w 8971757"/>
                  <a:gd name="connsiteY26" fmla="*/ 857250 h 4575969"/>
                  <a:gd name="connsiteX27" fmla="*/ 215900 w 8971757"/>
                  <a:gd name="connsiteY27" fmla="*/ 848519 h 4575969"/>
                  <a:gd name="connsiteX28" fmla="*/ 261938 w 8971757"/>
                  <a:gd name="connsiteY28" fmla="*/ 876299 h 4575969"/>
                  <a:gd name="connsiteX29" fmla="*/ 228600 w 8971757"/>
                  <a:gd name="connsiteY29" fmla="*/ 904875 h 4575969"/>
                  <a:gd name="connsiteX30" fmla="*/ 233363 w 8971757"/>
                  <a:gd name="connsiteY30" fmla="*/ 947737 h 4575969"/>
                  <a:gd name="connsiteX31" fmla="*/ 200025 w 8971757"/>
                  <a:gd name="connsiteY31" fmla="*/ 952500 h 4575969"/>
                  <a:gd name="connsiteX32" fmla="*/ 204788 w 8971757"/>
                  <a:gd name="connsiteY32" fmla="*/ 976312 h 4575969"/>
                  <a:gd name="connsiteX33" fmla="*/ 261937 w 8971757"/>
                  <a:gd name="connsiteY33" fmla="*/ 1050131 h 4575969"/>
                  <a:gd name="connsiteX34" fmla="*/ 223838 w 8971757"/>
                  <a:gd name="connsiteY34" fmla="*/ 1097756 h 4575969"/>
                  <a:gd name="connsiteX35" fmla="*/ 278606 w 8971757"/>
                  <a:gd name="connsiteY35" fmla="*/ 1133475 h 4575969"/>
                  <a:gd name="connsiteX36" fmla="*/ 369094 w 8971757"/>
                  <a:gd name="connsiteY36" fmla="*/ 1221581 h 4575969"/>
                  <a:gd name="connsiteX37" fmla="*/ 371475 w 8971757"/>
                  <a:gd name="connsiteY37" fmla="*/ 1281112 h 4575969"/>
                  <a:gd name="connsiteX38" fmla="*/ 507206 w 8971757"/>
                  <a:gd name="connsiteY38" fmla="*/ 1414463 h 4575969"/>
                  <a:gd name="connsiteX39" fmla="*/ 561975 w 8971757"/>
                  <a:gd name="connsiteY39" fmla="*/ 1390650 h 4575969"/>
                  <a:gd name="connsiteX40" fmla="*/ 600075 w 8971757"/>
                  <a:gd name="connsiteY40" fmla="*/ 1416843 h 4575969"/>
                  <a:gd name="connsiteX41" fmla="*/ 614363 w 8971757"/>
                  <a:gd name="connsiteY41" fmla="*/ 1466849 h 4575969"/>
                  <a:gd name="connsiteX42" fmla="*/ 657225 w 8971757"/>
                  <a:gd name="connsiteY42" fmla="*/ 1502569 h 4575969"/>
                  <a:gd name="connsiteX43" fmla="*/ 697706 w 8971757"/>
                  <a:gd name="connsiteY43" fmla="*/ 1490662 h 4575969"/>
                  <a:gd name="connsiteX44" fmla="*/ 716756 w 8971757"/>
                  <a:gd name="connsiteY44" fmla="*/ 1547812 h 4575969"/>
                  <a:gd name="connsiteX45" fmla="*/ 764381 w 8971757"/>
                  <a:gd name="connsiteY45" fmla="*/ 1590675 h 4575969"/>
                  <a:gd name="connsiteX46" fmla="*/ 788194 w 8971757"/>
                  <a:gd name="connsiteY46" fmla="*/ 1693069 h 4575969"/>
                  <a:gd name="connsiteX47" fmla="*/ 785813 w 8971757"/>
                  <a:gd name="connsiteY47" fmla="*/ 1740694 h 4575969"/>
                  <a:gd name="connsiteX48" fmla="*/ 821531 w 8971757"/>
                  <a:gd name="connsiteY48" fmla="*/ 1840706 h 4575969"/>
                  <a:gd name="connsiteX49" fmla="*/ 866775 w 8971757"/>
                  <a:gd name="connsiteY49" fmla="*/ 1897856 h 4575969"/>
                  <a:gd name="connsiteX50" fmla="*/ 883443 w 8971757"/>
                  <a:gd name="connsiteY50" fmla="*/ 2055018 h 4575969"/>
                  <a:gd name="connsiteX51" fmla="*/ 850106 w 8971757"/>
                  <a:gd name="connsiteY51" fmla="*/ 2116931 h 4575969"/>
                  <a:gd name="connsiteX52" fmla="*/ 819150 w 8971757"/>
                  <a:gd name="connsiteY52" fmla="*/ 2193131 h 4575969"/>
                  <a:gd name="connsiteX53" fmla="*/ 833438 w 8971757"/>
                  <a:gd name="connsiteY53" fmla="*/ 2250281 h 4575969"/>
                  <a:gd name="connsiteX54" fmla="*/ 735806 w 8971757"/>
                  <a:gd name="connsiteY54" fmla="*/ 2357438 h 4575969"/>
                  <a:gd name="connsiteX55" fmla="*/ 692944 w 8971757"/>
                  <a:gd name="connsiteY55" fmla="*/ 2471737 h 4575969"/>
                  <a:gd name="connsiteX56" fmla="*/ 726281 w 8971757"/>
                  <a:gd name="connsiteY56" fmla="*/ 2512219 h 4575969"/>
                  <a:gd name="connsiteX57" fmla="*/ 709613 w 8971757"/>
                  <a:gd name="connsiteY57" fmla="*/ 2540794 h 4575969"/>
                  <a:gd name="connsiteX58" fmla="*/ 740569 w 8971757"/>
                  <a:gd name="connsiteY58" fmla="*/ 2597944 h 4575969"/>
                  <a:gd name="connsiteX59" fmla="*/ 769144 w 8971757"/>
                  <a:gd name="connsiteY59" fmla="*/ 2597944 h 4575969"/>
                  <a:gd name="connsiteX60" fmla="*/ 931069 w 8971757"/>
                  <a:gd name="connsiteY60" fmla="*/ 2700337 h 4575969"/>
                  <a:gd name="connsiteX61" fmla="*/ 1035844 w 8971757"/>
                  <a:gd name="connsiteY61" fmla="*/ 2697956 h 4575969"/>
                  <a:gd name="connsiteX62" fmla="*/ 1114425 w 8971757"/>
                  <a:gd name="connsiteY62" fmla="*/ 2752725 h 4575969"/>
                  <a:gd name="connsiteX63" fmla="*/ 1245393 w 8971757"/>
                  <a:gd name="connsiteY63" fmla="*/ 2755106 h 4575969"/>
                  <a:gd name="connsiteX64" fmla="*/ 1435893 w 8971757"/>
                  <a:gd name="connsiteY64" fmla="*/ 2824162 h 4575969"/>
                  <a:gd name="connsiteX65" fmla="*/ 1638300 w 8971757"/>
                  <a:gd name="connsiteY65" fmla="*/ 2974181 h 4575969"/>
                  <a:gd name="connsiteX66" fmla="*/ 1671637 w 8971757"/>
                  <a:gd name="connsiteY66" fmla="*/ 3040856 h 4575969"/>
                  <a:gd name="connsiteX67" fmla="*/ 1838325 w 8971757"/>
                  <a:gd name="connsiteY67" fmla="*/ 3167062 h 4575969"/>
                  <a:gd name="connsiteX68" fmla="*/ 1909763 w 8971757"/>
                  <a:gd name="connsiteY68" fmla="*/ 3162300 h 4575969"/>
                  <a:gd name="connsiteX69" fmla="*/ 1945482 w 8971757"/>
                  <a:gd name="connsiteY69" fmla="*/ 3186112 h 4575969"/>
                  <a:gd name="connsiteX70" fmla="*/ 1916906 w 8971757"/>
                  <a:gd name="connsiteY70" fmla="*/ 3226594 h 4575969"/>
                  <a:gd name="connsiteX71" fmla="*/ 1924050 w 8971757"/>
                  <a:gd name="connsiteY71" fmla="*/ 3278981 h 4575969"/>
                  <a:gd name="connsiteX72" fmla="*/ 1976438 w 8971757"/>
                  <a:gd name="connsiteY72" fmla="*/ 3305175 h 4575969"/>
                  <a:gd name="connsiteX73" fmla="*/ 2038350 w 8971757"/>
                  <a:gd name="connsiteY73" fmla="*/ 3529013 h 4575969"/>
                  <a:gd name="connsiteX74" fmla="*/ 2028825 w 8971757"/>
                  <a:gd name="connsiteY74" fmla="*/ 3593306 h 4575969"/>
                  <a:gd name="connsiteX75" fmla="*/ 2164556 w 8971757"/>
                  <a:gd name="connsiteY75" fmla="*/ 3759994 h 4575969"/>
                  <a:gd name="connsiteX76" fmla="*/ 2183606 w 8971757"/>
                  <a:gd name="connsiteY76" fmla="*/ 3810000 h 4575969"/>
                  <a:gd name="connsiteX77" fmla="*/ 2157413 w 8971757"/>
                  <a:gd name="connsiteY77" fmla="*/ 3829050 h 4575969"/>
                  <a:gd name="connsiteX78" fmla="*/ 2259806 w 8971757"/>
                  <a:gd name="connsiteY78" fmla="*/ 3838575 h 4575969"/>
                  <a:gd name="connsiteX79" fmla="*/ 2371725 w 8971757"/>
                  <a:gd name="connsiteY79" fmla="*/ 3826669 h 4575969"/>
                  <a:gd name="connsiteX80" fmla="*/ 2650331 w 8971757"/>
                  <a:gd name="connsiteY80" fmla="*/ 3910012 h 4575969"/>
                  <a:gd name="connsiteX81" fmla="*/ 3057525 w 8971757"/>
                  <a:gd name="connsiteY81" fmla="*/ 3990975 h 4575969"/>
                  <a:gd name="connsiteX82" fmla="*/ 3255169 w 8971757"/>
                  <a:gd name="connsiteY82" fmla="*/ 3960018 h 4575969"/>
                  <a:gd name="connsiteX83" fmla="*/ 3300413 w 8971757"/>
                  <a:gd name="connsiteY83" fmla="*/ 3971924 h 4575969"/>
                  <a:gd name="connsiteX84" fmla="*/ 3355181 w 8971757"/>
                  <a:gd name="connsiteY84" fmla="*/ 3948113 h 4575969"/>
                  <a:gd name="connsiteX85" fmla="*/ 3748087 w 8971757"/>
                  <a:gd name="connsiteY85" fmla="*/ 4038600 h 4575969"/>
                  <a:gd name="connsiteX86" fmla="*/ 3831432 w 8971757"/>
                  <a:gd name="connsiteY86" fmla="*/ 4136231 h 4575969"/>
                  <a:gd name="connsiteX87" fmla="*/ 3950494 w 8971757"/>
                  <a:gd name="connsiteY87" fmla="*/ 4207669 h 4575969"/>
                  <a:gd name="connsiteX88" fmla="*/ 4010025 w 8971757"/>
                  <a:gd name="connsiteY88" fmla="*/ 4191000 h 4575969"/>
                  <a:gd name="connsiteX89" fmla="*/ 4360068 w 8971757"/>
                  <a:gd name="connsiteY89" fmla="*/ 4364831 h 4575969"/>
                  <a:gd name="connsiteX90" fmla="*/ 4586288 w 8971757"/>
                  <a:gd name="connsiteY90" fmla="*/ 4336256 h 4575969"/>
                  <a:gd name="connsiteX91" fmla="*/ 4595813 w 8971757"/>
                  <a:gd name="connsiteY91" fmla="*/ 4414837 h 4575969"/>
                  <a:gd name="connsiteX92" fmla="*/ 4681538 w 8971757"/>
                  <a:gd name="connsiteY92" fmla="*/ 4410074 h 4575969"/>
                  <a:gd name="connsiteX93" fmla="*/ 4760119 w 8971757"/>
                  <a:gd name="connsiteY93" fmla="*/ 4441031 h 4575969"/>
                  <a:gd name="connsiteX94" fmla="*/ 4802981 w 8971757"/>
                  <a:gd name="connsiteY94" fmla="*/ 4381500 h 4575969"/>
                  <a:gd name="connsiteX95" fmla="*/ 5474494 w 8971757"/>
                  <a:gd name="connsiteY95" fmla="*/ 4062412 h 4575969"/>
                  <a:gd name="connsiteX96" fmla="*/ 5562600 w 8971757"/>
                  <a:gd name="connsiteY96" fmla="*/ 4090988 h 4575969"/>
                  <a:gd name="connsiteX97" fmla="*/ 5693569 w 8971757"/>
                  <a:gd name="connsiteY97" fmla="*/ 4062412 h 4575969"/>
                  <a:gd name="connsiteX98" fmla="*/ 5872162 w 8971757"/>
                  <a:gd name="connsiteY98" fmla="*/ 4079081 h 4575969"/>
                  <a:gd name="connsiteX99" fmla="*/ 5929313 w 8971757"/>
                  <a:gd name="connsiteY99" fmla="*/ 4052888 h 4575969"/>
                  <a:gd name="connsiteX100" fmla="*/ 6062662 w 8971757"/>
                  <a:gd name="connsiteY100" fmla="*/ 4050506 h 4575969"/>
                  <a:gd name="connsiteX101" fmla="*/ 6196012 w 8971757"/>
                  <a:gd name="connsiteY101" fmla="*/ 3952875 h 4575969"/>
                  <a:gd name="connsiteX102" fmla="*/ 6262687 w 8971757"/>
                  <a:gd name="connsiteY102" fmla="*/ 3945731 h 4575969"/>
                  <a:gd name="connsiteX103" fmla="*/ 6360319 w 8971757"/>
                  <a:gd name="connsiteY103" fmla="*/ 3871912 h 4575969"/>
                  <a:gd name="connsiteX104" fmla="*/ 6434138 w 8971757"/>
                  <a:gd name="connsiteY104" fmla="*/ 3802856 h 4575969"/>
                  <a:gd name="connsiteX105" fmla="*/ 6443663 w 8971757"/>
                  <a:gd name="connsiteY105" fmla="*/ 3740944 h 4575969"/>
                  <a:gd name="connsiteX106" fmla="*/ 6477000 w 8971757"/>
                  <a:gd name="connsiteY106" fmla="*/ 3671887 h 4575969"/>
                  <a:gd name="connsiteX107" fmla="*/ 6629400 w 8971757"/>
                  <a:gd name="connsiteY107" fmla="*/ 3564731 h 4575969"/>
                  <a:gd name="connsiteX108" fmla="*/ 6662738 w 8971757"/>
                  <a:gd name="connsiteY108" fmla="*/ 3569494 h 4575969"/>
                  <a:gd name="connsiteX109" fmla="*/ 6715125 w 8971757"/>
                  <a:gd name="connsiteY109" fmla="*/ 3490912 h 4575969"/>
                  <a:gd name="connsiteX110" fmla="*/ 6762750 w 8971757"/>
                  <a:gd name="connsiteY110" fmla="*/ 3452812 h 4575969"/>
                  <a:gd name="connsiteX111" fmla="*/ 6748463 w 8971757"/>
                  <a:gd name="connsiteY111" fmla="*/ 3383756 h 4575969"/>
                  <a:gd name="connsiteX112" fmla="*/ 6698456 w 8971757"/>
                  <a:gd name="connsiteY112" fmla="*/ 3352799 h 4575969"/>
                  <a:gd name="connsiteX113" fmla="*/ 6638925 w 8971757"/>
                  <a:gd name="connsiteY113" fmla="*/ 3298031 h 4575969"/>
                  <a:gd name="connsiteX114" fmla="*/ 6619875 w 8971757"/>
                  <a:gd name="connsiteY114" fmla="*/ 3240881 h 4575969"/>
                  <a:gd name="connsiteX115" fmla="*/ 6584156 w 8971757"/>
                  <a:gd name="connsiteY115" fmla="*/ 3207544 h 4575969"/>
                  <a:gd name="connsiteX116" fmla="*/ 6610350 w 8971757"/>
                  <a:gd name="connsiteY116" fmla="*/ 3155156 h 4575969"/>
                  <a:gd name="connsiteX117" fmla="*/ 6650831 w 8971757"/>
                  <a:gd name="connsiteY117" fmla="*/ 2976562 h 4575969"/>
                  <a:gd name="connsiteX118" fmla="*/ 6691313 w 8971757"/>
                  <a:gd name="connsiteY118" fmla="*/ 2909887 h 4575969"/>
                  <a:gd name="connsiteX119" fmla="*/ 6836569 w 8971757"/>
                  <a:gd name="connsiteY119" fmla="*/ 2893218 h 4575969"/>
                  <a:gd name="connsiteX120" fmla="*/ 6905625 w 8971757"/>
                  <a:gd name="connsiteY120" fmla="*/ 2950369 h 4575969"/>
                  <a:gd name="connsiteX121" fmla="*/ 6981825 w 8971757"/>
                  <a:gd name="connsiteY121" fmla="*/ 2974181 h 4575969"/>
                  <a:gd name="connsiteX122" fmla="*/ 7186612 w 8971757"/>
                  <a:gd name="connsiteY122" fmla="*/ 2978944 h 4575969"/>
                  <a:gd name="connsiteX123" fmla="*/ 7362825 w 8971757"/>
                  <a:gd name="connsiteY123" fmla="*/ 2840831 h 4575969"/>
                  <a:gd name="connsiteX124" fmla="*/ 7419975 w 8971757"/>
                  <a:gd name="connsiteY124" fmla="*/ 2750343 h 4575969"/>
                  <a:gd name="connsiteX125" fmla="*/ 7446169 w 8971757"/>
                  <a:gd name="connsiteY125" fmla="*/ 2667000 h 4575969"/>
                  <a:gd name="connsiteX126" fmla="*/ 7577137 w 8971757"/>
                  <a:gd name="connsiteY126" fmla="*/ 2667000 h 4575969"/>
                  <a:gd name="connsiteX127" fmla="*/ 7750969 w 8971757"/>
                  <a:gd name="connsiteY127" fmla="*/ 2609849 h 4575969"/>
                  <a:gd name="connsiteX128" fmla="*/ 7810500 w 8971757"/>
                  <a:gd name="connsiteY128" fmla="*/ 2497931 h 4575969"/>
                  <a:gd name="connsiteX129" fmla="*/ 7874794 w 8971757"/>
                  <a:gd name="connsiteY129" fmla="*/ 2462212 h 4575969"/>
                  <a:gd name="connsiteX130" fmla="*/ 7853363 w 8971757"/>
                  <a:gd name="connsiteY130" fmla="*/ 2416969 h 4575969"/>
                  <a:gd name="connsiteX131" fmla="*/ 7931944 w 8971757"/>
                  <a:gd name="connsiteY131" fmla="*/ 2247899 h 4575969"/>
                  <a:gd name="connsiteX132" fmla="*/ 7986713 w 8971757"/>
                  <a:gd name="connsiteY132" fmla="*/ 2188369 h 4575969"/>
                  <a:gd name="connsiteX133" fmla="*/ 8024813 w 8971757"/>
                  <a:gd name="connsiteY133" fmla="*/ 2183606 h 4575969"/>
                  <a:gd name="connsiteX134" fmla="*/ 8070056 w 8971757"/>
                  <a:gd name="connsiteY134" fmla="*/ 2188369 h 4575969"/>
                  <a:gd name="connsiteX135" fmla="*/ 8134350 w 8971757"/>
                  <a:gd name="connsiteY135" fmla="*/ 2155031 h 4575969"/>
                  <a:gd name="connsiteX136" fmla="*/ 8143875 w 8971757"/>
                  <a:gd name="connsiteY136" fmla="*/ 2090737 h 4575969"/>
                  <a:gd name="connsiteX137" fmla="*/ 8184355 w 8971757"/>
                  <a:gd name="connsiteY137" fmla="*/ 2055019 h 4575969"/>
                  <a:gd name="connsiteX138" fmla="*/ 8243888 w 8971757"/>
                  <a:gd name="connsiteY138" fmla="*/ 2095499 h 4575969"/>
                  <a:gd name="connsiteX139" fmla="*/ 8270082 w 8971757"/>
                  <a:gd name="connsiteY139" fmla="*/ 2045493 h 4575969"/>
                  <a:gd name="connsiteX140" fmla="*/ 8365331 w 8971757"/>
                  <a:gd name="connsiteY140" fmla="*/ 1976437 h 4575969"/>
                  <a:gd name="connsiteX141" fmla="*/ 8427244 w 8971757"/>
                  <a:gd name="connsiteY141" fmla="*/ 1983581 h 4575969"/>
                  <a:gd name="connsiteX142" fmla="*/ 8477250 w 8971757"/>
                  <a:gd name="connsiteY142" fmla="*/ 1964531 h 4575969"/>
                  <a:gd name="connsiteX143" fmla="*/ 8515350 w 8971757"/>
                  <a:gd name="connsiteY143" fmla="*/ 1935956 h 4575969"/>
                  <a:gd name="connsiteX144" fmla="*/ 8548688 w 8971757"/>
                  <a:gd name="connsiteY144" fmla="*/ 1933575 h 4575969"/>
                  <a:gd name="connsiteX145" fmla="*/ 8584406 w 8971757"/>
                  <a:gd name="connsiteY145" fmla="*/ 1964531 h 4575969"/>
                  <a:gd name="connsiteX146" fmla="*/ 8643938 w 8971757"/>
                  <a:gd name="connsiteY146" fmla="*/ 1964531 h 4575969"/>
                  <a:gd name="connsiteX147" fmla="*/ 8682037 w 8971757"/>
                  <a:gd name="connsiteY147" fmla="*/ 1945481 h 4575969"/>
                  <a:gd name="connsiteX148" fmla="*/ 8765381 w 8971757"/>
                  <a:gd name="connsiteY148" fmla="*/ 1947863 h 4575969"/>
                  <a:gd name="connsiteX149" fmla="*/ 8796338 w 8971757"/>
                  <a:gd name="connsiteY149" fmla="*/ 1902619 h 4575969"/>
                  <a:gd name="connsiteX150" fmla="*/ 8801100 w 8971757"/>
                  <a:gd name="connsiteY150" fmla="*/ 1840706 h 4575969"/>
                  <a:gd name="connsiteX151" fmla="*/ 8751093 w 8971757"/>
                  <a:gd name="connsiteY151" fmla="*/ 1800225 h 4575969"/>
                  <a:gd name="connsiteX152" fmla="*/ 8734425 w 8971757"/>
                  <a:gd name="connsiteY152" fmla="*/ 1745456 h 4575969"/>
                  <a:gd name="connsiteX153" fmla="*/ 8643938 w 8971757"/>
                  <a:gd name="connsiteY153" fmla="*/ 1683544 h 4575969"/>
                  <a:gd name="connsiteX154" fmla="*/ 8603456 w 8971757"/>
                  <a:gd name="connsiteY154" fmla="*/ 1662112 h 4575969"/>
                  <a:gd name="connsiteX155" fmla="*/ 8565356 w 8971757"/>
                  <a:gd name="connsiteY155" fmla="*/ 1616869 h 4575969"/>
                  <a:gd name="connsiteX156" fmla="*/ 8534400 w 8971757"/>
                  <a:gd name="connsiteY156" fmla="*/ 1614487 h 4575969"/>
                  <a:gd name="connsiteX157" fmla="*/ 8517731 w 8971757"/>
                  <a:gd name="connsiteY157" fmla="*/ 1562100 h 4575969"/>
                  <a:gd name="connsiteX158" fmla="*/ 8477250 w 8971757"/>
                  <a:gd name="connsiteY158" fmla="*/ 1545431 h 4575969"/>
                  <a:gd name="connsiteX159" fmla="*/ 8477250 w 8971757"/>
                  <a:gd name="connsiteY159" fmla="*/ 1545431 h 4575969"/>
                  <a:gd name="connsiteX160" fmla="*/ 8436769 w 8971757"/>
                  <a:gd name="connsiteY160" fmla="*/ 1550194 h 4575969"/>
                  <a:gd name="connsiteX161" fmla="*/ 8351043 w 8971757"/>
                  <a:gd name="connsiteY161" fmla="*/ 1476375 h 4575969"/>
                  <a:gd name="connsiteX162" fmla="*/ 8170069 w 8971757"/>
                  <a:gd name="connsiteY162" fmla="*/ 1476374 h 4575969"/>
                  <a:gd name="connsiteX163" fmla="*/ 8117681 w 8971757"/>
                  <a:gd name="connsiteY163" fmla="*/ 1514475 h 4575969"/>
                  <a:gd name="connsiteX164" fmla="*/ 8067675 w 8971757"/>
                  <a:gd name="connsiteY164" fmla="*/ 1593056 h 4575969"/>
                  <a:gd name="connsiteX165" fmla="*/ 8084344 w 8971757"/>
                  <a:gd name="connsiteY165" fmla="*/ 1614487 h 4575969"/>
                  <a:gd name="connsiteX166" fmla="*/ 8039100 w 8971757"/>
                  <a:gd name="connsiteY166" fmla="*/ 1664493 h 4575969"/>
                  <a:gd name="connsiteX167" fmla="*/ 7889081 w 8971757"/>
                  <a:gd name="connsiteY167" fmla="*/ 1588293 h 4575969"/>
                  <a:gd name="connsiteX168" fmla="*/ 7798594 w 8971757"/>
                  <a:gd name="connsiteY168" fmla="*/ 1624012 h 4575969"/>
                  <a:gd name="connsiteX169" fmla="*/ 7724775 w 8971757"/>
                  <a:gd name="connsiteY169" fmla="*/ 1621631 h 4575969"/>
                  <a:gd name="connsiteX170" fmla="*/ 7667625 w 8971757"/>
                  <a:gd name="connsiteY170" fmla="*/ 1716881 h 4575969"/>
                  <a:gd name="connsiteX171" fmla="*/ 7529513 w 8971757"/>
                  <a:gd name="connsiteY17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6734175 w 8971757"/>
                  <a:gd name="connsiteY18" fmla="*/ 1078706 h 4575969"/>
                  <a:gd name="connsiteX19" fmla="*/ 8412956 w 8971757"/>
                  <a:gd name="connsiteY19" fmla="*/ 23812 h 4575969"/>
                  <a:gd name="connsiteX20" fmla="*/ 8949531 w 8971757"/>
                  <a:gd name="connsiteY20" fmla="*/ 0 h 4575969"/>
                  <a:gd name="connsiteX21" fmla="*/ 8971757 w 8971757"/>
                  <a:gd name="connsiteY21" fmla="*/ 4575969 h 4575969"/>
                  <a:gd name="connsiteX22" fmla="*/ 2381 w 8971757"/>
                  <a:gd name="connsiteY22" fmla="*/ 4547392 h 4575969"/>
                  <a:gd name="connsiteX23" fmla="*/ 0 w 8971757"/>
                  <a:gd name="connsiteY23" fmla="*/ 845344 h 4575969"/>
                  <a:gd name="connsiteX24" fmla="*/ 76200 w 8971757"/>
                  <a:gd name="connsiteY24" fmla="*/ 828675 h 4575969"/>
                  <a:gd name="connsiteX25" fmla="*/ 119063 w 8971757"/>
                  <a:gd name="connsiteY25" fmla="*/ 857250 h 4575969"/>
                  <a:gd name="connsiteX26" fmla="*/ 215900 w 8971757"/>
                  <a:gd name="connsiteY26" fmla="*/ 848519 h 4575969"/>
                  <a:gd name="connsiteX27" fmla="*/ 261938 w 8971757"/>
                  <a:gd name="connsiteY27" fmla="*/ 876299 h 4575969"/>
                  <a:gd name="connsiteX28" fmla="*/ 228600 w 8971757"/>
                  <a:gd name="connsiteY28" fmla="*/ 904875 h 4575969"/>
                  <a:gd name="connsiteX29" fmla="*/ 233363 w 8971757"/>
                  <a:gd name="connsiteY29" fmla="*/ 947737 h 4575969"/>
                  <a:gd name="connsiteX30" fmla="*/ 200025 w 8971757"/>
                  <a:gd name="connsiteY30" fmla="*/ 952500 h 4575969"/>
                  <a:gd name="connsiteX31" fmla="*/ 204788 w 8971757"/>
                  <a:gd name="connsiteY31" fmla="*/ 976312 h 4575969"/>
                  <a:gd name="connsiteX32" fmla="*/ 261937 w 8971757"/>
                  <a:gd name="connsiteY32" fmla="*/ 1050131 h 4575969"/>
                  <a:gd name="connsiteX33" fmla="*/ 223838 w 8971757"/>
                  <a:gd name="connsiteY33" fmla="*/ 1097756 h 4575969"/>
                  <a:gd name="connsiteX34" fmla="*/ 278606 w 8971757"/>
                  <a:gd name="connsiteY34" fmla="*/ 1133475 h 4575969"/>
                  <a:gd name="connsiteX35" fmla="*/ 369094 w 8971757"/>
                  <a:gd name="connsiteY35" fmla="*/ 1221581 h 4575969"/>
                  <a:gd name="connsiteX36" fmla="*/ 371475 w 8971757"/>
                  <a:gd name="connsiteY36" fmla="*/ 1281112 h 4575969"/>
                  <a:gd name="connsiteX37" fmla="*/ 507206 w 8971757"/>
                  <a:gd name="connsiteY37" fmla="*/ 1414463 h 4575969"/>
                  <a:gd name="connsiteX38" fmla="*/ 561975 w 8971757"/>
                  <a:gd name="connsiteY38" fmla="*/ 1390650 h 4575969"/>
                  <a:gd name="connsiteX39" fmla="*/ 600075 w 8971757"/>
                  <a:gd name="connsiteY39" fmla="*/ 1416843 h 4575969"/>
                  <a:gd name="connsiteX40" fmla="*/ 614363 w 8971757"/>
                  <a:gd name="connsiteY40" fmla="*/ 1466849 h 4575969"/>
                  <a:gd name="connsiteX41" fmla="*/ 657225 w 8971757"/>
                  <a:gd name="connsiteY41" fmla="*/ 1502569 h 4575969"/>
                  <a:gd name="connsiteX42" fmla="*/ 697706 w 8971757"/>
                  <a:gd name="connsiteY42" fmla="*/ 1490662 h 4575969"/>
                  <a:gd name="connsiteX43" fmla="*/ 716756 w 8971757"/>
                  <a:gd name="connsiteY43" fmla="*/ 1547812 h 4575969"/>
                  <a:gd name="connsiteX44" fmla="*/ 764381 w 8971757"/>
                  <a:gd name="connsiteY44" fmla="*/ 1590675 h 4575969"/>
                  <a:gd name="connsiteX45" fmla="*/ 788194 w 8971757"/>
                  <a:gd name="connsiteY45" fmla="*/ 1693069 h 4575969"/>
                  <a:gd name="connsiteX46" fmla="*/ 785813 w 8971757"/>
                  <a:gd name="connsiteY46" fmla="*/ 1740694 h 4575969"/>
                  <a:gd name="connsiteX47" fmla="*/ 821531 w 8971757"/>
                  <a:gd name="connsiteY47" fmla="*/ 1840706 h 4575969"/>
                  <a:gd name="connsiteX48" fmla="*/ 866775 w 8971757"/>
                  <a:gd name="connsiteY48" fmla="*/ 1897856 h 4575969"/>
                  <a:gd name="connsiteX49" fmla="*/ 883443 w 8971757"/>
                  <a:gd name="connsiteY49" fmla="*/ 2055018 h 4575969"/>
                  <a:gd name="connsiteX50" fmla="*/ 850106 w 8971757"/>
                  <a:gd name="connsiteY50" fmla="*/ 2116931 h 4575969"/>
                  <a:gd name="connsiteX51" fmla="*/ 819150 w 8971757"/>
                  <a:gd name="connsiteY51" fmla="*/ 2193131 h 4575969"/>
                  <a:gd name="connsiteX52" fmla="*/ 833438 w 8971757"/>
                  <a:gd name="connsiteY52" fmla="*/ 2250281 h 4575969"/>
                  <a:gd name="connsiteX53" fmla="*/ 735806 w 8971757"/>
                  <a:gd name="connsiteY53" fmla="*/ 2357438 h 4575969"/>
                  <a:gd name="connsiteX54" fmla="*/ 692944 w 8971757"/>
                  <a:gd name="connsiteY54" fmla="*/ 2471737 h 4575969"/>
                  <a:gd name="connsiteX55" fmla="*/ 726281 w 8971757"/>
                  <a:gd name="connsiteY55" fmla="*/ 2512219 h 4575969"/>
                  <a:gd name="connsiteX56" fmla="*/ 709613 w 8971757"/>
                  <a:gd name="connsiteY56" fmla="*/ 2540794 h 4575969"/>
                  <a:gd name="connsiteX57" fmla="*/ 740569 w 8971757"/>
                  <a:gd name="connsiteY57" fmla="*/ 2597944 h 4575969"/>
                  <a:gd name="connsiteX58" fmla="*/ 769144 w 8971757"/>
                  <a:gd name="connsiteY58" fmla="*/ 2597944 h 4575969"/>
                  <a:gd name="connsiteX59" fmla="*/ 931069 w 8971757"/>
                  <a:gd name="connsiteY59" fmla="*/ 2700337 h 4575969"/>
                  <a:gd name="connsiteX60" fmla="*/ 1035844 w 8971757"/>
                  <a:gd name="connsiteY60" fmla="*/ 2697956 h 4575969"/>
                  <a:gd name="connsiteX61" fmla="*/ 1114425 w 8971757"/>
                  <a:gd name="connsiteY61" fmla="*/ 2752725 h 4575969"/>
                  <a:gd name="connsiteX62" fmla="*/ 1245393 w 8971757"/>
                  <a:gd name="connsiteY62" fmla="*/ 2755106 h 4575969"/>
                  <a:gd name="connsiteX63" fmla="*/ 1435893 w 8971757"/>
                  <a:gd name="connsiteY63" fmla="*/ 2824162 h 4575969"/>
                  <a:gd name="connsiteX64" fmla="*/ 1638300 w 8971757"/>
                  <a:gd name="connsiteY64" fmla="*/ 2974181 h 4575969"/>
                  <a:gd name="connsiteX65" fmla="*/ 1671637 w 8971757"/>
                  <a:gd name="connsiteY65" fmla="*/ 3040856 h 4575969"/>
                  <a:gd name="connsiteX66" fmla="*/ 1838325 w 8971757"/>
                  <a:gd name="connsiteY66" fmla="*/ 3167062 h 4575969"/>
                  <a:gd name="connsiteX67" fmla="*/ 1909763 w 8971757"/>
                  <a:gd name="connsiteY67" fmla="*/ 3162300 h 4575969"/>
                  <a:gd name="connsiteX68" fmla="*/ 1945482 w 8971757"/>
                  <a:gd name="connsiteY68" fmla="*/ 3186112 h 4575969"/>
                  <a:gd name="connsiteX69" fmla="*/ 1916906 w 8971757"/>
                  <a:gd name="connsiteY69" fmla="*/ 3226594 h 4575969"/>
                  <a:gd name="connsiteX70" fmla="*/ 1924050 w 8971757"/>
                  <a:gd name="connsiteY70" fmla="*/ 3278981 h 4575969"/>
                  <a:gd name="connsiteX71" fmla="*/ 1976438 w 8971757"/>
                  <a:gd name="connsiteY71" fmla="*/ 3305175 h 4575969"/>
                  <a:gd name="connsiteX72" fmla="*/ 2038350 w 8971757"/>
                  <a:gd name="connsiteY72" fmla="*/ 3529013 h 4575969"/>
                  <a:gd name="connsiteX73" fmla="*/ 2028825 w 8971757"/>
                  <a:gd name="connsiteY73" fmla="*/ 3593306 h 4575969"/>
                  <a:gd name="connsiteX74" fmla="*/ 2164556 w 8971757"/>
                  <a:gd name="connsiteY74" fmla="*/ 3759994 h 4575969"/>
                  <a:gd name="connsiteX75" fmla="*/ 2183606 w 8971757"/>
                  <a:gd name="connsiteY75" fmla="*/ 3810000 h 4575969"/>
                  <a:gd name="connsiteX76" fmla="*/ 2157413 w 8971757"/>
                  <a:gd name="connsiteY76" fmla="*/ 3829050 h 4575969"/>
                  <a:gd name="connsiteX77" fmla="*/ 2259806 w 8971757"/>
                  <a:gd name="connsiteY77" fmla="*/ 3838575 h 4575969"/>
                  <a:gd name="connsiteX78" fmla="*/ 2371725 w 8971757"/>
                  <a:gd name="connsiteY78" fmla="*/ 3826669 h 4575969"/>
                  <a:gd name="connsiteX79" fmla="*/ 2650331 w 8971757"/>
                  <a:gd name="connsiteY79" fmla="*/ 3910012 h 4575969"/>
                  <a:gd name="connsiteX80" fmla="*/ 3057525 w 8971757"/>
                  <a:gd name="connsiteY80" fmla="*/ 3990975 h 4575969"/>
                  <a:gd name="connsiteX81" fmla="*/ 3255169 w 8971757"/>
                  <a:gd name="connsiteY81" fmla="*/ 3960018 h 4575969"/>
                  <a:gd name="connsiteX82" fmla="*/ 3300413 w 8971757"/>
                  <a:gd name="connsiteY82" fmla="*/ 3971924 h 4575969"/>
                  <a:gd name="connsiteX83" fmla="*/ 3355181 w 8971757"/>
                  <a:gd name="connsiteY83" fmla="*/ 3948113 h 4575969"/>
                  <a:gd name="connsiteX84" fmla="*/ 3748087 w 8971757"/>
                  <a:gd name="connsiteY84" fmla="*/ 4038600 h 4575969"/>
                  <a:gd name="connsiteX85" fmla="*/ 3831432 w 8971757"/>
                  <a:gd name="connsiteY85" fmla="*/ 4136231 h 4575969"/>
                  <a:gd name="connsiteX86" fmla="*/ 3950494 w 8971757"/>
                  <a:gd name="connsiteY86" fmla="*/ 4207669 h 4575969"/>
                  <a:gd name="connsiteX87" fmla="*/ 4010025 w 8971757"/>
                  <a:gd name="connsiteY87" fmla="*/ 4191000 h 4575969"/>
                  <a:gd name="connsiteX88" fmla="*/ 4360068 w 8971757"/>
                  <a:gd name="connsiteY88" fmla="*/ 4364831 h 4575969"/>
                  <a:gd name="connsiteX89" fmla="*/ 4586288 w 8971757"/>
                  <a:gd name="connsiteY89" fmla="*/ 4336256 h 4575969"/>
                  <a:gd name="connsiteX90" fmla="*/ 4595813 w 8971757"/>
                  <a:gd name="connsiteY90" fmla="*/ 4414837 h 4575969"/>
                  <a:gd name="connsiteX91" fmla="*/ 4681538 w 8971757"/>
                  <a:gd name="connsiteY91" fmla="*/ 4410074 h 4575969"/>
                  <a:gd name="connsiteX92" fmla="*/ 4760119 w 8971757"/>
                  <a:gd name="connsiteY92" fmla="*/ 4441031 h 4575969"/>
                  <a:gd name="connsiteX93" fmla="*/ 4802981 w 8971757"/>
                  <a:gd name="connsiteY93" fmla="*/ 4381500 h 4575969"/>
                  <a:gd name="connsiteX94" fmla="*/ 5474494 w 8971757"/>
                  <a:gd name="connsiteY94" fmla="*/ 4062412 h 4575969"/>
                  <a:gd name="connsiteX95" fmla="*/ 5562600 w 8971757"/>
                  <a:gd name="connsiteY95" fmla="*/ 4090988 h 4575969"/>
                  <a:gd name="connsiteX96" fmla="*/ 5693569 w 8971757"/>
                  <a:gd name="connsiteY96" fmla="*/ 4062412 h 4575969"/>
                  <a:gd name="connsiteX97" fmla="*/ 5872162 w 8971757"/>
                  <a:gd name="connsiteY97" fmla="*/ 4079081 h 4575969"/>
                  <a:gd name="connsiteX98" fmla="*/ 5929313 w 8971757"/>
                  <a:gd name="connsiteY98" fmla="*/ 4052888 h 4575969"/>
                  <a:gd name="connsiteX99" fmla="*/ 6062662 w 8971757"/>
                  <a:gd name="connsiteY99" fmla="*/ 4050506 h 4575969"/>
                  <a:gd name="connsiteX100" fmla="*/ 6196012 w 8971757"/>
                  <a:gd name="connsiteY100" fmla="*/ 3952875 h 4575969"/>
                  <a:gd name="connsiteX101" fmla="*/ 6262687 w 8971757"/>
                  <a:gd name="connsiteY101" fmla="*/ 3945731 h 4575969"/>
                  <a:gd name="connsiteX102" fmla="*/ 6360319 w 8971757"/>
                  <a:gd name="connsiteY102" fmla="*/ 3871912 h 4575969"/>
                  <a:gd name="connsiteX103" fmla="*/ 6434138 w 8971757"/>
                  <a:gd name="connsiteY103" fmla="*/ 3802856 h 4575969"/>
                  <a:gd name="connsiteX104" fmla="*/ 6443663 w 8971757"/>
                  <a:gd name="connsiteY104" fmla="*/ 3740944 h 4575969"/>
                  <a:gd name="connsiteX105" fmla="*/ 6477000 w 8971757"/>
                  <a:gd name="connsiteY105" fmla="*/ 3671887 h 4575969"/>
                  <a:gd name="connsiteX106" fmla="*/ 6629400 w 8971757"/>
                  <a:gd name="connsiteY106" fmla="*/ 3564731 h 4575969"/>
                  <a:gd name="connsiteX107" fmla="*/ 6662738 w 8971757"/>
                  <a:gd name="connsiteY107" fmla="*/ 3569494 h 4575969"/>
                  <a:gd name="connsiteX108" fmla="*/ 6715125 w 8971757"/>
                  <a:gd name="connsiteY108" fmla="*/ 3490912 h 4575969"/>
                  <a:gd name="connsiteX109" fmla="*/ 6762750 w 8971757"/>
                  <a:gd name="connsiteY109" fmla="*/ 3452812 h 4575969"/>
                  <a:gd name="connsiteX110" fmla="*/ 6748463 w 8971757"/>
                  <a:gd name="connsiteY110" fmla="*/ 3383756 h 4575969"/>
                  <a:gd name="connsiteX111" fmla="*/ 6698456 w 8971757"/>
                  <a:gd name="connsiteY111" fmla="*/ 3352799 h 4575969"/>
                  <a:gd name="connsiteX112" fmla="*/ 6638925 w 8971757"/>
                  <a:gd name="connsiteY112" fmla="*/ 3298031 h 4575969"/>
                  <a:gd name="connsiteX113" fmla="*/ 6619875 w 8971757"/>
                  <a:gd name="connsiteY113" fmla="*/ 3240881 h 4575969"/>
                  <a:gd name="connsiteX114" fmla="*/ 6584156 w 8971757"/>
                  <a:gd name="connsiteY114" fmla="*/ 3207544 h 4575969"/>
                  <a:gd name="connsiteX115" fmla="*/ 6610350 w 8971757"/>
                  <a:gd name="connsiteY115" fmla="*/ 3155156 h 4575969"/>
                  <a:gd name="connsiteX116" fmla="*/ 6650831 w 8971757"/>
                  <a:gd name="connsiteY116" fmla="*/ 2976562 h 4575969"/>
                  <a:gd name="connsiteX117" fmla="*/ 6691313 w 8971757"/>
                  <a:gd name="connsiteY117" fmla="*/ 2909887 h 4575969"/>
                  <a:gd name="connsiteX118" fmla="*/ 6836569 w 8971757"/>
                  <a:gd name="connsiteY118" fmla="*/ 2893218 h 4575969"/>
                  <a:gd name="connsiteX119" fmla="*/ 6905625 w 8971757"/>
                  <a:gd name="connsiteY119" fmla="*/ 2950369 h 4575969"/>
                  <a:gd name="connsiteX120" fmla="*/ 6981825 w 8971757"/>
                  <a:gd name="connsiteY120" fmla="*/ 2974181 h 4575969"/>
                  <a:gd name="connsiteX121" fmla="*/ 7186612 w 8971757"/>
                  <a:gd name="connsiteY121" fmla="*/ 2978944 h 4575969"/>
                  <a:gd name="connsiteX122" fmla="*/ 7362825 w 8971757"/>
                  <a:gd name="connsiteY122" fmla="*/ 2840831 h 4575969"/>
                  <a:gd name="connsiteX123" fmla="*/ 7419975 w 8971757"/>
                  <a:gd name="connsiteY123" fmla="*/ 2750343 h 4575969"/>
                  <a:gd name="connsiteX124" fmla="*/ 7446169 w 8971757"/>
                  <a:gd name="connsiteY124" fmla="*/ 2667000 h 4575969"/>
                  <a:gd name="connsiteX125" fmla="*/ 7577137 w 8971757"/>
                  <a:gd name="connsiteY125" fmla="*/ 2667000 h 4575969"/>
                  <a:gd name="connsiteX126" fmla="*/ 7750969 w 8971757"/>
                  <a:gd name="connsiteY126" fmla="*/ 2609849 h 4575969"/>
                  <a:gd name="connsiteX127" fmla="*/ 7810500 w 8971757"/>
                  <a:gd name="connsiteY127" fmla="*/ 2497931 h 4575969"/>
                  <a:gd name="connsiteX128" fmla="*/ 7874794 w 8971757"/>
                  <a:gd name="connsiteY128" fmla="*/ 2462212 h 4575969"/>
                  <a:gd name="connsiteX129" fmla="*/ 7853363 w 8971757"/>
                  <a:gd name="connsiteY129" fmla="*/ 2416969 h 4575969"/>
                  <a:gd name="connsiteX130" fmla="*/ 7931944 w 8971757"/>
                  <a:gd name="connsiteY130" fmla="*/ 2247899 h 4575969"/>
                  <a:gd name="connsiteX131" fmla="*/ 7986713 w 8971757"/>
                  <a:gd name="connsiteY131" fmla="*/ 2188369 h 4575969"/>
                  <a:gd name="connsiteX132" fmla="*/ 8024813 w 8971757"/>
                  <a:gd name="connsiteY132" fmla="*/ 2183606 h 4575969"/>
                  <a:gd name="connsiteX133" fmla="*/ 8070056 w 8971757"/>
                  <a:gd name="connsiteY133" fmla="*/ 2188369 h 4575969"/>
                  <a:gd name="connsiteX134" fmla="*/ 8134350 w 8971757"/>
                  <a:gd name="connsiteY134" fmla="*/ 2155031 h 4575969"/>
                  <a:gd name="connsiteX135" fmla="*/ 8143875 w 8971757"/>
                  <a:gd name="connsiteY135" fmla="*/ 2090737 h 4575969"/>
                  <a:gd name="connsiteX136" fmla="*/ 8184355 w 8971757"/>
                  <a:gd name="connsiteY136" fmla="*/ 2055019 h 4575969"/>
                  <a:gd name="connsiteX137" fmla="*/ 8243888 w 8971757"/>
                  <a:gd name="connsiteY137" fmla="*/ 2095499 h 4575969"/>
                  <a:gd name="connsiteX138" fmla="*/ 8270082 w 8971757"/>
                  <a:gd name="connsiteY138" fmla="*/ 2045493 h 4575969"/>
                  <a:gd name="connsiteX139" fmla="*/ 8365331 w 8971757"/>
                  <a:gd name="connsiteY139" fmla="*/ 1976437 h 4575969"/>
                  <a:gd name="connsiteX140" fmla="*/ 8427244 w 8971757"/>
                  <a:gd name="connsiteY140" fmla="*/ 1983581 h 4575969"/>
                  <a:gd name="connsiteX141" fmla="*/ 8477250 w 8971757"/>
                  <a:gd name="connsiteY141" fmla="*/ 1964531 h 4575969"/>
                  <a:gd name="connsiteX142" fmla="*/ 8515350 w 8971757"/>
                  <a:gd name="connsiteY142" fmla="*/ 1935956 h 4575969"/>
                  <a:gd name="connsiteX143" fmla="*/ 8548688 w 8971757"/>
                  <a:gd name="connsiteY143" fmla="*/ 1933575 h 4575969"/>
                  <a:gd name="connsiteX144" fmla="*/ 8584406 w 8971757"/>
                  <a:gd name="connsiteY144" fmla="*/ 1964531 h 4575969"/>
                  <a:gd name="connsiteX145" fmla="*/ 8643938 w 8971757"/>
                  <a:gd name="connsiteY145" fmla="*/ 1964531 h 4575969"/>
                  <a:gd name="connsiteX146" fmla="*/ 8682037 w 8971757"/>
                  <a:gd name="connsiteY146" fmla="*/ 1945481 h 4575969"/>
                  <a:gd name="connsiteX147" fmla="*/ 8765381 w 8971757"/>
                  <a:gd name="connsiteY147" fmla="*/ 1947863 h 4575969"/>
                  <a:gd name="connsiteX148" fmla="*/ 8796338 w 8971757"/>
                  <a:gd name="connsiteY148" fmla="*/ 1902619 h 4575969"/>
                  <a:gd name="connsiteX149" fmla="*/ 8801100 w 8971757"/>
                  <a:gd name="connsiteY149" fmla="*/ 1840706 h 4575969"/>
                  <a:gd name="connsiteX150" fmla="*/ 8751093 w 8971757"/>
                  <a:gd name="connsiteY150" fmla="*/ 1800225 h 4575969"/>
                  <a:gd name="connsiteX151" fmla="*/ 8734425 w 8971757"/>
                  <a:gd name="connsiteY151" fmla="*/ 1745456 h 4575969"/>
                  <a:gd name="connsiteX152" fmla="*/ 8643938 w 8971757"/>
                  <a:gd name="connsiteY152" fmla="*/ 1683544 h 4575969"/>
                  <a:gd name="connsiteX153" fmla="*/ 8603456 w 8971757"/>
                  <a:gd name="connsiteY153" fmla="*/ 1662112 h 4575969"/>
                  <a:gd name="connsiteX154" fmla="*/ 8565356 w 8971757"/>
                  <a:gd name="connsiteY154" fmla="*/ 1616869 h 4575969"/>
                  <a:gd name="connsiteX155" fmla="*/ 8534400 w 8971757"/>
                  <a:gd name="connsiteY155" fmla="*/ 1614487 h 4575969"/>
                  <a:gd name="connsiteX156" fmla="*/ 8517731 w 8971757"/>
                  <a:gd name="connsiteY156" fmla="*/ 1562100 h 4575969"/>
                  <a:gd name="connsiteX157" fmla="*/ 8477250 w 8971757"/>
                  <a:gd name="connsiteY157" fmla="*/ 1545431 h 4575969"/>
                  <a:gd name="connsiteX158" fmla="*/ 8477250 w 8971757"/>
                  <a:gd name="connsiteY158" fmla="*/ 1545431 h 4575969"/>
                  <a:gd name="connsiteX159" fmla="*/ 8436769 w 8971757"/>
                  <a:gd name="connsiteY159" fmla="*/ 1550194 h 4575969"/>
                  <a:gd name="connsiteX160" fmla="*/ 8351043 w 8971757"/>
                  <a:gd name="connsiteY160" fmla="*/ 1476375 h 4575969"/>
                  <a:gd name="connsiteX161" fmla="*/ 8170069 w 8971757"/>
                  <a:gd name="connsiteY161" fmla="*/ 1476374 h 4575969"/>
                  <a:gd name="connsiteX162" fmla="*/ 8117681 w 8971757"/>
                  <a:gd name="connsiteY162" fmla="*/ 1514475 h 4575969"/>
                  <a:gd name="connsiteX163" fmla="*/ 8067675 w 8971757"/>
                  <a:gd name="connsiteY163" fmla="*/ 1593056 h 4575969"/>
                  <a:gd name="connsiteX164" fmla="*/ 8084344 w 8971757"/>
                  <a:gd name="connsiteY164" fmla="*/ 1614487 h 4575969"/>
                  <a:gd name="connsiteX165" fmla="*/ 8039100 w 8971757"/>
                  <a:gd name="connsiteY165" fmla="*/ 1664493 h 4575969"/>
                  <a:gd name="connsiteX166" fmla="*/ 7889081 w 8971757"/>
                  <a:gd name="connsiteY166" fmla="*/ 1588293 h 4575969"/>
                  <a:gd name="connsiteX167" fmla="*/ 7798594 w 8971757"/>
                  <a:gd name="connsiteY167" fmla="*/ 1624012 h 4575969"/>
                  <a:gd name="connsiteX168" fmla="*/ 7724775 w 8971757"/>
                  <a:gd name="connsiteY168" fmla="*/ 1621631 h 4575969"/>
                  <a:gd name="connsiteX169" fmla="*/ 7667625 w 8971757"/>
                  <a:gd name="connsiteY169" fmla="*/ 1716881 h 4575969"/>
                  <a:gd name="connsiteX170" fmla="*/ 7529513 w 8971757"/>
                  <a:gd name="connsiteY17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6796088 w 8971757"/>
                  <a:gd name="connsiteY17" fmla="*/ 1066800 h 4575969"/>
                  <a:gd name="connsiteX18" fmla="*/ 8412956 w 8971757"/>
                  <a:gd name="connsiteY18" fmla="*/ 23812 h 4575969"/>
                  <a:gd name="connsiteX19" fmla="*/ 8949531 w 8971757"/>
                  <a:gd name="connsiteY19" fmla="*/ 0 h 4575969"/>
                  <a:gd name="connsiteX20" fmla="*/ 8971757 w 8971757"/>
                  <a:gd name="connsiteY20" fmla="*/ 4575969 h 4575969"/>
                  <a:gd name="connsiteX21" fmla="*/ 2381 w 8971757"/>
                  <a:gd name="connsiteY21" fmla="*/ 4547392 h 4575969"/>
                  <a:gd name="connsiteX22" fmla="*/ 0 w 8971757"/>
                  <a:gd name="connsiteY22" fmla="*/ 845344 h 4575969"/>
                  <a:gd name="connsiteX23" fmla="*/ 76200 w 8971757"/>
                  <a:gd name="connsiteY23" fmla="*/ 828675 h 4575969"/>
                  <a:gd name="connsiteX24" fmla="*/ 119063 w 8971757"/>
                  <a:gd name="connsiteY24" fmla="*/ 857250 h 4575969"/>
                  <a:gd name="connsiteX25" fmla="*/ 215900 w 8971757"/>
                  <a:gd name="connsiteY25" fmla="*/ 848519 h 4575969"/>
                  <a:gd name="connsiteX26" fmla="*/ 261938 w 8971757"/>
                  <a:gd name="connsiteY26" fmla="*/ 876299 h 4575969"/>
                  <a:gd name="connsiteX27" fmla="*/ 228600 w 8971757"/>
                  <a:gd name="connsiteY27" fmla="*/ 904875 h 4575969"/>
                  <a:gd name="connsiteX28" fmla="*/ 233363 w 8971757"/>
                  <a:gd name="connsiteY28" fmla="*/ 947737 h 4575969"/>
                  <a:gd name="connsiteX29" fmla="*/ 200025 w 8971757"/>
                  <a:gd name="connsiteY29" fmla="*/ 952500 h 4575969"/>
                  <a:gd name="connsiteX30" fmla="*/ 204788 w 8971757"/>
                  <a:gd name="connsiteY30" fmla="*/ 976312 h 4575969"/>
                  <a:gd name="connsiteX31" fmla="*/ 261937 w 8971757"/>
                  <a:gd name="connsiteY31" fmla="*/ 1050131 h 4575969"/>
                  <a:gd name="connsiteX32" fmla="*/ 223838 w 8971757"/>
                  <a:gd name="connsiteY32" fmla="*/ 1097756 h 4575969"/>
                  <a:gd name="connsiteX33" fmla="*/ 278606 w 8971757"/>
                  <a:gd name="connsiteY33" fmla="*/ 1133475 h 4575969"/>
                  <a:gd name="connsiteX34" fmla="*/ 369094 w 8971757"/>
                  <a:gd name="connsiteY34" fmla="*/ 1221581 h 4575969"/>
                  <a:gd name="connsiteX35" fmla="*/ 371475 w 8971757"/>
                  <a:gd name="connsiteY35" fmla="*/ 1281112 h 4575969"/>
                  <a:gd name="connsiteX36" fmla="*/ 507206 w 8971757"/>
                  <a:gd name="connsiteY36" fmla="*/ 1414463 h 4575969"/>
                  <a:gd name="connsiteX37" fmla="*/ 561975 w 8971757"/>
                  <a:gd name="connsiteY37" fmla="*/ 1390650 h 4575969"/>
                  <a:gd name="connsiteX38" fmla="*/ 600075 w 8971757"/>
                  <a:gd name="connsiteY38" fmla="*/ 1416843 h 4575969"/>
                  <a:gd name="connsiteX39" fmla="*/ 614363 w 8971757"/>
                  <a:gd name="connsiteY39" fmla="*/ 1466849 h 4575969"/>
                  <a:gd name="connsiteX40" fmla="*/ 657225 w 8971757"/>
                  <a:gd name="connsiteY40" fmla="*/ 1502569 h 4575969"/>
                  <a:gd name="connsiteX41" fmla="*/ 697706 w 8971757"/>
                  <a:gd name="connsiteY41" fmla="*/ 1490662 h 4575969"/>
                  <a:gd name="connsiteX42" fmla="*/ 716756 w 8971757"/>
                  <a:gd name="connsiteY42" fmla="*/ 1547812 h 4575969"/>
                  <a:gd name="connsiteX43" fmla="*/ 764381 w 8971757"/>
                  <a:gd name="connsiteY43" fmla="*/ 1590675 h 4575969"/>
                  <a:gd name="connsiteX44" fmla="*/ 788194 w 8971757"/>
                  <a:gd name="connsiteY44" fmla="*/ 1693069 h 4575969"/>
                  <a:gd name="connsiteX45" fmla="*/ 785813 w 8971757"/>
                  <a:gd name="connsiteY45" fmla="*/ 1740694 h 4575969"/>
                  <a:gd name="connsiteX46" fmla="*/ 821531 w 8971757"/>
                  <a:gd name="connsiteY46" fmla="*/ 1840706 h 4575969"/>
                  <a:gd name="connsiteX47" fmla="*/ 866775 w 8971757"/>
                  <a:gd name="connsiteY47" fmla="*/ 1897856 h 4575969"/>
                  <a:gd name="connsiteX48" fmla="*/ 883443 w 8971757"/>
                  <a:gd name="connsiteY48" fmla="*/ 2055018 h 4575969"/>
                  <a:gd name="connsiteX49" fmla="*/ 850106 w 8971757"/>
                  <a:gd name="connsiteY49" fmla="*/ 2116931 h 4575969"/>
                  <a:gd name="connsiteX50" fmla="*/ 819150 w 8971757"/>
                  <a:gd name="connsiteY50" fmla="*/ 2193131 h 4575969"/>
                  <a:gd name="connsiteX51" fmla="*/ 833438 w 8971757"/>
                  <a:gd name="connsiteY51" fmla="*/ 2250281 h 4575969"/>
                  <a:gd name="connsiteX52" fmla="*/ 735806 w 8971757"/>
                  <a:gd name="connsiteY52" fmla="*/ 2357438 h 4575969"/>
                  <a:gd name="connsiteX53" fmla="*/ 692944 w 8971757"/>
                  <a:gd name="connsiteY53" fmla="*/ 2471737 h 4575969"/>
                  <a:gd name="connsiteX54" fmla="*/ 726281 w 8971757"/>
                  <a:gd name="connsiteY54" fmla="*/ 2512219 h 4575969"/>
                  <a:gd name="connsiteX55" fmla="*/ 709613 w 8971757"/>
                  <a:gd name="connsiteY55" fmla="*/ 2540794 h 4575969"/>
                  <a:gd name="connsiteX56" fmla="*/ 740569 w 8971757"/>
                  <a:gd name="connsiteY56" fmla="*/ 2597944 h 4575969"/>
                  <a:gd name="connsiteX57" fmla="*/ 769144 w 8971757"/>
                  <a:gd name="connsiteY57" fmla="*/ 2597944 h 4575969"/>
                  <a:gd name="connsiteX58" fmla="*/ 931069 w 8971757"/>
                  <a:gd name="connsiteY58" fmla="*/ 2700337 h 4575969"/>
                  <a:gd name="connsiteX59" fmla="*/ 1035844 w 8971757"/>
                  <a:gd name="connsiteY59" fmla="*/ 2697956 h 4575969"/>
                  <a:gd name="connsiteX60" fmla="*/ 1114425 w 8971757"/>
                  <a:gd name="connsiteY60" fmla="*/ 2752725 h 4575969"/>
                  <a:gd name="connsiteX61" fmla="*/ 1245393 w 8971757"/>
                  <a:gd name="connsiteY61" fmla="*/ 2755106 h 4575969"/>
                  <a:gd name="connsiteX62" fmla="*/ 1435893 w 8971757"/>
                  <a:gd name="connsiteY62" fmla="*/ 2824162 h 4575969"/>
                  <a:gd name="connsiteX63" fmla="*/ 1638300 w 8971757"/>
                  <a:gd name="connsiteY63" fmla="*/ 2974181 h 4575969"/>
                  <a:gd name="connsiteX64" fmla="*/ 1671637 w 8971757"/>
                  <a:gd name="connsiteY64" fmla="*/ 3040856 h 4575969"/>
                  <a:gd name="connsiteX65" fmla="*/ 1838325 w 8971757"/>
                  <a:gd name="connsiteY65" fmla="*/ 3167062 h 4575969"/>
                  <a:gd name="connsiteX66" fmla="*/ 1909763 w 8971757"/>
                  <a:gd name="connsiteY66" fmla="*/ 3162300 h 4575969"/>
                  <a:gd name="connsiteX67" fmla="*/ 1945482 w 8971757"/>
                  <a:gd name="connsiteY67" fmla="*/ 3186112 h 4575969"/>
                  <a:gd name="connsiteX68" fmla="*/ 1916906 w 8971757"/>
                  <a:gd name="connsiteY68" fmla="*/ 3226594 h 4575969"/>
                  <a:gd name="connsiteX69" fmla="*/ 1924050 w 8971757"/>
                  <a:gd name="connsiteY69" fmla="*/ 3278981 h 4575969"/>
                  <a:gd name="connsiteX70" fmla="*/ 1976438 w 8971757"/>
                  <a:gd name="connsiteY70" fmla="*/ 3305175 h 4575969"/>
                  <a:gd name="connsiteX71" fmla="*/ 2038350 w 8971757"/>
                  <a:gd name="connsiteY71" fmla="*/ 3529013 h 4575969"/>
                  <a:gd name="connsiteX72" fmla="*/ 2028825 w 8971757"/>
                  <a:gd name="connsiteY72" fmla="*/ 3593306 h 4575969"/>
                  <a:gd name="connsiteX73" fmla="*/ 2164556 w 8971757"/>
                  <a:gd name="connsiteY73" fmla="*/ 3759994 h 4575969"/>
                  <a:gd name="connsiteX74" fmla="*/ 2183606 w 8971757"/>
                  <a:gd name="connsiteY74" fmla="*/ 3810000 h 4575969"/>
                  <a:gd name="connsiteX75" fmla="*/ 2157413 w 8971757"/>
                  <a:gd name="connsiteY75" fmla="*/ 3829050 h 4575969"/>
                  <a:gd name="connsiteX76" fmla="*/ 2259806 w 8971757"/>
                  <a:gd name="connsiteY76" fmla="*/ 3838575 h 4575969"/>
                  <a:gd name="connsiteX77" fmla="*/ 2371725 w 8971757"/>
                  <a:gd name="connsiteY77" fmla="*/ 3826669 h 4575969"/>
                  <a:gd name="connsiteX78" fmla="*/ 2650331 w 8971757"/>
                  <a:gd name="connsiteY78" fmla="*/ 3910012 h 4575969"/>
                  <a:gd name="connsiteX79" fmla="*/ 3057525 w 8971757"/>
                  <a:gd name="connsiteY79" fmla="*/ 3990975 h 4575969"/>
                  <a:gd name="connsiteX80" fmla="*/ 3255169 w 8971757"/>
                  <a:gd name="connsiteY80" fmla="*/ 3960018 h 4575969"/>
                  <a:gd name="connsiteX81" fmla="*/ 3300413 w 8971757"/>
                  <a:gd name="connsiteY81" fmla="*/ 3971924 h 4575969"/>
                  <a:gd name="connsiteX82" fmla="*/ 3355181 w 8971757"/>
                  <a:gd name="connsiteY82" fmla="*/ 3948113 h 4575969"/>
                  <a:gd name="connsiteX83" fmla="*/ 3748087 w 8971757"/>
                  <a:gd name="connsiteY83" fmla="*/ 4038600 h 4575969"/>
                  <a:gd name="connsiteX84" fmla="*/ 3831432 w 8971757"/>
                  <a:gd name="connsiteY84" fmla="*/ 4136231 h 4575969"/>
                  <a:gd name="connsiteX85" fmla="*/ 3950494 w 8971757"/>
                  <a:gd name="connsiteY85" fmla="*/ 4207669 h 4575969"/>
                  <a:gd name="connsiteX86" fmla="*/ 4010025 w 8971757"/>
                  <a:gd name="connsiteY86" fmla="*/ 4191000 h 4575969"/>
                  <a:gd name="connsiteX87" fmla="*/ 4360068 w 8971757"/>
                  <a:gd name="connsiteY87" fmla="*/ 4364831 h 4575969"/>
                  <a:gd name="connsiteX88" fmla="*/ 4586288 w 8971757"/>
                  <a:gd name="connsiteY88" fmla="*/ 4336256 h 4575969"/>
                  <a:gd name="connsiteX89" fmla="*/ 4595813 w 8971757"/>
                  <a:gd name="connsiteY89" fmla="*/ 4414837 h 4575969"/>
                  <a:gd name="connsiteX90" fmla="*/ 4681538 w 8971757"/>
                  <a:gd name="connsiteY90" fmla="*/ 4410074 h 4575969"/>
                  <a:gd name="connsiteX91" fmla="*/ 4760119 w 8971757"/>
                  <a:gd name="connsiteY91" fmla="*/ 4441031 h 4575969"/>
                  <a:gd name="connsiteX92" fmla="*/ 4802981 w 8971757"/>
                  <a:gd name="connsiteY92" fmla="*/ 4381500 h 4575969"/>
                  <a:gd name="connsiteX93" fmla="*/ 5474494 w 8971757"/>
                  <a:gd name="connsiteY93" fmla="*/ 4062412 h 4575969"/>
                  <a:gd name="connsiteX94" fmla="*/ 5562600 w 8971757"/>
                  <a:gd name="connsiteY94" fmla="*/ 4090988 h 4575969"/>
                  <a:gd name="connsiteX95" fmla="*/ 5693569 w 8971757"/>
                  <a:gd name="connsiteY95" fmla="*/ 4062412 h 4575969"/>
                  <a:gd name="connsiteX96" fmla="*/ 5872162 w 8971757"/>
                  <a:gd name="connsiteY96" fmla="*/ 4079081 h 4575969"/>
                  <a:gd name="connsiteX97" fmla="*/ 5929313 w 8971757"/>
                  <a:gd name="connsiteY97" fmla="*/ 4052888 h 4575969"/>
                  <a:gd name="connsiteX98" fmla="*/ 6062662 w 8971757"/>
                  <a:gd name="connsiteY98" fmla="*/ 4050506 h 4575969"/>
                  <a:gd name="connsiteX99" fmla="*/ 6196012 w 8971757"/>
                  <a:gd name="connsiteY99" fmla="*/ 3952875 h 4575969"/>
                  <a:gd name="connsiteX100" fmla="*/ 6262687 w 8971757"/>
                  <a:gd name="connsiteY100" fmla="*/ 3945731 h 4575969"/>
                  <a:gd name="connsiteX101" fmla="*/ 6360319 w 8971757"/>
                  <a:gd name="connsiteY101" fmla="*/ 3871912 h 4575969"/>
                  <a:gd name="connsiteX102" fmla="*/ 6434138 w 8971757"/>
                  <a:gd name="connsiteY102" fmla="*/ 3802856 h 4575969"/>
                  <a:gd name="connsiteX103" fmla="*/ 6443663 w 8971757"/>
                  <a:gd name="connsiteY103" fmla="*/ 3740944 h 4575969"/>
                  <a:gd name="connsiteX104" fmla="*/ 6477000 w 8971757"/>
                  <a:gd name="connsiteY104" fmla="*/ 3671887 h 4575969"/>
                  <a:gd name="connsiteX105" fmla="*/ 6629400 w 8971757"/>
                  <a:gd name="connsiteY105" fmla="*/ 3564731 h 4575969"/>
                  <a:gd name="connsiteX106" fmla="*/ 6662738 w 8971757"/>
                  <a:gd name="connsiteY106" fmla="*/ 3569494 h 4575969"/>
                  <a:gd name="connsiteX107" fmla="*/ 6715125 w 8971757"/>
                  <a:gd name="connsiteY107" fmla="*/ 3490912 h 4575969"/>
                  <a:gd name="connsiteX108" fmla="*/ 6762750 w 8971757"/>
                  <a:gd name="connsiteY108" fmla="*/ 3452812 h 4575969"/>
                  <a:gd name="connsiteX109" fmla="*/ 6748463 w 8971757"/>
                  <a:gd name="connsiteY109" fmla="*/ 3383756 h 4575969"/>
                  <a:gd name="connsiteX110" fmla="*/ 6698456 w 8971757"/>
                  <a:gd name="connsiteY110" fmla="*/ 3352799 h 4575969"/>
                  <a:gd name="connsiteX111" fmla="*/ 6638925 w 8971757"/>
                  <a:gd name="connsiteY111" fmla="*/ 3298031 h 4575969"/>
                  <a:gd name="connsiteX112" fmla="*/ 6619875 w 8971757"/>
                  <a:gd name="connsiteY112" fmla="*/ 3240881 h 4575969"/>
                  <a:gd name="connsiteX113" fmla="*/ 6584156 w 8971757"/>
                  <a:gd name="connsiteY113" fmla="*/ 3207544 h 4575969"/>
                  <a:gd name="connsiteX114" fmla="*/ 6610350 w 8971757"/>
                  <a:gd name="connsiteY114" fmla="*/ 3155156 h 4575969"/>
                  <a:gd name="connsiteX115" fmla="*/ 6650831 w 8971757"/>
                  <a:gd name="connsiteY115" fmla="*/ 2976562 h 4575969"/>
                  <a:gd name="connsiteX116" fmla="*/ 6691313 w 8971757"/>
                  <a:gd name="connsiteY116" fmla="*/ 2909887 h 4575969"/>
                  <a:gd name="connsiteX117" fmla="*/ 6836569 w 8971757"/>
                  <a:gd name="connsiteY117" fmla="*/ 2893218 h 4575969"/>
                  <a:gd name="connsiteX118" fmla="*/ 6905625 w 8971757"/>
                  <a:gd name="connsiteY118" fmla="*/ 2950369 h 4575969"/>
                  <a:gd name="connsiteX119" fmla="*/ 6981825 w 8971757"/>
                  <a:gd name="connsiteY119" fmla="*/ 2974181 h 4575969"/>
                  <a:gd name="connsiteX120" fmla="*/ 7186612 w 8971757"/>
                  <a:gd name="connsiteY120" fmla="*/ 2978944 h 4575969"/>
                  <a:gd name="connsiteX121" fmla="*/ 7362825 w 8971757"/>
                  <a:gd name="connsiteY121" fmla="*/ 2840831 h 4575969"/>
                  <a:gd name="connsiteX122" fmla="*/ 7419975 w 8971757"/>
                  <a:gd name="connsiteY122" fmla="*/ 2750343 h 4575969"/>
                  <a:gd name="connsiteX123" fmla="*/ 7446169 w 8971757"/>
                  <a:gd name="connsiteY123" fmla="*/ 2667000 h 4575969"/>
                  <a:gd name="connsiteX124" fmla="*/ 7577137 w 8971757"/>
                  <a:gd name="connsiteY124" fmla="*/ 2667000 h 4575969"/>
                  <a:gd name="connsiteX125" fmla="*/ 7750969 w 8971757"/>
                  <a:gd name="connsiteY125" fmla="*/ 2609849 h 4575969"/>
                  <a:gd name="connsiteX126" fmla="*/ 7810500 w 8971757"/>
                  <a:gd name="connsiteY126" fmla="*/ 2497931 h 4575969"/>
                  <a:gd name="connsiteX127" fmla="*/ 7874794 w 8971757"/>
                  <a:gd name="connsiteY127" fmla="*/ 2462212 h 4575969"/>
                  <a:gd name="connsiteX128" fmla="*/ 7853363 w 8971757"/>
                  <a:gd name="connsiteY128" fmla="*/ 2416969 h 4575969"/>
                  <a:gd name="connsiteX129" fmla="*/ 7931944 w 8971757"/>
                  <a:gd name="connsiteY129" fmla="*/ 2247899 h 4575969"/>
                  <a:gd name="connsiteX130" fmla="*/ 7986713 w 8971757"/>
                  <a:gd name="connsiteY130" fmla="*/ 2188369 h 4575969"/>
                  <a:gd name="connsiteX131" fmla="*/ 8024813 w 8971757"/>
                  <a:gd name="connsiteY131" fmla="*/ 2183606 h 4575969"/>
                  <a:gd name="connsiteX132" fmla="*/ 8070056 w 8971757"/>
                  <a:gd name="connsiteY132" fmla="*/ 2188369 h 4575969"/>
                  <a:gd name="connsiteX133" fmla="*/ 8134350 w 8971757"/>
                  <a:gd name="connsiteY133" fmla="*/ 2155031 h 4575969"/>
                  <a:gd name="connsiteX134" fmla="*/ 8143875 w 8971757"/>
                  <a:gd name="connsiteY134" fmla="*/ 2090737 h 4575969"/>
                  <a:gd name="connsiteX135" fmla="*/ 8184355 w 8971757"/>
                  <a:gd name="connsiteY135" fmla="*/ 2055019 h 4575969"/>
                  <a:gd name="connsiteX136" fmla="*/ 8243888 w 8971757"/>
                  <a:gd name="connsiteY136" fmla="*/ 2095499 h 4575969"/>
                  <a:gd name="connsiteX137" fmla="*/ 8270082 w 8971757"/>
                  <a:gd name="connsiteY137" fmla="*/ 2045493 h 4575969"/>
                  <a:gd name="connsiteX138" fmla="*/ 8365331 w 8971757"/>
                  <a:gd name="connsiteY138" fmla="*/ 1976437 h 4575969"/>
                  <a:gd name="connsiteX139" fmla="*/ 8427244 w 8971757"/>
                  <a:gd name="connsiteY139" fmla="*/ 1983581 h 4575969"/>
                  <a:gd name="connsiteX140" fmla="*/ 8477250 w 8971757"/>
                  <a:gd name="connsiteY140" fmla="*/ 1964531 h 4575969"/>
                  <a:gd name="connsiteX141" fmla="*/ 8515350 w 8971757"/>
                  <a:gd name="connsiteY141" fmla="*/ 1935956 h 4575969"/>
                  <a:gd name="connsiteX142" fmla="*/ 8548688 w 8971757"/>
                  <a:gd name="connsiteY142" fmla="*/ 1933575 h 4575969"/>
                  <a:gd name="connsiteX143" fmla="*/ 8584406 w 8971757"/>
                  <a:gd name="connsiteY143" fmla="*/ 1964531 h 4575969"/>
                  <a:gd name="connsiteX144" fmla="*/ 8643938 w 8971757"/>
                  <a:gd name="connsiteY144" fmla="*/ 1964531 h 4575969"/>
                  <a:gd name="connsiteX145" fmla="*/ 8682037 w 8971757"/>
                  <a:gd name="connsiteY145" fmla="*/ 1945481 h 4575969"/>
                  <a:gd name="connsiteX146" fmla="*/ 8765381 w 8971757"/>
                  <a:gd name="connsiteY146" fmla="*/ 1947863 h 4575969"/>
                  <a:gd name="connsiteX147" fmla="*/ 8796338 w 8971757"/>
                  <a:gd name="connsiteY147" fmla="*/ 1902619 h 4575969"/>
                  <a:gd name="connsiteX148" fmla="*/ 8801100 w 8971757"/>
                  <a:gd name="connsiteY148" fmla="*/ 1840706 h 4575969"/>
                  <a:gd name="connsiteX149" fmla="*/ 8751093 w 8971757"/>
                  <a:gd name="connsiteY149" fmla="*/ 1800225 h 4575969"/>
                  <a:gd name="connsiteX150" fmla="*/ 8734425 w 8971757"/>
                  <a:gd name="connsiteY150" fmla="*/ 1745456 h 4575969"/>
                  <a:gd name="connsiteX151" fmla="*/ 8643938 w 8971757"/>
                  <a:gd name="connsiteY151" fmla="*/ 1683544 h 4575969"/>
                  <a:gd name="connsiteX152" fmla="*/ 8603456 w 8971757"/>
                  <a:gd name="connsiteY152" fmla="*/ 1662112 h 4575969"/>
                  <a:gd name="connsiteX153" fmla="*/ 8565356 w 8971757"/>
                  <a:gd name="connsiteY153" fmla="*/ 1616869 h 4575969"/>
                  <a:gd name="connsiteX154" fmla="*/ 8534400 w 8971757"/>
                  <a:gd name="connsiteY154" fmla="*/ 1614487 h 4575969"/>
                  <a:gd name="connsiteX155" fmla="*/ 8517731 w 8971757"/>
                  <a:gd name="connsiteY155" fmla="*/ 1562100 h 4575969"/>
                  <a:gd name="connsiteX156" fmla="*/ 8477250 w 8971757"/>
                  <a:gd name="connsiteY156" fmla="*/ 1545431 h 4575969"/>
                  <a:gd name="connsiteX157" fmla="*/ 8477250 w 8971757"/>
                  <a:gd name="connsiteY157" fmla="*/ 1545431 h 4575969"/>
                  <a:gd name="connsiteX158" fmla="*/ 8436769 w 8971757"/>
                  <a:gd name="connsiteY158" fmla="*/ 1550194 h 4575969"/>
                  <a:gd name="connsiteX159" fmla="*/ 8351043 w 8971757"/>
                  <a:gd name="connsiteY159" fmla="*/ 1476375 h 4575969"/>
                  <a:gd name="connsiteX160" fmla="*/ 8170069 w 8971757"/>
                  <a:gd name="connsiteY160" fmla="*/ 1476374 h 4575969"/>
                  <a:gd name="connsiteX161" fmla="*/ 8117681 w 8971757"/>
                  <a:gd name="connsiteY161" fmla="*/ 1514475 h 4575969"/>
                  <a:gd name="connsiteX162" fmla="*/ 8067675 w 8971757"/>
                  <a:gd name="connsiteY162" fmla="*/ 1593056 h 4575969"/>
                  <a:gd name="connsiteX163" fmla="*/ 8084344 w 8971757"/>
                  <a:gd name="connsiteY163" fmla="*/ 1614487 h 4575969"/>
                  <a:gd name="connsiteX164" fmla="*/ 8039100 w 8971757"/>
                  <a:gd name="connsiteY164" fmla="*/ 1664493 h 4575969"/>
                  <a:gd name="connsiteX165" fmla="*/ 7889081 w 8971757"/>
                  <a:gd name="connsiteY165" fmla="*/ 1588293 h 4575969"/>
                  <a:gd name="connsiteX166" fmla="*/ 7798594 w 8971757"/>
                  <a:gd name="connsiteY166" fmla="*/ 1624012 h 4575969"/>
                  <a:gd name="connsiteX167" fmla="*/ 7724775 w 8971757"/>
                  <a:gd name="connsiteY167" fmla="*/ 1621631 h 4575969"/>
                  <a:gd name="connsiteX168" fmla="*/ 7667625 w 8971757"/>
                  <a:gd name="connsiteY168" fmla="*/ 1716881 h 4575969"/>
                  <a:gd name="connsiteX169" fmla="*/ 7529513 w 8971757"/>
                  <a:gd name="connsiteY16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6788944 w 8971757"/>
                  <a:gd name="connsiteY16" fmla="*/ 1031081 h 4575969"/>
                  <a:gd name="connsiteX17" fmla="*/ 8412956 w 8971757"/>
                  <a:gd name="connsiteY17" fmla="*/ 23812 h 4575969"/>
                  <a:gd name="connsiteX18" fmla="*/ 8949531 w 8971757"/>
                  <a:gd name="connsiteY18" fmla="*/ 0 h 4575969"/>
                  <a:gd name="connsiteX19" fmla="*/ 8971757 w 8971757"/>
                  <a:gd name="connsiteY19" fmla="*/ 4575969 h 4575969"/>
                  <a:gd name="connsiteX20" fmla="*/ 2381 w 8971757"/>
                  <a:gd name="connsiteY20" fmla="*/ 4547392 h 4575969"/>
                  <a:gd name="connsiteX21" fmla="*/ 0 w 8971757"/>
                  <a:gd name="connsiteY21" fmla="*/ 845344 h 4575969"/>
                  <a:gd name="connsiteX22" fmla="*/ 76200 w 8971757"/>
                  <a:gd name="connsiteY22" fmla="*/ 828675 h 4575969"/>
                  <a:gd name="connsiteX23" fmla="*/ 119063 w 8971757"/>
                  <a:gd name="connsiteY23" fmla="*/ 857250 h 4575969"/>
                  <a:gd name="connsiteX24" fmla="*/ 215900 w 8971757"/>
                  <a:gd name="connsiteY24" fmla="*/ 848519 h 4575969"/>
                  <a:gd name="connsiteX25" fmla="*/ 261938 w 8971757"/>
                  <a:gd name="connsiteY25" fmla="*/ 876299 h 4575969"/>
                  <a:gd name="connsiteX26" fmla="*/ 228600 w 8971757"/>
                  <a:gd name="connsiteY26" fmla="*/ 904875 h 4575969"/>
                  <a:gd name="connsiteX27" fmla="*/ 233363 w 8971757"/>
                  <a:gd name="connsiteY27" fmla="*/ 947737 h 4575969"/>
                  <a:gd name="connsiteX28" fmla="*/ 200025 w 8971757"/>
                  <a:gd name="connsiteY28" fmla="*/ 952500 h 4575969"/>
                  <a:gd name="connsiteX29" fmla="*/ 204788 w 8971757"/>
                  <a:gd name="connsiteY29" fmla="*/ 976312 h 4575969"/>
                  <a:gd name="connsiteX30" fmla="*/ 261937 w 8971757"/>
                  <a:gd name="connsiteY30" fmla="*/ 1050131 h 4575969"/>
                  <a:gd name="connsiteX31" fmla="*/ 223838 w 8971757"/>
                  <a:gd name="connsiteY31" fmla="*/ 1097756 h 4575969"/>
                  <a:gd name="connsiteX32" fmla="*/ 278606 w 8971757"/>
                  <a:gd name="connsiteY32" fmla="*/ 1133475 h 4575969"/>
                  <a:gd name="connsiteX33" fmla="*/ 369094 w 8971757"/>
                  <a:gd name="connsiteY33" fmla="*/ 1221581 h 4575969"/>
                  <a:gd name="connsiteX34" fmla="*/ 371475 w 8971757"/>
                  <a:gd name="connsiteY34" fmla="*/ 1281112 h 4575969"/>
                  <a:gd name="connsiteX35" fmla="*/ 507206 w 8971757"/>
                  <a:gd name="connsiteY35" fmla="*/ 1414463 h 4575969"/>
                  <a:gd name="connsiteX36" fmla="*/ 561975 w 8971757"/>
                  <a:gd name="connsiteY36" fmla="*/ 1390650 h 4575969"/>
                  <a:gd name="connsiteX37" fmla="*/ 600075 w 8971757"/>
                  <a:gd name="connsiteY37" fmla="*/ 1416843 h 4575969"/>
                  <a:gd name="connsiteX38" fmla="*/ 614363 w 8971757"/>
                  <a:gd name="connsiteY38" fmla="*/ 1466849 h 4575969"/>
                  <a:gd name="connsiteX39" fmla="*/ 657225 w 8971757"/>
                  <a:gd name="connsiteY39" fmla="*/ 1502569 h 4575969"/>
                  <a:gd name="connsiteX40" fmla="*/ 697706 w 8971757"/>
                  <a:gd name="connsiteY40" fmla="*/ 1490662 h 4575969"/>
                  <a:gd name="connsiteX41" fmla="*/ 716756 w 8971757"/>
                  <a:gd name="connsiteY41" fmla="*/ 1547812 h 4575969"/>
                  <a:gd name="connsiteX42" fmla="*/ 764381 w 8971757"/>
                  <a:gd name="connsiteY42" fmla="*/ 1590675 h 4575969"/>
                  <a:gd name="connsiteX43" fmla="*/ 788194 w 8971757"/>
                  <a:gd name="connsiteY43" fmla="*/ 1693069 h 4575969"/>
                  <a:gd name="connsiteX44" fmla="*/ 785813 w 8971757"/>
                  <a:gd name="connsiteY44" fmla="*/ 1740694 h 4575969"/>
                  <a:gd name="connsiteX45" fmla="*/ 821531 w 8971757"/>
                  <a:gd name="connsiteY45" fmla="*/ 1840706 h 4575969"/>
                  <a:gd name="connsiteX46" fmla="*/ 866775 w 8971757"/>
                  <a:gd name="connsiteY46" fmla="*/ 1897856 h 4575969"/>
                  <a:gd name="connsiteX47" fmla="*/ 883443 w 8971757"/>
                  <a:gd name="connsiteY47" fmla="*/ 2055018 h 4575969"/>
                  <a:gd name="connsiteX48" fmla="*/ 850106 w 8971757"/>
                  <a:gd name="connsiteY48" fmla="*/ 2116931 h 4575969"/>
                  <a:gd name="connsiteX49" fmla="*/ 819150 w 8971757"/>
                  <a:gd name="connsiteY49" fmla="*/ 2193131 h 4575969"/>
                  <a:gd name="connsiteX50" fmla="*/ 833438 w 8971757"/>
                  <a:gd name="connsiteY50" fmla="*/ 2250281 h 4575969"/>
                  <a:gd name="connsiteX51" fmla="*/ 735806 w 8971757"/>
                  <a:gd name="connsiteY51" fmla="*/ 2357438 h 4575969"/>
                  <a:gd name="connsiteX52" fmla="*/ 692944 w 8971757"/>
                  <a:gd name="connsiteY52" fmla="*/ 2471737 h 4575969"/>
                  <a:gd name="connsiteX53" fmla="*/ 726281 w 8971757"/>
                  <a:gd name="connsiteY53" fmla="*/ 2512219 h 4575969"/>
                  <a:gd name="connsiteX54" fmla="*/ 709613 w 8971757"/>
                  <a:gd name="connsiteY54" fmla="*/ 2540794 h 4575969"/>
                  <a:gd name="connsiteX55" fmla="*/ 740569 w 8971757"/>
                  <a:gd name="connsiteY55" fmla="*/ 2597944 h 4575969"/>
                  <a:gd name="connsiteX56" fmla="*/ 769144 w 8971757"/>
                  <a:gd name="connsiteY56" fmla="*/ 2597944 h 4575969"/>
                  <a:gd name="connsiteX57" fmla="*/ 931069 w 8971757"/>
                  <a:gd name="connsiteY57" fmla="*/ 2700337 h 4575969"/>
                  <a:gd name="connsiteX58" fmla="*/ 1035844 w 8971757"/>
                  <a:gd name="connsiteY58" fmla="*/ 2697956 h 4575969"/>
                  <a:gd name="connsiteX59" fmla="*/ 1114425 w 8971757"/>
                  <a:gd name="connsiteY59" fmla="*/ 2752725 h 4575969"/>
                  <a:gd name="connsiteX60" fmla="*/ 1245393 w 8971757"/>
                  <a:gd name="connsiteY60" fmla="*/ 2755106 h 4575969"/>
                  <a:gd name="connsiteX61" fmla="*/ 1435893 w 8971757"/>
                  <a:gd name="connsiteY61" fmla="*/ 2824162 h 4575969"/>
                  <a:gd name="connsiteX62" fmla="*/ 1638300 w 8971757"/>
                  <a:gd name="connsiteY62" fmla="*/ 2974181 h 4575969"/>
                  <a:gd name="connsiteX63" fmla="*/ 1671637 w 8971757"/>
                  <a:gd name="connsiteY63" fmla="*/ 3040856 h 4575969"/>
                  <a:gd name="connsiteX64" fmla="*/ 1838325 w 8971757"/>
                  <a:gd name="connsiteY64" fmla="*/ 3167062 h 4575969"/>
                  <a:gd name="connsiteX65" fmla="*/ 1909763 w 8971757"/>
                  <a:gd name="connsiteY65" fmla="*/ 3162300 h 4575969"/>
                  <a:gd name="connsiteX66" fmla="*/ 1945482 w 8971757"/>
                  <a:gd name="connsiteY66" fmla="*/ 3186112 h 4575969"/>
                  <a:gd name="connsiteX67" fmla="*/ 1916906 w 8971757"/>
                  <a:gd name="connsiteY67" fmla="*/ 3226594 h 4575969"/>
                  <a:gd name="connsiteX68" fmla="*/ 1924050 w 8971757"/>
                  <a:gd name="connsiteY68" fmla="*/ 3278981 h 4575969"/>
                  <a:gd name="connsiteX69" fmla="*/ 1976438 w 8971757"/>
                  <a:gd name="connsiteY69" fmla="*/ 3305175 h 4575969"/>
                  <a:gd name="connsiteX70" fmla="*/ 2038350 w 8971757"/>
                  <a:gd name="connsiteY70" fmla="*/ 3529013 h 4575969"/>
                  <a:gd name="connsiteX71" fmla="*/ 2028825 w 8971757"/>
                  <a:gd name="connsiteY71" fmla="*/ 3593306 h 4575969"/>
                  <a:gd name="connsiteX72" fmla="*/ 2164556 w 8971757"/>
                  <a:gd name="connsiteY72" fmla="*/ 3759994 h 4575969"/>
                  <a:gd name="connsiteX73" fmla="*/ 2183606 w 8971757"/>
                  <a:gd name="connsiteY73" fmla="*/ 3810000 h 4575969"/>
                  <a:gd name="connsiteX74" fmla="*/ 2157413 w 8971757"/>
                  <a:gd name="connsiteY74" fmla="*/ 3829050 h 4575969"/>
                  <a:gd name="connsiteX75" fmla="*/ 2259806 w 8971757"/>
                  <a:gd name="connsiteY75" fmla="*/ 3838575 h 4575969"/>
                  <a:gd name="connsiteX76" fmla="*/ 2371725 w 8971757"/>
                  <a:gd name="connsiteY76" fmla="*/ 3826669 h 4575969"/>
                  <a:gd name="connsiteX77" fmla="*/ 2650331 w 8971757"/>
                  <a:gd name="connsiteY77" fmla="*/ 3910012 h 4575969"/>
                  <a:gd name="connsiteX78" fmla="*/ 3057525 w 8971757"/>
                  <a:gd name="connsiteY78" fmla="*/ 3990975 h 4575969"/>
                  <a:gd name="connsiteX79" fmla="*/ 3255169 w 8971757"/>
                  <a:gd name="connsiteY79" fmla="*/ 3960018 h 4575969"/>
                  <a:gd name="connsiteX80" fmla="*/ 3300413 w 8971757"/>
                  <a:gd name="connsiteY80" fmla="*/ 3971924 h 4575969"/>
                  <a:gd name="connsiteX81" fmla="*/ 3355181 w 8971757"/>
                  <a:gd name="connsiteY81" fmla="*/ 3948113 h 4575969"/>
                  <a:gd name="connsiteX82" fmla="*/ 3748087 w 8971757"/>
                  <a:gd name="connsiteY82" fmla="*/ 4038600 h 4575969"/>
                  <a:gd name="connsiteX83" fmla="*/ 3831432 w 8971757"/>
                  <a:gd name="connsiteY83" fmla="*/ 4136231 h 4575969"/>
                  <a:gd name="connsiteX84" fmla="*/ 3950494 w 8971757"/>
                  <a:gd name="connsiteY84" fmla="*/ 4207669 h 4575969"/>
                  <a:gd name="connsiteX85" fmla="*/ 4010025 w 8971757"/>
                  <a:gd name="connsiteY85" fmla="*/ 4191000 h 4575969"/>
                  <a:gd name="connsiteX86" fmla="*/ 4360068 w 8971757"/>
                  <a:gd name="connsiteY86" fmla="*/ 4364831 h 4575969"/>
                  <a:gd name="connsiteX87" fmla="*/ 4586288 w 8971757"/>
                  <a:gd name="connsiteY87" fmla="*/ 4336256 h 4575969"/>
                  <a:gd name="connsiteX88" fmla="*/ 4595813 w 8971757"/>
                  <a:gd name="connsiteY88" fmla="*/ 4414837 h 4575969"/>
                  <a:gd name="connsiteX89" fmla="*/ 4681538 w 8971757"/>
                  <a:gd name="connsiteY89" fmla="*/ 4410074 h 4575969"/>
                  <a:gd name="connsiteX90" fmla="*/ 4760119 w 8971757"/>
                  <a:gd name="connsiteY90" fmla="*/ 4441031 h 4575969"/>
                  <a:gd name="connsiteX91" fmla="*/ 4802981 w 8971757"/>
                  <a:gd name="connsiteY91" fmla="*/ 4381500 h 4575969"/>
                  <a:gd name="connsiteX92" fmla="*/ 5474494 w 8971757"/>
                  <a:gd name="connsiteY92" fmla="*/ 4062412 h 4575969"/>
                  <a:gd name="connsiteX93" fmla="*/ 5562600 w 8971757"/>
                  <a:gd name="connsiteY93" fmla="*/ 4090988 h 4575969"/>
                  <a:gd name="connsiteX94" fmla="*/ 5693569 w 8971757"/>
                  <a:gd name="connsiteY94" fmla="*/ 4062412 h 4575969"/>
                  <a:gd name="connsiteX95" fmla="*/ 5872162 w 8971757"/>
                  <a:gd name="connsiteY95" fmla="*/ 4079081 h 4575969"/>
                  <a:gd name="connsiteX96" fmla="*/ 5929313 w 8971757"/>
                  <a:gd name="connsiteY96" fmla="*/ 4052888 h 4575969"/>
                  <a:gd name="connsiteX97" fmla="*/ 6062662 w 8971757"/>
                  <a:gd name="connsiteY97" fmla="*/ 4050506 h 4575969"/>
                  <a:gd name="connsiteX98" fmla="*/ 6196012 w 8971757"/>
                  <a:gd name="connsiteY98" fmla="*/ 3952875 h 4575969"/>
                  <a:gd name="connsiteX99" fmla="*/ 6262687 w 8971757"/>
                  <a:gd name="connsiteY99" fmla="*/ 3945731 h 4575969"/>
                  <a:gd name="connsiteX100" fmla="*/ 6360319 w 8971757"/>
                  <a:gd name="connsiteY100" fmla="*/ 3871912 h 4575969"/>
                  <a:gd name="connsiteX101" fmla="*/ 6434138 w 8971757"/>
                  <a:gd name="connsiteY101" fmla="*/ 3802856 h 4575969"/>
                  <a:gd name="connsiteX102" fmla="*/ 6443663 w 8971757"/>
                  <a:gd name="connsiteY102" fmla="*/ 3740944 h 4575969"/>
                  <a:gd name="connsiteX103" fmla="*/ 6477000 w 8971757"/>
                  <a:gd name="connsiteY103" fmla="*/ 3671887 h 4575969"/>
                  <a:gd name="connsiteX104" fmla="*/ 6629400 w 8971757"/>
                  <a:gd name="connsiteY104" fmla="*/ 3564731 h 4575969"/>
                  <a:gd name="connsiteX105" fmla="*/ 6662738 w 8971757"/>
                  <a:gd name="connsiteY105" fmla="*/ 3569494 h 4575969"/>
                  <a:gd name="connsiteX106" fmla="*/ 6715125 w 8971757"/>
                  <a:gd name="connsiteY106" fmla="*/ 3490912 h 4575969"/>
                  <a:gd name="connsiteX107" fmla="*/ 6762750 w 8971757"/>
                  <a:gd name="connsiteY107" fmla="*/ 3452812 h 4575969"/>
                  <a:gd name="connsiteX108" fmla="*/ 6748463 w 8971757"/>
                  <a:gd name="connsiteY108" fmla="*/ 3383756 h 4575969"/>
                  <a:gd name="connsiteX109" fmla="*/ 6698456 w 8971757"/>
                  <a:gd name="connsiteY109" fmla="*/ 3352799 h 4575969"/>
                  <a:gd name="connsiteX110" fmla="*/ 6638925 w 8971757"/>
                  <a:gd name="connsiteY110" fmla="*/ 3298031 h 4575969"/>
                  <a:gd name="connsiteX111" fmla="*/ 6619875 w 8971757"/>
                  <a:gd name="connsiteY111" fmla="*/ 3240881 h 4575969"/>
                  <a:gd name="connsiteX112" fmla="*/ 6584156 w 8971757"/>
                  <a:gd name="connsiteY112" fmla="*/ 3207544 h 4575969"/>
                  <a:gd name="connsiteX113" fmla="*/ 6610350 w 8971757"/>
                  <a:gd name="connsiteY113" fmla="*/ 3155156 h 4575969"/>
                  <a:gd name="connsiteX114" fmla="*/ 6650831 w 8971757"/>
                  <a:gd name="connsiteY114" fmla="*/ 2976562 h 4575969"/>
                  <a:gd name="connsiteX115" fmla="*/ 6691313 w 8971757"/>
                  <a:gd name="connsiteY115" fmla="*/ 2909887 h 4575969"/>
                  <a:gd name="connsiteX116" fmla="*/ 6836569 w 8971757"/>
                  <a:gd name="connsiteY116" fmla="*/ 2893218 h 4575969"/>
                  <a:gd name="connsiteX117" fmla="*/ 6905625 w 8971757"/>
                  <a:gd name="connsiteY117" fmla="*/ 2950369 h 4575969"/>
                  <a:gd name="connsiteX118" fmla="*/ 6981825 w 8971757"/>
                  <a:gd name="connsiteY118" fmla="*/ 2974181 h 4575969"/>
                  <a:gd name="connsiteX119" fmla="*/ 7186612 w 8971757"/>
                  <a:gd name="connsiteY119" fmla="*/ 2978944 h 4575969"/>
                  <a:gd name="connsiteX120" fmla="*/ 7362825 w 8971757"/>
                  <a:gd name="connsiteY120" fmla="*/ 2840831 h 4575969"/>
                  <a:gd name="connsiteX121" fmla="*/ 7419975 w 8971757"/>
                  <a:gd name="connsiteY121" fmla="*/ 2750343 h 4575969"/>
                  <a:gd name="connsiteX122" fmla="*/ 7446169 w 8971757"/>
                  <a:gd name="connsiteY122" fmla="*/ 2667000 h 4575969"/>
                  <a:gd name="connsiteX123" fmla="*/ 7577137 w 8971757"/>
                  <a:gd name="connsiteY123" fmla="*/ 2667000 h 4575969"/>
                  <a:gd name="connsiteX124" fmla="*/ 7750969 w 8971757"/>
                  <a:gd name="connsiteY124" fmla="*/ 2609849 h 4575969"/>
                  <a:gd name="connsiteX125" fmla="*/ 7810500 w 8971757"/>
                  <a:gd name="connsiteY125" fmla="*/ 2497931 h 4575969"/>
                  <a:gd name="connsiteX126" fmla="*/ 7874794 w 8971757"/>
                  <a:gd name="connsiteY126" fmla="*/ 2462212 h 4575969"/>
                  <a:gd name="connsiteX127" fmla="*/ 7853363 w 8971757"/>
                  <a:gd name="connsiteY127" fmla="*/ 2416969 h 4575969"/>
                  <a:gd name="connsiteX128" fmla="*/ 7931944 w 8971757"/>
                  <a:gd name="connsiteY128" fmla="*/ 2247899 h 4575969"/>
                  <a:gd name="connsiteX129" fmla="*/ 7986713 w 8971757"/>
                  <a:gd name="connsiteY129" fmla="*/ 2188369 h 4575969"/>
                  <a:gd name="connsiteX130" fmla="*/ 8024813 w 8971757"/>
                  <a:gd name="connsiteY130" fmla="*/ 2183606 h 4575969"/>
                  <a:gd name="connsiteX131" fmla="*/ 8070056 w 8971757"/>
                  <a:gd name="connsiteY131" fmla="*/ 2188369 h 4575969"/>
                  <a:gd name="connsiteX132" fmla="*/ 8134350 w 8971757"/>
                  <a:gd name="connsiteY132" fmla="*/ 2155031 h 4575969"/>
                  <a:gd name="connsiteX133" fmla="*/ 8143875 w 8971757"/>
                  <a:gd name="connsiteY133" fmla="*/ 2090737 h 4575969"/>
                  <a:gd name="connsiteX134" fmla="*/ 8184355 w 8971757"/>
                  <a:gd name="connsiteY134" fmla="*/ 2055019 h 4575969"/>
                  <a:gd name="connsiteX135" fmla="*/ 8243888 w 8971757"/>
                  <a:gd name="connsiteY135" fmla="*/ 2095499 h 4575969"/>
                  <a:gd name="connsiteX136" fmla="*/ 8270082 w 8971757"/>
                  <a:gd name="connsiteY136" fmla="*/ 2045493 h 4575969"/>
                  <a:gd name="connsiteX137" fmla="*/ 8365331 w 8971757"/>
                  <a:gd name="connsiteY137" fmla="*/ 1976437 h 4575969"/>
                  <a:gd name="connsiteX138" fmla="*/ 8427244 w 8971757"/>
                  <a:gd name="connsiteY138" fmla="*/ 1983581 h 4575969"/>
                  <a:gd name="connsiteX139" fmla="*/ 8477250 w 8971757"/>
                  <a:gd name="connsiteY139" fmla="*/ 1964531 h 4575969"/>
                  <a:gd name="connsiteX140" fmla="*/ 8515350 w 8971757"/>
                  <a:gd name="connsiteY140" fmla="*/ 1935956 h 4575969"/>
                  <a:gd name="connsiteX141" fmla="*/ 8548688 w 8971757"/>
                  <a:gd name="connsiteY141" fmla="*/ 1933575 h 4575969"/>
                  <a:gd name="connsiteX142" fmla="*/ 8584406 w 8971757"/>
                  <a:gd name="connsiteY142" fmla="*/ 1964531 h 4575969"/>
                  <a:gd name="connsiteX143" fmla="*/ 8643938 w 8971757"/>
                  <a:gd name="connsiteY143" fmla="*/ 1964531 h 4575969"/>
                  <a:gd name="connsiteX144" fmla="*/ 8682037 w 8971757"/>
                  <a:gd name="connsiteY144" fmla="*/ 1945481 h 4575969"/>
                  <a:gd name="connsiteX145" fmla="*/ 8765381 w 8971757"/>
                  <a:gd name="connsiteY145" fmla="*/ 1947863 h 4575969"/>
                  <a:gd name="connsiteX146" fmla="*/ 8796338 w 8971757"/>
                  <a:gd name="connsiteY146" fmla="*/ 1902619 h 4575969"/>
                  <a:gd name="connsiteX147" fmla="*/ 8801100 w 8971757"/>
                  <a:gd name="connsiteY147" fmla="*/ 1840706 h 4575969"/>
                  <a:gd name="connsiteX148" fmla="*/ 8751093 w 8971757"/>
                  <a:gd name="connsiteY148" fmla="*/ 1800225 h 4575969"/>
                  <a:gd name="connsiteX149" fmla="*/ 8734425 w 8971757"/>
                  <a:gd name="connsiteY149" fmla="*/ 1745456 h 4575969"/>
                  <a:gd name="connsiteX150" fmla="*/ 8643938 w 8971757"/>
                  <a:gd name="connsiteY150" fmla="*/ 1683544 h 4575969"/>
                  <a:gd name="connsiteX151" fmla="*/ 8603456 w 8971757"/>
                  <a:gd name="connsiteY151" fmla="*/ 1662112 h 4575969"/>
                  <a:gd name="connsiteX152" fmla="*/ 8565356 w 8971757"/>
                  <a:gd name="connsiteY152" fmla="*/ 1616869 h 4575969"/>
                  <a:gd name="connsiteX153" fmla="*/ 8534400 w 8971757"/>
                  <a:gd name="connsiteY153" fmla="*/ 1614487 h 4575969"/>
                  <a:gd name="connsiteX154" fmla="*/ 8517731 w 8971757"/>
                  <a:gd name="connsiteY154" fmla="*/ 1562100 h 4575969"/>
                  <a:gd name="connsiteX155" fmla="*/ 8477250 w 8971757"/>
                  <a:gd name="connsiteY155" fmla="*/ 1545431 h 4575969"/>
                  <a:gd name="connsiteX156" fmla="*/ 8477250 w 8971757"/>
                  <a:gd name="connsiteY156" fmla="*/ 1545431 h 4575969"/>
                  <a:gd name="connsiteX157" fmla="*/ 8436769 w 8971757"/>
                  <a:gd name="connsiteY157" fmla="*/ 1550194 h 4575969"/>
                  <a:gd name="connsiteX158" fmla="*/ 8351043 w 8971757"/>
                  <a:gd name="connsiteY158" fmla="*/ 1476375 h 4575969"/>
                  <a:gd name="connsiteX159" fmla="*/ 8170069 w 8971757"/>
                  <a:gd name="connsiteY159" fmla="*/ 1476374 h 4575969"/>
                  <a:gd name="connsiteX160" fmla="*/ 8117681 w 8971757"/>
                  <a:gd name="connsiteY160" fmla="*/ 1514475 h 4575969"/>
                  <a:gd name="connsiteX161" fmla="*/ 8067675 w 8971757"/>
                  <a:gd name="connsiteY161" fmla="*/ 1593056 h 4575969"/>
                  <a:gd name="connsiteX162" fmla="*/ 8084344 w 8971757"/>
                  <a:gd name="connsiteY162" fmla="*/ 1614487 h 4575969"/>
                  <a:gd name="connsiteX163" fmla="*/ 8039100 w 8971757"/>
                  <a:gd name="connsiteY163" fmla="*/ 1664493 h 4575969"/>
                  <a:gd name="connsiteX164" fmla="*/ 7889081 w 8971757"/>
                  <a:gd name="connsiteY164" fmla="*/ 1588293 h 4575969"/>
                  <a:gd name="connsiteX165" fmla="*/ 7798594 w 8971757"/>
                  <a:gd name="connsiteY165" fmla="*/ 1624012 h 4575969"/>
                  <a:gd name="connsiteX166" fmla="*/ 7724775 w 8971757"/>
                  <a:gd name="connsiteY166" fmla="*/ 1621631 h 4575969"/>
                  <a:gd name="connsiteX167" fmla="*/ 7667625 w 8971757"/>
                  <a:gd name="connsiteY167" fmla="*/ 1716881 h 4575969"/>
                  <a:gd name="connsiteX168" fmla="*/ 7529513 w 8971757"/>
                  <a:gd name="connsiteY16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6831806 w 8971757"/>
                  <a:gd name="connsiteY15" fmla="*/ 962025 h 4575969"/>
                  <a:gd name="connsiteX16" fmla="*/ 8412956 w 8971757"/>
                  <a:gd name="connsiteY16" fmla="*/ 23812 h 4575969"/>
                  <a:gd name="connsiteX17" fmla="*/ 8949531 w 8971757"/>
                  <a:gd name="connsiteY17" fmla="*/ 0 h 4575969"/>
                  <a:gd name="connsiteX18" fmla="*/ 8971757 w 8971757"/>
                  <a:gd name="connsiteY18" fmla="*/ 4575969 h 4575969"/>
                  <a:gd name="connsiteX19" fmla="*/ 2381 w 8971757"/>
                  <a:gd name="connsiteY19" fmla="*/ 4547392 h 4575969"/>
                  <a:gd name="connsiteX20" fmla="*/ 0 w 8971757"/>
                  <a:gd name="connsiteY20" fmla="*/ 845344 h 4575969"/>
                  <a:gd name="connsiteX21" fmla="*/ 76200 w 8971757"/>
                  <a:gd name="connsiteY21" fmla="*/ 828675 h 4575969"/>
                  <a:gd name="connsiteX22" fmla="*/ 119063 w 8971757"/>
                  <a:gd name="connsiteY22" fmla="*/ 857250 h 4575969"/>
                  <a:gd name="connsiteX23" fmla="*/ 215900 w 8971757"/>
                  <a:gd name="connsiteY23" fmla="*/ 848519 h 4575969"/>
                  <a:gd name="connsiteX24" fmla="*/ 261938 w 8971757"/>
                  <a:gd name="connsiteY24" fmla="*/ 876299 h 4575969"/>
                  <a:gd name="connsiteX25" fmla="*/ 228600 w 8971757"/>
                  <a:gd name="connsiteY25" fmla="*/ 904875 h 4575969"/>
                  <a:gd name="connsiteX26" fmla="*/ 233363 w 8971757"/>
                  <a:gd name="connsiteY26" fmla="*/ 947737 h 4575969"/>
                  <a:gd name="connsiteX27" fmla="*/ 200025 w 8971757"/>
                  <a:gd name="connsiteY27" fmla="*/ 952500 h 4575969"/>
                  <a:gd name="connsiteX28" fmla="*/ 204788 w 8971757"/>
                  <a:gd name="connsiteY28" fmla="*/ 976312 h 4575969"/>
                  <a:gd name="connsiteX29" fmla="*/ 261937 w 8971757"/>
                  <a:gd name="connsiteY29" fmla="*/ 1050131 h 4575969"/>
                  <a:gd name="connsiteX30" fmla="*/ 223838 w 8971757"/>
                  <a:gd name="connsiteY30" fmla="*/ 1097756 h 4575969"/>
                  <a:gd name="connsiteX31" fmla="*/ 278606 w 8971757"/>
                  <a:gd name="connsiteY31" fmla="*/ 1133475 h 4575969"/>
                  <a:gd name="connsiteX32" fmla="*/ 369094 w 8971757"/>
                  <a:gd name="connsiteY32" fmla="*/ 1221581 h 4575969"/>
                  <a:gd name="connsiteX33" fmla="*/ 371475 w 8971757"/>
                  <a:gd name="connsiteY33" fmla="*/ 1281112 h 4575969"/>
                  <a:gd name="connsiteX34" fmla="*/ 507206 w 8971757"/>
                  <a:gd name="connsiteY34" fmla="*/ 1414463 h 4575969"/>
                  <a:gd name="connsiteX35" fmla="*/ 561975 w 8971757"/>
                  <a:gd name="connsiteY35" fmla="*/ 1390650 h 4575969"/>
                  <a:gd name="connsiteX36" fmla="*/ 600075 w 8971757"/>
                  <a:gd name="connsiteY36" fmla="*/ 1416843 h 4575969"/>
                  <a:gd name="connsiteX37" fmla="*/ 614363 w 8971757"/>
                  <a:gd name="connsiteY37" fmla="*/ 1466849 h 4575969"/>
                  <a:gd name="connsiteX38" fmla="*/ 657225 w 8971757"/>
                  <a:gd name="connsiteY38" fmla="*/ 1502569 h 4575969"/>
                  <a:gd name="connsiteX39" fmla="*/ 697706 w 8971757"/>
                  <a:gd name="connsiteY39" fmla="*/ 1490662 h 4575969"/>
                  <a:gd name="connsiteX40" fmla="*/ 716756 w 8971757"/>
                  <a:gd name="connsiteY40" fmla="*/ 1547812 h 4575969"/>
                  <a:gd name="connsiteX41" fmla="*/ 764381 w 8971757"/>
                  <a:gd name="connsiteY41" fmla="*/ 1590675 h 4575969"/>
                  <a:gd name="connsiteX42" fmla="*/ 788194 w 8971757"/>
                  <a:gd name="connsiteY42" fmla="*/ 1693069 h 4575969"/>
                  <a:gd name="connsiteX43" fmla="*/ 785813 w 8971757"/>
                  <a:gd name="connsiteY43" fmla="*/ 1740694 h 4575969"/>
                  <a:gd name="connsiteX44" fmla="*/ 821531 w 8971757"/>
                  <a:gd name="connsiteY44" fmla="*/ 1840706 h 4575969"/>
                  <a:gd name="connsiteX45" fmla="*/ 866775 w 8971757"/>
                  <a:gd name="connsiteY45" fmla="*/ 1897856 h 4575969"/>
                  <a:gd name="connsiteX46" fmla="*/ 883443 w 8971757"/>
                  <a:gd name="connsiteY46" fmla="*/ 2055018 h 4575969"/>
                  <a:gd name="connsiteX47" fmla="*/ 850106 w 8971757"/>
                  <a:gd name="connsiteY47" fmla="*/ 2116931 h 4575969"/>
                  <a:gd name="connsiteX48" fmla="*/ 819150 w 8971757"/>
                  <a:gd name="connsiteY48" fmla="*/ 2193131 h 4575969"/>
                  <a:gd name="connsiteX49" fmla="*/ 833438 w 8971757"/>
                  <a:gd name="connsiteY49" fmla="*/ 2250281 h 4575969"/>
                  <a:gd name="connsiteX50" fmla="*/ 735806 w 8971757"/>
                  <a:gd name="connsiteY50" fmla="*/ 2357438 h 4575969"/>
                  <a:gd name="connsiteX51" fmla="*/ 692944 w 8971757"/>
                  <a:gd name="connsiteY51" fmla="*/ 2471737 h 4575969"/>
                  <a:gd name="connsiteX52" fmla="*/ 726281 w 8971757"/>
                  <a:gd name="connsiteY52" fmla="*/ 2512219 h 4575969"/>
                  <a:gd name="connsiteX53" fmla="*/ 709613 w 8971757"/>
                  <a:gd name="connsiteY53" fmla="*/ 2540794 h 4575969"/>
                  <a:gd name="connsiteX54" fmla="*/ 740569 w 8971757"/>
                  <a:gd name="connsiteY54" fmla="*/ 2597944 h 4575969"/>
                  <a:gd name="connsiteX55" fmla="*/ 769144 w 8971757"/>
                  <a:gd name="connsiteY55" fmla="*/ 2597944 h 4575969"/>
                  <a:gd name="connsiteX56" fmla="*/ 931069 w 8971757"/>
                  <a:gd name="connsiteY56" fmla="*/ 2700337 h 4575969"/>
                  <a:gd name="connsiteX57" fmla="*/ 1035844 w 8971757"/>
                  <a:gd name="connsiteY57" fmla="*/ 2697956 h 4575969"/>
                  <a:gd name="connsiteX58" fmla="*/ 1114425 w 8971757"/>
                  <a:gd name="connsiteY58" fmla="*/ 2752725 h 4575969"/>
                  <a:gd name="connsiteX59" fmla="*/ 1245393 w 8971757"/>
                  <a:gd name="connsiteY59" fmla="*/ 2755106 h 4575969"/>
                  <a:gd name="connsiteX60" fmla="*/ 1435893 w 8971757"/>
                  <a:gd name="connsiteY60" fmla="*/ 2824162 h 4575969"/>
                  <a:gd name="connsiteX61" fmla="*/ 1638300 w 8971757"/>
                  <a:gd name="connsiteY61" fmla="*/ 2974181 h 4575969"/>
                  <a:gd name="connsiteX62" fmla="*/ 1671637 w 8971757"/>
                  <a:gd name="connsiteY62" fmla="*/ 3040856 h 4575969"/>
                  <a:gd name="connsiteX63" fmla="*/ 1838325 w 8971757"/>
                  <a:gd name="connsiteY63" fmla="*/ 3167062 h 4575969"/>
                  <a:gd name="connsiteX64" fmla="*/ 1909763 w 8971757"/>
                  <a:gd name="connsiteY64" fmla="*/ 3162300 h 4575969"/>
                  <a:gd name="connsiteX65" fmla="*/ 1945482 w 8971757"/>
                  <a:gd name="connsiteY65" fmla="*/ 3186112 h 4575969"/>
                  <a:gd name="connsiteX66" fmla="*/ 1916906 w 8971757"/>
                  <a:gd name="connsiteY66" fmla="*/ 3226594 h 4575969"/>
                  <a:gd name="connsiteX67" fmla="*/ 1924050 w 8971757"/>
                  <a:gd name="connsiteY67" fmla="*/ 3278981 h 4575969"/>
                  <a:gd name="connsiteX68" fmla="*/ 1976438 w 8971757"/>
                  <a:gd name="connsiteY68" fmla="*/ 3305175 h 4575969"/>
                  <a:gd name="connsiteX69" fmla="*/ 2038350 w 8971757"/>
                  <a:gd name="connsiteY69" fmla="*/ 3529013 h 4575969"/>
                  <a:gd name="connsiteX70" fmla="*/ 2028825 w 8971757"/>
                  <a:gd name="connsiteY70" fmla="*/ 3593306 h 4575969"/>
                  <a:gd name="connsiteX71" fmla="*/ 2164556 w 8971757"/>
                  <a:gd name="connsiteY71" fmla="*/ 3759994 h 4575969"/>
                  <a:gd name="connsiteX72" fmla="*/ 2183606 w 8971757"/>
                  <a:gd name="connsiteY72" fmla="*/ 3810000 h 4575969"/>
                  <a:gd name="connsiteX73" fmla="*/ 2157413 w 8971757"/>
                  <a:gd name="connsiteY73" fmla="*/ 3829050 h 4575969"/>
                  <a:gd name="connsiteX74" fmla="*/ 2259806 w 8971757"/>
                  <a:gd name="connsiteY74" fmla="*/ 3838575 h 4575969"/>
                  <a:gd name="connsiteX75" fmla="*/ 2371725 w 8971757"/>
                  <a:gd name="connsiteY75" fmla="*/ 3826669 h 4575969"/>
                  <a:gd name="connsiteX76" fmla="*/ 2650331 w 8971757"/>
                  <a:gd name="connsiteY76" fmla="*/ 3910012 h 4575969"/>
                  <a:gd name="connsiteX77" fmla="*/ 3057525 w 8971757"/>
                  <a:gd name="connsiteY77" fmla="*/ 3990975 h 4575969"/>
                  <a:gd name="connsiteX78" fmla="*/ 3255169 w 8971757"/>
                  <a:gd name="connsiteY78" fmla="*/ 3960018 h 4575969"/>
                  <a:gd name="connsiteX79" fmla="*/ 3300413 w 8971757"/>
                  <a:gd name="connsiteY79" fmla="*/ 3971924 h 4575969"/>
                  <a:gd name="connsiteX80" fmla="*/ 3355181 w 8971757"/>
                  <a:gd name="connsiteY80" fmla="*/ 3948113 h 4575969"/>
                  <a:gd name="connsiteX81" fmla="*/ 3748087 w 8971757"/>
                  <a:gd name="connsiteY81" fmla="*/ 4038600 h 4575969"/>
                  <a:gd name="connsiteX82" fmla="*/ 3831432 w 8971757"/>
                  <a:gd name="connsiteY82" fmla="*/ 4136231 h 4575969"/>
                  <a:gd name="connsiteX83" fmla="*/ 3950494 w 8971757"/>
                  <a:gd name="connsiteY83" fmla="*/ 4207669 h 4575969"/>
                  <a:gd name="connsiteX84" fmla="*/ 4010025 w 8971757"/>
                  <a:gd name="connsiteY84" fmla="*/ 4191000 h 4575969"/>
                  <a:gd name="connsiteX85" fmla="*/ 4360068 w 8971757"/>
                  <a:gd name="connsiteY85" fmla="*/ 4364831 h 4575969"/>
                  <a:gd name="connsiteX86" fmla="*/ 4586288 w 8971757"/>
                  <a:gd name="connsiteY86" fmla="*/ 4336256 h 4575969"/>
                  <a:gd name="connsiteX87" fmla="*/ 4595813 w 8971757"/>
                  <a:gd name="connsiteY87" fmla="*/ 4414837 h 4575969"/>
                  <a:gd name="connsiteX88" fmla="*/ 4681538 w 8971757"/>
                  <a:gd name="connsiteY88" fmla="*/ 4410074 h 4575969"/>
                  <a:gd name="connsiteX89" fmla="*/ 4760119 w 8971757"/>
                  <a:gd name="connsiteY89" fmla="*/ 4441031 h 4575969"/>
                  <a:gd name="connsiteX90" fmla="*/ 4802981 w 8971757"/>
                  <a:gd name="connsiteY90" fmla="*/ 4381500 h 4575969"/>
                  <a:gd name="connsiteX91" fmla="*/ 5474494 w 8971757"/>
                  <a:gd name="connsiteY91" fmla="*/ 4062412 h 4575969"/>
                  <a:gd name="connsiteX92" fmla="*/ 5562600 w 8971757"/>
                  <a:gd name="connsiteY92" fmla="*/ 4090988 h 4575969"/>
                  <a:gd name="connsiteX93" fmla="*/ 5693569 w 8971757"/>
                  <a:gd name="connsiteY93" fmla="*/ 4062412 h 4575969"/>
                  <a:gd name="connsiteX94" fmla="*/ 5872162 w 8971757"/>
                  <a:gd name="connsiteY94" fmla="*/ 4079081 h 4575969"/>
                  <a:gd name="connsiteX95" fmla="*/ 5929313 w 8971757"/>
                  <a:gd name="connsiteY95" fmla="*/ 4052888 h 4575969"/>
                  <a:gd name="connsiteX96" fmla="*/ 6062662 w 8971757"/>
                  <a:gd name="connsiteY96" fmla="*/ 4050506 h 4575969"/>
                  <a:gd name="connsiteX97" fmla="*/ 6196012 w 8971757"/>
                  <a:gd name="connsiteY97" fmla="*/ 3952875 h 4575969"/>
                  <a:gd name="connsiteX98" fmla="*/ 6262687 w 8971757"/>
                  <a:gd name="connsiteY98" fmla="*/ 3945731 h 4575969"/>
                  <a:gd name="connsiteX99" fmla="*/ 6360319 w 8971757"/>
                  <a:gd name="connsiteY99" fmla="*/ 3871912 h 4575969"/>
                  <a:gd name="connsiteX100" fmla="*/ 6434138 w 8971757"/>
                  <a:gd name="connsiteY100" fmla="*/ 3802856 h 4575969"/>
                  <a:gd name="connsiteX101" fmla="*/ 6443663 w 8971757"/>
                  <a:gd name="connsiteY101" fmla="*/ 3740944 h 4575969"/>
                  <a:gd name="connsiteX102" fmla="*/ 6477000 w 8971757"/>
                  <a:gd name="connsiteY102" fmla="*/ 3671887 h 4575969"/>
                  <a:gd name="connsiteX103" fmla="*/ 6629400 w 8971757"/>
                  <a:gd name="connsiteY103" fmla="*/ 3564731 h 4575969"/>
                  <a:gd name="connsiteX104" fmla="*/ 6662738 w 8971757"/>
                  <a:gd name="connsiteY104" fmla="*/ 3569494 h 4575969"/>
                  <a:gd name="connsiteX105" fmla="*/ 6715125 w 8971757"/>
                  <a:gd name="connsiteY105" fmla="*/ 3490912 h 4575969"/>
                  <a:gd name="connsiteX106" fmla="*/ 6762750 w 8971757"/>
                  <a:gd name="connsiteY106" fmla="*/ 3452812 h 4575969"/>
                  <a:gd name="connsiteX107" fmla="*/ 6748463 w 8971757"/>
                  <a:gd name="connsiteY107" fmla="*/ 3383756 h 4575969"/>
                  <a:gd name="connsiteX108" fmla="*/ 6698456 w 8971757"/>
                  <a:gd name="connsiteY108" fmla="*/ 3352799 h 4575969"/>
                  <a:gd name="connsiteX109" fmla="*/ 6638925 w 8971757"/>
                  <a:gd name="connsiteY109" fmla="*/ 3298031 h 4575969"/>
                  <a:gd name="connsiteX110" fmla="*/ 6619875 w 8971757"/>
                  <a:gd name="connsiteY110" fmla="*/ 3240881 h 4575969"/>
                  <a:gd name="connsiteX111" fmla="*/ 6584156 w 8971757"/>
                  <a:gd name="connsiteY111" fmla="*/ 3207544 h 4575969"/>
                  <a:gd name="connsiteX112" fmla="*/ 6610350 w 8971757"/>
                  <a:gd name="connsiteY112" fmla="*/ 3155156 h 4575969"/>
                  <a:gd name="connsiteX113" fmla="*/ 6650831 w 8971757"/>
                  <a:gd name="connsiteY113" fmla="*/ 2976562 h 4575969"/>
                  <a:gd name="connsiteX114" fmla="*/ 6691313 w 8971757"/>
                  <a:gd name="connsiteY114" fmla="*/ 2909887 h 4575969"/>
                  <a:gd name="connsiteX115" fmla="*/ 6836569 w 8971757"/>
                  <a:gd name="connsiteY115" fmla="*/ 2893218 h 4575969"/>
                  <a:gd name="connsiteX116" fmla="*/ 6905625 w 8971757"/>
                  <a:gd name="connsiteY116" fmla="*/ 2950369 h 4575969"/>
                  <a:gd name="connsiteX117" fmla="*/ 6981825 w 8971757"/>
                  <a:gd name="connsiteY117" fmla="*/ 2974181 h 4575969"/>
                  <a:gd name="connsiteX118" fmla="*/ 7186612 w 8971757"/>
                  <a:gd name="connsiteY118" fmla="*/ 2978944 h 4575969"/>
                  <a:gd name="connsiteX119" fmla="*/ 7362825 w 8971757"/>
                  <a:gd name="connsiteY119" fmla="*/ 2840831 h 4575969"/>
                  <a:gd name="connsiteX120" fmla="*/ 7419975 w 8971757"/>
                  <a:gd name="connsiteY120" fmla="*/ 2750343 h 4575969"/>
                  <a:gd name="connsiteX121" fmla="*/ 7446169 w 8971757"/>
                  <a:gd name="connsiteY121" fmla="*/ 2667000 h 4575969"/>
                  <a:gd name="connsiteX122" fmla="*/ 7577137 w 8971757"/>
                  <a:gd name="connsiteY122" fmla="*/ 2667000 h 4575969"/>
                  <a:gd name="connsiteX123" fmla="*/ 7750969 w 8971757"/>
                  <a:gd name="connsiteY123" fmla="*/ 2609849 h 4575969"/>
                  <a:gd name="connsiteX124" fmla="*/ 7810500 w 8971757"/>
                  <a:gd name="connsiteY124" fmla="*/ 2497931 h 4575969"/>
                  <a:gd name="connsiteX125" fmla="*/ 7874794 w 8971757"/>
                  <a:gd name="connsiteY125" fmla="*/ 2462212 h 4575969"/>
                  <a:gd name="connsiteX126" fmla="*/ 7853363 w 8971757"/>
                  <a:gd name="connsiteY126" fmla="*/ 2416969 h 4575969"/>
                  <a:gd name="connsiteX127" fmla="*/ 7931944 w 8971757"/>
                  <a:gd name="connsiteY127" fmla="*/ 2247899 h 4575969"/>
                  <a:gd name="connsiteX128" fmla="*/ 7986713 w 8971757"/>
                  <a:gd name="connsiteY128" fmla="*/ 2188369 h 4575969"/>
                  <a:gd name="connsiteX129" fmla="*/ 8024813 w 8971757"/>
                  <a:gd name="connsiteY129" fmla="*/ 2183606 h 4575969"/>
                  <a:gd name="connsiteX130" fmla="*/ 8070056 w 8971757"/>
                  <a:gd name="connsiteY130" fmla="*/ 2188369 h 4575969"/>
                  <a:gd name="connsiteX131" fmla="*/ 8134350 w 8971757"/>
                  <a:gd name="connsiteY131" fmla="*/ 2155031 h 4575969"/>
                  <a:gd name="connsiteX132" fmla="*/ 8143875 w 8971757"/>
                  <a:gd name="connsiteY132" fmla="*/ 2090737 h 4575969"/>
                  <a:gd name="connsiteX133" fmla="*/ 8184355 w 8971757"/>
                  <a:gd name="connsiteY133" fmla="*/ 2055019 h 4575969"/>
                  <a:gd name="connsiteX134" fmla="*/ 8243888 w 8971757"/>
                  <a:gd name="connsiteY134" fmla="*/ 2095499 h 4575969"/>
                  <a:gd name="connsiteX135" fmla="*/ 8270082 w 8971757"/>
                  <a:gd name="connsiteY135" fmla="*/ 2045493 h 4575969"/>
                  <a:gd name="connsiteX136" fmla="*/ 8365331 w 8971757"/>
                  <a:gd name="connsiteY136" fmla="*/ 1976437 h 4575969"/>
                  <a:gd name="connsiteX137" fmla="*/ 8427244 w 8971757"/>
                  <a:gd name="connsiteY137" fmla="*/ 1983581 h 4575969"/>
                  <a:gd name="connsiteX138" fmla="*/ 8477250 w 8971757"/>
                  <a:gd name="connsiteY138" fmla="*/ 1964531 h 4575969"/>
                  <a:gd name="connsiteX139" fmla="*/ 8515350 w 8971757"/>
                  <a:gd name="connsiteY139" fmla="*/ 1935956 h 4575969"/>
                  <a:gd name="connsiteX140" fmla="*/ 8548688 w 8971757"/>
                  <a:gd name="connsiteY140" fmla="*/ 1933575 h 4575969"/>
                  <a:gd name="connsiteX141" fmla="*/ 8584406 w 8971757"/>
                  <a:gd name="connsiteY141" fmla="*/ 1964531 h 4575969"/>
                  <a:gd name="connsiteX142" fmla="*/ 8643938 w 8971757"/>
                  <a:gd name="connsiteY142" fmla="*/ 1964531 h 4575969"/>
                  <a:gd name="connsiteX143" fmla="*/ 8682037 w 8971757"/>
                  <a:gd name="connsiteY143" fmla="*/ 1945481 h 4575969"/>
                  <a:gd name="connsiteX144" fmla="*/ 8765381 w 8971757"/>
                  <a:gd name="connsiteY144" fmla="*/ 1947863 h 4575969"/>
                  <a:gd name="connsiteX145" fmla="*/ 8796338 w 8971757"/>
                  <a:gd name="connsiteY145" fmla="*/ 1902619 h 4575969"/>
                  <a:gd name="connsiteX146" fmla="*/ 8801100 w 8971757"/>
                  <a:gd name="connsiteY146" fmla="*/ 1840706 h 4575969"/>
                  <a:gd name="connsiteX147" fmla="*/ 8751093 w 8971757"/>
                  <a:gd name="connsiteY147" fmla="*/ 1800225 h 4575969"/>
                  <a:gd name="connsiteX148" fmla="*/ 8734425 w 8971757"/>
                  <a:gd name="connsiteY148" fmla="*/ 1745456 h 4575969"/>
                  <a:gd name="connsiteX149" fmla="*/ 8643938 w 8971757"/>
                  <a:gd name="connsiteY149" fmla="*/ 1683544 h 4575969"/>
                  <a:gd name="connsiteX150" fmla="*/ 8603456 w 8971757"/>
                  <a:gd name="connsiteY150" fmla="*/ 1662112 h 4575969"/>
                  <a:gd name="connsiteX151" fmla="*/ 8565356 w 8971757"/>
                  <a:gd name="connsiteY151" fmla="*/ 1616869 h 4575969"/>
                  <a:gd name="connsiteX152" fmla="*/ 8534400 w 8971757"/>
                  <a:gd name="connsiteY152" fmla="*/ 1614487 h 4575969"/>
                  <a:gd name="connsiteX153" fmla="*/ 8517731 w 8971757"/>
                  <a:gd name="connsiteY153" fmla="*/ 1562100 h 4575969"/>
                  <a:gd name="connsiteX154" fmla="*/ 8477250 w 8971757"/>
                  <a:gd name="connsiteY154" fmla="*/ 1545431 h 4575969"/>
                  <a:gd name="connsiteX155" fmla="*/ 8477250 w 8971757"/>
                  <a:gd name="connsiteY155" fmla="*/ 1545431 h 4575969"/>
                  <a:gd name="connsiteX156" fmla="*/ 8436769 w 8971757"/>
                  <a:gd name="connsiteY156" fmla="*/ 1550194 h 4575969"/>
                  <a:gd name="connsiteX157" fmla="*/ 8351043 w 8971757"/>
                  <a:gd name="connsiteY157" fmla="*/ 1476375 h 4575969"/>
                  <a:gd name="connsiteX158" fmla="*/ 8170069 w 8971757"/>
                  <a:gd name="connsiteY158" fmla="*/ 1476374 h 4575969"/>
                  <a:gd name="connsiteX159" fmla="*/ 8117681 w 8971757"/>
                  <a:gd name="connsiteY159" fmla="*/ 1514475 h 4575969"/>
                  <a:gd name="connsiteX160" fmla="*/ 8067675 w 8971757"/>
                  <a:gd name="connsiteY160" fmla="*/ 1593056 h 4575969"/>
                  <a:gd name="connsiteX161" fmla="*/ 8084344 w 8971757"/>
                  <a:gd name="connsiteY161" fmla="*/ 1614487 h 4575969"/>
                  <a:gd name="connsiteX162" fmla="*/ 8039100 w 8971757"/>
                  <a:gd name="connsiteY162" fmla="*/ 1664493 h 4575969"/>
                  <a:gd name="connsiteX163" fmla="*/ 7889081 w 8971757"/>
                  <a:gd name="connsiteY163" fmla="*/ 1588293 h 4575969"/>
                  <a:gd name="connsiteX164" fmla="*/ 7798594 w 8971757"/>
                  <a:gd name="connsiteY164" fmla="*/ 1624012 h 4575969"/>
                  <a:gd name="connsiteX165" fmla="*/ 7724775 w 8971757"/>
                  <a:gd name="connsiteY165" fmla="*/ 1621631 h 4575969"/>
                  <a:gd name="connsiteX166" fmla="*/ 7667625 w 8971757"/>
                  <a:gd name="connsiteY166" fmla="*/ 1716881 h 4575969"/>
                  <a:gd name="connsiteX167" fmla="*/ 7529513 w 8971757"/>
                  <a:gd name="connsiteY16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6938963 w 8971757"/>
                  <a:gd name="connsiteY14" fmla="*/ 854869 h 4575969"/>
                  <a:gd name="connsiteX15" fmla="*/ 8412956 w 8971757"/>
                  <a:gd name="connsiteY15" fmla="*/ 23812 h 4575969"/>
                  <a:gd name="connsiteX16" fmla="*/ 8949531 w 8971757"/>
                  <a:gd name="connsiteY16" fmla="*/ 0 h 4575969"/>
                  <a:gd name="connsiteX17" fmla="*/ 8971757 w 8971757"/>
                  <a:gd name="connsiteY17" fmla="*/ 4575969 h 4575969"/>
                  <a:gd name="connsiteX18" fmla="*/ 2381 w 8971757"/>
                  <a:gd name="connsiteY18" fmla="*/ 4547392 h 4575969"/>
                  <a:gd name="connsiteX19" fmla="*/ 0 w 8971757"/>
                  <a:gd name="connsiteY19" fmla="*/ 845344 h 4575969"/>
                  <a:gd name="connsiteX20" fmla="*/ 76200 w 8971757"/>
                  <a:gd name="connsiteY20" fmla="*/ 828675 h 4575969"/>
                  <a:gd name="connsiteX21" fmla="*/ 119063 w 8971757"/>
                  <a:gd name="connsiteY21" fmla="*/ 857250 h 4575969"/>
                  <a:gd name="connsiteX22" fmla="*/ 215900 w 8971757"/>
                  <a:gd name="connsiteY22" fmla="*/ 848519 h 4575969"/>
                  <a:gd name="connsiteX23" fmla="*/ 261938 w 8971757"/>
                  <a:gd name="connsiteY23" fmla="*/ 876299 h 4575969"/>
                  <a:gd name="connsiteX24" fmla="*/ 228600 w 8971757"/>
                  <a:gd name="connsiteY24" fmla="*/ 904875 h 4575969"/>
                  <a:gd name="connsiteX25" fmla="*/ 233363 w 8971757"/>
                  <a:gd name="connsiteY25" fmla="*/ 947737 h 4575969"/>
                  <a:gd name="connsiteX26" fmla="*/ 200025 w 8971757"/>
                  <a:gd name="connsiteY26" fmla="*/ 952500 h 4575969"/>
                  <a:gd name="connsiteX27" fmla="*/ 204788 w 8971757"/>
                  <a:gd name="connsiteY27" fmla="*/ 976312 h 4575969"/>
                  <a:gd name="connsiteX28" fmla="*/ 261937 w 8971757"/>
                  <a:gd name="connsiteY28" fmla="*/ 1050131 h 4575969"/>
                  <a:gd name="connsiteX29" fmla="*/ 223838 w 8971757"/>
                  <a:gd name="connsiteY29" fmla="*/ 1097756 h 4575969"/>
                  <a:gd name="connsiteX30" fmla="*/ 278606 w 8971757"/>
                  <a:gd name="connsiteY30" fmla="*/ 1133475 h 4575969"/>
                  <a:gd name="connsiteX31" fmla="*/ 369094 w 8971757"/>
                  <a:gd name="connsiteY31" fmla="*/ 1221581 h 4575969"/>
                  <a:gd name="connsiteX32" fmla="*/ 371475 w 8971757"/>
                  <a:gd name="connsiteY32" fmla="*/ 1281112 h 4575969"/>
                  <a:gd name="connsiteX33" fmla="*/ 507206 w 8971757"/>
                  <a:gd name="connsiteY33" fmla="*/ 1414463 h 4575969"/>
                  <a:gd name="connsiteX34" fmla="*/ 561975 w 8971757"/>
                  <a:gd name="connsiteY34" fmla="*/ 1390650 h 4575969"/>
                  <a:gd name="connsiteX35" fmla="*/ 600075 w 8971757"/>
                  <a:gd name="connsiteY35" fmla="*/ 1416843 h 4575969"/>
                  <a:gd name="connsiteX36" fmla="*/ 614363 w 8971757"/>
                  <a:gd name="connsiteY36" fmla="*/ 1466849 h 4575969"/>
                  <a:gd name="connsiteX37" fmla="*/ 657225 w 8971757"/>
                  <a:gd name="connsiteY37" fmla="*/ 1502569 h 4575969"/>
                  <a:gd name="connsiteX38" fmla="*/ 697706 w 8971757"/>
                  <a:gd name="connsiteY38" fmla="*/ 1490662 h 4575969"/>
                  <a:gd name="connsiteX39" fmla="*/ 716756 w 8971757"/>
                  <a:gd name="connsiteY39" fmla="*/ 1547812 h 4575969"/>
                  <a:gd name="connsiteX40" fmla="*/ 764381 w 8971757"/>
                  <a:gd name="connsiteY40" fmla="*/ 1590675 h 4575969"/>
                  <a:gd name="connsiteX41" fmla="*/ 788194 w 8971757"/>
                  <a:gd name="connsiteY41" fmla="*/ 1693069 h 4575969"/>
                  <a:gd name="connsiteX42" fmla="*/ 785813 w 8971757"/>
                  <a:gd name="connsiteY42" fmla="*/ 1740694 h 4575969"/>
                  <a:gd name="connsiteX43" fmla="*/ 821531 w 8971757"/>
                  <a:gd name="connsiteY43" fmla="*/ 1840706 h 4575969"/>
                  <a:gd name="connsiteX44" fmla="*/ 866775 w 8971757"/>
                  <a:gd name="connsiteY44" fmla="*/ 1897856 h 4575969"/>
                  <a:gd name="connsiteX45" fmla="*/ 883443 w 8971757"/>
                  <a:gd name="connsiteY45" fmla="*/ 2055018 h 4575969"/>
                  <a:gd name="connsiteX46" fmla="*/ 850106 w 8971757"/>
                  <a:gd name="connsiteY46" fmla="*/ 2116931 h 4575969"/>
                  <a:gd name="connsiteX47" fmla="*/ 819150 w 8971757"/>
                  <a:gd name="connsiteY47" fmla="*/ 2193131 h 4575969"/>
                  <a:gd name="connsiteX48" fmla="*/ 833438 w 8971757"/>
                  <a:gd name="connsiteY48" fmla="*/ 2250281 h 4575969"/>
                  <a:gd name="connsiteX49" fmla="*/ 735806 w 8971757"/>
                  <a:gd name="connsiteY49" fmla="*/ 2357438 h 4575969"/>
                  <a:gd name="connsiteX50" fmla="*/ 692944 w 8971757"/>
                  <a:gd name="connsiteY50" fmla="*/ 2471737 h 4575969"/>
                  <a:gd name="connsiteX51" fmla="*/ 726281 w 8971757"/>
                  <a:gd name="connsiteY51" fmla="*/ 2512219 h 4575969"/>
                  <a:gd name="connsiteX52" fmla="*/ 709613 w 8971757"/>
                  <a:gd name="connsiteY52" fmla="*/ 2540794 h 4575969"/>
                  <a:gd name="connsiteX53" fmla="*/ 740569 w 8971757"/>
                  <a:gd name="connsiteY53" fmla="*/ 2597944 h 4575969"/>
                  <a:gd name="connsiteX54" fmla="*/ 769144 w 8971757"/>
                  <a:gd name="connsiteY54" fmla="*/ 2597944 h 4575969"/>
                  <a:gd name="connsiteX55" fmla="*/ 931069 w 8971757"/>
                  <a:gd name="connsiteY55" fmla="*/ 2700337 h 4575969"/>
                  <a:gd name="connsiteX56" fmla="*/ 1035844 w 8971757"/>
                  <a:gd name="connsiteY56" fmla="*/ 2697956 h 4575969"/>
                  <a:gd name="connsiteX57" fmla="*/ 1114425 w 8971757"/>
                  <a:gd name="connsiteY57" fmla="*/ 2752725 h 4575969"/>
                  <a:gd name="connsiteX58" fmla="*/ 1245393 w 8971757"/>
                  <a:gd name="connsiteY58" fmla="*/ 2755106 h 4575969"/>
                  <a:gd name="connsiteX59" fmla="*/ 1435893 w 8971757"/>
                  <a:gd name="connsiteY59" fmla="*/ 2824162 h 4575969"/>
                  <a:gd name="connsiteX60" fmla="*/ 1638300 w 8971757"/>
                  <a:gd name="connsiteY60" fmla="*/ 2974181 h 4575969"/>
                  <a:gd name="connsiteX61" fmla="*/ 1671637 w 8971757"/>
                  <a:gd name="connsiteY61" fmla="*/ 3040856 h 4575969"/>
                  <a:gd name="connsiteX62" fmla="*/ 1838325 w 8971757"/>
                  <a:gd name="connsiteY62" fmla="*/ 3167062 h 4575969"/>
                  <a:gd name="connsiteX63" fmla="*/ 1909763 w 8971757"/>
                  <a:gd name="connsiteY63" fmla="*/ 3162300 h 4575969"/>
                  <a:gd name="connsiteX64" fmla="*/ 1945482 w 8971757"/>
                  <a:gd name="connsiteY64" fmla="*/ 3186112 h 4575969"/>
                  <a:gd name="connsiteX65" fmla="*/ 1916906 w 8971757"/>
                  <a:gd name="connsiteY65" fmla="*/ 3226594 h 4575969"/>
                  <a:gd name="connsiteX66" fmla="*/ 1924050 w 8971757"/>
                  <a:gd name="connsiteY66" fmla="*/ 3278981 h 4575969"/>
                  <a:gd name="connsiteX67" fmla="*/ 1976438 w 8971757"/>
                  <a:gd name="connsiteY67" fmla="*/ 3305175 h 4575969"/>
                  <a:gd name="connsiteX68" fmla="*/ 2038350 w 8971757"/>
                  <a:gd name="connsiteY68" fmla="*/ 3529013 h 4575969"/>
                  <a:gd name="connsiteX69" fmla="*/ 2028825 w 8971757"/>
                  <a:gd name="connsiteY69" fmla="*/ 3593306 h 4575969"/>
                  <a:gd name="connsiteX70" fmla="*/ 2164556 w 8971757"/>
                  <a:gd name="connsiteY70" fmla="*/ 3759994 h 4575969"/>
                  <a:gd name="connsiteX71" fmla="*/ 2183606 w 8971757"/>
                  <a:gd name="connsiteY71" fmla="*/ 3810000 h 4575969"/>
                  <a:gd name="connsiteX72" fmla="*/ 2157413 w 8971757"/>
                  <a:gd name="connsiteY72" fmla="*/ 3829050 h 4575969"/>
                  <a:gd name="connsiteX73" fmla="*/ 2259806 w 8971757"/>
                  <a:gd name="connsiteY73" fmla="*/ 3838575 h 4575969"/>
                  <a:gd name="connsiteX74" fmla="*/ 2371725 w 8971757"/>
                  <a:gd name="connsiteY74" fmla="*/ 3826669 h 4575969"/>
                  <a:gd name="connsiteX75" fmla="*/ 2650331 w 8971757"/>
                  <a:gd name="connsiteY75" fmla="*/ 3910012 h 4575969"/>
                  <a:gd name="connsiteX76" fmla="*/ 3057525 w 8971757"/>
                  <a:gd name="connsiteY76" fmla="*/ 3990975 h 4575969"/>
                  <a:gd name="connsiteX77" fmla="*/ 3255169 w 8971757"/>
                  <a:gd name="connsiteY77" fmla="*/ 3960018 h 4575969"/>
                  <a:gd name="connsiteX78" fmla="*/ 3300413 w 8971757"/>
                  <a:gd name="connsiteY78" fmla="*/ 3971924 h 4575969"/>
                  <a:gd name="connsiteX79" fmla="*/ 3355181 w 8971757"/>
                  <a:gd name="connsiteY79" fmla="*/ 3948113 h 4575969"/>
                  <a:gd name="connsiteX80" fmla="*/ 3748087 w 8971757"/>
                  <a:gd name="connsiteY80" fmla="*/ 4038600 h 4575969"/>
                  <a:gd name="connsiteX81" fmla="*/ 3831432 w 8971757"/>
                  <a:gd name="connsiteY81" fmla="*/ 4136231 h 4575969"/>
                  <a:gd name="connsiteX82" fmla="*/ 3950494 w 8971757"/>
                  <a:gd name="connsiteY82" fmla="*/ 4207669 h 4575969"/>
                  <a:gd name="connsiteX83" fmla="*/ 4010025 w 8971757"/>
                  <a:gd name="connsiteY83" fmla="*/ 4191000 h 4575969"/>
                  <a:gd name="connsiteX84" fmla="*/ 4360068 w 8971757"/>
                  <a:gd name="connsiteY84" fmla="*/ 4364831 h 4575969"/>
                  <a:gd name="connsiteX85" fmla="*/ 4586288 w 8971757"/>
                  <a:gd name="connsiteY85" fmla="*/ 4336256 h 4575969"/>
                  <a:gd name="connsiteX86" fmla="*/ 4595813 w 8971757"/>
                  <a:gd name="connsiteY86" fmla="*/ 4414837 h 4575969"/>
                  <a:gd name="connsiteX87" fmla="*/ 4681538 w 8971757"/>
                  <a:gd name="connsiteY87" fmla="*/ 4410074 h 4575969"/>
                  <a:gd name="connsiteX88" fmla="*/ 4760119 w 8971757"/>
                  <a:gd name="connsiteY88" fmla="*/ 4441031 h 4575969"/>
                  <a:gd name="connsiteX89" fmla="*/ 4802981 w 8971757"/>
                  <a:gd name="connsiteY89" fmla="*/ 4381500 h 4575969"/>
                  <a:gd name="connsiteX90" fmla="*/ 5474494 w 8971757"/>
                  <a:gd name="connsiteY90" fmla="*/ 4062412 h 4575969"/>
                  <a:gd name="connsiteX91" fmla="*/ 5562600 w 8971757"/>
                  <a:gd name="connsiteY91" fmla="*/ 4090988 h 4575969"/>
                  <a:gd name="connsiteX92" fmla="*/ 5693569 w 8971757"/>
                  <a:gd name="connsiteY92" fmla="*/ 4062412 h 4575969"/>
                  <a:gd name="connsiteX93" fmla="*/ 5872162 w 8971757"/>
                  <a:gd name="connsiteY93" fmla="*/ 4079081 h 4575969"/>
                  <a:gd name="connsiteX94" fmla="*/ 5929313 w 8971757"/>
                  <a:gd name="connsiteY94" fmla="*/ 4052888 h 4575969"/>
                  <a:gd name="connsiteX95" fmla="*/ 6062662 w 8971757"/>
                  <a:gd name="connsiteY95" fmla="*/ 4050506 h 4575969"/>
                  <a:gd name="connsiteX96" fmla="*/ 6196012 w 8971757"/>
                  <a:gd name="connsiteY96" fmla="*/ 3952875 h 4575969"/>
                  <a:gd name="connsiteX97" fmla="*/ 6262687 w 8971757"/>
                  <a:gd name="connsiteY97" fmla="*/ 3945731 h 4575969"/>
                  <a:gd name="connsiteX98" fmla="*/ 6360319 w 8971757"/>
                  <a:gd name="connsiteY98" fmla="*/ 3871912 h 4575969"/>
                  <a:gd name="connsiteX99" fmla="*/ 6434138 w 8971757"/>
                  <a:gd name="connsiteY99" fmla="*/ 3802856 h 4575969"/>
                  <a:gd name="connsiteX100" fmla="*/ 6443663 w 8971757"/>
                  <a:gd name="connsiteY100" fmla="*/ 3740944 h 4575969"/>
                  <a:gd name="connsiteX101" fmla="*/ 6477000 w 8971757"/>
                  <a:gd name="connsiteY101" fmla="*/ 3671887 h 4575969"/>
                  <a:gd name="connsiteX102" fmla="*/ 6629400 w 8971757"/>
                  <a:gd name="connsiteY102" fmla="*/ 3564731 h 4575969"/>
                  <a:gd name="connsiteX103" fmla="*/ 6662738 w 8971757"/>
                  <a:gd name="connsiteY103" fmla="*/ 3569494 h 4575969"/>
                  <a:gd name="connsiteX104" fmla="*/ 6715125 w 8971757"/>
                  <a:gd name="connsiteY104" fmla="*/ 3490912 h 4575969"/>
                  <a:gd name="connsiteX105" fmla="*/ 6762750 w 8971757"/>
                  <a:gd name="connsiteY105" fmla="*/ 3452812 h 4575969"/>
                  <a:gd name="connsiteX106" fmla="*/ 6748463 w 8971757"/>
                  <a:gd name="connsiteY106" fmla="*/ 3383756 h 4575969"/>
                  <a:gd name="connsiteX107" fmla="*/ 6698456 w 8971757"/>
                  <a:gd name="connsiteY107" fmla="*/ 3352799 h 4575969"/>
                  <a:gd name="connsiteX108" fmla="*/ 6638925 w 8971757"/>
                  <a:gd name="connsiteY108" fmla="*/ 3298031 h 4575969"/>
                  <a:gd name="connsiteX109" fmla="*/ 6619875 w 8971757"/>
                  <a:gd name="connsiteY109" fmla="*/ 3240881 h 4575969"/>
                  <a:gd name="connsiteX110" fmla="*/ 6584156 w 8971757"/>
                  <a:gd name="connsiteY110" fmla="*/ 3207544 h 4575969"/>
                  <a:gd name="connsiteX111" fmla="*/ 6610350 w 8971757"/>
                  <a:gd name="connsiteY111" fmla="*/ 3155156 h 4575969"/>
                  <a:gd name="connsiteX112" fmla="*/ 6650831 w 8971757"/>
                  <a:gd name="connsiteY112" fmla="*/ 2976562 h 4575969"/>
                  <a:gd name="connsiteX113" fmla="*/ 6691313 w 8971757"/>
                  <a:gd name="connsiteY113" fmla="*/ 2909887 h 4575969"/>
                  <a:gd name="connsiteX114" fmla="*/ 6836569 w 8971757"/>
                  <a:gd name="connsiteY114" fmla="*/ 2893218 h 4575969"/>
                  <a:gd name="connsiteX115" fmla="*/ 6905625 w 8971757"/>
                  <a:gd name="connsiteY115" fmla="*/ 2950369 h 4575969"/>
                  <a:gd name="connsiteX116" fmla="*/ 6981825 w 8971757"/>
                  <a:gd name="connsiteY116" fmla="*/ 2974181 h 4575969"/>
                  <a:gd name="connsiteX117" fmla="*/ 7186612 w 8971757"/>
                  <a:gd name="connsiteY117" fmla="*/ 2978944 h 4575969"/>
                  <a:gd name="connsiteX118" fmla="*/ 7362825 w 8971757"/>
                  <a:gd name="connsiteY118" fmla="*/ 2840831 h 4575969"/>
                  <a:gd name="connsiteX119" fmla="*/ 7419975 w 8971757"/>
                  <a:gd name="connsiteY119" fmla="*/ 2750343 h 4575969"/>
                  <a:gd name="connsiteX120" fmla="*/ 7446169 w 8971757"/>
                  <a:gd name="connsiteY120" fmla="*/ 2667000 h 4575969"/>
                  <a:gd name="connsiteX121" fmla="*/ 7577137 w 8971757"/>
                  <a:gd name="connsiteY121" fmla="*/ 2667000 h 4575969"/>
                  <a:gd name="connsiteX122" fmla="*/ 7750969 w 8971757"/>
                  <a:gd name="connsiteY122" fmla="*/ 2609849 h 4575969"/>
                  <a:gd name="connsiteX123" fmla="*/ 7810500 w 8971757"/>
                  <a:gd name="connsiteY123" fmla="*/ 2497931 h 4575969"/>
                  <a:gd name="connsiteX124" fmla="*/ 7874794 w 8971757"/>
                  <a:gd name="connsiteY124" fmla="*/ 2462212 h 4575969"/>
                  <a:gd name="connsiteX125" fmla="*/ 7853363 w 8971757"/>
                  <a:gd name="connsiteY125" fmla="*/ 2416969 h 4575969"/>
                  <a:gd name="connsiteX126" fmla="*/ 7931944 w 8971757"/>
                  <a:gd name="connsiteY126" fmla="*/ 2247899 h 4575969"/>
                  <a:gd name="connsiteX127" fmla="*/ 7986713 w 8971757"/>
                  <a:gd name="connsiteY127" fmla="*/ 2188369 h 4575969"/>
                  <a:gd name="connsiteX128" fmla="*/ 8024813 w 8971757"/>
                  <a:gd name="connsiteY128" fmla="*/ 2183606 h 4575969"/>
                  <a:gd name="connsiteX129" fmla="*/ 8070056 w 8971757"/>
                  <a:gd name="connsiteY129" fmla="*/ 2188369 h 4575969"/>
                  <a:gd name="connsiteX130" fmla="*/ 8134350 w 8971757"/>
                  <a:gd name="connsiteY130" fmla="*/ 2155031 h 4575969"/>
                  <a:gd name="connsiteX131" fmla="*/ 8143875 w 8971757"/>
                  <a:gd name="connsiteY131" fmla="*/ 2090737 h 4575969"/>
                  <a:gd name="connsiteX132" fmla="*/ 8184355 w 8971757"/>
                  <a:gd name="connsiteY132" fmla="*/ 2055019 h 4575969"/>
                  <a:gd name="connsiteX133" fmla="*/ 8243888 w 8971757"/>
                  <a:gd name="connsiteY133" fmla="*/ 2095499 h 4575969"/>
                  <a:gd name="connsiteX134" fmla="*/ 8270082 w 8971757"/>
                  <a:gd name="connsiteY134" fmla="*/ 2045493 h 4575969"/>
                  <a:gd name="connsiteX135" fmla="*/ 8365331 w 8971757"/>
                  <a:gd name="connsiteY135" fmla="*/ 1976437 h 4575969"/>
                  <a:gd name="connsiteX136" fmla="*/ 8427244 w 8971757"/>
                  <a:gd name="connsiteY136" fmla="*/ 1983581 h 4575969"/>
                  <a:gd name="connsiteX137" fmla="*/ 8477250 w 8971757"/>
                  <a:gd name="connsiteY137" fmla="*/ 1964531 h 4575969"/>
                  <a:gd name="connsiteX138" fmla="*/ 8515350 w 8971757"/>
                  <a:gd name="connsiteY138" fmla="*/ 1935956 h 4575969"/>
                  <a:gd name="connsiteX139" fmla="*/ 8548688 w 8971757"/>
                  <a:gd name="connsiteY139" fmla="*/ 1933575 h 4575969"/>
                  <a:gd name="connsiteX140" fmla="*/ 8584406 w 8971757"/>
                  <a:gd name="connsiteY140" fmla="*/ 1964531 h 4575969"/>
                  <a:gd name="connsiteX141" fmla="*/ 8643938 w 8971757"/>
                  <a:gd name="connsiteY141" fmla="*/ 1964531 h 4575969"/>
                  <a:gd name="connsiteX142" fmla="*/ 8682037 w 8971757"/>
                  <a:gd name="connsiteY142" fmla="*/ 1945481 h 4575969"/>
                  <a:gd name="connsiteX143" fmla="*/ 8765381 w 8971757"/>
                  <a:gd name="connsiteY143" fmla="*/ 1947863 h 4575969"/>
                  <a:gd name="connsiteX144" fmla="*/ 8796338 w 8971757"/>
                  <a:gd name="connsiteY144" fmla="*/ 1902619 h 4575969"/>
                  <a:gd name="connsiteX145" fmla="*/ 8801100 w 8971757"/>
                  <a:gd name="connsiteY145" fmla="*/ 1840706 h 4575969"/>
                  <a:gd name="connsiteX146" fmla="*/ 8751093 w 8971757"/>
                  <a:gd name="connsiteY146" fmla="*/ 1800225 h 4575969"/>
                  <a:gd name="connsiteX147" fmla="*/ 8734425 w 8971757"/>
                  <a:gd name="connsiteY147" fmla="*/ 1745456 h 4575969"/>
                  <a:gd name="connsiteX148" fmla="*/ 8643938 w 8971757"/>
                  <a:gd name="connsiteY148" fmla="*/ 1683544 h 4575969"/>
                  <a:gd name="connsiteX149" fmla="*/ 8603456 w 8971757"/>
                  <a:gd name="connsiteY149" fmla="*/ 1662112 h 4575969"/>
                  <a:gd name="connsiteX150" fmla="*/ 8565356 w 8971757"/>
                  <a:gd name="connsiteY150" fmla="*/ 1616869 h 4575969"/>
                  <a:gd name="connsiteX151" fmla="*/ 8534400 w 8971757"/>
                  <a:gd name="connsiteY151" fmla="*/ 1614487 h 4575969"/>
                  <a:gd name="connsiteX152" fmla="*/ 8517731 w 8971757"/>
                  <a:gd name="connsiteY152" fmla="*/ 1562100 h 4575969"/>
                  <a:gd name="connsiteX153" fmla="*/ 8477250 w 8971757"/>
                  <a:gd name="connsiteY153" fmla="*/ 1545431 h 4575969"/>
                  <a:gd name="connsiteX154" fmla="*/ 8477250 w 8971757"/>
                  <a:gd name="connsiteY154" fmla="*/ 1545431 h 4575969"/>
                  <a:gd name="connsiteX155" fmla="*/ 8436769 w 8971757"/>
                  <a:gd name="connsiteY155" fmla="*/ 1550194 h 4575969"/>
                  <a:gd name="connsiteX156" fmla="*/ 8351043 w 8971757"/>
                  <a:gd name="connsiteY156" fmla="*/ 1476375 h 4575969"/>
                  <a:gd name="connsiteX157" fmla="*/ 8170069 w 8971757"/>
                  <a:gd name="connsiteY157" fmla="*/ 1476374 h 4575969"/>
                  <a:gd name="connsiteX158" fmla="*/ 8117681 w 8971757"/>
                  <a:gd name="connsiteY158" fmla="*/ 1514475 h 4575969"/>
                  <a:gd name="connsiteX159" fmla="*/ 8067675 w 8971757"/>
                  <a:gd name="connsiteY159" fmla="*/ 1593056 h 4575969"/>
                  <a:gd name="connsiteX160" fmla="*/ 8084344 w 8971757"/>
                  <a:gd name="connsiteY160" fmla="*/ 1614487 h 4575969"/>
                  <a:gd name="connsiteX161" fmla="*/ 8039100 w 8971757"/>
                  <a:gd name="connsiteY161" fmla="*/ 1664493 h 4575969"/>
                  <a:gd name="connsiteX162" fmla="*/ 7889081 w 8971757"/>
                  <a:gd name="connsiteY162" fmla="*/ 1588293 h 4575969"/>
                  <a:gd name="connsiteX163" fmla="*/ 7798594 w 8971757"/>
                  <a:gd name="connsiteY163" fmla="*/ 1624012 h 4575969"/>
                  <a:gd name="connsiteX164" fmla="*/ 7724775 w 8971757"/>
                  <a:gd name="connsiteY164" fmla="*/ 1621631 h 4575969"/>
                  <a:gd name="connsiteX165" fmla="*/ 7667625 w 8971757"/>
                  <a:gd name="connsiteY165" fmla="*/ 1716881 h 4575969"/>
                  <a:gd name="connsiteX166" fmla="*/ 7529513 w 8971757"/>
                  <a:gd name="connsiteY16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7077075 w 8971757"/>
                  <a:gd name="connsiteY13" fmla="*/ 750094 h 4575969"/>
                  <a:gd name="connsiteX14" fmla="*/ 8412956 w 8971757"/>
                  <a:gd name="connsiteY14" fmla="*/ 23812 h 4575969"/>
                  <a:gd name="connsiteX15" fmla="*/ 8949531 w 8971757"/>
                  <a:gd name="connsiteY15" fmla="*/ 0 h 4575969"/>
                  <a:gd name="connsiteX16" fmla="*/ 8971757 w 8971757"/>
                  <a:gd name="connsiteY16" fmla="*/ 4575969 h 4575969"/>
                  <a:gd name="connsiteX17" fmla="*/ 2381 w 8971757"/>
                  <a:gd name="connsiteY17" fmla="*/ 4547392 h 4575969"/>
                  <a:gd name="connsiteX18" fmla="*/ 0 w 8971757"/>
                  <a:gd name="connsiteY18" fmla="*/ 845344 h 4575969"/>
                  <a:gd name="connsiteX19" fmla="*/ 76200 w 8971757"/>
                  <a:gd name="connsiteY19" fmla="*/ 828675 h 4575969"/>
                  <a:gd name="connsiteX20" fmla="*/ 119063 w 8971757"/>
                  <a:gd name="connsiteY20" fmla="*/ 857250 h 4575969"/>
                  <a:gd name="connsiteX21" fmla="*/ 215900 w 8971757"/>
                  <a:gd name="connsiteY21" fmla="*/ 848519 h 4575969"/>
                  <a:gd name="connsiteX22" fmla="*/ 261938 w 8971757"/>
                  <a:gd name="connsiteY22" fmla="*/ 876299 h 4575969"/>
                  <a:gd name="connsiteX23" fmla="*/ 228600 w 8971757"/>
                  <a:gd name="connsiteY23" fmla="*/ 904875 h 4575969"/>
                  <a:gd name="connsiteX24" fmla="*/ 233363 w 8971757"/>
                  <a:gd name="connsiteY24" fmla="*/ 947737 h 4575969"/>
                  <a:gd name="connsiteX25" fmla="*/ 200025 w 8971757"/>
                  <a:gd name="connsiteY25" fmla="*/ 952500 h 4575969"/>
                  <a:gd name="connsiteX26" fmla="*/ 204788 w 8971757"/>
                  <a:gd name="connsiteY26" fmla="*/ 976312 h 4575969"/>
                  <a:gd name="connsiteX27" fmla="*/ 261937 w 8971757"/>
                  <a:gd name="connsiteY27" fmla="*/ 1050131 h 4575969"/>
                  <a:gd name="connsiteX28" fmla="*/ 223838 w 8971757"/>
                  <a:gd name="connsiteY28" fmla="*/ 1097756 h 4575969"/>
                  <a:gd name="connsiteX29" fmla="*/ 278606 w 8971757"/>
                  <a:gd name="connsiteY29" fmla="*/ 1133475 h 4575969"/>
                  <a:gd name="connsiteX30" fmla="*/ 369094 w 8971757"/>
                  <a:gd name="connsiteY30" fmla="*/ 1221581 h 4575969"/>
                  <a:gd name="connsiteX31" fmla="*/ 371475 w 8971757"/>
                  <a:gd name="connsiteY31" fmla="*/ 1281112 h 4575969"/>
                  <a:gd name="connsiteX32" fmla="*/ 507206 w 8971757"/>
                  <a:gd name="connsiteY32" fmla="*/ 1414463 h 4575969"/>
                  <a:gd name="connsiteX33" fmla="*/ 561975 w 8971757"/>
                  <a:gd name="connsiteY33" fmla="*/ 1390650 h 4575969"/>
                  <a:gd name="connsiteX34" fmla="*/ 600075 w 8971757"/>
                  <a:gd name="connsiteY34" fmla="*/ 1416843 h 4575969"/>
                  <a:gd name="connsiteX35" fmla="*/ 614363 w 8971757"/>
                  <a:gd name="connsiteY35" fmla="*/ 1466849 h 4575969"/>
                  <a:gd name="connsiteX36" fmla="*/ 657225 w 8971757"/>
                  <a:gd name="connsiteY36" fmla="*/ 1502569 h 4575969"/>
                  <a:gd name="connsiteX37" fmla="*/ 697706 w 8971757"/>
                  <a:gd name="connsiteY37" fmla="*/ 1490662 h 4575969"/>
                  <a:gd name="connsiteX38" fmla="*/ 716756 w 8971757"/>
                  <a:gd name="connsiteY38" fmla="*/ 1547812 h 4575969"/>
                  <a:gd name="connsiteX39" fmla="*/ 764381 w 8971757"/>
                  <a:gd name="connsiteY39" fmla="*/ 1590675 h 4575969"/>
                  <a:gd name="connsiteX40" fmla="*/ 788194 w 8971757"/>
                  <a:gd name="connsiteY40" fmla="*/ 1693069 h 4575969"/>
                  <a:gd name="connsiteX41" fmla="*/ 785813 w 8971757"/>
                  <a:gd name="connsiteY41" fmla="*/ 1740694 h 4575969"/>
                  <a:gd name="connsiteX42" fmla="*/ 821531 w 8971757"/>
                  <a:gd name="connsiteY42" fmla="*/ 1840706 h 4575969"/>
                  <a:gd name="connsiteX43" fmla="*/ 866775 w 8971757"/>
                  <a:gd name="connsiteY43" fmla="*/ 1897856 h 4575969"/>
                  <a:gd name="connsiteX44" fmla="*/ 883443 w 8971757"/>
                  <a:gd name="connsiteY44" fmla="*/ 2055018 h 4575969"/>
                  <a:gd name="connsiteX45" fmla="*/ 850106 w 8971757"/>
                  <a:gd name="connsiteY45" fmla="*/ 2116931 h 4575969"/>
                  <a:gd name="connsiteX46" fmla="*/ 819150 w 8971757"/>
                  <a:gd name="connsiteY46" fmla="*/ 2193131 h 4575969"/>
                  <a:gd name="connsiteX47" fmla="*/ 833438 w 8971757"/>
                  <a:gd name="connsiteY47" fmla="*/ 2250281 h 4575969"/>
                  <a:gd name="connsiteX48" fmla="*/ 735806 w 8971757"/>
                  <a:gd name="connsiteY48" fmla="*/ 2357438 h 4575969"/>
                  <a:gd name="connsiteX49" fmla="*/ 692944 w 8971757"/>
                  <a:gd name="connsiteY49" fmla="*/ 2471737 h 4575969"/>
                  <a:gd name="connsiteX50" fmla="*/ 726281 w 8971757"/>
                  <a:gd name="connsiteY50" fmla="*/ 2512219 h 4575969"/>
                  <a:gd name="connsiteX51" fmla="*/ 709613 w 8971757"/>
                  <a:gd name="connsiteY51" fmla="*/ 2540794 h 4575969"/>
                  <a:gd name="connsiteX52" fmla="*/ 740569 w 8971757"/>
                  <a:gd name="connsiteY52" fmla="*/ 2597944 h 4575969"/>
                  <a:gd name="connsiteX53" fmla="*/ 769144 w 8971757"/>
                  <a:gd name="connsiteY53" fmla="*/ 2597944 h 4575969"/>
                  <a:gd name="connsiteX54" fmla="*/ 931069 w 8971757"/>
                  <a:gd name="connsiteY54" fmla="*/ 2700337 h 4575969"/>
                  <a:gd name="connsiteX55" fmla="*/ 1035844 w 8971757"/>
                  <a:gd name="connsiteY55" fmla="*/ 2697956 h 4575969"/>
                  <a:gd name="connsiteX56" fmla="*/ 1114425 w 8971757"/>
                  <a:gd name="connsiteY56" fmla="*/ 2752725 h 4575969"/>
                  <a:gd name="connsiteX57" fmla="*/ 1245393 w 8971757"/>
                  <a:gd name="connsiteY57" fmla="*/ 2755106 h 4575969"/>
                  <a:gd name="connsiteX58" fmla="*/ 1435893 w 8971757"/>
                  <a:gd name="connsiteY58" fmla="*/ 2824162 h 4575969"/>
                  <a:gd name="connsiteX59" fmla="*/ 1638300 w 8971757"/>
                  <a:gd name="connsiteY59" fmla="*/ 2974181 h 4575969"/>
                  <a:gd name="connsiteX60" fmla="*/ 1671637 w 8971757"/>
                  <a:gd name="connsiteY60" fmla="*/ 3040856 h 4575969"/>
                  <a:gd name="connsiteX61" fmla="*/ 1838325 w 8971757"/>
                  <a:gd name="connsiteY61" fmla="*/ 3167062 h 4575969"/>
                  <a:gd name="connsiteX62" fmla="*/ 1909763 w 8971757"/>
                  <a:gd name="connsiteY62" fmla="*/ 3162300 h 4575969"/>
                  <a:gd name="connsiteX63" fmla="*/ 1945482 w 8971757"/>
                  <a:gd name="connsiteY63" fmla="*/ 3186112 h 4575969"/>
                  <a:gd name="connsiteX64" fmla="*/ 1916906 w 8971757"/>
                  <a:gd name="connsiteY64" fmla="*/ 3226594 h 4575969"/>
                  <a:gd name="connsiteX65" fmla="*/ 1924050 w 8971757"/>
                  <a:gd name="connsiteY65" fmla="*/ 3278981 h 4575969"/>
                  <a:gd name="connsiteX66" fmla="*/ 1976438 w 8971757"/>
                  <a:gd name="connsiteY66" fmla="*/ 3305175 h 4575969"/>
                  <a:gd name="connsiteX67" fmla="*/ 2038350 w 8971757"/>
                  <a:gd name="connsiteY67" fmla="*/ 3529013 h 4575969"/>
                  <a:gd name="connsiteX68" fmla="*/ 2028825 w 8971757"/>
                  <a:gd name="connsiteY68" fmla="*/ 3593306 h 4575969"/>
                  <a:gd name="connsiteX69" fmla="*/ 2164556 w 8971757"/>
                  <a:gd name="connsiteY69" fmla="*/ 3759994 h 4575969"/>
                  <a:gd name="connsiteX70" fmla="*/ 2183606 w 8971757"/>
                  <a:gd name="connsiteY70" fmla="*/ 3810000 h 4575969"/>
                  <a:gd name="connsiteX71" fmla="*/ 2157413 w 8971757"/>
                  <a:gd name="connsiteY71" fmla="*/ 3829050 h 4575969"/>
                  <a:gd name="connsiteX72" fmla="*/ 2259806 w 8971757"/>
                  <a:gd name="connsiteY72" fmla="*/ 3838575 h 4575969"/>
                  <a:gd name="connsiteX73" fmla="*/ 2371725 w 8971757"/>
                  <a:gd name="connsiteY73" fmla="*/ 3826669 h 4575969"/>
                  <a:gd name="connsiteX74" fmla="*/ 2650331 w 8971757"/>
                  <a:gd name="connsiteY74" fmla="*/ 3910012 h 4575969"/>
                  <a:gd name="connsiteX75" fmla="*/ 3057525 w 8971757"/>
                  <a:gd name="connsiteY75" fmla="*/ 3990975 h 4575969"/>
                  <a:gd name="connsiteX76" fmla="*/ 3255169 w 8971757"/>
                  <a:gd name="connsiteY76" fmla="*/ 3960018 h 4575969"/>
                  <a:gd name="connsiteX77" fmla="*/ 3300413 w 8971757"/>
                  <a:gd name="connsiteY77" fmla="*/ 3971924 h 4575969"/>
                  <a:gd name="connsiteX78" fmla="*/ 3355181 w 8971757"/>
                  <a:gd name="connsiteY78" fmla="*/ 3948113 h 4575969"/>
                  <a:gd name="connsiteX79" fmla="*/ 3748087 w 8971757"/>
                  <a:gd name="connsiteY79" fmla="*/ 4038600 h 4575969"/>
                  <a:gd name="connsiteX80" fmla="*/ 3831432 w 8971757"/>
                  <a:gd name="connsiteY80" fmla="*/ 4136231 h 4575969"/>
                  <a:gd name="connsiteX81" fmla="*/ 3950494 w 8971757"/>
                  <a:gd name="connsiteY81" fmla="*/ 4207669 h 4575969"/>
                  <a:gd name="connsiteX82" fmla="*/ 4010025 w 8971757"/>
                  <a:gd name="connsiteY82" fmla="*/ 4191000 h 4575969"/>
                  <a:gd name="connsiteX83" fmla="*/ 4360068 w 8971757"/>
                  <a:gd name="connsiteY83" fmla="*/ 4364831 h 4575969"/>
                  <a:gd name="connsiteX84" fmla="*/ 4586288 w 8971757"/>
                  <a:gd name="connsiteY84" fmla="*/ 4336256 h 4575969"/>
                  <a:gd name="connsiteX85" fmla="*/ 4595813 w 8971757"/>
                  <a:gd name="connsiteY85" fmla="*/ 4414837 h 4575969"/>
                  <a:gd name="connsiteX86" fmla="*/ 4681538 w 8971757"/>
                  <a:gd name="connsiteY86" fmla="*/ 4410074 h 4575969"/>
                  <a:gd name="connsiteX87" fmla="*/ 4760119 w 8971757"/>
                  <a:gd name="connsiteY87" fmla="*/ 4441031 h 4575969"/>
                  <a:gd name="connsiteX88" fmla="*/ 4802981 w 8971757"/>
                  <a:gd name="connsiteY88" fmla="*/ 4381500 h 4575969"/>
                  <a:gd name="connsiteX89" fmla="*/ 5474494 w 8971757"/>
                  <a:gd name="connsiteY89" fmla="*/ 4062412 h 4575969"/>
                  <a:gd name="connsiteX90" fmla="*/ 5562600 w 8971757"/>
                  <a:gd name="connsiteY90" fmla="*/ 4090988 h 4575969"/>
                  <a:gd name="connsiteX91" fmla="*/ 5693569 w 8971757"/>
                  <a:gd name="connsiteY91" fmla="*/ 4062412 h 4575969"/>
                  <a:gd name="connsiteX92" fmla="*/ 5872162 w 8971757"/>
                  <a:gd name="connsiteY92" fmla="*/ 4079081 h 4575969"/>
                  <a:gd name="connsiteX93" fmla="*/ 5929313 w 8971757"/>
                  <a:gd name="connsiteY93" fmla="*/ 4052888 h 4575969"/>
                  <a:gd name="connsiteX94" fmla="*/ 6062662 w 8971757"/>
                  <a:gd name="connsiteY94" fmla="*/ 4050506 h 4575969"/>
                  <a:gd name="connsiteX95" fmla="*/ 6196012 w 8971757"/>
                  <a:gd name="connsiteY95" fmla="*/ 3952875 h 4575969"/>
                  <a:gd name="connsiteX96" fmla="*/ 6262687 w 8971757"/>
                  <a:gd name="connsiteY96" fmla="*/ 3945731 h 4575969"/>
                  <a:gd name="connsiteX97" fmla="*/ 6360319 w 8971757"/>
                  <a:gd name="connsiteY97" fmla="*/ 3871912 h 4575969"/>
                  <a:gd name="connsiteX98" fmla="*/ 6434138 w 8971757"/>
                  <a:gd name="connsiteY98" fmla="*/ 3802856 h 4575969"/>
                  <a:gd name="connsiteX99" fmla="*/ 6443663 w 8971757"/>
                  <a:gd name="connsiteY99" fmla="*/ 3740944 h 4575969"/>
                  <a:gd name="connsiteX100" fmla="*/ 6477000 w 8971757"/>
                  <a:gd name="connsiteY100" fmla="*/ 3671887 h 4575969"/>
                  <a:gd name="connsiteX101" fmla="*/ 6629400 w 8971757"/>
                  <a:gd name="connsiteY101" fmla="*/ 3564731 h 4575969"/>
                  <a:gd name="connsiteX102" fmla="*/ 6662738 w 8971757"/>
                  <a:gd name="connsiteY102" fmla="*/ 3569494 h 4575969"/>
                  <a:gd name="connsiteX103" fmla="*/ 6715125 w 8971757"/>
                  <a:gd name="connsiteY103" fmla="*/ 3490912 h 4575969"/>
                  <a:gd name="connsiteX104" fmla="*/ 6762750 w 8971757"/>
                  <a:gd name="connsiteY104" fmla="*/ 3452812 h 4575969"/>
                  <a:gd name="connsiteX105" fmla="*/ 6748463 w 8971757"/>
                  <a:gd name="connsiteY105" fmla="*/ 3383756 h 4575969"/>
                  <a:gd name="connsiteX106" fmla="*/ 6698456 w 8971757"/>
                  <a:gd name="connsiteY106" fmla="*/ 3352799 h 4575969"/>
                  <a:gd name="connsiteX107" fmla="*/ 6638925 w 8971757"/>
                  <a:gd name="connsiteY107" fmla="*/ 3298031 h 4575969"/>
                  <a:gd name="connsiteX108" fmla="*/ 6619875 w 8971757"/>
                  <a:gd name="connsiteY108" fmla="*/ 3240881 h 4575969"/>
                  <a:gd name="connsiteX109" fmla="*/ 6584156 w 8971757"/>
                  <a:gd name="connsiteY109" fmla="*/ 3207544 h 4575969"/>
                  <a:gd name="connsiteX110" fmla="*/ 6610350 w 8971757"/>
                  <a:gd name="connsiteY110" fmla="*/ 3155156 h 4575969"/>
                  <a:gd name="connsiteX111" fmla="*/ 6650831 w 8971757"/>
                  <a:gd name="connsiteY111" fmla="*/ 2976562 h 4575969"/>
                  <a:gd name="connsiteX112" fmla="*/ 6691313 w 8971757"/>
                  <a:gd name="connsiteY112" fmla="*/ 2909887 h 4575969"/>
                  <a:gd name="connsiteX113" fmla="*/ 6836569 w 8971757"/>
                  <a:gd name="connsiteY113" fmla="*/ 2893218 h 4575969"/>
                  <a:gd name="connsiteX114" fmla="*/ 6905625 w 8971757"/>
                  <a:gd name="connsiteY114" fmla="*/ 2950369 h 4575969"/>
                  <a:gd name="connsiteX115" fmla="*/ 6981825 w 8971757"/>
                  <a:gd name="connsiteY115" fmla="*/ 2974181 h 4575969"/>
                  <a:gd name="connsiteX116" fmla="*/ 7186612 w 8971757"/>
                  <a:gd name="connsiteY116" fmla="*/ 2978944 h 4575969"/>
                  <a:gd name="connsiteX117" fmla="*/ 7362825 w 8971757"/>
                  <a:gd name="connsiteY117" fmla="*/ 2840831 h 4575969"/>
                  <a:gd name="connsiteX118" fmla="*/ 7419975 w 8971757"/>
                  <a:gd name="connsiteY118" fmla="*/ 2750343 h 4575969"/>
                  <a:gd name="connsiteX119" fmla="*/ 7446169 w 8971757"/>
                  <a:gd name="connsiteY119" fmla="*/ 2667000 h 4575969"/>
                  <a:gd name="connsiteX120" fmla="*/ 7577137 w 8971757"/>
                  <a:gd name="connsiteY120" fmla="*/ 2667000 h 4575969"/>
                  <a:gd name="connsiteX121" fmla="*/ 7750969 w 8971757"/>
                  <a:gd name="connsiteY121" fmla="*/ 2609849 h 4575969"/>
                  <a:gd name="connsiteX122" fmla="*/ 7810500 w 8971757"/>
                  <a:gd name="connsiteY122" fmla="*/ 2497931 h 4575969"/>
                  <a:gd name="connsiteX123" fmla="*/ 7874794 w 8971757"/>
                  <a:gd name="connsiteY123" fmla="*/ 2462212 h 4575969"/>
                  <a:gd name="connsiteX124" fmla="*/ 7853363 w 8971757"/>
                  <a:gd name="connsiteY124" fmla="*/ 2416969 h 4575969"/>
                  <a:gd name="connsiteX125" fmla="*/ 7931944 w 8971757"/>
                  <a:gd name="connsiteY125" fmla="*/ 2247899 h 4575969"/>
                  <a:gd name="connsiteX126" fmla="*/ 7986713 w 8971757"/>
                  <a:gd name="connsiteY126" fmla="*/ 2188369 h 4575969"/>
                  <a:gd name="connsiteX127" fmla="*/ 8024813 w 8971757"/>
                  <a:gd name="connsiteY127" fmla="*/ 2183606 h 4575969"/>
                  <a:gd name="connsiteX128" fmla="*/ 8070056 w 8971757"/>
                  <a:gd name="connsiteY128" fmla="*/ 2188369 h 4575969"/>
                  <a:gd name="connsiteX129" fmla="*/ 8134350 w 8971757"/>
                  <a:gd name="connsiteY129" fmla="*/ 2155031 h 4575969"/>
                  <a:gd name="connsiteX130" fmla="*/ 8143875 w 8971757"/>
                  <a:gd name="connsiteY130" fmla="*/ 2090737 h 4575969"/>
                  <a:gd name="connsiteX131" fmla="*/ 8184355 w 8971757"/>
                  <a:gd name="connsiteY131" fmla="*/ 2055019 h 4575969"/>
                  <a:gd name="connsiteX132" fmla="*/ 8243888 w 8971757"/>
                  <a:gd name="connsiteY132" fmla="*/ 2095499 h 4575969"/>
                  <a:gd name="connsiteX133" fmla="*/ 8270082 w 8971757"/>
                  <a:gd name="connsiteY133" fmla="*/ 2045493 h 4575969"/>
                  <a:gd name="connsiteX134" fmla="*/ 8365331 w 8971757"/>
                  <a:gd name="connsiteY134" fmla="*/ 1976437 h 4575969"/>
                  <a:gd name="connsiteX135" fmla="*/ 8427244 w 8971757"/>
                  <a:gd name="connsiteY135" fmla="*/ 1983581 h 4575969"/>
                  <a:gd name="connsiteX136" fmla="*/ 8477250 w 8971757"/>
                  <a:gd name="connsiteY136" fmla="*/ 1964531 h 4575969"/>
                  <a:gd name="connsiteX137" fmla="*/ 8515350 w 8971757"/>
                  <a:gd name="connsiteY137" fmla="*/ 1935956 h 4575969"/>
                  <a:gd name="connsiteX138" fmla="*/ 8548688 w 8971757"/>
                  <a:gd name="connsiteY138" fmla="*/ 1933575 h 4575969"/>
                  <a:gd name="connsiteX139" fmla="*/ 8584406 w 8971757"/>
                  <a:gd name="connsiteY139" fmla="*/ 1964531 h 4575969"/>
                  <a:gd name="connsiteX140" fmla="*/ 8643938 w 8971757"/>
                  <a:gd name="connsiteY140" fmla="*/ 1964531 h 4575969"/>
                  <a:gd name="connsiteX141" fmla="*/ 8682037 w 8971757"/>
                  <a:gd name="connsiteY141" fmla="*/ 1945481 h 4575969"/>
                  <a:gd name="connsiteX142" fmla="*/ 8765381 w 8971757"/>
                  <a:gd name="connsiteY142" fmla="*/ 1947863 h 4575969"/>
                  <a:gd name="connsiteX143" fmla="*/ 8796338 w 8971757"/>
                  <a:gd name="connsiteY143" fmla="*/ 1902619 h 4575969"/>
                  <a:gd name="connsiteX144" fmla="*/ 8801100 w 8971757"/>
                  <a:gd name="connsiteY144" fmla="*/ 1840706 h 4575969"/>
                  <a:gd name="connsiteX145" fmla="*/ 8751093 w 8971757"/>
                  <a:gd name="connsiteY145" fmla="*/ 1800225 h 4575969"/>
                  <a:gd name="connsiteX146" fmla="*/ 8734425 w 8971757"/>
                  <a:gd name="connsiteY146" fmla="*/ 1745456 h 4575969"/>
                  <a:gd name="connsiteX147" fmla="*/ 8643938 w 8971757"/>
                  <a:gd name="connsiteY147" fmla="*/ 1683544 h 4575969"/>
                  <a:gd name="connsiteX148" fmla="*/ 8603456 w 8971757"/>
                  <a:gd name="connsiteY148" fmla="*/ 1662112 h 4575969"/>
                  <a:gd name="connsiteX149" fmla="*/ 8565356 w 8971757"/>
                  <a:gd name="connsiteY149" fmla="*/ 1616869 h 4575969"/>
                  <a:gd name="connsiteX150" fmla="*/ 8534400 w 8971757"/>
                  <a:gd name="connsiteY150" fmla="*/ 1614487 h 4575969"/>
                  <a:gd name="connsiteX151" fmla="*/ 8517731 w 8971757"/>
                  <a:gd name="connsiteY151" fmla="*/ 1562100 h 4575969"/>
                  <a:gd name="connsiteX152" fmla="*/ 8477250 w 8971757"/>
                  <a:gd name="connsiteY152" fmla="*/ 1545431 h 4575969"/>
                  <a:gd name="connsiteX153" fmla="*/ 8477250 w 8971757"/>
                  <a:gd name="connsiteY153" fmla="*/ 1545431 h 4575969"/>
                  <a:gd name="connsiteX154" fmla="*/ 8436769 w 8971757"/>
                  <a:gd name="connsiteY154" fmla="*/ 1550194 h 4575969"/>
                  <a:gd name="connsiteX155" fmla="*/ 8351043 w 8971757"/>
                  <a:gd name="connsiteY155" fmla="*/ 1476375 h 4575969"/>
                  <a:gd name="connsiteX156" fmla="*/ 8170069 w 8971757"/>
                  <a:gd name="connsiteY156" fmla="*/ 1476374 h 4575969"/>
                  <a:gd name="connsiteX157" fmla="*/ 8117681 w 8971757"/>
                  <a:gd name="connsiteY157" fmla="*/ 1514475 h 4575969"/>
                  <a:gd name="connsiteX158" fmla="*/ 8067675 w 8971757"/>
                  <a:gd name="connsiteY158" fmla="*/ 1593056 h 4575969"/>
                  <a:gd name="connsiteX159" fmla="*/ 8084344 w 8971757"/>
                  <a:gd name="connsiteY159" fmla="*/ 1614487 h 4575969"/>
                  <a:gd name="connsiteX160" fmla="*/ 8039100 w 8971757"/>
                  <a:gd name="connsiteY160" fmla="*/ 1664493 h 4575969"/>
                  <a:gd name="connsiteX161" fmla="*/ 7889081 w 8971757"/>
                  <a:gd name="connsiteY161" fmla="*/ 1588293 h 4575969"/>
                  <a:gd name="connsiteX162" fmla="*/ 7798594 w 8971757"/>
                  <a:gd name="connsiteY162" fmla="*/ 1624012 h 4575969"/>
                  <a:gd name="connsiteX163" fmla="*/ 7724775 w 8971757"/>
                  <a:gd name="connsiteY163" fmla="*/ 1621631 h 4575969"/>
                  <a:gd name="connsiteX164" fmla="*/ 7667625 w 8971757"/>
                  <a:gd name="connsiteY164" fmla="*/ 1716881 h 4575969"/>
                  <a:gd name="connsiteX165" fmla="*/ 7529513 w 8971757"/>
                  <a:gd name="connsiteY16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7150894 w 8971757"/>
                  <a:gd name="connsiteY12" fmla="*/ 754856 h 4575969"/>
                  <a:gd name="connsiteX13" fmla="*/ 8412956 w 8971757"/>
                  <a:gd name="connsiteY13" fmla="*/ 23812 h 4575969"/>
                  <a:gd name="connsiteX14" fmla="*/ 8949531 w 8971757"/>
                  <a:gd name="connsiteY14" fmla="*/ 0 h 4575969"/>
                  <a:gd name="connsiteX15" fmla="*/ 8971757 w 8971757"/>
                  <a:gd name="connsiteY15" fmla="*/ 4575969 h 4575969"/>
                  <a:gd name="connsiteX16" fmla="*/ 2381 w 8971757"/>
                  <a:gd name="connsiteY16" fmla="*/ 4547392 h 4575969"/>
                  <a:gd name="connsiteX17" fmla="*/ 0 w 8971757"/>
                  <a:gd name="connsiteY17" fmla="*/ 845344 h 4575969"/>
                  <a:gd name="connsiteX18" fmla="*/ 76200 w 8971757"/>
                  <a:gd name="connsiteY18" fmla="*/ 828675 h 4575969"/>
                  <a:gd name="connsiteX19" fmla="*/ 119063 w 8971757"/>
                  <a:gd name="connsiteY19" fmla="*/ 857250 h 4575969"/>
                  <a:gd name="connsiteX20" fmla="*/ 215900 w 8971757"/>
                  <a:gd name="connsiteY20" fmla="*/ 848519 h 4575969"/>
                  <a:gd name="connsiteX21" fmla="*/ 261938 w 8971757"/>
                  <a:gd name="connsiteY21" fmla="*/ 876299 h 4575969"/>
                  <a:gd name="connsiteX22" fmla="*/ 228600 w 8971757"/>
                  <a:gd name="connsiteY22" fmla="*/ 904875 h 4575969"/>
                  <a:gd name="connsiteX23" fmla="*/ 233363 w 8971757"/>
                  <a:gd name="connsiteY23" fmla="*/ 947737 h 4575969"/>
                  <a:gd name="connsiteX24" fmla="*/ 200025 w 8971757"/>
                  <a:gd name="connsiteY24" fmla="*/ 952500 h 4575969"/>
                  <a:gd name="connsiteX25" fmla="*/ 204788 w 8971757"/>
                  <a:gd name="connsiteY25" fmla="*/ 976312 h 4575969"/>
                  <a:gd name="connsiteX26" fmla="*/ 261937 w 8971757"/>
                  <a:gd name="connsiteY26" fmla="*/ 1050131 h 4575969"/>
                  <a:gd name="connsiteX27" fmla="*/ 223838 w 8971757"/>
                  <a:gd name="connsiteY27" fmla="*/ 1097756 h 4575969"/>
                  <a:gd name="connsiteX28" fmla="*/ 278606 w 8971757"/>
                  <a:gd name="connsiteY28" fmla="*/ 1133475 h 4575969"/>
                  <a:gd name="connsiteX29" fmla="*/ 369094 w 8971757"/>
                  <a:gd name="connsiteY29" fmla="*/ 1221581 h 4575969"/>
                  <a:gd name="connsiteX30" fmla="*/ 371475 w 8971757"/>
                  <a:gd name="connsiteY30" fmla="*/ 1281112 h 4575969"/>
                  <a:gd name="connsiteX31" fmla="*/ 507206 w 8971757"/>
                  <a:gd name="connsiteY31" fmla="*/ 1414463 h 4575969"/>
                  <a:gd name="connsiteX32" fmla="*/ 561975 w 8971757"/>
                  <a:gd name="connsiteY32" fmla="*/ 1390650 h 4575969"/>
                  <a:gd name="connsiteX33" fmla="*/ 600075 w 8971757"/>
                  <a:gd name="connsiteY33" fmla="*/ 1416843 h 4575969"/>
                  <a:gd name="connsiteX34" fmla="*/ 614363 w 8971757"/>
                  <a:gd name="connsiteY34" fmla="*/ 1466849 h 4575969"/>
                  <a:gd name="connsiteX35" fmla="*/ 657225 w 8971757"/>
                  <a:gd name="connsiteY35" fmla="*/ 1502569 h 4575969"/>
                  <a:gd name="connsiteX36" fmla="*/ 697706 w 8971757"/>
                  <a:gd name="connsiteY36" fmla="*/ 1490662 h 4575969"/>
                  <a:gd name="connsiteX37" fmla="*/ 716756 w 8971757"/>
                  <a:gd name="connsiteY37" fmla="*/ 1547812 h 4575969"/>
                  <a:gd name="connsiteX38" fmla="*/ 764381 w 8971757"/>
                  <a:gd name="connsiteY38" fmla="*/ 1590675 h 4575969"/>
                  <a:gd name="connsiteX39" fmla="*/ 788194 w 8971757"/>
                  <a:gd name="connsiteY39" fmla="*/ 1693069 h 4575969"/>
                  <a:gd name="connsiteX40" fmla="*/ 785813 w 8971757"/>
                  <a:gd name="connsiteY40" fmla="*/ 1740694 h 4575969"/>
                  <a:gd name="connsiteX41" fmla="*/ 821531 w 8971757"/>
                  <a:gd name="connsiteY41" fmla="*/ 1840706 h 4575969"/>
                  <a:gd name="connsiteX42" fmla="*/ 866775 w 8971757"/>
                  <a:gd name="connsiteY42" fmla="*/ 1897856 h 4575969"/>
                  <a:gd name="connsiteX43" fmla="*/ 883443 w 8971757"/>
                  <a:gd name="connsiteY43" fmla="*/ 2055018 h 4575969"/>
                  <a:gd name="connsiteX44" fmla="*/ 850106 w 8971757"/>
                  <a:gd name="connsiteY44" fmla="*/ 2116931 h 4575969"/>
                  <a:gd name="connsiteX45" fmla="*/ 819150 w 8971757"/>
                  <a:gd name="connsiteY45" fmla="*/ 2193131 h 4575969"/>
                  <a:gd name="connsiteX46" fmla="*/ 833438 w 8971757"/>
                  <a:gd name="connsiteY46" fmla="*/ 2250281 h 4575969"/>
                  <a:gd name="connsiteX47" fmla="*/ 735806 w 8971757"/>
                  <a:gd name="connsiteY47" fmla="*/ 2357438 h 4575969"/>
                  <a:gd name="connsiteX48" fmla="*/ 692944 w 8971757"/>
                  <a:gd name="connsiteY48" fmla="*/ 2471737 h 4575969"/>
                  <a:gd name="connsiteX49" fmla="*/ 726281 w 8971757"/>
                  <a:gd name="connsiteY49" fmla="*/ 2512219 h 4575969"/>
                  <a:gd name="connsiteX50" fmla="*/ 709613 w 8971757"/>
                  <a:gd name="connsiteY50" fmla="*/ 2540794 h 4575969"/>
                  <a:gd name="connsiteX51" fmla="*/ 740569 w 8971757"/>
                  <a:gd name="connsiteY51" fmla="*/ 2597944 h 4575969"/>
                  <a:gd name="connsiteX52" fmla="*/ 769144 w 8971757"/>
                  <a:gd name="connsiteY52" fmla="*/ 2597944 h 4575969"/>
                  <a:gd name="connsiteX53" fmla="*/ 931069 w 8971757"/>
                  <a:gd name="connsiteY53" fmla="*/ 2700337 h 4575969"/>
                  <a:gd name="connsiteX54" fmla="*/ 1035844 w 8971757"/>
                  <a:gd name="connsiteY54" fmla="*/ 2697956 h 4575969"/>
                  <a:gd name="connsiteX55" fmla="*/ 1114425 w 8971757"/>
                  <a:gd name="connsiteY55" fmla="*/ 2752725 h 4575969"/>
                  <a:gd name="connsiteX56" fmla="*/ 1245393 w 8971757"/>
                  <a:gd name="connsiteY56" fmla="*/ 2755106 h 4575969"/>
                  <a:gd name="connsiteX57" fmla="*/ 1435893 w 8971757"/>
                  <a:gd name="connsiteY57" fmla="*/ 2824162 h 4575969"/>
                  <a:gd name="connsiteX58" fmla="*/ 1638300 w 8971757"/>
                  <a:gd name="connsiteY58" fmla="*/ 2974181 h 4575969"/>
                  <a:gd name="connsiteX59" fmla="*/ 1671637 w 8971757"/>
                  <a:gd name="connsiteY59" fmla="*/ 3040856 h 4575969"/>
                  <a:gd name="connsiteX60" fmla="*/ 1838325 w 8971757"/>
                  <a:gd name="connsiteY60" fmla="*/ 3167062 h 4575969"/>
                  <a:gd name="connsiteX61" fmla="*/ 1909763 w 8971757"/>
                  <a:gd name="connsiteY61" fmla="*/ 3162300 h 4575969"/>
                  <a:gd name="connsiteX62" fmla="*/ 1945482 w 8971757"/>
                  <a:gd name="connsiteY62" fmla="*/ 3186112 h 4575969"/>
                  <a:gd name="connsiteX63" fmla="*/ 1916906 w 8971757"/>
                  <a:gd name="connsiteY63" fmla="*/ 3226594 h 4575969"/>
                  <a:gd name="connsiteX64" fmla="*/ 1924050 w 8971757"/>
                  <a:gd name="connsiteY64" fmla="*/ 3278981 h 4575969"/>
                  <a:gd name="connsiteX65" fmla="*/ 1976438 w 8971757"/>
                  <a:gd name="connsiteY65" fmla="*/ 3305175 h 4575969"/>
                  <a:gd name="connsiteX66" fmla="*/ 2038350 w 8971757"/>
                  <a:gd name="connsiteY66" fmla="*/ 3529013 h 4575969"/>
                  <a:gd name="connsiteX67" fmla="*/ 2028825 w 8971757"/>
                  <a:gd name="connsiteY67" fmla="*/ 3593306 h 4575969"/>
                  <a:gd name="connsiteX68" fmla="*/ 2164556 w 8971757"/>
                  <a:gd name="connsiteY68" fmla="*/ 3759994 h 4575969"/>
                  <a:gd name="connsiteX69" fmla="*/ 2183606 w 8971757"/>
                  <a:gd name="connsiteY69" fmla="*/ 3810000 h 4575969"/>
                  <a:gd name="connsiteX70" fmla="*/ 2157413 w 8971757"/>
                  <a:gd name="connsiteY70" fmla="*/ 3829050 h 4575969"/>
                  <a:gd name="connsiteX71" fmla="*/ 2259806 w 8971757"/>
                  <a:gd name="connsiteY71" fmla="*/ 3838575 h 4575969"/>
                  <a:gd name="connsiteX72" fmla="*/ 2371725 w 8971757"/>
                  <a:gd name="connsiteY72" fmla="*/ 3826669 h 4575969"/>
                  <a:gd name="connsiteX73" fmla="*/ 2650331 w 8971757"/>
                  <a:gd name="connsiteY73" fmla="*/ 3910012 h 4575969"/>
                  <a:gd name="connsiteX74" fmla="*/ 3057525 w 8971757"/>
                  <a:gd name="connsiteY74" fmla="*/ 3990975 h 4575969"/>
                  <a:gd name="connsiteX75" fmla="*/ 3255169 w 8971757"/>
                  <a:gd name="connsiteY75" fmla="*/ 3960018 h 4575969"/>
                  <a:gd name="connsiteX76" fmla="*/ 3300413 w 8971757"/>
                  <a:gd name="connsiteY76" fmla="*/ 3971924 h 4575969"/>
                  <a:gd name="connsiteX77" fmla="*/ 3355181 w 8971757"/>
                  <a:gd name="connsiteY77" fmla="*/ 3948113 h 4575969"/>
                  <a:gd name="connsiteX78" fmla="*/ 3748087 w 8971757"/>
                  <a:gd name="connsiteY78" fmla="*/ 4038600 h 4575969"/>
                  <a:gd name="connsiteX79" fmla="*/ 3831432 w 8971757"/>
                  <a:gd name="connsiteY79" fmla="*/ 4136231 h 4575969"/>
                  <a:gd name="connsiteX80" fmla="*/ 3950494 w 8971757"/>
                  <a:gd name="connsiteY80" fmla="*/ 4207669 h 4575969"/>
                  <a:gd name="connsiteX81" fmla="*/ 4010025 w 8971757"/>
                  <a:gd name="connsiteY81" fmla="*/ 4191000 h 4575969"/>
                  <a:gd name="connsiteX82" fmla="*/ 4360068 w 8971757"/>
                  <a:gd name="connsiteY82" fmla="*/ 4364831 h 4575969"/>
                  <a:gd name="connsiteX83" fmla="*/ 4586288 w 8971757"/>
                  <a:gd name="connsiteY83" fmla="*/ 4336256 h 4575969"/>
                  <a:gd name="connsiteX84" fmla="*/ 4595813 w 8971757"/>
                  <a:gd name="connsiteY84" fmla="*/ 4414837 h 4575969"/>
                  <a:gd name="connsiteX85" fmla="*/ 4681538 w 8971757"/>
                  <a:gd name="connsiteY85" fmla="*/ 4410074 h 4575969"/>
                  <a:gd name="connsiteX86" fmla="*/ 4760119 w 8971757"/>
                  <a:gd name="connsiteY86" fmla="*/ 4441031 h 4575969"/>
                  <a:gd name="connsiteX87" fmla="*/ 4802981 w 8971757"/>
                  <a:gd name="connsiteY87" fmla="*/ 4381500 h 4575969"/>
                  <a:gd name="connsiteX88" fmla="*/ 5474494 w 8971757"/>
                  <a:gd name="connsiteY88" fmla="*/ 4062412 h 4575969"/>
                  <a:gd name="connsiteX89" fmla="*/ 5562600 w 8971757"/>
                  <a:gd name="connsiteY89" fmla="*/ 4090988 h 4575969"/>
                  <a:gd name="connsiteX90" fmla="*/ 5693569 w 8971757"/>
                  <a:gd name="connsiteY90" fmla="*/ 4062412 h 4575969"/>
                  <a:gd name="connsiteX91" fmla="*/ 5872162 w 8971757"/>
                  <a:gd name="connsiteY91" fmla="*/ 4079081 h 4575969"/>
                  <a:gd name="connsiteX92" fmla="*/ 5929313 w 8971757"/>
                  <a:gd name="connsiteY92" fmla="*/ 4052888 h 4575969"/>
                  <a:gd name="connsiteX93" fmla="*/ 6062662 w 8971757"/>
                  <a:gd name="connsiteY93" fmla="*/ 4050506 h 4575969"/>
                  <a:gd name="connsiteX94" fmla="*/ 6196012 w 8971757"/>
                  <a:gd name="connsiteY94" fmla="*/ 3952875 h 4575969"/>
                  <a:gd name="connsiteX95" fmla="*/ 6262687 w 8971757"/>
                  <a:gd name="connsiteY95" fmla="*/ 3945731 h 4575969"/>
                  <a:gd name="connsiteX96" fmla="*/ 6360319 w 8971757"/>
                  <a:gd name="connsiteY96" fmla="*/ 3871912 h 4575969"/>
                  <a:gd name="connsiteX97" fmla="*/ 6434138 w 8971757"/>
                  <a:gd name="connsiteY97" fmla="*/ 3802856 h 4575969"/>
                  <a:gd name="connsiteX98" fmla="*/ 6443663 w 8971757"/>
                  <a:gd name="connsiteY98" fmla="*/ 3740944 h 4575969"/>
                  <a:gd name="connsiteX99" fmla="*/ 6477000 w 8971757"/>
                  <a:gd name="connsiteY99" fmla="*/ 3671887 h 4575969"/>
                  <a:gd name="connsiteX100" fmla="*/ 6629400 w 8971757"/>
                  <a:gd name="connsiteY100" fmla="*/ 3564731 h 4575969"/>
                  <a:gd name="connsiteX101" fmla="*/ 6662738 w 8971757"/>
                  <a:gd name="connsiteY101" fmla="*/ 3569494 h 4575969"/>
                  <a:gd name="connsiteX102" fmla="*/ 6715125 w 8971757"/>
                  <a:gd name="connsiteY102" fmla="*/ 3490912 h 4575969"/>
                  <a:gd name="connsiteX103" fmla="*/ 6762750 w 8971757"/>
                  <a:gd name="connsiteY103" fmla="*/ 3452812 h 4575969"/>
                  <a:gd name="connsiteX104" fmla="*/ 6748463 w 8971757"/>
                  <a:gd name="connsiteY104" fmla="*/ 3383756 h 4575969"/>
                  <a:gd name="connsiteX105" fmla="*/ 6698456 w 8971757"/>
                  <a:gd name="connsiteY105" fmla="*/ 3352799 h 4575969"/>
                  <a:gd name="connsiteX106" fmla="*/ 6638925 w 8971757"/>
                  <a:gd name="connsiteY106" fmla="*/ 3298031 h 4575969"/>
                  <a:gd name="connsiteX107" fmla="*/ 6619875 w 8971757"/>
                  <a:gd name="connsiteY107" fmla="*/ 3240881 h 4575969"/>
                  <a:gd name="connsiteX108" fmla="*/ 6584156 w 8971757"/>
                  <a:gd name="connsiteY108" fmla="*/ 3207544 h 4575969"/>
                  <a:gd name="connsiteX109" fmla="*/ 6610350 w 8971757"/>
                  <a:gd name="connsiteY109" fmla="*/ 3155156 h 4575969"/>
                  <a:gd name="connsiteX110" fmla="*/ 6650831 w 8971757"/>
                  <a:gd name="connsiteY110" fmla="*/ 2976562 h 4575969"/>
                  <a:gd name="connsiteX111" fmla="*/ 6691313 w 8971757"/>
                  <a:gd name="connsiteY111" fmla="*/ 2909887 h 4575969"/>
                  <a:gd name="connsiteX112" fmla="*/ 6836569 w 8971757"/>
                  <a:gd name="connsiteY112" fmla="*/ 2893218 h 4575969"/>
                  <a:gd name="connsiteX113" fmla="*/ 6905625 w 8971757"/>
                  <a:gd name="connsiteY113" fmla="*/ 2950369 h 4575969"/>
                  <a:gd name="connsiteX114" fmla="*/ 6981825 w 8971757"/>
                  <a:gd name="connsiteY114" fmla="*/ 2974181 h 4575969"/>
                  <a:gd name="connsiteX115" fmla="*/ 7186612 w 8971757"/>
                  <a:gd name="connsiteY115" fmla="*/ 2978944 h 4575969"/>
                  <a:gd name="connsiteX116" fmla="*/ 7362825 w 8971757"/>
                  <a:gd name="connsiteY116" fmla="*/ 2840831 h 4575969"/>
                  <a:gd name="connsiteX117" fmla="*/ 7419975 w 8971757"/>
                  <a:gd name="connsiteY117" fmla="*/ 2750343 h 4575969"/>
                  <a:gd name="connsiteX118" fmla="*/ 7446169 w 8971757"/>
                  <a:gd name="connsiteY118" fmla="*/ 2667000 h 4575969"/>
                  <a:gd name="connsiteX119" fmla="*/ 7577137 w 8971757"/>
                  <a:gd name="connsiteY119" fmla="*/ 2667000 h 4575969"/>
                  <a:gd name="connsiteX120" fmla="*/ 7750969 w 8971757"/>
                  <a:gd name="connsiteY120" fmla="*/ 2609849 h 4575969"/>
                  <a:gd name="connsiteX121" fmla="*/ 7810500 w 8971757"/>
                  <a:gd name="connsiteY121" fmla="*/ 2497931 h 4575969"/>
                  <a:gd name="connsiteX122" fmla="*/ 7874794 w 8971757"/>
                  <a:gd name="connsiteY122" fmla="*/ 2462212 h 4575969"/>
                  <a:gd name="connsiteX123" fmla="*/ 7853363 w 8971757"/>
                  <a:gd name="connsiteY123" fmla="*/ 2416969 h 4575969"/>
                  <a:gd name="connsiteX124" fmla="*/ 7931944 w 8971757"/>
                  <a:gd name="connsiteY124" fmla="*/ 2247899 h 4575969"/>
                  <a:gd name="connsiteX125" fmla="*/ 7986713 w 8971757"/>
                  <a:gd name="connsiteY125" fmla="*/ 2188369 h 4575969"/>
                  <a:gd name="connsiteX126" fmla="*/ 8024813 w 8971757"/>
                  <a:gd name="connsiteY126" fmla="*/ 2183606 h 4575969"/>
                  <a:gd name="connsiteX127" fmla="*/ 8070056 w 8971757"/>
                  <a:gd name="connsiteY127" fmla="*/ 2188369 h 4575969"/>
                  <a:gd name="connsiteX128" fmla="*/ 8134350 w 8971757"/>
                  <a:gd name="connsiteY128" fmla="*/ 2155031 h 4575969"/>
                  <a:gd name="connsiteX129" fmla="*/ 8143875 w 8971757"/>
                  <a:gd name="connsiteY129" fmla="*/ 2090737 h 4575969"/>
                  <a:gd name="connsiteX130" fmla="*/ 8184355 w 8971757"/>
                  <a:gd name="connsiteY130" fmla="*/ 2055019 h 4575969"/>
                  <a:gd name="connsiteX131" fmla="*/ 8243888 w 8971757"/>
                  <a:gd name="connsiteY131" fmla="*/ 2095499 h 4575969"/>
                  <a:gd name="connsiteX132" fmla="*/ 8270082 w 8971757"/>
                  <a:gd name="connsiteY132" fmla="*/ 2045493 h 4575969"/>
                  <a:gd name="connsiteX133" fmla="*/ 8365331 w 8971757"/>
                  <a:gd name="connsiteY133" fmla="*/ 1976437 h 4575969"/>
                  <a:gd name="connsiteX134" fmla="*/ 8427244 w 8971757"/>
                  <a:gd name="connsiteY134" fmla="*/ 1983581 h 4575969"/>
                  <a:gd name="connsiteX135" fmla="*/ 8477250 w 8971757"/>
                  <a:gd name="connsiteY135" fmla="*/ 1964531 h 4575969"/>
                  <a:gd name="connsiteX136" fmla="*/ 8515350 w 8971757"/>
                  <a:gd name="connsiteY136" fmla="*/ 1935956 h 4575969"/>
                  <a:gd name="connsiteX137" fmla="*/ 8548688 w 8971757"/>
                  <a:gd name="connsiteY137" fmla="*/ 1933575 h 4575969"/>
                  <a:gd name="connsiteX138" fmla="*/ 8584406 w 8971757"/>
                  <a:gd name="connsiteY138" fmla="*/ 1964531 h 4575969"/>
                  <a:gd name="connsiteX139" fmla="*/ 8643938 w 8971757"/>
                  <a:gd name="connsiteY139" fmla="*/ 1964531 h 4575969"/>
                  <a:gd name="connsiteX140" fmla="*/ 8682037 w 8971757"/>
                  <a:gd name="connsiteY140" fmla="*/ 1945481 h 4575969"/>
                  <a:gd name="connsiteX141" fmla="*/ 8765381 w 8971757"/>
                  <a:gd name="connsiteY141" fmla="*/ 1947863 h 4575969"/>
                  <a:gd name="connsiteX142" fmla="*/ 8796338 w 8971757"/>
                  <a:gd name="connsiteY142" fmla="*/ 1902619 h 4575969"/>
                  <a:gd name="connsiteX143" fmla="*/ 8801100 w 8971757"/>
                  <a:gd name="connsiteY143" fmla="*/ 1840706 h 4575969"/>
                  <a:gd name="connsiteX144" fmla="*/ 8751093 w 8971757"/>
                  <a:gd name="connsiteY144" fmla="*/ 1800225 h 4575969"/>
                  <a:gd name="connsiteX145" fmla="*/ 8734425 w 8971757"/>
                  <a:gd name="connsiteY145" fmla="*/ 1745456 h 4575969"/>
                  <a:gd name="connsiteX146" fmla="*/ 8643938 w 8971757"/>
                  <a:gd name="connsiteY146" fmla="*/ 1683544 h 4575969"/>
                  <a:gd name="connsiteX147" fmla="*/ 8603456 w 8971757"/>
                  <a:gd name="connsiteY147" fmla="*/ 1662112 h 4575969"/>
                  <a:gd name="connsiteX148" fmla="*/ 8565356 w 8971757"/>
                  <a:gd name="connsiteY148" fmla="*/ 1616869 h 4575969"/>
                  <a:gd name="connsiteX149" fmla="*/ 8534400 w 8971757"/>
                  <a:gd name="connsiteY149" fmla="*/ 1614487 h 4575969"/>
                  <a:gd name="connsiteX150" fmla="*/ 8517731 w 8971757"/>
                  <a:gd name="connsiteY150" fmla="*/ 1562100 h 4575969"/>
                  <a:gd name="connsiteX151" fmla="*/ 8477250 w 8971757"/>
                  <a:gd name="connsiteY151" fmla="*/ 1545431 h 4575969"/>
                  <a:gd name="connsiteX152" fmla="*/ 8477250 w 8971757"/>
                  <a:gd name="connsiteY152" fmla="*/ 1545431 h 4575969"/>
                  <a:gd name="connsiteX153" fmla="*/ 8436769 w 8971757"/>
                  <a:gd name="connsiteY153" fmla="*/ 1550194 h 4575969"/>
                  <a:gd name="connsiteX154" fmla="*/ 8351043 w 8971757"/>
                  <a:gd name="connsiteY154" fmla="*/ 1476375 h 4575969"/>
                  <a:gd name="connsiteX155" fmla="*/ 8170069 w 8971757"/>
                  <a:gd name="connsiteY155" fmla="*/ 1476374 h 4575969"/>
                  <a:gd name="connsiteX156" fmla="*/ 8117681 w 8971757"/>
                  <a:gd name="connsiteY156" fmla="*/ 1514475 h 4575969"/>
                  <a:gd name="connsiteX157" fmla="*/ 8067675 w 8971757"/>
                  <a:gd name="connsiteY157" fmla="*/ 1593056 h 4575969"/>
                  <a:gd name="connsiteX158" fmla="*/ 8084344 w 8971757"/>
                  <a:gd name="connsiteY158" fmla="*/ 1614487 h 4575969"/>
                  <a:gd name="connsiteX159" fmla="*/ 8039100 w 8971757"/>
                  <a:gd name="connsiteY159" fmla="*/ 1664493 h 4575969"/>
                  <a:gd name="connsiteX160" fmla="*/ 7889081 w 8971757"/>
                  <a:gd name="connsiteY160" fmla="*/ 1588293 h 4575969"/>
                  <a:gd name="connsiteX161" fmla="*/ 7798594 w 8971757"/>
                  <a:gd name="connsiteY161" fmla="*/ 1624012 h 4575969"/>
                  <a:gd name="connsiteX162" fmla="*/ 7724775 w 8971757"/>
                  <a:gd name="connsiteY162" fmla="*/ 1621631 h 4575969"/>
                  <a:gd name="connsiteX163" fmla="*/ 7667625 w 8971757"/>
                  <a:gd name="connsiteY163" fmla="*/ 1716881 h 4575969"/>
                  <a:gd name="connsiteX164" fmla="*/ 7529513 w 8971757"/>
                  <a:gd name="connsiteY16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7227093 w 8971757"/>
                  <a:gd name="connsiteY11" fmla="*/ 747712 h 4575969"/>
                  <a:gd name="connsiteX12" fmla="*/ 8412956 w 8971757"/>
                  <a:gd name="connsiteY12" fmla="*/ 23812 h 4575969"/>
                  <a:gd name="connsiteX13" fmla="*/ 8949531 w 8971757"/>
                  <a:gd name="connsiteY13" fmla="*/ 0 h 4575969"/>
                  <a:gd name="connsiteX14" fmla="*/ 8971757 w 8971757"/>
                  <a:gd name="connsiteY14" fmla="*/ 4575969 h 4575969"/>
                  <a:gd name="connsiteX15" fmla="*/ 2381 w 8971757"/>
                  <a:gd name="connsiteY15" fmla="*/ 4547392 h 4575969"/>
                  <a:gd name="connsiteX16" fmla="*/ 0 w 8971757"/>
                  <a:gd name="connsiteY16" fmla="*/ 845344 h 4575969"/>
                  <a:gd name="connsiteX17" fmla="*/ 76200 w 8971757"/>
                  <a:gd name="connsiteY17" fmla="*/ 828675 h 4575969"/>
                  <a:gd name="connsiteX18" fmla="*/ 119063 w 8971757"/>
                  <a:gd name="connsiteY18" fmla="*/ 857250 h 4575969"/>
                  <a:gd name="connsiteX19" fmla="*/ 215900 w 8971757"/>
                  <a:gd name="connsiteY19" fmla="*/ 848519 h 4575969"/>
                  <a:gd name="connsiteX20" fmla="*/ 261938 w 8971757"/>
                  <a:gd name="connsiteY20" fmla="*/ 876299 h 4575969"/>
                  <a:gd name="connsiteX21" fmla="*/ 228600 w 8971757"/>
                  <a:gd name="connsiteY21" fmla="*/ 904875 h 4575969"/>
                  <a:gd name="connsiteX22" fmla="*/ 233363 w 8971757"/>
                  <a:gd name="connsiteY22" fmla="*/ 947737 h 4575969"/>
                  <a:gd name="connsiteX23" fmla="*/ 200025 w 8971757"/>
                  <a:gd name="connsiteY23" fmla="*/ 952500 h 4575969"/>
                  <a:gd name="connsiteX24" fmla="*/ 204788 w 8971757"/>
                  <a:gd name="connsiteY24" fmla="*/ 976312 h 4575969"/>
                  <a:gd name="connsiteX25" fmla="*/ 261937 w 8971757"/>
                  <a:gd name="connsiteY25" fmla="*/ 1050131 h 4575969"/>
                  <a:gd name="connsiteX26" fmla="*/ 223838 w 8971757"/>
                  <a:gd name="connsiteY26" fmla="*/ 1097756 h 4575969"/>
                  <a:gd name="connsiteX27" fmla="*/ 278606 w 8971757"/>
                  <a:gd name="connsiteY27" fmla="*/ 1133475 h 4575969"/>
                  <a:gd name="connsiteX28" fmla="*/ 369094 w 8971757"/>
                  <a:gd name="connsiteY28" fmla="*/ 1221581 h 4575969"/>
                  <a:gd name="connsiteX29" fmla="*/ 371475 w 8971757"/>
                  <a:gd name="connsiteY29" fmla="*/ 1281112 h 4575969"/>
                  <a:gd name="connsiteX30" fmla="*/ 507206 w 8971757"/>
                  <a:gd name="connsiteY30" fmla="*/ 1414463 h 4575969"/>
                  <a:gd name="connsiteX31" fmla="*/ 561975 w 8971757"/>
                  <a:gd name="connsiteY31" fmla="*/ 1390650 h 4575969"/>
                  <a:gd name="connsiteX32" fmla="*/ 600075 w 8971757"/>
                  <a:gd name="connsiteY32" fmla="*/ 1416843 h 4575969"/>
                  <a:gd name="connsiteX33" fmla="*/ 614363 w 8971757"/>
                  <a:gd name="connsiteY33" fmla="*/ 1466849 h 4575969"/>
                  <a:gd name="connsiteX34" fmla="*/ 657225 w 8971757"/>
                  <a:gd name="connsiteY34" fmla="*/ 1502569 h 4575969"/>
                  <a:gd name="connsiteX35" fmla="*/ 697706 w 8971757"/>
                  <a:gd name="connsiteY35" fmla="*/ 1490662 h 4575969"/>
                  <a:gd name="connsiteX36" fmla="*/ 716756 w 8971757"/>
                  <a:gd name="connsiteY36" fmla="*/ 1547812 h 4575969"/>
                  <a:gd name="connsiteX37" fmla="*/ 764381 w 8971757"/>
                  <a:gd name="connsiteY37" fmla="*/ 1590675 h 4575969"/>
                  <a:gd name="connsiteX38" fmla="*/ 788194 w 8971757"/>
                  <a:gd name="connsiteY38" fmla="*/ 1693069 h 4575969"/>
                  <a:gd name="connsiteX39" fmla="*/ 785813 w 8971757"/>
                  <a:gd name="connsiteY39" fmla="*/ 1740694 h 4575969"/>
                  <a:gd name="connsiteX40" fmla="*/ 821531 w 8971757"/>
                  <a:gd name="connsiteY40" fmla="*/ 1840706 h 4575969"/>
                  <a:gd name="connsiteX41" fmla="*/ 866775 w 8971757"/>
                  <a:gd name="connsiteY41" fmla="*/ 1897856 h 4575969"/>
                  <a:gd name="connsiteX42" fmla="*/ 883443 w 8971757"/>
                  <a:gd name="connsiteY42" fmla="*/ 2055018 h 4575969"/>
                  <a:gd name="connsiteX43" fmla="*/ 850106 w 8971757"/>
                  <a:gd name="connsiteY43" fmla="*/ 2116931 h 4575969"/>
                  <a:gd name="connsiteX44" fmla="*/ 819150 w 8971757"/>
                  <a:gd name="connsiteY44" fmla="*/ 2193131 h 4575969"/>
                  <a:gd name="connsiteX45" fmla="*/ 833438 w 8971757"/>
                  <a:gd name="connsiteY45" fmla="*/ 2250281 h 4575969"/>
                  <a:gd name="connsiteX46" fmla="*/ 735806 w 8971757"/>
                  <a:gd name="connsiteY46" fmla="*/ 2357438 h 4575969"/>
                  <a:gd name="connsiteX47" fmla="*/ 692944 w 8971757"/>
                  <a:gd name="connsiteY47" fmla="*/ 2471737 h 4575969"/>
                  <a:gd name="connsiteX48" fmla="*/ 726281 w 8971757"/>
                  <a:gd name="connsiteY48" fmla="*/ 2512219 h 4575969"/>
                  <a:gd name="connsiteX49" fmla="*/ 709613 w 8971757"/>
                  <a:gd name="connsiteY49" fmla="*/ 2540794 h 4575969"/>
                  <a:gd name="connsiteX50" fmla="*/ 740569 w 8971757"/>
                  <a:gd name="connsiteY50" fmla="*/ 2597944 h 4575969"/>
                  <a:gd name="connsiteX51" fmla="*/ 769144 w 8971757"/>
                  <a:gd name="connsiteY51" fmla="*/ 2597944 h 4575969"/>
                  <a:gd name="connsiteX52" fmla="*/ 931069 w 8971757"/>
                  <a:gd name="connsiteY52" fmla="*/ 2700337 h 4575969"/>
                  <a:gd name="connsiteX53" fmla="*/ 1035844 w 8971757"/>
                  <a:gd name="connsiteY53" fmla="*/ 2697956 h 4575969"/>
                  <a:gd name="connsiteX54" fmla="*/ 1114425 w 8971757"/>
                  <a:gd name="connsiteY54" fmla="*/ 2752725 h 4575969"/>
                  <a:gd name="connsiteX55" fmla="*/ 1245393 w 8971757"/>
                  <a:gd name="connsiteY55" fmla="*/ 2755106 h 4575969"/>
                  <a:gd name="connsiteX56" fmla="*/ 1435893 w 8971757"/>
                  <a:gd name="connsiteY56" fmla="*/ 2824162 h 4575969"/>
                  <a:gd name="connsiteX57" fmla="*/ 1638300 w 8971757"/>
                  <a:gd name="connsiteY57" fmla="*/ 2974181 h 4575969"/>
                  <a:gd name="connsiteX58" fmla="*/ 1671637 w 8971757"/>
                  <a:gd name="connsiteY58" fmla="*/ 3040856 h 4575969"/>
                  <a:gd name="connsiteX59" fmla="*/ 1838325 w 8971757"/>
                  <a:gd name="connsiteY59" fmla="*/ 3167062 h 4575969"/>
                  <a:gd name="connsiteX60" fmla="*/ 1909763 w 8971757"/>
                  <a:gd name="connsiteY60" fmla="*/ 3162300 h 4575969"/>
                  <a:gd name="connsiteX61" fmla="*/ 1945482 w 8971757"/>
                  <a:gd name="connsiteY61" fmla="*/ 3186112 h 4575969"/>
                  <a:gd name="connsiteX62" fmla="*/ 1916906 w 8971757"/>
                  <a:gd name="connsiteY62" fmla="*/ 3226594 h 4575969"/>
                  <a:gd name="connsiteX63" fmla="*/ 1924050 w 8971757"/>
                  <a:gd name="connsiteY63" fmla="*/ 3278981 h 4575969"/>
                  <a:gd name="connsiteX64" fmla="*/ 1976438 w 8971757"/>
                  <a:gd name="connsiteY64" fmla="*/ 3305175 h 4575969"/>
                  <a:gd name="connsiteX65" fmla="*/ 2038350 w 8971757"/>
                  <a:gd name="connsiteY65" fmla="*/ 3529013 h 4575969"/>
                  <a:gd name="connsiteX66" fmla="*/ 2028825 w 8971757"/>
                  <a:gd name="connsiteY66" fmla="*/ 3593306 h 4575969"/>
                  <a:gd name="connsiteX67" fmla="*/ 2164556 w 8971757"/>
                  <a:gd name="connsiteY67" fmla="*/ 3759994 h 4575969"/>
                  <a:gd name="connsiteX68" fmla="*/ 2183606 w 8971757"/>
                  <a:gd name="connsiteY68" fmla="*/ 3810000 h 4575969"/>
                  <a:gd name="connsiteX69" fmla="*/ 2157413 w 8971757"/>
                  <a:gd name="connsiteY69" fmla="*/ 3829050 h 4575969"/>
                  <a:gd name="connsiteX70" fmla="*/ 2259806 w 8971757"/>
                  <a:gd name="connsiteY70" fmla="*/ 3838575 h 4575969"/>
                  <a:gd name="connsiteX71" fmla="*/ 2371725 w 8971757"/>
                  <a:gd name="connsiteY71" fmla="*/ 3826669 h 4575969"/>
                  <a:gd name="connsiteX72" fmla="*/ 2650331 w 8971757"/>
                  <a:gd name="connsiteY72" fmla="*/ 3910012 h 4575969"/>
                  <a:gd name="connsiteX73" fmla="*/ 3057525 w 8971757"/>
                  <a:gd name="connsiteY73" fmla="*/ 3990975 h 4575969"/>
                  <a:gd name="connsiteX74" fmla="*/ 3255169 w 8971757"/>
                  <a:gd name="connsiteY74" fmla="*/ 3960018 h 4575969"/>
                  <a:gd name="connsiteX75" fmla="*/ 3300413 w 8971757"/>
                  <a:gd name="connsiteY75" fmla="*/ 3971924 h 4575969"/>
                  <a:gd name="connsiteX76" fmla="*/ 3355181 w 8971757"/>
                  <a:gd name="connsiteY76" fmla="*/ 3948113 h 4575969"/>
                  <a:gd name="connsiteX77" fmla="*/ 3748087 w 8971757"/>
                  <a:gd name="connsiteY77" fmla="*/ 4038600 h 4575969"/>
                  <a:gd name="connsiteX78" fmla="*/ 3831432 w 8971757"/>
                  <a:gd name="connsiteY78" fmla="*/ 4136231 h 4575969"/>
                  <a:gd name="connsiteX79" fmla="*/ 3950494 w 8971757"/>
                  <a:gd name="connsiteY79" fmla="*/ 4207669 h 4575969"/>
                  <a:gd name="connsiteX80" fmla="*/ 4010025 w 8971757"/>
                  <a:gd name="connsiteY80" fmla="*/ 4191000 h 4575969"/>
                  <a:gd name="connsiteX81" fmla="*/ 4360068 w 8971757"/>
                  <a:gd name="connsiteY81" fmla="*/ 4364831 h 4575969"/>
                  <a:gd name="connsiteX82" fmla="*/ 4586288 w 8971757"/>
                  <a:gd name="connsiteY82" fmla="*/ 4336256 h 4575969"/>
                  <a:gd name="connsiteX83" fmla="*/ 4595813 w 8971757"/>
                  <a:gd name="connsiteY83" fmla="*/ 4414837 h 4575969"/>
                  <a:gd name="connsiteX84" fmla="*/ 4681538 w 8971757"/>
                  <a:gd name="connsiteY84" fmla="*/ 4410074 h 4575969"/>
                  <a:gd name="connsiteX85" fmla="*/ 4760119 w 8971757"/>
                  <a:gd name="connsiteY85" fmla="*/ 4441031 h 4575969"/>
                  <a:gd name="connsiteX86" fmla="*/ 4802981 w 8971757"/>
                  <a:gd name="connsiteY86" fmla="*/ 4381500 h 4575969"/>
                  <a:gd name="connsiteX87" fmla="*/ 5474494 w 8971757"/>
                  <a:gd name="connsiteY87" fmla="*/ 4062412 h 4575969"/>
                  <a:gd name="connsiteX88" fmla="*/ 5562600 w 8971757"/>
                  <a:gd name="connsiteY88" fmla="*/ 4090988 h 4575969"/>
                  <a:gd name="connsiteX89" fmla="*/ 5693569 w 8971757"/>
                  <a:gd name="connsiteY89" fmla="*/ 4062412 h 4575969"/>
                  <a:gd name="connsiteX90" fmla="*/ 5872162 w 8971757"/>
                  <a:gd name="connsiteY90" fmla="*/ 4079081 h 4575969"/>
                  <a:gd name="connsiteX91" fmla="*/ 5929313 w 8971757"/>
                  <a:gd name="connsiteY91" fmla="*/ 4052888 h 4575969"/>
                  <a:gd name="connsiteX92" fmla="*/ 6062662 w 8971757"/>
                  <a:gd name="connsiteY92" fmla="*/ 4050506 h 4575969"/>
                  <a:gd name="connsiteX93" fmla="*/ 6196012 w 8971757"/>
                  <a:gd name="connsiteY93" fmla="*/ 3952875 h 4575969"/>
                  <a:gd name="connsiteX94" fmla="*/ 6262687 w 8971757"/>
                  <a:gd name="connsiteY94" fmla="*/ 3945731 h 4575969"/>
                  <a:gd name="connsiteX95" fmla="*/ 6360319 w 8971757"/>
                  <a:gd name="connsiteY95" fmla="*/ 3871912 h 4575969"/>
                  <a:gd name="connsiteX96" fmla="*/ 6434138 w 8971757"/>
                  <a:gd name="connsiteY96" fmla="*/ 3802856 h 4575969"/>
                  <a:gd name="connsiteX97" fmla="*/ 6443663 w 8971757"/>
                  <a:gd name="connsiteY97" fmla="*/ 3740944 h 4575969"/>
                  <a:gd name="connsiteX98" fmla="*/ 6477000 w 8971757"/>
                  <a:gd name="connsiteY98" fmla="*/ 3671887 h 4575969"/>
                  <a:gd name="connsiteX99" fmla="*/ 6629400 w 8971757"/>
                  <a:gd name="connsiteY99" fmla="*/ 3564731 h 4575969"/>
                  <a:gd name="connsiteX100" fmla="*/ 6662738 w 8971757"/>
                  <a:gd name="connsiteY100" fmla="*/ 3569494 h 4575969"/>
                  <a:gd name="connsiteX101" fmla="*/ 6715125 w 8971757"/>
                  <a:gd name="connsiteY101" fmla="*/ 3490912 h 4575969"/>
                  <a:gd name="connsiteX102" fmla="*/ 6762750 w 8971757"/>
                  <a:gd name="connsiteY102" fmla="*/ 3452812 h 4575969"/>
                  <a:gd name="connsiteX103" fmla="*/ 6748463 w 8971757"/>
                  <a:gd name="connsiteY103" fmla="*/ 3383756 h 4575969"/>
                  <a:gd name="connsiteX104" fmla="*/ 6698456 w 8971757"/>
                  <a:gd name="connsiteY104" fmla="*/ 3352799 h 4575969"/>
                  <a:gd name="connsiteX105" fmla="*/ 6638925 w 8971757"/>
                  <a:gd name="connsiteY105" fmla="*/ 3298031 h 4575969"/>
                  <a:gd name="connsiteX106" fmla="*/ 6619875 w 8971757"/>
                  <a:gd name="connsiteY106" fmla="*/ 3240881 h 4575969"/>
                  <a:gd name="connsiteX107" fmla="*/ 6584156 w 8971757"/>
                  <a:gd name="connsiteY107" fmla="*/ 3207544 h 4575969"/>
                  <a:gd name="connsiteX108" fmla="*/ 6610350 w 8971757"/>
                  <a:gd name="connsiteY108" fmla="*/ 3155156 h 4575969"/>
                  <a:gd name="connsiteX109" fmla="*/ 6650831 w 8971757"/>
                  <a:gd name="connsiteY109" fmla="*/ 2976562 h 4575969"/>
                  <a:gd name="connsiteX110" fmla="*/ 6691313 w 8971757"/>
                  <a:gd name="connsiteY110" fmla="*/ 2909887 h 4575969"/>
                  <a:gd name="connsiteX111" fmla="*/ 6836569 w 8971757"/>
                  <a:gd name="connsiteY111" fmla="*/ 2893218 h 4575969"/>
                  <a:gd name="connsiteX112" fmla="*/ 6905625 w 8971757"/>
                  <a:gd name="connsiteY112" fmla="*/ 2950369 h 4575969"/>
                  <a:gd name="connsiteX113" fmla="*/ 6981825 w 8971757"/>
                  <a:gd name="connsiteY113" fmla="*/ 2974181 h 4575969"/>
                  <a:gd name="connsiteX114" fmla="*/ 7186612 w 8971757"/>
                  <a:gd name="connsiteY114" fmla="*/ 2978944 h 4575969"/>
                  <a:gd name="connsiteX115" fmla="*/ 7362825 w 8971757"/>
                  <a:gd name="connsiteY115" fmla="*/ 2840831 h 4575969"/>
                  <a:gd name="connsiteX116" fmla="*/ 7419975 w 8971757"/>
                  <a:gd name="connsiteY116" fmla="*/ 2750343 h 4575969"/>
                  <a:gd name="connsiteX117" fmla="*/ 7446169 w 8971757"/>
                  <a:gd name="connsiteY117" fmla="*/ 2667000 h 4575969"/>
                  <a:gd name="connsiteX118" fmla="*/ 7577137 w 8971757"/>
                  <a:gd name="connsiteY118" fmla="*/ 2667000 h 4575969"/>
                  <a:gd name="connsiteX119" fmla="*/ 7750969 w 8971757"/>
                  <a:gd name="connsiteY119" fmla="*/ 2609849 h 4575969"/>
                  <a:gd name="connsiteX120" fmla="*/ 7810500 w 8971757"/>
                  <a:gd name="connsiteY120" fmla="*/ 2497931 h 4575969"/>
                  <a:gd name="connsiteX121" fmla="*/ 7874794 w 8971757"/>
                  <a:gd name="connsiteY121" fmla="*/ 2462212 h 4575969"/>
                  <a:gd name="connsiteX122" fmla="*/ 7853363 w 8971757"/>
                  <a:gd name="connsiteY122" fmla="*/ 2416969 h 4575969"/>
                  <a:gd name="connsiteX123" fmla="*/ 7931944 w 8971757"/>
                  <a:gd name="connsiteY123" fmla="*/ 2247899 h 4575969"/>
                  <a:gd name="connsiteX124" fmla="*/ 7986713 w 8971757"/>
                  <a:gd name="connsiteY124" fmla="*/ 2188369 h 4575969"/>
                  <a:gd name="connsiteX125" fmla="*/ 8024813 w 8971757"/>
                  <a:gd name="connsiteY125" fmla="*/ 2183606 h 4575969"/>
                  <a:gd name="connsiteX126" fmla="*/ 8070056 w 8971757"/>
                  <a:gd name="connsiteY126" fmla="*/ 2188369 h 4575969"/>
                  <a:gd name="connsiteX127" fmla="*/ 8134350 w 8971757"/>
                  <a:gd name="connsiteY127" fmla="*/ 2155031 h 4575969"/>
                  <a:gd name="connsiteX128" fmla="*/ 8143875 w 8971757"/>
                  <a:gd name="connsiteY128" fmla="*/ 2090737 h 4575969"/>
                  <a:gd name="connsiteX129" fmla="*/ 8184355 w 8971757"/>
                  <a:gd name="connsiteY129" fmla="*/ 2055019 h 4575969"/>
                  <a:gd name="connsiteX130" fmla="*/ 8243888 w 8971757"/>
                  <a:gd name="connsiteY130" fmla="*/ 2095499 h 4575969"/>
                  <a:gd name="connsiteX131" fmla="*/ 8270082 w 8971757"/>
                  <a:gd name="connsiteY131" fmla="*/ 2045493 h 4575969"/>
                  <a:gd name="connsiteX132" fmla="*/ 8365331 w 8971757"/>
                  <a:gd name="connsiteY132" fmla="*/ 1976437 h 4575969"/>
                  <a:gd name="connsiteX133" fmla="*/ 8427244 w 8971757"/>
                  <a:gd name="connsiteY133" fmla="*/ 1983581 h 4575969"/>
                  <a:gd name="connsiteX134" fmla="*/ 8477250 w 8971757"/>
                  <a:gd name="connsiteY134" fmla="*/ 1964531 h 4575969"/>
                  <a:gd name="connsiteX135" fmla="*/ 8515350 w 8971757"/>
                  <a:gd name="connsiteY135" fmla="*/ 1935956 h 4575969"/>
                  <a:gd name="connsiteX136" fmla="*/ 8548688 w 8971757"/>
                  <a:gd name="connsiteY136" fmla="*/ 1933575 h 4575969"/>
                  <a:gd name="connsiteX137" fmla="*/ 8584406 w 8971757"/>
                  <a:gd name="connsiteY137" fmla="*/ 1964531 h 4575969"/>
                  <a:gd name="connsiteX138" fmla="*/ 8643938 w 8971757"/>
                  <a:gd name="connsiteY138" fmla="*/ 1964531 h 4575969"/>
                  <a:gd name="connsiteX139" fmla="*/ 8682037 w 8971757"/>
                  <a:gd name="connsiteY139" fmla="*/ 1945481 h 4575969"/>
                  <a:gd name="connsiteX140" fmla="*/ 8765381 w 8971757"/>
                  <a:gd name="connsiteY140" fmla="*/ 1947863 h 4575969"/>
                  <a:gd name="connsiteX141" fmla="*/ 8796338 w 8971757"/>
                  <a:gd name="connsiteY141" fmla="*/ 1902619 h 4575969"/>
                  <a:gd name="connsiteX142" fmla="*/ 8801100 w 8971757"/>
                  <a:gd name="connsiteY142" fmla="*/ 1840706 h 4575969"/>
                  <a:gd name="connsiteX143" fmla="*/ 8751093 w 8971757"/>
                  <a:gd name="connsiteY143" fmla="*/ 1800225 h 4575969"/>
                  <a:gd name="connsiteX144" fmla="*/ 8734425 w 8971757"/>
                  <a:gd name="connsiteY144" fmla="*/ 1745456 h 4575969"/>
                  <a:gd name="connsiteX145" fmla="*/ 8643938 w 8971757"/>
                  <a:gd name="connsiteY145" fmla="*/ 1683544 h 4575969"/>
                  <a:gd name="connsiteX146" fmla="*/ 8603456 w 8971757"/>
                  <a:gd name="connsiteY146" fmla="*/ 1662112 h 4575969"/>
                  <a:gd name="connsiteX147" fmla="*/ 8565356 w 8971757"/>
                  <a:gd name="connsiteY147" fmla="*/ 1616869 h 4575969"/>
                  <a:gd name="connsiteX148" fmla="*/ 8534400 w 8971757"/>
                  <a:gd name="connsiteY148" fmla="*/ 1614487 h 4575969"/>
                  <a:gd name="connsiteX149" fmla="*/ 8517731 w 8971757"/>
                  <a:gd name="connsiteY149" fmla="*/ 1562100 h 4575969"/>
                  <a:gd name="connsiteX150" fmla="*/ 8477250 w 8971757"/>
                  <a:gd name="connsiteY150" fmla="*/ 1545431 h 4575969"/>
                  <a:gd name="connsiteX151" fmla="*/ 8477250 w 8971757"/>
                  <a:gd name="connsiteY151" fmla="*/ 1545431 h 4575969"/>
                  <a:gd name="connsiteX152" fmla="*/ 8436769 w 8971757"/>
                  <a:gd name="connsiteY152" fmla="*/ 1550194 h 4575969"/>
                  <a:gd name="connsiteX153" fmla="*/ 8351043 w 8971757"/>
                  <a:gd name="connsiteY153" fmla="*/ 1476375 h 4575969"/>
                  <a:gd name="connsiteX154" fmla="*/ 8170069 w 8971757"/>
                  <a:gd name="connsiteY154" fmla="*/ 1476374 h 4575969"/>
                  <a:gd name="connsiteX155" fmla="*/ 8117681 w 8971757"/>
                  <a:gd name="connsiteY155" fmla="*/ 1514475 h 4575969"/>
                  <a:gd name="connsiteX156" fmla="*/ 8067675 w 8971757"/>
                  <a:gd name="connsiteY156" fmla="*/ 1593056 h 4575969"/>
                  <a:gd name="connsiteX157" fmla="*/ 8084344 w 8971757"/>
                  <a:gd name="connsiteY157" fmla="*/ 1614487 h 4575969"/>
                  <a:gd name="connsiteX158" fmla="*/ 8039100 w 8971757"/>
                  <a:gd name="connsiteY158" fmla="*/ 1664493 h 4575969"/>
                  <a:gd name="connsiteX159" fmla="*/ 7889081 w 8971757"/>
                  <a:gd name="connsiteY159" fmla="*/ 1588293 h 4575969"/>
                  <a:gd name="connsiteX160" fmla="*/ 7798594 w 8971757"/>
                  <a:gd name="connsiteY160" fmla="*/ 1624012 h 4575969"/>
                  <a:gd name="connsiteX161" fmla="*/ 7724775 w 8971757"/>
                  <a:gd name="connsiteY161" fmla="*/ 1621631 h 4575969"/>
                  <a:gd name="connsiteX162" fmla="*/ 7667625 w 8971757"/>
                  <a:gd name="connsiteY162" fmla="*/ 1716881 h 4575969"/>
                  <a:gd name="connsiteX163" fmla="*/ 7529513 w 8971757"/>
                  <a:gd name="connsiteY16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7384257 w 8971757"/>
                  <a:gd name="connsiteY10" fmla="*/ 862012 h 4575969"/>
                  <a:gd name="connsiteX11" fmla="*/ 8412956 w 8971757"/>
                  <a:gd name="connsiteY11" fmla="*/ 23812 h 4575969"/>
                  <a:gd name="connsiteX12" fmla="*/ 8949531 w 8971757"/>
                  <a:gd name="connsiteY12" fmla="*/ 0 h 4575969"/>
                  <a:gd name="connsiteX13" fmla="*/ 8971757 w 8971757"/>
                  <a:gd name="connsiteY13" fmla="*/ 4575969 h 4575969"/>
                  <a:gd name="connsiteX14" fmla="*/ 2381 w 8971757"/>
                  <a:gd name="connsiteY14" fmla="*/ 4547392 h 4575969"/>
                  <a:gd name="connsiteX15" fmla="*/ 0 w 8971757"/>
                  <a:gd name="connsiteY15" fmla="*/ 845344 h 4575969"/>
                  <a:gd name="connsiteX16" fmla="*/ 76200 w 8971757"/>
                  <a:gd name="connsiteY16" fmla="*/ 828675 h 4575969"/>
                  <a:gd name="connsiteX17" fmla="*/ 119063 w 8971757"/>
                  <a:gd name="connsiteY17" fmla="*/ 857250 h 4575969"/>
                  <a:gd name="connsiteX18" fmla="*/ 215900 w 8971757"/>
                  <a:gd name="connsiteY18" fmla="*/ 848519 h 4575969"/>
                  <a:gd name="connsiteX19" fmla="*/ 261938 w 8971757"/>
                  <a:gd name="connsiteY19" fmla="*/ 876299 h 4575969"/>
                  <a:gd name="connsiteX20" fmla="*/ 228600 w 8971757"/>
                  <a:gd name="connsiteY20" fmla="*/ 904875 h 4575969"/>
                  <a:gd name="connsiteX21" fmla="*/ 233363 w 8971757"/>
                  <a:gd name="connsiteY21" fmla="*/ 947737 h 4575969"/>
                  <a:gd name="connsiteX22" fmla="*/ 200025 w 8971757"/>
                  <a:gd name="connsiteY22" fmla="*/ 952500 h 4575969"/>
                  <a:gd name="connsiteX23" fmla="*/ 204788 w 8971757"/>
                  <a:gd name="connsiteY23" fmla="*/ 976312 h 4575969"/>
                  <a:gd name="connsiteX24" fmla="*/ 261937 w 8971757"/>
                  <a:gd name="connsiteY24" fmla="*/ 1050131 h 4575969"/>
                  <a:gd name="connsiteX25" fmla="*/ 223838 w 8971757"/>
                  <a:gd name="connsiteY25" fmla="*/ 1097756 h 4575969"/>
                  <a:gd name="connsiteX26" fmla="*/ 278606 w 8971757"/>
                  <a:gd name="connsiteY26" fmla="*/ 1133475 h 4575969"/>
                  <a:gd name="connsiteX27" fmla="*/ 369094 w 8971757"/>
                  <a:gd name="connsiteY27" fmla="*/ 1221581 h 4575969"/>
                  <a:gd name="connsiteX28" fmla="*/ 371475 w 8971757"/>
                  <a:gd name="connsiteY28" fmla="*/ 1281112 h 4575969"/>
                  <a:gd name="connsiteX29" fmla="*/ 507206 w 8971757"/>
                  <a:gd name="connsiteY29" fmla="*/ 1414463 h 4575969"/>
                  <a:gd name="connsiteX30" fmla="*/ 561975 w 8971757"/>
                  <a:gd name="connsiteY30" fmla="*/ 1390650 h 4575969"/>
                  <a:gd name="connsiteX31" fmla="*/ 600075 w 8971757"/>
                  <a:gd name="connsiteY31" fmla="*/ 1416843 h 4575969"/>
                  <a:gd name="connsiteX32" fmla="*/ 614363 w 8971757"/>
                  <a:gd name="connsiteY32" fmla="*/ 1466849 h 4575969"/>
                  <a:gd name="connsiteX33" fmla="*/ 657225 w 8971757"/>
                  <a:gd name="connsiteY33" fmla="*/ 1502569 h 4575969"/>
                  <a:gd name="connsiteX34" fmla="*/ 697706 w 8971757"/>
                  <a:gd name="connsiteY34" fmla="*/ 1490662 h 4575969"/>
                  <a:gd name="connsiteX35" fmla="*/ 716756 w 8971757"/>
                  <a:gd name="connsiteY35" fmla="*/ 1547812 h 4575969"/>
                  <a:gd name="connsiteX36" fmla="*/ 764381 w 8971757"/>
                  <a:gd name="connsiteY36" fmla="*/ 1590675 h 4575969"/>
                  <a:gd name="connsiteX37" fmla="*/ 788194 w 8971757"/>
                  <a:gd name="connsiteY37" fmla="*/ 1693069 h 4575969"/>
                  <a:gd name="connsiteX38" fmla="*/ 785813 w 8971757"/>
                  <a:gd name="connsiteY38" fmla="*/ 1740694 h 4575969"/>
                  <a:gd name="connsiteX39" fmla="*/ 821531 w 8971757"/>
                  <a:gd name="connsiteY39" fmla="*/ 1840706 h 4575969"/>
                  <a:gd name="connsiteX40" fmla="*/ 866775 w 8971757"/>
                  <a:gd name="connsiteY40" fmla="*/ 1897856 h 4575969"/>
                  <a:gd name="connsiteX41" fmla="*/ 883443 w 8971757"/>
                  <a:gd name="connsiteY41" fmla="*/ 2055018 h 4575969"/>
                  <a:gd name="connsiteX42" fmla="*/ 850106 w 8971757"/>
                  <a:gd name="connsiteY42" fmla="*/ 2116931 h 4575969"/>
                  <a:gd name="connsiteX43" fmla="*/ 819150 w 8971757"/>
                  <a:gd name="connsiteY43" fmla="*/ 2193131 h 4575969"/>
                  <a:gd name="connsiteX44" fmla="*/ 833438 w 8971757"/>
                  <a:gd name="connsiteY44" fmla="*/ 2250281 h 4575969"/>
                  <a:gd name="connsiteX45" fmla="*/ 735806 w 8971757"/>
                  <a:gd name="connsiteY45" fmla="*/ 2357438 h 4575969"/>
                  <a:gd name="connsiteX46" fmla="*/ 692944 w 8971757"/>
                  <a:gd name="connsiteY46" fmla="*/ 2471737 h 4575969"/>
                  <a:gd name="connsiteX47" fmla="*/ 726281 w 8971757"/>
                  <a:gd name="connsiteY47" fmla="*/ 2512219 h 4575969"/>
                  <a:gd name="connsiteX48" fmla="*/ 709613 w 8971757"/>
                  <a:gd name="connsiteY48" fmla="*/ 2540794 h 4575969"/>
                  <a:gd name="connsiteX49" fmla="*/ 740569 w 8971757"/>
                  <a:gd name="connsiteY49" fmla="*/ 2597944 h 4575969"/>
                  <a:gd name="connsiteX50" fmla="*/ 769144 w 8971757"/>
                  <a:gd name="connsiteY50" fmla="*/ 2597944 h 4575969"/>
                  <a:gd name="connsiteX51" fmla="*/ 931069 w 8971757"/>
                  <a:gd name="connsiteY51" fmla="*/ 2700337 h 4575969"/>
                  <a:gd name="connsiteX52" fmla="*/ 1035844 w 8971757"/>
                  <a:gd name="connsiteY52" fmla="*/ 2697956 h 4575969"/>
                  <a:gd name="connsiteX53" fmla="*/ 1114425 w 8971757"/>
                  <a:gd name="connsiteY53" fmla="*/ 2752725 h 4575969"/>
                  <a:gd name="connsiteX54" fmla="*/ 1245393 w 8971757"/>
                  <a:gd name="connsiteY54" fmla="*/ 2755106 h 4575969"/>
                  <a:gd name="connsiteX55" fmla="*/ 1435893 w 8971757"/>
                  <a:gd name="connsiteY55" fmla="*/ 2824162 h 4575969"/>
                  <a:gd name="connsiteX56" fmla="*/ 1638300 w 8971757"/>
                  <a:gd name="connsiteY56" fmla="*/ 2974181 h 4575969"/>
                  <a:gd name="connsiteX57" fmla="*/ 1671637 w 8971757"/>
                  <a:gd name="connsiteY57" fmla="*/ 3040856 h 4575969"/>
                  <a:gd name="connsiteX58" fmla="*/ 1838325 w 8971757"/>
                  <a:gd name="connsiteY58" fmla="*/ 3167062 h 4575969"/>
                  <a:gd name="connsiteX59" fmla="*/ 1909763 w 8971757"/>
                  <a:gd name="connsiteY59" fmla="*/ 3162300 h 4575969"/>
                  <a:gd name="connsiteX60" fmla="*/ 1945482 w 8971757"/>
                  <a:gd name="connsiteY60" fmla="*/ 3186112 h 4575969"/>
                  <a:gd name="connsiteX61" fmla="*/ 1916906 w 8971757"/>
                  <a:gd name="connsiteY61" fmla="*/ 3226594 h 4575969"/>
                  <a:gd name="connsiteX62" fmla="*/ 1924050 w 8971757"/>
                  <a:gd name="connsiteY62" fmla="*/ 3278981 h 4575969"/>
                  <a:gd name="connsiteX63" fmla="*/ 1976438 w 8971757"/>
                  <a:gd name="connsiteY63" fmla="*/ 3305175 h 4575969"/>
                  <a:gd name="connsiteX64" fmla="*/ 2038350 w 8971757"/>
                  <a:gd name="connsiteY64" fmla="*/ 3529013 h 4575969"/>
                  <a:gd name="connsiteX65" fmla="*/ 2028825 w 8971757"/>
                  <a:gd name="connsiteY65" fmla="*/ 3593306 h 4575969"/>
                  <a:gd name="connsiteX66" fmla="*/ 2164556 w 8971757"/>
                  <a:gd name="connsiteY66" fmla="*/ 3759994 h 4575969"/>
                  <a:gd name="connsiteX67" fmla="*/ 2183606 w 8971757"/>
                  <a:gd name="connsiteY67" fmla="*/ 3810000 h 4575969"/>
                  <a:gd name="connsiteX68" fmla="*/ 2157413 w 8971757"/>
                  <a:gd name="connsiteY68" fmla="*/ 3829050 h 4575969"/>
                  <a:gd name="connsiteX69" fmla="*/ 2259806 w 8971757"/>
                  <a:gd name="connsiteY69" fmla="*/ 3838575 h 4575969"/>
                  <a:gd name="connsiteX70" fmla="*/ 2371725 w 8971757"/>
                  <a:gd name="connsiteY70" fmla="*/ 3826669 h 4575969"/>
                  <a:gd name="connsiteX71" fmla="*/ 2650331 w 8971757"/>
                  <a:gd name="connsiteY71" fmla="*/ 3910012 h 4575969"/>
                  <a:gd name="connsiteX72" fmla="*/ 3057525 w 8971757"/>
                  <a:gd name="connsiteY72" fmla="*/ 3990975 h 4575969"/>
                  <a:gd name="connsiteX73" fmla="*/ 3255169 w 8971757"/>
                  <a:gd name="connsiteY73" fmla="*/ 3960018 h 4575969"/>
                  <a:gd name="connsiteX74" fmla="*/ 3300413 w 8971757"/>
                  <a:gd name="connsiteY74" fmla="*/ 3971924 h 4575969"/>
                  <a:gd name="connsiteX75" fmla="*/ 3355181 w 8971757"/>
                  <a:gd name="connsiteY75" fmla="*/ 3948113 h 4575969"/>
                  <a:gd name="connsiteX76" fmla="*/ 3748087 w 8971757"/>
                  <a:gd name="connsiteY76" fmla="*/ 4038600 h 4575969"/>
                  <a:gd name="connsiteX77" fmla="*/ 3831432 w 8971757"/>
                  <a:gd name="connsiteY77" fmla="*/ 4136231 h 4575969"/>
                  <a:gd name="connsiteX78" fmla="*/ 3950494 w 8971757"/>
                  <a:gd name="connsiteY78" fmla="*/ 4207669 h 4575969"/>
                  <a:gd name="connsiteX79" fmla="*/ 4010025 w 8971757"/>
                  <a:gd name="connsiteY79" fmla="*/ 4191000 h 4575969"/>
                  <a:gd name="connsiteX80" fmla="*/ 4360068 w 8971757"/>
                  <a:gd name="connsiteY80" fmla="*/ 4364831 h 4575969"/>
                  <a:gd name="connsiteX81" fmla="*/ 4586288 w 8971757"/>
                  <a:gd name="connsiteY81" fmla="*/ 4336256 h 4575969"/>
                  <a:gd name="connsiteX82" fmla="*/ 4595813 w 8971757"/>
                  <a:gd name="connsiteY82" fmla="*/ 4414837 h 4575969"/>
                  <a:gd name="connsiteX83" fmla="*/ 4681538 w 8971757"/>
                  <a:gd name="connsiteY83" fmla="*/ 4410074 h 4575969"/>
                  <a:gd name="connsiteX84" fmla="*/ 4760119 w 8971757"/>
                  <a:gd name="connsiteY84" fmla="*/ 4441031 h 4575969"/>
                  <a:gd name="connsiteX85" fmla="*/ 4802981 w 8971757"/>
                  <a:gd name="connsiteY85" fmla="*/ 4381500 h 4575969"/>
                  <a:gd name="connsiteX86" fmla="*/ 5474494 w 8971757"/>
                  <a:gd name="connsiteY86" fmla="*/ 4062412 h 4575969"/>
                  <a:gd name="connsiteX87" fmla="*/ 5562600 w 8971757"/>
                  <a:gd name="connsiteY87" fmla="*/ 4090988 h 4575969"/>
                  <a:gd name="connsiteX88" fmla="*/ 5693569 w 8971757"/>
                  <a:gd name="connsiteY88" fmla="*/ 4062412 h 4575969"/>
                  <a:gd name="connsiteX89" fmla="*/ 5872162 w 8971757"/>
                  <a:gd name="connsiteY89" fmla="*/ 4079081 h 4575969"/>
                  <a:gd name="connsiteX90" fmla="*/ 5929313 w 8971757"/>
                  <a:gd name="connsiteY90" fmla="*/ 4052888 h 4575969"/>
                  <a:gd name="connsiteX91" fmla="*/ 6062662 w 8971757"/>
                  <a:gd name="connsiteY91" fmla="*/ 4050506 h 4575969"/>
                  <a:gd name="connsiteX92" fmla="*/ 6196012 w 8971757"/>
                  <a:gd name="connsiteY92" fmla="*/ 3952875 h 4575969"/>
                  <a:gd name="connsiteX93" fmla="*/ 6262687 w 8971757"/>
                  <a:gd name="connsiteY93" fmla="*/ 3945731 h 4575969"/>
                  <a:gd name="connsiteX94" fmla="*/ 6360319 w 8971757"/>
                  <a:gd name="connsiteY94" fmla="*/ 3871912 h 4575969"/>
                  <a:gd name="connsiteX95" fmla="*/ 6434138 w 8971757"/>
                  <a:gd name="connsiteY95" fmla="*/ 3802856 h 4575969"/>
                  <a:gd name="connsiteX96" fmla="*/ 6443663 w 8971757"/>
                  <a:gd name="connsiteY96" fmla="*/ 3740944 h 4575969"/>
                  <a:gd name="connsiteX97" fmla="*/ 6477000 w 8971757"/>
                  <a:gd name="connsiteY97" fmla="*/ 3671887 h 4575969"/>
                  <a:gd name="connsiteX98" fmla="*/ 6629400 w 8971757"/>
                  <a:gd name="connsiteY98" fmla="*/ 3564731 h 4575969"/>
                  <a:gd name="connsiteX99" fmla="*/ 6662738 w 8971757"/>
                  <a:gd name="connsiteY99" fmla="*/ 3569494 h 4575969"/>
                  <a:gd name="connsiteX100" fmla="*/ 6715125 w 8971757"/>
                  <a:gd name="connsiteY100" fmla="*/ 3490912 h 4575969"/>
                  <a:gd name="connsiteX101" fmla="*/ 6762750 w 8971757"/>
                  <a:gd name="connsiteY101" fmla="*/ 3452812 h 4575969"/>
                  <a:gd name="connsiteX102" fmla="*/ 6748463 w 8971757"/>
                  <a:gd name="connsiteY102" fmla="*/ 3383756 h 4575969"/>
                  <a:gd name="connsiteX103" fmla="*/ 6698456 w 8971757"/>
                  <a:gd name="connsiteY103" fmla="*/ 3352799 h 4575969"/>
                  <a:gd name="connsiteX104" fmla="*/ 6638925 w 8971757"/>
                  <a:gd name="connsiteY104" fmla="*/ 3298031 h 4575969"/>
                  <a:gd name="connsiteX105" fmla="*/ 6619875 w 8971757"/>
                  <a:gd name="connsiteY105" fmla="*/ 3240881 h 4575969"/>
                  <a:gd name="connsiteX106" fmla="*/ 6584156 w 8971757"/>
                  <a:gd name="connsiteY106" fmla="*/ 3207544 h 4575969"/>
                  <a:gd name="connsiteX107" fmla="*/ 6610350 w 8971757"/>
                  <a:gd name="connsiteY107" fmla="*/ 3155156 h 4575969"/>
                  <a:gd name="connsiteX108" fmla="*/ 6650831 w 8971757"/>
                  <a:gd name="connsiteY108" fmla="*/ 2976562 h 4575969"/>
                  <a:gd name="connsiteX109" fmla="*/ 6691313 w 8971757"/>
                  <a:gd name="connsiteY109" fmla="*/ 2909887 h 4575969"/>
                  <a:gd name="connsiteX110" fmla="*/ 6836569 w 8971757"/>
                  <a:gd name="connsiteY110" fmla="*/ 2893218 h 4575969"/>
                  <a:gd name="connsiteX111" fmla="*/ 6905625 w 8971757"/>
                  <a:gd name="connsiteY111" fmla="*/ 2950369 h 4575969"/>
                  <a:gd name="connsiteX112" fmla="*/ 6981825 w 8971757"/>
                  <a:gd name="connsiteY112" fmla="*/ 2974181 h 4575969"/>
                  <a:gd name="connsiteX113" fmla="*/ 7186612 w 8971757"/>
                  <a:gd name="connsiteY113" fmla="*/ 2978944 h 4575969"/>
                  <a:gd name="connsiteX114" fmla="*/ 7362825 w 8971757"/>
                  <a:gd name="connsiteY114" fmla="*/ 2840831 h 4575969"/>
                  <a:gd name="connsiteX115" fmla="*/ 7419975 w 8971757"/>
                  <a:gd name="connsiteY115" fmla="*/ 2750343 h 4575969"/>
                  <a:gd name="connsiteX116" fmla="*/ 7446169 w 8971757"/>
                  <a:gd name="connsiteY116" fmla="*/ 2667000 h 4575969"/>
                  <a:gd name="connsiteX117" fmla="*/ 7577137 w 8971757"/>
                  <a:gd name="connsiteY117" fmla="*/ 2667000 h 4575969"/>
                  <a:gd name="connsiteX118" fmla="*/ 7750969 w 8971757"/>
                  <a:gd name="connsiteY118" fmla="*/ 2609849 h 4575969"/>
                  <a:gd name="connsiteX119" fmla="*/ 7810500 w 8971757"/>
                  <a:gd name="connsiteY119" fmla="*/ 2497931 h 4575969"/>
                  <a:gd name="connsiteX120" fmla="*/ 7874794 w 8971757"/>
                  <a:gd name="connsiteY120" fmla="*/ 2462212 h 4575969"/>
                  <a:gd name="connsiteX121" fmla="*/ 7853363 w 8971757"/>
                  <a:gd name="connsiteY121" fmla="*/ 2416969 h 4575969"/>
                  <a:gd name="connsiteX122" fmla="*/ 7931944 w 8971757"/>
                  <a:gd name="connsiteY122" fmla="*/ 2247899 h 4575969"/>
                  <a:gd name="connsiteX123" fmla="*/ 7986713 w 8971757"/>
                  <a:gd name="connsiteY123" fmla="*/ 2188369 h 4575969"/>
                  <a:gd name="connsiteX124" fmla="*/ 8024813 w 8971757"/>
                  <a:gd name="connsiteY124" fmla="*/ 2183606 h 4575969"/>
                  <a:gd name="connsiteX125" fmla="*/ 8070056 w 8971757"/>
                  <a:gd name="connsiteY125" fmla="*/ 2188369 h 4575969"/>
                  <a:gd name="connsiteX126" fmla="*/ 8134350 w 8971757"/>
                  <a:gd name="connsiteY126" fmla="*/ 2155031 h 4575969"/>
                  <a:gd name="connsiteX127" fmla="*/ 8143875 w 8971757"/>
                  <a:gd name="connsiteY127" fmla="*/ 2090737 h 4575969"/>
                  <a:gd name="connsiteX128" fmla="*/ 8184355 w 8971757"/>
                  <a:gd name="connsiteY128" fmla="*/ 2055019 h 4575969"/>
                  <a:gd name="connsiteX129" fmla="*/ 8243888 w 8971757"/>
                  <a:gd name="connsiteY129" fmla="*/ 2095499 h 4575969"/>
                  <a:gd name="connsiteX130" fmla="*/ 8270082 w 8971757"/>
                  <a:gd name="connsiteY130" fmla="*/ 2045493 h 4575969"/>
                  <a:gd name="connsiteX131" fmla="*/ 8365331 w 8971757"/>
                  <a:gd name="connsiteY131" fmla="*/ 1976437 h 4575969"/>
                  <a:gd name="connsiteX132" fmla="*/ 8427244 w 8971757"/>
                  <a:gd name="connsiteY132" fmla="*/ 1983581 h 4575969"/>
                  <a:gd name="connsiteX133" fmla="*/ 8477250 w 8971757"/>
                  <a:gd name="connsiteY133" fmla="*/ 1964531 h 4575969"/>
                  <a:gd name="connsiteX134" fmla="*/ 8515350 w 8971757"/>
                  <a:gd name="connsiteY134" fmla="*/ 1935956 h 4575969"/>
                  <a:gd name="connsiteX135" fmla="*/ 8548688 w 8971757"/>
                  <a:gd name="connsiteY135" fmla="*/ 1933575 h 4575969"/>
                  <a:gd name="connsiteX136" fmla="*/ 8584406 w 8971757"/>
                  <a:gd name="connsiteY136" fmla="*/ 1964531 h 4575969"/>
                  <a:gd name="connsiteX137" fmla="*/ 8643938 w 8971757"/>
                  <a:gd name="connsiteY137" fmla="*/ 1964531 h 4575969"/>
                  <a:gd name="connsiteX138" fmla="*/ 8682037 w 8971757"/>
                  <a:gd name="connsiteY138" fmla="*/ 1945481 h 4575969"/>
                  <a:gd name="connsiteX139" fmla="*/ 8765381 w 8971757"/>
                  <a:gd name="connsiteY139" fmla="*/ 1947863 h 4575969"/>
                  <a:gd name="connsiteX140" fmla="*/ 8796338 w 8971757"/>
                  <a:gd name="connsiteY140" fmla="*/ 1902619 h 4575969"/>
                  <a:gd name="connsiteX141" fmla="*/ 8801100 w 8971757"/>
                  <a:gd name="connsiteY141" fmla="*/ 1840706 h 4575969"/>
                  <a:gd name="connsiteX142" fmla="*/ 8751093 w 8971757"/>
                  <a:gd name="connsiteY142" fmla="*/ 1800225 h 4575969"/>
                  <a:gd name="connsiteX143" fmla="*/ 8734425 w 8971757"/>
                  <a:gd name="connsiteY143" fmla="*/ 1745456 h 4575969"/>
                  <a:gd name="connsiteX144" fmla="*/ 8643938 w 8971757"/>
                  <a:gd name="connsiteY144" fmla="*/ 1683544 h 4575969"/>
                  <a:gd name="connsiteX145" fmla="*/ 8603456 w 8971757"/>
                  <a:gd name="connsiteY145" fmla="*/ 1662112 h 4575969"/>
                  <a:gd name="connsiteX146" fmla="*/ 8565356 w 8971757"/>
                  <a:gd name="connsiteY146" fmla="*/ 1616869 h 4575969"/>
                  <a:gd name="connsiteX147" fmla="*/ 8534400 w 8971757"/>
                  <a:gd name="connsiteY147" fmla="*/ 1614487 h 4575969"/>
                  <a:gd name="connsiteX148" fmla="*/ 8517731 w 8971757"/>
                  <a:gd name="connsiteY148" fmla="*/ 1562100 h 4575969"/>
                  <a:gd name="connsiteX149" fmla="*/ 8477250 w 8971757"/>
                  <a:gd name="connsiteY149" fmla="*/ 1545431 h 4575969"/>
                  <a:gd name="connsiteX150" fmla="*/ 8477250 w 8971757"/>
                  <a:gd name="connsiteY150" fmla="*/ 1545431 h 4575969"/>
                  <a:gd name="connsiteX151" fmla="*/ 8436769 w 8971757"/>
                  <a:gd name="connsiteY151" fmla="*/ 1550194 h 4575969"/>
                  <a:gd name="connsiteX152" fmla="*/ 8351043 w 8971757"/>
                  <a:gd name="connsiteY152" fmla="*/ 1476375 h 4575969"/>
                  <a:gd name="connsiteX153" fmla="*/ 8170069 w 8971757"/>
                  <a:gd name="connsiteY153" fmla="*/ 1476374 h 4575969"/>
                  <a:gd name="connsiteX154" fmla="*/ 8117681 w 8971757"/>
                  <a:gd name="connsiteY154" fmla="*/ 1514475 h 4575969"/>
                  <a:gd name="connsiteX155" fmla="*/ 8067675 w 8971757"/>
                  <a:gd name="connsiteY155" fmla="*/ 1593056 h 4575969"/>
                  <a:gd name="connsiteX156" fmla="*/ 8084344 w 8971757"/>
                  <a:gd name="connsiteY156" fmla="*/ 1614487 h 4575969"/>
                  <a:gd name="connsiteX157" fmla="*/ 8039100 w 8971757"/>
                  <a:gd name="connsiteY157" fmla="*/ 1664493 h 4575969"/>
                  <a:gd name="connsiteX158" fmla="*/ 7889081 w 8971757"/>
                  <a:gd name="connsiteY158" fmla="*/ 1588293 h 4575969"/>
                  <a:gd name="connsiteX159" fmla="*/ 7798594 w 8971757"/>
                  <a:gd name="connsiteY159" fmla="*/ 1624012 h 4575969"/>
                  <a:gd name="connsiteX160" fmla="*/ 7724775 w 8971757"/>
                  <a:gd name="connsiteY160" fmla="*/ 1621631 h 4575969"/>
                  <a:gd name="connsiteX161" fmla="*/ 7667625 w 8971757"/>
                  <a:gd name="connsiteY161" fmla="*/ 1716881 h 4575969"/>
                  <a:gd name="connsiteX162" fmla="*/ 7529513 w 8971757"/>
                  <a:gd name="connsiteY16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7567613 w 8971757"/>
                  <a:gd name="connsiteY9" fmla="*/ 783431 h 4575969"/>
                  <a:gd name="connsiteX10" fmla="*/ 8412956 w 8971757"/>
                  <a:gd name="connsiteY10" fmla="*/ 23812 h 4575969"/>
                  <a:gd name="connsiteX11" fmla="*/ 8949531 w 8971757"/>
                  <a:gd name="connsiteY11" fmla="*/ 0 h 4575969"/>
                  <a:gd name="connsiteX12" fmla="*/ 8971757 w 8971757"/>
                  <a:gd name="connsiteY12" fmla="*/ 4575969 h 4575969"/>
                  <a:gd name="connsiteX13" fmla="*/ 2381 w 8971757"/>
                  <a:gd name="connsiteY13" fmla="*/ 4547392 h 4575969"/>
                  <a:gd name="connsiteX14" fmla="*/ 0 w 8971757"/>
                  <a:gd name="connsiteY14" fmla="*/ 845344 h 4575969"/>
                  <a:gd name="connsiteX15" fmla="*/ 76200 w 8971757"/>
                  <a:gd name="connsiteY15" fmla="*/ 828675 h 4575969"/>
                  <a:gd name="connsiteX16" fmla="*/ 119063 w 8971757"/>
                  <a:gd name="connsiteY16" fmla="*/ 857250 h 4575969"/>
                  <a:gd name="connsiteX17" fmla="*/ 215900 w 8971757"/>
                  <a:gd name="connsiteY17" fmla="*/ 848519 h 4575969"/>
                  <a:gd name="connsiteX18" fmla="*/ 261938 w 8971757"/>
                  <a:gd name="connsiteY18" fmla="*/ 876299 h 4575969"/>
                  <a:gd name="connsiteX19" fmla="*/ 228600 w 8971757"/>
                  <a:gd name="connsiteY19" fmla="*/ 904875 h 4575969"/>
                  <a:gd name="connsiteX20" fmla="*/ 233363 w 8971757"/>
                  <a:gd name="connsiteY20" fmla="*/ 947737 h 4575969"/>
                  <a:gd name="connsiteX21" fmla="*/ 200025 w 8971757"/>
                  <a:gd name="connsiteY21" fmla="*/ 952500 h 4575969"/>
                  <a:gd name="connsiteX22" fmla="*/ 204788 w 8971757"/>
                  <a:gd name="connsiteY22" fmla="*/ 976312 h 4575969"/>
                  <a:gd name="connsiteX23" fmla="*/ 261937 w 8971757"/>
                  <a:gd name="connsiteY23" fmla="*/ 1050131 h 4575969"/>
                  <a:gd name="connsiteX24" fmla="*/ 223838 w 8971757"/>
                  <a:gd name="connsiteY24" fmla="*/ 1097756 h 4575969"/>
                  <a:gd name="connsiteX25" fmla="*/ 278606 w 8971757"/>
                  <a:gd name="connsiteY25" fmla="*/ 1133475 h 4575969"/>
                  <a:gd name="connsiteX26" fmla="*/ 369094 w 8971757"/>
                  <a:gd name="connsiteY26" fmla="*/ 1221581 h 4575969"/>
                  <a:gd name="connsiteX27" fmla="*/ 371475 w 8971757"/>
                  <a:gd name="connsiteY27" fmla="*/ 1281112 h 4575969"/>
                  <a:gd name="connsiteX28" fmla="*/ 507206 w 8971757"/>
                  <a:gd name="connsiteY28" fmla="*/ 1414463 h 4575969"/>
                  <a:gd name="connsiteX29" fmla="*/ 561975 w 8971757"/>
                  <a:gd name="connsiteY29" fmla="*/ 1390650 h 4575969"/>
                  <a:gd name="connsiteX30" fmla="*/ 600075 w 8971757"/>
                  <a:gd name="connsiteY30" fmla="*/ 1416843 h 4575969"/>
                  <a:gd name="connsiteX31" fmla="*/ 614363 w 8971757"/>
                  <a:gd name="connsiteY31" fmla="*/ 1466849 h 4575969"/>
                  <a:gd name="connsiteX32" fmla="*/ 657225 w 8971757"/>
                  <a:gd name="connsiteY32" fmla="*/ 1502569 h 4575969"/>
                  <a:gd name="connsiteX33" fmla="*/ 697706 w 8971757"/>
                  <a:gd name="connsiteY33" fmla="*/ 1490662 h 4575969"/>
                  <a:gd name="connsiteX34" fmla="*/ 716756 w 8971757"/>
                  <a:gd name="connsiteY34" fmla="*/ 1547812 h 4575969"/>
                  <a:gd name="connsiteX35" fmla="*/ 764381 w 8971757"/>
                  <a:gd name="connsiteY35" fmla="*/ 1590675 h 4575969"/>
                  <a:gd name="connsiteX36" fmla="*/ 788194 w 8971757"/>
                  <a:gd name="connsiteY36" fmla="*/ 1693069 h 4575969"/>
                  <a:gd name="connsiteX37" fmla="*/ 785813 w 8971757"/>
                  <a:gd name="connsiteY37" fmla="*/ 1740694 h 4575969"/>
                  <a:gd name="connsiteX38" fmla="*/ 821531 w 8971757"/>
                  <a:gd name="connsiteY38" fmla="*/ 1840706 h 4575969"/>
                  <a:gd name="connsiteX39" fmla="*/ 866775 w 8971757"/>
                  <a:gd name="connsiteY39" fmla="*/ 1897856 h 4575969"/>
                  <a:gd name="connsiteX40" fmla="*/ 883443 w 8971757"/>
                  <a:gd name="connsiteY40" fmla="*/ 2055018 h 4575969"/>
                  <a:gd name="connsiteX41" fmla="*/ 850106 w 8971757"/>
                  <a:gd name="connsiteY41" fmla="*/ 2116931 h 4575969"/>
                  <a:gd name="connsiteX42" fmla="*/ 819150 w 8971757"/>
                  <a:gd name="connsiteY42" fmla="*/ 2193131 h 4575969"/>
                  <a:gd name="connsiteX43" fmla="*/ 833438 w 8971757"/>
                  <a:gd name="connsiteY43" fmla="*/ 2250281 h 4575969"/>
                  <a:gd name="connsiteX44" fmla="*/ 735806 w 8971757"/>
                  <a:gd name="connsiteY44" fmla="*/ 2357438 h 4575969"/>
                  <a:gd name="connsiteX45" fmla="*/ 692944 w 8971757"/>
                  <a:gd name="connsiteY45" fmla="*/ 2471737 h 4575969"/>
                  <a:gd name="connsiteX46" fmla="*/ 726281 w 8971757"/>
                  <a:gd name="connsiteY46" fmla="*/ 2512219 h 4575969"/>
                  <a:gd name="connsiteX47" fmla="*/ 709613 w 8971757"/>
                  <a:gd name="connsiteY47" fmla="*/ 2540794 h 4575969"/>
                  <a:gd name="connsiteX48" fmla="*/ 740569 w 8971757"/>
                  <a:gd name="connsiteY48" fmla="*/ 2597944 h 4575969"/>
                  <a:gd name="connsiteX49" fmla="*/ 769144 w 8971757"/>
                  <a:gd name="connsiteY49" fmla="*/ 2597944 h 4575969"/>
                  <a:gd name="connsiteX50" fmla="*/ 931069 w 8971757"/>
                  <a:gd name="connsiteY50" fmla="*/ 2700337 h 4575969"/>
                  <a:gd name="connsiteX51" fmla="*/ 1035844 w 8971757"/>
                  <a:gd name="connsiteY51" fmla="*/ 2697956 h 4575969"/>
                  <a:gd name="connsiteX52" fmla="*/ 1114425 w 8971757"/>
                  <a:gd name="connsiteY52" fmla="*/ 2752725 h 4575969"/>
                  <a:gd name="connsiteX53" fmla="*/ 1245393 w 8971757"/>
                  <a:gd name="connsiteY53" fmla="*/ 2755106 h 4575969"/>
                  <a:gd name="connsiteX54" fmla="*/ 1435893 w 8971757"/>
                  <a:gd name="connsiteY54" fmla="*/ 2824162 h 4575969"/>
                  <a:gd name="connsiteX55" fmla="*/ 1638300 w 8971757"/>
                  <a:gd name="connsiteY55" fmla="*/ 2974181 h 4575969"/>
                  <a:gd name="connsiteX56" fmla="*/ 1671637 w 8971757"/>
                  <a:gd name="connsiteY56" fmla="*/ 3040856 h 4575969"/>
                  <a:gd name="connsiteX57" fmla="*/ 1838325 w 8971757"/>
                  <a:gd name="connsiteY57" fmla="*/ 3167062 h 4575969"/>
                  <a:gd name="connsiteX58" fmla="*/ 1909763 w 8971757"/>
                  <a:gd name="connsiteY58" fmla="*/ 3162300 h 4575969"/>
                  <a:gd name="connsiteX59" fmla="*/ 1945482 w 8971757"/>
                  <a:gd name="connsiteY59" fmla="*/ 3186112 h 4575969"/>
                  <a:gd name="connsiteX60" fmla="*/ 1916906 w 8971757"/>
                  <a:gd name="connsiteY60" fmla="*/ 3226594 h 4575969"/>
                  <a:gd name="connsiteX61" fmla="*/ 1924050 w 8971757"/>
                  <a:gd name="connsiteY61" fmla="*/ 3278981 h 4575969"/>
                  <a:gd name="connsiteX62" fmla="*/ 1976438 w 8971757"/>
                  <a:gd name="connsiteY62" fmla="*/ 3305175 h 4575969"/>
                  <a:gd name="connsiteX63" fmla="*/ 2038350 w 8971757"/>
                  <a:gd name="connsiteY63" fmla="*/ 3529013 h 4575969"/>
                  <a:gd name="connsiteX64" fmla="*/ 2028825 w 8971757"/>
                  <a:gd name="connsiteY64" fmla="*/ 3593306 h 4575969"/>
                  <a:gd name="connsiteX65" fmla="*/ 2164556 w 8971757"/>
                  <a:gd name="connsiteY65" fmla="*/ 3759994 h 4575969"/>
                  <a:gd name="connsiteX66" fmla="*/ 2183606 w 8971757"/>
                  <a:gd name="connsiteY66" fmla="*/ 3810000 h 4575969"/>
                  <a:gd name="connsiteX67" fmla="*/ 2157413 w 8971757"/>
                  <a:gd name="connsiteY67" fmla="*/ 3829050 h 4575969"/>
                  <a:gd name="connsiteX68" fmla="*/ 2259806 w 8971757"/>
                  <a:gd name="connsiteY68" fmla="*/ 3838575 h 4575969"/>
                  <a:gd name="connsiteX69" fmla="*/ 2371725 w 8971757"/>
                  <a:gd name="connsiteY69" fmla="*/ 3826669 h 4575969"/>
                  <a:gd name="connsiteX70" fmla="*/ 2650331 w 8971757"/>
                  <a:gd name="connsiteY70" fmla="*/ 3910012 h 4575969"/>
                  <a:gd name="connsiteX71" fmla="*/ 3057525 w 8971757"/>
                  <a:gd name="connsiteY71" fmla="*/ 3990975 h 4575969"/>
                  <a:gd name="connsiteX72" fmla="*/ 3255169 w 8971757"/>
                  <a:gd name="connsiteY72" fmla="*/ 3960018 h 4575969"/>
                  <a:gd name="connsiteX73" fmla="*/ 3300413 w 8971757"/>
                  <a:gd name="connsiteY73" fmla="*/ 3971924 h 4575969"/>
                  <a:gd name="connsiteX74" fmla="*/ 3355181 w 8971757"/>
                  <a:gd name="connsiteY74" fmla="*/ 3948113 h 4575969"/>
                  <a:gd name="connsiteX75" fmla="*/ 3748087 w 8971757"/>
                  <a:gd name="connsiteY75" fmla="*/ 4038600 h 4575969"/>
                  <a:gd name="connsiteX76" fmla="*/ 3831432 w 8971757"/>
                  <a:gd name="connsiteY76" fmla="*/ 4136231 h 4575969"/>
                  <a:gd name="connsiteX77" fmla="*/ 3950494 w 8971757"/>
                  <a:gd name="connsiteY77" fmla="*/ 4207669 h 4575969"/>
                  <a:gd name="connsiteX78" fmla="*/ 4010025 w 8971757"/>
                  <a:gd name="connsiteY78" fmla="*/ 4191000 h 4575969"/>
                  <a:gd name="connsiteX79" fmla="*/ 4360068 w 8971757"/>
                  <a:gd name="connsiteY79" fmla="*/ 4364831 h 4575969"/>
                  <a:gd name="connsiteX80" fmla="*/ 4586288 w 8971757"/>
                  <a:gd name="connsiteY80" fmla="*/ 4336256 h 4575969"/>
                  <a:gd name="connsiteX81" fmla="*/ 4595813 w 8971757"/>
                  <a:gd name="connsiteY81" fmla="*/ 4414837 h 4575969"/>
                  <a:gd name="connsiteX82" fmla="*/ 4681538 w 8971757"/>
                  <a:gd name="connsiteY82" fmla="*/ 4410074 h 4575969"/>
                  <a:gd name="connsiteX83" fmla="*/ 4760119 w 8971757"/>
                  <a:gd name="connsiteY83" fmla="*/ 4441031 h 4575969"/>
                  <a:gd name="connsiteX84" fmla="*/ 4802981 w 8971757"/>
                  <a:gd name="connsiteY84" fmla="*/ 4381500 h 4575969"/>
                  <a:gd name="connsiteX85" fmla="*/ 5474494 w 8971757"/>
                  <a:gd name="connsiteY85" fmla="*/ 4062412 h 4575969"/>
                  <a:gd name="connsiteX86" fmla="*/ 5562600 w 8971757"/>
                  <a:gd name="connsiteY86" fmla="*/ 4090988 h 4575969"/>
                  <a:gd name="connsiteX87" fmla="*/ 5693569 w 8971757"/>
                  <a:gd name="connsiteY87" fmla="*/ 4062412 h 4575969"/>
                  <a:gd name="connsiteX88" fmla="*/ 5872162 w 8971757"/>
                  <a:gd name="connsiteY88" fmla="*/ 4079081 h 4575969"/>
                  <a:gd name="connsiteX89" fmla="*/ 5929313 w 8971757"/>
                  <a:gd name="connsiteY89" fmla="*/ 4052888 h 4575969"/>
                  <a:gd name="connsiteX90" fmla="*/ 6062662 w 8971757"/>
                  <a:gd name="connsiteY90" fmla="*/ 4050506 h 4575969"/>
                  <a:gd name="connsiteX91" fmla="*/ 6196012 w 8971757"/>
                  <a:gd name="connsiteY91" fmla="*/ 3952875 h 4575969"/>
                  <a:gd name="connsiteX92" fmla="*/ 6262687 w 8971757"/>
                  <a:gd name="connsiteY92" fmla="*/ 3945731 h 4575969"/>
                  <a:gd name="connsiteX93" fmla="*/ 6360319 w 8971757"/>
                  <a:gd name="connsiteY93" fmla="*/ 3871912 h 4575969"/>
                  <a:gd name="connsiteX94" fmla="*/ 6434138 w 8971757"/>
                  <a:gd name="connsiteY94" fmla="*/ 3802856 h 4575969"/>
                  <a:gd name="connsiteX95" fmla="*/ 6443663 w 8971757"/>
                  <a:gd name="connsiteY95" fmla="*/ 3740944 h 4575969"/>
                  <a:gd name="connsiteX96" fmla="*/ 6477000 w 8971757"/>
                  <a:gd name="connsiteY96" fmla="*/ 3671887 h 4575969"/>
                  <a:gd name="connsiteX97" fmla="*/ 6629400 w 8971757"/>
                  <a:gd name="connsiteY97" fmla="*/ 3564731 h 4575969"/>
                  <a:gd name="connsiteX98" fmla="*/ 6662738 w 8971757"/>
                  <a:gd name="connsiteY98" fmla="*/ 3569494 h 4575969"/>
                  <a:gd name="connsiteX99" fmla="*/ 6715125 w 8971757"/>
                  <a:gd name="connsiteY99" fmla="*/ 3490912 h 4575969"/>
                  <a:gd name="connsiteX100" fmla="*/ 6762750 w 8971757"/>
                  <a:gd name="connsiteY100" fmla="*/ 3452812 h 4575969"/>
                  <a:gd name="connsiteX101" fmla="*/ 6748463 w 8971757"/>
                  <a:gd name="connsiteY101" fmla="*/ 3383756 h 4575969"/>
                  <a:gd name="connsiteX102" fmla="*/ 6698456 w 8971757"/>
                  <a:gd name="connsiteY102" fmla="*/ 3352799 h 4575969"/>
                  <a:gd name="connsiteX103" fmla="*/ 6638925 w 8971757"/>
                  <a:gd name="connsiteY103" fmla="*/ 3298031 h 4575969"/>
                  <a:gd name="connsiteX104" fmla="*/ 6619875 w 8971757"/>
                  <a:gd name="connsiteY104" fmla="*/ 3240881 h 4575969"/>
                  <a:gd name="connsiteX105" fmla="*/ 6584156 w 8971757"/>
                  <a:gd name="connsiteY105" fmla="*/ 3207544 h 4575969"/>
                  <a:gd name="connsiteX106" fmla="*/ 6610350 w 8971757"/>
                  <a:gd name="connsiteY106" fmla="*/ 3155156 h 4575969"/>
                  <a:gd name="connsiteX107" fmla="*/ 6650831 w 8971757"/>
                  <a:gd name="connsiteY107" fmla="*/ 2976562 h 4575969"/>
                  <a:gd name="connsiteX108" fmla="*/ 6691313 w 8971757"/>
                  <a:gd name="connsiteY108" fmla="*/ 2909887 h 4575969"/>
                  <a:gd name="connsiteX109" fmla="*/ 6836569 w 8971757"/>
                  <a:gd name="connsiteY109" fmla="*/ 2893218 h 4575969"/>
                  <a:gd name="connsiteX110" fmla="*/ 6905625 w 8971757"/>
                  <a:gd name="connsiteY110" fmla="*/ 2950369 h 4575969"/>
                  <a:gd name="connsiteX111" fmla="*/ 6981825 w 8971757"/>
                  <a:gd name="connsiteY111" fmla="*/ 2974181 h 4575969"/>
                  <a:gd name="connsiteX112" fmla="*/ 7186612 w 8971757"/>
                  <a:gd name="connsiteY112" fmla="*/ 2978944 h 4575969"/>
                  <a:gd name="connsiteX113" fmla="*/ 7362825 w 8971757"/>
                  <a:gd name="connsiteY113" fmla="*/ 2840831 h 4575969"/>
                  <a:gd name="connsiteX114" fmla="*/ 7419975 w 8971757"/>
                  <a:gd name="connsiteY114" fmla="*/ 2750343 h 4575969"/>
                  <a:gd name="connsiteX115" fmla="*/ 7446169 w 8971757"/>
                  <a:gd name="connsiteY115" fmla="*/ 2667000 h 4575969"/>
                  <a:gd name="connsiteX116" fmla="*/ 7577137 w 8971757"/>
                  <a:gd name="connsiteY116" fmla="*/ 2667000 h 4575969"/>
                  <a:gd name="connsiteX117" fmla="*/ 7750969 w 8971757"/>
                  <a:gd name="connsiteY117" fmla="*/ 2609849 h 4575969"/>
                  <a:gd name="connsiteX118" fmla="*/ 7810500 w 8971757"/>
                  <a:gd name="connsiteY118" fmla="*/ 2497931 h 4575969"/>
                  <a:gd name="connsiteX119" fmla="*/ 7874794 w 8971757"/>
                  <a:gd name="connsiteY119" fmla="*/ 2462212 h 4575969"/>
                  <a:gd name="connsiteX120" fmla="*/ 7853363 w 8971757"/>
                  <a:gd name="connsiteY120" fmla="*/ 2416969 h 4575969"/>
                  <a:gd name="connsiteX121" fmla="*/ 7931944 w 8971757"/>
                  <a:gd name="connsiteY121" fmla="*/ 2247899 h 4575969"/>
                  <a:gd name="connsiteX122" fmla="*/ 7986713 w 8971757"/>
                  <a:gd name="connsiteY122" fmla="*/ 2188369 h 4575969"/>
                  <a:gd name="connsiteX123" fmla="*/ 8024813 w 8971757"/>
                  <a:gd name="connsiteY123" fmla="*/ 2183606 h 4575969"/>
                  <a:gd name="connsiteX124" fmla="*/ 8070056 w 8971757"/>
                  <a:gd name="connsiteY124" fmla="*/ 2188369 h 4575969"/>
                  <a:gd name="connsiteX125" fmla="*/ 8134350 w 8971757"/>
                  <a:gd name="connsiteY125" fmla="*/ 2155031 h 4575969"/>
                  <a:gd name="connsiteX126" fmla="*/ 8143875 w 8971757"/>
                  <a:gd name="connsiteY126" fmla="*/ 2090737 h 4575969"/>
                  <a:gd name="connsiteX127" fmla="*/ 8184355 w 8971757"/>
                  <a:gd name="connsiteY127" fmla="*/ 2055019 h 4575969"/>
                  <a:gd name="connsiteX128" fmla="*/ 8243888 w 8971757"/>
                  <a:gd name="connsiteY128" fmla="*/ 2095499 h 4575969"/>
                  <a:gd name="connsiteX129" fmla="*/ 8270082 w 8971757"/>
                  <a:gd name="connsiteY129" fmla="*/ 2045493 h 4575969"/>
                  <a:gd name="connsiteX130" fmla="*/ 8365331 w 8971757"/>
                  <a:gd name="connsiteY130" fmla="*/ 1976437 h 4575969"/>
                  <a:gd name="connsiteX131" fmla="*/ 8427244 w 8971757"/>
                  <a:gd name="connsiteY131" fmla="*/ 1983581 h 4575969"/>
                  <a:gd name="connsiteX132" fmla="*/ 8477250 w 8971757"/>
                  <a:gd name="connsiteY132" fmla="*/ 1964531 h 4575969"/>
                  <a:gd name="connsiteX133" fmla="*/ 8515350 w 8971757"/>
                  <a:gd name="connsiteY133" fmla="*/ 1935956 h 4575969"/>
                  <a:gd name="connsiteX134" fmla="*/ 8548688 w 8971757"/>
                  <a:gd name="connsiteY134" fmla="*/ 1933575 h 4575969"/>
                  <a:gd name="connsiteX135" fmla="*/ 8584406 w 8971757"/>
                  <a:gd name="connsiteY135" fmla="*/ 1964531 h 4575969"/>
                  <a:gd name="connsiteX136" fmla="*/ 8643938 w 8971757"/>
                  <a:gd name="connsiteY136" fmla="*/ 1964531 h 4575969"/>
                  <a:gd name="connsiteX137" fmla="*/ 8682037 w 8971757"/>
                  <a:gd name="connsiteY137" fmla="*/ 1945481 h 4575969"/>
                  <a:gd name="connsiteX138" fmla="*/ 8765381 w 8971757"/>
                  <a:gd name="connsiteY138" fmla="*/ 1947863 h 4575969"/>
                  <a:gd name="connsiteX139" fmla="*/ 8796338 w 8971757"/>
                  <a:gd name="connsiteY139" fmla="*/ 1902619 h 4575969"/>
                  <a:gd name="connsiteX140" fmla="*/ 8801100 w 8971757"/>
                  <a:gd name="connsiteY140" fmla="*/ 1840706 h 4575969"/>
                  <a:gd name="connsiteX141" fmla="*/ 8751093 w 8971757"/>
                  <a:gd name="connsiteY141" fmla="*/ 1800225 h 4575969"/>
                  <a:gd name="connsiteX142" fmla="*/ 8734425 w 8971757"/>
                  <a:gd name="connsiteY142" fmla="*/ 1745456 h 4575969"/>
                  <a:gd name="connsiteX143" fmla="*/ 8643938 w 8971757"/>
                  <a:gd name="connsiteY143" fmla="*/ 1683544 h 4575969"/>
                  <a:gd name="connsiteX144" fmla="*/ 8603456 w 8971757"/>
                  <a:gd name="connsiteY144" fmla="*/ 1662112 h 4575969"/>
                  <a:gd name="connsiteX145" fmla="*/ 8565356 w 8971757"/>
                  <a:gd name="connsiteY145" fmla="*/ 1616869 h 4575969"/>
                  <a:gd name="connsiteX146" fmla="*/ 8534400 w 8971757"/>
                  <a:gd name="connsiteY146" fmla="*/ 1614487 h 4575969"/>
                  <a:gd name="connsiteX147" fmla="*/ 8517731 w 8971757"/>
                  <a:gd name="connsiteY147" fmla="*/ 1562100 h 4575969"/>
                  <a:gd name="connsiteX148" fmla="*/ 8477250 w 8971757"/>
                  <a:gd name="connsiteY148" fmla="*/ 1545431 h 4575969"/>
                  <a:gd name="connsiteX149" fmla="*/ 8477250 w 8971757"/>
                  <a:gd name="connsiteY149" fmla="*/ 1545431 h 4575969"/>
                  <a:gd name="connsiteX150" fmla="*/ 8436769 w 8971757"/>
                  <a:gd name="connsiteY150" fmla="*/ 1550194 h 4575969"/>
                  <a:gd name="connsiteX151" fmla="*/ 8351043 w 8971757"/>
                  <a:gd name="connsiteY151" fmla="*/ 1476375 h 4575969"/>
                  <a:gd name="connsiteX152" fmla="*/ 8170069 w 8971757"/>
                  <a:gd name="connsiteY152" fmla="*/ 1476374 h 4575969"/>
                  <a:gd name="connsiteX153" fmla="*/ 8117681 w 8971757"/>
                  <a:gd name="connsiteY153" fmla="*/ 1514475 h 4575969"/>
                  <a:gd name="connsiteX154" fmla="*/ 8067675 w 8971757"/>
                  <a:gd name="connsiteY154" fmla="*/ 1593056 h 4575969"/>
                  <a:gd name="connsiteX155" fmla="*/ 8084344 w 8971757"/>
                  <a:gd name="connsiteY155" fmla="*/ 1614487 h 4575969"/>
                  <a:gd name="connsiteX156" fmla="*/ 8039100 w 8971757"/>
                  <a:gd name="connsiteY156" fmla="*/ 1664493 h 4575969"/>
                  <a:gd name="connsiteX157" fmla="*/ 7889081 w 8971757"/>
                  <a:gd name="connsiteY157" fmla="*/ 1588293 h 4575969"/>
                  <a:gd name="connsiteX158" fmla="*/ 7798594 w 8971757"/>
                  <a:gd name="connsiteY158" fmla="*/ 1624012 h 4575969"/>
                  <a:gd name="connsiteX159" fmla="*/ 7724775 w 8971757"/>
                  <a:gd name="connsiteY159" fmla="*/ 1621631 h 4575969"/>
                  <a:gd name="connsiteX160" fmla="*/ 7667625 w 8971757"/>
                  <a:gd name="connsiteY160" fmla="*/ 1716881 h 4575969"/>
                  <a:gd name="connsiteX161" fmla="*/ 7529513 w 8971757"/>
                  <a:gd name="connsiteY16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696200 w 8971757"/>
                  <a:gd name="connsiteY8" fmla="*/ 804862 h 4575969"/>
                  <a:gd name="connsiteX9" fmla="*/ 8412956 w 8971757"/>
                  <a:gd name="connsiteY9" fmla="*/ 23812 h 4575969"/>
                  <a:gd name="connsiteX10" fmla="*/ 8949531 w 8971757"/>
                  <a:gd name="connsiteY10" fmla="*/ 0 h 4575969"/>
                  <a:gd name="connsiteX11" fmla="*/ 8971757 w 8971757"/>
                  <a:gd name="connsiteY11" fmla="*/ 4575969 h 4575969"/>
                  <a:gd name="connsiteX12" fmla="*/ 2381 w 8971757"/>
                  <a:gd name="connsiteY12" fmla="*/ 4547392 h 4575969"/>
                  <a:gd name="connsiteX13" fmla="*/ 0 w 8971757"/>
                  <a:gd name="connsiteY13" fmla="*/ 845344 h 4575969"/>
                  <a:gd name="connsiteX14" fmla="*/ 76200 w 8971757"/>
                  <a:gd name="connsiteY14" fmla="*/ 828675 h 4575969"/>
                  <a:gd name="connsiteX15" fmla="*/ 119063 w 8971757"/>
                  <a:gd name="connsiteY15" fmla="*/ 857250 h 4575969"/>
                  <a:gd name="connsiteX16" fmla="*/ 215900 w 8971757"/>
                  <a:gd name="connsiteY16" fmla="*/ 848519 h 4575969"/>
                  <a:gd name="connsiteX17" fmla="*/ 261938 w 8971757"/>
                  <a:gd name="connsiteY17" fmla="*/ 876299 h 4575969"/>
                  <a:gd name="connsiteX18" fmla="*/ 228600 w 8971757"/>
                  <a:gd name="connsiteY18" fmla="*/ 904875 h 4575969"/>
                  <a:gd name="connsiteX19" fmla="*/ 233363 w 8971757"/>
                  <a:gd name="connsiteY19" fmla="*/ 947737 h 4575969"/>
                  <a:gd name="connsiteX20" fmla="*/ 200025 w 8971757"/>
                  <a:gd name="connsiteY20" fmla="*/ 952500 h 4575969"/>
                  <a:gd name="connsiteX21" fmla="*/ 204788 w 8971757"/>
                  <a:gd name="connsiteY21" fmla="*/ 976312 h 4575969"/>
                  <a:gd name="connsiteX22" fmla="*/ 261937 w 8971757"/>
                  <a:gd name="connsiteY22" fmla="*/ 1050131 h 4575969"/>
                  <a:gd name="connsiteX23" fmla="*/ 223838 w 8971757"/>
                  <a:gd name="connsiteY23" fmla="*/ 1097756 h 4575969"/>
                  <a:gd name="connsiteX24" fmla="*/ 278606 w 8971757"/>
                  <a:gd name="connsiteY24" fmla="*/ 1133475 h 4575969"/>
                  <a:gd name="connsiteX25" fmla="*/ 369094 w 8971757"/>
                  <a:gd name="connsiteY25" fmla="*/ 1221581 h 4575969"/>
                  <a:gd name="connsiteX26" fmla="*/ 371475 w 8971757"/>
                  <a:gd name="connsiteY26" fmla="*/ 1281112 h 4575969"/>
                  <a:gd name="connsiteX27" fmla="*/ 507206 w 8971757"/>
                  <a:gd name="connsiteY27" fmla="*/ 1414463 h 4575969"/>
                  <a:gd name="connsiteX28" fmla="*/ 561975 w 8971757"/>
                  <a:gd name="connsiteY28" fmla="*/ 1390650 h 4575969"/>
                  <a:gd name="connsiteX29" fmla="*/ 600075 w 8971757"/>
                  <a:gd name="connsiteY29" fmla="*/ 1416843 h 4575969"/>
                  <a:gd name="connsiteX30" fmla="*/ 614363 w 8971757"/>
                  <a:gd name="connsiteY30" fmla="*/ 1466849 h 4575969"/>
                  <a:gd name="connsiteX31" fmla="*/ 657225 w 8971757"/>
                  <a:gd name="connsiteY31" fmla="*/ 1502569 h 4575969"/>
                  <a:gd name="connsiteX32" fmla="*/ 697706 w 8971757"/>
                  <a:gd name="connsiteY32" fmla="*/ 1490662 h 4575969"/>
                  <a:gd name="connsiteX33" fmla="*/ 716756 w 8971757"/>
                  <a:gd name="connsiteY33" fmla="*/ 1547812 h 4575969"/>
                  <a:gd name="connsiteX34" fmla="*/ 764381 w 8971757"/>
                  <a:gd name="connsiteY34" fmla="*/ 1590675 h 4575969"/>
                  <a:gd name="connsiteX35" fmla="*/ 788194 w 8971757"/>
                  <a:gd name="connsiteY35" fmla="*/ 1693069 h 4575969"/>
                  <a:gd name="connsiteX36" fmla="*/ 785813 w 8971757"/>
                  <a:gd name="connsiteY36" fmla="*/ 1740694 h 4575969"/>
                  <a:gd name="connsiteX37" fmla="*/ 821531 w 8971757"/>
                  <a:gd name="connsiteY37" fmla="*/ 1840706 h 4575969"/>
                  <a:gd name="connsiteX38" fmla="*/ 866775 w 8971757"/>
                  <a:gd name="connsiteY38" fmla="*/ 1897856 h 4575969"/>
                  <a:gd name="connsiteX39" fmla="*/ 883443 w 8971757"/>
                  <a:gd name="connsiteY39" fmla="*/ 2055018 h 4575969"/>
                  <a:gd name="connsiteX40" fmla="*/ 850106 w 8971757"/>
                  <a:gd name="connsiteY40" fmla="*/ 2116931 h 4575969"/>
                  <a:gd name="connsiteX41" fmla="*/ 819150 w 8971757"/>
                  <a:gd name="connsiteY41" fmla="*/ 2193131 h 4575969"/>
                  <a:gd name="connsiteX42" fmla="*/ 833438 w 8971757"/>
                  <a:gd name="connsiteY42" fmla="*/ 2250281 h 4575969"/>
                  <a:gd name="connsiteX43" fmla="*/ 735806 w 8971757"/>
                  <a:gd name="connsiteY43" fmla="*/ 2357438 h 4575969"/>
                  <a:gd name="connsiteX44" fmla="*/ 692944 w 8971757"/>
                  <a:gd name="connsiteY44" fmla="*/ 2471737 h 4575969"/>
                  <a:gd name="connsiteX45" fmla="*/ 726281 w 8971757"/>
                  <a:gd name="connsiteY45" fmla="*/ 2512219 h 4575969"/>
                  <a:gd name="connsiteX46" fmla="*/ 709613 w 8971757"/>
                  <a:gd name="connsiteY46" fmla="*/ 2540794 h 4575969"/>
                  <a:gd name="connsiteX47" fmla="*/ 740569 w 8971757"/>
                  <a:gd name="connsiteY47" fmla="*/ 2597944 h 4575969"/>
                  <a:gd name="connsiteX48" fmla="*/ 769144 w 8971757"/>
                  <a:gd name="connsiteY48" fmla="*/ 2597944 h 4575969"/>
                  <a:gd name="connsiteX49" fmla="*/ 931069 w 8971757"/>
                  <a:gd name="connsiteY49" fmla="*/ 2700337 h 4575969"/>
                  <a:gd name="connsiteX50" fmla="*/ 1035844 w 8971757"/>
                  <a:gd name="connsiteY50" fmla="*/ 2697956 h 4575969"/>
                  <a:gd name="connsiteX51" fmla="*/ 1114425 w 8971757"/>
                  <a:gd name="connsiteY51" fmla="*/ 2752725 h 4575969"/>
                  <a:gd name="connsiteX52" fmla="*/ 1245393 w 8971757"/>
                  <a:gd name="connsiteY52" fmla="*/ 2755106 h 4575969"/>
                  <a:gd name="connsiteX53" fmla="*/ 1435893 w 8971757"/>
                  <a:gd name="connsiteY53" fmla="*/ 2824162 h 4575969"/>
                  <a:gd name="connsiteX54" fmla="*/ 1638300 w 8971757"/>
                  <a:gd name="connsiteY54" fmla="*/ 2974181 h 4575969"/>
                  <a:gd name="connsiteX55" fmla="*/ 1671637 w 8971757"/>
                  <a:gd name="connsiteY55" fmla="*/ 3040856 h 4575969"/>
                  <a:gd name="connsiteX56" fmla="*/ 1838325 w 8971757"/>
                  <a:gd name="connsiteY56" fmla="*/ 3167062 h 4575969"/>
                  <a:gd name="connsiteX57" fmla="*/ 1909763 w 8971757"/>
                  <a:gd name="connsiteY57" fmla="*/ 3162300 h 4575969"/>
                  <a:gd name="connsiteX58" fmla="*/ 1945482 w 8971757"/>
                  <a:gd name="connsiteY58" fmla="*/ 3186112 h 4575969"/>
                  <a:gd name="connsiteX59" fmla="*/ 1916906 w 8971757"/>
                  <a:gd name="connsiteY59" fmla="*/ 3226594 h 4575969"/>
                  <a:gd name="connsiteX60" fmla="*/ 1924050 w 8971757"/>
                  <a:gd name="connsiteY60" fmla="*/ 3278981 h 4575969"/>
                  <a:gd name="connsiteX61" fmla="*/ 1976438 w 8971757"/>
                  <a:gd name="connsiteY61" fmla="*/ 3305175 h 4575969"/>
                  <a:gd name="connsiteX62" fmla="*/ 2038350 w 8971757"/>
                  <a:gd name="connsiteY62" fmla="*/ 3529013 h 4575969"/>
                  <a:gd name="connsiteX63" fmla="*/ 2028825 w 8971757"/>
                  <a:gd name="connsiteY63" fmla="*/ 3593306 h 4575969"/>
                  <a:gd name="connsiteX64" fmla="*/ 2164556 w 8971757"/>
                  <a:gd name="connsiteY64" fmla="*/ 3759994 h 4575969"/>
                  <a:gd name="connsiteX65" fmla="*/ 2183606 w 8971757"/>
                  <a:gd name="connsiteY65" fmla="*/ 3810000 h 4575969"/>
                  <a:gd name="connsiteX66" fmla="*/ 2157413 w 8971757"/>
                  <a:gd name="connsiteY66" fmla="*/ 3829050 h 4575969"/>
                  <a:gd name="connsiteX67" fmla="*/ 2259806 w 8971757"/>
                  <a:gd name="connsiteY67" fmla="*/ 3838575 h 4575969"/>
                  <a:gd name="connsiteX68" fmla="*/ 2371725 w 8971757"/>
                  <a:gd name="connsiteY68" fmla="*/ 3826669 h 4575969"/>
                  <a:gd name="connsiteX69" fmla="*/ 2650331 w 8971757"/>
                  <a:gd name="connsiteY69" fmla="*/ 3910012 h 4575969"/>
                  <a:gd name="connsiteX70" fmla="*/ 3057525 w 8971757"/>
                  <a:gd name="connsiteY70" fmla="*/ 3990975 h 4575969"/>
                  <a:gd name="connsiteX71" fmla="*/ 3255169 w 8971757"/>
                  <a:gd name="connsiteY71" fmla="*/ 3960018 h 4575969"/>
                  <a:gd name="connsiteX72" fmla="*/ 3300413 w 8971757"/>
                  <a:gd name="connsiteY72" fmla="*/ 3971924 h 4575969"/>
                  <a:gd name="connsiteX73" fmla="*/ 3355181 w 8971757"/>
                  <a:gd name="connsiteY73" fmla="*/ 3948113 h 4575969"/>
                  <a:gd name="connsiteX74" fmla="*/ 3748087 w 8971757"/>
                  <a:gd name="connsiteY74" fmla="*/ 4038600 h 4575969"/>
                  <a:gd name="connsiteX75" fmla="*/ 3831432 w 8971757"/>
                  <a:gd name="connsiteY75" fmla="*/ 4136231 h 4575969"/>
                  <a:gd name="connsiteX76" fmla="*/ 3950494 w 8971757"/>
                  <a:gd name="connsiteY76" fmla="*/ 4207669 h 4575969"/>
                  <a:gd name="connsiteX77" fmla="*/ 4010025 w 8971757"/>
                  <a:gd name="connsiteY77" fmla="*/ 4191000 h 4575969"/>
                  <a:gd name="connsiteX78" fmla="*/ 4360068 w 8971757"/>
                  <a:gd name="connsiteY78" fmla="*/ 4364831 h 4575969"/>
                  <a:gd name="connsiteX79" fmla="*/ 4586288 w 8971757"/>
                  <a:gd name="connsiteY79" fmla="*/ 4336256 h 4575969"/>
                  <a:gd name="connsiteX80" fmla="*/ 4595813 w 8971757"/>
                  <a:gd name="connsiteY80" fmla="*/ 4414837 h 4575969"/>
                  <a:gd name="connsiteX81" fmla="*/ 4681538 w 8971757"/>
                  <a:gd name="connsiteY81" fmla="*/ 4410074 h 4575969"/>
                  <a:gd name="connsiteX82" fmla="*/ 4760119 w 8971757"/>
                  <a:gd name="connsiteY82" fmla="*/ 4441031 h 4575969"/>
                  <a:gd name="connsiteX83" fmla="*/ 4802981 w 8971757"/>
                  <a:gd name="connsiteY83" fmla="*/ 4381500 h 4575969"/>
                  <a:gd name="connsiteX84" fmla="*/ 5474494 w 8971757"/>
                  <a:gd name="connsiteY84" fmla="*/ 4062412 h 4575969"/>
                  <a:gd name="connsiteX85" fmla="*/ 5562600 w 8971757"/>
                  <a:gd name="connsiteY85" fmla="*/ 4090988 h 4575969"/>
                  <a:gd name="connsiteX86" fmla="*/ 5693569 w 8971757"/>
                  <a:gd name="connsiteY86" fmla="*/ 4062412 h 4575969"/>
                  <a:gd name="connsiteX87" fmla="*/ 5872162 w 8971757"/>
                  <a:gd name="connsiteY87" fmla="*/ 4079081 h 4575969"/>
                  <a:gd name="connsiteX88" fmla="*/ 5929313 w 8971757"/>
                  <a:gd name="connsiteY88" fmla="*/ 4052888 h 4575969"/>
                  <a:gd name="connsiteX89" fmla="*/ 6062662 w 8971757"/>
                  <a:gd name="connsiteY89" fmla="*/ 4050506 h 4575969"/>
                  <a:gd name="connsiteX90" fmla="*/ 6196012 w 8971757"/>
                  <a:gd name="connsiteY90" fmla="*/ 3952875 h 4575969"/>
                  <a:gd name="connsiteX91" fmla="*/ 6262687 w 8971757"/>
                  <a:gd name="connsiteY91" fmla="*/ 3945731 h 4575969"/>
                  <a:gd name="connsiteX92" fmla="*/ 6360319 w 8971757"/>
                  <a:gd name="connsiteY92" fmla="*/ 3871912 h 4575969"/>
                  <a:gd name="connsiteX93" fmla="*/ 6434138 w 8971757"/>
                  <a:gd name="connsiteY93" fmla="*/ 3802856 h 4575969"/>
                  <a:gd name="connsiteX94" fmla="*/ 6443663 w 8971757"/>
                  <a:gd name="connsiteY94" fmla="*/ 3740944 h 4575969"/>
                  <a:gd name="connsiteX95" fmla="*/ 6477000 w 8971757"/>
                  <a:gd name="connsiteY95" fmla="*/ 3671887 h 4575969"/>
                  <a:gd name="connsiteX96" fmla="*/ 6629400 w 8971757"/>
                  <a:gd name="connsiteY96" fmla="*/ 3564731 h 4575969"/>
                  <a:gd name="connsiteX97" fmla="*/ 6662738 w 8971757"/>
                  <a:gd name="connsiteY97" fmla="*/ 3569494 h 4575969"/>
                  <a:gd name="connsiteX98" fmla="*/ 6715125 w 8971757"/>
                  <a:gd name="connsiteY98" fmla="*/ 3490912 h 4575969"/>
                  <a:gd name="connsiteX99" fmla="*/ 6762750 w 8971757"/>
                  <a:gd name="connsiteY99" fmla="*/ 3452812 h 4575969"/>
                  <a:gd name="connsiteX100" fmla="*/ 6748463 w 8971757"/>
                  <a:gd name="connsiteY100" fmla="*/ 3383756 h 4575969"/>
                  <a:gd name="connsiteX101" fmla="*/ 6698456 w 8971757"/>
                  <a:gd name="connsiteY101" fmla="*/ 3352799 h 4575969"/>
                  <a:gd name="connsiteX102" fmla="*/ 6638925 w 8971757"/>
                  <a:gd name="connsiteY102" fmla="*/ 3298031 h 4575969"/>
                  <a:gd name="connsiteX103" fmla="*/ 6619875 w 8971757"/>
                  <a:gd name="connsiteY103" fmla="*/ 3240881 h 4575969"/>
                  <a:gd name="connsiteX104" fmla="*/ 6584156 w 8971757"/>
                  <a:gd name="connsiteY104" fmla="*/ 3207544 h 4575969"/>
                  <a:gd name="connsiteX105" fmla="*/ 6610350 w 8971757"/>
                  <a:gd name="connsiteY105" fmla="*/ 3155156 h 4575969"/>
                  <a:gd name="connsiteX106" fmla="*/ 6650831 w 8971757"/>
                  <a:gd name="connsiteY106" fmla="*/ 2976562 h 4575969"/>
                  <a:gd name="connsiteX107" fmla="*/ 6691313 w 8971757"/>
                  <a:gd name="connsiteY107" fmla="*/ 2909887 h 4575969"/>
                  <a:gd name="connsiteX108" fmla="*/ 6836569 w 8971757"/>
                  <a:gd name="connsiteY108" fmla="*/ 2893218 h 4575969"/>
                  <a:gd name="connsiteX109" fmla="*/ 6905625 w 8971757"/>
                  <a:gd name="connsiteY109" fmla="*/ 2950369 h 4575969"/>
                  <a:gd name="connsiteX110" fmla="*/ 6981825 w 8971757"/>
                  <a:gd name="connsiteY110" fmla="*/ 2974181 h 4575969"/>
                  <a:gd name="connsiteX111" fmla="*/ 7186612 w 8971757"/>
                  <a:gd name="connsiteY111" fmla="*/ 2978944 h 4575969"/>
                  <a:gd name="connsiteX112" fmla="*/ 7362825 w 8971757"/>
                  <a:gd name="connsiteY112" fmla="*/ 2840831 h 4575969"/>
                  <a:gd name="connsiteX113" fmla="*/ 7419975 w 8971757"/>
                  <a:gd name="connsiteY113" fmla="*/ 2750343 h 4575969"/>
                  <a:gd name="connsiteX114" fmla="*/ 7446169 w 8971757"/>
                  <a:gd name="connsiteY114" fmla="*/ 2667000 h 4575969"/>
                  <a:gd name="connsiteX115" fmla="*/ 7577137 w 8971757"/>
                  <a:gd name="connsiteY115" fmla="*/ 2667000 h 4575969"/>
                  <a:gd name="connsiteX116" fmla="*/ 7750969 w 8971757"/>
                  <a:gd name="connsiteY116" fmla="*/ 2609849 h 4575969"/>
                  <a:gd name="connsiteX117" fmla="*/ 7810500 w 8971757"/>
                  <a:gd name="connsiteY117" fmla="*/ 2497931 h 4575969"/>
                  <a:gd name="connsiteX118" fmla="*/ 7874794 w 8971757"/>
                  <a:gd name="connsiteY118" fmla="*/ 2462212 h 4575969"/>
                  <a:gd name="connsiteX119" fmla="*/ 7853363 w 8971757"/>
                  <a:gd name="connsiteY119" fmla="*/ 2416969 h 4575969"/>
                  <a:gd name="connsiteX120" fmla="*/ 7931944 w 8971757"/>
                  <a:gd name="connsiteY120" fmla="*/ 2247899 h 4575969"/>
                  <a:gd name="connsiteX121" fmla="*/ 7986713 w 8971757"/>
                  <a:gd name="connsiteY121" fmla="*/ 2188369 h 4575969"/>
                  <a:gd name="connsiteX122" fmla="*/ 8024813 w 8971757"/>
                  <a:gd name="connsiteY122" fmla="*/ 2183606 h 4575969"/>
                  <a:gd name="connsiteX123" fmla="*/ 8070056 w 8971757"/>
                  <a:gd name="connsiteY123" fmla="*/ 2188369 h 4575969"/>
                  <a:gd name="connsiteX124" fmla="*/ 8134350 w 8971757"/>
                  <a:gd name="connsiteY124" fmla="*/ 2155031 h 4575969"/>
                  <a:gd name="connsiteX125" fmla="*/ 8143875 w 8971757"/>
                  <a:gd name="connsiteY125" fmla="*/ 2090737 h 4575969"/>
                  <a:gd name="connsiteX126" fmla="*/ 8184355 w 8971757"/>
                  <a:gd name="connsiteY126" fmla="*/ 2055019 h 4575969"/>
                  <a:gd name="connsiteX127" fmla="*/ 8243888 w 8971757"/>
                  <a:gd name="connsiteY127" fmla="*/ 2095499 h 4575969"/>
                  <a:gd name="connsiteX128" fmla="*/ 8270082 w 8971757"/>
                  <a:gd name="connsiteY128" fmla="*/ 2045493 h 4575969"/>
                  <a:gd name="connsiteX129" fmla="*/ 8365331 w 8971757"/>
                  <a:gd name="connsiteY129" fmla="*/ 1976437 h 4575969"/>
                  <a:gd name="connsiteX130" fmla="*/ 8427244 w 8971757"/>
                  <a:gd name="connsiteY130" fmla="*/ 1983581 h 4575969"/>
                  <a:gd name="connsiteX131" fmla="*/ 8477250 w 8971757"/>
                  <a:gd name="connsiteY131" fmla="*/ 1964531 h 4575969"/>
                  <a:gd name="connsiteX132" fmla="*/ 8515350 w 8971757"/>
                  <a:gd name="connsiteY132" fmla="*/ 1935956 h 4575969"/>
                  <a:gd name="connsiteX133" fmla="*/ 8548688 w 8971757"/>
                  <a:gd name="connsiteY133" fmla="*/ 1933575 h 4575969"/>
                  <a:gd name="connsiteX134" fmla="*/ 8584406 w 8971757"/>
                  <a:gd name="connsiteY134" fmla="*/ 1964531 h 4575969"/>
                  <a:gd name="connsiteX135" fmla="*/ 8643938 w 8971757"/>
                  <a:gd name="connsiteY135" fmla="*/ 1964531 h 4575969"/>
                  <a:gd name="connsiteX136" fmla="*/ 8682037 w 8971757"/>
                  <a:gd name="connsiteY136" fmla="*/ 1945481 h 4575969"/>
                  <a:gd name="connsiteX137" fmla="*/ 8765381 w 8971757"/>
                  <a:gd name="connsiteY137" fmla="*/ 1947863 h 4575969"/>
                  <a:gd name="connsiteX138" fmla="*/ 8796338 w 8971757"/>
                  <a:gd name="connsiteY138" fmla="*/ 1902619 h 4575969"/>
                  <a:gd name="connsiteX139" fmla="*/ 8801100 w 8971757"/>
                  <a:gd name="connsiteY139" fmla="*/ 1840706 h 4575969"/>
                  <a:gd name="connsiteX140" fmla="*/ 8751093 w 8971757"/>
                  <a:gd name="connsiteY140" fmla="*/ 1800225 h 4575969"/>
                  <a:gd name="connsiteX141" fmla="*/ 8734425 w 8971757"/>
                  <a:gd name="connsiteY141" fmla="*/ 1745456 h 4575969"/>
                  <a:gd name="connsiteX142" fmla="*/ 8643938 w 8971757"/>
                  <a:gd name="connsiteY142" fmla="*/ 1683544 h 4575969"/>
                  <a:gd name="connsiteX143" fmla="*/ 8603456 w 8971757"/>
                  <a:gd name="connsiteY143" fmla="*/ 1662112 h 4575969"/>
                  <a:gd name="connsiteX144" fmla="*/ 8565356 w 8971757"/>
                  <a:gd name="connsiteY144" fmla="*/ 1616869 h 4575969"/>
                  <a:gd name="connsiteX145" fmla="*/ 8534400 w 8971757"/>
                  <a:gd name="connsiteY145" fmla="*/ 1614487 h 4575969"/>
                  <a:gd name="connsiteX146" fmla="*/ 8517731 w 8971757"/>
                  <a:gd name="connsiteY146" fmla="*/ 1562100 h 4575969"/>
                  <a:gd name="connsiteX147" fmla="*/ 8477250 w 8971757"/>
                  <a:gd name="connsiteY147" fmla="*/ 1545431 h 4575969"/>
                  <a:gd name="connsiteX148" fmla="*/ 8477250 w 8971757"/>
                  <a:gd name="connsiteY148" fmla="*/ 1545431 h 4575969"/>
                  <a:gd name="connsiteX149" fmla="*/ 8436769 w 8971757"/>
                  <a:gd name="connsiteY149" fmla="*/ 1550194 h 4575969"/>
                  <a:gd name="connsiteX150" fmla="*/ 8351043 w 8971757"/>
                  <a:gd name="connsiteY150" fmla="*/ 1476375 h 4575969"/>
                  <a:gd name="connsiteX151" fmla="*/ 8170069 w 8971757"/>
                  <a:gd name="connsiteY151" fmla="*/ 1476374 h 4575969"/>
                  <a:gd name="connsiteX152" fmla="*/ 8117681 w 8971757"/>
                  <a:gd name="connsiteY152" fmla="*/ 1514475 h 4575969"/>
                  <a:gd name="connsiteX153" fmla="*/ 8067675 w 8971757"/>
                  <a:gd name="connsiteY153" fmla="*/ 1593056 h 4575969"/>
                  <a:gd name="connsiteX154" fmla="*/ 8084344 w 8971757"/>
                  <a:gd name="connsiteY154" fmla="*/ 1614487 h 4575969"/>
                  <a:gd name="connsiteX155" fmla="*/ 8039100 w 8971757"/>
                  <a:gd name="connsiteY155" fmla="*/ 1664493 h 4575969"/>
                  <a:gd name="connsiteX156" fmla="*/ 7889081 w 8971757"/>
                  <a:gd name="connsiteY156" fmla="*/ 1588293 h 4575969"/>
                  <a:gd name="connsiteX157" fmla="*/ 7798594 w 8971757"/>
                  <a:gd name="connsiteY157" fmla="*/ 1624012 h 4575969"/>
                  <a:gd name="connsiteX158" fmla="*/ 7724775 w 8971757"/>
                  <a:gd name="connsiteY158" fmla="*/ 1621631 h 4575969"/>
                  <a:gd name="connsiteX159" fmla="*/ 7667625 w 8971757"/>
                  <a:gd name="connsiteY159" fmla="*/ 1716881 h 4575969"/>
                  <a:gd name="connsiteX160" fmla="*/ 7529513 w 8971757"/>
                  <a:gd name="connsiteY16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8412956 w 8971757"/>
                  <a:gd name="connsiteY8" fmla="*/ 23812 h 4575969"/>
                  <a:gd name="connsiteX9" fmla="*/ 8949531 w 8971757"/>
                  <a:gd name="connsiteY9" fmla="*/ 0 h 4575969"/>
                  <a:gd name="connsiteX10" fmla="*/ 8971757 w 8971757"/>
                  <a:gd name="connsiteY10" fmla="*/ 4575969 h 4575969"/>
                  <a:gd name="connsiteX11" fmla="*/ 2381 w 8971757"/>
                  <a:gd name="connsiteY11" fmla="*/ 4547392 h 4575969"/>
                  <a:gd name="connsiteX12" fmla="*/ 0 w 8971757"/>
                  <a:gd name="connsiteY12" fmla="*/ 845344 h 4575969"/>
                  <a:gd name="connsiteX13" fmla="*/ 76200 w 8971757"/>
                  <a:gd name="connsiteY13" fmla="*/ 828675 h 4575969"/>
                  <a:gd name="connsiteX14" fmla="*/ 119063 w 8971757"/>
                  <a:gd name="connsiteY14" fmla="*/ 857250 h 4575969"/>
                  <a:gd name="connsiteX15" fmla="*/ 215900 w 8971757"/>
                  <a:gd name="connsiteY15" fmla="*/ 848519 h 4575969"/>
                  <a:gd name="connsiteX16" fmla="*/ 261938 w 8971757"/>
                  <a:gd name="connsiteY16" fmla="*/ 876299 h 4575969"/>
                  <a:gd name="connsiteX17" fmla="*/ 228600 w 8971757"/>
                  <a:gd name="connsiteY17" fmla="*/ 904875 h 4575969"/>
                  <a:gd name="connsiteX18" fmla="*/ 233363 w 8971757"/>
                  <a:gd name="connsiteY18" fmla="*/ 947737 h 4575969"/>
                  <a:gd name="connsiteX19" fmla="*/ 200025 w 8971757"/>
                  <a:gd name="connsiteY19" fmla="*/ 952500 h 4575969"/>
                  <a:gd name="connsiteX20" fmla="*/ 204788 w 8971757"/>
                  <a:gd name="connsiteY20" fmla="*/ 976312 h 4575969"/>
                  <a:gd name="connsiteX21" fmla="*/ 261937 w 8971757"/>
                  <a:gd name="connsiteY21" fmla="*/ 1050131 h 4575969"/>
                  <a:gd name="connsiteX22" fmla="*/ 223838 w 8971757"/>
                  <a:gd name="connsiteY22" fmla="*/ 1097756 h 4575969"/>
                  <a:gd name="connsiteX23" fmla="*/ 278606 w 8971757"/>
                  <a:gd name="connsiteY23" fmla="*/ 1133475 h 4575969"/>
                  <a:gd name="connsiteX24" fmla="*/ 369094 w 8971757"/>
                  <a:gd name="connsiteY24" fmla="*/ 1221581 h 4575969"/>
                  <a:gd name="connsiteX25" fmla="*/ 371475 w 8971757"/>
                  <a:gd name="connsiteY25" fmla="*/ 1281112 h 4575969"/>
                  <a:gd name="connsiteX26" fmla="*/ 507206 w 8971757"/>
                  <a:gd name="connsiteY26" fmla="*/ 1414463 h 4575969"/>
                  <a:gd name="connsiteX27" fmla="*/ 561975 w 8971757"/>
                  <a:gd name="connsiteY27" fmla="*/ 1390650 h 4575969"/>
                  <a:gd name="connsiteX28" fmla="*/ 600075 w 8971757"/>
                  <a:gd name="connsiteY28" fmla="*/ 1416843 h 4575969"/>
                  <a:gd name="connsiteX29" fmla="*/ 614363 w 8971757"/>
                  <a:gd name="connsiteY29" fmla="*/ 1466849 h 4575969"/>
                  <a:gd name="connsiteX30" fmla="*/ 657225 w 8971757"/>
                  <a:gd name="connsiteY30" fmla="*/ 1502569 h 4575969"/>
                  <a:gd name="connsiteX31" fmla="*/ 697706 w 8971757"/>
                  <a:gd name="connsiteY31" fmla="*/ 1490662 h 4575969"/>
                  <a:gd name="connsiteX32" fmla="*/ 716756 w 8971757"/>
                  <a:gd name="connsiteY32" fmla="*/ 1547812 h 4575969"/>
                  <a:gd name="connsiteX33" fmla="*/ 764381 w 8971757"/>
                  <a:gd name="connsiteY33" fmla="*/ 1590675 h 4575969"/>
                  <a:gd name="connsiteX34" fmla="*/ 788194 w 8971757"/>
                  <a:gd name="connsiteY34" fmla="*/ 1693069 h 4575969"/>
                  <a:gd name="connsiteX35" fmla="*/ 785813 w 8971757"/>
                  <a:gd name="connsiteY35" fmla="*/ 1740694 h 4575969"/>
                  <a:gd name="connsiteX36" fmla="*/ 821531 w 8971757"/>
                  <a:gd name="connsiteY36" fmla="*/ 1840706 h 4575969"/>
                  <a:gd name="connsiteX37" fmla="*/ 866775 w 8971757"/>
                  <a:gd name="connsiteY37" fmla="*/ 1897856 h 4575969"/>
                  <a:gd name="connsiteX38" fmla="*/ 883443 w 8971757"/>
                  <a:gd name="connsiteY38" fmla="*/ 2055018 h 4575969"/>
                  <a:gd name="connsiteX39" fmla="*/ 850106 w 8971757"/>
                  <a:gd name="connsiteY39" fmla="*/ 2116931 h 4575969"/>
                  <a:gd name="connsiteX40" fmla="*/ 819150 w 8971757"/>
                  <a:gd name="connsiteY40" fmla="*/ 2193131 h 4575969"/>
                  <a:gd name="connsiteX41" fmla="*/ 833438 w 8971757"/>
                  <a:gd name="connsiteY41" fmla="*/ 2250281 h 4575969"/>
                  <a:gd name="connsiteX42" fmla="*/ 735806 w 8971757"/>
                  <a:gd name="connsiteY42" fmla="*/ 2357438 h 4575969"/>
                  <a:gd name="connsiteX43" fmla="*/ 692944 w 8971757"/>
                  <a:gd name="connsiteY43" fmla="*/ 2471737 h 4575969"/>
                  <a:gd name="connsiteX44" fmla="*/ 726281 w 8971757"/>
                  <a:gd name="connsiteY44" fmla="*/ 2512219 h 4575969"/>
                  <a:gd name="connsiteX45" fmla="*/ 709613 w 8971757"/>
                  <a:gd name="connsiteY45" fmla="*/ 2540794 h 4575969"/>
                  <a:gd name="connsiteX46" fmla="*/ 740569 w 8971757"/>
                  <a:gd name="connsiteY46" fmla="*/ 2597944 h 4575969"/>
                  <a:gd name="connsiteX47" fmla="*/ 769144 w 8971757"/>
                  <a:gd name="connsiteY47" fmla="*/ 2597944 h 4575969"/>
                  <a:gd name="connsiteX48" fmla="*/ 931069 w 8971757"/>
                  <a:gd name="connsiteY48" fmla="*/ 2700337 h 4575969"/>
                  <a:gd name="connsiteX49" fmla="*/ 1035844 w 8971757"/>
                  <a:gd name="connsiteY49" fmla="*/ 2697956 h 4575969"/>
                  <a:gd name="connsiteX50" fmla="*/ 1114425 w 8971757"/>
                  <a:gd name="connsiteY50" fmla="*/ 2752725 h 4575969"/>
                  <a:gd name="connsiteX51" fmla="*/ 1245393 w 8971757"/>
                  <a:gd name="connsiteY51" fmla="*/ 2755106 h 4575969"/>
                  <a:gd name="connsiteX52" fmla="*/ 1435893 w 8971757"/>
                  <a:gd name="connsiteY52" fmla="*/ 2824162 h 4575969"/>
                  <a:gd name="connsiteX53" fmla="*/ 1638300 w 8971757"/>
                  <a:gd name="connsiteY53" fmla="*/ 2974181 h 4575969"/>
                  <a:gd name="connsiteX54" fmla="*/ 1671637 w 8971757"/>
                  <a:gd name="connsiteY54" fmla="*/ 3040856 h 4575969"/>
                  <a:gd name="connsiteX55" fmla="*/ 1838325 w 8971757"/>
                  <a:gd name="connsiteY55" fmla="*/ 3167062 h 4575969"/>
                  <a:gd name="connsiteX56" fmla="*/ 1909763 w 8971757"/>
                  <a:gd name="connsiteY56" fmla="*/ 3162300 h 4575969"/>
                  <a:gd name="connsiteX57" fmla="*/ 1945482 w 8971757"/>
                  <a:gd name="connsiteY57" fmla="*/ 3186112 h 4575969"/>
                  <a:gd name="connsiteX58" fmla="*/ 1916906 w 8971757"/>
                  <a:gd name="connsiteY58" fmla="*/ 3226594 h 4575969"/>
                  <a:gd name="connsiteX59" fmla="*/ 1924050 w 8971757"/>
                  <a:gd name="connsiteY59" fmla="*/ 3278981 h 4575969"/>
                  <a:gd name="connsiteX60" fmla="*/ 1976438 w 8971757"/>
                  <a:gd name="connsiteY60" fmla="*/ 3305175 h 4575969"/>
                  <a:gd name="connsiteX61" fmla="*/ 2038350 w 8971757"/>
                  <a:gd name="connsiteY61" fmla="*/ 3529013 h 4575969"/>
                  <a:gd name="connsiteX62" fmla="*/ 2028825 w 8971757"/>
                  <a:gd name="connsiteY62" fmla="*/ 3593306 h 4575969"/>
                  <a:gd name="connsiteX63" fmla="*/ 2164556 w 8971757"/>
                  <a:gd name="connsiteY63" fmla="*/ 3759994 h 4575969"/>
                  <a:gd name="connsiteX64" fmla="*/ 2183606 w 8971757"/>
                  <a:gd name="connsiteY64" fmla="*/ 3810000 h 4575969"/>
                  <a:gd name="connsiteX65" fmla="*/ 2157413 w 8971757"/>
                  <a:gd name="connsiteY65" fmla="*/ 3829050 h 4575969"/>
                  <a:gd name="connsiteX66" fmla="*/ 2259806 w 8971757"/>
                  <a:gd name="connsiteY66" fmla="*/ 3838575 h 4575969"/>
                  <a:gd name="connsiteX67" fmla="*/ 2371725 w 8971757"/>
                  <a:gd name="connsiteY67" fmla="*/ 3826669 h 4575969"/>
                  <a:gd name="connsiteX68" fmla="*/ 2650331 w 8971757"/>
                  <a:gd name="connsiteY68" fmla="*/ 3910012 h 4575969"/>
                  <a:gd name="connsiteX69" fmla="*/ 3057525 w 8971757"/>
                  <a:gd name="connsiteY69" fmla="*/ 3990975 h 4575969"/>
                  <a:gd name="connsiteX70" fmla="*/ 3255169 w 8971757"/>
                  <a:gd name="connsiteY70" fmla="*/ 3960018 h 4575969"/>
                  <a:gd name="connsiteX71" fmla="*/ 3300413 w 8971757"/>
                  <a:gd name="connsiteY71" fmla="*/ 3971924 h 4575969"/>
                  <a:gd name="connsiteX72" fmla="*/ 3355181 w 8971757"/>
                  <a:gd name="connsiteY72" fmla="*/ 3948113 h 4575969"/>
                  <a:gd name="connsiteX73" fmla="*/ 3748087 w 8971757"/>
                  <a:gd name="connsiteY73" fmla="*/ 4038600 h 4575969"/>
                  <a:gd name="connsiteX74" fmla="*/ 3831432 w 8971757"/>
                  <a:gd name="connsiteY74" fmla="*/ 4136231 h 4575969"/>
                  <a:gd name="connsiteX75" fmla="*/ 3950494 w 8971757"/>
                  <a:gd name="connsiteY75" fmla="*/ 4207669 h 4575969"/>
                  <a:gd name="connsiteX76" fmla="*/ 4010025 w 8971757"/>
                  <a:gd name="connsiteY76" fmla="*/ 4191000 h 4575969"/>
                  <a:gd name="connsiteX77" fmla="*/ 4360068 w 8971757"/>
                  <a:gd name="connsiteY77" fmla="*/ 4364831 h 4575969"/>
                  <a:gd name="connsiteX78" fmla="*/ 4586288 w 8971757"/>
                  <a:gd name="connsiteY78" fmla="*/ 4336256 h 4575969"/>
                  <a:gd name="connsiteX79" fmla="*/ 4595813 w 8971757"/>
                  <a:gd name="connsiteY79" fmla="*/ 4414837 h 4575969"/>
                  <a:gd name="connsiteX80" fmla="*/ 4681538 w 8971757"/>
                  <a:gd name="connsiteY80" fmla="*/ 4410074 h 4575969"/>
                  <a:gd name="connsiteX81" fmla="*/ 4760119 w 8971757"/>
                  <a:gd name="connsiteY81" fmla="*/ 4441031 h 4575969"/>
                  <a:gd name="connsiteX82" fmla="*/ 4802981 w 8971757"/>
                  <a:gd name="connsiteY82" fmla="*/ 4381500 h 4575969"/>
                  <a:gd name="connsiteX83" fmla="*/ 5474494 w 8971757"/>
                  <a:gd name="connsiteY83" fmla="*/ 4062412 h 4575969"/>
                  <a:gd name="connsiteX84" fmla="*/ 5562600 w 8971757"/>
                  <a:gd name="connsiteY84" fmla="*/ 4090988 h 4575969"/>
                  <a:gd name="connsiteX85" fmla="*/ 5693569 w 8971757"/>
                  <a:gd name="connsiteY85" fmla="*/ 4062412 h 4575969"/>
                  <a:gd name="connsiteX86" fmla="*/ 5872162 w 8971757"/>
                  <a:gd name="connsiteY86" fmla="*/ 4079081 h 4575969"/>
                  <a:gd name="connsiteX87" fmla="*/ 5929313 w 8971757"/>
                  <a:gd name="connsiteY87" fmla="*/ 4052888 h 4575969"/>
                  <a:gd name="connsiteX88" fmla="*/ 6062662 w 8971757"/>
                  <a:gd name="connsiteY88" fmla="*/ 4050506 h 4575969"/>
                  <a:gd name="connsiteX89" fmla="*/ 6196012 w 8971757"/>
                  <a:gd name="connsiteY89" fmla="*/ 3952875 h 4575969"/>
                  <a:gd name="connsiteX90" fmla="*/ 6262687 w 8971757"/>
                  <a:gd name="connsiteY90" fmla="*/ 3945731 h 4575969"/>
                  <a:gd name="connsiteX91" fmla="*/ 6360319 w 8971757"/>
                  <a:gd name="connsiteY91" fmla="*/ 3871912 h 4575969"/>
                  <a:gd name="connsiteX92" fmla="*/ 6434138 w 8971757"/>
                  <a:gd name="connsiteY92" fmla="*/ 3802856 h 4575969"/>
                  <a:gd name="connsiteX93" fmla="*/ 6443663 w 8971757"/>
                  <a:gd name="connsiteY93" fmla="*/ 3740944 h 4575969"/>
                  <a:gd name="connsiteX94" fmla="*/ 6477000 w 8971757"/>
                  <a:gd name="connsiteY94" fmla="*/ 3671887 h 4575969"/>
                  <a:gd name="connsiteX95" fmla="*/ 6629400 w 8971757"/>
                  <a:gd name="connsiteY95" fmla="*/ 3564731 h 4575969"/>
                  <a:gd name="connsiteX96" fmla="*/ 6662738 w 8971757"/>
                  <a:gd name="connsiteY96" fmla="*/ 3569494 h 4575969"/>
                  <a:gd name="connsiteX97" fmla="*/ 6715125 w 8971757"/>
                  <a:gd name="connsiteY97" fmla="*/ 3490912 h 4575969"/>
                  <a:gd name="connsiteX98" fmla="*/ 6762750 w 8971757"/>
                  <a:gd name="connsiteY98" fmla="*/ 3452812 h 4575969"/>
                  <a:gd name="connsiteX99" fmla="*/ 6748463 w 8971757"/>
                  <a:gd name="connsiteY99" fmla="*/ 3383756 h 4575969"/>
                  <a:gd name="connsiteX100" fmla="*/ 6698456 w 8971757"/>
                  <a:gd name="connsiteY100" fmla="*/ 3352799 h 4575969"/>
                  <a:gd name="connsiteX101" fmla="*/ 6638925 w 8971757"/>
                  <a:gd name="connsiteY101" fmla="*/ 3298031 h 4575969"/>
                  <a:gd name="connsiteX102" fmla="*/ 6619875 w 8971757"/>
                  <a:gd name="connsiteY102" fmla="*/ 3240881 h 4575969"/>
                  <a:gd name="connsiteX103" fmla="*/ 6584156 w 8971757"/>
                  <a:gd name="connsiteY103" fmla="*/ 3207544 h 4575969"/>
                  <a:gd name="connsiteX104" fmla="*/ 6610350 w 8971757"/>
                  <a:gd name="connsiteY104" fmla="*/ 3155156 h 4575969"/>
                  <a:gd name="connsiteX105" fmla="*/ 6650831 w 8971757"/>
                  <a:gd name="connsiteY105" fmla="*/ 2976562 h 4575969"/>
                  <a:gd name="connsiteX106" fmla="*/ 6691313 w 8971757"/>
                  <a:gd name="connsiteY106" fmla="*/ 2909887 h 4575969"/>
                  <a:gd name="connsiteX107" fmla="*/ 6836569 w 8971757"/>
                  <a:gd name="connsiteY107" fmla="*/ 2893218 h 4575969"/>
                  <a:gd name="connsiteX108" fmla="*/ 6905625 w 8971757"/>
                  <a:gd name="connsiteY108" fmla="*/ 2950369 h 4575969"/>
                  <a:gd name="connsiteX109" fmla="*/ 6981825 w 8971757"/>
                  <a:gd name="connsiteY109" fmla="*/ 2974181 h 4575969"/>
                  <a:gd name="connsiteX110" fmla="*/ 7186612 w 8971757"/>
                  <a:gd name="connsiteY110" fmla="*/ 2978944 h 4575969"/>
                  <a:gd name="connsiteX111" fmla="*/ 7362825 w 8971757"/>
                  <a:gd name="connsiteY111" fmla="*/ 2840831 h 4575969"/>
                  <a:gd name="connsiteX112" fmla="*/ 7419975 w 8971757"/>
                  <a:gd name="connsiteY112" fmla="*/ 2750343 h 4575969"/>
                  <a:gd name="connsiteX113" fmla="*/ 7446169 w 8971757"/>
                  <a:gd name="connsiteY113" fmla="*/ 2667000 h 4575969"/>
                  <a:gd name="connsiteX114" fmla="*/ 7577137 w 8971757"/>
                  <a:gd name="connsiteY114" fmla="*/ 2667000 h 4575969"/>
                  <a:gd name="connsiteX115" fmla="*/ 7750969 w 8971757"/>
                  <a:gd name="connsiteY115" fmla="*/ 2609849 h 4575969"/>
                  <a:gd name="connsiteX116" fmla="*/ 7810500 w 8971757"/>
                  <a:gd name="connsiteY116" fmla="*/ 2497931 h 4575969"/>
                  <a:gd name="connsiteX117" fmla="*/ 7874794 w 8971757"/>
                  <a:gd name="connsiteY117" fmla="*/ 2462212 h 4575969"/>
                  <a:gd name="connsiteX118" fmla="*/ 7853363 w 8971757"/>
                  <a:gd name="connsiteY118" fmla="*/ 2416969 h 4575969"/>
                  <a:gd name="connsiteX119" fmla="*/ 7931944 w 8971757"/>
                  <a:gd name="connsiteY119" fmla="*/ 2247899 h 4575969"/>
                  <a:gd name="connsiteX120" fmla="*/ 7986713 w 8971757"/>
                  <a:gd name="connsiteY120" fmla="*/ 2188369 h 4575969"/>
                  <a:gd name="connsiteX121" fmla="*/ 8024813 w 8971757"/>
                  <a:gd name="connsiteY121" fmla="*/ 2183606 h 4575969"/>
                  <a:gd name="connsiteX122" fmla="*/ 8070056 w 8971757"/>
                  <a:gd name="connsiteY122" fmla="*/ 2188369 h 4575969"/>
                  <a:gd name="connsiteX123" fmla="*/ 8134350 w 8971757"/>
                  <a:gd name="connsiteY123" fmla="*/ 2155031 h 4575969"/>
                  <a:gd name="connsiteX124" fmla="*/ 8143875 w 8971757"/>
                  <a:gd name="connsiteY124" fmla="*/ 2090737 h 4575969"/>
                  <a:gd name="connsiteX125" fmla="*/ 8184355 w 8971757"/>
                  <a:gd name="connsiteY125" fmla="*/ 2055019 h 4575969"/>
                  <a:gd name="connsiteX126" fmla="*/ 8243888 w 8971757"/>
                  <a:gd name="connsiteY126" fmla="*/ 2095499 h 4575969"/>
                  <a:gd name="connsiteX127" fmla="*/ 8270082 w 8971757"/>
                  <a:gd name="connsiteY127" fmla="*/ 2045493 h 4575969"/>
                  <a:gd name="connsiteX128" fmla="*/ 8365331 w 8971757"/>
                  <a:gd name="connsiteY128" fmla="*/ 1976437 h 4575969"/>
                  <a:gd name="connsiteX129" fmla="*/ 8427244 w 8971757"/>
                  <a:gd name="connsiteY129" fmla="*/ 1983581 h 4575969"/>
                  <a:gd name="connsiteX130" fmla="*/ 8477250 w 8971757"/>
                  <a:gd name="connsiteY130" fmla="*/ 1964531 h 4575969"/>
                  <a:gd name="connsiteX131" fmla="*/ 8515350 w 8971757"/>
                  <a:gd name="connsiteY131" fmla="*/ 1935956 h 4575969"/>
                  <a:gd name="connsiteX132" fmla="*/ 8548688 w 8971757"/>
                  <a:gd name="connsiteY132" fmla="*/ 1933575 h 4575969"/>
                  <a:gd name="connsiteX133" fmla="*/ 8584406 w 8971757"/>
                  <a:gd name="connsiteY133" fmla="*/ 1964531 h 4575969"/>
                  <a:gd name="connsiteX134" fmla="*/ 8643938 w 8971757"/>
                  <a:gd name="connsiteY134" fmla="*/ 1964531 h 4575969"/>
                  <a:gd name="connsiteX135" fmla="*/ 8682037 w 8971757"/>
                  <a:gd name="connsiteY135" fmla="*/ 1945481 h 4575969"/>
                  <a:gd name="connsiteX136" fmla="*/ 8765381 w 8971757"/>
                  <a:gd name="connsiteY136" fmla="*/ 1947863 h 4575969"/>
                  <a:gd name="connsiteX137" fmla="*/ 8796338 w 8971757"/>
                  <a:gd name="connsiteY137" fmla="*/ 1902619 h 4575969"/>
                  <a:gd name="connsiteX138" fmla="*/ 8801100 w 8971757"/>
                  <a:gd name="connsiteY138" fmla="*/ 1840706 h 4575969"/>
                  <a:gd name="connsiteX139" fmla="*/ 8751093 w 8971757"/>
                  <a:gd name="connsiteY139" fmla="*/ 1800225 h 4575969"/>
                  <a:gd name="connsiteX140" fmla="*/ 8734425 w 8971757"/>
                  <a:gd name="connsiteY140" fmla="*/ 1745456 h 4575969"/>
                  <a:gd name="connsiteX141" fmla="*/ 8643938 w 8971757"/>
                  <a:gd name="connsiteY141" fmla="*/ 1683544 h 4575969"/>
                  <a:gd name="connsiteX142" fmla="*/ 8603456 w 8971757"/>
                  <a:gd name="connsiteY142" fmla="*/ 1662112 h 4575969"/>
                  <a:gd name="connsiteX143" fmla="*/ 8565356 w 8971757"/>
                  <a:gd name="connsiteY143" fmla="*/ 1616869 h 4575969"/>
                  <a:gd name="connsiteX144" fmla="*/ 8534400 w 8971757"/>
                  <a:gd name="connsiteY144" fmla="*/ 1614487 h 4575969"/>
                  <a:gd name="connsiteX145" fmla="*/ 8517731 w 8971757"/>
                  <a:gd name="connsiteY145" fmla="*/ 1562100 h 4575969"/>
                  <a:gd name="connsiteX146" fmla="*/ 8477250 w 8971757"/>
                  <a:gd name="connsiteY146" fmla="*/ 1545431 h 4575969"/>
                  <a:gd name="connsiteX147" fmla="*/ 8477250 w 8971757"/>
                  <a:gd name="connsiteY147" fmla="*/ 1545431 h 4575969"/>
                  <a:gd name="connsiteX148" fmla="*/ 8436769 w 8971757"/>
                  <a:gd name="connsiteY148" fmla="*/ 1550194 h 4575969"/>
                  <a:gd name="connsiteX149" fmla="*/ 8351043 w 8971757"/>
                  <a:gd name="connsiteY149" fmla="*/ 1476375 h 4575969"/>
                  <a:gd name="connsiteX150" fmla="*/ 8170069 w 8971757"/>
                  <a:gd name="connsiteY150" fmla="*/ 1476374 h 4575969"/>
                  <a:gd name="connsiteX151" fmla="*/ 8117681 w 8971757"/>
                  <a:gd name="connsiteY151" fmla="*/ 1514475 h 4575969"/>
                  <a:gd name="connsiteX152" fmla="*/ 8067675 w 8971757"/>
                  <a:gd name="connsiteY152" fmla="*/ 1593056 h 4575969"/>
                  <a:gd name="connsiteX153" fmla="*/ 8084344 w 8971757"/>
                  <a:gd name="connsiteY153" fmla="*/ 1614487 h 4575969"/>
                  <a:gd name="connsiteX154" fmla="*/ 8039100 w 8971757"/>
                  <a:gd name="connsiteY154" fmla="*/ 1664493 h 4575969"/>
                  <a:gd name="connsiteX155" fmla="*/ 7889081 w 8971757"/>
                  <a:gd name="connsiteY155" fmla="*/ 1588293 h 4575969"/>
                  <a:gd name="connsiteX156" fmla="*/ 7798594 w 8971757"/>
                  <a:gd name="connsiteY156" fmla="*/ 1624012 h 4575969"/>
                  <a:gd name="connsiteX157" fmla="*/ 7724775 w 8971757"/>
                  <a:gd name="connsiteY157" fmla="*/ 1621631 h 4575969"/>
                  <a:gd name="connsiteX158" fmla="*/ 7667625 w 8971757"/>
                  <a:gd name="connsiteY158" fmla="*/ 1716881 h 4575969"/>
                  <a:gd name="connsiteX159" fmla="*/ 7529513 w 8971757"/>
                  <a:gd name="connsiteY15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8117756 w 8971757"/>
                  <a:gd name="connsiteY8" fmla="*/ 971175 h 4575969"/>
                  <a:gd name="connsiteX9" fmla="*/ 8412956 w 8971757"/>
                  <a:gd name="connsiteY9" fmla="*/ 23812 h 4575969"/>
                  <a:gd name="connsiteX10" fmla="*/ 8949531 w 8971757"/>
                  <a:gd name="connsiteY10" fmla="*/ 0 h 4575969"/>
                  <a:gd name="connsiteX11" fmla="*/ 8971757 w 8971757"/>
                  <a:gd name="connsiteY11" fmla="*/ 4575969 h 4575969"/>
                  <a:gd name="connsiteX12" fmla="*/ 2381 w 8971757"/>
                  <a:gd name="connsiteY12" fmla="*/ 4547392 h 4575969"/>
                  <a:gd name="connsiteX13" fmla="*/ 0 w 8971757"/>
                  <a:gd name="connsiteY13" fmla="*/ 845344 h 4575969"/>
                  <a:gd name="connsiteX14" fmla="*/ 76200 w 8971757"/>
                  <a:gd name="connsiteY14" fmla="*/ 828675 h 4575969"/>
                  <a:gd name="connsiteX15" fmla="*/ 119063 w 8971757"/>
                  <a:gd name="connsiteY15" fmla="*/ 857250 h 4575969"/>
                  <a:gd name="connsiteX16" fmla="*/ 215900 w 8971757"/>
                  <a:gd name="connsiteY16" fmla="*/ 848519 h 4575969"/>
                  <a:gd name="connsiteX17" fmla="*/ 261938 w 8971757"/>
                  <a:gd name="connsiteY17" fmla="*/ 876299 h 4575969"/>
                  <a:gd name="connsiteX18" fmla="*/ 228600 w 8971757"/>
                  <a:gd name="connsiteY18" fmla="*/ 904875 h 4575969"/>
                  <a:gd name="connsiteX19" fmla="*/ 233363 w 8971757"/>
                  <a:gd name="connsiteY19" fmla="*/ 947737 h 4575969"/>
                  <a:gd name="connsiteX20" fmla="*/ 200025 w 8971757"/>
                  <a:gd name="connsiteY20" fmla="*/ 952500 h 4575969"/>
                  <a:gd name="connsiteX21" fmla="*/ 204788 w 8971757"/>
                  <a:gd name="connsiteY21" fmla="*/ 976312 h 4575969"/>
                  <a:gd name="connsiteX22" fmla="*/ 261937 w 8971757"/>
                  <a:gd name="connsiteY22" fmla="*/ 1050131 h 4575969"/>
                  <a:gd name="connsiteX23" fmla="*/ 223838 w 8971757"/>
                  <a:gd name="connsiteY23" fmla="*/ 1097756 h 4575969"/>
                  <a:gd name="connsiteX24" fmla="*/ 278606 w 8971757"/>
                  <a:gd name="connsiteY24" fmla="*/ 1133475 h 4575969"/>
                  <a:gd name="connsiteX25" fmla="*/ 369094 w 8971757"/>
                  <a:gd name="connsiteY25" fmla="*/ 1221581 h 4575969"/>
                  <a:gd name="connsiteX26" fmla="*/ 371475 w 8971757"/>
                  <a:gd name="connsiteY26" fmla="*/ 1281112 h 4575969"/>
                  <a:gd name="connsiteX27" fmla="*/ 507206 w 8971757"/>
                  <a:gd name="connsiteY27" fmla="*/ 1414463 h 4575969"/>
                  <a:gd name="connsiteX28" fmla="*/ 561975 w 8971757"/>
                  <a:gd name="connsiteY28" fmla="*/ 1390650 h 4575969"/>
                  <a:gd name="connsiteX29" fmla="*/ 600075 w 8971757"/>
                  <a:gd name="connsiteY29" fmla="*/ 1416843 h 4575969"/>
                  <a:gd name="connsiteX30" fmla="*/ 614363 w 8971757"/>
                  <a:gd name="connsiteY30" fmla="*/ 1466849 h 4575969"/>
                  <a:gd name="connsiteX31" fmla="*/ 657225 w 8971757"/>
                  <a:gd name="connsiteY31" fmla="*/ 1502569 h 4575969"/>
                  <a:gd name="connsiteX32" fmla="*/ 697706 w 8971757"/>
                  <a:gd name="connsiteY32" fmla="*/ 1490662 h 4575969"/>
                  <a:gd name="connsiteX33" fmla="*/ 716756 w 8971757"/>
                  <a:gd name="connsiteY33" fmla="*/ 1547812 h 4575969"/>
                  <a:gd name="connsiteX34" fmla="*/ 764381 w 8971757"/>
                  <a:gd name="connsiteY34" fmla="*/ 1590675 h 4575969"/>
                  <a:gd name="connsiteX35" fmla="*/ 788194 w 8971757"/>
                  <a:gd name="connsiteY35" fmla="*/ 1693069 h 4575969"/>
                  <a:gd name="connsiteX36" fmla="*/ 785813 w 8971757"/>
                  <a:gd name="connsiteY36" fmla="*/ 1740694 h 4575969"/>
                  <a:gd name="connsiteX37" fmla="*/ 821531 w 8971757"/>
                  <a:gd name="connsiteY37" fmla="*/ 1840706 h 4575969"/>
                  <a:gd name="connsiteX38" fmla="*/ 866775 w 8971757"/>
                  <a:gd name="connsiteY38" fmla="*/ 1897856 h 4575969"/>
                  <a:gd name="connsiteX39" fmla="*/ 883443 w 8971757"/>
                  <a:gd name="connsiteY39" fmla="*/ 2055018 h 4575969"/>
                  <a:gd name="connsiteX40" fmla="*/ 850106 w 8971757"/>
                  <a:gd name="connsiteY40" fmla="*/ 2116931 h 4575969"/>
                  <a:gd name="connsiteX41" fmla="*/ 819150 w 8971757"/>
                  <a:gd name="connsiteY41" fmla="*/ 2193131 h 4575969"/>
                  <a:gd name="connsiteX42" fmla="*/ 833438 w 8971757"/>
                  <a:gd name="connsiteY42" fmla="*/ 2250281 h 4575969"/>
                  <a:gd name="connsiteX43" fmla="*/ 735806 w 8971757"/>
                  <a:gd name="connsiteY43" fmla="*/ 2357438 h 4575969"/>
                  <a:gd name="connsiteX44" fmla="*/ 692944 w 8971757"/>
                  <a:gd name="connsiteY44" fmla="*/ 2471737 h 4575969"/>
                  <a:gd name="connsiteX45" fmla="*/ 726281 w 8971757"/>
                  <a:gd name="connsiteY45" fmla="*/ 2512219 h 4575969"/>
                  <a:gd name="connsiteX46" fmla="*/ 709613 w 8971757"/>
                  <a:gd name="connsiteY46" fmla="*/ 2540794 h 4575969"/>
                  <a:gd name="connsiteX47" fmla="*/ 740569 w 8971757"/>
                  <a:gd name="connsiteY47" fmla="*/ 2597944 h 4575969"/>
                  <a:gd name="connsiteX48" fmla="*/ 769144 w 8971757"/>
                  <a:gd name="connsiteY48" fmla="*/ 2597944 h 4575969"/>
                  <a:gd name="connsiteX49" fmla="*/ 931069 w 8971757"/>
                  <a:gd name="connsiteY49" fmla="*/ 2700337 h 4575969"/>
                  <a:gd name="connsiteX50" fmla="*/ 1035844 w 8971757"/>
                  <a:gd name="connsiteY50" fmla="*/ 2697956 h 4575969"/>
                  <a:gd name="connsiteX51" fmla="*/ 1114425 w 8971757"/>
                  <a:gd name="connsiteY51" fmla="*/ 2752725 h 4575969"/>
                  <a:gd name="connsiteX52" fmla="*/ 1245393 w 8971757"/>
                  <a:gd name="connsiteY52" fmla="*/ 2755106 h 4575969"/>
                  <a:gd name="connsiteX53" fmla="*/ 1435893 w 8971757"/>
                  <a:gd name="connsiteY53" fmla="*/ 2824162 h 4575969"/>
                  <a:gd name="connsiteX54" fmla="*/ 1638300 w 8971757"/>
                  <a:gd name="connsiteY54" fmla="*/ 2974181 h 4575969"/>
                  <a:gd name="connsiteX55" fmla="*/ 1671637 w 8971757"/>
                  <a:gd name="connsiteY55" fmla="*/ 3040856 h 4575969"/>
                  <a:gd name="connsiteX56" fmla="*/ 1838325 w 8971757"/>
                  <a:gd name="connsiteY56" fmla="*/ 3167062 h 4575969"/>
                  <a:gd name="connsiteX57" fmla="*/ 1909763 w 8971757"/>
                  <a:gd name="connsiteY57" fmla="*/ 3162300 h 4575969"/>
                  <a:gd name="connsiteX58" fmla="*/ 1945482 w 8971757"/>
                  <a:gd name="connsiteY58" fmla="*/ 3186112 h 4575969"/>
                  <a:gd name="connsiteX59" fmla="*/ 1916906 w 8971757"/>
                  <a:gd name="connsiteY59" fmla="*/ 3226594 h 4575969"/>
                  <a:gd name="connsiteX60" fmla="*/ 1924050 w 8971757"/>
                  <a:gd name="connsiteY60" fmla="*/ 3278981 h 4575969"/>
                  <a:gd name="connsiteX61" fmla="*/ 1976438 w 8971757"/>
                  <a:gd name="connsiteY61" fmla="*/ 3305175 h 4575969"/>
                  <a:gd name="connsiteX62" fmla="*/ 2038350 w 8971757"/>
                  <a:gd name="connsiteY62" fmla="*/ 3529013 h 4575969"/>
                  <a:gd name="connsiteX63" fmla="*/ 2028825 w 8971757"/>
                  <a:gd name="connsiteY63" fmla="*/ 3593306 h 4575969"/>
                  <a:gd name="connsiteX64" fmla="*/ 2164556 w 8971757"/>
                  <a:gd name="connsiteY64" fmla="*/ 3759994 h 4575969"/>
                  <a:gd name="connsiteX65" fmla="*/ 2183606 w 8971757"/>
                  <a:gd name="connsiteY65" fmla="*/ 3810000 h 4575969"/>
                  <a:gd name="connsiteX66" fmla="*/ 2157413 w 8971757"/>
                  <a:gd name="connsiteY66" fmla="*/ 3829050 h 4575969"/>
                  <a:gd name="connsiteX67" fmla="*/ 2259806 w 8971757"/>
                  <a:gd name="connsiteY67" fmla="*/ 3838575 h 4575969"/>
                  <a:gd name="connsiteX68" fmla="*/ 2371725 w 8971757"/>
                  <a:gd name="connsiteY68" fmla="*/ 3826669 h 4575969"/>
                  <a:gd name="connsiteX69" fmla="*/ 2650331 w 8971757"/>
                  <a:gd name="connsiteY69" fmla="*/ 3910012 h 4575969"/>
                  <a:gd name="connsiteX70" fmla="*/ 3057525 w 8971757"/>
                  <a:gd name="connsiteY70" fmla="*/ 3990975 h 4575969"/>
                  <a:gd name="connsiteX71" fmla="*/ 3255169 w 8971757"/>
                  <a:gd name="connsiteY71" fmla="*/ 3960018 h 4575969"/>
                  <a:gd name="connsiteX72" fmla="*/ 3300413 w 8971757"/>
                  <a:gd name="connsiteY72" fmla="*/ 3971924 h 4575969"/>
                  <a:gd name="connsiteX73" fmla="*/ 3355181 w 8971757"/>
                  <a:gd name="connsiteY73" fmla="*/ 3948113 h 4575969"/>
                  <a:gd name="connsiteX74" fmla="*/ 3748087 w 8971757"/>
                  <a:gd name="connsiteY74" fmla="*/ 4038600 h 4575969"/>
                  <a:gd name="connsiteX75" fmla="*/ 3831432 w 8971757"/>
                  <a:gd name="connsiteY75" fmla="*/ 4136231 h 4575969"/>
                  <a:gd name="connsiteX76" fmla="*/ 3950494 w 8971757"/>
                  <a:gd name="connsiteY76" fmla="*/ 4207669 h 4575969"/>
                  <a:gd name="connsiteX77" fmla="*/ 4010025 w 8971757"/>
                  <a:gd name="connsiteY77" fmla="*/ 4191000 h 4575969"/>
                  <a:gd name="connsiteX78" fmla="*/ 4360068 w 8971757"/>
                  <a:gd name="connsiteY78" fmla="*/ 4364831 h 4575969"/>
                  <a:gd name="connsiteX79" fmla="*/ 4586288 w 8971757"/>
                  <a:gd name="connsiteY79" fmla="*/ 4336256 h 4575969"/>
                  <a:gd name="connsiteX80" fmla="*/ 4595813 w 8971757"/>
                  <a:gd name="connsiteY80" fmla="*/ 4414837 h 4575969"/>
                  <a:gd name="connsiteX81" fmla="*/ 4681538 w 8971757"/>
                  <a:gd name="connsiteY81" fmla="*/ 4410074 h 4575969"/>
                  <a:gd name="connsiteX82" fmla="*/ 4760119 w 8971757"/>
                  <a:gd name="connsiteY82" fmla="*/ 4441031 h 4575969"/>
                  <a:gd name="connsiteX83" fmla="*/ 4802981 w 8971757"/>
                  <a:gd name="connsiteY83" fmla="*/ 4381500 h 4575969"/>
                  <a:gd name="connsiteX84" fmla="*/ 5474494 w 8971757"/>
                  <a:gd name="connsiteY84" fmla="*/ 4062412 h 4575969"/>
                  <a:gd name="connsiteX85" fmla="*/ 5562600 w 8971757"/>
                  <a:gd name="connsiteY85" fmla="*/ 4090988 h 4575969"/>
                  <a:gd name="connsiteX86" fmla="*/ 5693569 w 8971757"/>
                  <a:gd name="connsiteY86" fmla="*/ 4062412 h 4575969"/>
                  <a:gd name="connsiteX87" fmla="*/ 5872162 w 8971757"/>
                  <a:gd name="connsiteY87" fmla="*/ 4079081 h 4575969"/>
                  <a:gd name="connsiteX88" fmla="*/ 5929313 w 8971757"/>
                  <a:gd name="connsiteY88" fmla="*/ 4052888 h 4575969"/>
                  <a:gd name="connsiteX89" fmla="*/ 6062662 w 8971757"/>
                  <a:gd name="connsiteY89" fmla="*/ 4050506 h 4575969"/>
                  <a:gd name="connsiteX90" fmla="*/ 6196012 w 8971757"/>
                  <a:gd name="connsiteY90" fmla="*/ 3952875 h 4575969"/>
                  <a:gd name="connsiteX91" fmla="*/ 6262687 w 8971757"/>
                  <a:gd name="connsiteY91" fmla="*/ 3945731 h 4575969"/>
                  <a:gd name="connsiteX92" fmla="*/ 6360319 w 8971757"/>
                  <a:gd name="connsiteY92" fmla="*/ 3871912 h 4575969"/>
                  <a:gd name="connsiteX93" fmla="*/ 6434138 w 8971757"/>
                  <a:gd name="connsiteY93" fmla="*/ 3802856 h 4575969"/>
                  <a:gd name="connsiteX94" fmla="*/ 6443663 w 8971757"/>
                  <a:gd name="connsiteY94" fmla="*/ 3740944 h 4575969"/>
                  <a:gd name="connsiteX95" fmla="*/ 6477000 w 8971757"/>
                  <a:gd name="connsiteY95" fmla="*/ 3671887 h 4575969"/>
                  <a:gd name="connsiteX96" fmla="*/ 6629400 w 8971757"/>
                  <a:gd name="connsiteY96" fmla="*/ 3564731 h 4575969"/>
                  <a:gd name="connsiteX97" fmla="*/ 6662738 w 8971757"/>
                  <a:gd name="connsiteY97" fmla="*/ 3569494 h 4575969"/>
                  <a:gd name="connsiteX98" fmla="*/ 6715125 w 8971757"/>
                  <a:gd name="connsiteY98" fmla="*/ 3490912 h 4575969"/>
                  <a:gd name="connsiteX99" fmla="*/ 6762750 w 8971757"/>
                  <a:gd name="connsiteY99" fmla="*/ 3452812 h 4575969"/>
                  <a:gd name="connsiteX100" fmla="*/ 6748463 w 8971757"/>
                  <a:gd name="connsiteY100" fmla="*/ 3383756 h 4575969"/>
                  <a:gd name="connsiteX101" fmla="*/ 6698456 w 8971757"/>
                  <a:gd name="connsiteY101" fmla="*/ 3352799 h 4575969"/>
                  <a:gd name="connsiteX102" fmla="*/ 6638925 w 8971757"/>
                  <a:gd name="connsiteY102" fmla="*/ 3298031 h 4575969"/>
                  <a:gd name="connsiteX103" fmla="*/ 6619875 w 8971757"/>
                  <a:gd name="connsiteY103" fmla="*/ 3240881 h 4575969"/>
                  <a:gd name="connsiteX104" fmla="*/ 6584156 w 8971757"/>
                  <a:gd name="connsiteY104" fmla="*/ 3207544 h 4575969"/>
                  <a:gd name="connsiteX105" fmla="*/ 6610350 w 8971757"/>
                  <a:gd name="connsiteY105" fmla="*/ 3155156 h 4575969"/>
                  <a:gd name="connsiteX106" fmla="*/ 6650831 w 8971757"/>
                  <a:gd name="connsiteY106" fmla="*/ 2976562 h 4575969"/>
                  <a:gd name="connsiteX107" fmla="*/ 6691313 w 8971757"/>
                  <a:gd name="connsiteY107" fmla="*/ 2909887 h 4575969"/>
                  <a:gd name="connsiteX108" fmla="*/ 6836569 w 8971757"/>
                  <a:gd name="connsiteY108" fmla="*/ 2893218 h 4575969"/>
                  <a:gd name="connsiteX109" fmla="*/ 6905625 w 8971757"/>
                  <a:gd name="connsiteY109" fmla="*/ 2950369 h 4575969"/>
                  <a:gd name="connsiteX110" fmla="*/ 6981825 w 8971757"/>
                  <a:gd name="connsiteY110" fmla="*/ 2974181 h 4575969"/>
                  <a:gd name="connsiteX111" fmla="*/ 7186612 w 8971757"/>
                  <a:gd name="connsiteY111" fmla="*/ 2978944 h 4575969"/>
                  <a:gd name="connsiteX112" fmla="*/ 7362825 w 8971757"/>
                  <a:gd name="connsiteY112" fmla="*/ 2840831 h 4575969"/>
                  <a:gd name="connsiteX113" fmla="*/ 7419975 w 8971757"/>
                  <a:gd name="connsiteY113" fmla="*/ 2750343 h 4575969"/>
                  <a:gd name="connsiteX114" fmla="*/ 7446169 w 8971757"/>
                  <a:gd name="connsiteY114" fmla="*/ 2667000 h 4575969"/>
                  <a:gd name="connsiteX115" fmla="*/ 7577137 w 8971757"/>
                  <a:gd name="connsiteY115" fmla="*/ 2667000 h 4575969"/>
                  <a:gd name="connsiteX116" fmla="*/ 7750969 w 8971757"/>
                  <a:gd name="connsiteY116" fmla="*/ 2609849 h 4575969"/>
                  <a:gd name="connsiteX117" fmla="*/ 7810500 w 8971757"/>
                  <a:gd name="connsiteY117" fmla="*/ 2497931 h 4575969"/>
                  <a:gd name="connsiteX118" fmla="*/ 7874794 w 8971757"/>
                  <a:gd name="connsiteY118" fmla="*/ 2462212 h 4575969"/>
                  <a:gd name="connsiteX119" fmla="*/ 7853363 w 8971757"/>
                  <a:gd name="connsiteY119" fmla="*/ 2416969 h 4575969"/>
                  <a:gd name="connsiteX120" fmla="*/ 7931944 w 8971757"/>
                  <a:gd name="connsiteY120" fmla="*/ 2247899 h 4575969"/>
                  <a:gd name="connsiteX121" fmla="*/ 7986713 w 8971757"/>
                  <a:gd name="connsiteY121" fmla="*/ 2188369 h 4575969"/>
                  <a:gd name="connsiteX122" fmla="*/ 8024813 w 8971757"/>
                  <a:gd name="connsiteY122" fmla="*/ 2183606 h 4575969"/>
                  <a:gd name="connsiteX123" fmla="*/ 8070056 w 8971757"/>
                  <a:gd name="connsiteY123" fmla="*/ 2188369 h 4575969"/>
                  <a:gd name="connsiteX124" fmla="*/ 8134350 w 8971757"/>
                  <a:gd name="connsiteY124" fmla="*/ 2155031 h 4575969"/>
                  <a:gd name="connsiteX125" fmla="*/ 8143875 w 8971757"/>
                  <a:gd name="connsiteY125" fmla="*/ 2090737 h 4575969"/>
                  <a:gd name="connsiteX126" fmla="*/ 8184355 w 8971757"/>
                  <a:gd name="connsiteY126" fmla="*/ 2055019 h 4575969"/>
                  <a:gd name="connsiteX127" fmla="*/ 8243888 w 8971757"/>
                  <a:gd name="connsiteY127" fmla="*/ 2095499 h 4575969"/>
                  <a:gd name="connsiteX128" fmla="*/ 8270082 w 8971757"/>
                  <a:gd name="connsiteY128" fmla="*/ 2045493 h 4575969"/>
                  <a:gd name="connsiteX129" fmla="*/ 8365331 w 8971757"/>
                  <a:gd name="connsiteY129" fmla="*/ 1976437 h 4575969"/>
                  <a:gd name="connsiteX130" fmla="*/ 8427244 w 8971757"/>
                  <a:gd name="connsiteY130" fmla="*/ 1983581 h 4575969"/>
                  <a:gd name="connsiteX131" fmla="*/ 8477250 w 8971757"/>
                  <a:gd name="connsiteY131" fmla="*/ 1964531 h 4575969"/>
                  <a:gd name="connsiteX132" fmla="*/ 8515350 w 8971757"/>
                  <a:gd name="connsiteY132" fmla="*/ 1935956 h 4575969"/>
                  <a:gd name="connsiteX133" fmla="*/ 8548688 w 8971757"/>
                  <a:gd name="connsiteY133" fmla="*/ 1933575 h 4575969"/>
                  <a:gd name="connsiteX134" fmla="*/ 8584406 w 8971757"/>
                  <a:gd name="connsiteY134" fmla="*/ 1964531 h 4575969"/>
                  <a:gd name="connsiteX135" fmla="*/ 8643938 w 8971757"/>
                  <a:gd name="connsiteY135" fmla="*/ 1964531 h 4575969"/>
                  <a:gd name="connsiteX136" fmla="*/ 8682037 w 8971757"/>
                  <a:gd name="connsiteY136" fmla="*/ 1945481 h 4575969"/>
                  <a:gd name="connsiteX137" fmla="*/ 8765381 w 8971757"/>
                  <a:gd name="connsiteY137" fmla="*/ 1947863 h 4575969"/>
                  <a:gd name="connsiteX138" fmla="*/ 8796338 w 8971757"/>
                  <a:gd name="connsiteY138" fmla="*/ 1902619 h 4575969"/>
                  <a:gd name="connsiteX139" fmla="*/ 8801100 w 8971757"/>
                  <a:gd name="connsiteY139" fmla="*/ 1840706 h 4575969"/>
                  <a:gd name="connsiteX140" fmla="*/ 8751093 w 8971757"/>
                  <a:gd name="connsiteY140" fmla="*/ 1800225 h 4575969"/>
                  <a:gd name="connsiteX141" fmla="*/ 8734425 w 8971757"/>
                  <a:gd name="connsiteY141" fmla="*/ 1745456 h 4575969"/>
                  <a:gd name="connsiteX142" fmla="*/ 8643938 w 8971757"/>
                  <a:gd name="connsiteY142" fmla="*/ 1683544 h 4575969"/>
                  <a:gd name="connsiteX143" fmla="*/ 8603456 w 8971757"/>
                  <a:gd name="connsiteY143" fmla="*/ 1662112 h 4575969"/>
                  <a:gd name="connsiteX144" fmla="*/ 8565356 w 8971757"/>
                  <a:gd name="connsiteY144" fmla="*/ 1616869 h 4575969"/>
                  <a:gd name="connsiteX145" fmla="*/ 8534400 w 8971757"/>
                  <a:gd name="connsiteY145" fmla="*/ 1614487 h 4575969"/>
                  <a:gd name="connsiteX146" fmla="*/ 8517731 w 8971757"/>
                  <a:gd name="connsiteY146" fmla="*/ 1562100 h 4575969"/>
                  <a:gd name="connsiteX147" fmla="*/ 8477250 w 8971757"/>
                  <a:gd name="connsiteY147" fmla="*/ 1545431 h 4575969"/>
                  <a:gd name="connsiteX148" fmla="*/ 8477250 w 8971757"/>
                  <a:gd name="connsiteY148" fmla="*/ 1545431 h 4575969"/>
                  <a:gd name="connsiteX149" fmla="*/ 8436769 w 8971757"/>
                  <a:gd name="connsiteY149" fmla="*/ 1550194 h 4575969"/>
                  <a:gd name="connsiteX150" fmla="*/ 8351043 w 8971757"/>
                  <a:gd name="connsiteY150" fmla="*/ 1476375 h 4575969"/>
                  <a:gd name="connsiteX151" fmla="*/ 8170069 w 8971757"/>
                  <a:gd name="connsiteY151" fmla="*/ 1476374 h 4575969"/>
                  <a:gd name="connsiteX152" fmla="*/ 8117681 w 8971757"/>
                  <a:gd name="connsiteY152" fmla="*/ 1514475 h 4575969"/>
                  <a:gd name="connsiteX153" fmla="*/ 8067675 w 8971757"/>
                  <a:gd name="connsiteY153" fmla="*/ 1593056 h 4575969"/>
                  <a:gd name="connsiteX154" fmla="*/ 8084344 w 8971757"/>
                  <a:gd name="connsiteY154" fmla="*/ 1614487 h 4575969"/>
                  <a:gd name="connsiteX155" fmla="*/ 8039100 w 8971757"/>
                  <a:gd name="connsiteY155" fmla="*/ 1664493 h 4575969"/>
                  <a:gd name="connsiteX156" fmla="*/ 7889081 w 8971757"/>
                  <a:gd name="connsiteY156" fmla="*/ 1588293 h 4575969"/>
                  <a:gd name="connsiteX157" fmla="*/ 7798594 w 8971757"/>
                  <a:gd name="connsiteY157" fmla="*/ 1624012 h 4575969"/>
                  <a:gd name="connsiteX158" fmla="*/ 7724775 w 8971757"/>
                  <a:gd name="connsiteY158" fmla="*/ 1621631 h 4575969"/>
                  <a:gd name="connsiteX159" fmla="*/ 7667625 w 8971757"/>
                  <a:gd name="connsiteY159" fmla="*/ 1716881 h 4575969"/>
                  <a:gd name="connsiteX160" fmla="*/ 7529513 w 8971757"/>
                  <a:gd name="connsiteY16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3069 h 4575969"/>
                  <a:gd name="connsiteX9" fmla="*/ 8117756 w 8971757"/>
                  <a:gd name="connsiteY9" fmla="*/ 971175 h 4575969"/>
                  <a:gd name="connsiteX10" fmla="*/ 8412956 w 8971757"/>
                  <a:gd name="connsiteY10" fmla="*/ 23812 h 4575969"/>
                  <a:gd name="connsiteX11" fmla="*/ 8949531 w 8971757"/>
                  <a:gd name="connsiteY11" fmla="*/ 0 h 4575969"/>
                  <a:gd name="connsiteX12" fmla="*/ 8971757 w 8971757"/>
                  <a:gd name="connsiteY12" fmla="*/ 4575969 h 4575969"/>
                  <a:gd name="connsiteX13" fmla="*/ 2381 w 8971757"/>
                  <a:gd name="connsiteY13" fmla="*/ 4547392 h 4575969"/>
                  <a:gd name="connsiteX14" fmla="*/ 0 w 8971757"/>
                  <a:gd name="connsiteY14" fmla="*/ 845344 h 4575969"/>
                  <a:gd name="connsiteX15" fmla="*/ 76200 w 8971757"/>
                  <a:gd name="connsiteY15" fmla="*/ 828675 h 4575969"/>
                  <a:gd name="connsiteX16" fmla="*/ 119063 w 8971757"/>
                  <a:gd name="connsiteY16" fmla="*/ 857250 h 4575969"/>
                  <a:gd name="connsiteX17" fmla="*/ 215900 w 8971757"/>
                  <a:gd name="connsiteY17" fmla="*/ 848519 h 4575969"/>
                  <a:gd name="connsiteX18" fmla="*/ 261938 w 8971757"/>
                  <a:gd name="connsiteY18" fmla="*/ 876299 h 4575969"/>
                  <a:gd name="connsiteX19" fmla="*/ 228600 w 8971757"/>
                  <a:gd name="connsiteY19" fmla="*/ 904875 h 4575969"/>
                  <a:gd name="connsiteX20" fmla="*/ 233363 w 8971757"/>
                  <a:gd name="connsiteY20" fmla="*/ 947737 h 4575969"/>
                  <a:gd name="connsiteX21" fmla="*/ 200025 w 8971757"/>
                  <a:gd name="connsiteY21" fmla="*/ 952500 h 4575969"/>
                  <a:gd name="connsiteX22" fmla="*/ 204788 w 8971757"/>
                  <a:gd name="connsiteY22" fmla="*/ 976312 h 4575969"/>
                  <a:gd name="connsiteX23" fmla="*/ 261937 w 8971757"/>
                  <a:gd name="connsiteY23" fmla="*/ 1050131 h 4575969"/>
                  <a:gd name="connsiteX24" fmla="*/ 223838 w 8971757"/>
                  <a:gd name="connsiteY24" fmla="*/ 1097756 h 4575969"/>
                  <a:gd name="connsiteX25" fmla="*/ 278606 w 8971757"/>
                  <a:gd name="connsiteY25" fmla="*/ 1133475 h 4575969"/>
                  <a:gd name="connsiteX26" fmla="*/ 369094 w 8971757"/>
                  <a:gd name="connsiteY26" fmla="*/ 1221581 h 4575969"/>
                  <a:gd name="connsiteX27" fmla="*/ 371475 w 8971757"/>
                  <a:gd name="connsiteY27" fmla="*/ 1281112 h 4575969"/>
                  <a:gd name="connsiteX28" fmla="*/ 507206 w 8971757"/>
                  <a:gd name="connsiteY28" fmla="*/ 1414463 h 4575969"/>
                  <a:gd name="connsiteX29" fmla="*/ 561975 w 8971757"/>
                  <a:gd name="connsiteY29" fmla="*/ 1390650 h 4575969"/>
                  <a:gd name="connsiteX30" fmla="*/ 600075 w 8971757"/>
                  <a:gd name="connsiteY30" fmla="*/ 1416843 h 4575969"/>
                  <a:gd name="connsiteX31" fmla="*/ 614363 w 8971757"/>
                  <a:gd name="connsiteY31" fmla="*/ 1466849 h 4575969"/>
                  <a:gd name="connsiteX32" fmla="*/ 657225 w 8971757"/>
                  <a:gd name="connsiteY32" fmla="*/ 1502569 h 4575969"/>
                  <a:gd name="connsiteX33" fmla="*/ 697706 w 8971757"/>
                  <a:gd name="connsiteY33" fmla="*/ 1490662 h 4575969"/>
                  <a:gd name="connsiteX34" fmla="*/ 716756 w 8971757"/>
                  <a:gd name="connsiteY34" fmla="*/ 1547812 h 4575969"/>
                  <a:gd name="connsiteX35" fmla="*/ 764381 w 8971757"/>
                  <a:gd name="connsiteY35" fmla="*/ 1590675 h 4575969"/>
                  <a:gd name="connsiteX36" fmla="*/ 788194 w 8971757"/>
                  <a:gd name="connsiteY36" fmla="*/ 1693069 h 4575969"/>
                  <a:gd name="connsiteX37" fmla="*/ 785813 w 8971757"/>
                  <a:gd name="connsiteY37" fmla="*/ 1740694 h 4575969"/>
                  <a:gd name="connsiteX38" fmla="*/ 821531 w 8971757"/>
                  <a:gd name="connsiteY38" fmla="*/ 1840706 h 4575969"/>
                  <a:gd name="connsiteX39" fmla="*/ 866775 w 8971757"/>
                  <a:gd name="connsiteY39" fmla="*/ 1897856 h 4575969"/>
                  <a:gd name="connsiteX40" fmla="*/ 883443 w 8971757"/>
                  <a:gd name="connsiteY40" fmla="*/ 2055018 h 4575969"/>
                  <a:gd name="connsiteX41" fmla="*/ 850106 w 8971757"/>
                  <a:gd name="connsiteY41" fmla="*/ 2116931 h 4575969"/>
                  <a:gd name="connsiteX42" fmla="*/ 819150 w 8971757"/>
                  <a:gd name="connsiteY42" fmla="*/ 2193131 h 4575969"/>
                  <a:gd name="connsiteX43" fmla="*/ 833438 w 8971757"/>
                  <a:gd name="connsiteY43" fmla="*/ 2250281 h 4575969"/>
                  <a:gd name="connsiteX44" fmla="*/ 735806 w 8971757"/>
                  <a:gd name="connsiteY44" fmla="*/ 2357438 h 4575969"/>
                  <a:gd name="connsiteX45" fmla="*/ 692944 w 8971757"/>
                  <a:gd name="connsiteY45" fmla="*/ 2471737 h 4575969"/>
                  <a:gd name="connsiteX46" fmla="*/ 726281 w 8971757"/>
                  <a:gd name="connsiteY46" fmla="*/ 2512219 h 4575969"/>
                  <a:gd name="connsiteX47" fmla="*/ 709613 w 8971757"/>
                  <a:gd name="connsiteY47" fmla="*/ 2540794 h 4575969"/>
                  <a:gd name="connsiteX48" fmla="*/ 740569 w 8971757"/>
                  <a:gd name="connsiteY48" fmla="*/ 2597944 h 4575969"/>
                  <a:gd name="connsiteX49" fmla="*/ 769144 w 8971757"/>
                  <a:gd name="connsiteY49" fmla="*/ 2597944 h 4575969"/>
                  <a:gd name="connsiteX50" fmla="*/ 931069 w 8971757"/>
                  <a:gd name="connsiteY50" fmla="*/ 2700337 h 4575969"/>
                  <a:gd name="connsiteX51" fmla="*/ 1035844 w 8971757"/>
                  <a:gd name="connsiteY51" fmla="*/ 2697956 h 4575969"/>
                  <a:gd name="connsiteX52" fmla="*/ 1114425 w 8971757"/>
                  <a:gd name="connsiteY52" fmla="*/ 2752725 h 4575969"/>
                  <a:gd name="connsiteX53" fmla="*/ 1245393 w 8971757"/>
                  <a:gd name="connsiteY53" fmla="*/ 2755106 h 4575969"/>
                  <a:gd name="connsiteX54" fmla="*/ 1435893 w 8971757"/>
                  <a:gd name="connsiteY54" fmla="*/ 2824162 h 4575969"/>
                  <a:gd name="connsiteX55" fmla="*/ 1638300 w 8971757"/>
                  <a:gd name="connsiteY55" fmla="*/ 2974181 h 4575969"/>
                  <a:gd name="connsiteX56" fmla="*/ 1671637 w 8971757"/>
                  <a:gd name="connsiteY56" fmla="*/ 3040856 h 4575969"/>
                  <a:gd name="connsiteX57" fmla="*/ 1838325 w 8971757"/>
                  <a:gd name="connsiteY57" fmla="*/ 3167062 h 4575969"/>
                  <a:gd name="connsiteX58" fmla="*/ 1909763 w 8971757"/>
                  <a:gd name="connsiteY58" fmla="*/ 3162300 h 4575969"/>
                  <a:gd name="connsiteX59" fmla="*/ 1945482 w 8971757"/>
                  <a:gd name="connsiteY59" fmla="*/ 3186112 h 4575969"/>
                  <a:gd name="connsiteX60" fmla="*/ 1916906 w 8971757"/>
                  <a:gd name="connsiteY60" fmla="*/ 3226594 h 4575969"/>
                  <a:gd name="connsiteX61" fmla="*/ 1924050 w 8971757"/>
                  <a:gd name="connsiteY61" fmla="*/ 3278981 h 4575969"/>
                  <a:gd name="connsiteX62" fmla="*/ 1976438 w 8971757"/>
                  <a:gd name="connsiteY62" fmla="*/ 3305175 h 4575969"/>
                  <a:gd name="connsiteX63" fmla="*/ 2038350 w 8971757"/>
                  <a:gd name="connsiteY63" fmla="*/ 3529013 h 4575969"/>
                  <a:gd name="connsiteX64" fmla="*/ 2028825 w 8971757"/>
                  <a:gd name="connsiteY64" fmla="*/ 3593306 h 4575969"/>
                  <a:gd name="connsiteX65" fmla="*/ 2164556 w 8971757"/>
                  <a:gd name="connsiteY65" fmla="*/ 3759994 h 4575969"/>
                  <a:gd name="connsiteX66" fmla="*/ 2183606 w 8971757"/>
                  <a:gd name="connsiteY66" fmla="*/ 3810000 h 4575969"/>
                  <a:gd name="connsiteX67" fmla="*/ 2157413 w 8971757"/>
                  <a:gd name="connsiteY67" fmla="*/ 3829050 h 4575969"/>
                  <a:gd name="connsiteX68" fmla="*/ 2259806 w 8971757"/>
                  <a:gd name="connsiteY68" fmla="*/ 3838575 h 4575969"/>
                  <a:gd name="connsiteX69" fmla="*/ 2371725 w 8971757"/>
                  <a:gd name="connsiteY69" fmla="*/ 3826669 h 4575969"/>
                  <a:gd name="connsiteX70" fmla="*/ 2650331 w 8971757"/>
                  <a:gd name="connsiteY70" fmla="*/ 3910012 h 4575969"/>
                  <a:gd name="connsiteX71" fmla="*/ 3057525 w 8971757"/>
                  <a:gd name="connsiteY71" fmla="*/ 3990975 h 4575969"/>
                  <a:gd name="connsiteX72" fmla="*/ 3255169 w 8971757"/>
                  <a:gd name="connsiteY72" fmla="*/ 3960018 h 4575969"/>
                  <a:gd name="connsiteX73" fmla="*/ 3300413 w 8971757"/>
                  <a:gd name="connsiteY73" fmla="*/ 3971924 h 4575969"/>
                  <a:gd name="connsiteX74" fmla="*/ 3355181 w 8971757"/>
                  <a:gd name="connsiteY74" fmla="*/ 3948113 h 4575969"/>
                  <a:gd name="connsiteX75" fmla="*/ 3748087 w 8971757"/>
                  <a:gd name="connsiteY75" fmla="*/ 4038600 h 4575969"/>
                  <a:gd name="connsiteX76" fmla="*/ 3831432 w 8971757"/>
                  <a:gd name="connsiteY76" fmla="*/ 4136231 h 4575969"/>
                  <a:gd name="connsiteX77" fmla="*/ 3950494 w 8971757"/>
                  <a:gd name="connsiteY77" fmla="*/ 4207669 h 4575969"/>
                  <a:gd name="connsiteX78" fmla="*/ 4010025 w 8971757"/>
                  <a:gd name="connsiteY78" fmla="*/ 4191000 h 4575969"/>
                  <a:gd name="connsiteX79" fmla="*/ 4360068 w 8971757"/>
                  <a:gd name="connsiteY79" fmla="*/ 4364831 h 4575969"/>
                  <a:gd name="connsiteX80" fmla="*/ 4586288 w 8971757"/>
                  <a:gd name="connsiteY80" fmla="*/ 4336256 h 4575969"/>
                  <a:gd name="connsiteX81" fmla="*/ 4595813 w 8971757"/>
                  <a:gd name="connsiteY81" fmla="*/ 4414837 h 4575969"/>
                  <a:gd name="connsiteX82" fmla="*/ 4681538 w 8971757"/>
                  <a:gd name="connsiteY82" fmla="*/ 4410074 h 4575969"/>
                  <a:gd name="connsiteX83" fmla="*/ 4760119 w 8971757"/>
                  <a:gd name="connsiteY83" fmla="*/ 4441031 h 4575969"/>
                  <a:gd name="connsiteX84" fmla="*/ 4802981 w 8971757"/>
                  <a:gd name="connsiteY84" fmla="*/ 4381500 h 4575969"/>
                  <a:gd name="connsiteX85" fmla="*/ 5474494 w 8971757"/>
                  <a:gd name="connsiteY85" fmla="*/ 4062412 h 4575969"/>
                  <a:gd name="connsiteX86" fmla="*/ 5562600 w 8971757"/>
                  <a:gd name="connsiteY86" fmla="*/ 4090988 h 4575969"/>
                  <a:gd name="connsiteX87" fmla="*/ 5693569 w 8971757"/>
                  <a:gd name="connsiteY87" fmla="*/ 4062412 h 4575969"/>
                  <a:gd name="connsiteX88" fmla="*/ 5872162 w 8971757"/>
                  <a:gd name="connsiteY88" fmla="*/ 4079081 h 4575969"/>
                  <a:gd name="connsiteX89" fmla="*/ 5929313 w 8971757"/>
                  <a:gd name="connsiteY89" fmla="*/ 4052888 h 4575969"/>
                  <a:gd name="connsiteX90" fmla="*/ 6062662 w 8971757"/>
                  <a:gd name="connsiteY90" fmla="*/ 4050506 h 4575969"/>
                  <a:gd name="connsiteX91" fmla="*/ 6196012 w 8971757"/>
                  <a:gd name="connsiteY91" fmla="*/ 3952875 h 4575969"/>
                  <a:gd name="connsiteX92" fmla="*/ 6262687 w 8971757"/>
                  <a:gd name="connsiteY92" fmla="*/ 3945731 h 4575969"/>
                  <a:gd name="connsiteX93" fmla="*/ 6360319 w 8971757"/>
                  <a:gd name="connsiteY93" fmla="*/ 3871912 h 4575969"/>
                  <a:gd name="connsiteX94" fmla="*/ 6434138 w 8971757"/>
                  <a:gd name="connsiteY94" fmla="*/ 3802856 h 4575969"/>
                  <a:gd name="connsiteX95" fmla="*/ 6443663 w 8971757"/>
                  <a:gd name="connsiteY95" fmla="*/ 3740944 h 4575969"/>
                  <a:gd name="connsiteX96" fmla="*/ 6477000 w 8971757"/>
                  <a:gd name="connsiteY96" fmla="*/ 3671887 h 4575969"/>
                  <a:gd name="connsiteX97" fmla="*/ 6629400 w 8971757"/>
                  <a:gd name="connsiteY97" fmla="*/ 3564731 h 4575969"/>
                  <a:gd name="connsiteX98" fmla="*/ 6662738 w 8971757"/>
                  <a:gd name="connsiteY98" fmla="*/ 3569494 h 4575969"/>
                  <a:gd name="connsiteX99" fmla="*/ 6715125 w 8971757"/>
                  <a:gd name="connsiteY99" fmla="*/ 3490912 h 4575969"/>
                  <a:gd name="connsiteX100" fmla="*/ 6762750 w 8971757"/>
                  <a:gd name="connsiteY100" fmla="*/ 3452812 h 4575969"/>
                  <a:gd name="connsiteX101" fmla="*/ 6748463 w 8971757"/>
                  <a:gd name="connsiteY101" fmla="*/ 3383756 h 4575969"/>
                  <a:gd name="connsiteX102" fmla="*/ 6698456 w 8971757"/>
                  <a:gd name="connsiteY102" fmla="*/ 3352799 h 4575969"/>
                  <a:gd name="connsiteX103" fmla="*/ 6638925 w 8971757"/>
                  <a:gd name="connsiteY103" fmla="*/ 3298031 h 4575969"/>
                  <a:gd name="connsiteX104" fmla="*/ 6619875 w 8971757"/>
                  <a:gd name="connsiteY104" fmla="*/ 3240881 h 4575969"/>
                  <a:gd name="connsiteX105" fmla="*/ 6584156 w 8971757"/>
                  <a:gd name="connsiteY105" fmla="*/ 3207544 h 4575969"/>
                  <a:gd name="connsiteX106" fmla="*/ 6610350 w 8971757"/>
                  <a:gd name="connsiteY106" fmla="*/ 3155156 h 4575969"/>
                  <a:gd name="connsiteX107" fmla="*/ 6650831 w 8971757"/>
                  <a:gd name="connsiteY107" fmla="*/ 2976562 h 4575969"/>
                  <a:gd name="connsiteX108" fmla="*/ 6691313 w 8971757"/>
                  <a:gd name="connsiteY108" fmla="*/ 2909887 h 4575969"/>
                  <a:gd name="connsiteX109" fmla="*/ 6836569 w 8971757"/>
                  <a:gd name="connsiteY109" fmla="*/ 2893218 h 4575969"/>
                  <a:gd name="connsiteX110" fmla="*/ 6905625 w 8971757"/>
                  <a:gd name="connsiteY110" fmla="*/ 2950369 h 4575969"/>
                  <a:gd name="connsiteX111" fmla="*/ 6981825 w 8971757"/>
                  <a:gd name="connsiteY111" fmla="*/ 2974181 h 4575969"/>
                  <a:gd name="connsiteX112" fmla="*/ 7186612 w 8971757"/>
                  <a:gd name="connsiteY112" fmla="*/ 2978944 h 4575969"/>
                  <a:gd name="connsiteX113" fmla="*/ 7362825 w 8971757"/>
                  <a:gd name="connsiteY113" fmla="*/ 2840831 h 4575969"/>
                  <a:gd name="connsiteX114" fmla="*/ 7419975 w 8971757"/>
                  <a:gd name="connsiteY114" fmla="*/ 2750343 h 4575969"/>
                  <a:gd name="connsiteX115" fmla="*/ 7446169 w 8971757"/>
                  <a:gd name="connsiteY115" fmla="*/ 2667000 h 4575969"/>
                  <a:gd name="connsiteX116" fmla="*/ 7577137 w 8971757"/>
                  <a:gd name="connsiteY116" fmla="*/ 2667000 h 4575969"/>
                  <a:gd name="connsiteX117" fmla="*/ 7750969 w 8971757"/>
                  <a:gd name="connsiteY117" fmla="*/ 2609849 h 4575969"/>
                  <a:gd name="connsiteX118" fmla="*/ 7810500 w 8971757"/>
                  <a:gd name="connsiteY118" fmla="*/ 2497931 h 4575969"/>
                  <a:gd name="connsiteX119" fmla="*/ 7874794 w 8971757"/>
                  <a:gd name="connsiteY119" fmla="*/ 2462212 h 4575969"/>
                  <a:gd name="connsiteX120" fmla="*/ 7853363 w 8971757"/>
                  <a:gd name="connsiteY120" fmla="*/ 2416969 h 4575969"/>
                  <a:gd name="connsiteX121" fmla="*/ 7931944 w 8971757"/>
                  <a:gd name="connsiteY121" fmla="*/ 2247899 h 4575969"/>
                  <a:gd name="connsiteX122" fmla="*/ 7986713 w 8971757"/>
                  <a:gd name="connsiteY122" fmla="*/ 2188369 h 4575969"/>
                  <a:gd name="connsiteX123" fmla="*/ 8024813 w 8971757"/>
                  <a:gd name="connsiteY123" fmla="*/ 2183606 h 4575969"/>
                  <a:gd name="connsiteX124" fmla="*/ 8070056 w 8971757"/>
                  <a:gd name="connsiteY124" fmla="*/ 2188369 h 4575969"/>
                  <a:gd name="connsiteX125" fmla="*/ 8134350 w 8971757"/>
                  <a:gd name="connsiteY125" fmla="*/ 2155031 h 4575969"/>
                  <a:gd name="connsiteX126" fmla="*/ 8143875 w 8971757"/>
                  <a:gd name="connsiteY126" fmla="*/ 2090737 h 4575969"/>
                  <a:gd name="connsiteX127" fmla="*/ 8184355 w 8971757"/>
                  <a:gd name="connsiteY127" fmla="*/ 2055019 h 4575969"/>
                  <a:gd name="connsiteX128" fmla="*/ 8243888 w 8971757"/>
                  <a:gd name="connsiteY128" fmla="*/ 2095499 h 4575969"/>
                  <a:gd name="connsiteX129" fmla="*/ 8270082 w 8971757"/>
                  <a:gd name="connsiteY129" fmla="*/ 2045493 h 4575969"/>
                  <a:gd name="connsiteX130" fmla="*/ 8365331 w 8971757"/>
                  <a:gd name="connsiteY130" fmla="*/ 1976437 h 4575969"/>
                  <a:gd name="connsiteX131" fmla="*/ 8427244 w 8971757"/>
                  <a:gd name="connsiteY131" fmla="*/ 1983581 h 4575969"/>
                  <a:gd name="connsiteX132" fmla="*/ 8477250 w 8971757"/>
                  <a:gd name="connsiteY132" fmla="*/ 1964531 h 4575969"/>
                  <a:gd name="connsiteX133" fmla="*/ 8515350 w 8971757"/>
                  <a:gd name="connsiteY133" fmla="*/ 1935956 h 4575969"/>
                  <a:gd name="connsiteX134" fmla="*/ 8548688 w 8971757"/>
                  <a:gd name="connsiteY134" fmla="*/ 1933575 h 4575969"/>
                  <a:gd name="connsiteX135" fmla="*/ 8584406 w 8971757"/>
                  <a:gd name="connsiteY135" fmla="*/ 1964531 h 4575969"/>
                  <a:gd name="connsiteX136" fmla="*/ 8643938 w 8971757"/>
                  <a:gd name="connsiteY136" fmla="*/ 1964531 h 4575969"/>
                  <a:gd name="connsiteX137" fmla="*/ 8682037 w 8971757"/>
                  <a:gd name="connsiteY137" fmla="*/ 1945481 h 4575969"/>
                  <a:gd name="connsiteX138" fmla="*/ 8765381 w 8971757"/>
                  <a:gd name="connsiteY138" fmla="*/ 1947863 h 4575969"/>
                  <a:gd name="connsiteX139" fmla="*/ 8796338 w 8971757"/>
                  <a:gd name="connsiteY139" fmla="*/ 1902619 h 4575969"/>
                  <a:gd name="connsiteX140" fmla="*/ 8801100 w 8971757"/>
                  <a:gd name="connsiteY140" fmla="*/ 1840706 h 4575969"/>
                  <a:gd name="connsiteX141" fmla="*/ 8751093 w 8971757"/>
                  <a:gd name="connsiteY141" fmla="*/ 1800225 h 4575969"/>
                  <a:gd name="connsiteX142" fmla="*/ 8734425 w 8971757"/>
                  <a:gd name="connsiteY142" fmla="*/ 1745456 h 4575969"/>
                  <a:gd name="connsiteX143" fmla="*/ 8643938 w 8971757"/>
                  <a:gd name="connsiteY143" fmla="*/ 1683544 h 4575969"/>
                  <a:gd name="connsiteX144" fmla="*/ 8603456 w 8971757"/>
                  <a:gd name="connsiteY144" fmla="*/ 1662112 h 4575969"/>
                  <a:gd name="connsiteX145" fmla="*/ 8565356 w 8971757"/>
                  <a:gd name="connsiteY145" fmla="*/ 1616869 h 4575969"/>
                  <a:gd name="connsiteX146" fmla="*/ 8534400 w 8971757"/>
                  <a:gd name="connsiteY146" fmla="*/ 1614487 h 4575969"/>
                  <a:gd name="connsiteX147" fmla="*/ 8517731 w 8971757"/>
                  <a:gd name="connsiteY147" fmla="*/ 1562100 h 4575969"/>
                  <a:gd name="connsiteX148" fmla="*/ 8477250 w 8971757"/>
                  <a:gd name="connsiteY148" fmla="*/ 1545431 h 4575969"/>
                  <a:gd name="connsiteX149" fmla="*/ 8477250 w 8971757"/>
                  <a:gd name="connsiteY149" fmla="*/ 1545431 h 4575969"/>
                  <a:gd name="connsiteX150" fmla="*/ 8436769 w 8971757"/>
                  <a:gd name="connsiteY150" fmla="*/ 1550194 h 4575969"/>
                  <a:gd name="connsiteX151" fmla="*/ 8351043 w 8971757"/>
                  <a:gd name="connsiteY151" fmla="*/ 1476375 h 4575969"/>
                  <a:gd name="connsiteX152" fmla="*/ 8170069 w 8971757"/>
                  <a:gd name="connsiteY152" fmla="*/ 1476374 h 4575969"/>
                  <a:gd name="connsiteX153" fmla="*/ 8117681 w 8971757"/>
                  <a:gd name="connsiteY153" fmla="*/ 1514475 h 4575969"/>
                  <a:gd name="connsiteX154" fmla="*/ 8067675 w 8971757"/>
                  <a:gd name="connsiteY154" fmla="*/ 1593056 h 4575969"/>
                  <a:gd name="connsiteX155" fmla="*/ 8084344 w 8971757"/>
                  <a:gd name="connsiteY155" fmla="*/ 1614487 h 4575969"/>
                  <a:gd name="connsiteX156" fmla="*/ 8039100 w 8971757"/>
                  <a:gd name="connsiteY156" fmla="*/ 1664493 h 4575969"/>
                  <a:gd name="connsiteX157" fmla="*/ 7889081 w 8971757"/>
                  <a:gd name="connsiteY157" fmla="*/ 1588293 h 4575969"/>
                  <a:gd name="connsiteX158" fmla="*/ 7798594 w 8971757"/>
                  <a:gd name="connsiteY158" fmla="*/ 1624012 h 4575969"/>
                  <a:gd name="connsiteX159" fmla="*/ 7724775 w 8971757"/>
                  <a:gd name="connsiteY159" fmla="*/ 1621631 h 4575969"/>
                  <a:gd name="connsiteX160" fmla="*/ 7667625 w 8971757"/>
                  <a:gd name="connsiteY160" fmla="*/ 1716881 h 4575969"/>
                  <a:gd name="connsiteX161" fmla="*/ 7529513 w 8971757"/>
                  <a:gd name="connsiteY16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8117756 w 8971757"/>
                  <a:gd name="connsiteY9" fmla="*/ 971175 h 4575969"/>
                  <a:gd name="connsiteX10" fmla="*/ 8412956 w 8971757"/>
                  <a:gd name="connsiteY10" fmla="*/ 23812 h 4575969"/>
                  <a:gd name="connsiteX11" fmla="*/ 8949531 w 8971757"/>
                  <a:gd name="connsiteY11" fmla="*/ 0 h 4575969"/>
                  <a:gd name="connsiteX12" fmla="*/ 8971757 w 8971757"/>
                  <a:gd name="connsiteY12" fmla="*/ 4575969 h 4575969"/>
                  <a:gd name="connsiteX13" fmla="*/ 2381 w 8971757"/>
                  <a:gd name="connsiteY13" fmla="*/ 4547392 h 4575969"/>
                  <a:gd name="connsiteX14" fmla="*/ 0 w 8971757"/>
                  <a:gd name="connsiteY14" fmla="*/ 845344 h 4575969"/>
                  <a:gd name="connsiteX15" fmla="*/ 76200 w 8971757"/>
                  <a:gd name="connsiteY15" fmla="*/ 828675 h 4575969"/>
                  <a:gd name="connsiteX16" fmla="*/ 119063 w 8971757"/>
                  <a:gd name="connsiteY16" fmla="*/ 857250 h 4575969"/>
                  <a:gd name="connsiteX17" fmla="*/ 215900 w 8971757"/>
                  <a:gd name="connsiteY17" fmla="*/ 848519 h 4575969"/>
                  <a:gd name="connsiteX18" fmla="*/ 261938 w 8971757"/>
                  <a:gd name="connsiteY18" fmla="*/ 876299 h 4575969"/>
                  <a:gd name="connsiteX19" fmla="*/ 228600 w 8971757"/>
                  <a:gd name="connsiteY19" fmla="*/ 904875 h 4575969"/>
                  <a:gd name="connsiteX20" fmla="*/ 233363 w 8971757"/>
                  <a:gd name="connsiteY20" fmla="*/ 947737 h 4575969"/>
                  <a:gd name="connsiteX21" fmla="*/ 200025 w 8971757"/>
                  <a:gd name="connsiteY21" fmla="*/ 952500 h 4575969"/>
                  <a:gd name="connsiteX22" fmla="*/ 204788 w 8971757"/>
                  <a:gd name="connsiteY22" fmla="*/ 976312 h 4575969"/>
                  <a:gd name="connsiteX23" fmla="*/ 261937 w 8971757"/>
                  <a:gd name="connsiteY23" fmla="*/ 1050131 h 4575969"/>
                  <a:gd name="connsiteX24" fmla="*/ 223838 w 8971757"/>
                  <a:gd name="connsiteY24" fmla="*/ 1097756 h 4575969"/>
                  <a:gd name="connsiteX25" fmla="*/ 278606 w 8971757"/>
                  <a:gd name="connsiteY25" fmla="*/ 1133475 h 4575969"/>
                  <a:gd name="connsiteX26" fmla="*/ 369094 w 8971757"/>
                  <a:gd name="connsiteY26" fmla="*/ 1221581 h 4575969"/>
                  <a:gd name="connsiteX27" fmla="*/ 371475 w 8971757"/>
                  <a:gd name="connsiteY27" fmla="*/ 1281112 h 4575969"/>
                  <a:gd name="connsiteX28" fmla="*/ 507206 w 8971757"/>
                  <a:gd name="connsiteY28" fmla="*/ 1414463 h 4575969"/>
                  <a:gd name="connsiteX29" fmla="*/ 561975 w 8971757"/>
                  <a:gd name="connsiteY29" fmla="*/ 1390650 h 4575969"/>
                  <a:gd name="connsiteX30" fmla="*/ 600075 w 8971757"/>
                  <a:gd name="connsiteY30" fmla="*/ 1416843 h 4575969"/>
                  <a:gd name="connsiteX31" fmla="*/ 614363 w 8971757"/>
                  <a:gd name="connsiteY31" fmla="*/ 1466849 h 4575969"/>
                  <a:gd name="connsiteX32" fmla="*/ 657225 w 8971757"/>
                  <a:gd name="connsiteY32" fmla="*/ 1502569 h 4575969"/>
                  <a:gd name="connsiteX33" fmla="*/ 697706 w 8971757"/>
                  <a:gd name="connsiteY33" fmla="*/ 1490662 h 4575969"/>
                  <a:gd name="connsiteX34" fmla="*/ 716756 w 8971757"/>
                  <a:gd name="connsiteY34" fmla="*/ 1547812 h 4575969"/>
                  <a:gd name="connsiteX35" fmla="*/ 764381 w 8971757"/>
                  <a:gd name="connsiteY35" fmla="*/ 1590675 h 4575969"/>
                  <a:gd name="connsiteX36" fmla="*/ 788194 w 8971757"/>
                  <a:gd name="connsiteY36" fmla="*/ 1693069 h 4575969"/>
                  <a:gd name="connsiteX37" fmla="*/ 785813 w 8971757"/>
                  <a:gd name="connsiteY37" fmla="*/ 1740694 h 4575969"/>
                  <a:gd name="connsiteX38" fmla="*/ 821531 w 8971757"/>
                  <a:gd name="connsiteY38" fmla="*/ 1840706 h 4575969"/>
                  <a:gd name="connsiteX39" fmla="*/ 866775 w 8971757"/>
                  <a:gd name="connsiteY39" fmla="*/ 1897856 h 4575969"/>
                  <a:gd name="connsiteX40" fmla="*/ 883443 w 8971757"/>
                  <a:gd name="connsiteY40" fmla="*/ 2055018 h 4575969"/>
                  <a:gd name="connsiteX41" fmla="*/ 850106 w 8971757"/>
                  <a:gd name="connsiteY41" fmla="*/ 2116931 h 4575969"/>
                  <a:gd name="connsiteX42" fmla="*/ 819150 w 8971757"/>
                  <a:gd name="connsiteY42" fmla="*/ 2193131 h 4575969"/>
                  <a:gd name="connsiteX43" fmla="*/ 833438 w 8971757"/>
                  <a:gd name="connsiteY43" fmla="*/ 2250281 h 4575969"/>
                  <a:gd name="connsiteX44" fmla="*/ 735806 w 8971757"/>
                  <a:gd name="connsiteY44" fmla="*/ 2357438 h 4575969"/>
                  <a:gd name="connsiteX45" fmla="*/ 692944 w 8971757"/>
                  <a:gd name="connsiteY45" fmla="*/ 2471737 h 4575969"/>
                  <a:gd name="connsiteX46" fmla="*/ 726281 w 8971757"/>
                  <a:gd name="connsiteY46" fmla="*/ 2512219 h 4575969"/>
                  <a:gd name="connsiteX47" fmla="*/ 709613 w 8971757"/>
                  <a:gd name="connsiteY47" fmla="*/ 2540794 h 4575969"/>
                  <a:gd name="connsiteX48" fmla="*/ 740569 w 8971757"/>
                  <a:gd name="connsiteY48" fmla="*/ 2597944 h 4575969"/>
                  <a:gd name="connsiteX49" fmla="*/ 769144 w 8971757"/>
                  <a:gd name="connsiteY49" fmla="*/ 2597944 h 4575969"/>
                  <a:gd name="connsiteX50" fmla="*/ 931069 w 8971757"/>
                  <a:gd name="connsiteY50" fmla="*/ 2700337 h 4575969"/>
                  <a:gd name="connsiteX51" fmla="*/ 1035844 w 8971757"/>
                  <a:gd name="connsiteY51" fmla="*/ 2697956 h 4575969"/>
                  <a:gd name="connsiteX52" fmla="*/ 1114425 w 8971757"/>
                  <a:gd name="connsiteY52" fmla="*/ 2752725 h 4575969"/>
                  <a:gd name="connsiteX53" fmla="*/ 1245393 w 8971757"/>
                  <a:gd name="connsiteY53" fmla="*/ 2755106 h 4575969"/>
                  <a:gd name="connsiteX54" fmla="*/ 1435893 w 8971757"/>
                  <a:gd name="connsiteY54" fmla="*/ 2824162 h 4575969"/>
                  <a:gd name="connsiteX55" fmla="*/ 1638300 w 8971757"/>
                  <a:gd name="connsiteY55" fmla="*/ 2974181 h 4575969"/>
                  <a:gd name="connsiteX56" fmla="*/ 1671637 w 8971757"/>
                  <a:gd name="connsiteY56" fmla="*/ 3040856 h 4575969"/>
                  <a:gd name="connsiteX57" fmla="*/ 1838325 w 8971757"/>
                  <a:gd name="connsiteY57" fmla="*/ 3167062 h 4575969"/>
                  <a:gd name="connsiteX58" fmla="*/ 1909763 w 8971757"/>
                  <a:gd name="connsiteY58" fmla="*/ 3162300 h 4575969"/>
                  <a:gd name="connsiteX59" fmla="*/ 1945482 w 8971757"/>
                  <a:gd name="connsiteY59" fmla="*/ 3186112 h 4575969"/>
                  <a:gd name="connsiteX60" fmla="*/ 1916906 w 8971757"/>
                  <a:gd name="connsiteY60" fmla="*/ 3226594 h 4575969"/>
                  <a:gd name="connsiteX61" fmla="*/ 1924050 w 8971757"/>
                  <a:gd name="connsiteY61" fmla="*/ 3278981 h 4575969"/>
                  <a:gd name="connsiteX62" fmla="*/ 1976438 w 8971757"/>
                  <a:gd name="connsiteY62" fmla="*/ 3305175 h 4575969"/>
                  <a:gd name="connsiteX63" fmla="*/ 2038350 w 8971757"/>
                  <a:gd name="connsiteY63" fmla="*/ 3529013 h 4575969"/>
                  <a:gd name="connsiteX64" fmla="*/ 2028825 w 8971757"/>
                  <a:gd name="connsiteY64" fmla="*/ 3593306 h 4575969"/>
                  <a:gd name="connsiteX65" fmla="*/ 2164556 w 8971757"/>
                  <a:gd name="connsiteY65" fmla="*/ 3759994 h 4575969"/>
                  <a:gd name="connsiteX66" fmla="*/ 2183606 w 8971757"/>
                  <a:gd name="connsiteY66" fmla="*/ 3810000 h 4575969"/>
                  <a:gd name="connsiteX67" fmla="*/ 2157413 w 8971757"/>
                  <a:gd name="connsiteY67" fmla="*/ 3829050 h 4575969"/>
                  <a:gd name="connsiteX68" fmla="*/ 2259806 w 8971757"/>
                  <a:gd name="connsiteY68" fmla="*/ 3838575 h 4575969"/>
                  <a:gd name="connsiteX69" fmla="*/ 2371725 w 8971757"/>
                  <a:gd name="connsiteY69" fmla="*/ 3826669 h 4575969"/>
                  <a:gd name="connsiteX70" fmla="*/ 2650331 w 8971757"/>
                  <a:gd name="connsiteY70" fmla="*/ 3910012 h 4575969"/>
                  <a:gd name="connsiteX71" fmla="*/ 3057525 w 8971757"/>
                  <a:gd name="connsiteY71" fmla="*/ 3990975 h 4575969"/>
                  <a:gd name="connsiteX72" fmla="*/ 3255169 w 8971757"/>
                  <a:gd name="connsiteY72" fmla="*/ 3960018 h 4575969"/>
                  <a:gd name="connsiteX73" fmla="*/ 3300413 w 8971757"/>
                  <a:gd name="connsiteY73" fmla="*/ 3971924 h 4575969"/>
                  <a:gd name="connsiteX74" fmla="*/ 3355181 w 8971757"/>
                  <a:gd name="connsiteY74" fmla="*/ 3948113 h 4575969"/>
                  <a:gd name="connsiteX75" fmla="*/ 3748087 w 8971757"/>
                  <a:gd name="connsiteY75" fmla="*/ 4038600 h 4575969"/>
                  <a:gd name="connsiteX76" fmla="*/ 3831432 w 8971757"/>
                  <a:gd name="connsiteY76" fmla="*/ 4136231 h 4575969"/>
                  <a:gd name="connsiteX77" fmla="*/ 3950494 w 8971757"/>
                  <a:gd name="connsiteY77" fmla="*/ 4207669 h 4575969"/>
                  <a:gd name="connsiteX78" fmla="*/ 4010025 w 8971757"/>
                  <a:gd name="connsiteY78" fmla="*/ 4191000 h 4575969"/>
                  <a:gd name="connsiteX79" fmla="*/ 4360068 w 8971757"/>
                  <a:gd name="connsiteY79" fmla="*/ 4364831 h 4575969"/>
                  <a:gd name="connsiteX80" fmla="*/ 4586288 w 8971757"/>
                  <a:gd name="connsiteY80" fmla="*/ 4336256 h 4575969"/>
                  <a:gd name="connsiteX81" fmla="*/ 4595813 w 8971757"/>
                  <a:gd name="connsiteY81" fmla="*/ 4414837 h 4575969"/>
                  <a:gd name="connsiteX82" fmla="*/ 4681538 w 8971757"/>
                  <a:gd name="connsiteY82" fmla="*/ 4410074 h 4575969"/>
                  <a:gd name="connsiteX83" fmla="*/ 4760119 w 8971757"/>
                  <a:gd name="connsiteY83" fmla="*/ 4441031 h 4575969"/>
                  <a:gd name="connsiteX84" fmla="*/ 4802981 w 8971757"/>
                  <a:gd name="connsiteY84" fmla="*/ 4381500 h 4575969"/>
                  <a:gd name="connsiteX85" fmla="*/ 5474494 w 8971757"/>
                  <a:gd name="connsiteY85" fmla="*/ 4062412 h 4575969"/>
                  <a:gd name="connsiteX86" fmla="*/ 5562600 w 8971757"/>
                  <a:gd name="connsiteY86" fmla="*/ 4090988 h 4575969"/>
                  <a:gd name="connsiteX87" fmla="*/ 5693569 w 8971757"/>
                  <a:gd name="connsiteY87" fmla="*/ 4062412 h 4575969"/>
                  <a:gd name="connsiteX88" fmla="*/ 5872162 w 8971757"/>
                  <a:gd name="connsiteY88" fmla="*/ 4079081 h 4575969"/>
                  <a:gd name="connsiteX89" fmla="*/ 5929313 w 8971757"/>
                  <a:gd name="connsiteY89" fmla="*/ 4052888 h 4575969"/>
                  <a:gd name="connsiteX90" fmla="*/ 6062662 w 8971757"/>
                  <a:gd name="connsiteY90" fmla="*/ 4050506 h 4575969"/>
                  <a:gd name="connsiteX91" fmla="*/ 6196012 w 8971757"/>
                  <a:gd name="connsiteY91" fmla="*/ 3952875 h 4575969"/>
                  <a:gd name="connsiteX92" fmla="*/ 6262687 w 8971757"/>
                  <a:gd name="connsiteY92" fmla="*/ 3945731 h 4575969"/>
                  <a:gd name="connsiteX93" fmla="*/ 6360319 w 8971757"/>
                  <a:gd name="connsiteY93" fmla="*/ 3871912 h 4575969"/>
                  <a:gd name="connsiteX94" fmla="*/ 6434138 w 8971757"/>
                  <a:gd name="connsiteY94" fmla="*/ 3802856 h 4575969"/>
                  <a:gd name="connsiteX95" fmla="*/ 6443663 w 8971757"/>
                  <a:gd name="connsiteY95" fmla="*/ 3740944 h 4575969"/>
                  <a:gd name="connsiteX96" fmla="*/ 6477000 w 8971757"/>
                  <a:gd name="connsiteY96" fmla="*/ 3671887 h 4575969"/>
                  <a:gd name="connsiteX97" fmla="*/ 6629400 w 8971757"/>
                  <a:gd name="connsiteY97" fmla="*/ 3564731 h 4575969"/>
                  <a:gd name="connsiteX98" fmla="*/ 6662738 w 8971757"/>
                  <a:gd name="connsiteY98" fmla="*/ 3569494 h 4575969"/>
                  <a:gd name="connsiteX99" fmla="*/ 6715125 w 8971757"/>
                  <a:gd name="connsiteY99" fmla="*/ 3490912 h 4575969"/>
                  <a:gd name="connsiteX100" fmla="*/ 6762750 w 8971757"/>
                  <a:gd name="connsiteY100" fmla="*/ 3452812 h 4575969"/>
                  <a:gd name="connsiteX101" fmla="*/ 6748463 w 8971757"/>
                  <a:gd name="connsiteY101" fmla="*/ 3383756 h 4575969"/>
                  <a:gd name="connsiteX102" fmla="*/ 6698456 w 8971757"/>
                  <a:gd name="connsiteY102" fmla="*/ 3352799 h 4575969"/>
                  <a:gd name="connsiteX103" fmla="*/ 6638925 w 8971757"/>
                  <a:gd name="connsiteY103" fmla="*/ 3298031 h 4575969"/>
                  <a:gd name="connsiteX104" fmla="*/ 6619875 w 8971757"/>
                  <a:gd name="connsiteY104" fmla="*/ 3240881 h 4575969"/>
                  <a:gd name="connsiteX105" fmla="*/ 6584156 w 8971757"/>
                  <a:gd name="connsiteY105" fmla="*/ 3207544 h 4575969"/>
                  <a:gd name="connsiteX106" fmla="*/ 6610350 w 8971757"/>
                  <a:gd name="connsiteY106" fmla="*/ 3155156 h 4575969"/>
                  <a:gd name="connsiteX107" fmla="*/ 6650831 w 8971757"/>
                  <a:gd name="connsiteY107" fmla="*/ 2976562 h 4575969"/>
                  <a:gd name="connsiteX108" fmla="*/ 6691313 w 8971757"/>
                  <a:gd name="connsiteY108" fmla="*/ 2909887 h 4575969"/>
                  <a:gd name="connsiteX109" fmla="*/ 6836569 w 8971757"/>
                  <a:gd name="connsiteY109" fmla="*/ 2893218 h 4575969"/>
                  <a:gd name="connsiteX110" fmla="*/ 6905625 w 8971757"/>
                  <a:gd name="connsiteY110" fmla="*/ 2950369 h 4575969"/>
                  <a:gd name="connsiteX111" fmla="*/ 6981825 w 8971757"/>
                  <a:gd name="connsiteY111" fmla="*/ 2974181 h 4575969"/>
                  <a:gd name="connsiteX112" fmla="*/ 7186612 w 8971757"/>
                  <a:gd name="connsiteY112" fmla="*/ 2978944 h 4575969"/>
                  <a:gd name="connsiteX113" fmla="*/ 7362825 w 8971757"/>
                  <a:gd name="connsiteY113" fmla="*/ 2840831 h 4575969"/>
                  <a:gd name="connsiteX114" fmla="*/ 7419975 w 8971757"/>
                  <a:gd name="connsiteY114" fmla="*/ 2750343 h 4575969"/>
                  <a:gd name="connsiteX115" fmla="*/ 7446169 w 8971757"/>
                  <a:gd name="connsiteY115" fmla="*/ 2667000 h 4575969"/>
                  <a:gd name="connsiteX116" fmla="*/ 7577137 w 8971757"/>
                  <a:gd name="connsiteY116" fmla="*/ 2667000 h 4575969"/>
                  <a:gd name="connsiteX117" fmla="*/ 7750969 w 8971757"/>
                  <a:gd name="connsiteY117" fmla="*/ 2609849 h 4575969"/>
                  <a:gd name="connsiteX118" fmla="*/ 7810500 w 8971757"/>
                  <a:gd name="connsiteY118" fmla="*/ 2497931 h 4575969"/>
                  <a:gd name="connsiteX119" fmla="*/ 7874794 w 8971757"/>
                  <a:gd name="connsiteY119" fmla="*/ 2462212 h 4575969"/>
                  <a:gd name="connsiteX120" fmla="*/ 7853363 w 8971757"/>
                  <a:gd name="connsiteY120" fmla="*/ 2416969 h 4575969"/>
                  <a:gd name="connsiteX121" fmla="*/ 7931944 w 8971757"/>
                  <a:gd name="connsiteY121" fmla="*/ 2247899 h 4575969"/>
                  <a:gd name="connsiteX122" fmla="*/ 7986713 w 8971757"/>
                  <a:gd name="connsiteY122" fmla="*/ 2188369 h 4575969"/>
                  <a:gd name="connsiteX123" fmla="*/ 8024813 w 8971757"/>
                  <a:gd name="connsiteY123" fmla="*/ 2183606 h 4575969"/>
                  <a:gd name="connsiteX124" fmla="*/ 8070056 w 8971757"/>
                  <a:gd name="connsiteY124" fmla="*/ 2188369 h 4575969"/>
                  <a:gd name="connsiteX125" fmla="*/ 8134350 w 8971757"/>
                  <a:gd name="connsiteY125" fmla="*/ 2155031 h 4575969"/>
                  <a:gd name="connsiteX126" fmla="*/ 8143875 w 8971757"/>
                  <a:gd name="connsiteY126" fmla="*/ 2090737 h 4575969"/>
                  <a:gd name="connsiteX127" fmla="*/ 8184355 w 8971757"/>
                  <a:gd name="connsiteY127" fmla="*/ 2055019 h 4575969"/>
                  <a:gd name="connsiteX128" fmla="*/ 8243888 w 8971757"/>
                  <a:gd name="connsiteY128" fmla="*/ 2095499 h 4575969"/>
                  <a:gd name="connsiteX129" fmla="*/ 8270082 w 8971757"/>
                  <a:gd name="connsiteY129" fmla="*/ 2045493 h 4575969"/>
                  <a:gd name="connsiteX130" fmla="*/ 8365331 w 8971757"/>
                  <a:gd name="connsiteY130" fmla="*/ 1976437 h 4575969"/>
                  <a:gd name="connsiteX131" fmla="*/ 8427244 w 8971757"/>
                  <a:gd name="connsiteY131" fmla="*/ 1983581 h 4575969"/>
                  <a:gd name="connsiteX132" fmla="*/ 8477250 w 8971757"/>
                  <a:gd name="connsiteY132" fmla="*/ 1964531 h 4575969"/>
                  <a:gd name="connsiteX133" fmla="*/ 8515350 w 8971757"/>
                  <a:gd name="connsiteY133" fmla="*/ 1935956 h 4575969"/>
                  <a:gd name="connsiteX134" fmla="*/ 8548688 w 8971757"/>
                  <a:gd name="connsiteY134" fmla="*/ 1933575 h 4575969"/>
                  <a:gd name="connsiteX135" fmla="*/ 8584406 w 8971757"/>
                  <a:gd name="connsiteY135" fmla="*/ 1964531 h 4575969"/>
                  <a:gd name="connsiteX136" fmla="*/ 8643938 w 8971757"/>
                  <a:gd name="connsiteY136" fmla="*/ 1964531 h 4575969"/>
                  <a:gd name="connsiteX137" fmla="*/ 8682037 w 8971757"/>
                  <a:gd name="connsiteY137" fmla="*/ 1945481 h 4575969"/>
                  <a:gd name="connsiteX138" fmla="*/ 8765381 w 8971757"/>
                  <a:gd name="connsiteY138" fmla="*/ 1947863 h 4575969"/>
                  <a:gd name="connsiteX139" fmla="*/ 8796338 w 8971757"/>
                  <a:gd name="connsiteY139" fmla="*/ 1902619 h 4575969"/>
                  <a:gd name="connsiteX140" fmla="*/ 8801100 w 8971757"/>
                  <a:gd name="connsiteY140" fmla="*/ 1840706 h 4575969"/>
                  <a:gd name="connsiteX141" fmla="*/ 8751093 w 8971757"/>
                  <a:gd name="connsiteY141" fmla="*/ 1800225 h 4575969"/>
                  <a:gd name="connsiteX142" fmla="*/ 8734425 w 8971757"/>
                  <a:gd name="connsiteY142" fmla="*/ 1745456 h 4575969"/>
                  <a:gd name="connsiteX143" fmla="*/ 8643938 w 8971757"/>
                  <a:gd name="connsiteY143" fmla="*/ 1683544 h 4575969"/>
                  <a:gd name="connsiteX144" fmla="*/ 8603456 w 8971757"/>
                  <a:gd name="connsiteY144" fmla="*/ 1662112 h 4575969"/>
                  <a:gd name="connsiteX145" fmla="*/ 8565356 w 8971757"/>
                  <a:gd name="connsiteY145" fmla="*/ 1616869 h 4575969"/>
                  <a:gd name="connsiteX146" fmla="*/ 8534400 w 8971757"/>
                  <a:gd name="connsiteY146" fmla="*/ 1614487 h 4575969"/>
                  <a:gd name="connsiteX147" fmla="*/ 8517731 w 8971757"/>
                  <a:gd name="connsiteY147" fmla="*/ 1562100 h 4575969"/>
                  <a:gd name="connsiteX148" fmla="*/ 8477250 w 8971757"/>
                  <a:gd name="connsiteY148" fmla="*/ 1545431 h 4575969"/>
                  <a:gd name="connsiteX149" fmla="*/ 8477250 w 8971757"/>
                  <a:gd name="connsiteY149" fmla="*/ 1545431 h 4575969"/>
                  <a:gd name="connsiteX150" fmla="*/ 8436769 w 8971757"/>
                  <a:gd name="connsiteY150" fmla="*/ 1550194 h 4575969"/>
                  <a:gd name="connsiteX151" fmla="*/ 8351043 w 8971757"/>
                  <a:gd name="connsiteY151" fmla="*/ 1476375 h 4575969"/>
                  <a:gd name="connsiteX152" fmla="*/ 8170069 w 8971757"/>
                  <a:gd name="connsiteY152" fmla="*/ 1476374 h 4575969"/>
                  <a:gd name="connsiteX153" fmla="*/ 8117681 w 8971757"/>
                  <a:gd name="connsiteY153" fmla="*/ 1514475 h 4575969"/>
                  <a:gd name="connsiteX154" fmla="*/ 8067675 w 8971757"/>
                  <a:gd name="connsiteY154" fmla="*/ 1593056 h 4575969"/>
                  <a:gd name="connsiteX155" fmla="*/ 8084344 w 8971757"/>
                  <a:gd name="connsiteY155" fmla="*/ 1614487 h 4575969"/>
                  <a:gd name="connsiteX156" fmla="*/ 8039100 w 8971757"/>
                  <a:gd name="connsiteY156" fmla="*/ 1664493 h 4575969"/>
                  <a:gd name="connsiteX157" fmla="*/ 7889081 w 8971757"/>
                  <a:gd name="connsiteY157" fmla="*/ 1588293 h 4575969"/>
                  <a:gd name="connsiteX158" fmla="*/ 7798594 w 8971757"/>
                  <a:gd name="connsiteY158" fmla="*/ 1624012 h 4575969"/>
                  <a:gd name="connsiteX159" fmla="*/ 7724775 w 8971757"/>
                  <a:gd name="connsiteY159" fmla="*/ 1621631 h 4575969"/>
                  <a:gd name="connsiteX160" fmla="*/ 7667625 w 8971757"/>
                  <a:gd name="connsiteY160" fmla="*/ 1716881 h 4575969"/>
                  <a:gd name="connsiteX161" fmla="*/ 7529513 w 8971757"/>
                  <a:gd name="connsiteY16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8408269 w 8971757"/>
                  <a:gd name="connsiteY9" fmla="*/ 702094 h 4575969"/>
                  <a:gd name="connsiteX10" fmla="*/ 8412956 w 8971757"/>
                  <a:gd name="connsiteY10" fmla="*/ 23812 h 4575969"/>
                  <a:gd name="connsiteX11" fmla="*/ 8949531 w 8971757"/>
                  <a:gd name="connsiteY11" fmla="*/ 0 h 4575969"/>
                  <a:gd name="connsiteX12" fmla="*/ 8971757 w 8971757"/>
                  <a:gd name="connsiteY12" fmla="*/ 4575969 h 4575969"/>
                  <a:gd name="connsiteX13" fmla="*/ 2381 w 8971757"/>
                  <a:gd name="connsiteY13" fmla="*/ 4547392 h 4575969"/>
                  <a:gd name="connsiteX14" fmla="*/ 0 w 8971757"/>
                  <a:gd name="connsiteY14" fmla="*/ 845344 h 4575969"/>
                  <a:gd name="connsiteX15" fmla="*/ 76200 w 8971757"/>
                  <a:gd name="connsiteY15" fmla="*/ 828675 h 4575969"/>
                  <a:gd name="connsiteX16" fmla="*/ 119063 w 8971757"/>
                  <a:gd name="connsiteY16" fmla="*/ 857250 h 4575969"/>
                  <a:gd name="connsiteX17" fmla="*/ 215900 w 8971757"/>
                  <a:gd name="connsiteY17" fmla="*/ 848519 h 4575969"/>
                  <a:gd name="connsiteX18" fmla="*/ 261938 w 8971757"/>
                  <a:gd name="connsiteY18" fmla="*/ 876299 h 4575969"/>
                  <a:gd name="connsiteX19" fmla="*/ 228600 w 8971757"/>
                  <a:gd name="connsiteY19" fmla="*/ 904875 h 4575969"/>
                  <a:gd name="connsiteX20" fmla="*/ 233363 w 8971757"/>
                  <a:gd name="connsiteY20" fmla="*/ 947737 h 4575969"/>
                  <a:gd name="connsiteX21" fmla="*/ 200025 w 8971757"/>
                  <a:gd name="connsiteY21" fmla="*/ 952500 h 4575969"/>
                  <a:gd name="connsiteX22" fmla="*/ 204788 w 8971757"/>
                  <a:gd name="connsiteY22" fmla="*/ 976312 h 4575969"/>
                  <a:gd name="connsiteX23" fmla="*/ 261937 w 8971757"/>
                  <a:gd name="connsiteY23" fmla="*/ 1050131 h 4575969"/>
                  <a:gd name="connsiteX24" fmla="*/ 223838 w 8971757"/>
                  <a:gd name="connsiteY24" fmla="*/ 1097756 h 4575969"/>
                  <a:gd name="connsiteX25" fmla="*/ 278606 w 8971757"/>
                  <a:gd name="connsiteY25" fmla="*/ 1133475 h 4575969"/>
                  <a:gd name="connsiteX26" fmla="*/ 369094 w 8971757"/>
                  <a:gd name="connsiteY26" fmla="*/ 1221581 h 4575969"/>
                  <a:gd name="connsiteX27" fmla="*/ 371475 w 8971757"/>
                  <a:gd name="connsiteY27" fmla="*/ 1281112 h 4575969"/>
                  <a:gd name="connsiteX28" fmla="*/ 507206 w 8971757"/>
                  <a:gd name="connsiteY28" fmla="*/ 1414463 h 4575969"/>
                  <a:gd name="connsiteX29" fmla="*/ 561975 w 8971757"/>
                  <a:gd name="connsiteY29" fmla="*/ 1390650 h 4575969"/>
                  <a:gd name="connsiteX30" fmla="*/ 600075 w 8971757"/>
                  <a:gd name="connsiteY30" fmla="*/ 1416843 h 4575969"/>
                  <a:gd name="connsiteX31" fmla="*/ 614363 w 8971757"/>
                  <a:gd name="connsiteY31" fmla="*/ 1466849 h 4575969"/>
                  <a:gd name="connsiteX32" fmla="*/ 657225 w 8971757"/>
                  <a:gd name="connsiteY32" fmla="*/ 1502569 h 4575969"/>
                  <a:gd name="connsiteX33" fmla="*/ 697706 w 8971757"/>
                  <a:gd name="connsiteY33" fmla="*/ 1490662 h 4575969"/>
                  <a:gd name="connsiteX34" fmla="*/ 716756 w 8971757"/>
                  <a:gd name="connsiteY34" fmla="*/ 1547812 h 4575969"/>
                  <a:gd name="connsiteX35" fmla="*/ 764381 w 8971757"/>
                  <a:gd name="connsiteY35" fmla="*/ 1590675 h 4575969"/>
                  <a:gd name="connsiteX36" fmla="*/ 788194 w 8971757"/>
                  <a:gd name="connsiteY36" fmla="*/ 1693069 h 4575969"/>
                  <a:gd name="connsiteX37" fmla="*/ 785813 w 8971757"/>
                  <a:gd name="connsiteY37" fmla="*/ 1740694 h 4575969"/>
                  <a:gd name="connsiteX38" fmla="*/ 821531 w 8971757"/>
                  <a:gd name="connsiteY38" fmla="*/ 1840706 h 4575969"/>
                  <a:gd name="connsiteX39" fmla="*/ 866775 w 8971757"/>
                  <a:gd name="connsiteY39" fmla="*/ 1897856 h 4575969"/>
                  <a:gd name="connsiteX40" fmla="*/ 883443 w 8971757"/>
                  <a:gd name="connsiteY40" fmla="*/ 2055018 h 4575969"/>
                  <a:gd name="connsiteX41" fmla="*/ 850106 w 8971757"/>
                  <a:gd name="connsiteY41" fmla="*/ 2116931 h 4575969"/>
                  <a:gd name="connsiteX42" fmla="*/ 819150 w 8971757"/>
                  <a:gd name="connsiteY42" fmla="*/ 2193131 h 4575969"/>
                  <a:gd name="connsiteX43" fmla="*/ 833438 w 8971757"/>
                  <a:gd name="connsiteY43" fmla="*/ 2250281 h 4575969"/>
                  <a:gd name="connsiteX44" fmla="*/ 735806 w 8971757"/>
                  <a:gd name="connsiteY44" fmla="*/ 2357438 h 4575969"/>
                  <a:gd name="connsiteX45" fmla="*/ 692944 w 8971757"/>
                  <a:gd name="connsiteY45" fmla="*/ 2471737 h 4575969"/>
                  <a:gd name="connsiteX46" fmla="*/ 726281 w 8971757"/>
                  <a:gd name="connsiteY46" fmla="*/ 2512219 h 4575969"/>
                  <a:gd name="connsiteX47" fmla="*/ 709613 w 8971757"/>
                  <a:gd name="connsiteY47" fmla="*/ 2540794 h 4575969"/>
                  <a:gd name="connsiteX48" fmla="*/ 740569 w 8971757"/>
                  <a:gd name="connsiteY48" fmla="*/ 2597944 h 4575969"/>
                  <a:gd name="connsiteX49" fmla="*/ 769144 w 8971757"/>
                  <a:gd name="connsiteY49" fmla="*/ 2597944 h 4575969"/>
                  <a:gd name="connsiteX50" fmla="*/ 931069 w 8971757"/>
                  <a:gd name="connsiteY50" fmla="*/ 2700337 h 4575969"/>
                  <a:gd name="connsiteX51" fmla="*/ 1035844 w 8971757"/>
                  <a:gd name="connsiteY51" fmla="*/ 2697956 h 4575969"/>
                  <a:gd name="connsiteX52" fmla="*/ 1114425 w 8971757"/>
                  <a:gd name="connsiteY52" fmla="*/ 2752725 h 4575969"/>
                  <a:gd name="connsiteX53" fmla="*/ 1245393 w 8971757"/>
                  <a:gd name="connsiteY53" fmla="*/ 2755106 h 4575969"/>
                  <a:gd name="connsiteX54" fmla="*/ 1435893 w 8971757"/>
                  <a:gd name="connsiteY54" fmla="*/ 2824162 h 4575969"/>
                  <a:gd name="connsiteX55" fmla="*/ 1638300 w 8971757"/>
                  <a:gd name="connsiteY55" fmla="*/ 2974181 h 4575969"/>
                  <a:gd name="connsiteX56" fmla="*/ 1671637 w 8971757"/>
                  <a:gd name="connsiteY56" fmla="*/ 3040856 h 4575969"/>
                  <a:gd name="connsiteX57" fmla="*/ 1838325 w 8971757"/>
                  <a:gd name="connsiteY57" fmla="*/ 3167062 h 4575969"/>
                  <a:gd name="connsiteX58" fmla="*/ 1909763 w 8971757"/>
                  <a:gd name="connsiteY58" fmla="*/ 3162300 h 4575969"/>
                  <a:gd name="connsiteX59" fmla="*/ 1945482 w 8971757"/>
                  <a:gd name="connsiteY59" fmla="*/ 3186112 h 4575969"/>
                  <a:gd name="connsiteX60" fmla="*/ 1916906 w 8971757"/>
                  <a:gd name="connsiteY60" fmla="*/ 3226594 h 4575969"/>
                  <a:gd name="connsiteX61" fmla="*/ 1924050 w 8971757"/>
                  <a:gd name="connsiteY61" fmla="*/ 3278981 h 4575969"/>
                  <a:gd name="connsiteX62" fmla="*/ 1976438 w 8971757"/>
                  <a:gd name="connsiteY62" fmla="*/ 3305175 h 4575969"/>
                  <a:gd name="connsiteX63" fmla="*/ 2038350 w 8971757"/>
                  <a:gd name="connsiteY63" fmla="*/ 3529013 h 4575969"/>
                  <a:gd name="connsiteX64" fmla="*/ 2028825 w 8971757"/>
                  <a:gd name="connsiteY64" fmla="*/ 3593306 h 4575969"/>
                  <a:gd name="connsiteX65" fmla="*/ 2164556 w 8971757"/>
                  <a:gd name="connsiteY65" fmla="*/ 3759994 h 4575969"/>
                  <a:gd name="connsiteX66" fmla="*/ 2183606 w 8971757"/>
                  <a:gd name="connsiteY66" fmla="*/ 3810000 h 4575969"/>
                  <a:gd name="connsiteX67" fmla="*/ 2157413 w 8971757"/>
                  <a:gd name="connsiteY67" fmla="*/ 3829050 h 4575969"/>
                  <a:gd name="connsiteX68" fmla="*/ 2259806 w 8971757"/>
                  <a:gd name="connsiteY68" fmla="*/ 3838575 h 4575969"/>
                  <a:gd name="connsiteX69" fmla="*/ 2371725 w 8971757"/>
                  <a:gd name="connsiteY69" fmla="*/ 3826669 h 4575969"/>
                  <a:gd name="connsiteX70" fmla="*/ 2650331 w 8971757"/>
                  <a:gd name="connsiteY70" fmla="*/ 3910012 h 4575969"/>
                  <a:gd name="connsiteX71" fmla="*/ 3057525 w 8971757"/>
                  <a:gd name="connsiteY71" fmla="*/ 3990975 h 4575969"/>
                  <a:gd name="connsiteX72" fmla="*/ 3255169 w 8971757"/>
                  <a:gd name="connsiteY72" fmla="*/ 3960018 h 4575969"/>
                  <a:gd name="connsiteX73" fmla="*/ 3300413 w 8971757"/>
                  <a:gd name="connsiteY73" fmla="*/ 3971924 h 4575969"/>
                  <a:gd name="connsiteX74" fmla="*/ 3355181 w 8971757"/>
                  <a:gd name="connsiteY74" fmla="*/ 3948113 h 4575969"/>
                  <a:gd name="connsiteX75" fmla="*/ 3748087 w 8971757"/>
                  <a:gd name="connsiteY75" fmla="*/ 4038600 h 4575969"/>
                  <a:gd name="connsiteX76" fmla="*/ 3831432 w 8971757"/>
                  <a:gd name="connsiteY76" fmla="*/ 4136231 h 4575969"/>
                  <a:gd name="connsiteX77" fmla="*/ 3950494 w 8971757"/>
                  <a:gd name="connsiteY77" fmla="*/ 4207669 h 4575969"/>
                  <a:gd name="connsiteX78" fmla="*/ 4010025 w 8971757"/>
                  <a:gd name="connsiteY78" fmla="*/ 4191000 h 4575969"/>
                  <a:gd name="connsiteX79" fmla="*/ 4360068 w 8971757"/>
                  <a:gd name="connsiteY79" fmla="*/ 4364831 h 4575969"/>
                  <a:gd name="connsiteX80" fmla="*/ 4586288 w 8971757"/>
                  <a:gd name="connsiteY80" fmla="*/ 4336256 h 4575969"/>
                  <a:gd name="connsiteX81" fmla="*/ 4595813 w 8971757"/>
                  <a:gd name="connsiteY81" fmla="*/ 4414837 h 4575969"/>
                  <a:gd name="connsiteX82" fmla="*/ 4681538 w 8971757"/>
                  <a:gd name="connsiteY82" fmla="*/ 4410074 h 4575969"/>
                  <a:gd name="connsiteX83" fmla="*/ 4760119 w 8971757"/>
                  <a:gd name="connsiteY83" fmla="*/ 4441031 h 4575969"/>
                  <a:gd name="connsiteX84" fmla="*/ 4802981 w 8971757"/>
                  <a:gd name="connsiteY84" fmla="*/ 4381500 h 4575969"/>
                  <a:gd name="connsiteX85" fmla="*/ 5474494 w 8971757"/>
                  <a:gd name="connsiteY85" fmla="*/ 4062412 h 4575969"/>
                  <a:gd name="connsiteX86" fmla="*/ 5562600 w 8971757"/>
                  <a:gd name="connsiteY86" fmla="*/ 4090988 h 4575969"/>
                  <a:gd name="connsiteX87" fmla="*/ 5693569 w 8971757"/>
                  <a:gd name="connsiteY87" fmla="*/ 4062412 h 4575969"/>
                  <a:gd name="connsiteX88" fmla="*/ 5872162 w 8971757"/>
                  <a:gd name="connsiteY88" fmla="*/ 4079081 h 4575969"/>
                  <a:gd name="connsiteX89" fmla="*/ 5929313 w 8971757"/>
                  <a:gd name="connsiteY89" fmla="*/ 4052888 h 4575969"/>
                  <a:gd name="connsiteX90" fmla="*/ 6062662 w 8971757"/>
                  <a:gd name="connsiteY90" fmla="*/ 4050506 h 4575969"/>
                  <a:gd name="connsiteX91" fmla="*/ 6196012 w 8971757"/>
                  <a:gd name="connsiteY91" fmla="*/ 3952875 h 4575969"/>
                  <a:gd name="connsiteX92" fmla="*/ 6262687 w 8971757"/>
                  <a:gd name="connsiteY92" fmla="*/ 3945731 h 4575969"/>
                  <a:gd name="connsiteX93" fmla="*/ 6360319 w 8971757"/>
                  <a:gd name="connsiteY93" fmla="*/ 3871912 h 4575969"/>
                  <a:gd name="connsiteX94" fmla="*/ 6434138 w 8971757"/>
                  <a:gd name="connsiteY94" fmla="*/ 3802856 h 4575969"/>
                  <a:gd name="connsiteX95" fmla="*/ 6443663 w 8971757"/>
                  <a:gd name="connsiteY95" fmla="*/ 3740944 h 4575969"/>
                  <a:gd name="connsiteX96" fmla="*/ 6477000 w 8971757"/>
                  <a:gd name="connsiteY96" fmla="*/ 3671887 h 4575969"/>
                  <a:gd name="connsiteX97" fmla="*/ 6629400 w 8971757"/>
                  <a:gd name="connsiteY97" fmla="*/ 3564731 h 4575969"/>
                  <a:gd name="connsiteX98" fmla="*/ 6662738 w 8971757"/>
                  <a:gd name="connsiteY98" fmla="*/ 3569494 h 4575969"/>
                  <a:gd name="connsiteX99" fmla="*/ 6715125 w 8971757"/>
                  <a:gd name="connsiteY99" fmla="*/ 3490912 h 4575969"/>
                  <a:gd name="connsiteX100" fmla="*/ 6762750 w 8971757"/>
                  <a:gd name="connsiteY100" fmla="*/ 3452812 h 4575969"/>
                  <a:gd name="connsiteX101" fmla="*/ 6748463 w 8971757"/>
                  <a:gd name="connsiteY101" fmla="*/ 3383756 h 4575969"/>
                  <a:gd name="connsiteX102" fmla="*/ 6698456 w 8971757"/>
                  <a:gd name="connsiteY102" fmla="*/ 3352799 h 4575969"/>
                  <a:gd name="connsiteX103" fmla="*/ 6638925 w 8971757"/>
                  <a:gd name="connsiteY103" fmla="*/ 3298031 h 4575969"/>
                  <a:gd name="connsiteX104" fmla="*/ 6619875 w 8971757"/>
                  <a:gd name="connsiteY104" fmla="*/ 3240881 h 4575969"/>
                  <a:gd name="connsiteX105" fmla="*/ 6584156 w 8971757"/>
                  <a:gd name="connsiteY105" fmla="*/ 3207544 h 4575969"/>
                  <a:gd name="connsiteX106" fmla="*/ 6610350 w 8971757"/>
                  <a:gd name="connsiteY106" fmla="*/ 3155156 h 4575969"/>
                  <a:gd name="connsiteX107" fmla="*/ 6650831 w 8971757"/>
                  <a:gd name="connsiteY107" fmla="*/ 2976562 h 4575969"/>
                  <a:gd name="connsiteX108" fmla="*/ 6691313 w 8971757"/>
                  <a:gd name="connsiteY108" fmla="*/ 2909887 h 4575969"/>
                  <a:gd name="connsiteX109" fmla="*/ 6836569 w 8971757"/>
                  <a:gd name="connsiteY109" fmla="*/ 2893218 h 4575969"/>
                  <a:gd name="connsiteX110" fmla="*/ 6905625 w 8971757"/>
                  <a:gd name="connsiteY110" fmla="*/ 2950369 h 4575969"/>
                  <a:gd name="connsiteX111" fmla="*/ 6981825 w 8971757"/>
                  <a:gd name="connsiteY111" fmla="*/ 2974181 h 4575969"/>
                  <a:gd name="connsiteX112" fmla="*/ 7186612 w 8971757"/>
                  <a:gd name="connsiteY112" fmla="*/ 2978944 h 4575969"/>
                  <a:gd name="connsiteX113" fmla="*/ 7362825 w 8971757"/>
                  <a:gd name="connsiteY113" fmla="*/ 2840831 h 4575969"/>
                  <a:gd name="connsiteX114" fmla="*/ 7419975 w 8971757"/>
                  <a:gd name="connsiteY114" fmla="*/ 2750343 h 4575969"/>
                  <a:gd name="connsiteX115" fmla="*/ 7446169 w 8971757"/>
                  <a:gd name="connsiteY115" fmla="*/ 2667000 h 4575969"/>
                  <a:gd name="connsiteX116" fmla="*/ 7577137 w 8971757"/>
                  <a:gd name="connsiteY116" fmla="*/ 2667000 h 4575969"/>
                  <a:gd name="connsiteX117" fmla="*/ 7750969 w 8971757"/>
                  <a:gd name="connsiteY117" fmla="*/ 2609849 h 4575969"/>
                  <a:gd name="connsiteX118" fmla="*/ 7810500 w 8971757"/>
                  <a:gd name="connsiteY118" fmla="*/ 2497931 h 4575969"/>
                  <a:gd name="connsiteX119" fmla="*/ 7874794 w 8971757"/>
                  <a:gd name="connsiteY119" fmla="*/ 2462212 h 4575969"/>
                  <a:gd name="connsiteX120" fmla="*/ 7853363 w 8971757"/>
                  <a:gd name="connsiteY120" fmla="*/ 2416969 h 4575969"/>
                  <a:gd name="connsiteX121" fmla="*/ 7931944 w 8971757"/>
                  <a:gd name="connsiteY121" fmla="*/ 2247899 h 4575969"/>
                  <a:gd name="connsiteX122" fmla="*/ 7986713 w 8971757"/>
                  <a:gd name="connsiteY122" fmla="*/ 2188369 h 4575969"/>
                  <a:gd name="connsiteX123" fmla="*/ 8024813 w 8971757"/>
                  <a:gd name="connsiteY123" fmla="*/ 2183606 h 4575969"/>
                  <a:gd name="connsiteX124" fmla="*/ 8070056 w 8971757"/>
                  <a:gd name="connsiteY124" fmla="*/ 2188369 h 4575969"/>
                  <a:gd name="connsiteX125" fmla="*/ 8134350 w 8971757"/>
                  <a:gd name="connsiteY125" fmla="*/ 2155031 h 4575969"/>
                  <a:gd name="connsiteX126" fmla="*/ 8143875 w 8971757"/>
                  <a:gd name="connsiteY126" fmla="*/ 2090737 h 4575969"/>
                  <a:gd name="connsiteX127" fmla="*/ 8184355 w 8971757"/>
                  <a:gd name="connsiteY127" fmla="*/ 2055019 h 4575969"/>
                  <a:gd name="connsiteX128" fmla="*/ 8243888 w 8971757"/>
                  <a:gd name="connsiteY128" fmla="*/ 2095499 h 4575969"/>
                  <a:gd name="connsiteX129" fmla="*/ 8270082 w 8971757"/>
                  <a:gd name="connsiteY129" fmla="*/ 2045493 h 4575969"/>
                  <a:gd name="connsiteX130" fmla="*/ 8365331 w 8971757"/>
                  <a:gd name="connsiteY130" fmla="*/ 1976437 h 4575969"/>
                  <a:gd name="connsiteX131" fmla="*/ 8427244 w 8971757"/>
                  <a:gd name="connsiteY131" fmla="*/ 1983581 h 4575969"/>
                  <a:gd name="connsiteX132" fmla="*/ 8477250 w 8971757"/>
                  <a:gd name="connsiteY132" fmla="*/ 1964531 h 4575969"/>
                  <a:gd name="connsiteX133" fmla="*/ 8515350 w 8971757"/>
                  <a:gd name="connsiteY133" fmla="*/ 1935956 h 4575969"/>
                  <a:gd name="connsiteX134" fmla="*/ 8548688 w 8971757"/>
                  <a:gd name="connsiteY134" fmla="*/ 1933575 h 4575969"/>
                  <a:gd name="connsiteX135" fmla="*/ 8584406 w 8971757"/>
                  <a:gd name="connsiteY135" fmla="*/ 1964531 h 4575969"/>
                  <a:gd name="connsiteX136" fmla="*/ 8643938 w 8971757"/>
                  <a:gd name="connsiteY136" fmla="*/ 1964531 h 4575969"/>
                  <a:gd name="connsiteX137" fmla="*/ 8682037 w 8971757"/>
                  <a:gd name="connsiteY137" fmla="*/ 1945481 h 4575969"/>
                  <a:gd name="connsiteX138" fmla="*/ 8765381 w 8971757"/>
                  <a:gd name="connsiteY138" fmla="*/ 1947863 h 4575969"/>
                  <a:gd name="connsiteX139" fmla="*/ 8796338 w 8971757"/>
                  <a:gd name="connsiteY139" fmla="*/ 1902619 h 4575969"/>
                  <a:gd name="connsiteX140" fmla="*/ 8801100 w 8971757"/>
                  <a:gd name="connsiteY140" fmla="*/ 1840706 h 4575969"/>
                  <a:gd name="connsiteX141" fmla="*/ 8751093 w 8971757"/>
                  <a:gd name="connsiteY141" fmla="*/ 1800225 h 4575969"/>
                  <a:gd name="connsiteX142" fmla="*/ 8734425 w 8971757"/>
                  <a:gd name="connsiteY142" fmla="*/ 1745456 h 4575969"/>
                  <a:gd name="connsiteX143" fmla="*/ 8643938 w 8971757"/>
                  <a:gd name="connsiteY143" fmla="*/ 1683544 h 4575969"/>
                  <a:gd name="connsiteX144" fmla="*/ 8603456 w 8971757"/>
                  <a:gd name="connsiteY144" fmla="*/ 1662112 h 4575969"/>
                  <a:gd name="connsiteX145" fmla="*/ 8565356 w 8971757"/>
                  <a:gd name="connsiteY145" fmla="*/ 1616869 h 4575969"/>
                  <a:gd name="connsiteX146" fmla="*/ 8534400 w 8971757"/>
                  <a:gd name="connsiteY146" fmla="*/ 1614487 h 4575969"/>
                  <a:gd name="connsiteX147" fmla="*/ 8517731 w 8971757"/>
                  <a:gd name="connsiteY147" fmla="*/ 1562100 h 4575969"/>
                  <a:gd name="connsiteX148" fmla="*/ 8477250 w 8971757"/>
                  <a:gd name="connsiteY148" fmla="*/ 1545431 h 4575969"/>
                  <a:gd name="connsiteX149" fmla="*/ 8477250 w 8971757"/>
                  <a:gd name="connsiteY149" fmla="*/ 1545431 h 4575969"/>
                  <a:gd name="connsiteX150" fmla="*/ 8436769 w 8971757"/>
                  <a:gd name="connsiteY150" fmla="*/ 1550194 h 4575969"/>
                  <a:gd name="connsiteX151" fmla="*/ 8351043 w 8971757"/>
                  <a:gd name="connsiteY151" fmla="*/ 1476375 h 4575969"/>
                  <a:gd name="connsiteX152" fmla="*/ 8170069 w 8971757"/>
                  <a:gd name="connsiteY152" fmla="*/ 1476374 h 4575969"/>
                  <a:gd name="connsiteX153" fmla="*/ 8117681 w 8971757"/>
                  <a:gd name="connsiteY153" fmla="*/ 1514475 h 4575969"/>
                  <a:gd name="connsiteX154" fmla="*/ 8067675 w 8971757"/>
                  <a:gd name="connsiteY154" fmla="*/ 1593056 h 4575969"/>
                  <a:gd name="connsiteX155" fmla="*/ 8084344 w 8971757"/>
                  <a:gd name="connsiteY155" fmla="*/ 1614487 h 4575969"/>
                  <a:gd name="connsiteX156" fmla="*/ 8039100 w 8971757"/>
                  <a:gd name="connsiteY156" fmla="*/ 1664493 h 4575969"/>
                  <a:gd name="connsiteX157" fmla="*/ 7889081 w 8971757"/>
                  <a:gd name="connsiteY157" fmla="*/ 1588293 h 4575969"/>
                  <a:gd name="connsiteX158" fmla="*/ 7798594 w 8971757"/>
                  <a:gd name="connsiteY158" fmla="*/ 1624012 h 4575969"/>
                  <a:gd name="connsiteX159" fmla="*/ 7724775 w 8971757"/>
                  <a:gd name="connsiteY159" fmla="*/ 1621631 h 4575969"/>
                  <a:gd name="connsiteX160" fmla="*/ 7667625 w 8971757"/>
                  <a:gd name="connsiteY160" fmla="*/ 1716881 h 4575969"/>
                  <a:gd name="connsiteX161" fmla="*/ 7529513 w 8971757"/>
                  <a:gd name="connsiteY161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408269 w 8971757"/>
                  <a:gd name="connsiteY10" fmla="*/ 702094 h 4575969"/>
                  <a:gd name="connsiteX11" fmla="*/ 8412956 w 8971757"/>
                  <a:gd name="connsiteY11" fmla="*/ 23812 h 4575969"/>
                  <a:gd name="connsiteX12" fmla="*/ 8949531 w 8971757"/>
                  <a:gd name="connsiteY12" fmla="*/ 0 h 4575969"/>
                  <a:gd name="connsiteX13" fmla="*/ 8971757 w 8971757"/>
                  <a:gd name="connsiteY13" fmla="*/ 4575969 h 4575969"/>
                  <a:gd name="connsiteX14" fmla="*/ 2381 w 8971757"/>
                  <a:gd name="connsiteY14" fmla="*/ 4547392 h 4575969"/>
                  <a:gd name="connsiteX15" fmla="*/ 0 w 8971757"/>
                  <a:gd name="connsiteY15" fmla="*/ 845344 h 4575969"/>
                  <a:gd name="connsiteX16" fmla="*/ 76200 w 8971757"/>
                  <a:gd name="connsiteY16" fmla="*/ 828675 h 4575969"/>
                  <a:gd name="connsiteX17" fmla="*/ 119063 w 8971757"/>
                  <a:gd name="connsiteY17" fmla="*/ 857250 h 4575969"/>
                  <a:gd name="connsiteX18" fmla="*/ 215900 w 8971757"/>
                  <a:gd name="connsiteY18" fmla="*/ 848519 h 4575969"/>
                  <a:gd name="connsiteX19" fmla="*/ 261938 w 8971757"/>
                  <a:gd name="connsiteY19" fmla="*/ 876299 h 4575969"/>
                  <a:gd name="connsiteX20" fmla="*/ 228600 w 8971757"/>
                  <a:gd name="connsiteY20" fmla="*/ 904875 h 4575969"/>
                  <a:gd name="connsiteX21" fmla="*/ 233363 w 8971757"/>
                  <a:gd name="connsiteY21" fmla="*/ 947737 h 4575969"/>
                  <a:gd name="connsiteX22" fmla="*/ 200025 w 8971757"/>
                  <a:gd name="connsiteY22" fmla="*/ 952500 h 4575969"/>
                  <a:gd name="connsiteX23" fmla="*/ 204788 w 8971757"/>
                  <a:gd name="connsiteY23" fmla="*/ 976312 h 4575969"/>
                  <a:gd name="connsiteX24" fmla="*/ 261937 w 8971757"/>
                  <a:gd name="connsiteY24" fmla="*/ 1050131 h 4575969"/>
                  <a:gd name="connsiteX25" fmla="*/ 223838 w 8971757"/>
                  <a:gd name="connsiteY25" fmla="*/ 1097756 h 4575969"/>
                  <a:gd name="connsiteX26" fmla="*/ 278606 w 8971757"/>
                  <a:gd name="connsiteY26" fmla="*/ 1133475 h 4575969"/>
                  <a:gd name="connsiteX27" fmla="*/ 369094 w 8971757"/>
                  <a:gd name="connsiteY27" fmla="*/ 1221581 h 4575969"/>
                  <a:gd name="connsiteX28" fmla="*/ 371475 w 8971757"/>
                  <a:gd name="connsiteY28" fmla="*/ 1281112 h 4575969"/>
                  <a:gd name="connsiteX29" fmla="*/ 507206 w 8971757"/>
                  <a:gd name="connsiteY29" fmla="*/ 1414463 h 4575969"/>
                  <a:gd name="connsiteX30" fmla="*/ 561975 w 8971757"/>
                  <a:gd name="connsiteY30" fmla="*/ 1390650 h 4575969"/>
                  <a:gd name="connsiteX31" fmla="*/ 600075 w 8971757"/>
                  <a:gd name="connsiteY31" fmla="*/ 1416843 h 4575969"/>
                  <a:gd name="connsiteX32" fmla="*/ 614363 w 8971757"/>
                  <a:gd name="connsiteY32" fmla="*/ 1466849 h 4575969"/>
                  <a:gd name="connsiteX33" fmla="*/ 657225 w 8971757"/>
                  <a:gd name="connsiteY33" fmla="*/ 1502569 h 4575969"/>
                  <a:gd name="connsiteX34" fmla="*/ 697706 w 8971757"/>
                  <a:gd name="connsiteY34" fmla="*/ 1490662 h 4575969"/>
                  <a:gd name="connsiteX35" fmla="*/ 716756 w 8971757"/>
                  <a:gd name="connsiteY35" fmla="*/ 1547812 h 4575969"/>
                  <a:gd name="connsiteX36" fmla="*/ 764381 w 8971757"/>
                  <a:gd name="connsiteY36" fmla="*/ 1590675 h 4575969"/>
                  <a:gd name="connsiteX37" fmla="*/ 788194 w 8971757"/>
                  <a:gd name="connsiteY37" fmla="*/ 1693069 h 4575969"/>
                  <a:gd name="connsiteX38" fmla="*/ 785813 w 8971757"/>
                  <a:gd name="connsiteY38" fmla="*/ 1740694 h 4575969"/>
                  <a:gd name="connsiteX39" fmla="*/ 821531 w 8971757"/>
                  <a:gd name="connsiteY39" fmla="*/ 1840706 h 4575969"/>
                  <a:gd name="connsiteX40" fmla="*/ 866775 w 8971757"/>
                  <a:gd name="connsiteY40" fmla="*/ 1897856 h 4575969"/>
                  <a:gd name="connsiteX41" fmla="*/ 883443 w 8971757"/>
                  <a:gd name="connsiteY41" fmla="*/ 2055018 h 4575969"/>
                  <a:gd name="connsiteX42" fmla="*/ 850106 w 8971757"/>
                  <a:gd name="connsiteY42" fmla="*/ 2116931 h 4575969"/>
                  <a:gd name="connsiteX43" fmla="*/ 819150 w 8971757"/>
                  <a:gd name="connsiteY43" fmla="*/ 2193131 h 4575969"/>
                  <a:gd name="connsiteX44" fmla="*/ 833438 w 8971757"/>
                  <a:gd name="connsiteY44" fmla="*/ 2250281 h 4575969"/>
                  <a:gd name="connsiteX45" fmla="*/ 735806 w 8971757"/>
                  <a:gd name="connsiteY45" fmla="*/ 2357438 h 4575969"/>
                  <a:gd name="connsiteX46" fmla="*/ 692944 w 8971757"/>
                  <a:gd name="connsiteY46" fmla="*/ 2471737 h 4575969"/>
                  <a:gd name="connsiteX47" fmla="*/ 726281 w 8971757"/>
                  <a:gd name="connsiteY47" fmla="*/ 2512219 h 4575969"/>
                  <a:gd name="connsiteX48" fmla="*/ 709613 w 8971757"/>
                  <a:gd name="connsiteY48" fmla="*/ 2540794 h 4575969"/>
                  <a:gd name="connsiteX49" fmla="*/ 740569 w 8971757"/>
                  <a:gd name="connsiteY49" fmla="*/ 2597944 h 4575969"/>
                  <a:gd name="connsiteX50" fmla="*/ 769144 w 8971757"/>
                  <a:gd name="connsiteY50" fmla="*/ 2597944 h 4575969"/>
                  <a:gd name="connsiteX51" fmla="*/ 931069 w 8971757"/>
                  <a:gd name="connsiteY51" fmla="*/ 2700337 h 4575969"/>
                  <a:gd name="connsiteX52" fmla="*/ 1035844 w 8971757"/>
                  <a:gd name="connsiteY52" fmla="*/ 2697956 h 4575969"/>
                  <a:gd name="connsiteX53" fmla="*/ 1114425 w 8971757"/>
                  <a:gd name="connsiteY53" fmla="*/ 2752725 h 4575969"/>
                  <a:gd name="connsiteX54" fmla="*/ 1245393 w 8971757"/>
                  <a:gd name="connsiteY54" fmla="*/ 2755106 h 4575969"/>
                  <a:gd name="connsiteX55" fmla="*/ 1435893 w 8971757"/>
                  <a:gd name="connsiteY55" fmla="*/ 2824162 h 4575969"/>
                  <a:gd name="connsiteX56" fmla="*/ 1638300 w 8971757"/>
                  <a:gd name="connsiteY56" fmla="*/ 2974181 h 4575969"/>
                  <a:gd name="connsiteX57" fmla="*/ 1671637 w 8971757"/>
                  <a:gd name="connsiteY57" fmla="*/ 3040856 h 4575969"/>
                  <a:gd name="connsiteX58" fmla="*/ 1838325 w 8971757"/>
                  <a:gd name="connsiteY58" fmla="*/ 3167062 h 4575969"/>
                  <a:gd name="connsiteX59" fmla="*/ 1909763 w 8971757"/>
                  <a:gd name="connsiteY59" fmla="*/ 3162300 h 4575969"/>
                  <a:gd name="connsiteX60" fmla="*/ 1945482 w 8971757"/>
                  <a:gd name="connsiteY60" fmla="*/ 3186112 h 4575969"/>
                  <a:gd name="connsiteX61" fmla="*/ 1916906 w 8971757"/>
                  <a:gd name="connsiteY61" fmla="*/ 3226594 h 4575969"/>
                  <a:gd name="connsiteX62" fmla="*/ 1924050 w 8971757"/>
                  <a:gd name="connsiteY62" fmla="*/ 3278981 h 4575969"/>
                  <a:gd name="connsiteX63" fmla="*/ 1976438 w 8971757"/>
                  <a:gd name="connsiteY63" fmla="*/ 3305175 h 4575969"/>
                  <a:gd name="connsiteX64" fmla="*/ 2038350 w 8971757"/>
                  <a:gd name="connsiteY64" fmla="*/ 3529013 h 4575969"/>
                  <a:gd name="connsiteX65" fmla="*/ 2028825 w 8971757"/>
                  <a:gd name="connsiteY65" fmla="*/ 3593306 h 4575969"/>
                  <a:gd name="connsiteX66" fmla="*/ 2164556 w 8971757"/>
                  <a:gd name="connsiteY66" fmla="*/ 3759994 h 4575969"/>
                  <a:gd name="connsiteX67" fmla="*/ 2183606 w 8971757"/>
                  <a:gd name="connsiteY67" fmla="*/ 3810000 h 4575969"/>
                  <a:gd name="connsiteX68" fmla="*/ 2157413 w 8971757"/>
                  <a:gd name="connsiteY68" fmla="*/ 3829050 h 4575969"/>
                  <a:gd name="connsiteX69" fmla="*/ 2259806 w 8971757"/>
                  <a:gd name="connsiteY69" fmla="*/ 3838575 h 4575969"/>
                  <a:gd name="connsiteX70" fmla="*/ 2371725 w 8971757"/>
                  <a:gd name="connsiteY70" fmla="*/ 3826669 h 4575969"/>
                  <a:gd name="connsiteX71" fmla="*/ 2650331 w 8971757"/>
                  <a:gd name="connsiteY71" fmla="*/ 3910012 h 4575969"/>
                  <a:gd name="connsiteX72" fmla="*/ 3057525 w 8971757"/>
                  <a:gd name="connsiteY72" fmla="*/ 3990975 h 4575969"/>
                  <a:gd name="connsiteX73" fmla="*/ 3255169 w 8971757"/>
                  <a:gd name="connsiteY73" fmla="*/ 3960018 h 4575969"/>
                  <a:gd name="connsiteX74" fmla="*/ 3300413 w 8971757"/>
                  <a:gd name="connsiteY74" fmla="*/ 3971924 h 4575969"/>
                  <a:gd name="connsiteX75" fmla="*/ 3355181 w 8971757"/>
                  <a:gd name="connsiteY75" fmla="*/ 3948113 h 4575969"/>
                  <a:gd name="connsiteX76" fmla="*/ 3748087 w 8971757"/>
                  <a:gd name="connsiteY76" fmla="*/ 4038600 h 4575969"/>
                  <a:gd name="connsiteX77" fmla="*/ 3831432 w 8971757"/>
                  <a:gd name="connsiteY77" fmla="*/ 4136231 h 4575969"/>
                  <a:gd name="connsiteX78" fmla="*/ 3950494 w 8971757"/>
                  <a:gd name="connsiteY78" fmla="*/ 4207669 h 4575969"/>
                  <a:gd name="connsiteX79" fmla="*/ 4010025 w 8971757"/>
                  <a:gd name="connsiteY79" fmla="*/ 4191000 h 4575969"/>
                  <a:gd name="connsiteX80" fmla="*/ 4360068 w 8971757"/>
                  <a:gd name="connsiteY80" fmla="*/ 4364831 h 4575969"/>
                  <a:gd name="connsiteX81" fmla="*/ 4586288 w 8971757"/>
                  <a:gd name="connsiteY81" fmla="*/ 4336256 h 4575969"/>
                  <a:gd name="connsiteX82" fmla="*/ 4595813 w 8971757"/>
                  <a:gd name="connsiteY82" fmla="*/ 4414837 h 4575969"/>
                  <a:gd name="connsiteX83" fmla="*/ 4681538 w 8971757"/>
                  <a:gd name="connsiteY83" fmla="*/ 4410074 h 4575969"/>
                  <a:gd name="connsiteX84" fmla="*/ 4760119 w 8971757"/>
                  <a:gd name="connsiteY84" fmla="*/ 4441031 h 4575969"/>
                  <a:gd name="connsiteX85" fmla="*/ 4802981 w 8971757"/>
                  <a:gd name="connsiteY85" fmla="*/ 4381500 h 4575969"/>
                  <a:gd name="connsiteX86" fmla="*/ 5474494 w 8971757"/>
                  <a:gd name="connsiteY86" fmla="*/ 4062412 h 4575969"/>
                  <a:gd name="connsiteX87" fmla="*/ 5562600 w 8971757"/>
                  <a:gd name="connsiteY87" fmla="*/ 4090988 h 4575969"/>
                  <a:gd name="connsiteX88" fmla="*/ 5693569 w 8971757"/>
                  <a:gd name="connsiteY88" fmla="*/ 4062412 h 4575969"/>
                  <a:gd name="connsiteX89" fmla="*/ 5872162 w 8971757"/>
                  <a:gd name="connsiteY89" fmla="*/ 4079081 h 4575969"/>
                  <a:gd name="connsiteX90" fmla="*/ 5929313 w 8971757"/>
                  <a:gd name="connsiteY90" fmla="*/ 4052888 h 4575969"/>
                  <a:gd name="connsiteX91" fmla="*/ 6062662 w 8971757"/>
                  <a:gd name="connsiteY91" fmla="*/ 4050506 h 4575969"/>
                  <a:gd name="connsiteX92" fmla="*/ 6196012 w 8971757"/>
                  <a:gd name="connsiteY92" fmla="*/ 3952875 h 4575969"/>
                  <a:gd name="connsiteX93" fmla="*/ 6262687 w 8971757"/>
                  <a:gd name="connsiteY93" fmla="*/ 3945731 h 4575969"/>
                  <a:gd name="connsiteX94" fmla="*/ 6360319 w 8971757"/>
                  <a:gd name="connsiteY94" fmla="*/ 3871912 h 4575969"/>
                  <a:gd name="connsiteX95" fmla="*/ 6434138 w 8971757"/>
                  <a:gd name="connsiteY95" fmla="*/ 3802856 h 4575969"/>
                  <a:gd name="connsiteX96" fmla="*/ 6443663 w 8971757"/>
                  <a:gd name="connsiteY96" fmla="*/ 3740944 h 4575969"/>
                  <a:gd name="connsiteX97" fmla="*/ 6477000 w 8971757"/>
                  <a:gd name="connsiteY97" fmla="*/ 3671887 h 4575969"/>
                  <a:gd name="connsiteX98" fmla="*/ 6629400 w 8971757"/>
                  <a:gd name="connsiteY98" fmla="*/ 3564731 h 4575969"/>
                  <a:gd name="connsiteX99" fmla="*/ 6662738 w 8971757"/>
                  <a:gd name="connsiteY99" fmla="*/ 3569494 h 4575969"/>
                  <a:gd name="connsiteX100" fmla="*/ 6715125 w 8971757"/>
                  <a:gd name="connsiteY100" fmla="*/ 3490912 h 4575969"/>
                  <a:gd name="connsiteX101" fmla="*/ 6762750 w 8971757"/>
                  <a:gd name="connsiteY101" fmla="*/ 3452812 h 4575969"/>
                  <a:gd name="connsiteX102" fmla="*/ 6748463 w 8971757"/>
                  <a:gd name="connsiteY102" fmla="*/ 3383756 h 4575969"/>
                  <a:gd name="connsiteX103" fmla="*/ 6698456 w 8971757"/>
                  <a:gd name="connsiteY103" fmla="*/ 3352799 h 4575969"/>
                  <a:gd name="connsiteX104" fmla="*/ 6638925 w 8971757"/>
                  <a:gd name="connsiteY104" fmla="*/ 3298031 h 4575969"/>
                  <a:gd name="connsiteX105" fmla="*/ 6619875 w 8971757"/>
                  <a:gd name="connsiteY105" fmla="*/ 3240881 h 4575969"/>
                  <a:gd name="connsiteX106" fmla="*/ 6584156 w 8971757"/>
                  <a:gd name="connsiteY106" fmla="*/ 3207544 h 4575969"/>
                  <a:gd name="connsiteX107" fmla="*/ 6610350 w 8971757"/>
                  <a:gd name="connsiteY107" fmla="*/ 3155156 h 4575969"/>
                  <a:gd name="connsiteX108" fmla="*/ 6650831 w 8971757"/>
                  <a:gd name="connsiteY108" fmla="*/ 2976562 h 4575969"/>
                  <a:gd name="connsiteX109" fmla="*/ 6691313 w 8971757"/>
                  <a:gd name="connsiteY109" fmla="*/ 2909887 h 4575969"/>
                  <a:gd name="connsiteX110" fmla="*/ 6836569 w 8971757"/>
                  <a:gd name="connsiteY110" fmla="*/ 2893218 h 4575969"/>
                  <a:gd name="connsiteX111" fmla="*/ 6905625 w 8971757"/>
                  <a:gd name="connsiteY111" fmla="*/ 2950369 h 4575969"/>
                  <a:gd name="connsiteX112" fmla="*/ 6981825 w 8971757"/>
                  <a:gd name="connsiteY112" fmla="*/ 2974181 h 4575969"/>
                  <a:gd name="connsiteX113" fmla="*/ 7186612 w 8971757"/>
                  <a:gd name="connsiteY113" fmla="*/ 2978944 h 4575969"/>
                  <a:gd name="connsiteX114" fmla="*/ 7362825 w 8971757"/>
                  <a:gd name="connsiteY114" fmla="*/ 2840831 h 4575969"/>
                  <a:gd name="connsiteX115" fmla="*/ 7419975 w 8971757"/>
                  <a:gd name="connsiteY115" fmla="*/ 2750343 h 4575969"/>
                  <a:gd name="connsiteX116" fmla="*/ 7446169 w 8971757"/>
                  <a:gd name="connsiteY116" fmla="*/ 2667000 h 4575969"/>
                  <a:gd name="connsiteX117" fmla="*/ 7577137 w 8971757"/>
                  <a:gd name="connsiteY117" fmla="*/ 2667000 h 4575969"/>
                  <a:gd name="connsiteX118" fmla="*/ 7750969 w 8971757"/>
                  <a:gd name="connsiteY118" fmla="*/ 2609849 h 4575969"/>
                  <a:gd name="connsiteX119" fmla="*/ 7810500 w 8971757"/>
                  <a:gd name="connsiteY119" fmla="*/ 2497931 h 4575969"/>
                  <a:gd name="connsiteX120" fmla="*/ 7874794 w 8971757"/>
                  <a:gd name="connsiteY120" fmla="*/ 2462212 h 4575969"/>
                  <a:gd name="connsiteX121" fmla="*/ 7853363 w 8971757"/>
                  <a:gd name="connsiteY121" fmla="*/ 2416969 h 4575969"/>
                  <a:gd name="connsiteX122" fmla="*/ 7931944 w 8971757"/>
                  <a:gd name="connsiteY122" fmla="*/ 2247899 h 4575969"/>
                  <a:gd name="connsiteX123" fmla="*/ 7986713 w 8971757"/>
                  <a:gd name="connsiteY123" fmla="*/ 2188369 h 4575969"/>
                  <a:gd name="connsiteX124" fmla="*/ 8024813 w 8971757"/>
                  <a:gd name="connsiteY124" fmla="*/ 2183606 h 4575969"/>
                  <a:gd name="connsiteX125" fmla="*/ 8070056 w 8971757"/>
                  <a:gd name="connsiteY125" fmla="*/ 2188369 h 4575969"/>
                  <a:gd name="connsiteX126" fmla="*/ 8134350 w 8971757"/>
                  <a:gd name="connsiteY126" fmla="*/ 2155031 h 4575969"/>
                  <a:gd name="connsiteX127" fmla="*/ 8143875 w 8971757"/>
                  <a:gd name="connsiteY127" fmla="*/ 2090737 h 4575969"/>
                  <a:gd name="connsiteX128" fmla="*/ 8184355 w 8971757"/>
                  <a:gd name="connsiteY128" fmla="*/ 2055019 h 4575969"/>
                  <a:gd name="connsiteX129" fmla="*/ 8243888 w 8971757"/>
                  <a:gd name="connsiteY129" fmla="*/ 2095499 h 4575969"/>
                  <a:gd name="connsiteX130" fmla="*/ 8270082 w 8971757"/>
                  <a:gd name="connsiteY130" fmla="*/ 2045493 h 4575969"/>
                  <a:gd name="connsiteX131" fmla="*/ 8365331 w 8971757"/>
                  <a:gd name="connsiteY131" fmla="*/ 1976437 h 4575969"/>
                  <a:gd name="connsiteX132" fmla="*/ 8427244 w 8971757"/>
                  <a:gd name="connsiteY132" fmla="*/ 1983581 h 4575969"/>
                  <a:gd name="connsiteX133" fmla="*/ 8477250 w 8971757"/>
                  <a:gd name="connsiteY133" fmla="*/ 1964531 h 4575969"/>
                  <a:gd name="connsiteX134" fmla="*/ 8515350 w 8971757"/>
                  <a:gd name="connsiteY134" fmla="*/ 1935956 h 4575969"/>
                  <a:gd name="connsiteX135" fmla="*/ 8548688 w 8971757"/>
                  <a:gd name="connsiteY135" fmla="*/ 1933575 h 4575969"/>
                  <a:gd name="connsiteX136" fmla="*/ 8584406 w 8971757"/>
                  <a:gd name="connsiteY136" fmla="*/ 1964531 h 4575969"/>
                  <a:gd name="connsiteX137" fmla="*/ 8643938 w 8971757"/>
                  <a:gd name="connsiteY137" fmla="*/ 1964531 h 4575969"/>
                  <a:gd name="connsiteX138" fmla="*/ 8682037 w 8971757"/>
                  <a:gd name="connsiteY138" fmla="*/ 1945481 h 4575969"/>
                  <a:gd name="connsiteX139" fmla="*/ 8765381 w 8971757"/>
                  <a:gd name="connsiteY139" fmla="*/ 1947863 h 4575969"/>
                  <a:gd name="connsiteX140" fmla="*/ 8796338 w 8971757"/>
                  <a:gd name="connsiteY140" fmla="*/ 1902619 h 4575969"/>
                  <a:gd name="connsiteX141" fmla="*/ 8801100 w 8971757"/>
                  <a:gd name="connsiteY141" fmla="*/ 1840706 h 4575969"/>
                  <a:gd name="connsiteX142" fmla="*/ 8751093 w 8971757"/>
                  <a:gd name="connsiteY142" fmla="*/ 1800225 h 4575969"/>
                  <a:gd name="connsiteX143" fmla="*/ 8734425 w 8971757"/>
                  <a:gd name="connsiteY143" fmla="*/ 1745456 h 4575969"/>
                  <a:gd name="connsiteX144" fmla="*/ 8643938 w 8971757"/>
                  <a:gd name="connsiteY144" fmla="*/ 1683544 h 4575969"/>
                  <a:gd name="connsiteX145" fmla="*/ 8603456 w 8971757"/>
                  <a:gd name="connsiteY145" fmla="*/ 1662112 h 4575969"/>
                  <a:gd name="connsiteX146" fmla="*/ 8565356 w 8971757"/>
                  <a:gd name="connsiteY146" fmla="*/ 1616869 h 4575969"/>
                  <a:gd name="connsiteX147" fmla="*/ 8534400 w 8971757"/>
                  <a:gd name="connsiteY147" fmla="*/ 1614487 h 4575969"/>
                  <a:gd name="connsiteX148" fmla="*/ 8517731 w 8971757"/>
                  <a:gd name="connsiteY148" fmla="*/ 1562100 h 4575969"/>
                  <a:gd name="connsiteX149" fmla="*/ 8477250 w 8971757"/>
                  <a:gd name="connsiteY149" fmla="*/ 1545431 h 4575969"/>
                  <a:gd name="connsiteX150" fmla="*/ 8477250 w 8971757"/>
                  <a:gd name="connsiteY150" fmla="*/ 1545431 h 4575969"/>
                  <a:gd name="connsiteX151" fmla="*/ 8436769 w 8971757"/>
                  <a:gd name="connsiteY151" fmla="*/ 1550194 h 4575969"/>
                  <a:gd name="connsiteX152" fmla="*/ 8351043 w 8971757"/>
                  <a:gd name="connsiteY152" fmla="*/ 1476375 h 4575969"/>
                  <a:gd name="connsiteX153" fmla="*/ 8170069 w 8971757"/>
                  <a:gd name="connsiteY153" fmla="*/ 1476374 h 4575969"/>
                  <a:gd name="connsiteX154" fmla="*/ 8117681 w 8971757"/>
                  <a:gd name="connsiteY154" fmla="*/ 1514475 h 4575969"/>
                  <a:gd name="connsiteX155" fmla="*/ 8067675 w 8971757"/>
                  <a:gd name="connsiteY155" fmla="*/ 1593056 h 4575969"/>
                  <a:gd name="connsiteX156" fmla="*/ 8084344 w 8971757"/>
                  <a:gd name="connsiteY156" fmla="*/ 1614487 h 4575969"/>
                  <a:gd name="connsiteX157" fmla="*/ 8039100 w 8971757"/>
                  <a:gd name="connsiteY157" fmla="*/ 1664493 h 4575969"/>
                  <a:gd name="connsiteX158" fmla="*/ 7889081 w 8971757"/>
                  <a:gd name="connsiteY158" fmla="*/ 1588293 h 4575969"/>
                  <a:gd name="connsiteX159" fmla="*/ 7798594 w 8971757"/>
                  <a:gd name="connsiteY159" fmla="*/ 1624012 h 4575969"/>
                  <a:gd name="connsiteX160" fmla="*/ 7724775 w 8971757"/>
                  <a:gd name="connsiteY160" fmla="*/ 1621631 h 4575969"/>
                  <a:gd name="connsiteX161" fmla="*/ 7667625 w 8971757"/>
                  <a:gd name="connsiteY161" fmla="*/ 1716881 h 4575969"/>
                  <a:gd name="connsiteX162" fmla="*/ 7529513 w 8971757"/>
                  <a:gd name="connsiteY16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365406 w 8971757"/>
                  <a:gd name="connsiteY10" fmla="*/ 1037851 h 4575969"/>
                  <a:gd name="connsiteX11" fmla="*/ 8412956 w 8971757"/>
                  <a:gd name="connsiteY11" fmla="*/ 23812 h 4575969"/>
                  <a:gd name="connsiteX12" fmla="*/ 8949531 w 8971757"/>
                  <a:gd name="connsiteY12" fmla="*/ 0 h 4575969"/>
                  <a:gd name="connsiteX13" fmla="*/ 8971757 w 8971757"/>
                  <a:gd name="connsiteY13" fmla="*/ 4575969 h 4575969"/>
                  <a:gd name="connsiteX14" fmla="*/ 2381 w 8971757"/>
                  <a:gd name="connsiteY14" fmla="*/ 4547392 h 4575969"/>
                  <a:gd name="connsiteX15" fmla="*/ 0 w 8971757"/>
                  <a:gd name="connsiteY15" fmla="*/ 845344 h 4575969"/>
                  <a:gd name="connsiteX16" fmla="*/ 76200 w 8971757"/>
                  <a:gd name="connsiteY16" fmla="*/ 828675 h 4575969"/>
                  <a:gd name="connsiteX17" fmla="*/ 119063 w 8971757"/>
                  <a:gd name="connsiteY17" fmla="*/ 857250 h 4575969"/>
                  <a:gd name="connsiteX18" fmla="*/ 215900 w 8971757"/>
                  <a:gd name="connsiteY18" fmla="*/ 848519 h 4575969"/>
                  <a:gd name="connsiteX19" fmla="*/ 261938 w 8971757"/>
                  <a:gd name="connsiteY19" fmla="*/ 876299 h 4575969"/>
                  <a:gd name="connsiteX20" fmla="*/ 228600 w 8971757"/>
                  <a:gd name="connsiteY20" fmla="*/ 904875 h 4575969"/>
                  <a:gd name="connsiteX21" fmla="*/ 233363 w 8971757"/>
                  <a:gd name="connsiteY21" fmla="*/ 947737 h 4575969"/>
                  <a:gd name="connsiteX22" fmla="*/ 200025 w 8971757"/>
                  <a:gd name="connsiteY22" fmla="*/ 952500 h 4575969"/>
                  <a:gd name="connsiteX23" fmla="*/ 204788 w 8971757"/>
                  <a:gd name="connsiteY23" fmla="*/ 976312 h 4575969"/>
                  <a:gd name="connsiteX24" fmla="*/ 261937 w 8971757"/>
                  <a:gd name="connsiteY24" fmla="*/ 1050131 h 4575969"/>
                  <a:gd name="connsiteX25" fmla="*/ 223838 w 8971757"/>
                  <a:gd name="connsiteY25" fmla="*/ 1097756 h 4575969"/>
                  <a:gd name="connsiteX26" fmla="*/ 278606 w 8971757"/>
                  <a:gd name="connsiteY26" fmla="*/ 1133475 h 4575969"/>
                  <a:gd name="connsiteX27" fmla="*/ 369094 w 8971757"/>
                  <a:gd name="connsiteY27" fmla="*/ 1221581 h 4575969"/>
                  <a:gd name="connsiteX28" fmla="*/ 371475 w 8971757"/>
                  <a:gd name="connsiteY28" fmla="*/ 1281112 h 4575969"/>
                  <a:gd name="connsiteX29" fmla="*/ 507206 w 8971757"/>
                  <a:gd name="connsiteY29" fmla="*/ 1414463 h 4575969"/>
                  <a:gd name="connsiteX30" fmla="*/ 561975 w 8971757"/>
                  <a:gd name="connsiteY30" fmla="*/ 1390650 h 4575969"/>
                  <a:gd name="connsiteX31" fmla="*/ 600075 w 8971757"/>
                  <a:gd name="connsiteY31" fmla="*/ 1416843 h 4575969"/>
                  <a:gd name="connsiteX32" fmla="*/ 614363 w 8971757"/>
                  <a:gd name="connsiteY32" fmla="*/ 1466849 h 4575969"/>
                  <a:gd name="connsiteX33" fmla="*/ 657225 w 8971757"/>
                  <a:gd name="connsiteY33" fmla="*/ 1502569 h 4575969"/>
                  <a:gd name="connsiteX34" fmla="*/ 697706 w 8971757"/>
                  <a:gd name="connsiteY34" fmla="*/ 1490662 h 4575969"/>
                  <a:gd name="connsiteX35" fmla="*/ 716756 w 8971757"/>
                  <a:gd name="connsiteY35" fmla="*/ 1547812 h 4575969"/>
                  <a:gd name="connsiteX36" fmla="*/ 764381 w 8971757"/>
                  <a:gd name="connsiteY36" fmla="*/ 1590675 h 4575969"/>
                  <a:gd name="connsiteX37" fmla="*/ 788194 w 8971757"/>
                  <a:gd name="connsiteY37" fmla="*/ 1693069 h 4575969"/>
                  <a:gd name="connsiteX38" fmla="*/ 785813 w 8971757"/>
                  <a:gd name="connsiteY38" fmla="*/ 1740694 h 4575969"/>
                  <a:gd name="connsiteX39" fmla="*/ 821531 w 8971757"/>
                  <a:gd name="connsiteY39" fmla="*/ 1840706 h 4575969"/>
                  <a:gd name="connsiteX40" fmla="*/ 866775 w 8971757"/>
                  <a:gd name="connsiteY40" fmla="*/ 1897856 h 4575969"/>
                  <a:gd name="connsiteX41" fmla="*/ 883443 w 8971757"/>
                  <a:gd name="connsiteY41" fmla="*/ 2055018 h 4575969"/>
                  <a:gd name="connsiteX42" fmla="*/ 850106 w 8971757"/>
                  <a:gd name="connsiteY42" fmla="*/ 2116931 h 4575969"/>
                  <a:gd name="connsiteX43" fmla="*/ 819150 w 8971757"/>
                  <a:gd name="connsiteY43" fmla="*/ 2193131 h 4575969"/>
                  <a:gd name="connsiteX44" fmla="*/ 833438 w 8971757"/>
                  <a:gd name="connsiteY44" fmla="*/ 2250281 h 4575969"/>
                  <a:gd name="connsiteX45" fmla="*/ 735806 w 8971757"/>
                  <a:gd name="connsiteY45" fmla="*/ 2357438 h 4575969"/>
                  <a:gd name="connsiteX46" fmla="*/ 692944 w 8971757"/>
                  <a:gd name="connsiteY46" fmla="*/ 2471737 h 4575969"/>
                  <a:gd name="connsiteX47" fmla="*/ 726281 w 8971757"/>
                  <a:gd name="connsiteY47" fmla="*/ 2512219 h 4575969"/>
                  <a:gd name="connsiteX48" fmla="*/ 709613 w 8971757"/>
                  <a:gd name="connsiteY48" fmla="*/ 2540794 h 4575969"/>
                  <a:gd name="connsiteX49" fmla="*/ 740569 w 8971757"/>
                  <a:gd name="connsiteY49" fmla="*/ 2597944 h 4575969"/>
                  <a:gd name="connsiteX50" fmla="*/ 769144 w 8971757"/>
                  <a:gd name="connsiteY50" fmla="*/ 2597944 h 4575969"/>
                  <a:gd name="connsiteX51" fmla="*/ 931069 w 8971757"/>
                  <a:gd name="connsiteY51" fmla="*/ 2700337 h 4575969"/>
                  <a:gd name="connsiteX52" fmla="*/ 1035844 w 8971757"/>
                  <a:gd name="connsiteY52" fmla="*/ 2697956 h 4575969"/>
                  <a:gd name="connsiteX53" fmla="*/ 1114425 w 8971757"/>
                  <a:gd name="connsiteY53" fmla="*/ 2752725 h 4575969"/>
                  <a:gd name="connsiteX54" fmla="*/ 1245393 w 8971757"/>
                  <a:gd name="connsiteY54" fmla="*/ 2755106 h 4575969"/>
                  <a:gd name="connsiteX55" fmla="*/ 1435893 w 8971757"/>
                  <a:gd name="connsiteY55" fmla="*/ 2824162 h 4575969"/>
                  <a:gd name="connsiteX56" fmla="*/ 1638300 w 8971757"/>
                  <a:gd name="connsiteY56" fmla="*/ 2974181 h 4575969"/>
                  <a:gd name="connsiteX57" fmla="*/ 1671637 w 8971757"/>
                  <a:gd name="connsiteY57" fmla="*/ 3040856 h 4575969"/>
                  <a:gd name="connsiteX58" fmla="*/ 1838325 w 8971757"/>
                  <a:gd name="connsiteY58" fmla="*/ 3167062 h 4575969"/>
                  <a:gd name="connsiteX59" fmla="*/ 1909763 w 8971757"/>
                  <a:gd name="connsiteY59" fmla="*/ 3162300 h 4575969"/>
                  <a:gd name="connsiteX60" fmla="*/ 1945482 w 8971757"/>
                  <a:gd name="connsiteY60" fmla="*/ 3186112 h 4575969"/>
                  <a:gd name="connsiteX61" fmla="*/ 1916906 w 8971757"/>
                  <a:gd name="connsiteY61" fmla="*/ 3226594 h 4575969"/>
                  <a:gd name="connsiteX62" fmla="*/ 1924050 w 8971757"/>
                  <a:gd name="connsiteY62" fmla="*/ 3278981 h 4575969"/>
                  <a:gd name="connsiteX63" fmla="*/ 1976438 w 8971757"/>
                  <a:gd name="connsiteY63" fmla="*/ 3305175 h 4575969"/>
                  <a:gd name="connsiteX64" fmla="*/ 2038350 w 8971757"/>
                  <a:gd name="connsiteY64" fmla="*/ 3529013 h 4575969"/>
                  <a:gd name="connsiteX65" fmla="*/ 2028825 w 8971757"/>
                  <a:gd name="connsiteY65" fmla="*/ 3593306 h 4575969"/>
                  <a:gd name="connsiteX66" fmla="*/ 2164556 w 8971757"/>
                  <a:gd name="connsiteY66" fmla="*/ 3759994 h 4575969"/>
                  <a:gd name="connsiteX67" fmla="*/ 2183606 w 8971757"/>
                  <a:gd name="connsiteY67" fmla="*/ 3810000 h 4575969"/>
                  <a:gd name="connsiteX68" fmla="*/ 2157413 w 8971757"/>
                  <a:gd name="connsiteY68" fmla="*/ 3829050 h 4575969"/>
                  <a:gd name="connsiteX69" fmla="*/ 2259806 w 8971757"/>
                  <a:gd name="connsiteY69" fmla="*/ 3838575 h 4575969"/>
                  <a:gd name="connsiteX70" fmla="*/ 2371725 w 8971757"/>
                  <a:gd name="connsiteY70" fmla="*/ 3826669 h 4575969"/>
                  <a:gd name="connsiteX71" fmla="*/ 2650331 w 8971757"/>
                  <a:gd name="connsiteY71" fmla="*/ 3910012 h 4575969"/>
                  <a:gd name="connsiteX72" fmla="*/ 3057525 w 8971757"/>
                  <a:gd name="connsiteY72" fmla="*/ 3990975 h 4575969"/>
                  <a:gd name="connsiteX73" fmla="*/ 3255169 w 8971757"/>
                  <a:gd name="connsiteY73" fmla="*/ 3960018 h 4575969"/>
                  <a:gd name="connsiteX74" fmla="*/ 3300413 w 8971757"/>
                  <a:gd name="connsiteY74" fmla="*/ 3971924 h 4575969"/>
                  <a:gd name="connsiteX75" fmla="*/ 3355181 w 8971757"/>
                  <a:gd name="connsiteY75" fmla="*/ 3948113 h 4575969"/>
                  <a:gd name="connsiteX76" fmla="*/ 3748087 w 8971757"/>
                  <a:gd name="connsiteY76" fmla="*/ 4038600 h 4575969"/>
                  <a:gd name="connsiteX77" fmla="*/ 3831432 w 8971757"/>
                  <a:gd name="connsiteY77" fmla="*/ 4136231 h 4575969"/>
                  <a:gd name="connsiteX78" fmla="*/ 3950494 w 8971757"/>
                  <a:gd name="connsiteY78" fmla="*/ 4207669 h 4575969"/>
                  <a:gd name="connsiteX79" fmla="*/ 4010025 w 8971757"/>
                  <a:gd name="connsiteY79" fmla="*/ 4191000 h 4575969"/>
                  <a:gd name="connsiteX80" fmla="*/ 4360068 w 8971757"/>
                  <a:gd name="connsiteY80" fmla="*/ 4364831 h 4575969"/>
                  <a:gd name="connsiteX81" fmla="*/ 4586288 w 8971757"/>
                  <a:gd name="connsiteY81" fmla="*/ 4336256 h 4575969"/>
                  <a:gd name="connsiteX82" fmla="*/ 4595813 w 8971757"/>
                  <a:gd name="connsiteY82" fmla="*/ 4414837 h 4575969"/>
                  <a:gd name="connsiteX83" fmla="*/ 4681538 w 8971757"/>
                  <a:gd name="connsiteY83" fmla="*/ 4410074 h 4575969"/>
                  <a:gd name="connsiteX84" fmla="*/ 4760119 w 8971757"/>
                  <a:gd name="connsiteY84" fmla="*/ 4441031 h 4575969"/>
                  <a:gd name="connsiteX85" fmla="*/ 4802981 w 8971757"/>
                  <a:gd name="connsiteY85" fmla="*/ 4381500 h 4575969"/>
                  <a:gd name="connsiteX86" fmla="*/ 5474494 w 8971757"/>
                  <a:gd name="connsiteY86" fmla="*/ 4062412 h 4575969"/>
                  <a:gd name="connsiteX87" fmla="*/ 5562600 w 8971757"/>
                  <a:gd name="connsiteY87" fmla="*/ 4090988 h 4575969"/>
                  <a:gd name="connsiteX88" fmla="*/ 5693569 w 8971757"/>
                  <a:gd name="connsiteY88" fmla="*/ 4062412 h 4575969"/>
                  <a:gd name="connsiteX89" fmla="*/ 5872162 w 8971757"/>
                  <a:gd name="connsiteY89" fmla="*/ 4079081 h 4575969"/>
                  <a:gd name="connsiteX90" fmla="*/ 5929313 w 8971757"/>
                  <a:gd name="connsiteY90" fmla="*/ 4052888 h 4575969"/>
                  <a:gd name="connsiteX91" fmla="*/ 6062662 w 8971757"/>
                  <a:gd name="connsiteY91" fmla="*/ 4050506 h 4575969"/>
                  <a:gd name="connsiteX92" fmla="*/ 6196012 w 8971757"/>
                  <a:gd name="connsiteY92" fmla="*/ 3952875 h 4575969"/>
                  <a:gd name="connsiteX93" fmla="*/ 6262687 w 8971757"/>
                  <a:gd name="connsiteY93" fmla="*/ 3945731 h 4575969"/>
                  <a:gd name="connsiteX94" fmla="*/ 6360319 w 8971757"/>
                  <a:gd name="connsiteY94" fmla="*/ 3871912 h 4575969"/>
                  <a:gd name="connsiteX95" fmla="*/ 6434138 w 8971757"/>
                  <a:gd name="connsiteY95" fmla="*/ 3802856 h 4575969"/>
                  <a:gd name="connsiteX96" fmla="*/ 6443663 w 8971757"/>
                  <a:gd name="connsiteY96" fmla="*/ 3740944 h 4575969"/>
                  <a:gd name="connsiteX97" fmla="*/ 6477000 w 8971757"/>
                  <a:gd name="connsiteY97" fmla="*/ 3671887 h 4575969"/>
                  <a:gd name="connsiteX98" fmla="*/ 6629400 w 8971757"/>
                  <a:gd name="connsiteY98" fmla="*/ 3564731 h 4575969"/>
                  <a:gd name="connsiteX99" fmla="*/ 6662738 w 8971757"/>
                  <a:gd name="connsiteY99" fmla="*/ 3569494 h 4575969"/>
                  <a:gd name="connsiteX100" fmla="*/ 6715125 w 8971757"/>
                  <a:gd name="connsiteY100" fmla="*/ 3490912 h 4575969"/>
                  <a:gd name="connsiteX101" fmla="*/ 6762750 w 8971757"/>
                  <a:gd name="connsiteY101" fmla="*/ 3452812 h 4575969"/>
                  <a:gd name="connsiteX102" fmla="*/ 6748463 w 8971757"/>
                  <a:gd name="connsiteY102" fmla="*/ 3383756 h 4575969"/>
                  <a:gd name="connsiteX103" fmla="*/ 6698456 w 8971757"/>
                  <a:gd name="connsiteY103" fmla="*/ 3352799 h 4575969"/>
                  <a:gd name="connsiteX104" fmla="*/ 6638925 w 8971757"/>
                  <a:gd name="connsiteY104" fmla="*/ 3298031 h 4575969"/>
                  <a:gd name="connsiteX105" fmla="*/ 6619875 w 8971757"/>
                  <a:gd name="connsiteY105" fmla="*/ 3240881 h 4575969"/>
                  <a:gd name="connsiteX106" fmla="*/ 6584156 w 8971757"/>
                  <a:gd name="connsiteY106" fmla="*/ 3207544 h 4575969"/>
                  <a:gd name="connsiteX107" fmla="*/ 6610350 w 8971757"/>
                  <a:gd name="connsiteY107" fmla="*/ 3155156 h 4575969"/>
                  <a:gd name="connsiteX108" fmla="*/ 6650831 w 8971757"/>
                  <a:gd name="connsiteY108" fmla="*/ 2976562 h 4575969"/>
                  <a:gd name="connsiteX109" fmla="*/ 6691313 w 8971757"/>
                  <a:gd name="connsiteY109" fmla="*/ 2909887 h 4575969"/>
                  <a:gd name="connsiteX110" fmla="*/ 6836569 w 8971757"/>
                  <a:gd name="connsiteY110" fmla="*/ 2893218 h 4575969"/>
                  <a:gd name="connsiteX111" fmla="*/ 6905625 w 8971757"/>
                  <a:gd name="connsiteY111" fmla="*/ 2950369 h 4575969"/>
                  <a:gd name="connsiteX112" fmla="*/ 6981825 w 8971757"/>
                  <a:gd name="connsiteY112" fmla="*/ 2974181 h 4575969"/>
                  <a:gd name="connsiteX113" fmla="*/ 7186612 w 8971757"/>
                  <a:gd name="connsiteY113" fmla="*/ 2978944 h 4575969"/>
                  <a:gd name="connsiteX114" fmla="*/ 7362825 w 8971757"/>
                  <a:gd name="connsiteY114" fmla="*/ 2840831 h 4575969"/>
                  <a:gd name="connsiteX115" fmla="*/ 7419975 w 8971757"/>
                  <a:gd name="connsiteY115" fmla="*/ 2750343 h 4575969"/>
                  <a:gd name="connsiteX116" fmla="*/ 7446169 w 8971757"/>
                  <a:gd name="connsiteY116" fmla="*/ 2667000 h 4575969"/>
                  <a:gd name="connsiteX117" fmla="*/ 7577137 w 8971757"/>
                  <a:gd name="connsiteY117" fmla="*/ 2667000 h 4575969"/>
                  <a:gd name="connsiteX118" fmla="*/ 7750969 w 8971757"/>
                  <a:gd name="connsiteY118" fmla="*/ 2609849 h 4575969"/>
                  <a:gd name="connsiteX119" fmla="*/ 7810500 w 8971757"/>
                  <a:gd name="connsiteY119" fmla="*/ 2497931 h 4575969"/>
                  <a:gd name="connsiteX120" fmla="*/ 7874794 w 8971757"/>
                  <a:gd name="connsiteY120" fmla="*/ 2462212 h 4575969"/>
                  <a:gd name="connsiteX121" fmla="*/ 7853363 w 8971757"/>
                  <a:gd name="connsiteY121" fmla="*/ 2416969 h 4575969"/>
                  <a:gd name="connsiteX122" fmla="*/ 7931944 w 8971757"/>
                  <a:gd name="connsiteY122" fmla="*/ 2247899 h 4575969"/>
                  <a:gd name="connsiteX123" fmla="*/ 7986713 w 8971757"/>
                  <a:gd name="connsiteY123" fmla="*/ 2188369 h 4575969"/>
                  <a:gd name="connsiteX124" fmla="*/ 8024813 w 8971757"/>
                  <a:gd name="connsiteY124" fmla="*/ 2183606 h 4575969"/>
                  <a:gd name="connsiteX125" fmla="*/ 8070056 w 8971757"/>
                  <a:gd name="connsiteY125" fmla="*/ 2188369 h 4575969"/>
                  <a:gd name="connsiteX126" fmla="*/ 8134350 w 8971757"/>
                  <a:gd name="connsiteY126" fmla="*/ 2155031 h 4575969"/>
                  <a:gd name="connsiteX127" fmla="*/ 8143875 w 8971757"/>
                  <a:gd name="connsiteY127" fmla="*/ 2090737 h 4575969"/>
                  <a:gd name="connsiteX128" fmla="*/ 8184355 w 8971757"/>
                  <a:gd name="connsiteY128" fmla="*/ 2055019 h 4575969"/>
                  <a:gd name="connsiteX129" fmla="*/ 8243888 w 8971757"/>
                  <a:gd name="connsiteY129" fmla="*/ 2095499 h 4575969"/>
                  <a:gd name="connsiteX130" fmla="*/ 8270082 w 8971757"/>
                  <a:gd name="connsiteY130" fmla="*/ 2045493 h 4575969"/>
                  <a:gd name="connsiteX131" fmla="*/ 8365331 w 8971757"/>
                  <a:gd name="connsiteY131" fmla="*/ 1976437 h 4575969"/>
                  <a:gd name="connsiteX132" fmla="*/ 8427244 w 8971757"/>
                  <a:gd name="connsiteY132" fmla="*/ 1983581 h 4575969"/>
                  <a:gd name="connsiteX133" fmla="*/ 8477250 w 8971757"/>
                  <a:gd name="connsiteY133" fmla="*/ 1964531 h 4575969"/>
                  <a:gd name="connsiteX134" fmla="*/ 8515350 w 8971757"/>
                  <a:gd name="connsiteY134" fmla="*/ 1935956 h 4575969"/>
                  <a:gd name="connsiteX135" fmla="*/ 8548688 w 8971757"/>
                  <a:gd name="connsiteY135" fmla="*/ 1933575 h 4575969"/>
                  <a:gd name="connsiteX136" fmla="*/ 8584406 w 8971757"/>
                  <a:gd name="connsiteY136" fmla="*/ 1964531 h 4575969"/>
                  <a:gd name="connsiteX137" fmla="*/ 8643938 w 8971757"/>
                  <a:gd name="connsiteY137" fmla="*/ 1964531 h 4575969"/>
                  <a:gd name="connsiteX138" fmla="*/ 8682037 w 8971757"/>
                  <a:gd name="connsiteY138" fmla="*/ 1945481 h 4575969"/>
                  <a:gd name="connsiteX139" fmla="*/ 8765381 w 8971757"/>
                  <a:gd name="connsiteY139" fmla="*/ 1947863 h 4575969"/>
                  <a:gd name="connsiteX140" fmla="*/ 8796338 w 8971757"/>
                  <a:gd name="connsiteY140" fmla="*/ 1902619 h 4575969"/>
                  <a:gd name="connsiteX141" fmla="*/ 8801100 w 8971757"/>
                  <a:gd name="connsiteY141" fmla="*/ 1840706 h 4575969"/>
                  <a:gd name="connsiteX142" fmla="*/ 8751093 w 8971757"/>
                  <a:gd name="connsiteY142" fmla="*/ 1800225 h 4575969"/>
                  <a:gd name="connsiteX143" fmla="*/ 8734425 w 8971757"/>
                  <a:gd name="connsiteY143" fmla="*/ 1745456 h 4575969"/>
                  <a:gd name="connsiteX144" fmla="*/ 8643938 w 8971757"/>
                  <a:gd name="connsiteY144" fmla="*/ 1683544 h 4575969"/>
                  <a:gd name="connsiteX145" fmla="*/ 8603456 w 8971757"/>
                  <a:gd name="connsiteY145" fmla="*/ 1662112 h 4575969"/>
                  <a:gd name="connsiteX146" fmla="*/ 8565356 w 8971757"/>
                  <a:gd name="connsiteY146" fmla="*/ 1616869 h 4575969"/>
                  <a:gd name="connsiteX147" fmla="*/ 8534400 w 8971757"/>
                  <a:gd name="connsiteY147" fmla="*/ 1614487 h 4575969"/>
                  <a:gd name="connsiteX148" fmla="*/ 8517731 w 8971757"/>
                  <a:gd name="connsiteY148" fmla="*/ 1562100 h 4575969"/>
                  <a:gd name="connsiteX149" fmla="*/ 8477250 w 8971757"/>
                  <a:gd name="connsiteY149" fmla="*/ 1545431 h 4575969"/>
                  <a:gd name="connsiteX150" fmla="*/ 8477250 w 8971757"/>
                  <a:gd name="connsiteY150" fmla="*/ 1545431 h 4575969"/>
                  <a:gd name="connsiteX151" fmla="*/ 8436769 w 8971757"/>
                  <a:gd name="connsiteY151" fmla="*/ 1550194 h 4575969"/>
                  <a:gd name="connsiteX152" fmla="*/ 8351043 w 8971757"/>
                  <a:gd name="connsiteY152" fmla="*/ 1476375 h 4575969"/>
                  <a:gd name="connsiteX153" fmla="*/ 8170069 w 8971757"/>
                  <a:gd name="connsiteY153" fmla="*/ 1476374 h 4575969"/>
                  <a:gd name="connsiteX154" fmla="*/ 8117681 w 8971757"/>
                  <a:gd name="connsiteY154" fmla="*/ 1514475 h 4575969"/>
                  <a:gd name="connsiteX155" fmla="*/ 8067675 w 8971757"/>
                  <a:gd name="connsiteY155" fmla="*/ 1593056 h 4575969"/>
                  <a:gd name="connsiteX156" fmla="*/ 8084344 w 8971757"/>
                  <a:gd name="connsiteY156" fmla="*/ 1614487 h 4575969"/>
                  <a:gd name="connsiteX157" fmla="*/ 8039100 w 8971757"/>
                  <a:gd name="connsiteY157" fmla="*/ 1664493 h 4575969"/>
                  <a:gd name="connsiteX158" fmla="*/ 7889081 w 8971757"/>
                  <a:gd name="connsiteY158" fmla="*/ 1588293 h 4575969"/>
                  <a:gd name="connsiteX159" fmla="*/ 7798594 w 8971757"/>
                  <a:gd name="connsiteY159" fmla="*/ 1624012 h 4575969"/>
                  <a:gd name="connsiteX160" fmla="*/ 7724775 w 8971757"/>
                  <a:gd name="connsiteY160" fmla="*/ 1621631 h 4575969"/>
                  <a:gd name="connsiteX161" fmla="*/ 7667625 w 8971757"/>
                  <a:gd name="connsiteY161" fmla="*/ 1716881 h 4575969"/>
                  <a:gd name="connsiteX162" fmla="*/ 7529513 w 8971757"/>
                  <a:gd name="connsiteY162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365406 w 8971757"/>
                  <a:gd name="connsiteY11" fmla="*/ 1037851 h 4575969"/>
                  <a:gd name="connsiteX12" fmla="*/ 8412956 w 8971757"/>
                  <a:gd name="connsiteY12" fmla="*/ 23812 h 4575969"/>
                  <a:gd name="connsiteX13" fmla="*/ 8949531 w 8971757"/>
                  <a:gd name="connsiteY13" fmla="*/ 0 h 4575969"/>
                  <a:gd name="connsiteX14" fmla="*/ 8971757 w 8971757"/>
                  <a:gd name="connsiteY14" fmla="*/ 4575969 h 4575969"/>
                  <a:gd name="connsiteX15" fmla="*/ 2381 w 8971757"/>
                  <a:gd name="connsiteY15" fmla="*/ 4547392 h 4575969"/>
                  <a:gd name="connsiteX16" fmla="*/ 0 w 8971757"/>
                  <a:gd name="connsiteY16" fmla="*/ 845344 h 4575969"/>
                  <a:gd name="connsiteX17" fmla="*/ 76200 w 8971757"/>
                  <a:gd name="connsiteY17" fmla="*/ 828675 h 4575969"/>
                  <a:gd name="connsiteX18" fmla="*/ 119063 w 8971757"/>
                  <a:gd name="connsiteY18" fmla="*/ 857250 h 4575969"/>
                  <a:gd name="connsiteX19" fmla="*/ 215900 w 8971757"/>
                  <a:gd name="connsiteY19" fmla="*/ 848519 h 4575969"/>
                  <a:gd name="connsiteX20" fmla="*/ 261938 w 8971757"/>
                  <a:gd name="connsiteY20" fmla="*/ 876299 h 4575969"/>
                  <a:gd name="connsiteX21" fmla="*/ 228600 w 8971757"/>
                  <a:gd name="connsiteY21" fmla="*/ 904875 h 4575969"/>
                  <a:gd name="connsiteX22" fmla="*/ 233363 w 8971757"/>
                  <a:gd name="connsiteY22" fmla="*/ 947737 h 4575969"/>
                  <a:gd name="connsiteX23" fmla="*/ 200025 w 8971757"/>
                  <a:gd name="connsiteY23" fmla="*/ 952500 h 4575969"/>
                  <a:gd name="connsiteX24" fmla="*/ 204788 w 8971757"/>
                  <a:gd name="connsiteY24" fmla="*/ 976312 h 4575969"/>
                  <a:gd name="connsiteX25" fmla="*/ 261937 w 8971757"/>
                  <a:gd name="connsiteY25" fmla="*/ 1050131 h 4575969"/>
                  <a:gd name="connsiteX26" fmla="*/ 223838 w 8971757"/>
                  <a:gd name="connsiteY26" fmla="*/ 1097756 h 4575969"/>
                  <a:gd name="connsiteX27" fmla="*/ 278606 w 8971757"/>
                  <a:gd name="connsiteY27" fmla="*/ 1133475 h 4575969"/>
                  <a:gd name="connsiteX28" fmla="*/ 369094 w 8971757"/>
                  <a:gd name="connsiteY28" fmla="*/ 1221581 h 4575969"/>
                  <a:gd name="connsiteX29" fmla="*/ 371475 w 8971757"/>
                  <a:gd name="connsiteY29" fmla="*/ 1281112 h 4575969"/>
                  <a:gd name="connsiteX30" fmla="*/ 507206 w 8971757"/>
                  <a:gd name="connsiteY30" fmla="*/ 1414463 h 4575969"/>
                  <a:gd name="connsiteX31" fmla="*/ 561975 w 8971757"/>
                  <a:gd name="connsiteY31" fmla="*/ 1390650 h 4575969"/>
                  <a:gd name="connsiteX32" fmla="*/ 600075 w 8971757"/>
                  <a:gd name="connsiteY32" fmla="*/ 1416843 h 4575969"/>
                  <a:gd name="connsiteX33" fmla="*/ 614363 w 8971757"/>
                  <a:gd name="connsiteY33" fmla="*/ 1466849 h 4575969"/>
                  <a:gd name="connsiteX34" fmla="*/ 657225 w 8971757"/>
                  <a:gd name="connsiteY34" fmla="*/ 1502569 h 4575969"/>
                  <a:gd name="connsiteX35" fmla="*/ 697706 w 8971757"/>
                  <a:gd name="connsiteY35" fmla="*/ 1490662 h 4575969"/>
                  <a:gd name="connsiteX36" fmla="*/ 716756 w 8971757"/>
                  <a:gd name="connsiteY36" fmla="*/ 1547812 h 4575969"/>
                  <a:gd name="connsiteX37" fmla="*/ 764381 w 8971757"/>
                  <a:gd name="connsiteY37" fmla="*/ 1590675 h 4575969"/>
                  <a:gd name="connsiteX38" fmla="*/ 788194 w 8971757"/>
                  <a:gd name="connsiteY38" fmla="*/ 1693069 h 4575969"/>
                  <a:gd name="connsiteX39" fmla="*/ 785813 w 8971757"/>
                  <a:gd name="connsiteY39" fmla="*/ 1740694 h 4575969"/>
                  <a:gd name="connsiteX40" fmla="*/ 821531 w 8971757"/>
                  <a:gd name="connsiteY40" fmla="*/ 1840706 h 4575969"/>
                  <a:gd name="connsiteX41" fmla="*/ 866775 w 8971757"/>
                  <a:gd name="connsiteY41" fmla="*/ 1897856 h 4575969"/>
                  <a:gd name="connsiteX42" fmla="*/ 883443 w 8971757"/>
                  <a:gd name="connsiteY42" fmla="*/ 2055018 h 4575969"/>
                  <a:gd name="connsiteX43" fmla="*/ 850106 w 8971757"/>
                  <a:gd name="connsiteY43" fmla="*/ 2116931 h 4575969"/>
                  <a:gd name="connsiteX44" fmla="*/ 819150 w 8971757"/>
                  <a:gd name="connsiteY44" fmla="*/ 2193131 h 4575969"/>
                  <a:gd name="connsiteX45" fmla="*/ 833438 w 8971757"/>
                  <a:gd name="connsiteY45" fmla="*/ 2250281 h 4575969"/>
                  <a:gd name="connsiteX46" fmla="*/ 735806 w 8971757"/>
                  <a:gd name="connsiteY46" fmla="*/ 2357438 h 4575969"/>
                  <a:gd name="connsiteX47" fmla="*/ 692944 w 8971757"/>
                  <a:gd name="connsiteY47" fmla="*/ 2471737 h 4575969"/>
                  <a:gd name="connsiteX48" fmla="*/ 726281 w 8971757"/>
                  <a:gd name="connsiteY48" fmla="*/ 2512219 h 4575969"/>
                  <a:gd name="connsiteX49" fmla="*/ 709613 w 8971757"/>
                  <a:gd name="connsiteY49" fmla="*/ 2540794 h 4575969"/>
                  <a:gd name="connsiteX50" fmla="*/ 740569 w 8971757"/>
                  <a:gd name="connsiteY50" fmla="*/ 2597944 h 4575969"/>
                  <a:gd name="connsiteX51" fmla="*/ 769144 w 8971757"/>
                  <a:gd name="connsiteY51" fmla="*/ 2597944 h 4575969"/>
                  <a:gd name="connsiteX52" fmla="*/ 931069 w 8971757"/>
                  <a:gd name="connsiteY52" fmla="*/ 2700337 h 4575969"/>
                  <a:gd name="connsiteX53" fmla="*/ 1035844 w 8971757"/>
                  <a:gd name="connsiteY53" fmla="*/ 2697956 h 4575969"/>
                  <a:gd name="connsiteX54" fmla="*/ 1114425 w 8971757"/>
                  <a:gd name="connsiteY54" fmla="*/ 2752725 h 4575969"/>
                  <a:gd name="connsiteX55" fmla="*/ 1245393 w 8971757"/>
                  <a:gd name="connsiteY55" fmla="*/ 2755106 h 4575969"/>
                  <a:gd name="connsiteX56" fmla="*/ 1435893 w 8971757"/>
                  <a:gd name="connsiteY56" fmla="*/ 2824162 h 4575969"/>
                  <a:gd name="connsiteX57" fmla="*/ 1638300 w 8971757"/>
                  <a:gd name="connsiteY57" fmla="*/ 2974181 h 4575969"/>
                  <a:gd name="connsiteX58" fmla="*/ 1671637 w 8971757"/>
                  <a:gd name="connsiteY58" fmla="*/ 3040856 h 4575969"/>
                  <a:gd name="connsiteX59" fmla="*/ 1838325 w 8971757"/>
                  <a:gd name="connsiteY59" fmla="*/ 3167062 h 4575969"/>
                  <a:gd name="connsiteX60" fmla="*/ 1909763 w 8971757"/>
                  <a:gd name="connsiteY60" fmla="*/ 3162300 h 4575969"/>
                  <a:gd name="connsiteX61" fmla="*/ 1945482 w 8971757"/>
                  <a:gd name="connsiteY61" fmla="*/ 3186112 h 4575969"/>
                  <a:gd name="connsiteX62" fmla="*/ 1916906 w 8971757"/>
                  <a:gd name="connsiteY62" fmla="*/ 3226594 h 4575969"/>
                  <a:gd name="connsiteX63" fmla="*/ 1924050 w 8971757"/>
                  <a:gd name="connsiteY63" fmla="*/ 3278981 h 4575969"/>
                  <a:gd name="connsiteX64" fmla="*/ 1976438 w 8971757"/>
                  <a:gd name="connsiteY64" fmla="*/ 3305175 h 4575969"/>
                  <a:gd name="connsiteX65" fmla="*/ 2038350 w 8971757"/>
                  <a:gd name="connsiteY65" fmla="*/ 3529013 h 4575969"/>
                  <a:gd name="connsiteX66" fmla="*/ 2028825 w 8971757"/>
                  <a:gd name="connsiteY66" fmla="*/ 3593306 h 4575969"/>
                  <a:gd name="connsiteX67" fmla="*/ 2164556 w 8971757"/>
                  <a:gd name="connsiteY67" fmla="*/ 3759994 h 4575969"/>
                  <a:gd name="connsiteX68" fmla="*/ 2183606 w 8971757"/>
                  <a:gd name="connsiteY68" fmla="*/ 3810000 h 4575969"/>
                  <a:gd name="connsiteX69" fmla="*/ 2157413 w 8971757"/>
                  <a:gd name="connsiteY69" fmla="*/ 3829050 h 4575969"/>
                  <a:gd name="connsiteX70" fmla="*/ 2259806 w 8971757"/>
                  <a:gd name="connsiteY70" fmla="*/ 3838575 h 4575969"/>
                  <a:gd name="connsiteX71" fmla="*/ 2371725 w 8971757"/>
                  <a:gd name="connsiteY71" fmla="*/ 3826669 h 4575969"/>
                  <a:gd name="connsiteX72" fmla="*/ 2650331 w 8971757"/>
                  <a:gd name="connsiteY72" fmla="*/ 3910012 h 4575969"/>
                  <a:gd name="connsiteX73" fmla="*/ 3057525 w 8971757"/>
                  <a:gd name="connsiteY73" fmla="*/ 3990975 h 4575969"/>
                  <a:gd name="connsiteX74" fmla="*/ 3255169 w 8971757"/>
                  <a:gd name="connsiteY74" fmla="*/ 3960018 h 4575969"/>
                  <a:gd name="connsiteX75" fmla="*/ 3300413 w 8971757"/>
                  <a:gd name="connsiteY75" fmla="*/ 3971924 h 4575969"/>
                  <a:gd name="connsiteX76" fmla="*/ 3355181 w 8971757"/>
                  <a:gd name="connsiteY76" fmla="*/ 3948113 h 4575969"/>
                  <a:gd name="connsiteX77" fmla="*/ 3748087 w 8971757"/>
                  <a:gd name="connsiteY77" fmla="*/ 4038600 h 4575969"/>
                  <a:gd name="connsiteX78" fmla="*/ 3831432 w 8971757"/>
                  <a:gd name="connsiteY78" fmla="*/ 4136231 h 4575969"/>
                  <a:gd name="connsiteX79" fmla="*/ 3950494 w 8971757"/>
                  <a:gd name="connsiteY79" fmla="*/ 4207669 h 4575969"/>
                  <a:gd name="connsiteX80" fmla="*/ 4010025 w 8971757"/>
                  <a:gd name="connsiteY80" fmla="*/ 4191000 h 4575969"/>
                  <a:gd name="connsiteX81" fmla="*/ 4360068 w 8971757"/>
                  <a:gd name="connsiteY81" fmla="*/ 4364831 h 4575969"/>
                  <a:gd name="connsiteX82" fmla="*/ 4586288 w 8971757"/>
                  <a:gd name="connsiteY82" fmla="*/ 4336256 h 4575969"/>
                  <a:gd name="connsiteX83" fmla="*/ 4595813 w 8971757"/>
                  <a:gd name="connsiteY83" fmla="*/ 4414837 h 4575969"/>
                  <a:gd name="connsiteX84" fmla="*/ 4681538 w 8971757"/>
                  <a:gd name="connsiteY84" fmla="*/ 4410074 h 4575969"/>
                  <a:gd name="connsiteX85" fmla="*/ 4760119 w 8971757"/>
                  <a:gd name="connsiteY85" fmla="*/ 4441031 h 4575969"/>
                  <a:gd name="connsiteX86" fmla="*/ 4802981 w 8971757"/>
                  <a:gd name="connsiteY86" fmla="*/ 4381500 h 4575969"/>
                  <a:gd name="connsiteX87" fmla="*/ 5474494 w 8971757"/>
                  <a:gd name="connsiteY87" fmla="*/ 4062412 h 4575969"/>
                  <a:gd name="connsiteX88" fmla="*/ 5562600 w 8971757"/>
                  <a:gd name="connsiteY88" fmla="*/ 4090988 h 4575969"/>
                  <a:gd name="connsiteX89" fmla="*/ 5693569 w 8971757"/>
                  <a:gd name="connsiteY89" fmla="*/ 4062412 h 4575969"/>
                  <a:gd name="connsiteX90" fmla="*/ 5872162 w 8971757"/>
                  <a:gd name="connsiteY90" fmla="*/ 4079081 h 4575969"/>
                  <a:gd name="connsiteX91" fmla="*/ 5929313 w 8971757"/>
                  <a:gd name="connsiteY91" fmla="*/ 4052888 h 4575969"/>
                  <a:gd name="connsiteX92" fmla="*/ 6062662 w 8971757"/>
                  <a:gd name="connsiteY92" fmla="*/ 4050506 h 4575969"/>
                  <a:gd name="connsiteX93" fmla="*/ 6196012 w 8971757"/>
                  <a:gd name="connsiteY93" fmla="*/ 3952875 h 4575969"/>
                  <a:gd name="connsiteX94" fmla="*/ 6262687 w 8971757"/>
                  <a:gd name="connsiteY94" fmla="*/ 3945731 h 4575969"/>
                  <a:gd name="connsiteX95" fmla="*/ 6360319 w 8971757"/>
                  <a:gd name="connsiteY95" fmla="*/ 3871912 h 4575969"/>
                  <a:gd name="connsiteX96" fmla="*/ 6434138 w 8971757"/>
                  <a:gd name="connsiteY96" fmla="*/ 3802856 h 4575969"/>
                  <a:gd name="connsiteX97" fmla="*/ 6443663 w 8971757"/>
                  <a:gd name="connsiteY97" fmla="*/ 3740944 h 4575969"/>
                  <a:gd name="connsiteX98" fmla="*/ 6477000 w 8971757"/>
                  <a:gd name="connsiteY98" fmla="*/ 3671887 h 4575969"/>
                  <a:gd name="connsiteX99" fmla="*/ 6629400 w 8971757"/>
                  <a:gd name="connsiteY99" fmla="*/ 3564731 h 4575969"/>
                  <a:gd name="connsiteX100" fmla="*/ 6662738 w 8971757"/>
                  <a:gd name="connsiteY100" fmla="*/ 3569494 h 4575969"/>
                  <a:gd name="connsiteX101" fmla="*/ 6715125 w 8971757"/>
                  <a:gd name="connsiteY101" fmla="*/ 3490912 h 4575969"/>
                  <a:gd name="connsiteX102" fmla="*/ 6762750 w 8971757"/>
                  <a:gd name="connsiteY102" fmla="*/ 3452812 h 4575969"/>
                  <a:gd name="connsiteX103" fmla="*/ 6748463 w 8971757"/>
                  <a:gd name="connsiteY103" fmla="*/ 3383756 h 4575969"/>
                  <a:gd name="connsiteX104" fmla="*/ 6698456 w 8971757"/>
                  <a:gd name="connsiteY104" fmla="*/ 3352799 h 4575969"/>
                  <a:gd name="connsiteX105" fmla="*/ 6638925 w 8971757"/>
                  <a:gd name="connsiteY105" fmla="*/ 3298031 h 4575969"/>
                  <a:gd name="connsiteX106" fmla="*/ 6619875 w 8971757"/>
                  <a:gd name="connsiteY106" fmla="*/ 3240881 h 4575969"/>
                  <a:gd name="connsiteX107" fmla="*/ 6584156 w 8971757"/>
                  <a:gd name="connsiteY107" fmla="*/ 3207544 h 4575969"/>
                  <a:gd name="connsiteX108" fmla="*/ 6610350 w 8971757"/>
                  <a:gd name="connsiteY108" fmla="*/ 3155156 h 4575969"/>
                  <a:gd name="connsiteX109" fmla="*/ 6650831 w 8971757"/>
                  <a:gd name="connsiteY109" fmla="*/ 2976562 h 4575969"/>
                  <a:gd name="connsiteX110" fmla="*/ 6691313 w 8971757"/>
                  <a:gd name="connsiteY110" fmla="*/ 2909887 h 4575969"/>
                  <a:gd name="connsiteX111" fmla="*/ 6836569 w 8971757"/>
                  <a:gd name="connsiteY111" fmla="*/ 2893218 h 4575969"/>
                  <a:gd name="connsiteX112" fmla="*/ 6905625 w 8971757"/>
                  <a:gd name="connsiteY112" fmla="*/ 2950369 h 4575969"/>
                  <a:gd name="connsiteX113" fmla="*/ 6981825 w 8971757"/>
                  <a:gd name="connsiteY113" fmla="*/ 2974181 h 4575969"/>
                  <a:gd name="connsiteX114" fmla="*/ 7186612 w 8971757"/>
                  <a:gd name="connsiteY114" fmla="*/ 2978944 h 4575969"/>
                  <a:gd name="connsiteX115" fmla="*/ 7362825 w 8971757"/>
                  <a:gd name="connsiteY115" fmla="*/ 2840831 h 4575969"/>
                  <a:gd name="connsiteX116" fmla="*/ 7419975 w 8971757"/>
                  <a:gd name="connsiteY116" fmla="*/ 2750343 h 4575969"/>
                  <a:gd name="connsiteX117" fmla="*/ 7446169 w 8971757"/>
                  <a:gd name="connsiteY117" fmla="*/ 2667000 h 4575969"/>
                  <a:gd name="connsiteX118" fmla="*/ 7577137 w 8971757"/>
                  <a:gd name="connsiteY118" fmla="*/ 2667000 h 4575969"/>
                  <a:gd name="connsiteX119" fmla="*/ 7750969 w 8971757"/>
                  <a:gd name="connsiteY119" fmla="*/ 2609849 h 4575969"/>
                  <a:gd name="connsiteX120" fmla="*/ 7810500 w 8971757"/>
                  <a:gd name="connsiteY120" fmla="*/ 2497931 h 4575969"/>
                  <a:gd name="connsiteX121" fmla="*/ 7874794 w 8971757"/>
                  <a:gd name="connsiteY121" fmla="*/ 2462212 h 4575969"/>
                  <a:gd name="connsiteX122" fmla="*/ 7853363 w 8971757"/>
                  <a:gd name="connsiteY122" fmla="*/ 2416969 h 4575969"/>
                  <a:gd name="connsiteX123" fmla="*/ 7931944 w 8971757"/>
                  <a:gd name="connsiteY123" fmla="*/ 2247899 h 4575969"/>
                  <a:gd name="connsiteX124" fmla="*/ 7986713 w 8971757"/>
                  <a:gd name="connsiteY124" fmla="*/ 2188369 h 4575969"/>
                  <a:gd name="connsiteX125" fmla="*/ 8024813 w 8971757"/>
                  <a:gd name="connsiteY125" fmla="*/ 2183606 h 4575969"/>
                  <a:gd name="connsiteX126" fmla="*/ 8070056 w 8971757"/>
                  <a:gd name="connsiteY126" fmla="*/ 2188369 h 4575969"/>
                  <a:gd name="connsiteX127" fmla="*/ 8134350 w 8971757"/>
                  <a:gd name="connsiteY127" fmla="*/ 2155031 h 4575969"/>
                  <a:gd name="connsiteX128" fmla="*/ 8143875 w 8971757"/>
                  <a:gd name="connsiteY128" fmla="*/ 2090737 h 4575969"/>
                  <a:gd name="connsiteX129" fmla="*/ 8184355 w 8971757"/>
                  <a:gd name="connsiteY129" fmla="*/ 2055019 h 4575969"/>
                  <a:gd name="connsiteX130" fmla="*/ 8243888 w 8971757"/>
                  <a:gd name="connsiteY130" fmla="*/ 2095499 h 4575969"/>
                  <a:gd name="connsiteX131" fmla="*/ 8270082 w 8971757"/>
                  <a:gd name="connsiteY131" fmla="*/ 2045493 h 4575969"/>
                  <a:gd name="connsiteX132" fmla="*/ 8365331 w 8971757"/>
                  <a:gd name="connsiteY132" fmla="*/ 1976437 h 4575969"/>
                  <a:gd name="connsiteX133" fmla="*/ 8427244 w 8971757"/>
                  <a:gd name="connsiteY133" fmla="*/ 1983581 h 4575969"/>
                  <a:gd name="connsiteX134" fmla="*/ 8477250 w 8971757"/>
                  <a:gd name="connsiteY134" fmla="*/ 1964531 h 4575969"/>
                  <a:gd name="connsiteX135" fmla="*/ 8515350 w 8971757"/>
                  <a:gd name="connsiteY135" fmla="*/ 1935956 h 4575969"/>
                  <a:gd name="connsiteX136" fmla="*/ 8548688 w 8971757"/>
                  <a:gd name="connsiteY136" fmla="*/ 1933575 h 4575969"/>
                  <a:gd name="connsiteX137" fmla="*/ 8584406 w 8971757"/>
                  <a:gd name="connsiteY137" fmla="*/ 1964531 h 4575969"/>
                  <a:gd name="connsiteX138" fmla="*/ 8643938 w 8971757"/>
                  <a:gd name="connsiteY138" fmla="*/ 1964531 h 4575969"/>
                  <a:gd name="connsiteX139" fmla="*/ 8682037 w 8971757"/>
                  <a:gd name="connsiteY139" fmla="*/ 1945481 h 4575969"/>
                  <a:gd name="connsiteX140" fmla="*/ 8765381 w 8971757"/>
                  <a:gd name="connsiteY140" fmla="*/ 1947863 h 4575969"/>
                  <a:gd name="connsiteX141" fmla="*/ 8796338 w 8971757"/>
                  <a:gd name="connsiteY141" fmla="*/ 1902619 h 4575969"/>
                  <a:gd name="connsiteX142" fmla="*/ 8801100 w 8971757"/>
                  <a:gd name="connsiteY142" fmla="*/ 1840706 h 4575969"/>
                  <a:gd name="connsiteX143" fmla="*/ 8751093 w 8971757"/>
                  <a:gd name="connsiteY143" fmla="*/ 1800225 h 4575969"/>
                  <a:gd name="connsiteX144" fmla="*/ 8734425 w 8971757"/>
                  <a:gd name="connsiteY144" fmla="*/ 1745456 h 4575969"/>
                  <a:gd name="connsiteX145" fmla="*/ 8643938 w 8971757"/>
                  <a:gd name="connsiteY145" fmla="*/ 1683544 h 4575969"/>
                  <a:gd name="connsiteX146" fmla="*/ 8603456 w 8971757"/>
                  <a:gd name="connsiteY146" fmla="*/ 1662112 h 4575969"/>
                  <a:gd name="connsiteX147" fmla="*/ 8565356 w 8971757"/>
                  <a:gd name="connsiteY147" fmla="*/ 1616869 h 4575969"/>
                  <a:gd name="connsiteX148" fmla="*/ 8534400 w 8971757"/>
                  <a:gd name="connsiteY148" fmla="*/ 1614487 h 4575969"/>
                  <a:gd name="connsiteX149" fmla="*/ 8517731 w 8971757"/>
                  <a:gd name="connsiteY149" fmla="*/ 1562100 h 4575969"/>
                  <a:gd name="connsiteX150" fmla="*/ 8477250 w 8971757"/>
                  <a:gd name="connsiteY150" fmla="*/ 1545431 h 4575969"/>
                  <a:gd name="connsiteX151" fmla="*/ 8477250 w 8971757"/>
                  <a:gd name="connsiteY151" fmla="*/ 1545431 h 4575969"/>
                  <a:gd name="connsiteX152" fmla="*/ 8436769 w 8971757"/>
                  <a:gd name="connsiteY152" fmla="*/ 1550194 h 4575969"/>
                  <a:gd name="connsiteX153" fmla="*/ 8351043 w 8971757"/>
                  <a:gd name="connsiteY153" fmla="*/ 1476375 h 4575969"/>
                  <a:gd name="connsiteX154" fmla="*/ 8170069 w 8971757"/>
                  <a:gd name="connsiteY154" fmla="*/ 1476374 h 4575969"/>
                  <a:gd name="connsiteX155" fmla="*/ 8117681 w 8971757"/>
                  <a:gd name="connsiteY155" fmla="*/ 1514475 h 4575969"/>
                  <a:gd name="connsiteX156" fmla="*/ 8067675 w 8971757"/>
                  <a:gd name="connsiteY156" fmla="*/ 1593056 h 4575969"/>
                  <a:gd name="connsiteX157" fmla="*/ 8084344 w 8971757"/>
                  <a:gd name="connsiteY157" fmla="*/ 1614487 h 4575969"/>
                  <a:gd name="connsiteX158" fmla="*/ 8039100 w 8971757"/>
                  <a:gd name="connsiteY158" fmla="*/ 1664493 h 4575969"/>
                  <a:gd name="connsiteX159" fmla="*/ 7889081 w 8971757"/>
                  <a:gd name="connsiteY159" fmla="*/ 1588293 h 4575969"/>
                  <a:gd name="connsiteX160" fmla="*/ 7798594 w 8971757"/>
                  <a:gd name="connsiteY160" fmla="*/ 1624012 h 4575969"/>
                  <a:gd name="connsiteX161" fmla="*/ 7724775 w 8971757"/>
                  <a:gd name="connsiteY161" fmla="*/ 1621631 h 4575969"/>
                  <a:gd name="connsiteX162" fmla="*/ 7667625 w 8971757"/>
                  <a:gd name="connsiteY162" fmla="*/ 1716881 h 4575969"/>
                  <a:gd name="connsiteX163" fmla="*/ 7529513 w 8971757"/>
                  <a:gd name="connsiteY16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424937 w 8971757"/>
                  <a:gd name="connsiteY11" fmla="*/ 425869 h 4575969"/>
                  <a:gd name="connsiteX12" fmla="*/ 8412956 w 8971757"/>
                  <a:gd name="connsiteY12" fmla="*/ 23812 h 4575969"/>
                  <a:gd name="connsiteX13" fmla="*/ 8949531 w 8971757"/>
                  <a:gd name="connsiteY13" fmla="*/ 0 h 4575969"/>
                  <a:gd name="connsiteX14" fmla="*/ 8971757 w 8971757"/>
                  <a:gd name="connsiteY14" fmla="*/ 4575969 h 4575969"/>
                  <a:gd name="connsiteX15" fmla="*/ 2381 w 8971757"/>
                  <a:gd name="connsiteY15" fmla="*/ 4547392 h 4575969"/>
                  <a:gd name="connsiteX16" fmla="*/ 0 w 8971757"/>
                  <a:gd name="connsiteY16" fmla="*/ 845344 h 4575969"/>
                  <a:gd name="connsiteX17" fmla="*/ 76200 w 8971757"/>
                  <a:gd name="connsiteY17" fmla="*/ 828675 h 4575969"/>
                  <a:gd name="connsiteX18" fmla="*/ 119063 w 8971757"/>
                  <a:gd name="connsiteY18" fmla="*/ 857250 h 4575969"/>
                  <a:gd name="connsiteX19" fmla="*/ 215900 w 8971757"/>
                  <a:gd name="connsiteY19" fmla="*/ 848519 h 4575969"/>
                  <a:gd name="connsiteX20" fmla="*/ 261938 w 8971757"/>
                  <a:gd name="connsiteY20" fmla="*/ 876299 h 4575969"/>
                  <a:gd name="connsiteX21" fmla="*/ 228600 w 8971757"/>
                  <a:gd name="connsiteY21" fmla="*/ 904875 h 4575969"/>
                  <a:gd name="connsiteX22" fmla="*/ 233363 w 8971757"/>
                  <a:gd name="connsiteY22" fmla="*/ 947737 h 4575969"/>
                  <a:gd name="connsiteX23" fmla="*/ 200025 w 8971757"/>
                  <a:gd name="connsiteY23" fmla="*/ 952500 h 4575969"/>
                  <a:gd name="connsiteX24" fmla="*/ 204788 w 8971757"/>
                  <a:gd name="connsiteY24" fmla="*/ 976312 h 4575969"/>
                  <a:gd name="connsiteX25" fmla="*/ 261937 w 8971757"/>
                  <a:gd name="connsiteY25" fmla="*/ 1050131 h 4575969"/>
                  <a:gd name="connsiteX26" fmla="*/ 223838 w 8971757"/>
                  <a:gd name="connsiteY26" fmla="*/ 1097756 h 4575969"/>
                  <a:gd name="connsiteX27" fmla="*/ 278606 w 8971757"/>
                  <a:gd name="connsiteY27" fmla="*/ 1133475 h 4575969"/>
                  <a:gd name="connsiteX28" fmla="*/ 369094 w 8971757"/>
                  <a:gd name="connsiteY28" fmla="*/ 1221581 h 4575969"/>
                  <a:gd name="connsiteX29" fmla="*/ 371475 w 8971757"/>
                  <a:gd name="connsiteY29" fmla="*/ 1281112 h 4575969"/>
                  <a:gd name="connsiteX30" fmla="*/ 507206 w 8971757"/>
                  <a:gd name="connsiteY30" fmla="*/ 1414463 h 4575969"/>
                  <a:gd name="connsiteX31" fmla="*/ 561975 w 8971757"/>
                  <a:gd name="connsiteY31" fmla="*/ 1390650 h 4575969"/>
                  <a:gd name="connsiteX32" fmla="*/ 600075 w 8971757"/>
                  <a:gd name="connsiteY32" fmla="*/ 1416843 h 4575969"/>
                  <a:gd name="connsiteX33" fmla="*/ 614363 w 8971757"/>
                  <a:gd name="connsiteY33" fmla="*/ 1466849 h 4575969"/>
                  <a:gd name="connsiteX34" fmla="*/ 657225 w 8971757"/>
                  <a:gd name="connsiteY34" fmla="*/ 1502569 h 4575969"/>
                  <a:gd name="connsiteX35" fmla="*/ 697706 w 8971757"/>
                  <a:gd name="connsiteY35" fmla="*/ 1490662 h 4575969"/>
                  <a:gd name="connsiteX36" fmla="*/ 716756 w 8971757"/>
                  <a:gd name="connsiteY36" fmla="*/ 1547812 h 4575969"/>
                  <a:gd name="connsiteX37" fmla="*/ 764381 w 8971757"/>
                  <a:gd name="connsiteY37" fmla="*/ 1590675 h 4575969"/>
                  <a:gd name="connsiteX38" fmla="*/ 788194 w 8971757"/>
                  <a:gd name="connsiteY38" fmla="*/ 1693069 h 4575969"/>
                  <a:gd name="connsiteX39" fmla="*/ 785813 w 8971757"/>
                  <a:gd name="connsiteY39" fmla="*/ 1740694 h 4575969"/>
                  <a:gd name="connsiteX40" fmla="*/ 821531 w 8971757"/>
                  <a:gd name="connsiteY40" fmla="*/ 1840706 h 4575969"/>
                  <a:gd name="connsiteX41" fmla="*/ 866775 w 8971757"/>
                  <a:gd name="connsiteY41" fmla="*/ 1897856 h 4575969"/>
                  <a:gd name="connsiteX42" fmla="*/ 883443 w 8971757"/>
                  <a:gd name="connsiteY42" fmla="*/ 2055018 h 4575969"/>
                  <a:gd name="connsiteX43" fmla="*/ 850106 w 8971757"/>
                  <a:gd name="connsiteY43" fmla="*/ 2116931 h 4575969"/>
                  <a:gd name="connsiteX44" fmla="*/ 819150 w 8971757"/>
                  <a:gd name="connsiteY44" fmla="*/ 2193131 h 4575969"/>
                  <a:gd name="connsiteX45" fmla="*/ 833438 w 8971757"/>
                  <a:gd name="connsiteY45" fmla="*/ 2250281 h 4575969"/>
                  <a:gd name="connsiteX46" fmla="*/ 735806 w 8971757"/>
                  <a:gd name="connsiteY46" fmla="*/ 2357438 h 4575969"/>
                  <a:gd name="connsiteX47" fmla="*/ 692944 w 8971757"/>
                  <a:gd name="connsiteY47" fmla="*/ 2471737 h 4575969"/>
                  <a:gd name="connsiteX48" fmla="*/ 726281 w 8971757"/>
                  <a:gd name="connsiteY48" fmla="*/ 2512219 h 4575969"/>
                  <a:gd name="connsiteX49" fmla="*/ 709613 w 8971757"/>
                  <a:gd name="connsiteY49" fmla="*/ 2540794 h 4575969"/>
                  <a:gd name="connsiteX50" fmla="*/ 740569 w 8971757"/>
                  <a:gd name="connsiteY50" fmla="*/ 2597944 h 4575969"/>
                  <a:gd name="connsiteX51" fmla="*/ 769144 w 8971757"/>
                  <a:gd name="connsiteY51" fmla="*/ 2597944 h 4575969"/>
                  <a:gd name="connsiteX52" fmla="*/ 931069 w 8971757"/>
                  <a:gd name="connsiteY52" fmla="*/ 2700337 h 4575969"/>
                  <a:gd name="connsiteX53" fmla="*/ 1035844 w 8971757"/>
                  <a:gd name="connsiteY53" fmla="*/ 2697956 h 4575969"/>
                  <a:gd name="connsiteX54" fmla="*/ 1114425 w 8971757"/>
                  <a:gd name="connsiteY54" fmla="*/ 2752725 h 4575969"/>
                  <a:gd name="connsiteX55" fmla="*/ 1245393 w 8971757"/>
                  <a:gd name="connsiteY55" fmla="*/ 2755106 h 4575969"/>
                  <a:gd name="connsiteX56" fmla="*/ 1435893 w 8971757"/>
                  <a:gd name="connsiteY56" fmla="*/ 2824162 h 4575969"/>
                  <a:gd name="connsiteX57" fmla="*/ 1638300 w 8971757"/>
                  <a:gd name="connsiteY57" fmla="*/ 2974181 h 4575969"/>
                  <a:gd name="connsiteX58" fmla="*/ 1671637 w 8971757"/>
                  <a:gd name="connsiteY58" fmla="*/ 3040856 h 4575969"/>
                  <a:gd name="connsiteX59" fmla="*/ 1838325 w 8971757"/>
                  <a:gd name="connsiteY59" fmla="*/ 3167062 h 4575969"/>
                  <a:gd name="connsiteX60" fmla="*/ 1909763 w 8971757"/>
                  <a:gd name="connsiteY60" fmla="*/ 3162300 h 4575969"/>
                  <a:gd name="connsiteX61" fmla="*/ 1945482 w 8971757"/>
                  <a:gd name="connsiteY61" fmla="*/ 3186112 h 4575969"/>
                  <a:gd name="connsiteX62" fmla="*/ 1916906 w 8971757"/>
                  <a:gd name="connsiteY62" fmla="*/ 3226594 h 4575969"/>
                  <a:gd name="connsiteX63" fmla="*/ 1924050 w 8971757"/>
                  <a:gd name="connsiteY63" fmla="*/ 3278981 h 4575969"/>
                  <a:gd name="connsiteX64" fmla="*/ 1976438 w 8971757"/>
                  <a:gd name="connsiteY64" fmla="*/ 3305175 h 4575969"/>
                  <a:gd name="connsiteX65" fmla="*/ 2038350 w 8971757"/>
                  <a:gd name="connsiteY65" fmla="*/ 3529013 h 4575969"/>
                  <a:gd name="connsiteX66" fmla="*/ 2028825 w 8971757"/>
                  <a:gd name="connsiteY66" fmla="*/ 3593306 h 4575969"/>
                  <a:gd name="connsiteX67" fmla="*/ 2164556 w 8971757"/>
                  <a:gd name="connsiteY67" fmla="*/ 3759994 h 4575969"/>
                  <a:gd name="connsiteX68" fmla="*/ 2183606 w 8971757"/>
                  <a:gd name="connsiteY68" fmla="*/ 3810000 h 4575969"/>
                  <a:gd name="connsiteX69" fmla="*/ 2157413 w 8971757"/>
                  <a:gd name="connsiteY69" fmla="*/ 3829050 h 4575969"/>
                  <a:gd name="connsiteX70" fmla="*/ 2259806 w 8971757"/>
                  <a:gd name="connsiteY70" fmla="*/ 3838575 h 4575969"/>
                  <a:gd name="connsiteX71" fmla="*/ 2371725 w 8971757"/>
                  <a:gd name="connsiteY71" fmla="*/ 3826669 h 4575969"/>
                  <a:gd name="connsiteX72" fmla="*/ 2650331 w 8971757"/>
                  <a:gd name="connsiteY72" fmla="*/ 3910012 h 4575969"/>
                  <a:gd name="connsiteX73" fmla="*/ 3057525 w 8971757"/>
                  <a:gd name="connsiteY73" fmla="*/ 3990975 h 4575969"/>
                  <a:gd name="connsiteX74" fmla="*/ 3255169 w 8971757"/>
                  <a:gd name="connsiteY74" fmla="*/ 3960018 h 4575969"/>
                  <a:gd name="connsiteX75" fmla="*/ 3300413 w 8971757"/>
                  <a:gd name="connsiteY75" fmla="*/ 3971924 h 4575969"/>
                  <a:gd name="connsiteX76" fmla="*/ 3355181 w 8971757"/>
                  <a:gd name="connsiteY76" fmla="*/ 3948113 h 4575969"/>
                  <a:gd name="connsiteX77" fmla="*/ 3748087 w 8971757"/>
                  <a:gd name="connsiteY77" fmla="*/ 4038600 h 4575969"/>
                  <a:gd name="connsiteX78" fmla="*/ 3831432 w 8971757"/>
                  <a:gd name="connsiteY78" fmla="*/ 4136231 h 4575969"/>
                  <a:gd name="connsiteX79" fmla="*/ 3950494 w 8971757"/>
                  <a:gd name="connsiteY79" fmla="*/ 4207669 h 4575969"/>
                  <a:gd name="connsiteX80" fmla="*/ 4010025 w 8971757"/>
                  <a:gd name="connsiteY80" fmla="*/ 4191000 h 4575969"/>
                  <a:gd name="connsiteX81" fmla="*/ 4360068 w 8971757"/>
                  <a:gd name="connsiteY81" fmla="*/ 4364831 h 4575969"/>
                  <a:gd name="connsiteX82" fmla="*/ 4586288 w 8971757"/>
                  <a:gd name="connsiteY82" fmla="*/ 4336256 h 4575969"/>
                  <a:gd name="connsiteX83" fmla="*/ 4595813 w 8971757"/>
                  <a:gd name="connsiteY83" fmla="*/ 4414837 h 4575969"/>
                  <a:gd name="connsiteX84" fmla="*/ 4681538 w 8971757"/>
                  <a:gd name="connsiteY84" fmla="*/ 4410074 h 4575969"/>
                  <a:gd name="connsiteX85" fmla="*/ 4760119 w 8971757"/>
                  <a:gd name="connsiteY85" fmla="*/ 4441031 h 4575969"/>
                  <a:gd name="connsiteX86" fmla="*/ 4802981 w 8971757"/>
                  <a:gd name="connsiteY86" fmla="*/ 4381500 h 4575969"/>
                  <a:gd name="connsiteX87" fmla="*/ 5474494 w 8971757"/>
                  <a:gd name="connsiteY87" fmla="*/ 4062412 h 4575969"/>
                  <a:gd name="connsiteX88" fmla="*/ 5562600 w 8971757"/>
                  <a:gd name="connsiteY88" fmla="*/ 4090988 h 4575969"/>
                  <a:gd name="connsiteX89" fmla="*/ 5693569 w 8971757"/>
                  <a:gd name="connsiteY89" fmla="*/ 4062412 h 4575969"/>
                  <a:gd name="connsiteX90" fmla="*/ 5872162 w 8971757"/>
                  <a:gd name="connsiteY90" fmla="*/ 4079081 h 4575969"/>
                  <a:gd name="connsiteX91" fmla="*/ 5929313 w 8971757"/>
                  <a:gd name="connsiteY91" fmla="*/ 4052888 h 4575969"/>
                  <a:gd name="connsiteX92" fmla="*/ 6062662 w 8971757"/>
                  <a:gd name="connsiteY92" fmla="*/ 4050506 h 4575969"/>
                  <a:gd name="connsiteX93" fmla="*/ 6196012 w 8971757"/>
                  <a:gd name="connsiteY93" fmla="*/ 3952875 h 4575969"/>
                  <a:gd name="connsiteX94" fmla="*/ 6262687 w 8971757"/>
                  <a:gd name="connsiteY94" fmla="*/ 3945731 h 4575969"/>
                  <a:gd name="connsiteX95" fmla="*/ 6360319 w 8971757"/>
                  <a:gd name="connsiteY95" fmla="*/ 3871912 h 4575969"/>
                  <a:gd name="connsiteX96" fmla="*/ 6434138 w 8971757"/>
                  <a:gd name="connsiteY96" fmla="*/ 3802856 h 4575969"/>
                  <a:gd name="connsiteX97" fmla="*/ 6443663 w 8971757"/>
                  <a:gd name="connsiteY97" fmla="*/ 3740944 h 4575969"/>
                  <a:gd name="connsiteX98" fmla="*/ 6477000 w 8971757"/>
                  <a:gd name="connsiteY98" fmla="*/ 3671887 h 4575969"/>
                  <a:gd name="connsiteX99" fmla="*/ 6629400 w 8971757"/>
                  <a:gd name="connsiteY99" fmla="*/ 3564731 h 4575969"/>
                  <a:gd name="connsiteX100" fmla="*/ 6662738 w 8971757"/>
                  <a:gd name="connsiteY100" fmla="*/ 3569494 h 4575969"/>
                  <a:gd name="connsiteX101" fmla="*/ 6715125 w 8971757"/>
                  <a:gd name="connsiteY101" fmla="*/ 3490912 h 4575969"/>
                  <a:gd name="connsiteX102" fmla="*/ 6762750 w 8971757"/>
                  <a:gd name="connsiteY102" fmla="*/ 3452812 h 4575969"/>
                  <a:gd name="connsiteX103" fmla="*/ 6748463 w 8971757"/>
                  <a:gd name="connsiteY103" fmla="*/ 3383756 h 4575969"/>
                  <a:gd name="connsiteX104" fmla="*/ 6698456 w 8971757"/>
                  <a:gd name="connsiteY104" fmla="*/ 3352799 h 4575969"/>
                  <a:gd name="connsiteX105" fmla="*/ 6638925 w 8971757"/>
                  <a:gd name="connsiteY105" fmla="*/ 3298031 h 4575969"/>
                  <a:gd name="connsiteX106" fmla="*/ 6619875 w 8971757"/>
                  <a:gd name="connsiteY106" fmla="*/ 3240881 h 4575969"/>
                  <a:gd name="connsiteX107" fmla="*/ 6584156 w 8971757"/>
                  <a:gd name="connsiteY107" fmla="*/ 3207544 h 4575969"/>
                  <a:gd name="connsiteX108" fmla="*/ 6610350 w 8971757"/>
                  <a:gd name="connsiteY108" fmla="*/ 3155156 h 4575969"/>
                  <a:gd name="connsiteX109" fmla="*/ 6650831 w 8971757"/>
                  <a:gd name="connsiteY109" fmla="*/ 2976562 h 4575969"/>
                  <a:gd name="connsiteX110" fmla="*/ 6691313 w 8971757"/>
                  <a:gd name="connsiteY110" fmla="*/ 2909887 h 4575969"/>
                  <a:gd name="connsiteX111" fmla="*/ 6836569 w 8971757"/>
                  <a:gd name="connsiteY111" fmla="*/ 2893218 h 4575969"/>
                  <a:gd name="connsiteX112" fmla="*/ 6905625 w 8971757"/>
                  <a:gd name="connsiteY112" fmla="*/ 2950369 h 4575969"/>
                  <a:gd name="connsiteX113" fmla="*/ 6981825 w 8971757"/>
                  <a:gd name="connsiteY113" fmla="*/ 2974181 h 4575969"/>
                  <a:gd name="connsiteX114" fmla="*/ 7186612 w 8971757"/>
                  <a:gd name="connsiteY114" fmla="*/ 2978944 h 4575969"/>
                  <a:gd name="connsiteX115" fmla="*/ 7362825 w 8971757"/>
                  <a:gd name="connsiteY115" fmla="*/ 2840831 h 4575969"/>
                  <a:gd name="connsiteX116" fmla="*/ 7419975 w 8971757"/>
                  <a:gd name="connsiteY116" fmla="*/ 2750343 h 4575969"/>
                  <a:gd name="connsiteX117" fmla="*/ 7446169 w 8971757"/>
                  <a:gd name="connsiteY117" fmla="*/ 2667000 h 4575969"/>
                  <a:gd name="connsiteX118" fmla="*/ 7577137 w 8971757"/>
                  <a:gd name="connsiteY118" fmla="*/ 2667000 h 4575969"/>
                  <a:gd name="connsiteX119" fmla="*/ 7750969 w 8971757"/>
                  <a:gd name="connsiteY119" fmla="*/ 2609849 h 4575969"/>
                  <a:gd name="connsiteX120" fmla="*/ 7810500 w 8971757"/>
                  <a:gd name="connsiteY120" fmla="*/ 2497931 h 4575969"/>
                  <a:gd name="connsiteX121" fmla="*/ 7874794 w 8971757"/>
                  <a:gd name="connsiteY121" fmla="*/ 2462212 h 4575969"/>
                  <a:gd name="connsiteX122" fmla="*/ 7853363 w 8971757"/>
                  <a:gd name="connsiteY122" fmla="*/ 2416969 h 4575969"/>
                  <a:gd name="connsiteX123" fmla="*/ 7931944 w 8971757"/>
                  <a:gd name="connsiteY123" fmla="*/ 2247899 h 4575969"/>
                  <a:gd name="connsiteX124" fmla="*/ 7986713 w 8971757"/>
                  <a:gd name="connsiteY124" fmla="*/ 2188369 h 4575969"/>
                  <a:gd name="connsiteX125" fmla="*/ 8024813 w 8971757"/>
                  <a:gd name="connsiteY125" fmla="*/ 2183606 h 4575969"/>
                  <a:gd name="connsiteX126" fmla="*/ 8070056 w 8971757"/>
                  <a:gd name="connsiteY126" fmla="*/ 2188369 h 4575969"/>
                  <a:gd name="connsiteX127" fmla="*/ 8134350 w 8971757"/>
                  <a:gd name="connsiteY127" fmla="*/ 2155031 h 4575969"/>
                  <a:gd name="connsiteX128" fmla="*/ 8143875 w 8971757"/>
                  <a:gd name="connsiteY128" fmla="*/ 2090737 h 4575969"/>
                  <a:gd name="connsiteX129" fmla="*/ 8184355 w 8971757"/>
                  <a:gd name="connsiteY129" fmla="*/ 2055019 h 4575969"/>
                  <a:gd name="connsiteX130" fmla="*/ 8243888 w 8971757"/>
                  <a:gd name="connsiteY130" fmla="*/ 2095499 h 4575969"/>
                  <a:gd name="connsiteX131" fmla="*/ 8270082 w 8971757"/>
                  <a:gd name="connsiteY131" fmla="*/ 2045493 h 4575969"/>
                  <a:gd name="connsiteX132" fmla="*/ 8365331 w 8971757"/>
                  <a:gd name="connsiteY132" fmla="*/ 1976437 h 4575969"/>
                  <a:gd name="connsiteX133" fmla="*/ 8427244 w 8971757"/>
                  <a:gd name="connsiteY133" fmla="*/ 1983581 h 4575969"/>
                  <a:gd name="connsiteX134" fmla="*/ 8477250 w 8971757"/>
                  <a:gd name="connsiteY134" fmla="*/ 1964531 h 4575969"/>
                  <a:gd name="connsiteX135" fmla="*/ 8515350 w 8971757"/>
                  <a:gd name="connsiteY135" fmla="*/ 1935956 h 4575969"/>
                  <a:gd name="connsiteX136" fmla="*/ 8548688 w 8971757"/>
                  <a:gd name="connsiteY136" fmla="*/ 1933575 h 4575969"/>
                  <a:gd name="connsiteX137" fmla="*/ 8584406 w 8971757"/>
                  <a:gd name="connsiteY137" fmla="*/ 1964531 h 4575969"/>
                  <a:gd name="connsiteX138" fmla="*/ 8643938 w 8971757"/>
                  <a:gd name="connsiteY138" fmla="*/ 1964531 h 4575969"/>
                  <a:gd name="connsiteX139" fmla="*/ 8682037 w 8971757"/>
                  <a:gd name="connsiteY139" fmla="*/ 1945481 h 4575969"/>
                  <a:gd name="connsiteX140" fmla="*/ 8765381 w 8971757"/>
                  <a:gd name="connsiteY140" fmla="*/ 1947863 h 4575969"/>
                  <a:gd name="connsiteX141" fmla="*/ 8796338 w 8971757"/>
                  <a:gd name="connsiteY141" fmla="*/ 1902619 h 4575969"/>
                  <a:gd name="connsiteX142" fmla="*/ 8801100 w 8971757"/>
                  <a:gd name="connsiteY142" fmla="*/ 1840706 h 4575969"/>
                  <a:gd name="connsiteX143" fmla="*/ 8751093 w 8971757"/>
                  <a:gd name="connsiteY143" fmla="*/ 1800225 h 4575969"/>
                  <a:gd name="connsiteX144" fmla="*/ 8734425 w 8971757"/>
                  <a:gd name="connsiteY144" fmla="*/ 1745456 h 4575969"/>
                  <a:gd name="connsiteX145" fmla="*/ 8643938 w 8971757"/>
                  <a:gd name="connsiteY145" fmla="*/ 1683544 h 4575969"/>
                  <a:gd name="connsiteX146" fmla="*/ 8603456 w 8971757"/>
                  <a:gd name="connsiteY146" fmla="*/ 1662112 h 4575969"/>
                  <a:gd name="connsiteX147" fmla="*/ 8565356 w 8971757"/>
                  <a:gd name="connsiteY147" fmla="*/ 1616869 h 4575969"/>
                  <a:gd name="connsiteX148" fmla="*/ 8534400 w 8971757"/>
                  <a:gd name="connsiteY148" fmla="*/ 1614487 h 4575969"/>
                  <a:gd name="connsiteX149" fmla="*/ 8517731 w 8971757"/>
                  <a:gd name="connsiteY149" fmla="*/ 1562100 h 4575969"/>
                  <a:gd name="connsiteX150" fmla="*/ 8477250 w 8971757"/>
                  <a:gd name="connsiteY150" fmla="*/ 1545431 h 4575969"/>
                  <a:gd name="connsiteX151" fmla="*/ 8477250 w 8971757"/>
                  <a:gd name="connsiteY151" fmla="*/ 1545431 h 4575969"/>
                  <a:gd name="connsiteX152" fmla="*/ 8436769 w 8971757"/>
                  <a:gd name="connsiteY152" fmla="*/ 1550194 h 4575969"/>
                  <a:gd name="connsiteX153" fmla="*/ 8351043 w 8971757"/>
                  <a:gd name="connsiteY153" fmla="*/ 1476375 h 4575969"/>
                  <a:gd name="connsiteX154" fmla="*/ 8170069 w 8971757"/>
                  <a:gd name="connsiteY154" fmla="*/ 1476374 h 4575969"/>
                  <a:gd name="connsiteX155" fmla="*/ 8117681 w 8971757"/>
                  <a:gd name="connsiteY155" fmla="*/ 1514475 h 4575969"/>
                  <a:gd name="connsiteX156" fmla="*/ 8067675 w 8971757"/>
                  <a:gd name="connsiteY156" fmla="*/ 1593056 h 4575969"/>
                  <a:gd name="connsiteX157" fmla="*/ 8084344 w 8971757"/>
                  <a:gd name="connsiteY157" fmla="*/ 1614487 h 4575969"/>
                  <a:gd name="connsiteX158" fmla="*/ 8039100 w 8971757"/>
                  <a:gd name="connsiteY158" fmla="*/ 1664493 h 4575969"/>
                  <a:gd name="connsiteX159" fmla="*/ 7889081 w 8971757"/>
                  <a:gd name="connsiteY159" fmla="*/ 1588293 h 4575969"/>
                  <a:gd name="connsiteX160" fmla="*/ 7798594 w 8971757"/>
                  <a:gd name="connsiteY160" fmla="*/ 1624012 h 4575969"/>
                  <a:gd name="connsiteX161" fmla="*/ 7724775 w 8971757"/>
                  <a:gd name="connsiteY161" fmla="*/ 1621631 h 4575969"/>
                  <a:gd name="connsiteX162" fmla="*/ 7667625 w 8971757"/>
                  <a:gd name="connsiteY162" fmla="*/ 1716881 h 4575969"/>
                  <a:gd name="connsiteX163" fmla="*/ 7529513 w 8971757"/>
                  <a:gd name="connsiteY163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424937 w 8971757"/>
                  <a:gd name="connsiteY12" fmla="*/ 425869 h 4575969"/>
                  <a:gd name="connsiteX13" fmla="*/ 8412956 w 8971757"/>
                  <a:gd name="connsiteY13" fmla="*/ 23812 h 4575969"/>
                  <a:gd name="connsiteX14" fmla="*/ 8949531 w 8971757"/>
                  <a:gd name="connsiteY14" fmla="*/ 0 h 4575969"/>
                  <a:gd name="connsiteX15" fmla="*/ 8971757 w 8971757"/>
                  <a:gd name="connsiteY15" fmla="*/ 4575969 h 4575969"/>
                  <a:gd name="connsiteX16" fmla="*/ 2381 w 8971757"/>
                  <a:gd name="connsiteY16" fmla="*/ 4547392 h 4575969"/>
                  <a:gd name="connsiteX17" fmla="*/ 0 w 8971757"/>
                  <a:gd name="connsiteY17" fmla="*/ 845344 h 4575969"/>
                  <a:gd name="connsiteX18" fmla="*/ 76200 w 8971757"/>
                  <a:gd name="connsiteY18" fmla="*/ 828675 h 4575969"/>
                  <a:gd name="connsiteX19" fmla="*/ 119063 w 8971757"/>
                  <a:gd name="connsiteY19" fmla="*/ 857250 h 4575969"/>
                  <a:gd name="connsiteX20" fmla="*/ 215900 w 8971757"/>
                  <a:gd name="connsiteY20" fmla="*/ 848519 h 4575969"/>
                  <a:gd name="connsiteX21" fmla="*/ 261938 w 8971757"/>
                  <a:gd name="connsiteY21" fmla="*/ 876299 h 4575969"/>
                  <a:gd name="connsiteX22" fmla="*/ 228600 w 8971757"/>
                  <a:gd name="connsiteY22" fmla="*/ 904875 h 4575969"/>
                  <a:gd name="connsiteX23" fmla="*/ 233363 w 8971757"/>
                  <a:gd name="connsiteY23" fmla="*/ 947737 h 4575969"/>
                  <a:gd name="connsiteX24" fmla="*/ 200025 w 8971757"/>
                  <a:gd name="connsiteY24" fmla="*/ 952500 h 4575969"/>
                  <a:gd name="connsiteX25" fmla="*/ 204788 w 8971757"/>
                  <a:gd name="connsiteY25" fmla="*/ 976312 h 4575969"/>
                  <a:gd name="connsiteX26" fmla="*/ 261937 w 8971757"/>
                  <a:gd name="connsiteY26" fmla="*/ 1050131 h 4575969"/>
                  <a:gd name="connsiteX27" fmla="*/ 223838 w 8971757"/>
                  <a:gd name="connsiteY27" fmla="*/ 1097756 h 4575969"/>
                  <a:gd name="connsiteX28" fmla="*/ 278606 w 8971757"/>
                  <a:gd name="connsiteY28" fmla="*/ 1133475 h 4575969"/>
                  <a:gd name="connsiteX29" fmla="*/ 369094 w 8971757"/>
                  <a:gd name="connsiteY29" fmla="*/ 1221581 h 4575969"/>
                  <a:gd name="connsiteX30" fmla="*/ 371475 w 8971757"/>
                  <a:gd name="connsiteY30" fmla="*/ 1281112 h 4575969"/>
                  <a:gd name="connsiteX31" fmla="*/ 507206 w 8971757"/>
                  <a:gd name="connsiteY31" fmla="*/ 1414463 h 4575969"/>
                  <a:gd name="connsiteX32" fmla="*/ 561975 w 8971757"/>
                  <a:gd name="connsiteY32" fmla="*/ 1390650 h 4575969"/>
                  <a:gd name="connsiteX33" fmla="*/ 600075 w 8971757"/>
                  <a:gd name="connsiteY33" fmla="*/ 1416843 h 4575969"/>
                  <a:gd name="connsiteX34" fmla="*/ 614363 w 8971757"/>
                  <a:gd name="connsiteY34" fmla="*/ 1466849 h 4575969"/>
                  <a:gd name="connsiteX35" fmla="*/ 657225 w 8971757"/>
                  <a:gd name="connsiteY35" fmla="*/ 1502569 h 4575969"/>
                  <a:gd name="connsiteX36" fmla="*/ 697706 w 8971757"/>
                  <a:gd name="connsiteY36" fmla="*/ 1490662 h 4575969"/>
                  <a:gd name="connsiteX37" fmla="*/ 716756 w 8971757"/>
                  <a:gd name="connsiteY37" fmla="*/ 1547812 h 4575969"/>
                  <a:gd name="connsiteX38" fmla="*/ 764381 w 8971757"/>
                  <a:gd name="connsiteY38" fmla="*/ 1590675 h 4575969"/>
                  <a:gd name="connsiteX39" fmla="*/ 788194 w 8971757"/>
                  <a:gd name="connsiteY39" fmla="*/ 1693069 h 4575969"/>
                  <a:gd name="connsiteX40" fmla="*/ 785813 w 8971757"/>
                  <a:gd name="connsiteY40" fmla="*/ 1740694 h 4575969"/>
                  <a:gd name="connsiteX41" fmla="*/ 821531 w 8971757"/>
                  <a:gd name="connsiteY41" fmla="*/ 1840706 h 4575969"/>
                  <a:gd name="connsiteX42" fmla="*/ 866775 w 8971757"/>
                  <a:gd name="connsiteY42" fmla="*/ 1897856 h 4575969"/>
                  <a:gd name="connsiteX43" fmla="*/ 883443 w 8971757"/>
                  <a:gd name="connsiteY43" fmla="*/ 2055018 h 4575969"/>
                  <a:gd name="connsiteX44" fmla="*/ 850106 w 8971757"/>
                  <a:gd name="connsiteY44" fmla="*/ 2116931 h 4575969"/>
                  <a:gd name="connsiteX45" fmla="*/ 819150 w 8971757"/>
                  <a:gd name="connsiteY45" fmla="*/ 2193131 h 4575969"/>
                  <a:gd name="connsiteX46" fmla="*/ 833438 w 8971757"/>
                  <a:gd name="connsiteY46" fmla="*/ 2250281 h 4575969"/>
                  <a:gd name="connsiteX47" fmla="*/ 735806 w 8971757"/>
                  <a:gd name="connsiteY47" fmla="*/ 2357438 h 4575969"/>
                  <a:gd name="connsiteX48" fmla="*/ 692944 w 8971757"/>
                  <a:gd name="connsiteY48" fmla="*/ 2471737 h 4575969"/>
                  <a:gd name="connsiteX49" fmla="*/ 726281 w 8971757"/>
                  <a:gd name="connsiteY49" fmla="*/ 2512219 h 4575969"/>
                  <a:gd name="connsiteX50" fmla="*/ 709613 w 8971757"/>
                  <a:gd name="connsiteY50" fmla="*/ 2540794 h 4575969"/>
                  <a:gd name="connsiteX51" fmla="*/ 740569 w 8971757"/>
                  <a:gd name="connsiteY51" fmla="*/ 2597944 h 4575969"/>
                  <a:gd name="connsiteX52" fmla="*/ 769144 w 8971757"/>
                  <a:gd name="connsiteY52" fmla="*/ 2597944 h 4575969"/>
                  <a:gd name="connsiteX53" fmla="*/ 931069 w 8971757"/>
                  <a:gd name="connsiteY53" fmla="*/ 2700337 h 4575969"/>
                  <a:gd name="connsiteX54" fmla="*/ 1035844 w 8971757"/>
                  <a:gd name="connsiteY54" fmla="*/ 2697956 h 4575969"/>
                  <a:gd name="connsiteX55" fmla="*/ 1114425 w 8971757"/>
                  <a:gd name="connsiteY55" fmla="*/ 2752725 h 4575969"/>
                  <a:gd name="connsiteX56" fmla="*/ 1245393 w 8971757"/>
                  <a:gd name="connsiteY56" fmla="*/ 2755106 h 4575969"/>
                  <a:gd name="connsiteX57" fmla="*/ 1435893 w 8971757"/>
                  <a:gd name="connsiteY57" fmla="*/ 2824162 h 4575969"/>
                  <a:gd name="connsiteX58" fmla="*/ 1638300 w 8971757"/>
                  <a:gd name="connsiteY58" fmla="*/ 2974181 h 4575969"/>
                  <a:gd name="connsiteX59" fmla="*/ 1671637 w 8971757"/>
                  <a:gd name="connsiteY59" fmla="*/ 3040856 h 4575969"/>
                  <a:gd name="connsiteX60" fmla="*/ 1838325 w 8971757"/>
                  <a:gd name="connsiteY60" fmla="*/ 3167062 h 4575969"/>
                  <a:gd name="connsiteX61" fmla="*/ 1909763 w 8971757"/>
                  <a:gd name="connsiteY61" fmla="*/ 3162300 h 4575969"/>
                  <a:gd name="connsiteX62" fmla="*/ 1945482 w 8971757"/>
                  <a:gd name="connsiteY62" fmla="*/ 3186112 h 4575969"/>
                  <a:gd name="connsiteX63" fmla="*/ 1916906 w 8971757"/>
                  <a:gd name="connsiteY63" fmla="*/ 3226594 h 4575969"/>
                  <a:gd name="connsiteX64" fmla="*/ 1924050 w 8971757"/>
                  <a:gd name="connsiteY64" fmla="*/ 3278981 h 4575969"/>
                  <a:gd name="connsiteX65" fmla="*/ 1976438 w 8971757"/>
                  <a:gd name="connsiteY65" fmla="*/ 3305175 h 4575969"/>
                  <a:gd name="connsiteX66" fmla="*/ 2038350 w 8971757"/>
                  <a:gd name="connsiteY66" fmla="*/ 3529013 h 4575969"/>
                  <a:gd name="connsiteX67" fmla="*/ 2028825 w 8971757"/>
                  <a:gd name="connsiteY67" fmla="*/ 3593306 h 4575969"/>
                  <a:gd name="connsiteX68" fmla="*/ 2164556 w 8971757"/>
                  <a:gd name="connsiteY68" fmla="*/ 3759994 h 4575969"/>
                  <a:gd name="connsiteX69" fmla="*/ 2183606 w 8971757"/>
                  <a:gd name="connsiteY69" fmla="*/ 3810000 h 4575969"/>
                  <a:gd name="connsiteX70" fmla="*/ 2157413 w 8971757"/>
                  <a:gd name="connsiteY70" fmla="*/ 3829050 h 4575969"/>
                  <a:gd name="connsiteX71" fmla="*/ 2259806 w 8971757"/>
                  <a:gd name="connsiteY71" fmla="*/ 3838575 h 4575969"/>
                  <a:gd name="connsiteX72" fmla="*/ 2371725 w 8971757"/>
                  <a:gd name="connsiteY72" fmla="*/ 3826669 h 4575969"/>
                  <a:gd name="connsiteX73" fmla="*/ 2650331 w 8971757"/>
                  <a:gd name="connsiteY73" fmla="*/ 3910012 h 4575969"/>
                  <a:gd name="connsiteX74" fmla="*/ 3057525 w 8971757"/>
                  <a:gd name="connsiteY74" fmla="*/ 3990975 h 4575969"/>
                  <a:gd name="connsiteX75" fmla="*/ 3255169 w 8971757"/>
                  <a:gd name="connsiteY75" fmla="*/ 3960018 h 4575969"/>
                  <a:gd name="connsiteX76" fmla="*/ 3300413 w 8971757"/>
                  <a:gd name="connsiteY76" fmla="*/ 3971924 h 4575969"/>
                  <a:gd name="connsiteX77" fmla="*/ 3355181 w 8971757"/>
                  <a:gd name="connsiteY77" fmla="*/ 3948113 h 4575969"/>
                  <a:gd name="connsiteX78" fmla="*/ 3748087 w 8971757"/>
                  <a:gd name="connsiteY78" fmla="*/ 4038600 h 4575969"/>
                  <a:gd name="connsiteX79" fmla="*/ 3831432 w 8971757"/>
                  <a:gd name="connsiteY79" fmla="*/ 4136231 h 4575969"/>
                  <a:gd name="connsiteX80" fmla="*/ 3950494 w 8971757"/>
                  <a:gd name="connsiteY80" fmla="*/ 4207669 h 4575969"/>
                  <a:gd name="connsiteX81" fmla="*/ 4010025 w 8971757"/>
                  <a:gd name="connsiteY81" fmla="*/ 4191000 h 4575969"/>
                  <a:gd name="connsiteX82" fmla="*/ 4360068 w 8971757"/>
                  <a:gd name="connsiteY82" fmla="*/ 4364831 h 4575969"/>
                  <a:gd name="connsiteX83" fmla="*/ 4586288 w 8971757"/>
                  <a:gd name="connsiteY83" fmla="*/ 4336256 h 4575969"/>
                  <a:gd name="connsiteX84" fmla="*/ 4595813 w 8971757"/>
                  <a:gd name="connsiteY84" fmla="*/ 4414837 h 4575969"/>
                  <a:gd name="connsiteX85" fmla="*/ 4681538 w 8971757"/>
                  <a:gd name="connsiteY85" fmla="*/ 4410074 h 4575969"/>
                  <a:gd name="connsiteX86" fmla="*/ 4760119 w 8971757"/>
                  <a:gd name="connsiteY86" fmla="*/ 4441031 h 4575969"/>
                  <a:gd name="connsiteX87" fmla="*/ 4802981 w 8971757"/>
                  <a:gd name="connsiteY87" fmla="*/ 4381500 h 4575969"/>
                  <a:gd name="connsiteX88" fmla="*/ 5474494 w 8971757"/>
                  <a:gd name="connsiteY88" fmla="*/ 4062412 h 4575969"/>
                  <a:gd name="connsiteX89" fmla="*/ 5562600 w 8971757"/>
                  <a:gd name="connsiteY89" fmla="*/ 4090988 h 4575969"/>
                  <a:gd name="connsiteX90" fmla="*/ 5693569 w 8971757"/>
                  <a:gd name="connsiteY90" fmla="*/ 4062412 h 4575969"/>
                  <a:gd name="connsiteX91" fmla="*/ 5872162 w 8971757"/>
                  <a:gd name="connsiteY91" fmla="*/ 4079081 h 4575969"/>
                  <a:gd name="connsiteX92" fmla="*/ 5929313 w 8971757"/>
                  <a:gd name="connsiteY92" fmla="*/ 4052888 h 4575969"/>
                  <a:gd name="connsiteX93" fmla="*/ 6062662 w 8971757"/>
                  <a:gd name="connsiteY93" fmla="*/ 4050506 h 4575969"/>
                  <a:gd name="connsiteX94" fmla="*/ 6196012 w 8971757"/>
                  <a:gd name="connsiteY94" fmla="*/ 3952875 h 4575969"/>
                  <a:gd name="connsiteX95" fmla="*/ 6262687 w 8971757"/>
                  <a:gd name="connsiteY95" fmla="*/ 3945731 h 4575969"/>
                  <a:gd name="connsiteX96" fmla="*/ 6360319 w 8971757"/>
                  <a:gd name="connsiteY96" fmla="*/ 3871912 h 4575969"/>
                  <a:gd name="connsiteX97" fmla="*/ 6434138 w 8971757"/>
                  <a:gd name="connsiteY97" fmla="*/ 3802856 h 4575969"/>
                  <a:gd name="connsiteX98" fmla="*/ 6443663 w 8971757"/>
                  <a:gd name="connsiteY98" fmla="*/ 3740944 h 4575969"/>
                  <a:gd name="connsiteX99" fmla="*/ 6477000 w 8971757"/>
                  <a:gd name="connsiteY99" fmla="*/ 3671887 h 4575969"/>
                  <a:gd name="connsiteX100" fmla="*/ 6629400 w 8971757"/>
                  <a:gd name="connsiteY100" fmla="*/ 3564731 h 4575969"/>
                  <a:gd name="connsiteX101" fmla="*/ 6662738 w 8971757"/>
                  <a:gd name="connsiteY101" fmla="*/ 3569494 h 4575969"/>
                  <a:gd name="connsiteX102" fmla="*/ 6715125 w 8971757"/>
                  <a:gd name="connsiteY102" fmla="*/ 3490912 h 4575969"/>
                  <a:gd name="connsiteX103" fmla="*/ 6762750 w 8971757"/>
                  <a:gd name="connsiteY103" fmla="*/ 3452812 h 4575969"/>
                  <a:gd name="connsiteX104" fmla="*/ 6748463 w 8971757"/>
                  <a:gd name="connsiteY104" fmla="*/ 3383756 h 4575969"/>
                  <a:gd name="connsiteX105" fmla="*/ 6698456 w 8971757"/>
                  <a:gd name="connsiteY105" fmla="*/ 3352799 h 4575969"/>
                  <a:gd name="connsiteX106" fmla="*/ 6638925 w 8971757"/>
                  <a:gd name="connsiteY106" fmla="*/ 3298031 h 4575969"/>
                  <a:gd name="connsiteX107" fmla="*/ 6619875 w 8971757"/>
                  <a:gd name="connsiteY107" fmla="*/ 3240881 h 4575969"/>
                  <a:gd name="connsiteX108" fmla="*/ 6584156 w 8971757"/>
                  <a:gd name="connsiteY108" fmla="*/ 3207544 h 4575969"/>
                  <a:gd name="connsiteX109" fmla="*/ 6610350 w 8971757"/>
                  <a:gd name="connsiteY109" fmla="*/ 3155156 h 4575969"/>
                  <a:gd name="connsiteX110" fmla="*/ 6650831 w 8971757"/>
                  <a:gd name="connsiteY110" fmla="*/ 2976562 h 4575969"/>
                  <a:gd name="connsiteX111" fmla="*/ 6691313 w 8971757"/>
                  <a:gd name="connsiteY111" fmla="*/ 2909887 h 4575969"/>
                  <a:gd name="connsiteX112" fmla="*/ 6836569 w 8971757"/>
                  <a:gd name="connsiteY112" fmla="*/ 2893218 h 4575969"/>
                  <a:gd name="connsiteX113" fmla="*/ 6905625 w 8971757"/>
                  <a:gd name="connsiteY113" fmla="*/ 2950369 h 4575969"/>
                  <a:gd name="connsiteX114" fmla="*/ 6981825 w 8971757"/>
                  <a:gd name="connsiteY114" fmla="*/ 2974181 h 4575969"/>
                  <a:gd name="connsiteX115" fmla="*/ 7186612 w 8971757"/>
                  <a:gd name="connsiteY115" fmla="*/ 2978944 h 4575969"/>
                  <a:gd name="connsiteX116" fmla="*/ 7362825 w 8971757"/>
                  <a:gd name="connsiteY116" fmla="*/ 2840831 h 4575969"/>
                  <a:gd name="connsiteX117" fmla="*/ 7419975 w 8971757"/>
                  <a:gd name="connsiteY117" fmla="*/ 2750343 h 4575969"/>
                  <a:gd name="connsiteX118" fmla="*/ 7446169 w 8971757"/>
                  <a:gd name="connsiteY118" fmla="*/ 2667000 h 4575969"/>
                  <a:gd name="connsiteX119" fmla="*/ 7577137 w 8971757"/>
                  <a:gd name="connsiteY119" fmla="*/ 2667000 h 4575969"/>
                  <a:gd name="connsiteX120" fmla="*/ 7750969 w 8971757"/>
                  <a:gd name="connsiteY120" fmla="*/ 2609849 h 4575969"/>
                  <a:gd name="connsiteX121" fmla="*/ 7810500 w 8971757"/>
                  <a:gd name="connsiteY121" fmla="*/ 2497931 h 4575969"/>
                  <a:gd name="connsiteX122" fmla="*/ 7874794 w 8971757"/>
                  <a:gd name="connsiteY122" fmla="*/ 2462212 h 4575969"/>
                  <a:gd name="connsiteX123" fmla="*/ 7853363 w 8971757"/>
                  <a:gd name="connsiteY123" fmla="*/ 2416969 h 4575969"/>
                  <a:gd name="connsiteX124" fmla="*/ 7931944 w 8971757"/>
                  <a:gd name="connsiteY124" fmla="*/ 2247899 h 4575969"/>
                  <a:gd name="connsiteX125" fmla="*/ 7986713 w 8971757"/>
                  <a:gd name="connsiteY125" fmla="*/ 2188369 h 4575969"/>
                  <a:gd name="connsiteX126" fmla="*/ 8024813 w 8971757"/>
                  <a:gd name="connsiteY126" fmla="*/ 2183606 h 4575969"/>
                  <a:gd name="connsiteX127" fmla="*/ 8070056 w 8971757"/>
                  <a:gd name="connsiteY127" fmla="*/ 2188369 h 4575969"/>
                  <a:gd name="connsiteX128" fmla="*/ 8134350 w 8971757"/>
                  <a:gd name="connsiteY128" fmla="*/ 2155031 h 4575969"/>
                  <a:gd name="connsiteX129" fmla="*/ 8143875 w 8971757"/>
                  <a:gd name="connsiteY129" fmla="*/ 2090737 h 4575969"/>
                  <a:gd name="connsiteX130" fmla="*/ 8184355 w 8971757"/>
                  <a:gd name="connsiteY130" fmla="*/ 2055019 h 4575969"/>
                  <a:gd name="connsiteX131" fmla="*/ 8243888 w 8971757"/>
                  <a:gd name="connsiteY131" fmla="*/ 2095499 h 4575969"/>
                  <a:gd name="connsiteX132" fmla="*/ 8270082 w 8971757"/>
                  <a:gd name="connsiteY132" fmla="*/ 2045493 h 4575969"/>
                  <a:gd name="connsiteX133" fmla="*/ 8365331 w 8971757"/>
                  <a:gd name="connsiteY133" fmla="*/ 1976437 h 4575969"/>
                  <a:gd name="connsiteX134" fmla="*/ 8427244 w 8971757"/>
                  <a:gd name="connsiteY134" fmla="*/ 1983581 h 4575969"/>
                  <a:gd name="connsiteX135" fmla="*/ 8477250 w 8971757"/>
                  <a:gd name="connsiteY135" fmla="*/ 1964531 h 4575969"/>
                  <a:gd name="connsiteX136" fmla="*/ 8515350 w 8971757"/>
                  <a:gd name="connsiteY136" fmla="*/ 1935956 h 4575969"/>
                  <a:gd name="connsiteX137" fmla="*/ 8548688 w 8971757"/>
                  <a:gd name="connsiteY137" fmla="*/ 1933575 h 4575969"/>
                  <a:gd name="connsiteX138" fmla="*/ 8584406 w 8971757"/>
                  <a:gd name="connsiteY138" fmla="*/ 1964531 h 4575969"/>
                  <a:gd name="connsiteX139" fmla="*/ 8643938 w 8971757"/>
                  <a:gd name="connsiteY139" fmla="*/ 1964531 h 4575969"/>
                  <a:gd name="connsiteX140" fmla="*/ 8682037 w 8971757"/>
                  <a:gd name="connsiteY140" fmla="*/ 1945481 h 4575969"/>
                  <a:gd name="connsiteX141" fmla="*/ 8765381 w 8971757"/>
                  <a:gd name="connsiteY141" fmla="*/ 1947863 h 4575969"/>
                  <a:gd name="connsiteX142" fmla="*/ 8796338 w 8971757"/>
                  <a:gd name="connsiteY142" fmla="*/ 1902619 h 4575969"/>
                  <a:gd name="connsiteX143" fmla="*/ 8801100 w 8971757"/>
                  <a:gd name="connsiteY143" fmla="*/ 1840706 h 4575969"/>
                  <a:gd name="connsiteX144" fmla="*/ 8751093 w 8971757"/>
                  <a:gd name="connsiteY144" fmla="*/ 1800225 h 4575969"/>
                  <a:gd name="connsiteX145" fmla="*/ 8734425 w 8971757"/>
                  <a:gd name="connsiteY145" fmla="*/ 1745456 h 4575969"/>
                  <a:gd name="connsiteX146" fmla="*/ 8643938 w 8971757"/>
                  <a:gd name="connsiteY146" fmla="*/ 1683544 h 4575969"/>
                  <a:gd name="connsiteX147" fmla="*/ 8603456 w 8971757"/>
                  <a:gd name="connsiteY147" fmla="*/ 1662112 h 4575969"/>
                  <a:gd name="connsiteX148" fmla="*/ 8565356 w 8971757"/>
                  <a:gd name="connsiteY148" fmla="*/ 1616869 h 4575969"/>
                  <a:gd name="connsiteX149" fmla="*/ 8534400 w 8971757"/>
                  <a:gd name="connsiteY149" fmla="*/ 1614487 h 4575969"/>
                  <a:gd name="connsiteX150" fmla="*/ 8517731 w 8971757"/>
                  <a:gd name="connsiteY150" fmla="*/ 1562100 h 4575969"/>
                  <a:gd name="connsiteX151" fmla="*/ 8477250 w 8971757"/>
                  <a:gd name="connsiteY151" fmla="*/ 1545431 h 4575969"/>
                  <a:gd name="connsiteX152" fmla="*/ 8477250 w 8971757"/>
                  <a:gd name="connsiteY152" fmla="*/ 1545431 h 4575969"/>
                  <a:gd name="connsiteX153" fmla="*/ 8436769 w 8971757"/>
                  <a:gd name="connsiteY153" fmla="*/ 1550194 h 4575969"/>
                  <a:gd name="connsiteX154" fmla="*/ 8351043 w 8971757"/>
                  <a:gd name="connsiteY154" fmla="*/ 1476375 h 4575969"/>
                  <a:gd name="connsiteX155" fmla="*/ 8170069 w 8971757"/>
                  <a:gd name="connsiteY155" fmla="*/ 1476374 h 4575969"/>
                  <a:gd name="connsiteX156" fmla="*/ 8117681 w 8971757"/>
                  <a:gd name="connsiteY156" fmla="*/ 1514475 h 4575969"/>
                  <a:gd name="connsiteX157" fmla="*/ 8067675 w 8971757"/>
                  <a:gd name="connsiteY157" fmla="*/ 1593056 h 4575969"/>
                  <a:gd name="connsiteX158" fmla="*/ 8084344 w 8971757"/>
                  <a:gd name="connsiteY158" fmla="*/ 1614487 h 4575969"/>
                  <a:gd name="connsiteX159" fmla="*/ 8039100 w 8971757"/>
                  <a:gd name="connsiteY159" fmla="*/ 1664493 h 4575969"/>
                  <a:gd name="connsiteX160" fmla="*/ 7889081 w 8971757"/>
                  <a:gd name="connsiteY160" fmla="*/ 1588293 h 4575969"/>
                  <a:gd name="connsiteX161" fmla="*/ 7798594 w 8971757"/>
                  <a:gd name="connsiteY161" fmla="*/ 1624012 h 4575969"/>
                  <a:gd name="connsiteX162" fmla="*/ 7724775 w 8971757"/>
                  <a:gd name="connsiteY162" fmla="*/ 1621631 h 4575969"/>
                  <a:gd name="connsiteX163" fmla="*/ 7667625 w 8971757"/>
                  <a:gd name="connsiteY163" fmla="*/ 1716881 h 4575969"/>
                  <a:gd name="connsiteX164" fmla="*/ 7529513 w 8971757"/>
                  <a:gd name="connsiteY16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553525 w 8971757"/>
                  <a:gd name="connsiteY12" fmla="*/ 554456 h 4575969"/>
                  <a:gd name="connsiteX13" fmla="*/ 8412956 w 8971757"/>
                  <a:gd name="connsiteY13" fmla="*/ 23812 h 4575969"/>
                  <a:gd name="connsiteX14" fmla="*/ 8949531 w 8971757"/>
                  <a:gd name="connsiteY14" fmla="*/ 0 h 4575969"/>
                  <a:gd name="connsiteX15" fmla="*/ 8971757 w 8971757"/>
                  <a:gd name="connsiteY15" fmla="*/ 4575969 h 4575969"/>
                  <a:gd name="connsiteX16" fmla="*/ 2381 w 8971757"/>
                  <a:gd name="connsiteY16" fmla="*/ 4547392 h 4575969"/>
                  <a:gd name="connsiteX17" fmla="*/ 0 w 8971757"/>
                  <a:gd name="connsiteY17" fmla="*/ 845344 h 4575969"/>
                  <a:gd name="connsiteX18" fmla="*/ 76200 w 8971757"/>
                  <a:gd name="connsiteY18" fmla="*/ 828675 h 4575969"/>
                  <a:gd name="connsiteX19" fmla="*/ 119063 w 8971757"/>
                  <a:gd name="connsiteY19" fmla="*/ 857250 h 4575969"/>
                  <a:gd name="connsiteX20" fmla="*/ 215900 w 8971757"/>
                  <a:gd name="connsiteY20" fmla="*/ 848519 h 4575969"/>
                  <a:gd name="connsiteX21" fmla="*/ 261938 w 8971757"/>
                  <a:gd name="connsiteY21" fmla="*/ 876299 h 4575969"/>
                  <a:gd name="connsiteX22" fmla="*/ 228600 w 8971757"/>
                  <a:gd name="connsiteY22" fmla="*/ 904875 h 4575969"/>
                  <a:gd name="connsiteX23" fmla="*/ 233363 w 8971757"/>
                  <a:gd name="connsiteY23" fmla="*/ 947737 h 4575969"/>
                  <a:gd name="connsiteX24" fmla="*/ 200025 w 8971757"/>
                  <a:gd name="connsiteY24" fmla="*/ 952500 h 4575969"/>
                  <a:gd name="connsiteX25" fmla="*/ 204788 w 8971757"/>
                  <a:gd name="connsiteY25" fmla="*/ 976312 h 4575969"/>
                  <a:gd name="connsiteX26" fmla="*/ 261937 w 8971757"/>
                  <a:gd name="connsiteY26" fmla="*/ 1050131 h 4575969"/>
                  <a:gd name="connsiteX27" fmla="*/ 223838 w 8971757"/>
                  <a:gd name="connsiteY27" fmla="*/ 1097756 h 4575969"/>
                  <a:gd name="connsiteX28" fmla="*/ 278606 w 8971757"/>
                  <a:gd name="connsiteY28" fmla="*/ 1133475 h 4575969"/>
                  <a:gd name="connsiteX29" fmla="*/ 369094 w 8971757"/>
                  <a:gd name="connsiteY29" fmla="*/ 1221581 h 4575969"/>
                  <a:gd name="connsiteX30" fmla="*/ 371475 w 8971757"/>
                  <a:gd name="connsiteY30" fmla="*/ 1281112 h 4575969"/>
                  <a:gd name="connsiteX31" fmla="*/ 507206 w 8971757"/>
                  <a:gd name="connsiteY31" fmla="*/ 1414463 h 4575969"/>
                  <a:gd name="connsiteX32" fmla="*/ 561975 w 8971757"/>
                  <a:gd name="connsiteY32" fmla="*/ 1390650 h 4575969"/>
                  <a:gd name="connsiteX33" fmla="*/ 600075 w 8971757"/>
                  <a:gd name="connsiteY33" fmla="*/ 1416843 h 4575969"/>
                  <a:gd name="connsiteX34" fmla="*/ 614363 w 8971757"/>
                  <a:gd name="connsiteY34" fmla="*/ 1466849 h 4575969"/>
                  <a:gd name="connsiteX35" fmla="*/ 657225 w 8971757"/>
                  <a:gd name="connsiteY35" fmla="*/ 1502569 h 4575969"/>
                  <a:gd name="connsiteX36" fmla="*/ 697706 w 8971757"/>
                  <a:gd name="connsiteY36" fmla="*/ 1490662 h 4575969"/>
                  <a:gd name="connsiteX37" fmla="*/ 716756 w 8971757"/>
                  <a:gd name="connsiteY37" fmla="*/ 1547812 h 4575969"/>
                  <a:gd name="connsiteX38" fmla="*/ 764381 w 8971757"/>
                  <a:gd name="connsiteY38" fmla="*/ 1590675 h 4575969"/>
                  <a:gd name="connsiteX39" fmla="*/ 788194 w 8971757"/>
                  <a:gd name="connsiteY39" fmla="*/ 1693069 h 4575969"/>
                  <a:gd name="connsiteX40" fmla="*/ 785813 w 8971757"/>
                  <a:gd name="connsiteY40" fmla="*/ 1740694 h 4575969"/>
                  <a:gd name="connsiteX41" fmla="*/ 821531 w 8971757"/>
                  <a:gd name="connsiteY41" fmla="*/ 1840706 h 4575969"/>
                  <a:gd name="connsiteX42" fmla="*/ 866775 w 8971757"/>
                  <a:gd name="connsiteY42" fmla="*/ 1897856 h 4575969"/>
                  <a:gd name="connsiteX43" fmla="*/ 883443 w 8971757"/>
                  <a:gd name="connsiteY43" fmla="*/ 2055018 h 4575969"/>
                  <a:gd name="connsiteX44" fmla="*/ 850106 w 8971757"/>
                  <a:gd name="connsiteY44" fmla="*/ 2116931 h 4575969"/>
                  <a:gd name="connsiteX45" fmla="*/ 819150 w 8971757"/>
                  <a:gd name="connsiteY45" fmla="*/ 2193131 h 4575969"/>
                  <a:gd name="connsiteX46" fmla="*/ 833438 w 8971757"/>
                  <a:gd name="connsiteY46" fmla="*/ 2250281 h 4575969"/>
                  <a:gd name="connsiteX47" fmla="*/ 735806 w 8971757"/>
                  <a:gd name="connsiteY47" fmla="*/ 2357438 h 4575969"/>
                  <a:gd name="connsiteX48" fmla="*/ 692944 w 8971757"/>
                  <a:gd name="connsiteY48" fmla="*/ 2471737 h 4575969"/>
                  <a:gd name="connsiteX49" fmla="*/ 726281 w 8971757"/>
                  <a:gd name="connsiteY49" fmla="*/ 2512219 h 4575969"/>
                  <a:gd name="connsiteX50" fmla="*/ 709613 w 8971757"/>
                  <a:gd name="connsiteY50" fmla="*/ 2540794 h 4575969"/>
                  <a:gd name="connsiteX51" fmla="*/ 740569 w 8971757"/>
                  <a:gd name="connsiteY51" fmla="*/ 2597944 h 4575969"/>
                  <a:gd name="connsiteX52" fmla="*/ 769144 w 8971757"/>
                  <a:gd name="connsiteY52" fmla="*/ 2597944 h 4575969"/>
                  <a:gd name="connsiteX53" fmla="*/ 931069 w 8971757"/>
                  <a:gd name="connsiteY53" fmla="*/ 2700337 h 4575969"/>
                  <a:gd name="connsiteX54" fmla="*/ 1035844 w 8971757"/>
                  <a:gd name="connsiteY54" fmla="*/ 2697956 h 4575969"/>
                  <a:gd name="connsiteX55" fmla="*/ 1114425 w 8971757"/>
                  <a:gd name="connsiteY55" fmla="*/ 2752725 h 4575969"/>
                  <a:gd name="connsiteX56" fmla="*/ 1245393 w 8971757"/>
                  <a:gd name="connsiteY56" fmla="*/ 2755106 h 4575969"/>
                  <a:gd name="connsiteX57" fmla="*/ 1435893 w 8971757"/>
                  <a:gd name="connsiteY57" fmla="*/ 2824162 h 4575969"/>
                  <a:gd name="connsiteX58" fmla="*/ 1638300 w 8971757"/>
                  <a:gd name="connsiteY58" fmla="*/ 2974181 h 4575969"/>
                  <a:gd name="connsiteX59" fmla="*/ 1671637 w 8971757"/>
                  <a:gd name="connsiteY59" fmla="*/ 3040856 h 4575969"/>
                  <a:gd name="connsiteX60" fmla="*/ 1838325 w 8971757"/>
                  <a:gd name="connsiteY60" fmla="*/ 3167062 h 4575969"/>
                  <a:gd name="connsiteX61" fmla="*/ 1909763 w 8971757"/>
                  <a:gd name="connsiteY61" fmla="*/ 3162300 h 4575969"/>
                  <a:gd name="connsiteX62" fmla="*/ 1945482 w 8971757"/>
                  <a:gd name="connsiteY62" fmla="*/ 3186112 h 4575969"/>
                  <a:gd name="connsiteX63" fmla="*/ 1916906 w 8971757"/>
                  <a:gd name="connsiteY63" fmla="*/ 3226594 h 4575969"/>
                  <a:gd name="connsiteX64" fmla="*/ 1924050 w 8971757"/>
                  <a:gd name="connsiteY64" fmla="*/ 3278981 h 4575969"/>
                  <a:gd name="connsiteX65" fmla="*/ 1976438 w 8971757"/>
                  <a:gd name="connsiteY65" fmla="*/ 3305175 h 4575969"/>
                  <a:gd name="connsiteX66" fmla="*/ 2038350 w 8971757"/>
                  <a:gd name="connsiteY66" fmla="*/ 3529013 h 4575969"/>
                  <a:gd name="connsiteX67" fmla="*/ 2028825 w 8971757"/>
                  <a:gd name="connsiteY67" fmla="*/ 3593306 h 4575969"/>
                  <a:gd name="connsiteX68" fmla="*/ 2164556 w 8971757"/>
                  <a:gd name="connsiteY68" fmla="*/ 3759994 h 4575969"/>
                  <a:gd name="connsiteX69" fmla="*/ 2183606 w 8971757"/>
                  <a:gd name="connsiteY69" fmla="*/ 3810000 h 4575969"/>
                  <a:gd name="connsiteX70" fmla="*/ 2157413 w 8971757"/>
                  <a:gd name="connsiteY70" fmla="*/ 3829050 h 4575969"/>
                  <a:gd name="connsiteX71" fmla="*/ 2259806 w 8971757"/>
                  <a:gd name="connsiteY71" fmla="*/ 3838575 h 4575969"/>
                  <a:gd name="connsiteX72" fmla="*/ 2371725 w 8971757"/>
                  <a:gd name="connsiteY72" fmla="*/ 3826669 h 4575969"/>
                  <a:gd name="connsiteX73" fmla="*/ 2650331 w 8971757"/>
                  <a:gd name="connsiteY73" fmla="*/ 3910012 h 4575969"/>
                  <a:gd name="connsiteX74" fmla="*/ 3057525 w 8971757"/>
                  <a:gd name="connsiteY74" fmla="*/ 3990975 h 4575969"/>
                  <a:gd name="connsiteX75" fmla="*/ 3255169 w 8971757"/>
                  <a:gd name="connsiteY75" fmla="*/ 3960018 h 4575969"/>
                  <a:gd name="connsiteX76" fmla="*/ 3300413 w 8971757"/>
                  <a:gd name="connsiteY76" fmla="*/ 3971924 h 4575969"/>
                  <a:gd name="connsiteX77" fmla="*/ 3355181 w 8971757"/>
                  <a:gd name="connsiteY77" fmla="*/ 3948113 h 4575969"/>
                  <a:gd name="connsiteX78" fmla="*/ 3748087 w 8971757"/>
                  <a:gd name="connsiteY78" fmla="*/ 4038600 h 4575969"/>
                  <a:gd name="connsiteX79" fmla="*/ 3831432 w 8971757"/>
                  <a:gd name="connsiteY79" fmla="*/ 4136231 h 4575969"/>
                  <a:gd name="connsiteX80" fmla="*/ 3950494 w 8971757"/>
                  <a:gd name="connsiteY80" fmla="*/ 4207669 h 4575969"/>
                  <a:gd name="connsiteX81" fmla="*/ 4010025 w 8971757"/>
                  <a:gd name="connsiteY81" fmla="*/ 4191000 h 4575969"/>
                  <a:gd name="connsiteX82" fmla="*/ 4360068 w 8971757"/>
                  <a:gd name="connsiteY82" fmla="*/ 4364831 h 4575969"/>
                  <a:gd name="connsiteX83" fmla="*/ 4586288 w 8971757"/>
                  <a:gd name="connsiteY83" fmla="*/ 4336256 h 4575969"/>
                  <a:gd name="connsiteX84" fmla="*/ 4595813 w 8971757"/>
                  <a:gd name="connsiteY84" fmla="*/ 4414837 h 4575969"/>
                  <a:gd name="connsiteX85" fmla="*/ 4681538 w 8971757"/>
                  <a:gd name="connsiteY85" fmla="*/ 4410074 h 4575969"/>
                  <a:gd name="connsiteX86" fmla="*/ 4760119 w 8971757"/>
                  <a:gd name="connsiteY86" fmla="*/ 4441031 h 4575969"/>
                  <a:gd name="connsiteX87" fmla="*/ 4802981 w 8971757"/>
                  <a:gd name="connsiteY87" fmla="*/ 4381500 h 4575969"/>
                  <a:gd name="connsiteX88" fmla="*/ 5474494 w 8971757"/>
                  <a:gd name="connsiteY88" fmla="*/ 4062412 h 4575969"/>
                  <a:gd name="connsiteX89" fmla="*/ 5562600 w 8971757"/>
                  <a:gd name="connsiteY89" fmla="*/ 4090988 h 4575969"/>
                  <a:gd name="connsiteX90" fmla="*/ 5693569 w 8971757"/>
                  <a:gd name="connsiteY90" fmla="*/ 4062412 h 4575969"/>
                  <a:gd name="connsiteX91" fmla="*/ 5872162 w 8971757"/>
                  <a:gd name="connsiteY91" fmla="*/ 4079081 h 4575969"/>
                  <a:gd name="connsiteX92" fmla="*/ 5929313 w 8971757"/>
                  <a:gd name="connsiteY92" fmla="*/ 4052888 h 4575969"/>
                  <a:gd name="connsiteX93" fmla="*/ 6062662 w 8971757"/>
                  <a:gd name="connsiteY93" fmla="*/ 4050506 h 4575969"/>
                  <a:gd name="connsiteX94" fmla="*/ 6196012 w 8971757"/>
                  <a:gd name="connsiteY94" fmla="*/ 3952875 h 4575969"/>
                  <a:gd name="connsiteX95" fmla="*/ 6262687 w 8971757"/>
                  <a:gd name="connsiteY95" fmla="*/ 3945731 h 4575969"/>
                  <a:gd name="connsiteX96" fmla="*/ 6360319 w 8971757"/>
                  <a:gd name="connsiteY96" fmla="*/ 3871912 h 4575969"/>
                  <a:gd name="connsiteX97" fmla="*/ 6434138 w 8971757"/>
                  <a:gd name="connsiteY97" fmla="*/ 3802856 h 4575969"/>
                  <a:gd name="connsiteX98" fmla="*/ 6443663 w 8971757"/>
                  <a:gd name="connsiteY98" fmla="*/ 3740944 h 4575969"/>
                  <a:gd name="connsiteX99" fmla="*/ 6477000 w 8971757"/>
                  <a:gd name="connsiteY99" fmla="*/ 3671887 h 4575969"/>
                  <a:gd name="connsiteX100" fmla="*/ 6629400 w 8971757"/>
                  <a:gd name="connsiteY100" fmla="*/ 3564731 h 4575969"/>
                  <a:gd name="connsiteX101" fmla="*/ 6662738 w 8971757"/>
                  <a:gd name="connsiteY101" fmla="*/ 3569494 h 4575969"/>
                  <a:gd name="connsiteX102" fmla="*/ 6715125 w 8971757"/>
                  <a:gd name="connsiteY102" fmla="*/ 3490912 h 4575969"/>
                  <a:gd name="connsiteX103" fmla="*/ 6762750 w 8971757"/>
                  <a:gd name="connsiteY103" fmla="*/ 3452812 h 4575969"/>
                  <a:gd name="connsiteX104" fmla="*/ 6748463 w 8971757"/>
                  <a:gd name="connsiteY104" fmla="*/ 3383756 h 4575969"/>
                  <a:gd name="connsiteX105" fmla="*/ 6698456 w 8971757"/>
                  <a:gd name="connsiteY105" fmla="*/ 3352799 h 4575969"/>
                  <a:gd name="connsiteX106" fmla="*/ 6638925 w 8971757"/>
                  <a:gd name="connsiteY106" fmla="*/ 3298031 h 4575969"/>
                  <a:gd name="connsiteX107" fmla="*/ 6619875 w 8971757"/>
                  <a:gd name="connsiteY107" fmla="*/ 3240881 h 4575969"/>
                  <a:gd name="connsiteX108" fmla="*/ 6584156 w 8971757"/>
                  <a:gd name="connsiteY108" fmla="*/ 3207544 h 4575969"/>
                  <a:gd name="connsiteX109" fmla="*/ 6610350 w 8971757"/>
                  <a:gd name="connsiteY109" fmla="*/ 3155156 h 4575969"/>
                  <a:gd name="connsiteX110" fmla="*/ 6650831 w 8971757"/>
                  <a:gd name="connsiteY110" fmla="*/ 2976562 h 4575969"/>
                  <a:gd name="connsiteX111" fmla="*/ 6691313 w 8971757"/>
                  <a:gd name="connsiteY111" fmla="*/ 2909887 h 4575969"/>
                  <a:gd name="connsiteX112" fmla="*/ 6836569 w 8971757"/>
                  <a:gd name="connsiteY112" fmla="*/ 2893218 h 4575969"/>
                  <a:gd name="connsiteX113" fmla="*/ 6905625 w 8971757"/>
                  <a:gd name="connsiteY113" fmla="*/ 2950369 h 4575969"/>
                  <a:gd name="connsiteX114" fmla="*/ 6981825 w 8971757"/>
                  <a:gd name="connsiteY114" fmla="*/ 2974181 h 4575969"/>
                  <a:gd name="connsiteX115" fmla="*/ 7186612 w 8971757"/>
                  <a:gd name="connsiteY115" fmla="*/ 2978944 h 4575969"/>
                  <a:gd name="connsiteX116" fmla="*/ 7362825 w 8971757"/>
                  <a:gd name="connsiteY116" fmla="*/ 2840831 h 4575969"/>
                  <a:gd name="connsiteX117" fmla="*/ 7419975 w 8971757"/>
                  <a:gd name="connsiteY117" fmla="*/ 2750343 h 4575969"/>
                  <a:gd name="connsiteX118" fmla="*/ 7446169 w 8971757"/>
                  <a:gd name="connsiteY118" fmla="*/ 2667000 h 4575969"/>
                  <a:gd name="connsiteX119" fmla="*/ 7577137 w 8971757"/>
                  <a:gd name="connsiteY119" fmla="*/ 2667000 h 4575969"/>
                  <a:gd name="connsiteX120" fmla="*/ 7750969 w 8971757"/>
                  <a:gd name="connsiteY120" fmla="*/ 2609849 h 4575969"/>
                  <a:gd name="connsiteX121" fmla="*/ 7810500 w 8971757"/>
                  <a:gd name="connsiteY121" fmla="*/ 2497931 h 4575969"/>
                  <a:gd name="connsiteX122" fmla="*/ 7874794 w 8971757"/>
                  <a:gd name="connsiteY122" fmla="*/ 2462212 h 4575969"/>
                  <a:gd name="connsiteX123" fmla="*/ 7853363 w 8971757"/>
                  <a:gd name="connsiteY123" fmla="*/ 2416969 h 4575969"/>
                  <a:gd name="connsiteX124" fmla="*/ 7931944 w 8971757"/>
                  <a:gd name="connsiteY124" fmla="*/ 2247899 h 4575969"/>
                  <a:gd name="connsiteX125" fmla="*/ 7986713 w 8971757"/>
                  <a:gd name="connsiteY125" fmla="*/ 2188369 h 4575969"/>
                  <a:gd name="connsiteX126" fmla="*/ 8024813 w 8971757"/>
                  <a:gd name="connsiteY126" fmla="*/ 2183606 h 4575969"/>
                  <a:gd name="connsiteX127" fmla="*/ 8070056 w 8971757"/>
                  <a:gd name="connsiteY127" fmla="*/ 2188369 h 4575969"/>
                  <a:gd name="connsiteX128" fmla="*/ 8134350 w 8971757"/>
                  <a:gd name="connsiteY128" fmla="*/ 2155031 h 4575969"/>
                  <a:gd name="connsiteX129" fmla="*/ 8143875 w 8971757"/>
                  <a:gd name="connsiteY129" fmla="*/ 2090737 h 4575969"/>
                  <a:gd name="connsiteX130" fmla="*/ 8184355 w 8971757"/>
                  <a:gd name="connsiteY130" fmla="*/ 2055019 h 4575969"/>
                  <a:gd name="connsiteX131" fmla="*/ 8243888 w 8971757"/>
                  <a:gd name="connsiteY131" fmla="*/ 2095499 h 4575969"/>
                  <a:gd name="connsiteX132" fmla="*/ 8270082 w 8971757"/>
                  <a:gd name="connsiteY132" fmla="*/ 2045493 h 4575969"/>
                  <a:gd name="connsiteX133" fmla="*/ 8365331 w 8971757"/>
                  <a:gd name="connsiteY133" fmla="*/ 1976437 h 4575969"/>
                  <a:gd name="connsiteX134" fmla="*/ 8427244 w 8971757"/>
                  <a:gd name="connsiteY134" fmla="*/ 1983581 h 4575969"/>
                  <a:gd name="connsiteX135" fmla="*/ 8477250 w 8971757"/>
                  <a:gd name="connsiteY135" fmla="*/ 1964531 h 4575969"/>
                  <a:gd name="connsiteX136" fmla="*/ 8515350 w 8971757"/>
                  <a:gd name="connsiteY136" fmla="*/ 1935956 h 4575969"/>
                  <a:gd name="connsiteX137" fmla="*/ 8548688 w 8971757"/>
                  <a:gd name="connsiteY137" fmla="*/ 1933575 h 4575969"/>
                  <a:gd name="connsiteX138" fmla="*/ 8584406 w 8971757"/>
                  <a:gd name="connsiteY138" fmla="*/ 1964531 h 4575969"/>
                  <a:gd name="connsiteX139" fmla="*/ 8643938 w 8971757"/>
                  <a:gd name="connsiteY139" fmla="*/ 1964531 h 4575969"/>
                  <a:gd name="connsiteX140" fmla="*/ 8682037 w 8971757"/>
                  <a:gd name="connsiteY140" fmla="*/ 1945481 h 4575969"/>
                  <a:gd name="connsiteX141" fmla="*/ 8765381 w 8971757"/>
                  <a:gd name="connsiteY141" fmla="*/ 1947863 h 4575969"/>
                  <a:gd name="connsiteX142" fmla="*/ 8796338 w 8971757"/>
                  <a:gd name="connsiteY142" fmla="*/ 1902619 h 4575969"/>
                  <a:gd name="connsiteX143" fmla="*/ 8801100 w 8971757"/>
                  <a:gd name="connsiteY143" fmla="*/ 1840706 h 4575969"/>
                  <a:gd name="connsiteX144" fmla="*/ 8751093 w 8971757"/>
                  <a:gd name="connsiteY144" fmla="*/ 1800225 h 4575969"/>
                  <a:gd name="connsiteX145" fmla="*/ 8734425 w 8971757"/>
                  <a:gd name="connsiteY145" fmla="*/ 1745456 h 4575969"/>
                  <a:gd name="connsiteX146" fmla="*/ 8643938 w 8971757"/>
                  <a:gd name="connsiteY146" fmla="*/ 1683544 h 4575969"/>
                  <a:gd name="connsiteX147" fmla="*/ 8603456 w 8971757"/>
                  <a:gd name="connsiteY147" fmla="*/ 1662112 h 4575969"/>
                  <a:gd name="connsiteX148" fmla="*/ 8565356 w 8971757"/>
                  <a:gd name="connsiteY148" fmla="*/ 1616869 h 4575969"/>
                  <a:gd name="connsiteX149" fmla="*/ 8534400 w 8971757"/>
                  <a:gd name="connsiteY149" fmla="*/ 1614487 h 4575969"/>
                  <a:gd name="connsiteX150" fmla="*/ 8517731 w 8971757"/>
                  <a:gd name="connsiteY150" fmla="*/ 1562100 h 4575969"/>
                  <a:gd name="connsiteX151" fmla="*/ 8477250 w 8971757"/>
                  <a:gd name="connsiteY151" fmla="*/ 1545431 h 4575969"/>
                  <a:gd name="connsiteX152" fmla="*/ 8477250 w 8971757"/>
                  <a:gd name="connsiteY152" fmla="*/ 1545431 h 4575969"/>
                  <a:gd name="connsiteX153" fmla="*/ 8436769 w 8971757"/>
                  <a:gd name="connsiteY153" fmla="*/ 1550194 h 4575969"/>
                  <a:gd name="connsiteX154" fmla="*/ 8351043 w 8971757"/>
                  <a:gd name="connsiteY154" fmla="*/ 1476375 h 4575969"/>
                  <a:gd name="connsiteX155" fmla="*/ 8170069 w 8971757"/>
                  <a:gd name="connsiteY155" fmla="*/ 1476374 h 4575969"/>
                  <a:gd name="connsiteX156" fmla="*/ 8117681 w 8971757"/>
                  <a:gd name="connsiteY156" fmla="*/ 1514475 h 4575969"/>
                  <a:gd name="connsiteX157" fmla="*/ 8067675 w 8971757"/>
                  <a:gd name="connsiteY157" fmla="*/ 1593056 h 4575969"/>
                  <a:gd name="connsiteX158" fmla="*/ 8084344 w 8971757"/>
                  <a:gd name="connsiteY158" fmla="*/ 1614487 h 4575969"/>
                  <a:gd name="connsiteX159" fmla="*/ 8039100 w 8971757"/>
                  <a:gd name="connsiteY159" fmla="*/ 1664493 h 4575969"/>
                  <a:gd name="connsiteX160" fmla="*/ 7889081 w 8971757"/>
                  <a:gd name="connsiteY160" fmla="*/ 1588293 h 4575969"/>
                  <a:gd name="connsiteX161" fmla="*/ 7798594 w 8971757"/>
                  <a:gd name="connsiteY161" fmla="*/ 1624012 h 4575969"/>
                  <a:gd name="connsiteX162" fmla="*/ 7724775 w 8971757"/>
                  <a:gd name="connsiteY162" fmla="*/ 1621631 h 4575969"/>
                  <a:gd name="connsiteX163" fmla="*/ 7667625 w 8971757"/>
                  <a:gd name="connsiteY163" fmla="*/ 1716881 h 4575969"/>
                  <a:gd name="connsiteX164" fmla="*/ 7529513 w 8971757"/>
                  <a:gd name="connsiteY16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553525 w 8971757"/>
                  <a:gd name="connsiteY12" fmla="*/ 554456 h 4575969"/>
                  <a:gd name="connsiteX13" fmla="*/ 8412956 w 8971757"/>
                  <a:gd name="connsiteY13" fmla="*/ 23812 h 4575969"/>
                  <a:gd name="connsiteX14" fmla="*/ 8949531 w 8971757"/>
                  <a:gd name="connsiteY14" fmla="*/ 0 h 4575969"/>
                  <a:gd name="connsiteX15" fmla="*/ 8971757 w 8971757"/>
                  <a:gd name="connsiteY15" fmla="*/ 4575969 h 4575969"/>
                  <a:gd name="connsiteX16" fmla="*/ 2381 w 8971757"/>
                  <a:gd name="connsiteY16" fmla="*/ 4547392 h 4575969"/>
                  <a:gd name="connsiteX17" fmla="*/ 0 w 8971757"/>
                  <a:gd name="connsiteY17" fmla="*/ 845344 h 4575969"/>
                  <a:gd name="connsiteX18" fmla="*/ 76200 w 8971757"/>
                  <a:gd name="connsiteY18" fmla="*/ 828675 h 4575969"/>
                  <a:gd name="connsiteX19" fmla="*/ 119063 w 8971757"/>
                  <a:gd name="connsiteY19" fmla="*/ 857250 h 4575969"/>
                  <a:gd name="connsiteX20" fmla="*/ 215900 w 8971757"/>
                  <a:gd name="connsiteY20" fmla="*/ 848519 h 4575969"/>
                  <a:gd name="connsiteX21" fmla="*/ 261938 w 8971757"/>
                  <a:gd name="connsiteY21" fmla="*/ 876299 h 4575969"/>
                  <a:gd name="connsiteX22" fmla="*/ 228600 w 8971757"/>
                  <a:gd name="connsiteY22" fmla="*/ 904875 h 4575969"/>
                  <a:gd name="connsiteX23" fmla="*/ 233363 w 8971757"/>
                  <a:gd name="connsiteY23" fmla="*/ 947737 h 4575969"/>
                  <a:gd name="connsiteX24" fmla="*/ 200025 w 8971757"/>
                  <a:gd name="connsiteY24" fmla="*/ 952500 h 4575969"/>
                  <a:gd name="connsiteX25" fmla="*/ 204788 w 8971757"/>
                  <a:gd name="connsiteY25" fmla="*/ 976312 h 4575969"/>
                  <a:gd name="connsiteX26" fmla="*/ 261937 w 8971757"/>
                  <a:gd name="connsiteY26" fmla="*/ 1050131 h 4575969"/>
                  <a:gd name="connsiteX27" fmla="*/ 223838 w 8971757"/>
                  <a:gd name="connsiteY27" fmla="*/ 1097756 h 4575969"/>
                  <a:gd name="connsiteX28" fmla="*/ 278606 w 8971757"/>
                  <a:gd name="connsiteY28" fmla="*/ 1133475 h 4575969"/>
                  <a:gd name="connsiteX29" fmla="*/ 369094 w 8971757"/>
                  <a:gd name="connsiteY29" fmla="*/ 1221581 h 4575969"/>
                  <a:gd name="connsiteX30" fmla="*/ 371475 w 8971757"/>
                  <a:gd name="connsiteY30" fmla="*/ 1281112 h 4575969"/>
                  <a:gd name="connsiteX31" fmla="*/ 507206 w 8971757"/>
                  <a:gd name="connsiteY31" fmla="*/ 1414463 h 4575969"/>
                  <a:gd name="connsiteX32" fmla="*/ 561975 w 8971757"/>
                  <a:gd name="connsiteY32" fmla="*/ 1390650 h 4575969"/>
                  <a:gd name="connsiteX33" fmla="*/ 600075 w 8971757"/>
                  <a:gd name="connsiteY33" fmla="*/ 1416843 h 4575969"/>
                  <a:gd name="connsiteX34" fmla="*/ 614363 w 8971757"/>
                  <a:gd name="connsiteY34" fmla="*/ 1466849 h 4575969"/>
                  <a:gd name="connsiteX35" fmla="*/ 657225 w 8971757"/>
                  <a:gd name="connsiteY35" fmla="*/ 1502569 h 4575969"/>
                  <a:gd name="connsiteX36" fmla="*/ 697706 w 8971757"/>
                  <a:gd name="connsiteY36" fmla="*/ 1490662 h 4575969"/>
                  <a:gd name="connsiteX37" fmla="*/ 716756 w 8971757"/>
                  <a:gd name="connsiteY37" fmla="*/ 1547812 h 4575969"/>
                  <a:gd name="connsiteX38" fmla="*/ 764381 w 8971757"/>
                  <a:gd name="connsiteY38" fmla="*/ 1590675 h 4575969"/>
                  <a:gd name="connsiteX39" fmla="*/ 788194 w 8971757"/>
                  <a:gd name="connsiteY39" fmla="*/ 1693069 h 4575969"/>
                  <a:gd name="connsiteX40" fmla="*/ 785813 w 8971757"/>
                  <a:gd name="connsiteY40" fmla="*/ 1740694 h 4575969"/>
                  <a:gd name="connsiteX41" fmla="*/ 821531 w 8971757"/>
                  <a:gd name="connsiteY41" fmla="*/ 1840706 h 4575969"/>
                  <a:gd name="connsiteX42" fmla="*/ 866775 w 8971757"/>
                  <a:gd name="connsiteY42" fmla="*/ 1897856 h 4575969"/>
                  <a:gd name="connsiteX43" fmla="*/ 883443 w 8971757"/>
                  <a:gd name="connsiteY43" fmla="*/ 2055018 h 4575969"/>
                  <a:gd name="connsiteX44" fmla="*/ 850106 w 8971757"/>
                  <a:gd name="connsiteY44" fmla="*/ 2116931 h 4575969"/>
                  <a:gd name="connsiteX45" fmla="*/ 819150 w 8971757"/>
                  <a:gd name="connsiteY45" fmla="*/ 2193131 h 4575969"/>
                  <a:gd name="connsiteX46" fmla="*/ 833438 w 8971757"/>
                  <a:gd name="connsiteY46" fmla="*/ 2250281 h 4575969"/>
                  <a:gd name="connsiteX47" fmla="*/ 735806 w 8971757"/>
                  <a:gd name="connsiteY47" fmla="*/ 2357438 h 4575969"/>
                  <a:gd name="connsiteX48" fmla="*/ 692944 w 8971757"/>
                  <a:gd name="connsiteY48" fmla="*/ 2471737 h 4575969"/>
                  <a:gd name="connsiteX49" fmla="*/ 726281 w 8971757"/>
                  <a:gd name="connsiteY49" fmla="*/ 2512219 h 4575969"/>
                  <a:gd name="connsiteX50" fmla="*/ 709613 w 8971757"/>
                  <a:gd name="connsiteY50" fmla="*/ 2540794 h 4575969"/>
                  <a:gd name="connsiteX51" fmla="*/ 740569 w 8971757"/>
                  <a:gd name="connsiteY51" fmla="*/ 2597944 h 4575969"/>
                  <a:gd name="connsiteX52" fmla="*/ 769144 w 8971757"/>
                  <a:gd name="connsiteY52" fmla="*/ 2597944 h 4575969"/>
                  <a:gd name="connsiteX53" fmla="*/ 931069 w 8971757"/>
                  <a:gd name="connsiteY53" fmla="*/ 2700337 h 4575969"/>
                  <a:gd name="connsiteX54" fmla="*/ 1035844 w 8971757"/>
                  <a:gd name="connsiteY54" fmla="*/ 2697956 h 4575969"/>
                  <a:gd name="connsiteX55" fmla="*/ 1114425 w 8971757"/>
                  <a:gd name="connsiteY55" fmla="*/ 2752725 h 4575969"/>
                  <a:gd name="connsiteX56" fmla="*/ 1245393 w 8971757"/>
                  <a:gd name="connsiteY56" fmla="*/ 2755106 h 4575969"/>
                  <a:gd name="connsiteX57" fmla="*/ 1435893 w 8971757"/>
                  <a:gd name="connsiteY57" fmla="*/ 2824162 h 4575969"/>
                  <a:gd name="connsiteX58" fmla="*/ 1638300 w 8971757"/>
                  <a:gd name="connsiteY58" fmla="*/ 2974181 h 4575969"/>
                  <a:gd name="connsiteX59" fmla="*/ 1671637 w 8971757"/>
                  <a:gd name="connsiteY59" fmla="*/ 3040856 h 4575969"/>
                  <a:gd name="connsiteX60" fmla="*/ 1838325 w 8971757"/>
                  <a:gd name="connsiteY60" fmla="*/ 3167062 h 4575969"/>
                  <a:gd name="connsiteX61" fmla="*/ 1909763 w 8971757"/>
                  <a:gd name="connsiteY61" fmla="*/ 3162300 h 4575969"/>
                  <a:gd name="connsiteX62" fmla="*/ 1945482 w 8971757"/>
                  <a:gd name="connsiteY62" fmla="*/ 3186112 h 4575969"/>
                  <a:gd name="connsiteX63" fmla="*/ 1916906 w 8971757"/>
                  <a:gd name="connsiteY63" fmla="*/ 3226594 h 4575969"/>
                  <a:gd name="connsiteX64" fmla="*/ 1924050 w 8971757"/>
                  <a:gd name="connsiteY64" fmla="*/ 3278981 h 4575969"/>
                  <a:gd name="connsiteX65" fmla="*/ 1976438 w 8971757"/>
                  <a:gd name="connsiteY65" fmla="*/ 3305175 h 4575969"/>
                  <a:gd name="connsiteX66" fmla="*/ 2038350 w 8971757"/>
                  <a:gd name="connsiteY66" fmla="*/ 3529013 h 4575969"/>
                  <a:gd name="connsiteX67" fmla="*/ 2028825 w 8971757"/>
                  <a:gd name="connsiteY67" fmla="*/ 3593306 h 4575969"/>
                  <a:gd name="connsiteX68" fmla="*/ 2164556 w 8971757"/>
                  <a:gd name="connsiteY68" fmla="*/ 3759994 h 4575969"/>
                  <a:gd name="connsiteX69" fmla="*/ 2183606 w 8971757"/>
                  <a:gd name="connsiteY69" fmla="*/ 3810000 h 4575969"/>
                  <a:gd name="connsiteX70" fmla="*/ 2157413 w 8971757"/>
                  <a:gd name="connsiteY70" fmla="*/ 3829050 h 4575969"/>
                  <a:gd name="connsiteX71" fmla="*/ 2259806 w 8971757"/>
                  <a:gd name="connsiteY71" fmla="*/ 3838575 h 4575969"/>
                  <a:gd name="connsiteX72" fmla="*/ 2371725 w 8971757"/>
                  <a:gd name="connsiteY72" fmla="*/ 3826669 h 4575969"/>
                  <a:gd name="connsiteX73" fmla="*/ 2650331 w 8971757"/>
                  <a:gd name="connsiteY73" fmla="*/ 3910012 h 4575969"/>
                  <a:gd name="connsiteX74" fmla="*/ 3057525 w 8971757"/>
                  <a:gd name="connsiteY74" fmla="*/ 3990975 h 4575969"/>
                  <a:gd name="connsiteX75" fmla="*/ 3255169 w 8971757"/>
                  <a:gd name="connsiteY75" fmla="*/ 3960018 h 4575969"/>
                  <a:gd name="connsiteX76" fmla="*/ 3300413 w 8971757"/>
                  <a:gd name="connsiteY76" fmla="*/ 3971924 h 4575969"/>
                  <a:gd name="connsiteX77" fmla="*/ 3355181 w 8971757"/>
                  <a:gd name="connsiteY77" fmla="*/ 3948113 h 4575969"/>
                  <a:gd name="connsiteX78" fmla="*/ 3748087 w 8971757"/>
                  <a:gd name="connsiteY78" fmla="*/ 4038600 h 4575969"/>
                  <a:gd name="connsiteX79" fmla="*/ 3831432 w 8971757"/>
                  <a:gd name="connsiteY79" fmla="*/ 4136231 h 4575969"/>
                  <a:gd name="connsiteX80" fmla="*/ 3950494 w 8971757"/>
                  <a:gd name="connsiteY80" fmla="*/ 4207669 h 4575969"/>
                  <a:gd name="connsiteX81" fmla="*/ 4010025 w 8971757"/>
                  <a:gd name="connsiteY81" fmla="*/ 4191000 h 4575969"/>
                  <a:gd name="connsiteX82" fmla="*/ 4360068 w 8971757"/>
                  <a:gd name="connsiteY82" fmla="*/ 4364831 h 4575969"/>
                  <a:gd name="connsiteX83" fmla="*/ 4586288 w 8971757"/>
                  <a:gd name="connsiteY83" fmla="*/ 4336256 h 4575969"/>
                  <a:gd name="connsiteX84" fmla="*/ 4595813 w 8971757"/>
                  <a:gd name="connsiteY84" fmla="*/ 4414837 h 4575969"/>
                  <a:gd name="connsiteX85" fmla="*/ 4681538 w 8971757"/>
                  <a:gd name="connsiteY85" fmla="*/ 4410074 h 4575969"/>
                  <a:gd name="connsiteX86" fmla="*/ 4760119 w 8971757"/>
                  <a:gd name="connsiteY86" fmla="*/ 4441031 h 4575969"/>
                  <a:gd name="connsiteX87" fmla="*/ 4802981 w 8971757"/>
                  <a:gd name="connsiteY87" fmla="*/ 4381500 h 4575969"/>
                  <a:gd name="connsiteX88" fmla="*/ 5474494 w 8971757"/>
                  <a:gd name="connsiteY88" fmla="*/ 4062412 h 4575969"/>
                  <a:gd name="connsiteX89" fmla="*/ 5562600 w 8971757"/>
                  <a:gd name="connsiteY89" fmla="*/ 4090988 h 4575969"/>
                  <a:gd name="connsiteX90" fmla="*/ 5693569 w 8971757"/>
                  <a:gd name="connsiteY90" fmla="*/ 4062412 h 4575969"/>
                  <a:gd name="connsiteX91" fmla="*/ 5872162 w 8971757"/>
                  <a:gd name="connsiteY91" fmla="*/ 4079081 h 4575969"/>
                  <a:gd name="connsiteX92" fmla="*/ 5929313 w 8971757"/>
                  <a:gd name="connsiteY92" fmla="*/ 4052888 h 4575969"/>
                  <a:gd name="connsiteX93" fmla="*/ 6062662 w 8971757"/>
                  <a:gd name="connsiteY93" fmla="*/ 4050506 h 4575969"/>
                  <a:gd name="connsiteX94" fmla="*/ 6196012 w 8971757"/>
                  <a:gd name="connsiteY94" fmla="*/ 3952875 h 4575969"/>
                  <a:gd name="connsiteX95" fmla="*/ 6262687 w 8971757"/>
                  <a:gd name="connsiteY95" fmla="*/ 3945731 h 4575969"/>
                  <a:gd name="connsiteX96" fmla="*/ 6360319 w 8971757"/>
                  <a:gd name="connsiteY96" fmla="*/ 3871912 h 4575969"/>
                  <a:gd name="connsiteX97" fmla="*/ 6434138 w 8971757"/>
                  <a:gd name="connsiteY97" fmla="*/ 3802856 h 4575969"/>
                  <a:gd name="connsiteX98" fmla="*/ 6443663 w 8971757"/>
                  <a:gd name="connsiteY98" fmla="*/ 3740944 h 4575969"/>
                  <a:gd name="connsiteX99" fmla="*/ 6477000 w 8971757"/>
                  <a:gd name="connsiteY99" fmla="*/ 3671887 h 4575969"/>
                  <a:gd name="connsiteX100" fmla="*/ 6629400 w 8971757"/>
                  <a:gd name="connsiteY100" fmla="*/ 3564731 h 4575969"/>
                  <a:gd name="connsiteX101" fmla="*/ 6662738 w 8971757"/>
                  <a:gd name="connsiteY101" fmla="*/ 3569494 h 4575969"/>
                  <a:gd name="connsiteX102" fmla="*/ 6715125 w 8971757"/>
                  <a:gd name="connsiteY102" fmla="*/ 3490912 h 4575969"/>
                  <a:gd name="connsiteX103" fmla="*/ 6762750 w 8971757"/>
                  <a:gd name="connsiteY103" fmla="*/ 3452812 h 4575969"/>
                  <a:gd name="connsiteX104" fmla="*/ 6748463 w 8971757"/>
                  <a:gd name="connsiteY104" fmla="*/ 3383756 h 4575969"/>
                  <a:gd name="connsiteX105" fmla="*/ 6698456 w 8971757"/>
                  <a:gd name="connsiteY105" fmla="*/ 3352799 h 4575969"/>
                  <a:gd name="connsiteX106" fmla="*/ 6638925 w 8971757"/>
                  <a:gd name="connsiteY106" fmla="*/ 3298031 h 4575969"/>
                  <a:gd name="connsiteX107" fmla="*/ 6619875 w 8971757"/>
                  <a:gd name="connsiteY107" fmla="*/ 3240881 h 4575969"/>
                  <a:gd name="connsiteX108" fmla="*/ 6584156 w 8971757"/>
                  <a:gd name="connsiteY108" fmla="*/ 3207544 h 4575969"/>
                  <a:gd name="connsiteX109" fmla="*/ 6610350 w 8971757"/>
                  <a:gd name="connsiteY109" fmla="*/ 3155156 h 4575969"/>
                  <a:gd name="connsiteX110" fmla="*/ 6650831 w 8971757"/>
                  <a:gd name="connsiteY110" fmla="*/ 2976562 h 4575969"/>
                  <a:gd name="connsiteX111" fmla="*/ 6691313 w 8971757"/>
                  <a:gd name="connsiteY111" fmla="*/ 2909887 h 4575969"/>
                  <a:gd name="connsiteX112" fmla="*/ 6836569 w 8971757"/>
                  <a:gd name="connsiteY112" fmla="*/ 2893218 h 4575969"/>
                  <a:gd name="connsiteX113" fmla="*/ 6905625 w 8971757"/>
                  <a:gd name="connsiteY113" fmla="*/ 2950369 h 4575969"/>
                  <a:gd name="connsiteX114" fmla="*/ 6981825 w 8971757"/>
                  <a:gd name="connsiteY114" fmla="*/ 2974181 h 4575969"/>
                  <a:gd name="connsiteX115" fmla="*/ 7186612 w 8971757"/>
                  <a:gd name="connsiteY115" fmla="*/ 2978944 h 4575969"/>
                  <a:gd name="connsiteX116" fmla="*/ 7362825 w 8971757"/>
                  <a:gd name="connsiteY116" fmla="*/ 2840831 h 4575969"/>
                  <a:gd name="connsiteX117" fmla="*/ 7419975 w 8971757"/>
                  <a:gd name="connsiteY117" fmla="*/ 2750343 h 4575969"/>
                  <a:gd name="connsiteX118" fmla="*/ 7446169 w 8971757"/>
                  <a:gd name="connsiteY118" fmla="*/ 2667000 h 4575969"/>
                  <a:gd name="connsiteX119" fmla="*/ 7577137 w 8971757"/>
                  <a:gd name="connsiteY119" fmla="*/ 2667000 h 4575969"/>
                  <a:gd name="connsiteX120" fmla="*/ 7750969 w 8971757"/>
                  <a:gd name="connsiteY120" fmla="*/ 2609849 h 4575969"/>
                  <a:gd name="connsiteX121" fmla="*/ 7810500 w 8971757"/>
                  <a:gd name="connsiteY121" fmla="*/ 2497931 h 4575969"/>
                  <a:gd name="connsiteX122" fmla="*/ 7874794 w 8971757"/>
                  <a:gd name="connsiteY122" fmla="*/ 2462212 h 4575969"/>
                  <a:gd name="connsiteX123" fmla="*/ 7853363 w 8971757"/>
                  <a:gd name="connsiteY123" fmla="*/ 2416969 h 4575969"/>
                  <a:gd name="connsiteX124" fmla="*/ 7931944 w 8971757"/>
                  <a:gd name="connsiteY124" fmla="*/ 2247899 h 4575969"/>
                  <a:gd name="connsiteX125" fmla="*/ 7986713 w 8971757"/>
                  <a:gd name="connsiteY125" fmla="*/ 2188369 h 4575969"/>
                  <a:gd name="connsiteX126" fmla="*/ 8024813 w 8971757"/>
                  <a:gd name="connsiteY126" fmla="*/ 2183606 h 4575969"/>
                  <a:gd name="connsiteX127" fmla="*/ 8070056 w 8971757"/>
                  <a:gd name="connsiteY127" fmla="*/ 2188369 h 4575969"/>
                  <a:gd name="connsiteX128" fmla="*/ 8134350 w 8971757"/>
                  <a:gd name="connsiteY128" fmla="*/ 2155031 h 4575969"/>
                  <a:gd name="connsiteX129" fmla="*/ 8143875 w 8971757"/>
                  <a:gd name="connsiteY129" fmla="*/ 2090737 h 4575969"/>
                  <a:gd name="connsiteX130" fmla="*/ 8184355 w 8971757"/>
                  <a:gd name="connsiteY130" fmla="*/ 2055019 h 4575969"/>
                  <a:gd name="connsiteX131" fmla="*/ 8243888 w 8971757"/>
                  <a:gd name="connsiteY131" fmla="*/ 2095499 h 4575969"/>
                  <a:gd name="connsiteX132" fmla="*/ 8270082 w 8971757"/>
                  <a:gd name="connsiteY132" fmla="*/ 2045493 h 4575969"/>
                  <a:gd name="connsiteX133" fmla="*/ 8365331 w 8971757"/>
                  <a:gd name="connsiteY133" fmla="*/ 1976437 h 4575969"/>
                  <a:gd name="connsiteX134" fmla="*/ 8427244 w 8971757"/>
                  <a:gd name="connsiteY134" fmla="*/ 1983581 h 4575969"/>
                  <a:gd name="connsiteX135" fmla="*/ 8477250 w 8971757"/>
                  <a:gd name="connsiteY135" fmla="*/ 1964531 h 4575969"/>
                  <a:gd name="connsiteX136" fmla="*/ 8515350 w 8971757"/>
                  <a:gd name="connsiteY136" fmla="*/ 1935956 h 4575969"/>
                  <a:gd name="connsiteX137" fmla="*/ 8548688 w 8971757"/>
                  <a:gd name="connsiteY137" fmla="*/ 1933575 h 4575969"/>
                  <a:gd name="connsiteX138" fmla="*/ 8584406 w 8971757"/>
                  <a:gd name="connsiteY138" fmla="*/ 1964531 h 4575969"/>
                  <a:gd name="connsiteX139" fmla="*/ 8643938 w 8971757"/>
                  <a:gd name="connsiteY139" fmla="*/ 1964531 h 4575969"/>
                  <a:gd name="connsiteX140" fmla="*/ 8682037 w 8971757"/>
                  <a:gd name="connsiteY140" fmla="*/ 1945481 h 4575969"/>
                  <a:gd name="connsiteX141" fmla="*/ 8765381 w 8971757"/>
                  <a:gd name="connsiteY141" fmla="*/ 1947863 h 4575969"/>
                  <a:gd name="connsiteX142" fmla="*/ 8796338 w 8971757"/>
                  <a:gd name="connsiteY142" fmla="*/ 1902619 h 4575969"/>
                  <a:gd name="connsiteX143" fmla="*/ 8801100 w 8971757"/>
                  <a:gd name="connsiteY143" fmla="*/ 1840706 h 4575969"/>
                  <a:gd name="connsiteX144" fmla="*/ 8751093 w 8971757"/>
                  <a:gd name="connsiteY144" fmla="*/ 1800225 h 4575969"/>
                  <a:gd name="connsiteX145" fmla="*/ 8734425 w 8971757"/>
                  <a:gd name="connsiteY145" fmla="*/ 1745456 h 4575969"/>
                  <a:gd name="connsiteX146" fmla="*/ 8643938 w 8971757"/>
                  <a:gd name="connsiteY146" fmla="*/ 1683544 h 4575969"/>
                  <a:gd name="connsiteX147" fmla="*/ 8603456 w 8971757"/>
                  <a:gd name="connsiteY147" fmla="*/ 1662112 h 4575969"/>
                  <a:gd name="connsiteX148" fmla="*/ 8565356 w 8971757"/>
                  <a:gd name="connsiteY148" fmla="*/ 1616869 h 4575969"/>
                  <a:gd name="connsiteX149" fmla="*/ 8534400 w 8971757"/>
                  <a:gd name="connsiteY149" fmla="*/ 1614487 h 4575969"/>
                  <a:gd name="connsiteX150" fmla="*/ 8517731 w 8971757"/>
                  <a:gd name="connsiteY150" fmla="*/ 1562100 h 4575969"/>
                  <a:gd name="connsiteX151" fmla="*/ 8477250 w 8971757"/>
                  <a:gd name="connsiteY151" fmla="*/ 1545431 h 4575969"/>
                  <a:gd name="connsiteX152" fmla="*/ 8477250 w 8971757"/>
                  <a:gd name="connsiteY152" fmla="*/ 1545431 h 4575969"/>
                  <a:gd name="connsiteX153" fmla="*/ 8436769 w 8971757"/>
                  <a:gd name="connsiteY153" fmla="*/ 1550194 h 4575969"/>
                  <a:gd name="connsiteX154" fmla="*/ 8351043 w 8971757"/>
                  <a:gd name="connsiteY154" fmla="*/ 1476375 h 4575969"/>
                  <a:gd name="connsiteX155" fmla="*/ 8170069 w 8971757"/>
                  <a:gd name="connsiteY155" fmla="*/ 1476374 h 4575969"/>
                  <a:gd name="connsiteX156" fmla="*/ 8117681 w 8971757"/>
                  <a:gd name="connsiteY156" fmla="*/ 1514475 h 4575969"/>
                  <a:gd name="connsiteX157" fmla="*/ 8067675 w 8971757"/>
                  <a:gd name="connsiteY157" fmla="*/ 1593056 h 4575969"/>
                  <a:gd name="connsiteX158" fmla="*/ 8084344 w 8971757"/>
                  <a:gd name="connsiteY158" fmla="*/ 1614487 h 4575969"/>
                  <a:gd name="connsiteX159" fmla="*/ 8039100 w 8971757"/>
                  <a:gd name="connsiteY159" fmla="*/ 1664493 h 4575969"/>
                  <a:gd name="connsiteX160" fmla="*/ 7889081 w 8971757"/>
                  <a:gd name="connsiteY160" fmla="*/ 1588293 h 4575969"/>
                  <a:gd name="connsiteX161" fmla="*/ 7798594 w 8971757"/>
                  <a:gd name="connsiteY161" fmla="*/ 1624012 h 4575969"/>
                  <a:gd name="connsiteX162" fmla="*/ 7724775 w 8971757"/>
                  <a:gd name="connsiteY162" fmla="*/ 1621631 h 4575969"/>
                  <a:gd name="connsiteX163" fmla="*/ 7667625 w 8971757"/>
                  <a:gd name="connsiteY163" fmla="*/ 1716881 h 4575969"/>
                  <a:gd name="connsiteX164" fmla="*/ 7529513 w 8971757"/>
                  <a:gd name="connsiteY164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553525 w 8971757"/>
                  <a:gd name="connsiteY13" fmla="*/ 554456 h 4575969"/>
                  <a:gd name="connsiteX14" fmla="*/ 8412956 w 8971757"/>
                  <a:gd name="connsiteY14" fmla="*/ 23812 h 4575969"/>
                  <a:gd name="connsiteX15" fmla="*/ 8949531 w 8971757"/>
                  <a:gd name="connsiteY15" fmla="*/ 0 h 4575969"/>
                  <a:gd name="connsiteX16" fmla="*/ 8971757 w 8971757"/>
                  <a:gd name="connsiteY16" fmla="*/ 4575969 h 4575969"/>
                  <a:gd name="connsiteX17" fmla="*/ 2381 w 8971757"/>
                  <a:gd name="connsiteY17" fmla="*/ 4547392 h 4575969"/>
                  <a:gd name="connsiteX18" fmla="*/ 0 w 8971757"/>
                  <a:gd name="connsiteY18" fmla="*/ 845344 h 4575969"/>
                  <a:gd name="connsiteX19" fmla="*/ 76200 w 8971757"/>
                  <a:gd name="connsiteY19" fmla="*/ 828675 h 4575969"/>
                  <a:gd name="connsiteX20" fmla="*/ 119063 w 8971757"/>
                  <a:gd name="connsiteY20" fmla="*/ 857250 h 4575969"/>
                  <a:gd name="connsiteX21" fmla="*/ 215900 w 8971757"/>
                  <a:gd name="connsiteY21" fmla="*/ 848519 h 4575969"/>
                  <a:gd name="connsiteX22" fmla="*/ 261938 w 8971757"/>
                  <a:gd name="connsiteY22" fmla="*/ 876299 h 4575969"/>
                  <a:gd name="connsiteX23" fmla="*/ 228600 w 8971757"/>
                  <a:gd name="connsiteY23" fmla="*/ 904875 h 4575969"/>
                  <a:gd name="connsiteX24" fmla="*/ 233363 w 8971757"/>
                  <a:gd name="connsiteY24" fmla="*/ 947737 h 4575969"/>
                  <a:gd name="connsiteX25" fmla="*/ 200025 w 8971757"/>
                  <a:gd name="connsiteY25" fmla="*/ 952500 h 4575969"/>
                  <a:gd name="connsiteX26" fmla="*/ 204788 w 8971757"/>
                  <a:gd name="connsiteY26" fmla="*/ 976312 h 4575969"/>
                  <a:gd name="connsiteX27" fmla="*/ 261937 w 8971757"/>
                  <a:gd name="connsiteY27" fmla="*/ 1050131 h 4575969"/>
                  <a:gd name="connsiteX28" fmla="*/ 223838 w 8971757"/>
                  <a:gd name="connsiteY28" fmla="*/ 1097756 h 4575969"/>
                  <a:gd name="connsiteX29" fmla="*/ 278606 w 8971757"/>
                  <a:gd name="connsiteY29" fmla="*/ 1133475 h 4575969"/>
                  <a:gd name="connsiteX30" fmla="*/ 369094 w 8971757"/>
                  <a:gd name="connsiteY30" fmla="*/ 1221581 h 4575969"/>
                  <a:gd name="connsiteX31" fmla="*/ 371475 w 8971757"/>
                  <a:gd name="connsiteY31" fmla="*/ 1281112 h 4575969"/>
                  <a:gd name="connsiteX32" fmla="*/ 507206 w 8971757"/>
                  <a:gd name="connsiteY32" fmla="*/ 1414463 h 4575969"/>
                  <a:gd name="connsiteX33" fmla="*/ 561975 w 8971757"/>
                  <a:gd name="connsiteY33" fmla="*/ 1390650 h 4575969"/>
                  <a:gd name="connsiteX34" fmla="*/ 600075 w 8971757"/>
                  <a:gd name="connsiteY34" fmla="*/ 1416843 h 4575969"/>
                  <a:gd name="connsiteX35" fmla="*/ 614363 w 8971757"/>
                  <a:gd name="connsiteY35" fmla="*/ 1466849 h 4575969"/>
                  <a:gd name="connsiteX36" fmla="*/ 657225 w 8971757"/>
                  <a:gd name="connsiteY36" fmla="*/ 1502569 h 4575969"/>
                  <a:gd name="connsiteX37" fmla="*/ 697706 w 8971757"/>
                  <a:gd name="connsiteY37" fmla="*/ 1490662 h 4575969"/>
                  <a:gd name="connsiteX38" fmla="*/ 716756 w 8971757"/>
                  <a:gd name="connsiteY38" fmla="*/ 1547812 h 4575969"/>
                  <a:gd name="connsiteX39" fmla="*/ 764381 w 8971757"/>
                  <a:gd name="connsiteY39" fmla="*/ 1590675 h 4575969"/>
                  <a:gd name="connsiteX40" fmla="*/ 788194 w 8971757"/>
                  <a:gd name="connsiteY40" fmla="*/ 1693069 h 4575969"/>
                  <a:gd name="connsiteX41" fmla="*/ 785813 w 8971757"/>
                  <a:gd name="connsiteY41" fmla="*/ 1740694 h 4575969"/>
                  <a:gd name="connsiteX42" fmla="*/ 821531 w 8971757"/>
                  <a:gd name="connsiteY42" fmla="*/ 1840706 h 4575969"/>
                  <a:gd name="connsiteX43" fmla="*/ 866775 w 8971757"/>
                  <a:gd name="connsiteY43" fmla="*/ 1897856 h 4575969"/>
                  <a:gd name="connsiteX44" fmla="*/ 883443 w 8971757"/>
                  <a:gd name="connsiteY44" fmla="*/ 2055018 h 4575969"/>
                  <a:gd name="connsiteX45" fmla="*/ 850106 w 8971757"/>
                  <a:gd name="connsiteY45" fmla="*/ 2116931 h 4575969"/>
                  <a:gd name="connsiteX46" fmla="*/ 819150 w 8971757"/>
                  <a:gd name="connsiteY46" fmla="*/ 2193131 h 4575969"/>
                  <a:gd name="connsiteX47" fmla="*/ 833438 w 8971757"/>
                  <a:gd name="connsiteY47" fmla="*/ 2250281 h 4575969"/>
                  <a:gd name="connsiteX48" fmla="*/ 735806 w 8971757"/>
                  <a:gd name="connsiteY48" fmla="*/ 2357438 h 4575969"/>
                  <a:gd name="connsiteX49" fmla="*/ 692944 w 8971757"/>
                  <a:gd name="connsiteY49" fmla="*/ 2471737 h 4575969"/>
                  <a:gd name="connsiteX50" fmla="*/ 726281 w 8971757"/>
                  <a:gd name="connsiteY50" fmla="*/ 2512219 h 4575969"/>
                  <a:gd name="connsiteX51" fmla="*/ 709613 w 8971757"/>
                  <a:gd name="connsiteY51" fmla="*/ 2540794 h 4575969"/>
                  <a:gd name="connsiteX52" fmla="*/ 740569 w 8971757"/>
                  <a:gd name="connsiteY52" fmla="*/ 2597944 h 4575969"/>
                  <a:gd name="connsiteX53" fmla="*/ 769144 w 8971757"/>
                  <a:gd name="connsiteY53" fmla="*/ 2597944 h 4575969"/>
                  <a:gd name="connsiteX54" fmla="*/ 931069 w 8971757"/>
                  <a:gd name="connsiteY54" fmla="*/ 2700337 h 4575969"/>
                  <a:gd name="connsiteX55" fmla="*/ 1035844 w 8971757"/>
                  <a:gd name="connsiteY55" fmla="*/ 2697956 h 4575969"/>
                  <a:gd name="connsiteX56" fmla="*/ 1114425 w 8971757"/>
                  <a:gd name="connsiteY56" fmla="*/ 2752725 h 4575969"/>
                  <a:gd name="connsiteX57" fmla="*/ 1245393 w 8971757"/>
                  <a:gd name="connsiteY57" fmla="*/ 2755106 h 4575969"/>
                  <a:gd name="connsiteX58" fmla="*/ 1435893 w 8971757"/>
                  <a:gd name="connsiteY58" fmla="*/ 2824162 h 4575969"/>
                  <a:gd name="connsiteX59" fmla="*/ 1638300 w 8971757"/>
                  <a:gd name="connsiteY59" fmla="*/ 2974181 h 4575969"/>
                  <a:gd name="connsiteX60" fmla="*/ 1671637 w 8971757"/>
                  <a:gd name="connsiteY60" fmla="*/ 3040856 h 4575969"/>
                  <a:gd name="connsiteX61" fmla="*/ 1838325 w 8971757"/>
                  <a:gd name="connsiteY61" fmla="*/ 3167062 h 4575969"/>
                  <a:gd name="connsiteX62" fmla="*/ 1909763 w 8971757"/>
                  <a:gd name="connsiteY62" fmla="*/ 3162300 h 4575969"/>
                  <a:gd name="connsiteX63" fmla="*/ 1945482 w 8971757"/>
                  <a:gd name="connsiteY63" fmla="*/ 3186112 h 4575969"/>
                  <a:gd name="connsiteX64" fmla="*/ 1916906 w 8971757"/>
                  <a:gd name="connsiteY64" fmla="*/ 3226594 h 4575969"/>
                  <a:gd name="connsiteX65" fmla="*/ 1924050 w 8971757"/>
                  <a:gd name="connsiteY65" fmla="*/ 3278981 h 4575969"/>
                  <a:gd name="connsiteX66" fmla="*/ 1976438 w 8971757"/>
                  <a:gd name="connsiteY66" fmla="*/ 3305175 h 4575969"/>
                  <a:gd name="connsiteX67" fmla="*/ 2038350 w 8971757"/>
                  <a:gd name="connsiteY67" fmla="*/ 3529013 h 4575969"/>
                  <a:gd name="connsiteX68" fmla="*/ 2028825 w 8971757"/>
                  <a:gd name="connsiteY68" fmla="*/ 3593306 h 4575969"/>
                  <a:gd name="connsiteX69" fmla="*/ 2164556 w 8971757"/>
                  <a:gd name="connsiteY69" fmla="*/ 3759994 h 4575969"/>
                  <a:gd name="connsiteX70" fmla="*/ 2183606 w 8971757"/>
                  <a:gd name="connsiteY70" fmla="*/ 3810000 h 4575969"/>
                  <a:gd name="connsiteX71" fmla="*/ 2157413 w 8971757"/>
                  <a:gd name="connsiteY71" fmla="*/ 3829050 h 4575969"/>
                  <a:gd name="connsiteX72" fmla="*/ 2259806 w 8971757"/>
                  <a:gd name="connsiteY72" fmla="*/ 3838575 h 4575969"/>
                  <a:gd name="connsiteX73" fmla="*/ 2371725 w 8971757"/>
                  <a:gd name="connsiteY73" fmla="*/ 3826669 h 4575969"/>
                  <a:gd name="connsiteX74" fmla="*/ 2650331 w 8971757"/>
                  <a:gd name="connsiteY74" fmla="*/ 3910012 h 4575969"/>
                  <a:gd name="connsiteX75" fmla="*/ 3057525 w 8971757"/>
                  <a:gd name="connsiteY75" fmla="*/ 3990975 h 4575969"/>
                  <a:gd name="connsiteX76" fmla="*/ 3255169 w 8971757"/>
                  <a:gd name="connsiteY76" fmla="*/ 3960018 h 4575969"/>
                  <a:gd name="connsiteX77" fmla="*/ 3300413 w 8971757"/>
                  <a:gd name="connsiteY77" fmla="*/ 3971924 h 4575969"/>
                  <a:gd name="connsiteX78" fmla="*/ 3355181 w 8971757"/>
                  <a:gd name="connsiteY78" fmla="*/ 3948113 h 4575969"/>
                  <a:gd name="connsiteX79" fmla="*/ 3748087 w 8971757"/>
                  <a:gd name="connsiteY79" fmla="*/ 4038600 h 4575969"/>
                  <a:gd name="connsiteX80" fmla="*/ 3831432 w 8971757"/>
                  <a:gd name="connsiteY80" fmla="*/ 4136231 h 4575969"/>
                  <a:gd name="connsiteX81" fmla="*/ 3950494 w 8971757"/>
                  <a:gd name="connsiteY81" fmla="*/ 4207669 h 4575969"/>
                  <a:gd name="connsiteX82" fmla="*/ 4010025 w 8971757"/>
                  <a:gd name="connsiteY82" fmla="*/ 4191000 h 4575969"/>
                  <a:gd name="connsiteX83" fmla="*/ 4360068 w 8971757"/>
                  <a:gd name="connsiteY83" fmla="*/ 4364831 h 4575969"/>
                  <a:gd name="connsiteX84" fmla="*/ 4586288 w 8971757"/>
                  <a:gd name="connsiteY84" fmla="*/ 4336256 h 4575969"/>
                  <a:gd name="connsiteX85" fmla="*/ 4595813 w 8971757"/>
                  <a:gd name="connsiteY85" fmla="*/ 4414837 h 4575969"/>
                  <a:gd name="connsiteX86" fmla="*/ 4681538 w 8971757"/>
                  <a:gd name="connsiteY86" fmla="*/ 4410074 h 4575969"/>
                  <a:gd name="connsiteX87" fmla="*/ 4760119 w 8971757"/>
                  <a:gd name="connsiteY87" fmla="*/ 4441031 h 4575969"/>
                  <a:gd name="connsiteX88" fmla="*/ 4802981 w 8971757"/>
                  <a:gd name="connsiteY88" fmla="*/ 4381500 h 4575969"/>
                  <a:gd name="connsiteX89" fmla="*/ 5474494 w 8971757"/>
                  <a:gd name="connsiteY89" fmla="*/ 4062412 h 4575969"/>
                  <a:gd name="connsiteX90" fmla="*/ 5562600 w 8971757"/>
                  <a:gd name="connsiteY90" fmla="*/ 4090988 h 4575969"/>
                  <a:gd name="connsiteX91" fmla="*/ 5693569 w 8971757"/>
                  <a:gd name="connsiteY91" fmla="*/ 4062412 h 4575969"/>
                  <a:gd name="connsiteX92" fmla="*/ 5872162 w 8971757"/>
                  <a:gd name="connsiteY92" fmla="*/ 4079081 h 4575969"/>
                  <a:gd name="connsiteX93" fmla="*/ 5929313 w 8971757"/>
                  <a:gd name="connsiteY93" fmla="*/ 4052888 h 4575969"/>
                  <a:gd name="connsiteX94" fmla="*/ 6062662 w 8971757"/>
                  <a:gd name="connsiteY94" fmla="*/ 4050506 h 4575969"/>
                  <a:gd name="connsiteX95" fmla="*/ 6196012 w 8971757"/>
                  <a:gd name="connsiteY95" fmla="*/ 3952875 h 4575969"/>
                  <a:gd name="connsiteX96" fmla="*/ 6262687 w 8971757"/>
                  <a:gd name="connsiteY96" fmla="*/ 3945731 h 4575969"/>
                  <a:gd name="connsiteX97" fmla="*/ 6360319 w 8971757"/>
                  <a:gd name="connsiteY97" fmla="*/ 3871912 h 4575969"/>
                  <a:gd name="connsiteX98" fmla="*/ 6434138 w 8971757"/>
                  <a:gd name="connsiteY98" fmla="*/ 3802856 h 4575969"/>
                  <a:gd name="connsiteX99" fmla="*/ 6443663 w 8971757"/>
                  <a:gd name="connsiteY99" fmla="*/ 3740944 h 4575969"/>
                  <a:gd name="connsiteX100" fmla="*/ 6477000 w 8971757"/>
                  <a:gd name="connsiteY100" fmla="*/ 3671887 h 4575969"/>
                  <a:gd name="connsiteX101" fmla="*/ 6629400 w 8971757"/>
                  <a:gd name="connsiteY101" fmla="*/ 3564731 h 4575969"/>
                  <a:gd name="connsiteX102" fmla="*/ 6662738 w 8971757"/>
                  <a:gd name="connsiteY102" fmla="*/ 3569494 h 4575969"/>
                  <a:gd name="connsiteX103" fmla="*/ 6715125 w 8971757"/>
                  <a:gd name="connsiteY103" fmla="*/ 3490912 h 4575969"/>
                  <a:gd name="connsiteX104" fmla="*/ 6762750 w 8971757"/>
                  <a:gd name="connsiteY104" fmla="*/ 3452812 h 4575969"/>
                  <a:gd name="connsiteX105" fmla="*/ 6748463 w 8971757"/>
                  <a:gd name="connsiteY105" fmla="*/ 3383756 h 4575969"/>
                  <a:gd name="connsiteX106" fmla="*/ 6698456 w 8971757"/>
                  <a:gd name="connsiteY106" fmla="*/ 3352799 h 4575969"/>
                  <a:gd name="connsiteX107" fmla="*/ 6638925 w 8971757"/>
                  <a:gd name="connsiteY107" fmla="*/ 3298031 h 4575969"/>
                  <a:gd name="connsiteX108" fmla="*/ 6619875 w 8971757"/>
                  <a:gd name="connsiteY108" fmla="*/ 3240881 h 4575969"/>
                  <a:gd name="connsiteX109" fmla="*/ 6584156 w 8971757"/>
                  <a:gd name="connsiteY109" fmla="*/ 3207544 h 4575969"/>
                  <a:gd name="connsiteX110" fmla="*/ 6610350 w 8971757"/>
                  <a:gd name="connsiteY110" fmla="*/ 3155156 h 4575969"/>
                  <a:gd name="connsiteX111" fmla="*/ 6650831 w 8971757"/>
                  <a:gd name="connsiteY111" fmla="*/ 2976562 h 4575969"/>
                  <a:gd name="connsiteX112" fmla="*/ 6691313 w 8971757"/>
                  <a:gd name="connsiteY112" fmla="*/ 2909887 h 4575969"/>
                  <a:gd name="connsiteX113" fmla="*/ 6836569 w 8971757"/>
                  <a:gd name="connsiteY113" fmla="*/ 2893218 h 4575969"/>
                  <a:gd name="connsiteX114" fmla="*/ 6905625 w 8971757"/>
                  <a:gd name="connsiteY114" fmla="*/ 2950369 h 4575969"/>
                  <a:gd name="connsiteX115" fmla="*/ 6981825 w 8971757"/>
                  <a:gd name="connsiteY115" fmla="*/ 2974181 h 4575969"/>
                  <a:gd name="connsiteX116" fmla="*/ 7186612 w 8971757"/>
                  <a:gd name="connsiteY116" fmla="*/ 2978944 h 4575969"/>
                  <a:gd name="connsiteX117" fmla="*/ 7362825 w 8971757"/>
                  <a:gd name="connsiteY117" fmla="*/ 2840831 h 4575969"/>
                  <a:gd name="connsiteX118" fmla="*/ 7419975 w 8971757"/>
                  <a:gd name="connsiteY118" fmla="*/ 2750343 h 4575969"/>
                  <a:gd name="connsiteX119" fmla="*/ 7446169 w 8971757"/>
                  <a:gd name="connsiteY119" fmla="*/ 2667000 h 4575969"/>
                  <a:gd name="connsiteX120" fmla="*/ 7577137 w 8971757"/>
                  <a:gd name="connsiteY120" fmla="*/ 2667000 h 4575969"/>
                  <a:gd name="connsiteX121" fmla="*/ 7750969 w 8971757"/>
                  <a:gd name="connsiteY121" fmla="*/ 2609849 h 4575969"/>
                  <a:gd name="connsiteX122" fmla="*/ 7810500 w 8971757"/>
                  <a:gd name="connsiteY122" fmla="*/ 2497931 h 4575969"/>
                  <a:gd name="connsiteX123" fmla="*/ 7874794 w 8971757"/>
                  <a:gd name="connsiteY123" fmla="*/ 2462212 h 4575969"/>
                  <a:gd name="connsiteX124" fmla="*/ 7853363 w 8971757"/>
                  <a:gd name="connsiteY124" fmla="*/ 2416969 h 4575969"/>
                  <a:gd name="connsiteX125" fmla="*/ 7931944 w 8971757"/>
                  <a:gd name="connsiteY125" fmla="*/ 2247899 h 4575969"/>
                  <a:gd name="connsiteX126" fmla="*/ 7986713 w 8971757"/>
                  <a:gd name="connsiteY126" fmla="*/ 2188369 h 4575969"/>
                  <a:gd name="connsiteX127" fmla="*/ 8024813 w 8971757"/>
                  <a:gd name="connsiteY127" fmla="*/ 2183606 h 4575969"/>
                  <a:gd name="connsiteX128" fmla="*/ 8070056 w 8971757"/>
                  <a:gd name="connsiteY128" fmla="*/ 2188369 h 4575969"/>
                  <a:gd name="connsiteX129" fmla="*/ 8134350 w 8971757"/>
                  <a:gd name="connsiteY129" fmla="*/ 2155031 h 4575969"/>
                  <a:gd name="connsiteX130" fmla="*/ 8143875 w 8971757"/>
                  <a:gd name="connsiteY130" fmla="*/ 2090737 h 4575969"/>
                  <a:gd name="connsiteX131" fmla="*/ 8184355 w 8971757"/>
                  <a:gd name="connsiteY131" fmla="*/ 2055019 h 4575969"/>
                  <a:gd name="connsiteX132" fmla="*/ 8243888 w 8971757"/>
                  <a:gd name="connsiteY132" fmla="*/ 2095499 h 4575969"/>
                  <a:gd name="connsiteX133" fmla="*/ 8270082 w 8971757"/>
                  <a:gd name="connsiteY133" fmla="*/ 2045493 h 4575969"/>
                  <a:gd name="connsiteX134" fmla="*/ 8365331 w 8971757"/>
                  <a:gd name="connsiteY134" fmla="*/ 1976437 h 4575969"/>
                  <a:gd name="connsiteX135" fmla="*/ 8427244 w 8971757"/>
                  <a:gd name="connsiteY135" fmla="*/ 1983581 h 4575969"/>
                  <a:gd name="connsiteX136" fmla="*/ 8477250 w 8971757"/>
                  <a:gd name="connsiteY136" fmla="*/ 1964531 h 4575969"/>
                  <a:gd name="connsiteX137" fmla="*/ 8515350 w 8971757"/>
                  <a:gd name="connsiteY137" fmla="*/ 1935956 h 4575969"/>
                  <a:gd name="connsiteX138" fmla="*/ 8548688 w 8971757"/>
                  <a:gd name="connsiteY138" fmla="*/ 1933575 h 4575969"/>
                  <a:gd name="connsiteX139" fmla="*/ 8584406 w 8971757"/>
                  <a:gd name="connsiteY139" fmla="*/ 1964531 h 4575969"/>
                  <a:gd name="connsiteX140" fmla="*/ 8643938 w 8971757"/>
                  <a:gd name="connsiteY140" fmla="*/ 1964531 h 4575969"/>
                  <a:gd name="connsiteX141" fmla="*/ 8682037 w 8971757"/>
                  <a:gd name="connsiteY141" fmla="*/ 1945481 h 4575969"/>
                  <a:gd name="connsiteX142" fmla="*/ 8765381 w 8971757"/>
                  <a:gd name="connsiteY142" fmla="*/ 1947863 h 4575969"/>
                  <a:gd name="connsiteX143" fmla="*/ 8796338 w 8971757"/>
                  <a:gd name="connsiteY143" fmla="*/ 1902619 h 4575969"/>
                  <a:gd name="connsiteX144" fmla="*/ 8801100 w 8971757"/>
                  <a:gd name="connsiteY144" fmla="*/ 1840706 h 4575969"/>
                  <a:gd name="connsiteX145" fmla="*/ 8751093 w 8971757"/>
                  <a:gd name="connsiteY145" fmla="*/ 1800225 h 4575969"/>
                  <a:gd name="connsiteX146" fmla="*/ 8734425 w 8971757"/>
                  <a:gd name="connsiteY146" fmla="*/ 1745456 h 4575969"/>
                  <a:gd name="connsiteX147" fmla="*/ 8643938 w 8971757"/>
                  <a:gd name="connsiteY147" fmla="*/ 1683544 h 4575969"/>
                  <a:gd name="connsiteX148" fmla="*/ 8603456 w 8971757"/>
                  <a:gd name="connsiteY148" fmla="*/ 1662112 h 4575969"/>
                  <a:gd name="connsiteX149" fmla="*/ 8565356 w 8971757"/>
                  <a:gd name="connsiteY149" fmla="*/ 1616869 h 4575969"/>
                  <a:gd name="connsiteX150" fmla="*/ 8534400 w 8971757"/>
                  <a:gd name="connsiteY150" fmla="*/ 1614487 h 4575969"/>
                  <a:gd name="connsiteX151" fmla="*/ 8517731 w 8971757"/>
                  <a:gd name="connsiteY151" fmla="*/ 1562100 h 4575969"/>
                  <a:gd name="connsiteX152" fmla="*/ 8477250 w 8971757"/>
                  <a:gd name="connsiteY152" fmla="*/ 1545431 h 4575969"/>
                  <a:gd name="connsiteX153" fmla="*/ 8477250 w 8971757"/>
                  <a:gd name="connsiteY153" fmla="*/ 1545431 h 4575969"/>
                  <a:gd name="connsiteX154" fmla="*/ 8436769 w 8971757"/>
                  <a:gd name="connsiteY154" fmla="*/ 1550194 h 4575969"/>
                  <a:gd name="connsiteX155" fmla="*/ 8351043 w 8971757"/>
                  <a:gd name="connsiteY155" fmla="*/ 1476375 h 4575969"/>
                  <a:gd name="connsiteX156" fmla="*/ 8170069 w 8971757"/>
                  <a:gd name="connsiteY156" fmla="*/ 1476374 h 4575969"/>
                  <a:gd name="connsiteX157" fmla="*/ 8117681 w 8971757"/>
                  <a:gd name="connsiteY157" fmla="*/ 1514475 h 4575969"/>
                  <a:gd name="connsiteX158" fmla="*/ 8067675 w 8971757"/>
                  <a:gd name="connsiteY158" fmla="*/ 1593056 h 4575969"/>
                  <a:gd name="connsiteX159" fmla="*/ 8084344 w 8971757"/>
                  <a:gd name="connsiteY159" fmla="*/ 1614487 h 4575969"/>
                  <a:gd name="connsiteX160" fmla="*/ 8039100 w 8971757"/>
                  <a:gd name="connsiteY160" fmla="*/ 1664493 h 4575969"/>
                  <a:gd name="connsiteX161" fmla="*/ 7889081 w 8971757"/>
                  <a:gd name="connsiteY161" fmla="*/ 1588293 h 4575969"/>
                  <a:gd name="connsiteX162" fmla="*/ 7798594 w 8971757"/>
                  <a:gd name="connsiteY162" fmla="*/ 1624012 h 4575969"/>
                  <a:gd name="connsiteX163" fmla="*/ 7724775 w 8971757"/>
                  <a:gd name="connsiteY163" fmla="*/ 1621631 h 4575969"/>
                  <a:gd name="connsiteX164" fmla="*/ 7667625 w 8971757"/>
                  <a:gd name="connsiteY164" fmla="*/ 1716881 h 4575969"/>
                  <a:gd name="connsiteX165" fmla="*/ 7529513 w 8971757"/>
                  <a:gd name="connsiteY16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2069 w 8971757"/>
                  <a:gd name="connsiteY13" fmla="*/ 202031 h 4575969"/>
                  <a:gd name="connsiteX14" fmla="*/ 8412956 w 8971757"/>
                  <a:gd name="connsiteY14" fmla="*/ 23812 h 4575969"/>
                  <a:gd name="connsiteX15" fmla="*/ 8949531 w 8971757"/>
                  <a:gd name="connsiteY15" fmla="*/ 0 h 4575969"/>
                  <a:gd name="connsiteX16" fmla="*/ 8971757 w 8971757"/>
                  <a:gd name="connsiteY16" fmla="*/ 4575969 h 4575969"/>
                  <a:gd name="connsiteX17" fmla="*/ 2381 w 8971757"/>
                  <a:gd name="connsiteY17" fmla="*/ 4547392 h 4575969"/>
                  <a:gd name="connsiteX18" fmla="*/ 0 w 8971757"/>
                  <a:gd name="connsiteY18" fmla="*/ 845344 h 4575969"/>
                  <a:gd name="connsiteX19" fmla="*/ 76200 w 8971757"/>
                  <a:gd name="connsiteY19" fmla="*/ 828675 h 4575969"/>
                  <a:gd name="connsiteX20" fmla="*/ 119063 w 8971757"/>
                  <a:gd name="connsiteY20" fmla="*/ 857250 h 4575969"/>
                  <a:gd name="connsiteX21" fmla="*/ 215900 w 8971757"/>
                  <a:gd name="connsiteY21" fmla="*/ 848519 h 4575969"/>
                  <a:gd name="connsiteX22" fmla="*/ 261938 w 8971757"/>
                  <a:gd name="connsiteY22" fmla="*/ 876299 h 4575969"/>
                  <a:gd name="connsiteX23" fmla="*/ 228600 w 8971757"/>
                  <a:gd name="connsiteY23" fmla="*/ 904875 h 4575969"/>
                  <a:gd name="connsiteX24" fmla="*/ 233363 w 8971757"/>
                  <a:gd name="connsiteY24" fmla="*/ 947737 h 4575969"/>
                  <a:gd name="connsiteX25" fmla="*/ 200025 w 8971757"/>
                  <a:gd name="connsiteY25" fmla="*/ 952500 h 4575969"/>
                  <a:gd name="connsiteX26" fmla="*/ 204788 w 8971757"/>
                  <a:gd name="connsiteY26" fmla="*/ 976312 h 4575969"/>
                  <a:gd name="connsiteX27" fmla="*/ 261937 w 8971757"/>
                  <a:gd name="connsiteY27" fmla="*/ 1050131 h 4575969"/>
                  <a:gd name="connsiteX28" fmla="*/ 223838 w 8971757"/>
                  <a:gd name="connsiteY28" fmla="*/ 1097756 h 4575969"/>
                  <a:gd name="connsiteX29" fmla="*/ 278606 w 8971757"/>
                  <a:gd name="connsiteY29" fmla="*/ 1133475 h 4575969"/>
                  <a:gd name="connsiteX30" fmla="*/ 369094 w 8971757"/>
                  <a:gd name="connsiteY30" fmla="*/ 1221581 h 4575969"/>
                  <a:gd name="connsiteX31" fmla="*/ 371475 w 8971757"/>
                  <a:gd name="connsiteY31" fmla="*/ 1281112 h 4575969"/>
                  <a:gd name="connsiteX32" fmla="*/ 507206 w 8971757"/>
                  <a:gd name="connsiteY32" fmla="*/ 1414463 h 4575969"/>
                  <a:gd name="connsiteX33" fmla="*/ 561975 w 8971757"/>
                  <a:gd name="connsiteY33" fmla="*/ 1390650 h 4575969"/>
                  <a:gd name="connsiteX34" fmla="*/ 600075 w 8971757"/>
                  <a:gd name="connsiteY34" fmla="*/ 1416843 h 4575969"/>
                  <a:gd name="connsiteX35" fmla="*/ 614363 w 8971757"/>
                  <a:gd name="connsiteY35" fmla="*/ 1466849 h 4575969"/>
                  <a:gd name="connsiteX36" fmla="*/ 657225 w 8971757"/>
                  <a:gd name="connsiteY36" fmla="*/ 1502569 h 4575969"/>
                  <a:gd name="connsiteX37" fmla="*/ 697706 w 8971757"/>
                  <a:gd name="connsiteY37" fmla="*/ 1490662 h 4575969"/>
                  <a:gd name="connsiteX38" fmla="*/ 716756 w 8971757"/>
                  <a:gd name="connsiteY38" fmla="*/ 1547812 h 4575969"/>
                  <a:gd name="connsiteX39" fmla="*/ 764381 w 8971757"/>
                  <a:gd name="connsiteY39" fmla="*/ 1590675 h 4575969"/>
                  <a:gd name="connsiteX40" fmla="*/ 788194 w 8971757"/>
                  <a:gd name="connsiteY40" fmla="*/ 1693069 h 4575969"/>
                  <a:gd name="connsiteX41" fmla="*/ 785813 w 8971757"/>
                  <a:gd name="connsiteY41" fmla="*/ 1740694 h 4575969"/>
                  <a:gd name="connsiteX42" fmla="*/ 821531 w 8971757"/>
                  <a:gd name="connsiteY42" fmla="*/ 1840706 h 4575969"/>
                  <a:gd name="connsiteX43" fmla="*/ 866775 w 8971757"/>
                  <a:gd name="connsiteY43" fmla="*/ 1897856 h 4575969"/>
                  <a:gd name="connsiteX44" fmla="*/ 883443 w 8971757"/>
                  <a:gd name="connsiteY44" fmla="*/ 2055018 h 4575969"/>
                  <a:gd name="connsiteX45" fmla="*/ 850106 w 8971757"/>
                  <a:gd name="connsiteY45" fmla="*/ 2116931 h 4575969"/>
                  <a:gd name="connsiteX46" fmla="*/ 819150 w 8971757"/>
                  <a:gd name="connsiteY46" fmla="*/ 2193131 h 4575969"/>
                  <a:gd name="connsiteX47" fmla="*/ 833438 w 8971757"/>
                  <a:gd name="connsiteY47" fmla="*/ 2250281 h 4575969"/>
                  <a:gd name="connsiteX48" fmla="*/ 735806 w 8971757"/>
                  <a:gd name="connsiteY48" fmla="*/ 2357438 h 4575969"/>
                  <a:gd name="connsiteX49" fmla="*/ 692944 w 8971757"/>
                  <a:gd name="connsiteY49" fmla="*/ 2471737 h 4575969"/>
                  <a:gd name="connsiteX50" fmla="*/ 726281 w 8971757"/>
                  <a:gd name="connsiteY50" fmla="*/ 2512219 h 4575969"/>
                  <a:gd name="connsiteX51" fmla="*/ 709613 w 8971757"/>
                  <a:gd name="connsiteY51" fmla="*/ 2540794 h 4575969"/>
                  <a:gd name="connsiteX52" fmla="*/ 740569 w 8971757"/>
                  <a:gd name="connsiteY52" fmla="*/ 2597944 h 4575969"/>
                  <a:gd name="connsiteX53" fmla="*/ 769144 w 8971757"/>
                  <a:gd name="connsiteY53" fmla="*/ 2597944 h 4575969"/>
                  <a:gd name="connsiteX54" fmla="*/ 931069 w 8971757"/>
                  <a:gd name="connsiteY54" fmla="*/ 2700337 h 4575969"/>
                  <a:gd name="connsiteX55" fmla="*/ 1035844 w 8971757"/>
                  <a:gd name="connsiteY55" fmla="*/ 2697956 h 4575969"/>
                  <a:gd name="connsiteX56" fmla="*/ 1114425 w 8971757"/>
                  <a:gd name="connsiteY56" fmla="*/ 2752725 h 4575969"/>
                  <a:gd name="connsiteX57" fmla="*/ 1245393 w 8971757"/>
                  <a:gd name="connsiteY57" fmla="*/ 2755106 h 4575969"/>
                  <a:gd name="connsiteX58" fmla="*/ 1435893 w 8971757"/>
                  <a:gd name="connsiteY58" fmla="*/ 2824162 h 4575969"/>
                  <a:gd name="connsiteX59" fmla="*/ 1638300 w 8971757"/>
                  <a:gd name="connsiteY59" fmla="*/ 2974181 h 4575969"/>
                  <a:gd name="connsiteX60" fmla="*/ 1671637 w 8971757"/>
                  <a:gd name="connsiteY60" fmla="*/ 3040856 h 4575969"/>
                  <a:gd name="connsiteX61" fmla="*/ 1838325 w 8971757"/>
                  <a:gd name="connsiteY61" fmla="*/ 3167062 h 4575969"/>
                  <a:gd name="connsiteX62" fmla="*/ 1909763 w 8971757"/>
                  <a:gd name="connsiteY62" fmla="*/ 3162300 h 4575969"/>
                  <a:gd name="connsiteX63" fmla="*/ 1945482 w 8971757"/>
                  <a:gd name="connsiteY63" fmla="*/ 3186112 h 4575969"/>
                  <a:gd name="connsiteX64" fmla="*/ 1916906 w 8971757"/>
                  <a:gd name="connsiteY64" fmla="*/ 3226594 h 4575969"/>
                  <a:gd name="connsiteX65" fmla="*/ 1924050 w 8971757"/>
                  <a:gd name="connsiteY65" fmla="*/ 3278981 h 4575969"/>
                  <a:gd name="connsiteX66" fmla="*/ 1976438 w 8971757"/>
                  <a:gd name="connsiteY66" fmla="*/ 3305175 h 4575969"/>
                  <a:gd name="connsiteX67" fmla="*/ 2038350 w 8971757"/>
                  <a:gd name="connsiteY67" fmla="*/ 3529013 h 4575969"/>
                  <a:gd name="connsiteX68" fmla="*/ 2028825 w 8971757"/>
                  <a:gd name="connsiteY68" fmla="*/ 3593306 h 4575969"/>
                  <a:gd name="connsiteX69" fmla="*/ 2164556 w 8971757"/>
                  <a:gd name="connsiteY69" fmla="*/ 3759994 h 4575969"/>
                  <a:gd name="connsiteX70" fmla="*/ 2183606 w 8971757"/>
                  <a:gd name="connsiteY70" fmla="*/ 3810000 h 4575969"/>
                  <a:gd name="connsiteX71" fmla="*/ 2157413 w 8971757"/>
                  <a:gd name="connsiteY71" fmla="*/ 3829050 h 4575969"/>
                  <a:gd name="connsiteX72" fmla="*/ 2259806 w 8971757"/>
                  <a:gd name="connsiteY72" fmla="*/ 3838575 h 4575969"/>
                  <a:gd name="connsiteX73" fmla="*/ 2371725 w 8971757"/>
                  <a:gd name="connsiteY73" fmla="*/ 3826669 h 4575969"/>
                  <a:gd name="connsiteX74" fmla="*/ 2650331 w 8971757"/>
                  <a:gd name="connsiteY74" fmla="*/ 3910012 h 4575969"/>
                  <a:gd name="connsiteX75" fmla="*/ 3057525 w 8971757"/>
                  <a:gd name="connsiteY75" fmla="*/ 3990975 h 4575969"/>
                  <a:gd name="connsiteX76" fmla="*/ 3255169 w 8971757"/>
                  <a:gd name="connsiteY76" fmla="*/ 3960018 h 4575969"/>
                  <a:gd name="connsiteX77" fmla="*/ 3300413 w 8971757"/>
                  <a:gd name="connsiteY77" fmla="*/ 3971924 h 4575969"/>
                  <a:gd name="connsiteX78" fmla="*/ 3355181 w 8971757"/>
                  <a:gd name="connsiteY78" fmla="*/ 3948113 h 4575969"/>
                  <a:gd name="connsiteX79" fmla="*/ 3748087 w 8971757"/>
                  <a:gd name="connsiteY79" fmla="*/ 4038600 h 4575969"/>
                  <a:gd name="connsiteX80" fmla="*/ 3831432 w 8971757"/>
                  <a:gd name="connsiteY80" fmla="*/ 4136231 h 4575969"/>
                  <a:gd name="connsiteX81" fmla="*/ 3950494 w 8971757"/>
                  <a:gd name="connsiteY81" fmla="*/ 4207669 h 4575969"/>
                  <a:gd name="connsiteX82" fmla="*/ 4010025 w 8971757"/>
                  <a:gd name="connsiteY82" fmla="*/ 4191000 h 4575969"/>
                  <a:gd name="connsiteX83" fmla="*/ 4360068 w 8971757"/>
                  <a:gd name="connsiteY83" fmla="*/ 4364831 h 4575969"/>
                  <a:gd name="connsiteX84" fmla="*/ 4586288 w 8971757"/>
                  <a:gd name="connsiteY84" fmla="*/ 4336256 h 4575969"/>
                  <a:gd name="connsiteX85" fmla="*/ 4595813 w 8971757"/>
                  <a:gd name="connsiteY85" fmla="*/ 4414837 h 4575969"/>
                  <a:gd name="connsiteX86" fmla="*/ 4681538 w 8971757"/>
                  <a:gd name="connsiteY86" fmla="*/ 4410074 h 4575969"/>
                  <a:gd name="connsiteX87" fmla="*/ 4760119 w 8971757"/>
                  <a:gd name="connsiteY87" fmla="*/ 4441031 h 4575969"/>
                  <a:gd name="connsiteX88" fmla="*/ 4802981 w 8971757"/>
                  <a:gd name="connsiteY88" fmla="*/ 4381500 h 4575969"/>
                  <a:gd name="connsiteX89" fmla="*/ 5474494 w 8971757"/>
                  <a:gd name="connsiteY89" fmla="*/ 4062412 h 4575969"/>
                  <a:gd name="connsiteX90" fmla="*/ 5562600 w 8971757"/>
                  <a:gd name="connsiteY90" fmla="*/ 4090988 h 4575969"/>
                  <a:gd name="connsiteX91" fmla="*/ 5693569 w 8971757"/>
                  <a:gd name="connsiteY91" fmla="*/ 4062412 h 4575969"/>
                  <a:gd name="connsiteX92" fmla="*/ 5872162 w 8971757"/>
                  <a:gd name="connsiteY92" fmla="*/ 4079081 h 4575969"/>
                  <a:gd name="connsiteX93" fmla="*/ 5929313 w 8971757"/>
                  <a:gd name="connsiteY93" fmla="*/ 4052888 h 4575969"/>
                  <a:gd name="connsiteX94" fmla="*/ 6062662 w 8971757"/>
                  <a:gd name="connsiteY94" fmla="*/ 4050506 h 4575969"/>
                  <a:gd name="connsiteX95" fmla="*/ 6196012 w 8971757"/>
                  <a:gd name="connsiteY95" fmla="*/ 3952875 h 4575969"/>
                  <a:gd name="connsiteX96" fmla="*/ 6262687 w 8971757"/>
                  <a:gd name="connsiteY96" fmla="*/ 3945731 h 4575969"/>
                  <a:gd name="connsiteX97" fmla="*/ 6360319 w 8971757"/>
                  <a:gd name="connsiteY97" fmla="*/ 3871912 h 4575969"/>
                  <a:gd name="connsiteX98" fmla="*/ 6434138 w 8971757"/>
                  <a:gd name="connsiteY98" fmla="*/ 3802856 h 4575969"/>
                  <a:gd name="connsiteX99" fmla="*/ 6443663 w 8971757"/>
                  <a:gd name="connsiteY99" fmla="*/ 3740944 h 4575969"/>
                  <a:gd name="connsiteX100" fmla="*/ 6477000 w 8971757"/>
                  <a:gd name="connsiteY100" fmla="*/ 3671887 h 4575969"/>
                  <a:gd name="connsiteX101" fmla="*/ 6629400 w 8971757"/>
                  <a:gd name="connsiteY101" fmla="*/ 3564731 h 4575969"/>
                  <a:gd name="connsiteX102" fmla="*/ 6662738 w 8971757"/>
                  <a:gd name="connsiteY102" fmla="*/ 3569494 h 4575969"/>
                  <a:gd name="connsiteX103" fmla="*/ 6715125 w 8971757"/>
                  <a:gd name="connsiteY103" fmla="*/ 3490912 h 4575969"/>
                  <a:gd name="connsiteX104" fmla="*/ 6762750 w 8971757"/>
                  <a:gd name="connsiteY104" fmla="*/ 3452812 h 4575969"/>
                  <a:gd name="connsiteX105" fmla="*/ 6748463 w 8971757"/>
                  <a:gd name="connsiteY105" fmla="*/ 3383756 h 4575969"/>
                  <a:gd name="connsiteX106" fmla="*/ 6698456 w 8971757"/>
                  <a:gd name="connsiteY106" fmla="*/ 3352799 h 4575969"/>
                  <a:gd name="connsiteX107" fmla="*/ 6638925 w 8971757"/>
                  <a:gd name="connsiteY107" fmla="*/ 3298031 h 4575969"/>
                  <a:gd name="connsiteX108" fmla="*/ 6619875 w 8971757"/>
                  <a:gd name="connsiteY108" fmla="*/ 3240881 h 4575969"/>
                  <a:gd name="connsiteX109" fmla="*/ 6584156 w 8971757"/>
                  <a:gd name="connsiteY109" fmla="*/ 3207544 h 4575969"/>
                  <a:gd name="connsiteX110" fmla="*/ 6610350 w 8971757"/>
                  <a:gd name="connsiteY110" fmla="*/ 3155156 h 4575969"/>
                  <a:gd name="connsiteX111" fmla="*/ 6650831 w 8971757"/>
                  <a:gd name="connsiteY111" fmla="*/ 2976562 h 4575969"/>
                  <a:gd name="connsiteX112" fmla="*/ 6691313 w 8971757"/>
                  <a:gd name="connsiteY112" fmla="*/ 2909887 h 4575969"/>
                  <a:gd name="connsiteX113" fmla="*/ 6836569 w 8971757"/>
                  <a:gd name="connsiteY113" fmla="*/ 2893218 h 4575969"/>
                  <a:gd name="connsiteX114" fmla="*/ 6905625 w 8971757"/>
                  <a:gd name="connsiteY114" fmla="*/ 2950369 h 4575969"/>
                  <a:gd name="connsiteX115" fmla="*/ 6981825 w 8971757"/>
                  <a:gd name="connsiteY115" fmla="*/ 2974181 h 4575969"/>
                  <a:gd name="connsiteX116" fmla="*/ 7186612 w 8971757"/>
                  <a:gd name="connsiteY116" fmla="*/ 2978944 h 4575969"/>
                  <a:gd name="connsiteX117" fmla="*/ 7362825 w 8971757"/>
                  <a:gd name="connsiteY117" fmla="*/ 2840831 h 4575969"/>
                  <a:gd name="connsiteX118" fmla="*/ 7419975 w 8971757"/>
                  <a:gd name="connsiteY118" fmla="*/ 2750343 h 4575969"/>
                  <a:gd name="connsiteX119" fmla="*/ 7446169 w 8971757"/>
                  <a:gd name="connsiteY119" fmla="*/ 2667000 h 4575969"/>
                  <a:gd name="connsiteX120" fmla="*/ 7577137 w 8971757"/>
                  <a:gd name="connsiteY120" fmla="*/ 2667000 h 4575969"/>
                  <a:gd name="connsiteX121" fmla="*/ 7750969 w 8971757"/>
                  <a:gd name="connsiteY121" fmla="*/ 2609849 h 4575969"/>
                  <a:gd name="connsiteX122" fmla="*/ 7810500 w 8971757"/>
                  <a:gd name="connsiteY122" fmla="*/ 2497931 h 4575969"/>
                  <a:gd name="connsiteX123" fmla="*/ 7874794 w 8971757"/>
                  <a:gd name="connsiteY123" fmla="*/ 2462212 h 4575969"/>
                  <a:gd name="connsiteX124" fmla="*/ 7853363 w 8971757"/>
                  <a:gd name="connsiteY124" fmla="*/ 2416969 h 4575969"/>
                  <a:gd name="connsiteX125" fmla="*/ 7931944 w 8971757"/>
                  <a:gd name="connsiteY125" fmla="*/ 2247899 h 4575969"/>
                  <a:gd name="connsiteX126" fmla="*/ 7986713 w 8971757"/>
                  <a:gd name="connsiteY126" fmla="*/ 2188369 h 4575969"/>
                  <a:gd name="connsiteX127" fmla="*/ 8024813 w 8971757"/>
                  <a:gd name="connsiteY127" fmla="*/ 2183606 h 4575969"/>
                  <a:gd name="connsiteX128" fmla="*/ 8070056 w 8971757"/>
                  <a:gd name="connsiteY128" fmla="*/ 2188369 h 4575969"/>
                  <a:gd name="connsiteX129" fmla="*/ 8134350 w 8971757"/>
                  <a:gd name="connsiteY129" fmla="*/ 2155031 h 4575969"/>
                  <a:gd name="connsiteX130" fmla="*/ 8143875 w 8971757"/>
                  <a:gd name="connsiteY130" fmla="*/ 2090737 h 4575969"/>
                  <a:gd name="connsiteX131" fmla="*/ 8184355 w 8971757"/>
                  <a:gd name="connsiteY131" fmla="*/ 2055019 h 4575969"/>
                  <a:gd name="connsiteX132" fmla="*/ 8243888 w 8971757"/>
                  <a:gd name="connsiteY132" fmla="*/ 2095499 h 4575969"/>
                  <a:gd name="connsiteX133" fmla="*/ 8270082 w 8971757"/>
                  <a:gd name="connsiteY133" fmla="*/ 2045493 h 4575969"/>
                  <a:gd name="connsiteX134" fmla="*/ 8365331 w 8971757"/>
                  <a:gd name="connsiteY134" fmla="*/ 1976437 h 4575969"/>
                  <a:gd name="connsiteX135" fmla="*/ 8427244 w 8971757"/>
                  <a:gd name="connsiteY135" fmla="*/ 1983581 h 4575969"/>
                  <a:gd name="connsiteX136" fmla="*/ 8477250 w 8971757"/>
                  <a:gd name="connsiteY136" fmla="*/ 1964531 h 4575969"/>
                  <a:gd name="connsiteX137" fmla="*/ 8515350 w 8971757"/>
                  <a:gd name="connsiteY137" fmla="*/ 1935956 h 4575969"/>
                  <a:gd name="connsiteX138" fmla="*/ 8548688 w 8971757"/>
                  <a:gd name="connsiteY138" fmla="*/ 1933575 h 4575969"/>
                  <a:gd name="connsiteX139" fmla="*/ 8584406 w 8971757"/>
                  <a:gd name="connsiteY139" fmla="*/ 1964531 h 4575969"/>
                  <a:gd name="connsiteX140" fmla="*/ 8643938 w 8971757"/>
                  <a:gd name="connsiteY140" fmla="*/ 1964531 h 4575969"/>
                  <a:gd name="connsiteX141" fmla="*/ 8682037 w 8971757"/>
                  <a:gd name="connsiteY141" fmla="*/ 1945481 h 4575969"/>
                  <a:gd name="connsiteX142" fmla="*/ 8765381 w 8971757"/>
                  <a:gd name="connsiteY142" fmla="*/ 1947863 h 4575969"/>
                  <a:gd name="connsiteX143" fmla="*/ 8796338 w 8971757"/>
                  <a:gd name="connsiteY143" fmla="*/ 1902619 h 4575969"/>
                  <a:gd name="connsiteX144" fmla="*/ 8801100 w 8971757"/>
                  <a:gd name="connsiteY144" fmla="*/ 1840706 h 4575969"/>
                  <a:gd name="connsiteX145" fmla="*/ 8751093 w 8971757"/>
                  <a:gd name="connsiteY145" fmla="*/ 1800225 h 4575969"/>
                  <a:gd name="connsiteX146" fmla="*/ 8734425 w 8971757"/>
                  <a:gd name="connsiteY146" fmla="*/ 1745456 h 4575969"/>
                  <a:gd name="connsiteX147" fmla="*/ 8643938 w 8971757"/>
                  <a:gd name="connsiteY147" fmla="*/ 1683544 h 4575969"/>
                  <a:gd name="connsiteX148" fmla="*/ 8603456 w 8971757"/>
                  <a:gd name="connsiteY148" fmla="*/ 1662112 h 4575969"/>
                  <a:gd name="connsiteX149" fmla="*/ 8565356 w 8971757"/>
                  <a:gd name="connsiteY149" fmla="*/ 1616869 h 4575969"/>
                  <a:gd name="connsiteX150" fmla="*/ 8534400 w 8971757"/>
                  <a:gd name="connsiteY150" fmla="*/ 1614487 h 4575969"/>
                  <a:gd name="connsiteX151" fmla="*/ 8517731 w 8971757"/>
                  <a:gd name="connsiteY151" fmla="*/ 1562100 h 4575969"/>
                  <a:gd name="connsiteX152" fmla="*/ 8477250 w 8971757"/>
                  <a:gd name="connsiteY152" fmla="*/ 1545431 h 4575969"/>
                  <a:gd name="connsiteX153" fmla="*/ 8477250 w 8971757"/>
                  <a:gd name="connsiteY153" fmla="*/ 1545431 h 4575969"/>
                  <a:gd name="connsiteX154" fmla="*/ 8436769 w 8971757"/>
                  <a:gd name="connsiteY154" fmla="*/ 1550194 h 4575969"/>
                  <a:gd name="connsiteX155" fmla="*/ 8351043 w 8971757"/>
                  <a:gd name="connsiteY155" fmla="*/ 1476375 h 4575969"/>
                  <a:gd name="connsiteX156" fmla="*/ 8170069 w 8971757"/>
                  <a:gd name="connsiteY156" fmla="*/ 1476374 h 4575969"/>
                  <a:gd name="connsiteX157" fmla="*/ 8117681 w 8971757"/>
                  <a:gd name="connsiteY157" fmla="*/ 1514475 h 4575969"/>
                  <a:gd name="connsiteX158" fmla="*/ 8067675 w 8971757"/>
                  <a:gd name="connsiteY158" fmla="*/ 1593056 h 4575969"/>
                  <a:gd name="connsiteX159" fmla="*/ 8084344 w 8971757"/>
                  <a:gd name="connsiteY159" fmla="*/ 1614487 h 4575969"/>
                  <a:gd name="connsiteX160" fmla="*/ 8039100 w 8971757"/>
                  <a:gd name="connsiteY160" fmla="*/ 1664493 h 4575969"/>
                  <a:gd name="connsiteX161" fmla="*/ 7889081 w 8971757"/>
                  <a:gd name="connsiteY161" fmla="*/ 1588293 h 4575969"/>
                  <a:gd name="connsiteX162" fmla="*/ 7798594 w 8971757"/>
                  <a:gd name="connsiteY162" fmla="*/ 1624012 h 4575969"/>
                  <a:gd name="connsiteX163" fmla="*/ 7724775 w 8971757"/>
                  <a:gd name="connsiteY163" fmla="*/ 1621631 h 4575969"/>
                  <a:gd name="connsiteX164" fmla="*/ 7667625 w 8971757"/>
                  <a:gd name="connsiteY164" fmla="*/ 1716881 h 4575969"/>
                  <a:gd name="connsiteX165" fmla="*/ 7529513 w 8971757"/>
                  <a:gd name="connsiteY165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332069 w 8971757"/>
                  <a:gd name="connsiteY14" fmla="*/ 202031 h 4575969"/>
                  <a:gd name="connsiteX15" fmla="*/ 8412956 w 8971757"/>
                  <a:gd name="connsiteY15" fmla="*/ 23812 h 4575969"/>
                  <a:gd name="connsiteX16" fmla="*/ 8949531 w 8971757"/>
                  <a:gd name="connsiteY16" fmla="*/ 0 h 4575969"/>
                  <a:gd name="connsiteX17" fmla="*/ 8971757 w 8971757"/>
                  <a:gd name="connsiteY17" fmla="*/ 4575969 h 4575969"/>
                  <a:gd name="connsiteX18" fmla="*/ 2381 w 8971757"/>
                  <a:gd name="connsiteY18" fmla="*/ 4547392 h 4575969"/>
                  <a:gd name="connsiteX19" fmla="*/ 0 w 8971757"/>
                  <a:gd name="connsiteY19" fmla="*/ 845344 h 4575969"/>
                  <a:gd name="connsiteX20" fmla="*/ 76200 w 8971757"/>
                  <a:gd name="connsiteY20" fmla="*/ 828675 h 4575969"/>
                  <a:gd name="connsiteX21" fmla="*/ 119063 w 8971757"/>
                  <a:gd name="connsiteY21" fmla="*/ 857250 h 4575969"/>
                  <a:gd name="connsiteX22" fmla="*/ 215900 w 8971757"/>
                  <a:gd name="connsiteY22" fmla="*/ 848519 h 4575969"/>
                  <a:gd name="connsiteX23" fmla="*/ 261938 w 8971757"/>
                  <a:gd name="connsiteY23" fmla="*/ 876299 h 4575969"/>
                  <a:gd name="connsiteX24" fmla="*/ 228600 w 8971757"/>
                  <a:gd name="connsiteY24" fmla="*/ 904875 h 4575969"/>
                  <a:gd name="connsiteX25" fmla="*/ 233363 w 8971757"/>
                  <a:gd name="connsiteY25" fmla="*/ 947737 h 4575969"/>
                  <a:gd name="connsiteX26" fmla="*/ 200025 w 8971757"/>
                  <a:gd name="connsiteY26" fmla="*/ 952500 h 4575969"/>
                  <a:gd name="connsiteX27" fmla="*/ 204788 w 8971757"/>
                  <a:gd name="connsiteY27" fmla="*/ 976312 h 4575969"/>
                  <a:gd name="connsiteX28" fmla="*/ 261937 w 8971757"/>
                  <a:gd name="connsiteY28" fmla="*/ 1050131 h 4575969"/>
                  <a:gd name="connsiteX29" fmla="*/ 223838 w 8971757"/>
                  <a:gd name="connsiteY29" fmla="*/ 1097756 h 4575969"/>
                  <a:gd name="connsiteX30" fmla="*/ 278606 w 8971757"/>
                  <a:gd name="connsiteY30" fmla="*/ 1133475 h 4575969"/>
                  <a:gd name="connsiteX31" fmla="*/ 369094 w 8971757"/>
                  <a:gd name="connsiteY31" fmla="*/ 1221581 h 4575969"/>
                  <a:gd name="connsiteX32" fmla="*/ 371475 w 8971757"/>
                  <a:gd name="connsiteY32" fmla="*/ 1281112 h 4575969"/>
                  <a:gd name="connsiteX33" fmla="*/ 507206 w 8971757"/>
                  <a:gd name="connsiteY33" fmla="*/ 1414463 h 4575969"/>
                  <a:gd name="connsiteX34" fmla="*/ 561975 w 8971757"/>
                  <a:gd name="connsiteY34" fmla="*/ 1390650 h 4575969"/>
                  <a:gd name="connsiteX35" fmla="*/ 600075 w 8971757"/>
                  <a:gd name="connsiteY35" fmla="*/ 1416843 h 4575969"/>
                  <a:gd name="connsiteX36" fmla="*/ 614363 w 8971757"/>
                  <a:gd name="connsiteY36" fmla="*/ 1466849 h 4575969"/>
                  <a:gd name="connsiteX37" fmla="*/ 657225 w 8971757"/>
                  <a:gd name="connsiteY37" fmla="*/ 1502569 h 4575969"/>
                  <a:gd name="connsiteX38" fmla="*/ 697706 w 8971757"/>
                  <a:gd name="connsiteY38" fmla="*/ 1490662 h 4575969"/>
                  <a:gd name="connsiteX39" fmla="*/ 716756 w 8971757"/>
                  <a:gd name="connsiteY39" fmla="*/ 1547812 h 4575969"/>
                  <a:gd name="connsiteX40" fmla="*/ 764381 w 8971757"/>
                  <a:gd name="connsiteY40" fmla="*/ 1590675 h 4575969"/>
                  <a:gd name="connsiteX41" fmla="*/ 788194 w 8971757"/>
                  <a:gd name="connsiteY41" fmla="*/ 1693069 h 4575969"/>
                  <a:gd name="connsiteX42" fmla="*/ 785813 w 8971757"/>
                  <a:gd name="connsiteY42" fmla="*/ 1740694 h 4575969"/>
                  <a:gd name="connsiteX43" fmla="*/ 821531 w 8971757"/>
                  <a:gd name="connsiteY43" fmla="*/ 1840706 h 4575969"/>
                  <a:gd name="connsiteX44" fmla="*/ 866775 w 8971757"/>
                  <a:gd name="connsiteY44" fmla="*/ 1897856 h 4575969"/>
                  <a:gd name="connsiteX45" fmla="*/ 883443 w 8971757"/>
                  <a:gd name="connsiteY45" fmla="*/ 2055018 h 4575969"/>
                  <a:gd name="connsiteX46" fmla="*/ 850106 w 8971757"/>
                  <a:gd name="connsiteY46" fmla="*/ 2116931 h 4575969"/>
                  <a:gd name="connsiteX47" fmla="*/ 819150 w 8971757"/>
                  <a:gd name="connsiteY47" fmla="*/ 2193131 h 4575969"/>
                  <a:gd name="connsiteX48" fmla="*/ 833438 w 8971757"/>
                  <a:gd name="connsiteY48" fmla="*/ 2250281 h 4575969"/>
                  <a:gd name="connsiteX49" fmla="*/ 735806 w 8971757"/>
                  <a:gd name="connsiteY49" fmla="*/ 2357438 h 4575969"/>
                  <a:gd name="connsiteX50" fmla="*/ 692944 w 8971757"/>
                  <a:gd name="connsiteY50" fmla="*/ 2471737 h 4575969"/>
                  <a:gd name="connsiteX51" fmla="*/ 726281 w 8971757"/>
                  <a:gd name="connsiteY51" fmla="*/ 2512219 h 4575969"/>
                  <a:gd name="connsiteX52" fmla="*/ 709613 w 8971757"/>
                  <a:gd name="connsiteY52" fmla="*/ 2540794 h 4575969"/>
                  <a:gd name="connsiteX53" fmla="*/ 740569 w 8971757"/>
                  <a:gd name="connsiteY53" fmla="*/ 2597944 h 4575969"/>
                  <a:gd name="connsiteX54" fmla="*/ 769144 w 8971757"/>
                  <a:gd name="connsiteY54" fmla="*/ 2597944 h 4575969"/>
                  <a:gd name="connsiteX55" fmla="*/ 931069 w 8971757"/>
                  <a:gd name="connsiteY55" fmla="*/ 2700337 h 4575969"/>
                  <a:gd name="connsiteX56" fmla="*/ 1035844 w 8971757"/>
                  <a:gd name="connsiteY56" fmla="*/ 2697956 h 4575969"/>
                  <a:gd name="connsiteX57" fmla="*/ 1114425 w 8971757"/>
                  <a:gd name="connsiteY57" fmla="*/ 2752725 h 4575969"/>
                  <a:gd name="connsiteX58" fmla="*/ 1245393 w 8971757"/>
                  <a:gd name="connsiteY58" fmla="*/ 2755106 h 4575969"/>
                  <a:gd name="connsiteX59" fmla="*/ 1435893 w 8971757"/>
                  <a:gd name="connsiteY59" fmla="*/ 2824162 h 4575969"/>
                  <a:gd name="connsiteX60" fmla="*/ 1638300 w 8971757"/>
                  <a:gd name="connsiteY60" fmla="*/ 2974181 h 4575969"/>
                  <a:gd name="connsiteX61" fmla="*/ 1671637 w 8971757"/>
                  <a:gd name="connsiteY61" fmla="*/ 3040856 h 4575969"/>
                  <a:gd name="connsiteX62" fmla="*/ 1838325 w 8971757"/>
                  <a:gd name="connsiteY62" fmla="*/ 3167062 h 4575969"/>
                  <a:gd name="connsiteX63" fmla="*/ 1909763 w 8971757"/>
                  <a:gd name="connsiteY63" fmla="*/ 3162300 h 4575969"/>
                  <a:gd name="connsiteX64" fmla="*/ 1945482 w 8971757"/>
                  <a:gd name="connsiteY64" fmla="*/ 3186112 h 4575969"/>
                  <a:gd name="connsiteX65" fmla="*/ 1916906 w 8971757"/>
                  <a:gd name="connsiteY65" fmla="*/ 3226594 h 4575969"/>
                  <a:gd name="connsiteX66" fmla="*/ 1924050 w 8971757"/>
                  <a:gd name="connsiteY66" fmla="*/ 3278981 h 4575969"/>
                  <a:gd name="connsiteX67" fmla="*/ 1976438 w 8971757"/>
                  <a:gd name="connsiteY67" fmla="*/ 3305175 h 4575969"/>
                  <a:gd name="connsiteX68" fmla="*/ 2038350 w 8971757"/>
                  <a:gd name="connsiteY68" fmla="*/ 3529013 h 4575969"/>
                  <a:gd name="connsiteX69" fmla="*/ 2028825 w 8971757"/>
                  <a:gd name="connsiteY69" fmla="*/ 3593306 h 4575969"/>
                  <a:gd name="connsiteX70" fmla="*/ 2164556 w 8971757"/>
                  <a:gd name="connsiteY70" fmla="*/ 3759994 h 4575969"/>
                  <a:gd name="connsiteX71" fmla="*/ 2183606 w 8971757"/>
                  <a:gd name="connsiteY71" fmla="*/ 3810000 h 4575969"/>
                  <a:gd name="connsiteX72" fmla="*/ 2157413 w 8971757"/>
                  <a:gd name="connsiteY72" fmla="*/ 3829050 h 4575969"/>
                  <a:gd name="connsiteX73" fmla="*/ 2259806 w 8971757"/>
                  <a:gd name="connsiteY73" fmla="*/ 3838575 h 4575969"/>
                  <a:gd name="connsiteX74" fmla="*/ 2371725 w 8971757"/>
                  <a:gd name="connsiteY74" fmla="*/ 3826669 h 4575969"/>
                  <a:gd name="connsiteX75" fmla="*/ 2650331 w 8971757"/>
                  <a:gd name="connsiteY75" fmla="*/ 3910012 h 4575969"/>
                  <a:gd name="connsiteX76" fmla="*/ 3057525 w 8971757"/>
                  <a:gd name="connsiteY76" fmla="*/ 3990975 h 4575969"/>
                  <a:gd name="connsiteX77" fmla="*/ 3255169 w 8971757"/>
                  <a:gd name="connsiteY77" fmla="*/ 3960018 h 4575969"/>
                  <a:gd name="connsiteX78" fmla="*/ 3300413 w 8971757"/>
                  <a:gd name="connsiteY78" fmla="*/ 3971924 h 4575969"/>
                  <a:gd name="connsiteX79" fmla="*/ 3355181 w 8971757"/>
                  <a:gd name="connsiteY79" fmla="*/ 3948113 h 4575969"/>
                  <a:gd name="connsiteX80" fmla="*/ 3748087 w 8971757"/>
                  <a:gd name="connsiteY80" fmla="*/ 4038600 h 4575969"/>
                  <a:gd name="connsiteX81" fmla="*/ 3831432 w 8971757"/>
                  <a:gd name="connsiteY81" fmla="*/ 4136231 h 4575969"/>
                  <a:gd name="connsiteX82" fmla="*/ 3950494 w 8971757"/>
                  <a:gd name="connsiteY82" fmla="*/ 4207669 h 4575969"/>
                  <a:gd name="connsiteX83" fmla="*/ 4010025 w 8971757"/>
                  <a:gd name="connsiteY83" fmla="*/ 4191000 h 4575969"/>
                  <a:gd name="connsiteX84" fmla="*/ 4360068 w 8971757"/>
                  <a:gd name="connsiteY84" fmla="*/ 4364831 h 4575969"/>
                  <a:gd name="connsiteX85" fmla="*/ 4586288 w 8971757"/>
                  <a:gd name="connsiteY85" fmla="*/ 4336256 h 4575969"/>
                  <a:gd name="connsiteX86" fmla="*/ 4595813 w 8971757"/>
                  <a:gd name="connsiteY86" fmla="*/ 4414837 h 4575969"/>
                  <a:gd name="connsiteX87" fmla="*/ 4681538 w 8971757"/>
                  <a:gd name="connsiteY87" fmla="*/ 4410074 h 4575969"/>
                  <a:gd name="connsiteX88" fmla="*/ 4760119 w 8971757"/>
                  <a:gd name="connsiteY88" fmla="*/ 4441031 h 4575969"/>
                  <a:gd name="connsiteX89" fmla="*/ 4802981 w 8971757"/>
                  <a:gd name="connsiteY89" fmla="*/ 4381500 h 4575969"/>
                  <a:gd name="connsiteX90" fmla="*/ 5474494 w 8971757"/>
                  <a:gd name="connsiteY90" fmla="*/ 4062412 h 4575969"/>
                  <a:gd name="connsiteX91" fmla="*/ 5562600 w 8971757"/>
                  <a:gd name="connsiteY91" fmla="*/ 4090988 h 4575969"/>
                  <a:gd name="connsiteX92" fmla="*/ 5693569 w 8971757"/>
                  <a:gd name="connsiteY92" fmla="*/ 4062412 h 4575969"/>
                  <a:gd name="connsiteX93" fmla="*/ 5872162 w 8971757"/>
                  <a:gd name="connsiteY93" fmla="*/ 4079081 h 4575969"/>
                  <a:gd name="connsiteX94" fmla="*/ 5929313 w 8971757"/>
                  <a:gd name="connsiteY94" fmla="*/ 4052888 h 4575969"/>
                  <a:gd name="connsiteX95" fmla="*/ 6062662 w 8971757"/>
                  <a:gd name="connsiteY95" fmla="*/ 4050506 h 4575969"/>
                  <a:gd name="connsiteX96" fmla="*/ 6196012 w 8971757"/>
                  <a:gd name="connsiteY96" fmla="*/ 3952875 h 4575969"/>
                  <a:gd name="connsiteX97" fmla="*/ 6262687 w 8971757"/>
                  <a:gd name="connsiteY97" fmla="*/ 3945731 h 4575969"/>
                  <a:gd name="connsiteX98" fmla="*/ 6360319 w 8971757"/>
                  <a:gd name="connsiteY98" fmla="*/ 3871912 h 4575969"/>
                  <a:gd name="connsiteX99" fmla="*/ 6434138 w 8971757"/>
                  <a:gd name="connsiteY99" fmla="*/ 3802856 h 4575969"/>
                  <a:gd name="connsiteX100" fmla="*/ 6443663 w 8971757"/>
                  <a:gd name="connsiteY100" fmla="*/ 3740944 h 4575969"/>
                  <a:gd name="connsiteX101" fmla="*/ 6477000 w 8971757"/>
                  <a:gd name="connsiteY101" fmla="*/ 3671887 h 4575969"/>
                  <a:gd name="connsiteX102" fmla="*/ 6629400 w 8971757"/>
                  <a:gd name="connsiteY102" fmla="*/ 3564731 h 4575969"/>
                  <a:gd name="connsiteX103" fmla="*/ 6662738 w 8971757"/>
                  <a:gd name="connsiteY103" fmla="*/ 3569494 h 4575969"/>
                  <a:gd name="connsiteX104" fmla="*/ 6715125 w 8971757"/>
                  <a:gd name="connsiteY104" fmla="*/ 3490912 h 4575969"/>
                  <a:gd name="connsiteX105" fmla="*/ 6762750 w 8971757"/>
                  <a:gd name="connsiteY105" fmla="*/ 3452812 h 4575969"/>
                  <a:gd name="connsiteX106" fmla="*/ 6748463 w 8971757"/>
                  <a:gd name="connsiteY106" fmla="*/ 3383756 h 4575969"/>
                  <a:gd name="connsiteX107" fmla="*/ 6698456 w 8971757"/>
                  <a:gd name="connsiteY107" fmla="*/ 3352799 h 4575969"/>
                  <a:gd name="connsiteX108" fmla="*/ 6638925 w 8971757"/>
                  <a:gd name="connsiteY108" fmla="*/ 3298031 h 4575969"/>
                  <a:gd name="connsiteX109" fmla="*/ 6619875 w 8971757"/>
                  <a:gd name="connsiteY109" fmla="*/ 3240881 h 4575969"/>
                  <a:gd name="connsiteX110" fmla="*/ 6584156 w 8971757"/>
                  <a:gd name="connsiteY110" fmla="*/ 3207544 h 4575969"/>
                  <a:gd name="connsiteX111" fmla="*/ 6610350 w 8971757"/>
                  <a:gd name="connsiteY111" fmla="*/ 3155156 h 4575969"/>
                  <a:gd name="connsiteX112" fmla="*/ 6650831 w 8971757"/>
                  <a:gd name="connsiteY112" fmla="*/ 2976562 h 4575969"/>
                  <a:gd name="connsiteX113" fmla="*/ 6691313 w 8971757"/>
                  <a:gd name="connsiteY113" fmla="*/ 2909887 h 4575969"/>
                  <a:gd name="connsiteX114" fmla="*/ 6836569 w 8971757"/>
                  <a:gd name="connsiteY114" fmla="*/ 2893218 h 4575969"/>
                  <a:gd name="connsiteX115" fmla="*/ 6905625 w 8971757"/>
                  <a:gd name="connsiteY115" fmla="*/ 2950369 h 4575969"/>
                  <a:gd name="connsiteX116" fmla="*/ 6981825 w 8971757"/>
                  <a:gd name="connsiteY116" fmla="*/ 2974181 h 4575969"/>
                  <a:gd name="connsiteX117" fmla="*/ 7186612 w 8971757"/>
                  <a:gd name="connsiteY117" fmla="*/ 2978944 h 4575969"/>
                  <a:gd name="connsiteX118" fmla="*/ 7362825 w 8971757"/>
                  <a:gd name="connsiteY118" fmla="*/ 2840831 h 4575969"/>
                  <a:gd name="connsiteX119" fmla="*/ 7419975 w 8971757"/>
                  <a:gd name="connsiteY119" fmla="*/ 2750343 h 4575969"/>
                  <a:gd name="connsiteX120" fmla="*/ 7446169 w 8971757"/>
                  <a:gd name="connsiteY120" fmla="*/ 2667000 h 4575969"/>
                  <a:gd name="connsiteX121" fmla="*/ 7577137 w 8971757"/>
                  <a:gd name="connsiteY121" fmla="*/ 2667000 h 4575969"/>
                  <a:gd name="connsiteX122" fmla="*/ 7750969 w 8971757"/>
                  <a:gd name="connsiteY122" fmla="*/ 2609849 h 4575969"/>
                  <a:gd name="connsiteX123" fmla="*/ 7810500 w 8971757"/>
                  <a:gd name="connsiteY123" fmla="*/ 2497931 h 4575969"/>
                  <a:gd name="connsiteX124" fmla="*/ 7874794 w 8971757"/>
                  <a:gd name="connsiteY124" fmla="*/ 2462212 h 4575969"/>
                  <a:gd name="connsiteX125" fmla="*/ 7853363 w 8971757"/>
                  <a:gd name="connsiteY125" fmla="*/ 2416969 h 4575969"/>
                  <a:gd name="connsiteX126" fmla="*/ 7931944 w 8971757"/>
                  <a:gd name="connsiteY126" fmla="*/ 2247899 h 4575969"/>
                  <a:gd name="connsiteX127" fmla="*/ 7986713 w 8971757"/>
                  <a:gd name="connsiteY127" fmla="*/ 2188369 h 4575969"/>
                  <a:gd name="connsiteX128" fmla="*/ 8024813 w 8971757"/>
                  <a:gd name="connsiteY128" fmla="*/ 2183606 h 4575969"/>
                  <a:gd name="connsiteX129" fmla="*/ 8070056 w 8971757"/>
                  <a:gd name="connsiteY129" fmla="*/ 2188369 h 4575969"/>
                  <a:gd name="connsiteX130" fmla="*/ 8134350 w 8971757"/>
                  <a:gd name="connsiteY130" fmla="*/ 2155031 h 4575969"/>
                  <a:gd name="connsiteX131" fmla="*/ 8143875 w 8971757"/>
                  <a:gd name="connsiteY131" fmla="*/ 2090737 h 4575969"/>
                  <a:gd name="connsiteX132" fmla="*/ 8184355 w 8971757"/>
                  <a:gd name="connsiteY132" fmla="*/ 2055019 h 4575969"/>
                  <a:gd name="connsiteX133" fmla="*/ 8243888 w 8971757"/>
                  <a:gd name="connsiteY133" fmla="*/ 2095499 h 4575969"/>
                  <a:gd name="connsiteX134" fmla="*/ 8270082 w 8971757"/>
                  <a:gd name="connsiteY134" fmla="*/ 2045493 h 4575969"/>
                  <a:gd name="connsiteX135" fmla="*/ 8365331 w 8971757"/>
                  <a:gd name="connsiteY135" fmla="*/ 1976437 h 4575969"/>
                  <a:gd name="connsiteX136" fmla="*/ 8427244 w 8971757"/>
                  <a:gd name="connsiteY136" fmla="*/ 1983581 h 4575969"/>
                  <a:gd name="connsiteX137" fmla="*/ 8477250 w 8971757"/>
                  <a:gd name="connsiteY137" fmla="*/ 1964531 h 4575969"/>
                  <a:gd name="connsiteX138" fmla="*/ 8515350 w 8971757"/>
                  <a:gd name="connsiteY138" fmla="*/ 1935956 h 4575969"/>
                  <a:gd name="connsiteX139" fmla="*/ 8548688 w 8971757"/>
                  <a:gd name="connsiteY139" fmla="*/ 1933575 h 4575969"/>
                  <a:gd name="connsiteX140" fmla="*/ 8584406 w 8971757"/>
                  <a:gd name="connsiteY140" fmla="*/ 1964531 h 4575969"/>
                  <a:gd name="connsiteX141" fmla="*/ 8643938 w 8971757"/>
                  <a:gd name="connsiteY141" fmla="*/ 1964531 h 4575969"/>
                  <a:gd name="connsiteX142" fmla="*/ 8682037 w 8971757"/>
                  <a:gd name="connsiteY142" fmla="*/ 1945481 h 4575969"/>
                  <a:gd name="connsiteX143" fmla="*/ 8765381 w 8971757"/>
                  <a:gd name="connsiteY143" fmla="*/ 1947863 h 4575969"/>
                  <a:gd name="connsiteX144" fmla="*/ 8796338 w 8971757"/>
                  <a:gd name="connsiteY144" fmla="*/ 1902619 h 4575969"/>
                  <a:gd name="connsiteX145" fmla="*/ 8801100 w 8971757"/>
                  <a:gd name="connsiteY145" fmla="*/ 1840706 h 4575969"/>
                  <a:gd name="connsiteX146" fmla="*/ 8751093 w 8971757"/>
                  <a:gd name="connsiteY146" fmla="*/ 1800225 h 4575969"/>
                  <a:gd name="connsiteX147" fmla="*/ 8734425 w 8971757"/>
                  <a:gd name="connsiteY147" fmla="*/ 1745456 h 4575969"/>
                  <a:gd name="connsiteX148" fmla="*/ 8643938 w 8971757"/>
                  <a:gd name="connsiteY148" fmla="*/ 1683544 h 4575969"/>
                  <a:gd name="connsiteX149" fmla="*/ 8603456 w 8971757"/>
                  <a:gd name="connsiteY149" fmla="*/ 1662112 h 4575969"/>
                  <a:gd name="connsiteX150" fmla="*/ 8565356 w 8971757"/>
                  <a:gd name="connsiteY150" fmla="*/ 1616869 h 4575969"/>
                  <a:gd name="connsiteX151" fmla="*/ 8534400 w 8971757"/>
                  <a:gd name="connsiteY151" fmla="*/ 1614487 h 4575969"/>
                  <a:gd name="connsiteX152" fmla="*/ 8517731 w 8971757"/>
                  <a:gd name="connsiteY152" fmla="*/ 1562100 h 4575969"/>
                  <a:gd name="connsiteX153" fmla="*/ 8477250 w 8971757"/>
                  <a:gd name="connsiteY153" fmla="*/ 1545431 h 4575969"/>
                  <a:gd name="connsiteX154" fmla="*/ 8477250 w 8971757"/>
                  <a:gd name="connsiteY154" fmla="*/ 1545431 h 4575969"/>
                  <a:gd name="connsiteX155" fmla="*/ 8436769 w 8971757"/>
                  <a:gd name="connsiteY155" fmla="*/ 1550194 h 4575969"/>
                  <a:gd name="connsiteX156" fmla="*/ 8351043 w 8971757"/>
                  <a:gd name="connsiteY156" fmla="*/ 1476375 h 4575969"/>
                  <a:gd name="connsiteX157" fmla="*/ 8170069 w 8971757"/>
                  <a:gd name="connsiteY157" fmla="*/ 1476374 h 4575969"/>
                  <a:gd name="connsiteX158" fmla="*/ 8117681 w 8971757"/>
                  <a:gd name="connsiteY158" fmla="*/ 1514475 h 4575969"/>
                  <a:gd name="connsiteX159" fmla="*/ 8067675 w 8971757"/>
                  <a:gd name="connsiteY159" fmla="*/ 1593056 h 4575969"/>
                  <a:gd name="connsiteX160" fmla="*/ 8084344 w 8971757"/>
                  <a:gd name="connsiteY160" fmla="*/ 1614487 h 4575969"/>
                  <a:gd name="connsiteX161" fmla="*/ 8039100 w 8971757"/>
                  <a:gd name="connsiteY161" fmla="*/ 1664493 h 4575969"/>
                  <a:gd name="connsiteX162" fmla="*/ 7889081 w 8971757"/>
                  <a:gd name="connsiteY162" fmla="*/ 1588293 h 4575969"/>
                  <a:gd name="connsiteX163" fmla="*/ 7798594 w 8971757"/>
                  <a:gd name="connsiteY163" fmla="*/ 1624012 h 4575969"/>
                  <a:gd name="connsiteX164" fmla="*/ 7724775 w 8971757"/>
                  <a:gd name="connsiteY164" fmla="*/ 1621631 h 4575969"/>
                  <a:gd name="connsiteX165" fmla="*/ 7667625 w 8971757"/>
                  <a:gd name="connsiteY165" fmla="*/ 1716881 h 4575969"/>
                  <a:gd name="connsiteX166" fmla="*/ 7529513 w 8971757"/>
                  <a:gd name="connsiteY16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182050 w 8971757"/>
                  <a:gd name="connsiteY14" fmla="*/ 406819 h 4575969"/>
                  <a:gd name="connsiteX15" fmla="*/ 8412956 w 8971757"/>
                  <a:gd name="connsiteY15" fmla="*/ 23812 h 4575969"/>
                  <a:gd name="connsiteX16" fmla="*/ 8949531 w 8971757"/>
                  <a:gd name="connsiteY16" fmla="*/ 0 h 4575969"/>
                  <a:gd name="connsiteX17" fmla="*/ 8971757 w 8971757"/>
                  <a:gd name="connsiteY17" fmla="*/ 4575969 h 4575969"/>
                  <a:gd name="connsiteX18" fmla="*/ 2381 w 8971757"/>
                  <a:gd name="connsiteY18" fmla="*/ 4547392 h 4575969"/>
                  <a:gd name="connsiteX19" fmla="*/ 0 w 8971757"/>
                  <a:gd name="connsiteY19" fmla="*/ 845344 h 4575969"/>
                  <a:gd name="connsiteX20" fmla="*/ 76200 w 8971757"/>
                  <a:gd name="connsiteY20" fmla="*/ 828675 h 4575969"/>
                  <a:gd name="connsiteX21" fmla="*/ 119063 w 8971757"/>
                  <a:gd name="connsiteY21" fmla="*/ 857250 h 4575969"/>
                  <a:gd name="connsiteX22" fmla="*/ 215900 w 8971757"/>
                  <a:gd name="connsiteY22" fmla="*/ 848519 h 4575969"/>
                  <a:gd name="connsiteX23" fmla="*/ 261938 w 8971757"/>
                  <a:gd name="connsiteY23" fmla="*/ 876299 h 4575969"/>
                  <a:gd name="connsiteX24" fmla="*/ 228600 w 8971757"/>
                  <a:gd name="connsiteY24" fmla="*/ 904875 h 4575969"/>
                  <a:gd name="connsiteX25" fmla="*/ 233363 w 8971757"/>
                  <a:gd name="connsiteY25" fmla="*/ 947737 h 4575969"/>
                  <a:gd name="connsiteX26" fmla="*/ 200025 w 8971757"/>
                  <a:gd name="connsiteY26" fmla="*/ 952500 h 4575969"/>
                  <a:gd name="connsiteX27" fmla="*/ 204788 w 8971757"/>
                  <a:gd name="connsiteY27" fmla="*/ 976312 h 4575969"/>
                  <a:gd name="connsiteX28" fmla="*/ 261937 w 8971757"/>
                  <a:gd name="connsiteY28" fmla="*/ 1050131 h 4575969"/>
                  <a:gd name="connsiteX29" fmla="*/ 223838 w 8971757"/>
                  <a:gd name="connsiteY29" fmla="*/ 1097756 h 4575969"/>
                  <a:gd name="connsiteX30" fmla="*/ 278606 w 8971757"/>
                  <a:gd name="connsiteY30" fmla="*/ 1133475 h 4575969"/>
                  <a:gd name="connsiteX31" fmla="*/ 369094 w 8971757"/>
                  <a:gd name="connsiteY31" fmla="*/ 1221581 h 4575969"/>
                  <a:gd name="connsiteX32" fmla="*/ 371475 w 8971757"/>
                  <a:gd name="connsiteY32" fmla="*/ 1281112 h 4575969"/>
                  <a:gd name="connsiteX33" fmla="*/ 507206 w 8971757"/>
                  <a:gd name="connsiteY33" fmla="*/ 1414463 h 4575969"/>
                  <a:gd name="connsiteX34" fmla="*/ 561975 w 8971757"/>
                  <a:gd name="connsiteY34" fmla="*/ 1390650 h 4575969"/>
                  <a:gd name="connsiteX35" fmla="*/ 600075 w 8971757"/>
                  <a:gd name="connsiteY35" fmla="*/ 1416843 h 4575969"/>
                  <a:gd name="connsiteX36" fmla="*/ 614363 w 8971757"/>
                  <a:gd name="connsiteY36" fmla="*/ 1466849 h 4575969"/>
                  <a:gd name="connsiteX37" fmla="*/ 657225 w 8971757"/>
                  <a:gd name="connsiteY37" fmla="*/ 1502569 h 4575969"/>
                  <a:gd name="connsiteX38" fmla="*/ 697706 w 8971757"/>
                  <a:gd name="connsiteY38" fmla="*/ 1490662 h 4575969"/>
                  <a:gd name="connsiteX39" fmla="*/ 716756 w 8971757"/>
                  <a:gd name="connsiteY39" fmla="*/ 1547812 h 4575969"/>
                  <a:gd name="connsiteX40" fmla="*/ 764381 w 8971757"/>
                  <a:gd name="connsiteY40" fmla="*/ 1590675 h 4575969"/>
                  <a:gd name="connsiteX41" fmla="*/ 788194 w 8971757"/>
                  <a:gd name="connsiteY41" fmla="*/ 1693069 h 4575969"/>
                  <a:gd name="connsiteX42" fmla="*/ 785813 w 8971757"/>
                  <a:gd name="connsiteY42" fmla="*/ 1740694 h 4575969"/>
                  <a:gd name="connsiteX43" fmla="*/ 821531 w 8971757"/>
                  <a:gd name="connsiteY43" fmla="*/ 1840706 h 4575969"/>
                  <a:gd name="connsiteX44" fmla="*/ 866775 w 8971757"/>
                  <a:gd name="connsiteY44" fmla="*/ 1897856 h 4575969"/>
                  <a:gd name="connsiteX45" fmla="*/ 883443 w 8971757"/>
                  <a:gd name="connsiteY45" fmla="*/ 2055018 h 4575969"/>
                  <a:gd name="connsiteX46" fmla="*/ 850106 w 8971757"/>
                  <a:gd name="connsiteY46" fmla="*/ 2116931 h 4575969"/>
                  <a:gd name="connsiteX47" fmla="*/ 819150 w 8971757"/>
                  <a:gd name="connsiteY47" fmla="*/ 2193131 h 4575969"/>
                  <a:gd name="connsiteX48" fmla="*/ 833438 w 8971757"/>
                  <a:gd name="connsiteY48" fmla="*/ 2250281 h 4575969"/>
                  <a:gd name="connsiteX49" fmla="*/ 735806 w 8971757"/>
                  <a:gd name="connsiteY49" fmla="*/ 2357438 h 4575969"/>
                  <a:gd name="connsiteX50" fmla="*/ 692944 w 8971757"/>
                  <a:gd name="connsiteY50" fmla="*/ 2471737 h 4575969"/>
                  <a:gd name="connsiteX51" fmla="*/ 726281 w 8971757"/>
                  <a:gd name="connsiteY51" fmla="*/ 2512219 h 4575969"/>
                  <a:gd name="connsiteX52" fmla="*/ 709613 w 8971757"/>
                  <a:gd name="connsiteY52" fmla="*/ 2540794 h 4575969"/>
                  <a:gd name="connsiteX53" fmla="*/ 740569 w 8971757"/>
                  <a:gd name="connsiteY53" fmla="*/ 2597944 h 4575969"/>
                  <a:gd name="connsiteX54" fmla="*/ 769144 w 8971757"/>
                  <a:gd name="connsiteY54" fmla="*/ 2597944 h 4575969"/>
                  <a:gd name="connsiteX55" fmla="*/ 931069 w 8971757"/>
                  <a:gd name="connsiteY55" fmla="*/ 2700337 h 4575969"/>
                  <a:gd name="connsiteX56" fmla="*/ 1035844 w 8971757"/>
                  <a:gd name="connsiteY56" fmla="*/ 2697956 h 4575969"/>
                  <a:gd name="connsiteX57" fmla="*/ 1114425 w 8971757"/>
                  <a:gd name="connsiteY57" fmla="*/ 2752725 h 4575969"/>
                  <a:gd name="connsiteX58" fmla="*/ 1245393 w 8971757"/>
                  <a:gd name="connsiteY58" fmla="*/ 2755106 h 4575969"/>
                  <a:gd name="connsiteX59" fmla="*/ 1435893 w 8971757"/>
                  <a:gd name="connsiteY59" fmla="*/ 2824162 h 4575969"/>
                  <a:gd name="connsiteX60" fmla="*/ 1638300 w 8971757"/>
                  <a:gd name="connsiteY60" fmla="*/ 2974181 h 4575969"/>
                  <a:gd name="connsiteX61" fmla="*/ 1671637 w 8971757"/>
                  <a:gd name="connsiteY61" fmla="*/ 3040856 h 4575969"/>
                  <a:gd name="connsiteX62" fmla="*/ 1838325 w 8971757"/>
                  <a:gd name="connsiteY62" fmla="*/ 3167062 h 4575969"/>
                  <a:gd name="connsiteX63" fmla="*/ 1909763 w 8971757"/>
                  <a:gd name="connsiteY63" fmla="*/ 3162300 h 4575969"/>
                  <a:gd name="connsiteX64" fmla="*/ 1945482 w 8971757"/>
                  <a:gd name="connsiteY64" fmla="*/ 3186112 h 4575969"/>
                  <a:gd name="connsiteX65" fmla="*/ 1916906 w 8971757"/>
                  <a:gd name="connsiteY65" fmla="*/ 3226594 h 4575969"/>
                  <a:gd name="connsiteX66" fmla="*/ 1924050 w 8971757"/>
                  <a:gd name="connsiteY66" fmla="*/ 3278981 h 4575969"/>
                  <a:gd name="connsiteX67" fmla="*/ 1976438 w 8971757"/>
                  <a:gd name="connsiteY67" fmla="*/ 3305175 h 4575969"/>
                  <a:gd name="connsiteX68" fmla="*/ 2038350 w 8971757"/>
                  <a:gd name="connsiteY68" fmla="*/ 3529013 h 4575969"/>
                  <a:gd name="connsiteX69" fmla="*/ 2028825 w 8971757"/>
                  <a:gd name="connsiteY69" fmla="*/ 3593306 h 4575969"/>
                  <a:gd name="connsiteX70" fmla="*/ 2164556 w 8971757"/>
                  <a:gd name="connsiteY70" fmla="*/ 3759994 h 4575969"/>
                  <a:gd name="connsiteX71" fmla="*/ 2183606 w 8971757"/>
                  <a:gd name="connsiteY71" fmla="*/ 3810000 h 4575969"/>
                  <a:gd name="connsiteX72" fmla="*/ 2157413 w 8971757"/>
                  <a:gd name="connsiteY72" fmla="*/ 3829050 h 4575969"/>
                  <a:gd name="connsiteX73" fmla="*/ 2259806 w 8971757"/>
                  <a:gd name="connsiteY73" fmla="*/ 3838575 h 4575969"/>
                  <a:gd name="connsiteX74" fmla="*/ 2371725 w 8971757"/>
                  <a:gd name="connsiteY74" fmla="*/ 3826669 h 4575969"/>
                  <a:gd name="connsiteX75" fmla="*/ 2650331 w 8971757"/>
                  <a:gd name="connsiteY75" fmla="*/ 3910012 h 4575969"/>
                  <a:gd name="connsiteX76" fmla="*/ 3057525 w 8971757"/>
                  <a:gd name="connsiteY76" fmla="*/ 3990975 h 4575969"/>
                  <a:gd name="connsiteX77" fmla="*/ 3255169 w 8971757"/>
                  <a:gd name="connsiteY77" fmla="*/ 3960018 h 4575969"/>
                  <a:gd name="connsiteX78" fmla="*/ 3300413 w 8971757"/>
                  <a:gd name="connsiteY78" fmla="*/ 3971924 h 4575969"/>
                  <a:gd name="connsiteX79" fmla="*/ 3355181 w 8971757"/>
                  <a:gd name="connsiteY79" fmla="*/ 3948113 h 4575969"/>
                  <a:gd name="connsiteX80" fmla="*/ 3748087 w 8971757"/>
                  <a:gd name="connsiteY80" fmla="*/ 4038600 h 4575969"/>
                  <a:gd name="connsiteX81" fmla="*/ 3831432 w 8971757"/>
                  <a:gd name="connsiteY81" fmla="*/ 4136231 h 4575969"/>
                  <a:gd name="connsiteX82" fmla="*/ 3950494 w 8971757"/>
                  <a:gd name="connsiteY82" fmla="*/ 4207669 h 4575969"/>
                  <a:gd name="connsiteX83" fmla="*/ 4010025 w 8971757"/>
                  <a:gd name="connsiteY83" fmla="*/ 4191000 h 4575969"/>
                  <a:gd name="connsiteX84" fmla="*/ 4360068 w 8971757"/>
                  <a:gd name="connsiteY84" fmla="*/ 4364831 h 4575969"/>
                  <a:gd name="connsiteX85" fmla="*/ 4586288 w 8971757"/>
                  <a:gd name="connsiteY85" fmla="*/ 4336256 h 4575969"/>
                  <a:gd name="connsiteX86" fmla="*/ 4595813 w 8971757"/>
                  <a:gd name="connsiteY86" fmla="*/ 4414837 h 4575969"/>
                  <a:gd name="connsiteX87" fmla="*/ 4681538 w 8971757"/>
                  <a:gd name="connsiteY87" fmla="*/ 4410074 h 4575969"/>
                  <a:gd name="connsiteX88" fmla="*/ 4760119 w 8971757"/>
                  <a:gd name="connsiteY88" fmla="*/ 4441031 h 4575969"/>
                  <a:gd name="connsiteX89" fmla="*/ 4802981 w 8971757"/>
                  <a:gd name="connsiteY89" fmla="*/ 4381500 h 4575969"/>
                  <a:gd name="connsiteX90" fmla="*/ 5474494 w 8971757"/>
                  <a:gd name="connsiteY90" fmla="*/ 4062412 h 4575969"/>
                  <a:gd name="connsiteX91" fmla="*/ 5562600 w 8971757"/>
                  <a:gd name="connsiteY91" fmla="*/ 4090988 h 4575969"/>
                  <a:gd name="connsiteX92" fmla="*/ 5693569 w 8971757"/>
                  <a:gd name="connsiteY92" fmla="*/ 4062412 h 4575969"/>
                  <a:gd name="connsiteX93" fmla="*/ 5872162 w 8971757"/>
                  <a:gd name="connsiteY93" fmla="*/ 4079081 h 4575969"/>
                  <a:gd name="connsiteX94" fmla="*/ 5929313 w 8971757"/>
                  <a:gd name="connsiteY94" fmla="*/ 4052888 h 4575969"/>
                  <a:gd name="connsiteX95" fmla="*/ 6062662 w 8971757"/>
                  <a:gd name="connsiteY95" fmla="*/ 4050506 h 4575969"/>
                  <a:gd name="connsiteX96" fmla="*/ 6196012 w 8971757"/>
                  <a:gd name="connsiteY96" fmla="*/ 3952875 h 4575969"/>
                  <a:gd name="connsiteX97" fmla="*/ 6262687 w 8971757"/>
                  <a:gd name="connsiteY97" fmla="*/ 3945731 h 4575969"/>
                  <a:gd name="connsiteX98" fmla="*/ 6360319 w 8971757"/>
                  <a:gd name="connsiteY98" fmla="*/ 3871912 h 4575969"/>
                  <a:gd name="connsiteX99" fmla="*/ 6434138 w 8971757"/>
                  <a:gd name="connsiteY99" fmla="*/ 3802856 h 4575969"/>
                  <a:gd name="connsiteX100" fmla="*/ 6443663 w 8971757"/>
                  <a:gd name="connsiteY100" fmla="*/ 3740944 h 4575969"/>
                  <a:gd name="connsiteX101" fmla="*/ 6477000 w 8971757"/>
                  <a:gd name="connsiteY101" fmla="*/ 3671887 h 4575969"/>
                  <a:gd name="connsiteX102" fmla="*/ 6629400 w 8971757"/>
                  <a:gd name="connsiteY102" fmla="*/ 3564731 h 4575969"/>
                  <a:gd name="connsiteX103" fmla="*/ 6662738 w 8971757"/>
                  <a:gd name="connsiteY103" fmla="*/ 3569494 h 4575969"/>
                  <a:gd name="connsiteX104" fmla="*/ 6715125 w 8971757"/>
                  <a:gd name="connsiteY104" fmla="*/ 3490912 h 4575969"/>
                  <a:gd name="connsiteX105" fmla="*/ 6762750 w 8971757"/>
                  <a:gd name="connsiteY105" fmla="*/ 3452812 h 4575969"/>
                  <a:gd name="connsiteX106" fmla="*/ 6748463 w 8971757"/>
                  <a:gd name="connsiteY106" fmla="*/ 3383756 h 4575969"/>
                  <a:gd name="connsiteX107" fmla="*/ 6698456 w 8971757"/>
                  <a:gd name="connsiteY107" fmla="*/ 3352799 h 4575969"/>
                  <a:gd name="connsiteX108" fmla="*/ 6638925 w 8971757"/>
                  <a:gd name="connsiteY108" fmla="*/ 3298031 h 4575969"/>
                  <a:gd name="connsiteX109" fmla="*/ 6619875 w 8971757"/>
                  <a:gd name="connsiteY109" fmla="*/ 3240881 h 4575969"/>
                  <a:gd name="connsiteX110" fmla="*/ 6584156 w 8971757"/>
                  <a:gd name="connsiteY110" fmla="*/ 3207544 h 4575969"/>
                  <a:gd name="connsiteX111" fmla="*/ 6610350 w 8971757"/>
                  <a:gd name="connsiteY111" fmla="*/ 3155156 h 4575969"/>
                  <a:gd name="connsiteX112" fmla="*/ 6650831 w 8971757"/>
                  <a:gd name="connsiteY112" fmla="*/ 2976562 h 4575969"/>
                  <a:gd name="connsiteX113" fmla="*/ 6691313 w 8971757"/>
                  <a:gd name="connsiteY113" fmla="*/ 2909887 h 4575969"/>
                  <a:gd name="connsiteX114" fmla="*/ 6836569 w 8971757"/>
                  <a:gd name="connsiteY114" fmla="*/ 2893218 h 4575969"/>
                  <a:gd name="connsiteX115" fmla="*/ 6905625 w 8971757"/>
                  <a:gd name="connsiteY115" fmla="*/ 2950369 h 4575969"/>
                  <a:gd name="connsiteX116" fmla="*/ 6981825 w 8971757"/>
                  <a:gd name="connsiteY116" fmla="*/ 2974181 h 4575969"/>
                  <a:gd name="connsiteX117" fmla="*/ 7186612 w 8971757"/>
                  <a:gd name="connsiteY117" fmla="*/ 2978944 h 4575969"/>
                  <a:gd name="connsiteX118" fmla="*/ 7362825 w 8971757"/>
                  <a:gd name="connsiteY118" fmla="*/ 2840831 h 4575969"/>
                  <a:gd name="connsiteX119" fmla="*/ 7419975 w 8971757"/>
                  <a:gd name="connsiteY119" fmla="*/ 2750343 h 4575969"/>
                  <a:gd name="connsiteX120" fmla="*/ 7446169 w 8971757"/>
                  <a:gd name="connsiteY120" fmla="*/ 2667000 h 4575969"/>
                  <a:gd name="connsiteX121" fmla="*/ 7577137 w 8971757"/>
                  <a:gd name="connsiteY121" fmla="*/ 2667000 h 4575969"/>
                  <a:gd name="connsiteX122" fmla="*/ 7750969 w 8971757"/>
                  <a:gd name="connsiteY122" fmla="*/ 2609849 h 4575969"/>
                  <a:gd name="connsiteX123" fmla="*/ 7810500 w 8971757"/>
                  <a:gd name="connsiteY123" fmla="*/ 2497931 h 4575969"/>
                  <a:gd name="connsiteX124" fmla="*/ 7874794 w 8971757"/>
                  <a:gd name="connsiteY124" fmla="*/ 2462212 h 4575969"/>
                  <a:gd name="connsiteX125" fmla="*/ 7853363 w 8971757"/>
                  <a:gd name="connsiteY125" fmla="*/ 2416969 h 4575969"/>
                  <a:gd name="connsiteX126" fmla="*/ 7931944 w 8971757"/>
                  <a:gd name="connsiteY126" fmla="*/ 2247899 h 4575969"/>
                  <a:gd name="connsiteX127" fmla="*/ 7986713 w 8971757"/>
                  <a:gd name="connsiteY127" fmla="*/ 2188369 h 4575969"/>
                  <a:gd name="connsiteX128" fmla="*/ 8024813 w 8971757"/>
                  <a:gd name="connsiteY128" fmla="*/ 2183606 h 4575969"/>
                  <a:gd name="connsiteX129" fmla="*/ 8070056 w 8971757"/>
                  <a:gd name="connsiteY129" fmla="*/ 2188369 h 4575969"/>
                  <a:gd name="connsiteX130" fmla="*/ 8134350 w 8971757"/>
                  <a:gd name="connsiteY130" fmla="*/ 2155031 h 4575969"/>
                  <a:gd name="connsiteX131" fmla="*/ 8143875 w 8971757"/>
                  <a:gd name="connsiteY131" fmla="*/ 2090737 h 4575969"/>
                  <a:gd name="connsiteX132" fmla="*/ 8184355 w 8971757"/>
                  <a:gd name="connsiteY132" fmla="*/ 2055019 h 4575969"/>
                  <a:gd name="connsiteX133" fmla="*/ 8243888 w 8971757"/>
                  <a:gd name="connsiteY133" fmla="*/ 2095499 h 4575969"/>
                  <a:gd name="connsiteX134" fmla="*/ 8270082 w 8971757"/>
                  <a:gd name="connsiteY134" fmla="*/ 2045493 h 4575969"/>
                  <a:gd name="connsiteX135" fmla="*/ 8365331 w 8971757"/>
                  <a:gd name="connsiteY135" fmla="*/ 1976437 h 4575969"/>
                  <a:gd name="connsiteX136" fmla="*/ 8427244 w 8971757"/>
                  <a:gd name="connsiteY136" fmla="*/ 1983581 h 4575969"/>
                  <a:gd name="connsiteX137" fmla="*/ 8477250 w 8971757"/>
                  <a:gd name="connsiteY137" fmla="*/ 1964531 h 4575969"/>
                  <a:gd name="connsiteX138" fmla="*/ 8515350 w 8971757"/>
                  <a:gd name="connsiteY138" fmla="*/ 1935956 h 4575969"/>
                  <a:gd name="connsiteX139" fmla="*/ 8548688 w 8971757"/>
                  <a:gd name="connsiteY139" fmla="*/ 1933575 h 4575969"/>
                  <a:gd name="connsiteX140" fmla="*/ 8584406 w 8971757"/>
                  <a:gd name="connsiteY140" fmla="*/ 1964531 h 4575969"/>
                  <a:gd name="connsiteX141" fmla="*/ 8643938 w 8971757"/>
                  <a:gd name="connsiteY141" fmla="*/ 1964531 h 4575969"/>
                  <a:gd name="connsiteX142" fmla="*/ 8682037 w 8971757"/>
                  <a:gd name="connsiteY142" fmla="*/ 1945481 h 4575969"/>
                  <a:gd name="connsiteX143" fmla="*/ 8765381 w 8971757"/>
                  <a:gd name="connsiteY143" fmla="*/ 1947863 h 4575969"/>
                  <a:gd name="connsiteX144" fmla="*/ 8796338 w 8971757"/>
                  <a:gd name="connsiteY144" fmla="*/ 1902619 h 4575969"/>
                  <a:gd name="connsiteX145" fmla="*/ 8801100 w 8971757"/>
                  <a:gd name="connsiteY145" fmla="*/ 1840706 h 4575969"/>
                  <a:gd name="connsiteX146" fmla="*/ 8751093 w 8971757"/>
                  <a:gd name="connsiteY146" fmla="*/ 1800225 h 4575969"/>
                  <a:gd name="connsiteX147" fmla="*/ 8734425 w 8971757"/>
                  <a:gd name="connsiteY147" fmla="*/ 1745456 h 4575969"/>
                  <a:gd name="connsiteX148" fmla="*/ 8643938 w 8971757"/>
                  <a:gd name="connsiteY148" fmla="*/ 1683544 h 4575969"/>
                  <a:gd name="connsiteX149" fmla="*/ 8603456 w 8971757"/>
                  <a:gd name="connsiteY149" fmla="*/ 1662112 h 4575969"/>
                  <a:gd name="connsiteX150" fmla="*/ 8565356 w 8971757"/>
                  <a:gd name="connsiteY150" fmla="*/ 1616869 h 4575969"/>
                  <a:gd name="connsiteX151" fmla="*/ 8534400 w 8971757"/>
                  <a:gd name="connsiteY151" fmla="*/ 1614487 h 4575969"/>
                  <a:gd name="connsiteX152" fmla="*/ 8517731 w 8971757"/>
                  <a:gd name="connsiteY152" fmla="*/ 1562100 h 4575969"/>
                  <a:gd name="connsiteX153" fmla="*/ 8477250 w 8971757"/>
                  <a:gd name="connsiteY153" fmla="*/ 1545431 h 4575969"/>
                  <a:gd name="connsiteX154" fmla="*/ 8477250 w 8971757"/>
                  <a:gd name="connsiteY154" fmla="*/ 1545431 h 4575969"/>
                  <a:gd name="connsiteX155" fmla="*/ 8436769 w 8971757"/>
                  <a:gd name="connsiteY155" fmla="*/ 1550194 h 4575969"/>
                  <a:gd name="connsiteX156" fmla="*/ 8351043 w 8971757"/>
                  <a:gd name="connsiteY156" fmla="*/ 1476375 h 4575969"/>
                  <a:gd name="connsiteX157" fmla="*/ 8170069 w 8971757"/>
                  <a:gd name="connsiteY157" fmla="*/ 1476374 h 4575969"/>
                  <a:gd name="connsiteX158" fmla="*/ 8117681 w 8971757"/>
                  <a:gd name="connsiteY158" fmla="*/ 1514475 h 4575969"/>
                  <a:gd name="connsiteX159" fmla="*/ 8067675 w 8971757"/>
                  <a:gd name="connsiteY159" fmla="*/ 1593056 h 4575969"/>
                  <a:gd name="connsiteX160" fmla="*/ 8084344 w 8971757"/>
                  <a:gd name="connsiteY160" fmla="*/ 1614487 h 4575969"/>
                  <a:gd name="connsiteX161" fmla="*/ 8039100 w 8971757"/>
                  <a:gd name="connsiteY161" fmla="*/ 1664493 h 4575969"/>
                  <a:gd name="connsiteX162" fmla="*/ 7889081 w 8971757"/>
                  <a:gd name="connsiteY162" fmla="*/ 1588293 h 4575969"/>
                  <a:gd name="connsiteX163" fmla="*/ 7798594 w 8971757"/>
                  <a:gd name="connsiteY163" fmla="*/ 1624012 h 4575969"/>
                  <a:gd name="connsiteX164" fmla="*/ 7724775 w 8971757"/>
                  <a:gd name="connsiteY164" fmla="*/ 1621631 h 4575969"/>
                  <a:gd name="connsiteX165" fmla="*/ 7667625 w 8971757"/>
                  <a:gd name="connsiteY165" fmla="*/ 1716881 h 4575969"/>
                  <a:gd name="connsiteX166" fmla="*/ 7529513 w 8971757"/>
                  <a:gd name="connsiteY166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182050 w 8971757"/>
                  <a:gd name="connsiteY15" fmla="*/ 406819 h 4575969"/>
                  <a:gd name="connsiteX16" fmla="*/ 8412956 w 8971757"/>
                  <a:gd name="connsiteY16" fmla="*/ 23812 h 4575969"/>
                  <a:gd name="connsiteX17" fmla="*/ 8949531 w 8971757"/>
                  <a:gd name="connsiteY17" fmla="*/ 0 h 4575969"/>
                  <a:gd name="connsiteX18" fmla="*/ 8971757 w 8971757"/>
                  <a:gd name="connsiteY18" fmla="*/ 4575969 h 4575969"/>
                  <a:gd name="connsiteX19" fmla="*/ 2381 w 8971757"/>
                  <a:gd name="connsiteY19" fmla="*/ 4547392 h 4575969"/>
                  <a:gd name="connsiteX20" fmla="*/ 0 w 8971757"/>
                  <a:gd name="connsiteY20" fmla="*/ 845344 h 4575969"/>
                  <a:gd name="connsiteX21" fmla="*/ 76200 w 8971757"/>
                  <a:gd name="connsiteY21" fmla="*/ 828675 h 4575969"/>
                  <a:gd name="connsiteX22" fmla="*/ 119063 w 8971757"/>
                  <a:gd name="connsiteY22" fmla="*/ 857250 h 4575969"/>
                  <a:gd name="connsiteX23" fmla="*/ 215900 w 8971757"/>
                  <a:gd name="connsiteY23" fmla="*/ 848519 h 4575969"/>
                  <a:gd name="connsiteX24" fmla="*/ 261938 w 8971757"/>
                  <a:gd name="connsiteY24" fmla="*/ 876299 h 4575969"/>
                  <a:gd name="connsiteX25" fmla="*/ 228600 w 8971757"/>
                  <a:gd name="connsiteY25" fmla="*/ 904875 h 4575969"/>
                  <a:gd name="connsiteX26" fmla="*/ 233363 w 8971757"/>
                  <a:gd name="connsiteY26" fmla="*/ 947737 h 4575969"/>
                  <a:gd name="connsiteX27" fmla="*/ 200025 w 8971757"/>
                  <a:gd name="connsiteY27" fmla="*/ 952500 h 4575969"/>
                  <a:gd name="connsiteX28" fmla="*/ 204788 w 8971757"/>
                  <a:gd name="connsiteY28" fmla="*/ 976312 h 4575969"/>
                  <a:gd name="connsiteX29" fmla="*/ 261937 w 8971757"/>
                  <a:gd name="connsiteY29" fmla="*/ 1050131 h 4575969"/>
                  <a:gd name="connsiteX30" fmla="*/ 223838 w 8971757"/>
                  <a:gd name="connsiteY30" fmla="*/ 1097756 h 4575969"/>
                  <a:gd name="connsiteX31" fmla="*/ 278606 w 8971757"/>
                  <a:gd name="connsiteY31" fmla="*/ 1133475 h 4575969"/>
                  <a:gd name="connsiteX32" fmla="*/ 369094 w 8971757"/>
                  <a:gd name="connsiteY32" fmla="*/ 1221581 h 4575969"/>
                  <a:gd name="connsiteX33" fmla="*/ 371475 w 8971757"/>
                  <a:gd name="connsiteY33" fmla="*/ 1281112 h 4575969"/>
                  <a:gd name="connsiteX34" fmla="*/ 507206 w 8971757"/>
                  <a:gd name="connsiteY34" fmla="*/ 1414463 h 4575969"/>
                  <a:gd name="connsiteX35" fmla="*/ 561975 w 8971757"/>
                  <a:gd name="connsiteY35" fmla="*/ 1390650 h 4575969"/>
                  <a:gd name="connsiteX36" fmla="*/ 600075 w 8971757"/>
                  <a:gd name="connsiteY36" fmla="*/ 1416843 h 4575969"/>
                  <a:gd name="connsiteX37" fmla="*/ 614363 w 8971757"/>
                  <a:gd name="connsiteY37" fmla="*/ 1466849 h 4575969"/>
                  <a:gd name="connsiteX38" fmla="*/ 657225 w 8971757"/>
                  <a:gd name="connsiteY38" fmla="*/ 1502569 h 4575969"/>
                  <a:gd name="connsiteX39" fmla="*/ 697706 w 8971757"/>
                  <a:gd name="connsiteY39" fmla="*/ 1490662 h 4575969"/>
                  <a:gd name="connsiteX40" fmla="*/ 716756 w 8971757"/>
                  <a:gd name="connsiteY40" fmla="*/ 1547812 h 4575969"/>
                  <a:gd name="connsiteX41" fmla="*/ 764381 w 8971757"/>
                  <a:gd name="connsiteY41" fmla="*/ 1590675 h 4575969"/>
                  <a:gd name="connsiteX42" fmla="*/ 788194 w 8971757"/>
                  <a:gd name="connsiteY42" fmla="*/ 1693069 h 4575969"/>
                  <a:gd name="connsiteX43" fmla="*/ 785813 w 8971757"/>
                  <a:gd name="connsiteY43" fmla="*/ 1740694 h 4575969"/>
                  <a:gd name="connsiteX44" fmla="*/ 821531 w 8971757"/>
                  <a:gd name="connsiteY44" fmla="*/ 1840706 h 4575969"/>
                  <a:gd name="connsiteX45" fmla="*/ 866775 w 8971757"/>
                  <a:gd name="connsiteY45" fmla="*/ 1897856 h 4575969"/>
                  <a:gd name="connsiteX46" fmla="*/ 883443 w 8971757"/>
                  <a:gd name="connsiteY46" fmla="*/ 2055018 h 4575969"/>
                  <a:gd name="connsiteX47" fmla="*/ 850106 w 8971757"/>
                  <a:gd name="connsiteY47" fmla="*/ 2116931 h 4575969"/>
                  <a:gd name="connsiteX48" fmla="*/ 819150 w 8971757"/>
                  <a:gd name="connsiteY48" fmla="*/ 2193131 h 4575969"/>
                  <a:gd name="connsiteX49" fmla="*/ 833438 w 8971757"/>
                  <a:gd name="connsiteY49" fmla="*/ 2250281 h 4575969"/>
                  <a:gd name="connsiteX50" fmla="*/ 735806 w 8971757"/>
                  <a:gd name="connsiteY50" fmla="*/ 2357438 h 4575969"/>
                  <a:gd name="connsiteX51" fmla="*/ 692944 w 8971757"/>
                  <a:gd name="connsiteY51" fmla="*/ 2471737 h 4575969"/>
                  <a:gd name="connsiteX52" fmla="*/ 726281 w 8971757"/>
                  <a:gd name="connsiteY52" fmla="*/ 2512219 h 4575969"/>
                  <a:gd name="connsiteX53" fmla="*/ 709613 w 8971757"/>
                  <a:gd name="connsiteY53" fmla="*/ 2540794 h 4575969"/>
                  <a:gd name="connsiteX54" fmla="*/ 740569 w 8971757"/>
                  <a:gd name="connsiteY54" fmla="*/ 2597944 h 4575969"/>
                  <a:gd name="connsiteX55" fmla="*/ 769144 w 8971757"/>
                  <a:gd name="connsiteY55" fmla="*/ 2597944 h 4575969"/>
                  <a:gd name="connsiteX56" fmla="*/ 931069 w 8971757"/>
                  <a:gd name="connsiteY56" fmla="*/ 2700337 h 4575969"/>
                  <a:gd name="connsiteX57" fmla="*/ 1035844 w 8971757"/>
                  <a:gd name="connsiteY57" fmla="*/ 2697956 h 4575969"/>
                  <a:gd name="connsiteX58" fmla="*/ 1114425 w 8971757"/>
                  <a:gd name="connsiteY58" fmla="*/ 2752725 h 4575969"/>
                  <a:gd name="connsiteX59" fmla="*/ 1245393 w 8971757"/>
                  <a:gd name="connsiteY59" fmla="*/ 2755106 h 4575969"/>
                  <a:gd name="connsiteX60" fmla="*/ 1435893 w 8971757"/>
                  <a:gd name="connsiteY60" fmla="*/ 2824162 h 4575969"/>
                  <a:gd name="connsiteX61" fmla="*/ 1638300 w 8971757"/>
                  <a:gd name="connsiteY61" fmla="*/ 2974181 h 4575969"/>
                  <a:gd name="connsiteX62" fmla="*/ 1671637 w 8971757"/>
                  <a:gd name="connsiteY62" fmla="*/ 3040856 h 4575969"/>
                  <a:gd name="connsiteX63" fmla="*/ 1838325 w 8971757"/>
                  <a:gd name="connsiteY63" fmla="*/ 3167062 h 4575969"/>
                  <a:gd name="connsiteX64" fmla="*/ 1909763 w 8971757"/>
                  <a:gd name="connsiteY64" fmla="*/ 3162300 h 4575969"/>
                  <a:gd name="connsiteX65" fmla="*/ 1945482 w 8971757"/>
                  <a:gd name="connsiteY65" fmla="*/ 3186112 h 4575969"/>
                  <a:gd name="connsiteX66" fmla="*/ 1916906 w 8971757"/>
                  <a:gd name="connsiteY66" fmla="*/ 3226594 h 4575969"/>
                  <a:gd name="connsiteX67" fmla="*/ 1924050 w 8971757"/>
                  <a:gd name="connsiteY67" fmla="*/ 3278981 h 4575969"/>
                  <a:gd name="connsiteX68" fmla="*/ 1976438 w 8971757"/>
                  <a:gd name="connsiteY68" fmla="*/ 3305175 h 4575969"/>
                  <a:gd name="connsiteX69" fmla="*/ 2038350 w 8971757"/>
                  <a:gd name="connsiteY69" fmla="*/ 3529013 h 4575969"/>
                  <a:gd name="connsiteX70" fmla="*/ 2028825 w 8971757"/>
                  <a:gd name="connsiteY70" fmla="*/ 3593306 h 4575969"/>
                  <a:gd name="connsiteX71" fmla="*/ 2164556 w 8971757"/>
                  <a:gd name="connsiteY71" fmla="*/ 3759994 h 4575969"/>
                  <a:gd name="connsiteX72" fmla="*/ 2183606 w 8971757"/>
                  <a:gd name="connsiteY72" fmla="*/ 3810000 h 4575969"/>
                  <a:gd name="connsiteX73" fmla="*/ 2157413 w 8971757"/>
                  <a:gd name="connsiteY73" fmla="*/ 3829050 h 4575969"/>
                  <a:gd name="connsiteX74" fmla="*/ 2259806 w 8971757"/>
                  <a:gd name="connsiteY74" fmla="*/ 3838575 h 4575969"/>
                  <a:gd name="connsiteX75" fmla="*/ 2371725 w 8971757"/>
                  <a:gd name="connsiteY75" fmla="*/ 3826669 h 4575969"/>
                  <a:gd name="connsiteX76" fmla="*/ 2650331 w 8971757"/>
                  <a:gd name="connsiteY76" fmla="*/ 3910012 h 4575969"/>
                  <a:gd name="connsiteX77" fmla="*/ 3057525 w 8971757"/>
                  <a:gd name="connsiteY77" fmla="*/ 3990975 h 4575969"/>
                  <a:gd name="connsiteX78" fmla="*/ 3255169 w 8971757"/>
                  <a:gd name="connsiteY78" fmla="*/ 3960018 h 4575969"/>
                  <a:gd name="connsiteX79" fmla="*/ 3300413 w 8971757"/>
                  <a:gd name="connsiteY79" fmla="*/ 3971924 h 4575969"/>
                  <a:gd name="connsiteX80" fmla="*/ 3355181 w 8971757"/>
                  <a:gd name="connsiteY80" fmla="*/ 3948113 h 4575969"/>
                  <a:gd name="connsiteX81" fmla="*/ 3748087 w 8971757"/>
                  <a:gd name="connsiteY81" fmla="*/ 4038600 h 4575969"/>
                  <a:gd name="connsiteX82" fmla="*/ 3831432 w 8971757"/>
                  <a:gd name="connsiteY82" fmla="*/ 4136231 h 4575969"/>
                  <a:gd name="connsiteX83" fmla="*/ 3950494 w 8971757"/>
                  <a:gd name="connsiteY83" fmla="*/ 4207669 h 4575969"/>
                  <a:gd name="connsiteX84" fmla="*/ 4010025 w 8971757"/>
                  <a:gd name="connsiteY84" fmla="*/ 4191000 h 4575969"/>
                  <a:gd name="connsiteX85" fmla="*/ 4360068 w 8971757"/>
                  <a:gd name="connsiteY85" fmla="*/ 4364831 h 4575969"/>
                  <a:gd name="connsiteX86" fmla="*/ 4586288 w 8971757"/>
                  <a:gd name="connsiteY86" fmla="*/ 4336256 h 4575969"/>
                  <a:gd name="connsiteX87" fmla="*/ 4595813 w 8971757"/>
                  <a:gd name="connsiteY87" fmla="*/ 4414837 h 4575969"/>
                  <a:gd name="connsiteX88" fmla="*/ 4681538 w 8971757"/>
                  <a:gd name="connsiteY88" fmla="*/ 4410074 h 4575969"/>
                  <a:gd name="connsiteX89" fmla="*/ 4760119 w 8971757"/>
                  <a:gd name="connsiteY89" fmla="*/ 4441031 h 4575969"/>
                  <a:gd name="connsiteX90" fmla="*/ 4802981 w 8971757"/>
                  <a:gd name="connsiteY90" fmla="*/ 4381500 h 4575969"/>
                  <a:gd name="connsiteX91" fmla="*/ 5474494 w 8971757"/>
                  <a:gd name="connsiteY91" fmla="*/ 4062412 h 4575969"/>
                  <a:gd name="connsiteX92" fmla="*/ 5562600 w 8971757"/>
                  <a:gd name="connsiteY92" fmla="*/ 4090988 h 4575969"/>
                  <a:gd name="connsiteX93" fmla="*/ 5693569 w 8971757"/>
                  <a:gd name="connsiteY93" fmla="*/ 4062412 h 4575969"/>
                  <a:gd name="connsiteX94" fmla="*/ 5872162 w 8971757"/>
                  <a:gd name="connsiteY94" fmla="*/ 4079081 h 4575969"/>
                  <a:gd name="connsiteX95" fmla="*/ 5929313 w 8971757"/>
                  <a:gd name="connsiteY95" fmla="*/ 4052888 h 4575969"/>
                  <a:gd name="connsiteX96" fmla="*/ 6062662 w 8971757"/>
                  <a:gd name="connsiteY96" fmla="*/ 4050506 h 4575969"/>
                  <a:gd name="connsiteX97" fmla="*/ 6196012 w 8971757"/>
                  <a:gd name="connsiteY97" fmla="*/ 3952875 h 4575969"/>
                  <a:gd name="connsiteX98" fmla="*/ 6262687 w 8971757"/>
                  <a:gd name="connsiteY98" fmla="*/ 3945731 h 4575969"/>
                  <a:gd name="connsiteX99" fmla="*/ 6360319 w 8971757"/>
                  <a:gd name="connsiteY99" fmla="*/ 3871912 h 4575969"/>
                  <a:gd name="connsiteX100" fmla="*/ 6434138 w 8971757"/>
                  <a:gd name="connsiteY100" fmla="*/ 3802856 h 4575969"/>
                  <a:gd name="connsiteX101" fmla="*/ 6443663 w 8971757"/>
                  <a:gd name="connsiteY101" fmla="*/ 3740944 h 4575969"/>
                  <a:gd name="connsiteX102" fmla="*/ 6477000 w 8971757"/>
                  <a:gd name="connsiteY102" fmla="*/ 3671887 h 4575969"/>
                  <a:gd name="connsiteX103" fmla="*/ 6629400 w 8971757"/>
                  <a:gd name="connsiteY103" fmla="*/ 3564731 h 4575969"/>
                  <a:gd name="connsiteX104" fmla="*/ 6662738 w 8971757"/>
                  <a:gd name="connsiteY104" fmla="*/ 3569494 h 4575969"/>
                  <a:gd name="connsiteX105" fmla="*/ 6715125 w 8971757"/>
                  <a:gd name="connsiteY105" fmla="*/ 3490912 h 4575969"/>
                  <a:gd name="connsiteX106" fmla="*/ 6762750 w 8971757"/>
                  <a:gd name="connsiteY106" fmla="*/ 3452812 h 4575969"/>
                  <a:gd name="connsiteX107" fmla="*/ 6748463 w 8971757"/>
                  <a:gd name="connsiteY107" fmla="*/ 3383756 h 4575969"/>
                  <a:gd name="connsiteX108" fmla="*/ 6698456 w 8971757"/>
                  <a:gd name="connsiteY108" fmla="*/ 3352799 h 4575969"/>
                  <a:gd name="connsiteX109" fmla="*/ 6638925 w 8971757"/>
                  <a:gd name="connsiteY109" fmla="*/ 3298031 h 4575969"/>
                  <a:gd name="connsiteX110" fmla="*/ 6619875 w 8971757"/>
                  <a:gd name="connsiteY110" fmla="*/ 3240881 h 4575969"/>
                  <a:gd name="connsiteX111" fmla="*/ 6584156 w 8971757"/>
                  <a:gd name="connsiteY111" fmla="*/ 3207544 h 4575969"/>
                  <a:gd name="connsiteX112" fmla="*/ 6610350 w 8971757"/>
                  <a:gd name="connsiteY112" fmla="*/ 3155156 h 4575969"/>
                  <a:gd name="connsiteX113" fmla="*/ 6650831 w 8971757"/>
                  <a:gd name="connsiteY113" fmla="*/ 2976562 h 4575969"/>
                  <a:gd name="connsiteX114" fmla="*/ 6691313 w 8971757"/>
                  <a:gd name="connsiteY114" fmla="*/ 2909887 h 4575969"/>
                  <a:gd name="connsiteX115" fmla="*/ 6836569 w 8971757"/>
                  <a:gd name="connsiteY115" fmla="*/ 2893218 h 4575969"/>
                  <a:gd name="connsiteX116" fmla="*/ 6905625 w 8971757"/>
                  <a:gd name="connsiteY116" fmla="*/ 2950369 h 4575969"/>
                  <a:gd name="connsiteX117" fmla="*/ 6981825 w 8971757"/>
                  <a:gd name="connsiteY117" fmla="*/ 2974181 h 4575969"/>
                  <a:gd name="connsiteX118" fmla="*/ 7186612 w 8971757"/>
                  <a:gd name="connsiteY118" fmla="*/ 2978944 h 4575969"/>
                  <a:gd name="connsiteX119" fmla="*/ 7362825 w 8971757"/>
                  <a:gd name="connsiteY119" fmla="*/ 2840831 h 4575969"/>
                  <a:gd name="connsiteX120" fmla="*/ 7419975 w 8971757"/>
                  <a:gd name="connsiteY120" fmla="*/ 2750343 h 4575969"/>
                  <a:gd name="connsiteX121" fmla="*/ 7446169 w 8971757"/>
                  <a:gd name="connsiteY121" fmla="*/ 2667000 h 4575969"/>
                  <a:gd name="connsiteX122" fmla="*/ 7577137 w 8971757"/>
                  <a:gd name="connsiteY122" fmla="*/ 2667000 h 4575969"/>
                  <a:gd name="connsiteX123" fmla="*/ 7750969 w 8971757"/>
                  <a:gd name="connsiteY123" fmla="*/ 2609849 h 4575969"/>
                  <a:gd name="connsiteX124" fmla="*/ 7810500 w 8971757"/>
                  <a:gd name="connsiteY124" fmla="*/ 2497931 h 4575969"/>
                  <a:gd name="connsiteX125" fmla="*/ 7874794 w 8971757"/>
                  <a:gd name="connsiteY125" fmla="*/ 2462212 h 4575969"/>
                  <a:gd name="connsiteX126" fmla="*/ 7853363 w 8971757"/>
                  <a:gd name="connsiteY126" fmla="*/ 2416969 h 4575969"/>
                  <a:gd name="connsiteX127" fmla="*/ 7931944 w 8971757"/>
                  <a:gd name="connsiteY127" fmla="*/ 2247899 h 4575969"/>
                  <a:gd name="connsiteX128" fmla="*/ 7986713 w 8971757"/>
                  <a:gd name="connsiteY128" fmla="*/ 2188369 h 4575969"/>
                  <a:gd name="connsiteX129" fmla="*/ 8024813 w 8971757"/>
                  <a:gd name="connsiteY129" fmla="*/ 2183606 h 4575969"/>
                  <a:gd name="connsiteX130" fmla="*/ 8070056 w 8971757"/>
                  <a:gd name="connsiteY130" fmla="*/ 2188369 h 4575969"/>
                  <a:gd name="connsiteX131" fmla="*/ 8134350 w 8971757"/>
                  <a:gd name="connsiteY131" fmla="*/ 2155031 h 4575969"/>
                  <a:gd name="connsiteX132" fmla="*/ 8143875 w 8971757"/>
                  <a:gd name="connsiteY132" fmla="*/ 2090737 h 4575969"/>
                  <a:gd name="connsiteX133" fmla="*/ 8184355 w 8971757"/>
                  <a:gd name="connsiteY133" fmla="*/ 2055019 h 4575969"/>
                  <a:gd name="connsiteX134" fmla="*/ 8243888 w 8971757"/>
                  <a:gd name="connsiteY134" fmla="*/ 2095499 h 4575969"/>
                  <a:gd name="connsiteX135" fmla="*/ 8270082 w 8971757"/>
                  <a:gd name="connsiteY135" fmla="*/ 2045493 h 4575969"/>
                  <a:gd name="connsiteX136" fmla="*/ 8365331 w 8971757"/>
                  <a:gd name="connsiteY136" fmla="*/ 1976437 h 4575969"/>
                  <a:gd name="connsiteX137" fmla="*/ 8427244 w 8971757"/>
                  <a:gd name="connsiteY137" fmla="*/ 1983581 h 4575969"/>
                  <a:gd name="connsiteX138" fmla="*/ 8477250 w 8971757"/>
                  <a:gd name="connsiteY138" fmla="*/ 1964531 h 4575969"/>
                  <a:gd name="connsiteX139" fmla="*/ 8515350 w 8971757"/>
                  <a:gd name="connsiteY139" fmla="*/ 1935956 h 4575969"/>
                  <a:gd name="connsiteX140" fmla="*/ 8548688 w 8971757"/>
                  <a:gd name="connsiteY140" fmla="*/ 1933575 h 4575969"/>
                  <a:gd name="connsiteX141" fmla="*/ 8584406 w 8971757"/>
                  <a:gd name="connsiteY141" fmla="*/ 1964531 h 4575969"/>
                  <a:gd name="connsiteX142" fmla="*/ 8643938 w 8971757"/>
                  <a:gd name="connsiteY142" fmla="*/ 1964531 h 4575969"/>
                  <a:gd name="connsiteX143" fmla="*/ 8682037 w 8971757"/>
                  <a:gd name="connsiteY143" fmla="*/ 1945481 h 4575969"/>
                  <a:gd name="connsiteX144" fmla="*/ 8765381 w 8971757"/>
                  <a:gd name="connsiteY144" fmla="*/ 1947863 h 4575969"/>
                  <a:gd name="connsiteX145" fmla="*/ 8796338 w 8971757"/>
                  <a:gd name="connsiteY145" fmla="*/ 1902619 h 4575969"/>
                  <a:gd name="connsiteX146" fmla="*/ 8801100 w 8971757"/>
                  <a:gd name="connsiteY146" fmla="*/ 1840706 h 4575969"/>
                  <a:gd name="connsiteX147" fmla="*/ 8751093 w 8971757"/>
                  <a:gd name="connsiteY147" fmla="*/ 1800225 h 4575969"/>
                  <a:gd name="connsiteX148" fmla="*/ 8734425 w 8971757"/>
                  <a:gd name="connsiteY148" fmla="*/ 1745456 h 4575969"/>
                  <a:gd name="connsiteX149" fmla="*/ 8643938 w 8971757"/>
                  <a:gd name="connsiteY149" fmla="*/ 1683544 h 4575969"/>
                  <a:gd name="connsiteX150" fmla="*/ 8603456 w 8971757"/>
                  <a:gd name="connsiteY150" fmla="*/ 1662112 h 4575969"/>
                  <a:gd name="connsiteX151" fmla="*/ 8565356 w 8971757"/>
                  <a:gd name="connsiteY151" fmla="*/ 1616869 h 4575969"/>
                  <a:gd name="connsiteX152" fmla="*/ 8534400 w 8971757"/>
                  <a:gd name="connsiteY152" fmla="*/ 1614487 h 4575969"/>
                  <a:gd name="connsiteX153" fmla="*/ 8517731 w 8971757"/>
                  <a:gd name="connsiteY153" fmla="*/ 1562100 h 4575969"/>
                  <a:gd name="connsiteX154" fmla="*/ 8477250 w 8971757"/>
                  <a:gd name="connsiteY154" fmla="*/ 1545431 h 4575969"/>
                  <a:gd name="connsiteX155" fmla="*/ 8477250 w 8971757"/>
                  <a:gd name="connsiteY155" fmla="*/ 1545431 h 4575969"/>
                  <a:gd name="connsiteX156" fmla="*/ 8436769 w 8971757"/>
                  <a:gd name="connsiteY156" fmla="*/ 1550194 h 4575969"/>
                  <a:gd name="connsiteX157" fmla="*/ 8351043 w 8971757"/>
                  <a:gd name="connsiteY157" fmla="*/ 1476375 h 4575969"/>
                  <a:gd name="connsiteX158" fmla="*/ 8170069 w 8971757"/>
                  <a:gd name="connsiteY158" fmla="*/ 1476374 h 4575969"/>
                  <a:gd name="connsiteX159" fmla="*/ 8117681 w 8971757"/>
                  <a:gd name="connsiteY159" fmla="*/ 1514475 h 4575969"/>
                  <a:gd name="connsiteX160" fmla="*/ 8067675 w 8971757"/>
                  <a:gd name="connsiteY160" fmla="*/ 1593056 h 4575969"/>
                  <a:gd name="connsiteX161" fmla="*/ 8084344 w 8971757"/>
                  <a:gd name="connsiteY161" fmla="*/ 1614487 h 4575969"/>
                  <a:gd name="connsiteX162" fmla="*/ 8039100 w 8971757"/>
                  <a:gd name="connsiteY162" fmla="*/ 1664493 h 4575969"/>
                  <a:gd name="connsiteX163" fmla="*/ 7889081 w 8971757"/>
                  <a:gd name="connsiteY163" fmla="*/ 1588293 h 4575969"/>
                  <a:gd name="connsiteX164" fmla="*/ 7798594 w 8971757"/>
                  <a:gd name="connsiteY164" fmla="*/ 1624012 h 4575969"/>
                  <a:gd name="connsiteX165" fmla="*/ 7724775 w 8971757"/>
                  <a:gd name="connsiteY165" fmla="*/ 1621631 h 4575969"/>
                  <a:gd name="connsiteX166" fmla="*/ 7667625 w 8971757"/>
                  <a:gd name="connsiteY166" fmla="*/ 1716881 h 4575969"/>
                  <a:gd name="connsiteX167" fmla="*/ 7529513 w 8971757"/>
                  <a:gd name="connsiteY16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334450 w 8971757"/>
                  <a:gd name="connsiteY15" fmla="*/ 204413 h 4575969"/>
                  <a:gd name="connsiteX16" fmla="*/ 8412956 w 8971757"/>
                  <a:gd name="connsiteY16" fmla="*/ 23812 h 4575969"/>
                  <a:gd name="connsiteX17" fmla="*/ 8949531 w 8971757"/>
                  <a:gd name="connsiteY17" fmla="*/ 0 h 4575969"/>
                  <a:gd name="connsiteX18" fmla="*/ 8971757 w 8971757"/>
                  <a:gd name="connsiteY18" fmla="*/ 4575969 h 4575969"/>
                  <a:gd name="connsiteX19" fmla="*/ 2381 w 8971757"/>
                  <a:gd name="connsiteY19" fmla="*/ 4547392 h 4575969"/>
                  <a:gd name="connsiteX20" fmla="*/ 0 w 8971757"/>
                  <a:gd name="connsiteY20" fmla="*/ 845344 h 4575969"/>
                  <a:gd name="connsiteX21" fmla="*/ 76200 w 8971757"/>
                  <a:gd name="connsiteY21" fmla="*/ 828675 h 4575969"/>
                  <a:gd name="connsiteX22" fmla="*/ 119063 w 8971757"/>
                  <a:gd name="connsiteY22" fmla="*/ 857250 h 4575969"/>
                  <a:gd name="connsiteX23" fmla="*/ 215900 w 8971757"/>
                  <a:gd name="connsiteY23" fmla="*/ 848519 h 4575969"/>
                  <a:gd name="connsiteX24" fmla="*/ 261938 w 8971757"/>
                  <a:gd name="connsiteY24" fmla="*/ 876299 h 4575969"/>
                  <a:gd name="connsiteX25" fmla="*/ 228600 w 8971757"/>
                  <a:gd name="connsiteY25" fmla="*/ 904875 h 4575969"/>
                  <a:gd name="connsiteX26" fmla="*/ 233363 w 8971757"/>
                  <a:gd name="connsiteY26" fmla="*/ 947737 h 4575969"/>
                  <a:gd name="connsiteX27" fmla="*/ 200025 w 8971757"/>
                  <a:gd name="connsiteY27" fmla="*/ 952500 h 4575969"/>
                  <a:gd name="connsiteX28" fmla="*/ 204788 w 8971757"/>
                  <a:gd name="connsiteY28" fmla="*/ 976312 h 4575969"/>
                  <a:gd name="connsiteX29" fmla="*/ 261937 w 8971757"/>
                  <a:gd name="connsiteY29" fmla="*/ 1050131 h 4575969"/>
                  <a:gd name="connsiteX30" fmla="*/ 223838 w 8971757"/>
                  <a:gd name="connsiteY30" fmla="*/ 1097756 h 4575969"/>
                  <a:gd name="connsiteX31" fmla="*/ 278606 w 8971757"/>
                  <a:gd name="connsiteY31" fmla="*/ 1133475 h 4575969"/>
                  <a:gd name="connsiteX32" fmla="*/ 369094 w 8971757"/>
                  <a:gd name="connsiteY32" fmla="*/ 1221581 h 4575969"/>
                  <a:gd name="connsiteX33" fmla="*/ 371475 w 8971757"/>
                  <a:gd name="connsiteY33" fmla="*/ 1281112 h 4575969"/>
                  <a:gd name="connsiteX34" fmla="*/ 507206 w 8971757"/>
                  <a:gd name="connsiteY34" fmla="*/ 1414463 h 4575969"/>
                  <a:gd name="connsiteX35" fmla="*/ 561975 w 8971757"/>
                  <a:gd name="connsiteY35" fmla="*/ 1390650 h 4575969"/>
                  <a:gd name="connsiteX36" fmla="*/ 600075 w 8971757"/>
                  <a:gd name="connsiteY36" fmla="*/ 1416843 h 4575969"/>
                  <a:gd name="connsiteX37" fmla="*/ 614363 w 8971757"/>
                  <a:gd name="connsiteY37" fmla="*/ 1466849 h 4575969"/>
                  <a:gd name="connsiteX38" fmla="*/ 657225 w 8971757"/>
                  <a:gd name="connsiteY38" fmla="*/ 1502569 h 4575969"/>
                  <a:gd name="connsiteX39" fmla="*/ 697706 w 8971757"/>
                  <a:gd name="connsiteY39" fmla="*/ 1490662 h 4575969"/>
                  <a:gd name="connsiteX40" fmla="*/ 716756 w 8971757"/>
                  <a:gd name="connsiteY40" fmla="*/ 1547812 h 4575969"/>
                  <a:gd name="connsiteX41" fmla="*/ 764381 w 8971757"/>
                  <a:gd name="connsiteY41" fmla="*/ 1590675 h 4575969"/>
                  <a:gd name="connsiteX42" fmla="*/ 788194 w 8971757"/>
                  <a:gd name="connsiteY42" fmla="*/ 1693069 h 4575969"/>
                  <a:gd name="connsiteX43" fmla="*/ 785813 w 8971757"/>
                  <a:gd name="connsiteY43" fmla="*/ 1740694 h 4575969"/>
                  <a:gd name="connsiteX44" fmla="*/ 821531 w 8971757"/>
                  <a:gd name="connsiteY44" fmla="*/ 1840706 h 4575969"/>
                  <a:gd name="connsiteX45" fmla="*/ 866775 w 8971757"/>
                  <a:gd name="connsiteY45" fmla="*/ 1897856 h 4575969"/>
                  <a:gd name="connsiteX46" fmla="*/ 883443 w 8971757"/>
                  <a:gd name="connsiteY46" fmla="*/ 2055018 h 4575969"/>
                  <a:gd name="connsiteX47" fmla="*/ 850106 w 8971757"/>
                  <a:gd name="connsiteY47" fmla="*/ 2116931 h 4575969"/>
                  <a:gd name="connsiteX48" fmla="*/ 819150 w 8971757"/>
                  <a:gd name="connsiteY48" fmla="*/ 2193131 h 4575969"/>
                  <a:gd name="connsiteX49" fmla="*/ 833438 w 8971757"/>
                  <a:gd name="connsiteY49" fmla="*/ 2250281 h 4575969"/>
                  <a:gd name="connsiteX50" fmla="*/ 735806 w 8971757"/>
                  <a:gd name="connsiteY50" fmla="*/ 2357438 h 4575969"/>
                  <a:gd name="connsiteX51" fmla="*/ 692944 w 8971757"/>
                  <a:gd name="connsiteY51" fmla="*/ 2471737 h 4575969"/>
                  <a:gd name="connsiteX52" fmla="*/ 726281 w 8971757"/>
                  <a:gd name="connsiteY52" fmla="*/ 2512219 h 4575969"/>
                  <a:gd name="connsiteX53" fmla="*/ 709613 w 8971757"/>
                  <a:gd name="connsiteY53" fmla="*/ 2540794 h 4575969"/>
                  <a:gd name="connsiteX54" fmla="*/ 740569 w 8971757"/>
                  <a:gd name="connsiteY54" fmla="*/ 2597944 h 4575969"/>
                  <a:gd name="connsiteX55" fmla="*/ 769144 w 8971757"/>
                  <a:gd name="connsiteY55" fmla="*/ 2597944 h 4575969"/>
                  <a:gd name="connsiteX56" fmla="*/ 931069 w 8971757"/>
                  <a:gd name="connsiteY56" fmla="*/ 2700337 h 4575969"/>
                  <a:gd name="connsiteX57" fmla="*/ 1035844 w 8971757"/>
                  <a:gd name="connsiteY57" fmla="*/ 2697956 h 4575969"/>
                  <a:gd name="connsiteX58" fmla="*/ 1114425 w 8971757"/>
                  <a:gd name="connsiteY58" fmla="*/ 2752725 h 4575969"/>
                  <a:gd name="connsiteX59" fmla="*/ 1245393 w 8971757"/>
                  <a:gd name="connsiteY59" fmla="*/ 2755106 h 4575969"/>
                  <a:gd name="connsiteX60" fmla="*/ 1435893 w 8971757"/>
                  <a:gd name="connsiteY60" fmla="*/ 2824162 h 4575969"/>
                  <a:gd name="connsiteX61" fmla="*/ 1638300 w 8971757"/>
                  <a:gd name="connsiteY61" fmla="*/ 2974181 h 4575969"/>
                  <a:gd name="connsiteX62" fmla="*/ 1671637 w 8971757"/>
                  <a:gd name="connsiteY62" fmla="*/ 3040856 h 4575969"/>
                  <a:gd name="connsiteX63" fmla="*/ 1838325 w 8971757"/>
                  <a:gd name="connsiteY63" fmla="*/ 3167062 h 4575969"/>
                  <a:gd name="connsiteX64" fmla="*/ 1909763 w 8971757"/>
                  <a:gd name="connsiteY64" fmla="*/ 3162300 h 4575969"/>
                  <a:gd name="connsiteX65" fmla="*/ 1945482 w 8971757"/>
                  <a:gd name="connsiteY65" fmla="*/ 3186112 h 4575969"/>
                  <a:gd name="connsiteX66" fmla="*/ 1916906 w 8971757"/>
                  <a:gd name="connsiteY66" fmla="*/ 3226594 h 4575969"/>
                  <a:gd name="connsiteX67" fmla="*/ 1924050 w 8971757"/>
                  <a:gd name="connsiteY67" fmla="*/ 3278981 h 4575969"/>
                  <a:gd name="connsiteX68" fmla="*/ 1976438 w 8971757"/>
                  <a:gd name="connsiteY68" fmla="*/ 3305175 h 4575969"/>
                  <a:gd name="connsiteX69" fmla="*/ 2038350 w 8971757"/>
                  <a:gd name="connsiteY69" fmla="*/ 3529013 h 4575969"/>
                  <a:gd name="connsiteX70" fmla="*/ 2028825 w 8971757"/>
                  <a:gd name="connsiteY70" fmla="*/ 3593306 h 4575969"/>
                  <a:gd name="connsiteX71" fmla="*/ 2164556 w 8971757"/>
                  <a:gd name="connsiteY71" fmla="*/ 3759994 h 4575969"/>
                  <a:gd name="connsiteX72" fmla="*/ 2183606 w 8971757"/>
                  <a:gd name="connsiteY72" fmla="*/ 3810000 h 4575969"/>
                  <a:gd name="connsiteX73" fmla="*/ 2157413 w 8971757"/>
                  <a:gd name="connsiteY73" fmla="*/ 3829050 h 4575969"/>
                  <a:gd name="connsiteX74" fmla="*/ 2259806 w 8971757"/>
                  <a:gd name="connsiteY74" fmla="*/ 3838575 h 4575969"/>
                  <a:gd name="connsiteX75" fmla="*/ 2371725 w 8971757"/>
                  <a:gd name="connsiteY75" fmla="*/ 3826669 h 4575969"/>
                  <a:gd name="connsiteX76" fmla="*/ 2650331 w 8971757"/>
                  <a:gd name="connsiteY76" fmla="*/ 3910012 h 4575969"/>
                  <a:gd name="connsiteX77" fmla="*/ 3057525 w 8971757"/>
                  <a:gd name="connsiteY77" fmla="*/ 3990975 h 4575969"/>
                  <a:gd name="connsiteX78" fmla="*/ 3255169 w 8971757"/>
                  <a:gd name="connsiteY78" fmla="*/ 3960018 h 4575969"/>
                  <a:gd name="connsiteX79" fmla="*/ 3300413 w 8971757"/>
                  <a:gd name="connsiteY79" fmla="*/ 3971924 h 4575969"/>
                  <a:gd name="connsiteX80" fmla="*/ 3355181 w 8971757"/>
                  <a:gd name="connsiteY80" fmla="*/ 3948113 h 4575969"/>
                  <a:gd name="connsiteX81" fmla="*/ 3748087 w 8971757"/>
                  <a:gd name="connsiteY81" fmla="*/ 4038600 h 4575969"/>
                  <a:gd name="connsiteX82" fmla="*/ 3831432 w 8971757"/>
                  <a:gd name="connsiteY82" fmla="*/ 4136231 h 4575969"/>
                  <a:gd name="connsiteX83" fmla="*/ 3950494 w 8971757"/>
                  <a:gd name="connsiteY83" fmla="*/ 4207669 h 4575969"/>
                  <a:gd name="connsiteX84" fmla="*/ 4010025 w 8971757"/>
                  <a:gd name="connsiteY84" fmla="*/ 4191000 h 4575969"/>
                  <a:gd name="connsiteX85" fmla="*/ 4360068 w 8971757"/>
                  <a:gd name="connsiteY85" fmla="*/ 4364831 h 4575969"/>
                  <a:gd name="connsiteX86" fmla="*/ 4586288 w 8971757"/>
                  <a:gd name="connsiteY86" fmla="*/ 4336256 h 4575969"/>
                  <a:gd name="connsiteX87" fmla="*/ 4595813 w 8971757"/>
                  <a:gd name="connsiteY87" fmla="*/ 4414837 h 4575969"/>
                  <a:gd name="connsiteX88" fmla="*/ 4681538 w 8971757"/>
                  <a:gd name="connsiteY88" fmla="*/ 4410074 h 4575969"/>
                  <a:gd name="connsiteX89" fmla="*/ 4760119 w 8971757"/>
                  <a:gd name="connsiteY89" fmla="*/ 4441031 h 4575969"/>
                  <a:gd name="connsiteX90" fmla="*/ 4802981 w 8971757"/>
                  <a:gd name="connsiteY90" fmla="*/ 4381500 h 4575969"/>
                  <a:gd name="connsiteX91" fmla="*/ 5474494 w 8971757"/>
                  <a:gd name="connsiteY91" fmla="*/ 4062412 h 4575969"/>
                  <a:gd name="connsiteX92" fmla="*/ 5562600 w 8971757"/>
                  <a:gd name="connsiteY92" fmla="*/ 4090988 h 4575969"/>
                  <a:gd name="connsiteX93" fmla="*/ 5693569 w 8971757"/>
                  <a:gd name="connsiteY93" fmla="*/ 4062412 h 4575969"/>
                  <a:gd name="connsiteX94" fmla="*/ 5872162 w 8971757"/>
                  <a:gd name="connsiteY94" fmla="*/ 4079081 h 4575969"/>
                  <a:gd name="connsiteX95" fmla="*/ 5929313 w 8971757"/>
                  <a:gd name="connsiteY95" fmla="*/ 4052888 h 4575969"/>
                  <a:gd name="connsiteX96" fmla="*/ 6062662 w 8971757"/>
                  <a:gd name="connsiteY96" fmla="*/ 4050506 h 4575969"/>
                  <a:gd name="connsiteX97" fmla="*/ 6196012 w 8971757"/>
                  <a:gd name="connsiteY97" fmla="*/ 3952875 h 4575969"/>
                  <a:gd name="connsiteX98" fmla="*/ 6262687 w 8971757"/>
                  <a:gd name="connsiteY98" fmla="*/ 3945731 h 4575969"/>
                  <a:gd name="connsiteX99" fmla="*/ 6360319 w 8971757"/>
                  <a:gd name="connsiteY99" fmla="*/ 3871912 h 4575969"/>
                  <a:gd name="connsiteX100" fmla="*/ 6434138 w 8971757"/>
                  <a:gd name="connsiteY100" fmla="*/ 3802856 h 4575969"/>
                  <a:gd name="connsiteX101" fmla="*/ 6443663 w 8971757"/>
                  <a:gd name="connsiteY101" fmla="*/ 3740944 h 4575969"/>
                  <a:gd name="connsiteX102" fmla="*/ 6477000 w 8971757"/>
                  <a:gd name="connsiteY102" fmla="*/ 3671887 h 4575969"/>
                  <a:gd name="connsiteX103" fmla="*/ 6629400 w 8971757"/>
                  <a:gd name="connsiteY103" fmla="*/ 3564731 h 4575969"/>
                  <a:gd name="connsiteX104" fmla="*/ 6662738 w 8971757"/>
                  <a:gd name="connsiteY104" fmla="*/ 3569494 h 4575969"/>
                  <a:gd name="connsiteX105" fmla="*/ 6715125 w 8971757"/>
                  <a:gd name="connsiteY105" fmla="*/ 3490912 h 4575969"/>
                  <a:gd name="connsiteX106" fmla="*/ 6762750 w 8971757"/>
                  <a:gd name="connsiteY106" fmla="*/ 3452812 h 4575969"/>
                  <a:gd name="connsiteX107" fmla="*/ 6748463 w 8971757"/>
                  <a:gd name="connsiteY107" fmla="*/ 3383756 h 4575969"/>
                  <a:gd name="connsiteX108" fmla="*/ 6698456 w 8971757"/>
                  <a:gd name="connsiteY108" fmla="*/ 3352799 h 4575969"/>
                  <a:gd name="connsiteX109" fmla="*/ 6638925 w 8971757"/>
                  <a:gd name="connsiteY109" fmla="*/ 3298031 h 4575969"/>
                  <a:gd name="connsiteX110" fmla="*/ 6619875 w 8971757"/>
                  <a:gd name="connsiteY110" fmla="*/ 3240881 h 4575969"/>
                  <a:gd name="connsiteX111" fmla="*/ 6584156 w 8971757"/>
                  <a:gd name="connsiteY111" fmla="*/ 3207544 h 4575969"/>
                  <a:gd name="connsiteX112" fmla="*/ 6610350 w 8971757"/>
                  <a:gd name="connsiteY112" fmla="*/ 3155156 h 4575969"/>
                  <a:gd name="connsiteX113" fmla="*/ 6650831 w 8971757"/>
                  <a:gd name="connsiteY113" fmla="*/ 2976562 h 4575969"/>
                  <a:gd name="connsiteX114" fmla="*/ 6691313 w 8971757"/>
                  <a:gd name="connsiteY114" fmla="*/ 2909887 h 4575969"/>
                  <a:gd name="connsiteX115" fmla="*/ 6836569 w 8971757"/>
                  <a:gd name="connsiteY115" fmla="*/ 2893218 h 4575969"/>
                  <a:gd name="connsiteX116" fmla="*/ 6905625 w 8971757"/>
                  <a:gd name="connsiteY116" fmla="*/ 2950369 h 4575969"/>
                  <a:gd name="connsiteX117" fmla="*/ 6981825 w 8971757"/>
                  <a:gd name="connsiteY117" fmla="*/ 2974181 h 4575969"/>
                  <a:gd name="connsiteX118" fmla="*/ 7186612 w 8971757"/>
                  <a:gd name="connsiteY118" fmla="*/ 2978944 h 4575969"/>
                  <a:gd name="connsiteX119" fmla="*/ 7362825 w 8971757"/>
                  <a:gd name="connsiteY119" fmla="*/ 2840831 h 4575969"/>
                  <a:gd name="connsiteX120" fmla="*/ 7419975 w 8971757"/>
                  <a:gd name="connsiteY120" fmla="*/ 2750343 h 4575969"/>
                  <a:gd name="connsiteX121" fmla="*/ 7446169 w 8971757"/>
                  <a:gd name="connsiteY121" fmla="*/ 2667000 h 4575969"/>
                  <a:gd name="connsiteX122" fmla="*/ 7577137 w 8971757"/>
                  <a:gd name="connsiteY122" fmla="*/ 2667000 h 4575969"/>
                  <a:gd name="connsiteX123" fmla="*/ 7750969 w 8971757"/>
                  <a:gd name="connsiteY123" fmla="*/ 2609849 h 4575969"/>
                  <a:gd name="connsiteX124" fmla="*/ 7810500 w 8971757"/>
                  <a:gd name="connsiteY124" fmla="*/ 2497931 h 4575969"/>
                  <a:gd name="connsiteX125" fmla="*/ 7874794 w 8971757"/>
                  <a:gd name="connsiteY125" fmla="*/ 2462212 h 4575969"/>
                  <a:gd name="connsiteX126" fmla="*/ 7853363 w 8971757"/>
                  <a:gd name="connsiteY126" fmla="*/ 2416969 h 4575969"/>
                  <a:gd name="connsiteX127" fmla="*/ 7931944 w 8971757"/>
                  <a:gd name="connsiteY127" fmla="*/ 2247899 h 4575969"/>
                  <a:gd name="connsiteX128" fmla="*/ 7986713 w 8971757"/>
                  <a:gd name="connsiteY128" fmla="*/ 2188369 h 4575969"/>
                  <a:gd name="connsiteX129" fmla="*/ 8024813 w 8971757"/>
                  <a:gd name="connsiteY129" fmla="*/ 2183606 h 4575969"/>
                  <a:gd name="connsiteX130" fmla="*/ 8070056 w 8971757"/>
                  <a:gd name="connsiteY130" fmla="*/ 2188369 h 4575969"/>
                  <a:gd name="connsiteX131" fmla="*/ 8134350 w 8971757"/>
                  <a:gd name="connsiteY131" fmla="*/ 2155031 h 4575969"/>
                  <a:gd name="connsiteX132" fmla="*/ 8143875 w 8971757"/>
                  <a:gd name="connsiteY132" fmla="*/ 2090737 h 4575969"/>
                  <a:gd name="connsiteX133" fmla="*/ 8184355 w 8971757"/>
                  <a:gd name="connsiteY133" fmla="*/ 2055019 h 4575969"/>
                  <a:gd name="connsiteX134" fmla="*/ 8243888 w 8971757"/>
                  <a:gd name="connsiteY134" fmla="*/ 2095499 h 4575969"/>
                  <a:gd name="connsiteX135" fmla="*/ 8270082 w 8971757"/>
                  <a:gd name="connsiteY135" fmla="*/ 2045493 h 4575969"/>
                  <a:gd name="connsiteX136" fmla="*/ 8365331 w 8971757"/>
                  <a:gd name="connsiteY136" fmla="*/ 1976437 h 4575969"/>
                  <a:gd name="connsiteX137" fmla="*/ 8427244 w 8971757"/>
                  <a:gd name="connsiteY137" fmla="*/ 1983581 h 4575969"/>
                  <a:gd name="connsiteX138" fmla="*/ 8477250 w 8971757"/>
                  <a:gd name="connsiteY138" fmla="*/ 1964531 h 4575969"/>
                  <a:gd name="connsiteX139" fmla="*/ 8515350 w 8971757"/>
                  <a:gd name="connsiteY139" fmla="*/ 1935956 h 4575969"/>
                  <a:gd name="connsiteX140" fmla="*/ 8548688 w 8971757"/>
                  <a:gd name="connsiteY140" fmla="*/ 1933575 h 4575969"/>
                  <a:gd name="connsiteX141" fmla="*/ 8584406 w 8971757"/>
                  <a:gd name="connsiteY141" fmla="*/ 1964531 h 4575969"/>
                  <a:gd name="connsiteX142" fmla="*/ 8643938 w 8971757"/>
                  <a:gd name="connsiteY142" fmla="*/ 1964531 h 4575969"/>
                  <a:gd name="connsiteX143" fmla="*/ 8682037 w 8971757"/>
                  <a:gd name="connsiteY143" fmla="*/ 1945481 h 4575969"/>
                  <a:gd name="connsiteX144" fmla="*/ 8765381 w 8971757"/>
                  <a:gd name="connsiteY144" fmla="*/ 1947863 h 4575969"/>
                  <a:gd name="connsiteX145" fmla="*/ 8796338 w 8971757"/>
                  <a:gd name="connsiteY145" fmla="*/ 1902619 h 4575969"/>
                  <a:gd name="connsiteX146" fmla="*/ 8801100 w 8971757"/>
                  <a:gd name="connsiteY146" fmla="*/ 1840706 h 4575969"/>
                  <a:gd name="connsiteX147" fmla="*/ 8751093 w 8971757"/>
                  <a:gd name="connsiteY147" fmla="*/ 1800225 h 4575969"/>
                  <a:gd name="connsiteX148" fmla="*/ 8734425 w 8971757"/>
                  <a:gd name="connsiteY148" fmla="*/ 1745456 h 4575969"/>
                  <a:gd name="connsiteX149" fmla="*/ 8643938 w 8971757"/>
                  <a:gd name="connsiteY149" fmla="*/ 1683544 h 4575969"/>
                  <a:gd name="connsiteX150" fmla="*/ 8603456 w 8971757"/>
                  <a:gd name="connsiteY150" fmla="*/ 1662112 h 4575969"/>
                  <a:gd name="connsiteX151" fmla="*/ 8565356 w 8971757"/>
                  <a:gd name="connsiteY151" fmla="*/ 1616869 h 4575969"/>
                  <a:gd name="connsiteX152" fmla="*/ 8534400 w 8971757"/>
                  <a:gd name="connsiteY152" fmla="*/ 1614487 h 4575969"/>
                  <a:gd name="connsiteX153" fmla="*/ 8517731 w 8971757"/>
                  <a:gd name="connsiteY153" fmla="*/ 1562100 h 4575969"/>
                  <a:gd name="connsiteX154" fmla="*/ 8477250 w 8971757"/>
                  <a:gd name="connsiteY154" fmla="*/ 1545431 h 4575969"/>
                  <a:gd name="connsiteX155" fmla="*/ 8477250 w 8971757"/>
                  <a:gd name="connsiteY155" fmla="*/ 1545431 h 4575969"/>
                  <a:gd name="connsiteX156" fmla="*/ 8436769 w 8971757"/>
                  <a:gd name="connsiteY156" fmla="*/ 1550194 h 4575969"/>
                  <a:gd name="connsiteX157" fmla="*/ 8351043 w 8971757"/>
                  <a:gd name="connsiteY157" fmla="*/ 1476375 h 4575969"/>
                  <a:gd name="connsiteX158" fmla="*/ 8170069 w 8971757"/>
                  <a:gd name="connsiteY158" fmla="*/ 1476374 h 4575969"/>
                  <a:gd name="connsiteX159" fmla="*/ 8117681 w 8971757"/>
                  <a:gd name="connsiteY159" fmla="*/ 1514475 h 4575969"/>
                  <a:gd name="connsiteX160" fmla="*/ 8067675 w 8971757"/>
                  <a:gd name="connsiteY160" fmla="*/ 1593056 h 4575969"/>
                  <a:gd name="connsiteX161" fmla="*/ 8084344 w 8971757"/>
                  <a:gd name="connsiteY161" fmla="*/ 1614487 h 4575969"/>
                  <a:gd name="connsiteX162" fmla="*/ 8039100 w 8971757"/>
                  <a:gd name="connsiteY162" fmla="*/ 1664493 h 4575969"/>
                  <a:gd name="connsiteX163" fmla="*/ 7889081 w 8971757"/>
                  <a:gd name="connsiteY163" fmla="*/ 1588293 h 4575969"/>
                  <a:gd name="connsiteX164" fmla="*/ 7798594 w 8971757"/>
                  <a:gd name="connsiteY164" fmla="*/ 1624012 h 4575969"/>
                  <a:gd name="connsiteX165" fmla="*/ 7724775 w 8971757"/>
                  <a:gd name="connsiteY165" fmla="*/ 1621631 h 4575969"/>
                  <a:gd name="connsiteX166" fmla="*/ 7667625 w 8971757"/>
                  <a:gd name="connsiteY166" fmla="*/ 1716881 h 4575969"/>
                  <a:gd name="connsiteX167" fmla="*/ 7529513 w 8971757"/>
                  <a:gd name="connsiteY167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308256 w 8971757"/>
                  <a:gd name="connsiteY15" fmla="*/ 397294 h 4575969"/>
                  <a:gd name="connsiteX16" fmla="*/ 8334450 w 8971757"/>
                  <a:gd name="connsiteY16" fmla="*/ 204413 h 4575969"/>
                  <a:gd name="connsiteX17" fmla="*/ 8412956 w 8971757"/>
                  <a:gd name="connsiteY17" fmla="*/ 23812 h 4575969"/>
                  <a:gd name="connsiteX18" fmla="*/ 8949531 w 8971757"/>
                  <a:gd name="connsiteY18" fmla="*/ 0 h 4575969"/>
                  <a:gd name="connsiteX19" fmla="*/ 8971757 w 8971757"/>
                  <a:gd name="connsiteY19" fmla="*/ 4575969 h 4575969"/>
                  <a:gd name="connsiteX20" fmla="*/ 2381 w 8971757"/>
                  <a:gd name="connsiteY20" fmla="*/ 4547392 h 4575969"/>
                  <a:gd name="connsiteX21" fmla="*/ 0 w 8971757"/>
                  <a:gd name="connsiteY21" fmla="*/ 845344 h 4575969"/>
                  <a:gd name="connsiteX22" fmla="*/ 76200 w 8971757"/>
                  <a:gd name="connsiteY22" fmla="*/ 828675 h 4575969"/>
                  <a:gd name="connsiteX23" fmla="*/ 119063 w 8971757"/>
                  <a:gd name="connsiteY23" fmla="*/ 857250 h 4575969"/>
                  <a:gd name="connsiteX24" fmla="*/ 215900 w 8971757"/>
                  <a:gd name="connsiteY24" fmla="*/ 848519 h 4575969"/>
                  <a:gd name="connsiteX25" fmla="*/ 261938 w 8971757"/>
                  <a:gd name="connsiteY25" fmla="*/ 876299 h 4575969"/>
                  <a:gd name="connsiteX26" fmla="*/ 228600 w 8971757"/>
                  <a:gd name="connsiteY26" fmla="*/ 904875 h 4575969"/>
                  <a:gd name="connsiteX27" fmla="*/ 233363 w 8971757"/>
                  <a:gd name="connsiteY27" fmla="*/ 947737 h 4575969"/>
                  <a:gd name="connsiteX28" fmla="*/ 200025 w 8971757"/>
                  <a:gd name="connsiteY28" fmla="*/ 952500 h 4575969"/>
                  <a:gd name="connsiteX29" fmla="*/ 204788 w 8971757"/>
                  <a:gd name="connsiteY29" fmla="*/ 976312 h 4575969"/>
                  <a:gd name="connsiteX30" fmla="*/ 261937 w 8971757"/>
                  <a:gd name="connsiteY30" fmla="*/ 1050131 h 4575969"/>
                  <a:gd name="connsiteX31" fmla="*/ 223838 w 8971757"/>
                  <a:gd name="connsiteY31" fmla="*/ 1097756 h 4575969"/>
                  <a:gd name="connsiteX32" fmla="*/ 278606 w 8971757"/>
                  <a:gd name="connsiteY32" fmla="*/ 1133475 h 4575969"/>
                  <a:gd name="connsiteX33" fmla="*/ 369094 w 8971757"/>
                  <a:gd name="connsiteY33" fmla="*/ 1221581 h 4575969"/>
                  <a:gd name="connsiteX34" fmla="*/ 371475 w 8971757"/>
                  <a:gd name="connsiteY34" fmla="*/ 1281112 h 4575969"/>
                  <a:gd name="connsiteX35" fmla="*/ 507206 w 8971757"/>
                  <a:gd name="connsiteY35" fmla="*/ 1414463 h 4575969"/>
                  <a:gd name="connsiteX36" fmla="*/ 561975 w 8971757"/>
                  <a:gd name="connsiteY36" fmla="*/ 1390650 h 4575969"/>
                  <a:gd name="connsiteX37" fmla="*/ 600075 w 8971757"/>
                  <a:gd name="connsiteY37" fmla="*/ 1416843 h 4575969"/>
                  <a:gd name="connsiteX38" fmla="*/ 614363 w 8971757"/>
                  <a:gd name="connsiteY38" fmla="*/ 1466849 h 4575969"/>
                  <a:gd name="connsiteX39" fmla="*/ 657225 w 8971757"/>
                  <a:gd name="connsiteY39" fmla="*/ 1502569 h 4575969"/>
                  <a:gd name="connsiteX40" fmla="*/ 697706 w 8971757"/>
                  <a:gd name="connsiteY40" fmla="*/ 1490662 h 4575969"/>
                  <a:gd name="connsiteX41" fmla="*/ 716756 w 8971757"/>
                  <a:gd name="connsiteY41" fmla="*/ 1547812 h 4575969"/>
                  <a:gd name="connsiteX42" fmla="*/ 764381 w 8971757"/>
                  <a:gd name="connsiteY42" fmla="*/ 1590675 h 4575969"/>
                  <a:gd name="connsiteX43" fmla="*/ 788194 w 8971757"/>
                  <a:gd name="connsiteY43" fmla="*/ 1693069 h 4575969"/>
                  <a:gd name="connsiteX44" fmla="*/ 785813 w 8971757"/>
                  <a:gd name="connsiteY44" fmla="*/ 1740694 h 4575969"/>
                  <a:gd name="connsiteX45" fmla="*/ 821531 w 8971757"/>
                  <a:gd name="connsiteY45" fmla="*/ 1840706 h 4575969"/>
                  <a:gd name="connsiteX46" fmla="*/ 866775 w 8971757"/>
                  <a:gd name="connsiteY46" fmla="*/ 1897856 h 4575969"/>
                  <a:gd name="connsiteX47" fmla="*/ 883443 w 8971757"/>
                  <a:gd name="connsiteY47" fmla="*/ 2055018 h 4575969"/>
                  <a:gd name="connsiteX48" fmla="*/ 850106 w 8971757"/>
                  <a:gd name="connsiteY48" fmla="*/ 2116931 h 4575969"/>
                  <a:gd name="connsiteX49" fmla="*/ 819150 w 8971757"/>
                  <a:gd name="connsiteY49" fmla="*/ 2193131 h 4575969"/>
                  <a:gd name="connsiteX50" fmla="*/ 833438 w 8971757"/>
                  <a:gd name="connsiteY50" fmla="*/ 2250281 h 4575969"/>
                  <a:gd name="connsiteX51" fmla="*/ 735806 w 8971757"/>
                  <a:gd name="connsiteY51" fmla="*/ 2357438 h 4575969"/>
                  <a:gd name="connsiteX52" fmla="*/ 692944 w 8971757"/>
                  <a:gd name="connsiteY52" fmla="*/ 2471737 h 4575969"/>
                  <a:gd name="connsiteX53" fmla="*/ 726281 w 8971757"/>
                  <a:gd name="connsiteY53" fmla="*/ 2512219 h 4575969"/>
                  <a:gd name="connsiteX54" fmla="*/ 709613 w 8971757"/>
                  <a:gd name="connsiteY54" fmla="*/ 2540794 h 4575969"/>
                  <a:gd name="connsiteX55" fmla="*/ 740569 w 8971757"/>
                  <a:gd name="connsiteY55" fmla="*/ 2597944 h 4575969"/>
                  <a:gd name="connsiteX56" fmla="*/ 769144 w 8971757"/>
                  <a:gd name="connsiteY56" fmla="*/ 2597944 h 4575969"/>
                  <a:gd name="connsiteX57" fmla="*/ 931069 w 8971757"/>
                  <a:gd name="connsiteY57" fmla="*/ 2700337 h 4575969"/>
                  <a:gd name="connsiteX58" fmla="*/ 1035844 w 8971757"/>
                  <a:gd name="connsiteY58" fmla="*/ 2697956 h 4575969"/>
                  <a:gd name="connsiteX59" fmla="*/ 1114425 w 8971757"/>
                  <a:gd name="connsiteY59" fmla="*/ 2752725 h 4575969"/>
                  <a:gd name="connsiteX60" fmla="*/ 1245393 w 8971757"/>
                  <a:gd name="connsiteY60" fmla="*/ 2755106 h 4575969"/>
                  <a:gd name="connsiteX61" fmla="*/ 1435893 w 8971757"/>
                  <a:gd name="connsiteY61" fmla="*/ 2824162 h 4575969"/>
                  <a:gd name="connsiteX62" fmla="*/ 1638300 w 8971757"/>
                  <a:gd name="connsiteY62" fmla="*/ 2974181 h 4575969"/>
                  <a:gd name="connsiteX63" fmla="*/ 1671637 w 8971757"/>
                  <a:gd name="connsiteY63" fmla="*/ 3040856 h 4575969"/>
                  <a:gd name="connsiteX64" fmla="*/ 1838325 w 8971757"/>
                  <a:gd name="connsiteY64" fmla="*/ 3167062 h 4575969"/>
                  <a:gd name="connsiteX65" fmla="*/ 1909763 w 8971757"/>
                  <a:gd name="connsiteY65" fmla="*/ 3162300 h 4575969"/>
                  <a:gd name="connsiteX66" fmla="*/ 1945482 w 8971757"/>
                  <a:gd name="connsiteY66" fmla="*/ 3186112 h 4575969"/>
                  <a:gd name="connsiteX67" fmla="*/ 1916906 w 8971757"/>
                  <a:gd name="connsiteY67" fmla="*/ 3226594 h 4575969"/>
                  <a:gd name="connsiteX68" fmla="*/ 1924050 w 8971757"/>
                  <a:gd name="connsiteY68" fmla="*/ 3278981 h 4575969"/>
                  <a:gd name="connsiteX69" fmla="*/ 1976438 w 8971757"/>
                  <a:gd name="connsiteY69" fmla="*/ 3305175 h 4575969"/>
                  <a:gd name="connsiteX70" fmla="*/ 2038350 w 8971757"/>
                  <a:gd name="connsiteY70" fmla="*/ 3529013 h 4575969"/>
                  <a:gd name="connsiteX71" fmla="*/ 2028825 w 8971757"/>
                  <a:gd name="connsiteY71" fmla="*/ 3593306 h 4575969"/>
                  <a:gd name="connsiteX72" fmla="*/ 2164556 w 8971757"/>
                  <a:gd name="connsiteY72" fmla="*/ 3759994 h 4575969"/>
                  <a:gd name="connsiteX73" fmla="*/ 2183606 w 8971757"/>
                  <a:gd name="connsiteY73" fmla="*/ 3810000 h 4575969"/>
                  <a:gd name="connsiteX74" fmla="*/ 2157413 w 8971757"/>
                  <a:gd name="connsiteY74" fmla="*/ 3829050 h 4575969"/>
                  <a:gd name="connsiteX75" fmla="*/ 2259806 w 8971757"/>
                  <a:gd name="connsiteY75" fmla="*/ 3838575 h 4575969"/>
                  <a:gd name="connsiteX76" fmla="*/ 2371725 w 8971757"/>
                  <a:gd name="connsiteY76" fmla="*/ 3826669 h 4575969"/>
                  <a:gd name="connsiteX77" fmla="*/ 2650331 w 8971757"/>
                  <a:gd name="connsiteY77" fmla="*/ 3910012 h 4575969"/>
                  <a:gd name="connsiteX78" fmla="*/ 3057525 w 8971757"/>
                  <a:gd name="connsiteY78" fmla="*/ 3990975 h 4575969"/>
                  <a:gd name="connsiteX79" fmla="*/ 3255169 w 8971757"/>
                  <a:gd name="connsiteY79" fmla="*/ 3960018 h 4575969"/>
                  <a:gd name="connsiteX80" fmla="*/ 3300413 w 8971757"/>
                  <a:gd name="connsiteY80" fmla="*/ 3971924 h 4575969"/>
                  <a:gd name="connsiteX81" fmla="*/ 3355181 w 8971757"/>
                  <a:gd name="connsiteY81" fmla="*/ 3948113 h 4575969"/>
                  <a:gd name="connsiteX82" fmla="*/ 3748087 w 8971757"/>
                  <a:gd name="connsiteY82" fmla="*/ 4038600 h 4575969"/>
                  <a:gd name="connsiteX83" fmla="*/ 3831432 w 8971757"/>
                  <a:gd name="connsiteY83" fmla="*/ 4136231 h 4575969"/>
                  <a:gd name="connsiteX84" fmla="*/ 3950494 w 8971757"/>
                  <a:gd name="connsiteY84" fmla="*/ 4207669 h 4575969"/>
                  <a:gd name="connsiteX85" fmla="*/ 4010025 w 8971757"/>
                  <a:gd name="connsiteY85" fmla="*/ 4191000 h 4575969"/>
                  <a:gd name="connsiteX86" fmla="*/ 4360068 w 8971757"/>
                  <a:gd name="connsiteY86" fmla="*/ 4364831 h 4575969"/>
                  <a:gd name="connsiteX87" fmla="*/ 4586288 w 8971757"/>
                  <a:gd name="connsiteY87" fmla="*/ 4336256 h 4575969"/>
                  <a:gd name="connsiteX88" fmla="*/ 4595813 w 8971757"/>
                  <a:gd name="connsiteY88" fmla="*/ 4414837 h 4575969"/>
                  <a:gd name="connsiteX89" fmla="*/ 4681538 w 8971757"/>
                  <a:gd name="connsiteY89" fmla="*/ 4410074 h 4575969"/>
                  <a:gd name="connsiteX90" fmla="*/ 4760119 w 8971757"/>
                  <a:gd name="connsiteY90" fmla="*/ 4441031 h 4575969"/>
                  <a:gd name="connsiteX91" fmla="*/ 4802981 w 8971757"/>
                  <a:gd name="connsiteY91" fmla="*/ 4381500 h 4575969"/>
                  <a:gd name="connsiteX92" fmla="*/ 5474494 w 8971757"/>
                  <a:gd name="connsiteY92" fmla="*/ 4062412 h 4575969"/>
                  <a:gd name="connsiteX93" fmla="*/ 5562600 w 8971757"/>
                  <a:gd name="connsiteY93" fmla="*/ 4090988 h 4575969"/>
                  <a:gd name="connsiteX94" fmla="*/ 5693569 w 8971757"/>
                  <a:gd name="connsiteY94" fmla="*/ 4062412 h 4575969"/>
                  <a:gd name="connsiteX95" fmla="*/ 5872162 w 8971757"/>
                  <a:gd name="connsiteY95" fmla="*/ 4079081 h 4575969"/>
                  <a:gd name="connsiteX96" fmla="*/ 5929313 w 8971757"/>
                  <a:gd name="connsiteY96" fmla="*/ 4052888 h 4575969"/>
                  <a:gd name="connsiteX97" fmla="*/ 6062662 w 8971757"/>
                  <a:gd name="connsiteY97" fmla="*/ 4050506 h 4575969"/>
                  <a:gd name="connsiteX98" fmla="*/ 6196012 w 8971757"/>
                  <a:gd name="connsiteY98" fmla="*/ 3952875 h 4575969"/>
                  <a:gd name="connsiteX99" fmla="*/ 6262687 w 8971757"/>
                  <a:gd name="connsiteY99" fmla="*/ 3945731 h 4575969"/>
                  <a:gd name="connsiteX100" fmla="*/ 6360319 w 8971757"/>
                  <a:gd name="connsiteY100" fmla="*/ 3871912 h 4575969"/>
                  <a:gd name="connsiteX101" fmla="*/ 6434138 w 8971757"/>
                  <a:gd name="connsiteY101" fmla="*/ 3802856 h 4575969"/>
                  <a:gd name="connsiteX102" fmla="*/ 6443663 w 8971757"/>
                  <a:gd name="connsiteY102" fmla="*/ 3740944 h 4575969"/>
                  <a:gd name="connsiteX103" fmla="*/ 6477000 w 8971757"/>
                  <a:gd name="connsiteY103" fmla="*/ 3671887 h 4575969"/>
                  <a:gd name="connsiteX104" fmla="*/ 6629400 w 8971757"/>
                  <a:gd name="connsiteY104" fmla="*/ 3564731 h 4575969"/>
                  <a:gd name="connsiteX105" fmla="*/ 6662738 w 8971757"/>
                  <a:gd name="connsiteY105" fmla="*/ 3569494 h 4575969"/>
                  <a:gd name="connsiteX106" fmla="*/ 6715125 w 8971757"/>
                  <a:gd name="connsiteY106" fmla="*/ 3490912 h 4575969"/>
                  <a:gd name="connsiteX107" fmla="*/ 6762750 w 8971757"/>
                  <a:gd name="connsiteY107" fmla="*/ 3452812 h 4575969"/>
                  <a:gd name="connsiteX108" fmla="*/ 6748463 w 8971757"/>
                  <a:gd name="connsiteY108" fmla="*/ 3383756 h 4575969"/>
                  <a:gd name="connsiteX109" fmla="*/ 6698456 w 8971757"/>
                  <a:gd name="connsiteY109" fmla="*/ 3352799 h 4575969"/>
                  <a:gd name="connsiteX110" fmla="*/ 6638925 w 8971757"/>
                  <a:gd name="connsiteY110" fmla="*/ 3298031 h 4575969"/>
                  <a:gd name="connsiteX111" fmla="*/ 6619875 w 8971757"/>
                  <a:gd name="connsiteY111" fmla="*/ 3240881 h 4575969"/>
                  <a:gd name="connsiteX112" fmla="*/ 6584156 w 8971757"/>
                  <a:gd name="connsiteY112" fmla="*/ 3207544 h 4575969"/>
                  <a:gd name="connsiteX113" fmla="*/ 6610350 w 8971757"/>
                  <a:gd name="connsiteY113" fmla="*/ 3155156 h 4575969"/>
                  <a:gd name="connsiteX114" fmla="*/ 6650831 w 8971757"/>
                  <a:gd name="connsiteY114" fmla="*/ 2976562 h 4575969"/>
                  <a:gd name="connsiteX115" fmla="*/ 6691313 w 8971757"/>
                  <a:gd name="connsiteY115" fmla="*/ 2909887 h 4575969"/>
                  <a:gd name="connsiteX116" fmla="*/ 6836569 w 8971757"/>
                  <a:gd name="connsiteY116" fmla="*/ 2893218 h 4575969"/>
                  <a:gd name="connsiteX117" fmla="*/ 6905625 w 8971757"/>
                  <a:gd name="connsiteY117" fmla="*/ 2950369 h 4575969"/>
                  <a:gd name="connsiteX118" fmla="*/ 6981825 w 8971757"/>
                  <a:gd name="connsiteY118" fmla="*/ 2974181 h 4575969"/>
                  <a:gd name="connsiteX119" fmla="*/ 7186612 w 8971757"/>
                  <a:gd name="connsiteY119" fmla="*/ 2978944 h 4575969"/>
                  <a:gd name="connsiteX120" fmla="*/ 7362825 w 8971757"/>
                  <a:gd name="connsiteY120" fmla="*/ 2840831 h 4575969"/>
                  <a:gd name="connsiteX121" fmla="*/ 7419975 w 8971757"/>
                  <a:gd name="connsiteY121" fmla="*/ 2750343 h 4575969"/>
                  <a:gd name="connsiteX122" fmla="*/ 7446169 w 8971757"/>
                  <a:gd name="connsiteY122" fmla="*/ 2667000 h 4575969"/>
                  <a:gd name="connsiteX123" fmla="*/ 7577137 w 8971757"/>
                  <a:gd name="connsiteY123" fmla="*/ 2667000 h 4575969"/>
                  <a:gd name="connsiteX124" fmla="*/ 7750969 w 8971757"/>
                  <a:gd name="connsiteY124" fmla="*/ 2609849 h 4575969"/>
                  <a:gd name="connsiteX125" fmla="*/ 7810500 w 8971757"/>
                  <a:gd name="connsiteY125" fmla="*/ 2497931 h 4575969"/>
                  <a:gd name="connsiteX126" fmla="*/ 7874794 w 8971757"/>
                  <a:gd name="connsiteY126" fmla="*/ 2462212 h 4575969"/>
                  <a:gd name="connsiteX127" fmla="*/ 7853363 w 8971757"/>
                  <a:gd name="connsiteY127" fmla="*/ 2416969 h 4575969"/>
                  <a:gd name="connsiteX128" fmla="*/ 7931944 w 8971757"/>
                  <a:gd name="connsiteY128" fmla="*/ 2247899 h 4575969"/>
                  <a:gd name="connsiteX129" fmla="*/ 7986713 w 8971757"/>
                  <a:gd name="connsiteY129" fmla="*/ 2188369 h 4575969"/>
                  <a:gd name="connsiteX130" fmla="*/ 8024813 w 8971757"/>
                  <a:gd name="connsiteY130" fmla="*/ 2183606 h 4575969"/>
                  <a:gd name="connsiteX131" fmla="*/ 8070056 w 8971757"/>
                  <a:gd name="connsiteY131" fmla="*/ 2188369 h 4575969"/>
                  <a:gd name="connsiteX132" fmla="*/ 8134350 w 8971757"/>
                  <a:gd name="connsiteY132" fmla="*/ 2155031 h 4575969"/>
                  <a:gd name="connsiteX133" fmla="*/ 8143875 w 8971757"/>
                  <a:gd name="connsiteY133" fmla="*/ 2090737 h 4575969"/>
                  <a:gd name="connsiteX134" fmla="*/ 8184355 w 8971757"/>
                  <a:gd name="connsiteY134" fmla="*/ 2055019 h 4575969"/>
                  <a:gd name="connsiteX135" fmla="*/ 8243888 w 8971757"/>
                  <a:gd name="connsiteY135" fmla="*/ 2095499 h 4575969"/>
                  <a:gd name="connsiteX136" fmla="*/ 8270082 w 8971757"/>
                  <a:gd name="connsiteY136" fmla="*/ 2045493 h 4575969"/>
                  <a:gd name="connsiteX137" fmla="*/ 8365331 w 8971757"/>
                  <a:gd name="connsiteY137" fmla="*/ 1976437 h 4575969"/>
                  <a:gd name="connsiteX138" fmla="*/ 8427244 w 8971757"/>
                  <a:gd name="connsiteY138" fmla="*/ 1983581 h 4575969"/>
                  <a:gd name="connsiteX139" fmla="*/ 8477250 w 8971757"/>
                  <a:gd name="connsiteY139" fmla="*/ 1964531 h 4575969"/>
                  <a:gd name="connsiteX140" fmla="*/ 8515350 w 8971757"/>
                  <a:gd name="connsiteY140" fmla="*/ 1935956 h 4575969"/>
                  <a:gd name="connsiteX141" fmla="*/ 8548688 w 8971757"/>
                  <a:gd name="connsiteY141" fmla="*/ 1933575 h 4575969"/>
                  <a:gd name="connsiteX142" fmla="*/ 8584406 w 8971757"/>
                  <a:gd name="connsiteY142" fmla="*/ 1964531 h 4575969"/>
                  <a:gd name="connsiteX143" fmla="*/ 8643938 w 8971757"/>
                  <a:gd name="connsiteY143" fmla="*/ 1964531 h 4575969"/>
                  <a:gd name="connsiteX144" fmla="*/ 8682037 w 8971757"/>
                  <a:gd name="connsiteY144" fmla="*/ 1945481 h 4575969"/>
                  <a:gd name="connsiteX145" fmla="*/ 8765381 w 8971757"/>
                  <a:gd name="connsiteY145" fmla="*/ 1947863 h 4575969"/>
                  <a:gd name="connsiteX146" fmla="*/ 8796338 w 8971757"/>
                  <a:gd name="connsiteY146" fmla="*/ 1902619 h 4575969"/>
                  <a:gd name="connsiteX147" fmla="*/ 8801100 w 8971757"/>
                  <a:gd name="connsiteY147" fmla="*/ 1840706 h 4575969"/>
                  <a:gd name="connsiteX148" fmla="*/ 8751093 w 8971757"/>
                  <a:gd name="connsiteY148" fmla="*/ 1800225 h 4575969"/>
                  <a:gd name="connsiteX149" fmla="*/ 8734425 w 8971757"/>
                  <a:gd name="connsiteY149" fmla="*/ 1745456 h 4575969"/>
                  <a:gd name="connsiteX150" fmla="*/ 8643938 w 8971757"/>
                  <a:gd name="connsiteY150" fmla="*/ 1683544 h 4575969"/>
                  <a:gd name="connsiteX151" fmla="*/ 8603456 w 8971757"/>
                  <a:gd name="connsiteY151" fmla="*/ 1662112 h 4575969"/>
                  <a:gd name="connsiteX152" fmla="*/ 8565356 w 8971757"/>
                  <a:gd name="connsiteY152" fmla="*/ 1616869 h 4575969"/>
                  <a:gd name="connsiteX153" fmla="*/ 8534400 w 8971757"/>
                  <a:gd name="connsiteY153" fmla="*/ 1614487 h 4575969"/>
                  <a:gd name="connsiteX154" fmla="*/ 8517731 w 8971757"/>
                  <a:gd name="connsiteY154" fmla="*/ 1562100 h 4575969"/>
                  <a:gd name="connsiteX155" fmla="*/ 8477250 w 8971757"/>
                  <a:gd name="connsiteY155" fmla="*/ 1545431 h 4575969"/>
                  <a:gd name="connsiteX156" fmla="*/ 8477250 w 8971757"/>
                  <a:gd name="connsiteY156" fmla="*/ 1545431 h 4575969"/>
                  <a:gd name="connsiteX157" fmla="*/ 8436769 w 8971757"/>
                  <a:gd name="connsiteY157" fmla="*/ 1550194 h 4575969"/>
                  <a:gd name="connsiteX158" fmla="*/ 8351043 w 8971757"/>
                  <a:gd name="connsiteY158" fmla="*/ 1476375 h 4575969"/>
                  <a:gd name="connsiteX159" fmla="*/ 8170069 w 8971757"/>
                  <a:gd name="connsiteY159" fmla="*/ 1476374 h 4575969"/>
                  <a:gd name="connsiteX160" fmla="*/ 8117681 w 8971757"/>
                  <a:gd name="connsiteY160" fmla="*/ 1514475 h 4575969"/>
                  <a:gd name="connsiteX161" fmla="*/ 8067675 w 8971757"/>
                  <a:gd name="connsiteY161" fmla="*/ 1593056 h 4575969"/>
                  <a:gd name="connsiteX162" fmla="*/ 8084344 w 8971757"/>
                  <a:gd name="connsiteY162" fmla="*/ 1614487 h 4575969"/>
                  <a:gd name="connsiteX163" fmla="*/ 8039100 w 8971757"/>
                  <a:gd name="connsiteY163" fmla="*/ 1664493 h 4575969"/>
                  <a:gd name="connsiteX164" fmla="*/ 7889081 w 8971757"/>
                  <a:gd name="connsiteY164" fmla="*/ 1588293 h 4575969"/>
                  <a:gd name="connsiteX165" fmla="*/ 7798594 w 8971757"/>
                  <a:gd name="connsiteY165" fmla="*/ 1624012 h 4575969"/>
                  <a:gd name="connsiteX166" fmla="*/ 7724775 w 8971757"/>
                  <a:gd name="connsiteY166" fmla="*/ 1621631 h 4575969"/>
                  <a:gd name="connsiteX167" fmla="*/ 7667625 w 8971757"/>
                  <a:gd name="connsiteY167" fmla="*/ 1716881 h 4575969"/>
                  <a:gd name="connsiteX168" fmla="*/ 7529513 w 8971757"/>
                  <a:gd name="connsiteY16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308256 w 8971757"/>
                  <a:gd name="connsiteY15" fmla="*/ 397294 h 4575969"/>
                  <a:gd name="connsiteX16" fmla="*/ 8439225 w 8971757"/>
                  <a:gd name="connsiteY16" fmla="*/ 237751 h 4575969"/>
                  <a:gd name="connsiteX17" fmla="*/ 8412956 w 8971757"/>
                  <a:gd name="connsiteY17" fmla="*/ 23812 h 4575969"/>
                  <a:gd name="connsiteX18" fmla="*/ 8949531 w 8971757"/>
                  <a:gd name="connsiteY18" fmla="*/ 0 h 4575969"/>
                  <a:gd name="connsiteX19" fmla="*/ 8971757 w 8971757"/>
                  <a:gd name="connsiteY19" fmla="*/ 4575969 h 4575969"/>
                  <a:gd name="connsiteX20" fmla="*/ 2381 w 8971757"/>
                  <a:gd name="connsiteY20" fmla="*/ 4547392 h 4575969"/>
                  <a:gd name="connsiteX21" fmla="*/ 0 w 8971757"/>
                  <a:gd name="connsiteY21" fmla="*/ 845344 h 4575969"/>
                  <a:gd name="connsiteX22" fmla="*/ 76200 w 8971757"/>
                  <a:gd name="connsiteY22" fmla="*/ 828675 h 4575969"/>
                  <a:gd name="connsiteX23" fmla="*/ 119063 w 8971757"/>
                  <a:gd name="connsiteY23" fmla="*/ 857250 h 4575969"/>
                  <a:gd name="connsiteX24" fmla="*/ 215900 w 8971757"/>
                  <a:gd name="connsiteY24" fmla="*/ 848519 h 4575969"/>
                  <a:gd name="connsiteX25" fmla="*/ 261938 w 8971757"/>
                  <a:gd name="connsiteY25" fmla="*/ 876299 h 4575969"/>
                  <a:gd name="connsiteX26" fmla="*/ 228600 w 8971757"/>
                  <a:gd name="connsiteY26" fmla="*/ 904875 h 4575969"/>
                  <a:gd name="connsiteX27" fmla="*/ 233363 w 8971757"/>
                  <a:gd name="connsiteY27" fmla="*/ 947737 h 4575969"/>
                  <a:gd name="connsiteX28" fmla="*/ 200025 w 8971757"/>
                  <a:gd name="connsiteY28" fmla="*/ 952500 h 4575969"/>
                  <a:gd name="connsiteX29" fmla="*/ 204788 w 8971757"/>
                  <a:gd name="connsiteY29" fmla="*/ 976312 h 4575969"/>
                  <a:gd name="connsiteX30" fmla="*/ 261937 w 8971757"/>
                  <a:gd name="connsiteY30" fmla="*/ 1050131 h 4575969"/>
                  <a:gd name="connsiteX31" fmla="*/ 223838 w 8971757"/>
                  <a:gd name="connsiteY31" fmla="*/ 1097756 h 4575969"/>
                  <a:gd name="connsiteX32" fmla="*/ 278606 w 8971757"/>
                  <a:gd name="connsiteY32" fmla="*/ 1133475 h 4575969"/>
                  <a:gd name="connsiteX33" fmla="*/ 369094 w 8971757"/>
                  <a:gd name="connsiteY33" fmla="*/ 1221581 h 4575969"/>
                  <a:gd name="connsiteX34" fmla="*/ 371475 w 8971757"/>
                  <a:gd name="connsiteY34" fmla="*/ 1281112 h 4575969"/>
                  <a:gd name="connsiteX35" fmla="*/ 507206 w 8971757"/>
                  <a:gd name="connsiteY35" fmla="*/ 1414463 h 4575969"/>
                  <a:gd name="connsiteX36" fmla="*/ 561975 w 8971757"/>
                  <a:gd name="connsiteY36" fmla="*/ 1390650 h 4575969"/>
                  <a:gd name="connsiteX37" fmla="*/ 600075 w 8971757"/>
                  <a:gd name="connsiteY37" fmla="*/ 1416843 h 4575969"/>
                  <a:gd name="connsiteX38" fmla="*/ 614363 w 8971757"/>
                  <a:gd name="connsiteY38" fmla="*/ 1466849 h 4575969"/>
                  <a:gd name="connsiteX39" fmla="*/ 657225 w 8971757"/>
                  <a:gd name="connsiteY39" fmla="*/ 1502569 h 4575969"/>
                  <a:gd name="connsiteX40" fmla="*/ 697706 w 8971757"/>
                  <a:gd name="connsiteY40" fmla="*/ 1490662 h 4575969"/>
                  <a:gd name="connsiteX41" fmla="*/ 716756 w 8971757"/>
                  <a:gd name="connsiteY41" fmla="*/ 1547812 h 4575969"/>
                  <a:gd name="connsiteX42" fmla="*/ 764381 w 8971757"/>
                  <a:gd name="connsiteY42" fmla="*/ 1590675 h 4575969"/>
                  <a:gd name="connsiteX43" fmla="*/ 788194 w 8971757"/>
                  <a:gd name="connsiteY43" fmla="*/ 1693069 h 4575969"/>
                  <a:gd name="connsiteX44" fmla="*/ 785813 w 8971757"/>
                  <a:gd name="connsiteY44" fmla="*/ 1740694 h 4575969"/>
                  <a:gd name="connsiteX45" fmla="*/ 821531 w 8971757"/>
                  <a:gd name="connsiteY45" fmla="*/ 1840706 h 4575969"/>
                  <a:gd name="connsiteX46" fmla="*/ 866775 w 8971757"/>
                  <a:gd name="connsiteY46" fmla="*/ 1897856 h 4575969"/>
                  <a:gd name="connsiteX47" fmla="*/ 883443 w 8971757"/>
                  <a:gd name="connsiteY47" fmla="*/ 2055018 h 4575969"/>
                  <a:gd name="connsiteX48" fmla="*/ 850106 w 8971757"/>
                  <a:gd name="connsiteY48" fmla="*/ 2116931 h 4575969"/>
                  <a:gd name="connsiteX49" fmla="*/ 819150 w 8971757"/>
                  <a:gd name="connsiteY49" fmla="*/ 2193131 h 4575969"/>
                  <a:gd name="connsiteX50" fmla="*/ 833438 w 8971757"/>
                  <a:gd name="connsiteY50" fmla="*/ 2250281 h 4575969"/>
                  <a:gd name="connsiteX51" fmla="*/ 735806 w 8971757"/>
                  <a:gd name="connsiteY51" fmla="*/ 2357438 h 4575969"/>
                  <a:gd name="connsiteX52" fmla="*/ 692944 w 8971757"/>
                  <a:gd name="connsiteY52" fmla="*/ 2471737 h 4575969"/>
                  <a:gd name="connsiteX53" fmla="*/ 726281 w 8971757"/>
                  <a:gd name="connsiteY53" fmla="*/ 2512219 h 4575969"/>
                  <a:gd name="connsiteX54" fmla="*/ 709613 w 8971757"/>
                  <a:gd name="connsiteY54" fmla="*/ 2540794 h 4575969"/>
                  <a:gd name="connsiteX55" fmla="*/ 740569 w 8971757"/>
                  <a:gd name="connsiteY55" fmla="*/ 2597944 h 4575969"/>
                  <a:gd name="connsiteX56" fmla="*/ 769144 w 8971757"/>
                  <a:gd name="connsiteY56" fmla="*/ 2597944 h 4575969"/>
                  <a:gd name="connsiteX57" fmla="*/ 931069 w 8971757"/>
                  <a:gd name="connsiteY57" fmla="*/ 2700337 h 4575969"/>
                  <a:gd name="connsiteX58" fmla="*/ 1035844 w 8971757"/>
                  <a:gd name="connsiteY58" fmla="*/ 2697956 h 4575969"/>
                  <a:gd name="connsiteX59" fmla="*/ 1114425 w 8971757"/>
                  <a:gd name="connsiteY59" fmla="*/ 2752725 h 4575969"/>
                  <a:gd name="connsiteX60" fmla="*/ 1245393 w 8971757"/>
                  <a:gd name="connsiteY60" fmla="*/ 2755106 h 4575969"/>
                  <a:gd name="connsiteX61" fmla="*/ 1435893 w 8971757"/>
                  <a:gd name="connsiteY61" fmla="*/ 2824162 h 4575969"/>
                  <a:gd name="connsiteX62" fmla="*/ 1638300 w 8971757"/>
                  <a:gd name="connsiteY62" fmla="*/ 2974181 h 4575969"/>
                  <a:gd name="connsiteX63" fmla="*/ 1671637 w 8971757"/>
                  <a:gd name="connsiteY63" fmla="*/ 3040856 h 4575969"/>
                  <a:gd name="connsiteX64" fmla="*/ 1838325 w 8971757"/>
                  <a:gd name="connsiteY64" fmla="*/ 3167062 h 4575969"/>
                  <a:gd name="connsiteX65" fmla="*/ 1909763 w 8971757"/>
                  <a:gd name="connsiteY65" fmla="*/ 3162300 h 4575969"/>
                  <a:gd name="connsiteX66" fmla="*/ 1945482 w 8971757"/>
                  <a:gd name="connsiteY66" fmla="*/ 3186112 h 4575969"/>
                  <a:gd name="connsiteX67" fmla="*/ 1916906 w 8971757"/>
                  <a:gd name="connsiteY67" fmla="*/ 3226594 h 4575969"/>
                  <a:gd name="connsiteX68" fmla="*/ 1924050 w 8971757"/>
                  <a:gd name="connsiteY68" fmla="*/ 3278981 h 4575969"/>
                  <a:gd name="connsiteX69" fmla="*/ 1976438 w 8971757"/>
                  <a:gd name="connsiteY69" fmla="*/ 3305175 h 4575969"/>
                  <a:gd name="connsiteX70" fmla="*/ 2038350 w 8971757"/>
                  <a:gd name="connsiteY70" fmla="*/ 3529013 h 4575969"/>
                  <a:gd name="connsiteX71" fmla="*/ 2028825 w 8971757"/>
                  <a:gd name="connsiteY71" fmla="*/ 3593306 h 4575969"/>
                  <a:gd name="connsiteX72" fmla="*/ 2164556 w 8971757"/>
                  <a:gd name="connsiteY72" fmla="*/ 3759994 h 4575969"/>
                  <a:gd name="connsiteX73" fmla="*/ 2183606 w 8971757"/>
                  <a:gd name="connsiteY73" fmla="*/ 3810000 h 4575969"/>
                  <a:gd name="connsiteX74" fmla="*/ 2157413 w 8971757"/>
                  <a:gd name="connsiteY74" fmla="*/ 3829050 h 4575969"/>
                  <a:gd name="connsiteX75" fmla="*/ 2259806 w 8971757"/>
                  <a:gd name="connsiteY75" fmla="*/ 3838575 h 4575969"/>
                  <a:gd name="connsiteX76" fmla="*/ 2371725 w 8971757"/>
                  <a:gd name="connsiteY76" fmla="*/ 3826669 h 4575969"/>
                  <a:gd name="connsiteX77" fmla="*/ 2650331 w 8971757"/>
                  <a:gd name="connsiteY77" fmla="*/ 3910012 h 4575969"/>
                  <a:gd name="connsiteX78" fmla="*/ 3057525 w 8971757"/>
                  <a:gd name="connsiteY78" fmla="*/ 3990975 h 4575969"/>
                  <a:gd name="connsiteX79" fmla="*/ 3255169 w 8971757"/>
                  <a:gd name="connsiteY79" fmla="*/ 3960018 h 4575969"/>
                  <a:gd name="connsiteX80" fmla="*/ 3300413 w 8971757"/>
                  <a:gd name="connsiteY80" fmla="*/ 3971924 h 4575969"/>
                  <a:gd name="connsiteX81" fmla="*/ 3355181 w 8971757"/>
                  <a:gd name="connsiteY81" fmla="*/ 3948113 h 4575969"/>
                  <a:gd name="connsiteX82" fmla="*/ 3748087 w 8971757"/>
                  <a:gd name="connsiteY82" fmla="*/ 4038600 h 4575969"/>
                  <a:gd name="connsiteX83" fmla="*/ 3831432 w 8971757"/>
                  <a:gd name="connsiteY83" fmla="*/ 4136231 h 4575969"/>
                  <a:gd name="connsiteX84" fmla="*/ 3950494 w 8971757"/>
                  <a:gd name="connsiteY84" fmla="*/ 4207669 h 4575969"/>
                  <a:gd name="connsiteX85" fmla="*/ 4010025 w 8971757"/>
                  <a:gd name="connsiteY85" fmla="*/ 4191000 h 4575969"/>
                  <a:gd name="connsiteX86" fmla="*/ 4360068 w 8971757"/>
                  <a:gd name="connsiteY86" fmla="*/ 4364831 h 4575969"/>
                  <a:gd name="connsiteX87" fmla="*/ 4586288 w 8971757"/>
                  <a:gd name="connsiteY87" fmla="*/ 4336256 h 4575969"/>
                  <a:gd name="connsiteX88" fmla="*/ 4595813 w 8971757"/>
                  <a:gd name="connsiteY88" fmla="*/ 4414837 h 4575969"/>
                  <a:gd name="connsiteX89" fmla="*/ 4681538 w 8971757"/>
                  <a:gd name="connsiteY89" fmla="*/ 4410074 h 4575969"/>
                  <a:gd name="connsiteX90" fmla="*/ 4760119 w 8971757"/>
                  <a:gd name="connsiteY90" fmla="*/ 4441031 h 4575969"/>
                  <a:gd name="connsiteX91" fmla="*/ 4802981 w 8971757"/>
                  <a:gd name="connsiteY91" fmla="*/ 4381500 h 4575969"/>
                  <a:gd name="connsiteX92" fmla="*/ 5474494 w 8971757"/>
                  <a:gd name="connsiteY92" fmla="*/ 4062412 h 4575969"/>
                  <a:gd name="connsiteX93" fmla="*/ 5562600 w 8971757"/>
                  <a:gd name="connsiteY93" fmla="*/ 4090988 h 4575969"/>
                  <a:gd name="connsiteX94" fmla="*/ 5693569 w 8971757"/>
                  <a:gd name="connsiteY94" fmla="*/ 4062412 h 4575969"/>
                  <a:gd name="connsiteX95" fmla="*/ 5872162 w 8971757"/>
                  <a:gd name="connsiteY95" fmla="*/ 4079081 h 4575969"/>
                  <a:gd name="connsiteX96" fmla="*/ 5929313 w 8971757"/>
                  <a:gd name="connsiteY96" fmla="*/ 4052888 h 4575969"/>
                  <a:gd name="connsiteX97" fmla="*/ 6062662 w 8971757"/>
                  <a:gd name="connsiteY97" fmla="*/ 4050506 h 4575969"/>
                  <a:gd name="connsiteX98" fmla="*/ 6196012 w 8971757"/>
                  <a:gd name="connsiteY98" fmla="*/ 3952875 h 4575969"/>
                  <a:gd name="connsiteX99" fmla="*/ 6262687 w 8971757"/>
                  <a:gd name="connsiteY99" fmla="*/ 3945731 h 4575969"/>
                  <a:gd name="connsiteX100" fmla="*/ 6360319 w 8971757"/>
                  <a:gd name="connsiteY100" fmla="*/ 3871912 h 4575969"/>
                  <a:gd name="connsiteX101" fmla="*/ 6434138 w 8971757"/>
                  <a:gd name="connsiteY101" fmla="*/ 3802856 h 4575969"/>
                  <a:gd name="connsiteX102" fmla="*/ 6443663 w 8971757"/>
                  <a:gd name="connsiteY102" fmla="*/ 3740944 h 4575969"/>
                  <a:gd name="connsiteX103" fmla="*/ 6477000 w 8971757"/>
                  <a:gd name="connsiteY103" fmla="*/ 3671887 h 4575969"/>
                  <a:gd name="connsiteX104" fmla="*/ 6629400 w 8971757"/>
                  <a:gd name="connsiteY104" fmla="*/ 3564731 h 4575969"/>
                  <a:gd name="connsiteX105" fmla="*/ 6662738 w 8971757"/>
                  <a:gd name="connsiteY105" fmla="*/ 3569494 h 4575969"/>
                  <a:gd name="connsiteX106" fmla="*/ 6715125 w 8971757"/>
                  <a:gd name="connsiteY106" fmla="*/ 3490912 h 4575969"/>
                  <a:gd name="connsiteX107" fmla="*/ 6762750 w 8971757"/>
                  <a:gd name="connsiteY107" fmla="*/ 3452812 h 4575969"/>
                  <a:gd name="connsiteX108" fmla="*/ 6748463 w 8971757"/>
                  <a:gd name="connsiteY108" fmla="*/ 3383756 h 4575969"/>
                  <a:gd name="connsiteX109" fmla="*/ 6698456 w 8971757"/>
                  <a:gd name="connsiteY109" fmla="*/ 3352799 h 4575969"/>
                  <a:gd name="connsiteX110" fmla="*/ 6638925 w 8971757"/>
                  <a:gd name="connsiteY110" fmla="*/ 3298031 h 4575969"/>
                  <a:gd name="connsiteX111" fmla="*/ 6619875 w 8971757"/>
                  <a:gd name="connsiteY111" fmla="*/ 3240881 h 4575969"/>
                  <a:gd name="connsiteX112" fmla="*/ 6584156 w 8971757"/>
                  <a:gd name="connsiteY112" fmla="*/ 3207544 h 4575969"/>
                  <a:gd name="connsiteX113" fmla="*/ 6610350 w 8971757"/>
                  <a:gd name="connsiteY113" fmla="*/ 3155156 h 4575969"/>
                  <a:gd name="connsiteX114" fmla="*/ 6650831 w 8971757"/>
                  <a:gd name="connsiteY114" fmla="*/ 2976562 h 4575969"/>
                  <a:gd name="connsiteX115" fmla="*/ 6691313 w 8971757"/>
                  <a:gd name="connsiteY115" fmla="*/ 2909887 h 4575969"/>
                  <a:gd name="connsiteX116" fmla="*/ 6836569 w 8971757"/>
                  <a:gd name="connsiteY116" fmla="*/ 2893218 h 4575969"/>
                  <a:gd name="connsiteX117" fmla="*/ 6905625 w 8971757"/>
                  <a:gd name="connsiteY117" fmla="*/ 2950369 h 4575969"/>
                  <a:gd name="connsiteX118" fmla="*/ 6981825 w 8971757"/>
                  <a:gd name="connsiteY118" fmla="*/ 2974181 h 4575969"/>
                  <a:gd name="connsiteX119" fmla="*/ 7186612 w 8971757"/>
                  <a:gd name="connsiteY119" fmla="*/ 2978944 h 4575969"/>
                  <a:gd name="connsiteX120" fmla="*/ 7362825 w 8971757"/>
                  <a:gd name="connsiteY120" fmla="*/ 2840831 h 4575969"/>
                  <a:gd name="connsiteX121" fmla="*/ 7419975 w 8971757"/>
                  <a:gd name="connsiteY121" fmla="*/ 2750343 h 4575969"/>
                  <a:gd name="connsiteX122" fmla="*/ 7446169 w 8971757"/>
                  <a:gd name="connsiteY122" fmla="*/ 2667000 h 4575969"/>
                  <a:gd name="connsiteX123" fmla="*/ 7577137 w 8971757"/>
                  <a:gd name="connsiteY123" fmla="*/ 2667000 h 4575969"/>
                  <a:gd name="connsiteX124" fmla="*/ 7750969 w 8971757"/>
                  <a:gd name="connsiteY124" fmla="*/ 2609849 h 4575969"/>
                  <a:gd name="connsiteX125" fmla="*/ 7810500 w 8971757"/>
                  <a:gd name="connsiteY125" fmla="*/ 2497931 h 4575969"/>
                  <a:gd name="connsiteX126" fmla="*/ 7874794 w 8971757"/>
                  <a:gd name="connsiteY126" fmla="*/ 2462212 h 4575969"/>
                  <a:gd name="connsiteX127" fmla="*/ 7853363 w 8971757"/>
                  <a:gd name="connsiteY127" fmla="*/ 2416969 h 4575969"/>
                  <a:gd name="connsiteX128" fmla="*/ 7931944 w 8971757"/>
                  <a:gd name="connsiteY128" fmla="*/ 2247899 h 4575969"/>
                  <a:gd name="connsiteX129" fmla="*/ 7986713 w 8971757"/>
                  <a:gd name="connsiteY129" fmla="*/ 2188369 h 4575969"/>
                  <a:gd name="connsiteX130" fmla="*/ 8024813 w 8971757"/>
                  <a:gd name="connsiteY130" fmla="*/ 2183606 h 4575969"/>
                  <a:gd name="connsiteX131" fmla="*/ 8070056 w 8971757"/>
                  <a:gd name="connsiteY131" fmla="*/ 2188369 h 4575969"/>
                  <a:gd name="connsiteX132" fmla="*/ 8134350 w 8971757"/>
                  <a:gd name="connsiteY132" fmla="*/ 2155031 h 4575969"/>
                  <a:gd name="connsiteX133" fmla="*/ 8143875 w 8971757"/>
                  <a:gd name="connsiteY133" fmla="*/ 2090737 h 4575969"/>
                  <a:gd name="connsiteX134" fmla="*/ 8184355 w 8971757"/>
                  <a:gd name="connsiteY134" fmla="*/ 2055019 h 4575969"/>
                  <a:gd name="connsiteX135" fmla="*/ 8243888 w 8971757"/>
                  <a:gd name="connsiteY135" fmla="*/ 2095499 h 4575969"/>
                  <a:gd name="connsiteX136" fmla="*/ 8270082 w 8971757"/>
                  <a:gd name="connsiteY136" fmla="*/ 2045493 h 4575969"/>
                  <a:gd name="connsiteX137" fmla="*/ 8365331 w 8971757"/>
                  <a:gd name="connsiteY137" fmla="*/ 1976437 h 4575969"/>
                  <a:gd name="connsiteX138" fmla="*/ 8427244 w 8971757"/>
                  <a:gd name="connsiteY138" fmla="*/ 1983581 h 4575969"/>
                  <a:gd name="connsiteX139" fmla="*/ 8477250 w 8971757"/>
                  <a:gd name="connsiteY139" fmla="*/ 1964531 h 4575969"/>
                  <a:gd name="connsiteX140" fmla="*/ 8515350 w 8971757"/>
                  <a:gd name="connsiteY140" fmla="*/ 1935956 h 4575969"/>
                  <a:gd name="connsiteX141" fmla="*/ 8548688 w 8971757"/>
                  <a:gd name="connsiteY141" fmla="*/ 1933575 h 4575969"/>
                  <a:gd name="connsiteX142" fmla="*/ 8584406 w 8971757"/>
                  <a:gd name="connsiteY142" fmla="*/ 1964531 h 4575969"/>
                  <a:gd name="connsiteX143" fmla="*/ 8643938 w 8971757"/>
                  <a:gd name="connsiteY143" fmla="*/ 1964531 h 4575969"/>
                  <a:gd name="connsiteX144" fmla="*/ 8682037 w 8971757"/>
                  <a:gd name="connsiteY144" fmla="*/ 1945481 h 4575969"/>
                  <a:gd name="connsiteX145" fmla="*/ 8765381 w 8971757"/>
                  <a:gd name="connsiteY145" fmla="*/ 1947863 h 4575969"/>
                  <a:gd name="connsiteX146" fmla="*/ 8796338 w 8971757"/>
                  <a:gd name="connsiteY146" fmla="*/ 1902619 h 4575969"/>
                  <a:gd name="connsiteX147" fmla="*/ 8801100 w 8971757"/>
                  <a:gd name="connsiteY147" fmla="*/ 1840706 h 4575969"/>
                  <a:gd name="connsiteX148" fmla="*/ 8751093 w 8971757"/>
                  <a:gd name="connsiteY148" fmla="*/ 1800225 h 4575969"/>
                  <a:gd name="connsiteX149" fmla="*/ 8734425 w 8971757"/>
                  <a:gd name="connsiteY149" fmla="*/ 1745456 h 4575969"/>
                  <a:gd name="connsiteX150" fmla="*/ 8643938 w 8971757"/>
                  <a:gd name="connsiteY150" fmla="*/ 1683544 h 4575969"/>
                  <a:gd name="connsiteX151" fmla="*/ 8603456 w 8971757"/>
                  <a:gd name="connsiteY151" fmla="*/ 1662112 h 4575969"/>
                  <a:gd name="connsiteX152" fmla="*/ 8565356 w 8971757"/>
                  <a:gd name="connsiteY152" fmla="*/ 1616869 h 4575969"/>
                  <a:gd name="connsiteX153" fmla="*/ 8534400 w 8971757"/>
                  <a:gd name="connsiteY153" fmla="*/ 1614487 h 4575969"/>
                  <a:gd name="connsiteX154" fmla="*/ 8517731 w 8971757"/>
                  <a:gd name="connsiteY154" fmla="*/ 1562100 h 4575969"/>
                  <a:gd name="connsiteX155" fmla="*/ 8477250 w 8971757"/>
                  <a:gd name="connsiteY155" fmla="*/ 1545431 h 4575969"/>
                  <a:gd name="connsiteX156" fmla="*/ 8477250 w 8971757"/>
                  <a:gd name="connsiteY156" fmla="*/ 1545431 h 4575969"/>
                  <a:gd name="connsiteX157" fmla="*/ 8436769 w 8971757"/>
                  <a:gd name="connsiteY157" fmla="*/ 1550194 h 4575969"/>
                  <a:gd name="connsiteX158" fmla="*/ 8351043 w 8971757"/>
                  <a:gd name="connsiteY158" fmla="*/ 1476375 h 4575969"/>
                  <a:gd name="connsiteX159" fmla="*/ 8170069 w 8971757"/>
                  <a:gd name="connsiteY159" fmla="*/ 1476374 h 4575969"/>
                  <a:gd name="connsiteX160" fmla="*/ 8117681 w 8971757"/>
                  <a:gd name="connsiteY160" fmla="*/ 1514475 h 4575969"/>
                  <a:gd name="connsiteX161" fmla="*/ 8067675 w 8971757"/>
                  <a:gd name="connsiteY161" fmla="*/ 1593056 h 4575969"/>
                  <a:gd name="connsiteX162" fmla="*/ 8084344 w 8971757"/>
                  <a:gd name="connsiteY162" fmla="*/ 1614487 h 4575969"/>
                  <a:gd name="connsiteX163" fmla="*/ 8039100 w 8971757"/>
                  <a:gd name="connsiteY163" fmla="*/ 1664493 h 4575969"/>
                  <a:gd name="connsiteX164" fmla="*/ 7889081 w 8971757"/>
                  <a:gd name="connsiteY164" fmla="*/ 1588293 h 4575969"/>
                  <a:gd name="connsiteX165" fmla="*/ 7798594 w 8971757"/>
                  <a:gd name="connsiteY165" fmla="*/ 1624012 h 4575969"/>
                  <a:gd name="connsiteX166" fmla="*/ 7724775 w 8971757"/>
                  <a:gd name="connsiteY166" fmla="*/ 1621631 h 4575969"/>
                  <a:gd name="connsiteX167" fmla="*/ 7667625 w 8971757"/>
                  <a:gd name="connsiteY167" fmla="*/ 1716881 h 4575969"/>
                  <a:gd name="connsiteX168" fmla="*/ 7529513 w 8971757"/>
                  <a:gd name="connsiteY168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308256 w 8971757"/>
                  <a:gd name="connsiteY15" fmla="*/ 397294 h 4575969"/>
                  <a:gd name="connsiteX16" fmla="*/ 8343975 w 8971757"/>
                  <a:gd name="connsiteY16" fmla="*/ 356812 h 4575969"/>
                  <a:gd name="connsiteX17" fmla="*/ 8439225 w 8971757"/>
                  <a:gd name="connsiteY17" fmla="*/ 237751 h 4575969"/>
                  <a:gd name="connsiteX18" fmla="*/ 8412956 w 8971757"/>
                  <a:gd name="connsiteY18" fmla="*/ 23812 h 4575969"/>
                  <a:gd name="connsiteX19" fmla="*/ 8949531 w 8971757"/>
                  <a:gd name="connsiteY19" fmla="*/ 0 h 4575969"/>
                  <a:gd name="connsiteX20" fmla="*/ 8971757 w 8971757"/>
                  <a:gd name="connsiteY20" fmla="*/ 4575969 h 4575969"/>
                  <a:gd name="connsiteX21" fmla="*/ 2381 w 8971757"/>
                  <a:gd name="connsiteY21" fmla="*/ 4547392 h 4575969"/>
                  <a:gd name="connsiteX22" fmla="*/ 0 w 8971757"/>
                  <a:gd name="connsiteY22" fmla="*/ 845344 h 4575969"/>
                  <a:gd name="connsiteX23" fmla="*/ 76200 w 8971757"/>
                  <a:gd name="connsiteY23" fmla="*/ 828675 h 4575969"/>
                  <a:gd name="connsiteX24" fmla="*/ 119063 w 8971757"/>
                  <a:gd name="connsiteY24" fmla="*/ 857250 h 4575969"/>
                  <a:gd name="connsiteX25" fmla="*/ 215900 w 8971757"/>
                  <a:gd name="connsiteY25" fmla="*/ 848519 h 4575969"/>
                  <a:gd name="connsiteX26" fmla="*/ 261938 w 8971757"/>
                  <a:gd name="connsiteY26" fmla="*/ 876299 h 4575969"/>
                  <a:gd name="connsiteX27" fmla="*/ 228600 w 8971757"/>
                  <a:gd name="connsiteY27" fmla="*/ 904875 h 4575969"/>
                  <a:gd name="connsiteX28" fmla="*/ 233363 w 8971757"/>
                  <a:gd name="connsiteY28" fmla="*/ 947737 h 4575969"/>
                  <a:gd name="connsiteX29" fmla="*/ 200025 w 8971757"/>
                  <a:gd name="connsiteY29" fmla="*/ 952500 h 4575969"/>
                  <a:gd name="connsiteX30" fmla="*/ 204788 w 8971757"/>
                  <a:gd name="connsiteY30" fmla="*/ 976312 h 4575969"/>
                  <a:gd name="connsiteX31" fmla="*/ 261937 w 8971757"/>
                  <a:gd name="connsiteY31" fmla="*/ 1050131 h 4575969"/>
                  <a:gd name="connsiteX32" fmla="*/ 223838 w 8971757"/>
                  <a:gd name="connsiteY32" fmla="*/ 1097756 h 4575969"/>
                  <a:gd name="connsiteX33" fmla="*/ 278606 w 8971757"/>
                  <a:gd name="connsiteY33" fmla="*/ 1133475 h 4575969"/>
                  <a:gd name="connsiteX34" fmla="*/ 369094 w 8971757"/>
                  <a:gd name="connsiteY34" fmla="*/ 1221581 h 4575969"/>
                  <a:gd name="connsiteX35" fmla="*/ 371475 w 8971757"/>
                  <a:gd name="connsiteY35" fmla="*/ 1281112 h 4575969"/>
                  <a:gd name="connsiteX36" fmla="*/ 507206 w 8971757"/>
                  <a:gd name="connsiteY36" fmla="*/ 1414463 h 4575969"/>
                  <a:gd name="connsiteX37" fmla="*/ 561975 w 8971757"/>
                  <a:gd name="connsiteY37" fmla="*/ 1390650 h 4575969"/>
                  <a:gd name="connsiteX38" fmla="*/ 600075 w 8971757"/>
                  <a:gd name="connsiteY38" fmla="*/ 1416843 h 4575969"/>
                  <a:gd name="connsiteX39" fmla="*/ 614363 w 8971757"/>
                  <a:gd name="connsiteY39" fmla="*/ 1466849 h 4575969"/>
                  <a:gd name="connsiteX40" fmla="*/ 657225 w 8971757"/>
                  <a:gd name="connsiteY40" fmla="*/ 1502569 h 4575969"/>
                  <a:gd name="connsiteX41" fmla="*/ 697706 w 8971757"/>
                  <a:gd name="connsiteY41" fmla="*/ 1490662 h 4575969"/>
                  <a:gd name="connsiteX42" fmla="*/ 716756 w 8971757"/>
                  <a:gd name="connsiteY42" fmla="*/ 1547812 h 4575969"/>
                  <a:gd name="connsiteX43" fmla="*/ 764381 w 8971757"/>
                  <a:gd name="connsiteY43" fmla="*/ 1590675 h 4575969"/>
                  <a:gd name="connsiteX44" fmla="*/ 788194 w 8971757"/>
                  <a:gd name="connsiteY44" fmla="*/ 1693069 h 4575969"/>
                  <a:gd name="connsiteX45" fmla="*/ 785813 w 8971757"/>
                  <a:gd name="connsiteY45" fmla="*/ 1740694 h 4575969"/>
                  <a:gd name="connsiteX46" fmla="*/ 821531 w 8971757"/>
                  <a:gd name="connsiteY46" fmla="*/ 1840706 h 4575969"/>
                  <a:gd name="connsiteX47" fmla="*/ 866775 w 8971757"/>
                  <a:gd name="connsiteY47" fmla="*/ 1897856 h 4575969"/>
                  <a:gd name="connsiteX48" fmla="*/ 883443 w 8971757"/>
                  <a:gd name="connsiteY48" fmla="*/ 2055018 h 4575969"/>
                  <a:gd name="connsiteX49" fmla="*/ 850106 w 8971757"/>
                  <a:gd name="connsiteY49" fmla="*/ 2116931 h 4575969"/>
                  <a:gd name="connsiteX50" fmla="*/ 819150 w 8971757"/>
                  <a:gd name="connsiteY50" fmla="*/ 2193131 h 4575969"/>
                  <a:gd name="connsiteX51" fmla="*/ 833438 w 8971757"/>
                  <a:gd name="connsiteY51" fmla="*/ 2250281 h 4575969"/>
                  <a:gd name="connsiteX52" fmla="*/ 735806 w 8971757"/>
                  <a:gd name="connsiteY52" fmla="*/ 2357438 h 4575969"/>
                  <a:gd name="connsiteX53" fmla="*/ 692944 w 8971757"/>
                  <a:gd name="connsiteY53" fmla="*/ 2471737 h 4575969"/>
                  <a:gd name="connsiteX54" fmla="*/ 726281 w 8971757"/>
                  <a:gd name="connsiteY54" fmla="*/ 2512219 h 4575969"/>
                  <a:gd name="connsiteX55" fmla="*/ 709613 w 8971757"/>
                  <a:gd name="connsiteY55" fmla="*/ 2540794 h 4575969"/>
                  <a:gd name="connsiteX56" fmla="*/ 740569 w 8971757"/>
                  <a:gd name="connsiteY56" fmla="*/ 2597944 h 4575969"/>
                  <a:gd name="connsiteX57" fmla="*/ 769144 w 8971757"/>
                  <a:gd name="connsiteY57" fmla="*/ 2597944 h 4575969"/>
                  <a:gd name="connsiteX58" fmla="*/ 931069 w 8971757"/>
                  <a:gd name="connsiteY58" fmla="*/ 2700337 h 4575969"/>
                  <a:gd name="connsiteX59" fmla="*/ 1035844 w 8971757"/>
                  <a:gd name="connsiteY59" fmla="*/ 2697956 h 4575969"/>
                  <a:gd name="connsiteX60" fmla="*/ 1114425 w 8971757"/>
                  <a:gd name="connsiteY60" fmla="*/ 2752725 h 4575969"/>
                  <a:gd name="connsiteX61" fmla="*/ 1245393 w 8971757"/>
                  <a:gd name="connsiteY61" fmla="*/ 2755106 h 4575969"/>
                  <a:gd name="connsiteX62" fmla="*/ 1435893 w 8971757"/>
                  <a:gd name="connsiteY62" fmla="*/ 2824162 h 4575969"/>
                  <a:gd name="connsiteX63" fmla="*/ 1638300 w 8971757"/>
                  <a:gd name="connsiteY63" fmla="*/ 2974181 h 4575969"/>
                  <a:gd name="connsiteX64" fmla="*/ 1671637 w 8971757"/>
                  <a:gd name="connsiteY64" fmla="*/ 3040856 h 4575969"/>
                  <a:gd name="connsiteX65" fmla="*/ 1838325 w 8971757"/>
                  <a:gd name="connsiteY65" fmla="*/ 3167062 h 4575969"/>
                  <a:gd name="connsiteX66" fmla="*/ 1909763 w 8971757"/>
                  <a:gd name="connsiteY66" fmla="*/ 3162300 h 4575969"/>
                  <a:gd name="connsiteX67" fmla="*/ 1945482 w 8971757"/>
                  <a:gd name="connsiteY67" fmla="*/ 3186112 h 4575969"/>
                  <a:gd name="connsiteX68" fmla="*/ 1916906 w 8971757"/>
                  <a:gd name="connsiteY68" fmla="*/ 3226594 h 4575969"/>
                  <a:gd name="connsiteX69" fmla="*/ 1924050 w 8971757"/>
                  <a:gd name="connsiteY69" fmla="*/ 3278981 h 4575969"/>
                  <a:gd name="connsiteX70" fmla="*/ 1976438 w 8971757"/>
                  <a:gd name="connsiteY70" fmla="*/ 3305175 h 4575969"/>
                  <a:gd name="connsiteX71" fmla="*/ 2038350 w 8971757"/>
                  <a:gd name="connsiteY71" fmla="*/ 3529013 h 4575969"/>
                  <a:gd name="connsiteX72" fmla="*/ 2028825 w 8971757"/>
                  <a:gd name="connsiteY72" fmla="*/ 3593306 h 4575969"/>
                  <a:gd name="connsiteX73" fmla="*/ 2164556 w 8971757"/>
                  <a:gd name="connsiteY73" fmla="*/ 3759994 h 4575969"/>
                  <a:gd name="connsiteX74" fmla="*/ 2183606 w 8971757"/>
                  <a:gd name="connsiteY74" fmla="*/ 3810000 h 4575969"/>
                  <a:gd name="connsiteX75" fmla="*/ 2157413 w 8971757"/>
                  <a:gd name="connsiteY75" fmla="*/ 3829050 h 4575969"/>
                  <a:gd name="connsiteX76" fmla="*/ 2259806 w 8971757"/>
                  <a:gd name="connsiteY76" fmla="*/ 3838575 h 4575969"/>
                  <a:gd name="connsiteX77" fmla="*/ 2371725 w 8971757"/>
                  <a:gd name="connsiteY77" fmla="*/ 3826669 h 4575969"/>
                  <a:gd name="connsiteX78" fmla="*/ 2650331 w 8971757"/>
                  <a:gd name="connsiteY78" fmla="*/ 3910012 h 4575969"/>
                  <a:gd name="connsiteX79" fmla="*/ 3057525 w 8971757"/>
                  <a:gd name="connsiteY79" fmla="*/ 3990975 h 4575969"/>
                  <a:gd name="connsiteX80" fmla="*/ 3255169 w 8971757"/>
                  <a:gd name="connsiteY80" fmla="*/ 3960018 h 4575969"/>
                  <a:gd name="connsiteX81" fmla="*/ 3300413 w 8971757"/>
                  <a:gd name="connsiteY81" fmla="*/ 3971924 h 4575969"/>
                  <a:gd name="connsiteX82" fmla="*/ 3355181 w 8971757"/>
                  <a:gd name="connsiteY82" fmla="*/ 3948113 h 4575969"/>
                  <a:gd name="connsiteX83" fmla="*/ 3748087 w 8971757"/>
                  <a:gd name="connsiteY83" fmla="*/ 4038600 h 4575969"/>
                  <a:gd name="connsiteX84" fmla="*/ 3831432 w 8971757"/>
                  <a:gd name="connsiteY84" fmla="*/ 4136231 h 4575969"/>
                  <a:gd name="connsiteX85" fmla="*/ 3950494 w 8971757"/>
                  <a:gd name="connsiteY85" fmla="*/ 4207669 h 4575969"/>
                  <a:gd name="connsiteX86" fmla="*/ 4010025 w 8971757"/>
                  <a:gd name="connsiteY86" fmla="*/ 4191000 h 4575969"/>
                  <a:gd name="connsiteX87" fmla="*/ 4360068 w 8971757"/>
                  <a:gd name="connsiteY87" fmla="*/ 4364831 h 4575969"/>
                  <a:gd name="connsiteX88" fmla="*/ 4586288 w 8971757"/>
                  <a:gd name="connsiteY88" fmla="*/ 4336256 h 4575969"/>
                  <a:gd name="connsiteX89" fmla="*/ 4595813 w 8971757"/>
                  <a:gd name="connsiteY89" fmla="*/ 4414837 h 4575969"/>
                  <a:gd name="connsiteX90" fmla="*/ 4681538 w 8971757"/>
                  <a:gd name="connsiteY90" fmla="*/ 4410074 h 4575969"/>
                  <a:gd name="connsiteX91" fmla="*/ 4760119 w 8971757"/>
                  <a:gd name="connsiteY91" fmla="*/ 4441031 h 4575969"/>
                  <a:gd name="connsiteX92" fmla="*/ 4802981 w 8971757"/>
                  <a:gd name="connsiteY92" fmla="*/ 4381500 h 4575969"/>
                  <a:gd name="connsiteX93" fmla="*/ 5474494 w 8971757"/>
                  <a:gd name="connsiteY93" fmla="*/ 4062412 h 4575969"/>
                  <a:gd name="connsiteX94" fmla="*/ 5562600 w 8971757"/>
                  <a:gd name="connsiteY94" fmla="*/ 4090988 h 4575969"/>
                  <a:gd name="connsiteX95" fmla="*/ 5693569 w 8971757"/>
                  <a:gd name="connsiteY95" fmla="*/ 4062412 h 4575969"/>
                  <a:gd name="connsiteX96" fmla="*/ 5872162 w 8971757"/>
                  <a:gd name="connsiteY96" fmla="*/ 4079081 h 4575969"/>
                  <a:gd name="connsiteX97" fmla="*/ 5929313 w 8971757"/>
                  <a:gd name="connsiteY97" fmla="*/ 4052888 h 4575969"/>
                  <a:gd name="connsiteX98" fmla="*/ 6062662 w 8971757"/>
                  <a:gd name="connsiteY98" fmla="*/ 4050506 h 4575969"/>
                  <a:gd name="connsiteX99" fmla="*/ 6196012 w 8971757"/>
                  <a:gd name="connsiteY99" fmla="*/ 3952875 h 4575969"/>
                  <a:gd name="connsiteX100" fmla="*/ 6262687 w 8971757"/>
                  <a:gd name="connsiteY100" fmla="*/ 3945731 h 4575969"/>
                  <a:gd name="connsiteX101" fmla="*/ 6360319 w 8971757"/>
                  <a:gd name="connsiteY101" fmla="*/ 3871912 h 4575969"/>
                  <a:gd name="connsiteX102" fmla="*/ 6434138 w 8971757"/>
                  <a:gd name="connsiteY102" fmla="*/ 3802856 h 4575969"/>
                  <a:gd name="connsiteX103" fmla="*/ 6443663 w 8971757"/>
                  <a:gd name="connsiteY103" fmla="*/ 3740944 h 4575969"/>
                  <a:gd name="connsiteX104" fmla="*/ 6477000 w 8971757"/>
                  <a:gd name="connsiteY104" fmla="*/ 3671887 h 4575969"/>
                  <a:gd name="connsiteX105" fmla="*/ 6629400 w 8971757"/>
                  <a:gd name="connsiteY105" fmla="*/ 3564731 h 4575969"/>
                  <a:gd name="connsiteX106" fmla="*/ 6662738 w 8971757"/>
                  <a:gd name="connsiteY106" fmla="*/ 3569494 h 4575969"/>
                  <a:gd name="connsiteX107" fmla="*/ 6715125 w 8971757"/>
                  <a:gd name="connsiteY107" fmla="*/ 3490912 h 4575969"/>
                  <a:gd name="connsiteX108" fmla="*/ 6762750 w 8971757"/>
                  <a:gd name="connsiteY108" fmla="*/ 3452812 h 4575969"/>
                  <a:gd name="connsiteX109" fmla="*/ 6748463 w 8971757"/>
                  <a:gd name="connsiteY109" fmla="*/ 3383756 h 4575969"/>
                  <a:gd name="connsiteX110" fmla="*/ 6698456 w 8971757"/>
                  <a:gd name="connsiteY110" fmla="*/ 3352799 h 4575969"/>
                  <a:gd name="connsiteX111" fmla="*/ 6638925 w 8971757"/>
                  <a:gd name="connsiteY111" fmla="*/ 3298031 h 4575969"/>
                  <a:gd name="connsiteX112" fmla="*/ 6619875 w 8971757"/>
                  <a:gd name="connsiteY112" fmla="*/ 3240881 h 4575969"/>
                  <a:gd name="connsiteX113" fmla="*/ 6584156 w 8971757"/>
                  <a:gd name="connsiteY113" fmla="*/ 3207544 h 4575969"/>
                  <a:gd name="connsiteX114" fmla="*/ 6610350 w 8971757"/>
                  <a:gd name="connsiteY114" fmla="*/ 3155156 h 4575969"/>
                  <a:gd name="connsiteX115" fmla="*/ 6650831 w 8971757"/>
                  <a:gd name="connsiteY115" fmla="*/ 2976562 h 4575969"/>
                  <a:gd name="connsiteX116" fmla="*/ 6691313 w 8971757"/>
                  <a:gd name="connsiteY116" fmla="*/ 2909887 h 4575969"/>
                  <a:gd name="connsiteX117" fmla="*/ 6836569 w 8971757"/>
                  <a:gd name="connsiteY117" fmla="*/ 2893218 h 4575969"/>
                  <a:gd name="connsiteX118" fmla="*/ 6905625 w 8971757"/>
                  <a:gd name="connsiteY118" fmla="*/ 2950369 h 4575969"/>
                  <a:gd name="connsiteX119" fmla="*/ 6981825 w 8971757"/>
                  <a:gd name="connsiteY119" fmla="*/ 2974181 h 4575969"/>
                  <a:gd name="connsiteX120" fmla="*/ 7186612 w 8971757"/>
                  <a:gd name="connsiteY120" fmla="*/ 2978944 h 4575969"/>
                  <a:gd name="connsiteX121" fmla="*/ 7362825 w 8971757"/>
                  <a:gd name="connsiteY121" fmla="*/ 2840831 h 4575969"/>
                  <a:gd name="connsiteX122" fmla="*/ 7419975 w 8971757"/>
                  <a:gd name="connsiteY122" fmla="*/ 2750343 h 4575969"/>
                  <a:gd name="connsiteX123" fmla="*/ 7446169 w 8971757"/>
                  <a:gd name="connsiteY123" fmla="*/ 2667000 h 4575969"/>
                  <a:gd name="connsiteX124" fmla="*/ 7577137 w 8971757"/>
                  <a:gd name="connsiteY124" fmla="*/ 2667000 h 4575969"/>
                  <a:gd name="connsiteX125" fmla="*/ 7750969 w 8971757"/>
                  <a:gd name="connsiteY125" fmla="*/ 2609849 h 4575969"/>
                  <a:gd name="connsiteX126" fmla="*/ 7810500 w 8971757"/>
                  <a:gd name="connsiteY126" fmla="*/ 2497931 h 4575969"/>
                  <a:gd name="connsiteX127" fmla="*/ 7874794 w 8971757"/>
                  <a:gd name="connsiteY127" fmla="*/ 2462212 h 4575969"/>
                  <a:gd name="connsiteX128" fmla="*/ 7853363 w 8971757"/>
                  <a:gd name="connsiteY128" fmla="*/ 2416969 h 4575969"/>
                  <a:gd name="connsiteX129" fmla="*/ 7931944 w 8971757"/>
                  <a:gd name="connsiteY129" fmla="*/ 2247899 h 4575969"/>
                  <a:gd name="connsiteX130" fmla="*/ 7986713 w 8971757"/>
                  <a:gd name="connsiteY130" fmla="*/ 2188369 h 4575969"/>
                  <a:gd name="connsiteX131" fmla="*/ 8024813 w 8971757"/>
                  <a:gd name="connsiteY131" fmla="*/ 2183606 h 4575969"/>
                  <a:gd name="connsiteX132" fmla="*/ 8070056 w 8971757"/>
                  <a:gd name="connsiteY132" fmla="*/ 2188369 h 4575969"/>
                  <a:gd name="connsiteX133" fmla="*/ 8134350 w 8971757"/>
                  <a:gd name="connsiteY133" fmla="*/ 2155031 h 4575969"/>
                  <a:gd name="connsiteX134" fmla="*/ 8143875 w 8971757"/>
                  <a:gd name="connsiteY134" fmla="*/ 2090737 h 4575969"/>
                  <a:gd name="connsiteX135" fmla="*/ 8184355 w 8971757"/>
                  <a:gd name="connsiteY135" fmla="*/ 2055019 h 4575969"/>
                  <a:gd name="connsiteX136" fmla="*/ 8243888 w 8971757"/>
                  <a:gd name="connsiteY136" fmla="*/ 2095499 h 4575969"/>
                  <a:gd name="connsiteX137" fmla="*/ 8270082 w 8971757"/>
                  <a:gd name="connsiteY137" fmla="*/ 2045493 h 4575969"/>
                  <a:gd name="connsiteX138" fmla="*/ 8365331 w 8971757"/>
                  <a:gd name="connsiteY138" fmla="*/ 1976437 h 4575969"/>
                  <a:gd name="connsiteX139" fmla="*/ 8427244 w 8971757"/>
                  <a:gd name="connsiteY139" fmla="*/ 1983581 h 4575969"/>
                  <a:gd name="connsiteX140" fmla="*/ 8477250 w 8971757"/>
                  <a:gd name="connsiteY140" fmla="*/ 1964531 h 4575969"/>
                  <a:gd name="connsiteX141" fmla="*/ 8515350 w 8971757"/>
                  <a:gd name="connsiteY141" fmla="*/ 1935956 h 4575969"/>
                  <a:gd name="connsiteX142" fmla="*/ 8548688 w 8971757"/>
                  <a:gd name="connsiteY142" fmla="*/ 1933575 h 4575969"/>
                  <a:gd name="connsiteX143" fmla="*/ 8584406 w 8971757"/>
                  <a:gd name="connsiteY143" fmla="*/ 1964531 h 4575969"/>
                  <a:gd name="connsiteX144" fmla="*/ 8643938 w 8971757"/>
                  <a:gd name="connsiteY144" fmla="*/ 1964531 h 4575969"/>
                  <a:gd name="connsiteX145" fmla="*/ 8682037 w 8971757"/>
                  <a:gd name="connsiteY145" fmla="*/ 1945481 h 4575969"/>
                  <a:gd name="connsiteX146" fmla="*/ 8765381 w 8971757"/>
                  <a:gd name="connsiteY146" fmla="*/ 1947863 h 4575969"/>
                  <a:gd name="connsiteX147" fmla="*/ 8796338 w 8971757"/>
                  <a:gd name="connsiteY147" fmla="*/ 1902619 h 4575969"/>
                  <a:gd name="connsiteX148" fmla="*/ 8801100 w 8971757"/>
                  <a:gd name="connsiteY148" fmla="*/ 1840706 h 4575969"/>
                  <a:gd name="connsiteX149" fmla="*/ 8751093 w 8971757"/>
                  <a:gd name="connsiteY149" fmla="*/ 1800225 h 4575969"/>
                  <a:gd name="connsiteX150" fmla="*/ 8734425 w 8971757"/>
                  <a:gd name="connsiteY150" fmla="*/ 1745456 h 4575969"/>
                  <a:gd name="connsiteX151" fmla="*/ 8643938 w 8971757"/>
                  <a:gd name="connsiteY151" fmla="*/ 1683544 h 4575969"/>
                  <a:gd name="connsiteX152" fmla="*/ 8603456 w 8971757"/>
                  <a:gd name="connsiteY152" fmla="*/ 1662112 h 4575969"/>
                  <a:gd name="connsiteX153" fmla="*/ 8565356 w 8971757"/>
                  <a:gd name="connsiteY153" fmla="*/ 1616869 h 4575969"/>
                  <a:gd name="connsiteX154" fmla="*/ 8534400 w 8971757"/>
                  <a:gd name="connsiteY154" fmla="*/ 1614487 h 4575969"/>
                  <a:gd name="connsiteX155" fmla="*/ 8517731 w 8971757"/>
                  <a:gd name="connsiteY155" fmla="*/ 1562100 h 4575969"/>
                  <a:gd name="connsiteX156" fmla="*/ 8477250 w 8971757"/>
                  <a:gd name="connsiteY156" fmla="*/ 1545431 h 4575969"/>
                  <a:gd name="connsiteX157" fmla="*/ 8477250 w 8971757"/>
                  <a:gd name="connsiteY157" fmla="*/ 1545431 h 4575969"/>
                  <a:gd name="connsiteX158" fmla="*/ 8436769 w 8971757"/>
                  <a:gd name="connsiteY158" fmla="*/ 1550194 h 4575969"/>
                  <a:gd name="connsiteX159" fmla="*/ 8351043 w 8971757"/>
                  <a:gd name="connsiteY159" fmla="*/ 1476375 h 4575969"/>
                  <a:gd name="connsiteX160" fmla="*/ 8170069 w 8971757"/>
                  <a:gd name="connsiteY160" fmla="*/ 1476374 h 4575969"/>
                  <a:gd name="connsiteX161" fmla="*/ 8117681 w 8971757"/>
                  <a:gd name="connsiteY161" fmla="*/ 1514475 h 4575969"/>
                  <a:gd name="connsiteX162" fmla="*/ 8067675 w 8971757"/>
                  <a:gd name="connsiteY162" fmla="*/ 1593056 h 4575969"/>
                  <a:gd name="connsiteX163" fmla="*/ 8084344 w 8971757"/>
                  <a:gd name="connsiteY163" fmla="*/ 1614487 h 4575969"/>
                  <a:gd name="connsiteX164" fmla="*/ 8039100 w 8971757"/>
                  <a:gd name="connsiteY164" fmla="*/ 1664493 h 4575969"/>
                  <a:gd name="connsiteX165" fmla="*/ 7889081 w 8971757"/>
                  <a:gd name="connsiteY165" fmla="*/ 1588293 h 4575969"/>
                  <a:gd name="connsiteX166" fmla="*/ 7798594 w 8971757"/>
                  <a:gd name="connsiteY166" fmla="*/ 1624012 h 4575969"/>
                  <a:gd name="connsiteX167" fmla="*/ 7724775 w 8971757"/>
                  <a:gd name="connsiteY167" fmla="*/ 1621631 h 4575969"/>
                  <a:gd name="connsiteX168" fmla="*/ 7667625 w 8971757"/>
                  <a:gd name="connsiteY168" fmla="*/ 1716881 h 4575969"/>
                  <a:gd name="connsiteX169" fmla="*/ 7529513 w 8971757"/>
                  <a:gd name="connsiteY16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308256 w 8971757"/>
                  <a:gd name="connsiteY15" fmla="*/ 397294 h 4575969"/>
                  <a:gd name="connsiteX16" fmla="*/ 8343975 w 8971757"/>
                  <a:gd name="connsiteY16" fmla="*/ 356812 h 4575969"/>
                  <a:gd name="connsiteX17" fmla="*/ 8289206 w 8971757"/>
                  <a:gd name="connsiteY17" fmla="*/ 144882 h 4575969"/>
                  <a:gd name="connsiteX18" fmla="*/ 8412956 w 8971757"/>
                  <a:gd name="connsiteY18" fmla="*/ 23812 h 4575969"/>
                  <a:gd name="connsiteX19" fmla="*/ 8949531 w 8971757"/>
                  <a:gd name="connsiteY19" fmla="*/ 0 h 4575969"/>
                  <a:gd name="connsiteX20" fmla="*/ 8971757 w 8971757"/>
                  <a:gd name="connsiteY20" fmla="*/ 4575969 h 4575969"/>
                  <a:gd name="connsiteX21" fmla="*/ 2381 w 8971757"/>
                  <a:gd name="connsiteY21" fmla="*/ 4547392 h 4575969"/>
                  <a:gd name="connsiteX22" fmla="*/ 0 w 8971757"/>
                  <a:gd name="connsiteY22" fmla="*/ 845344 h 4575969"/>
                  <a:gd name="connsiteX23" fmla="*/ 76200 w 8971757"/>
                  <a:gd name="connsiteY23" fmla="*/ 828675 h 4575969"/>
                  <a:gd name="connsiteX24" fmla="*/ 119063 w 8971757"/>
                  <a:gd name="connsiteY24" fmla="*/ 857250 h 4575969"/>
                  <a:gd name="connsiteX25" fmla="*/ 215900 w 8971757"/>
                  <a:gd name="connsiteY25" fmla="*/ 848519 h 4575969"/>
                  <a:gd name="connsiteX26" fmla="*/ 261938 w 8971757"/>
                  <a:gd name="connsiteY26" fmla="*/ 876299 h 4575969"/>
                  <a:gd name="connsiteX27" fmla="*/ 228600 w 8971757"/>
                  <a:gd name="connsiteY27" fmla="*/ 904875 h 4575969"/>
                  <a:gd name="connsiteX28" fmla="*/ 233363 w 8971757"/>
                  <a:gd name="connsiteY28" fmla="*/ 947737 h 4575969"/>
                  <a:gd name="connsiteX29" fmla="*/ 200025 w 8971757"/>
                  <a:gd name="connsiteY29" fmla="*/ 952500 h 4575969"/>
                  <a:gd name="connsiteX30" fmla="*/ 204788 w 8971757"/>
                  <a:gd name="connsiteY30" fmla="*/ 976312 h 4575969"/>
                  <a:gd name="connsiteX31" fmla="*/ 261937 w 8971757"/>
                  <a:gd name="connsiteY31" fmla="*/ 1050131 h 4575969"/>
                  <a:gd name="connsiteX32" fmla="*/ 223838 w 8971757"/>
                  <a:gd name="connsiteY32" fmla="*/ 1097756 h 4575969"/>
                  <a:gd name="connsiteX33" fmla="*/ 278606 w 8971757"/>
                  <a:gd name="connsiteY33" fmla="*/ 1133475 h 4575969"/>
                  <a:gd name="connsiteX34" fmla="*/ 369094 w 8971757"/>
                  <a:gd name="connsiteY34" fmla="*/ 1221581 h 4575969"/>
                  <a:gd name="connsiteX35" fmla="*/ 371475 w 8971757"/>
                  <a:gd name="connsiteY35" fmla="*/ 1281112 h 4575969"/>
                  <a:gd name="connsiteX36" fmla="*/ 507206 w 8971757"/>
                  <a:gd name="connsiteY36" fmla="*/ 1414463 h 4575969"/>
                  <a:gd name="connsiteX37" fmla="*/ 561975 w 8971757"/>
                  <a:gd name="connsiteY37" fmla="*/ 1390650 h 4575969"/>
                  <a:gd name="connsiteX38" fmla="*/ 600075 w 8971757"/>
                  <a:gd name="connsiteY38" fmla="*/ 1416843 h 4575969"/>
                  <a:gd name="connsiteX39" fmla="*/ 614363 w 8971757"/>
                  <a:gd name="connsiteY39" fmla="*/ 1466849 h 4575969"/>
                  <a:gd name="connsiteX40" fmla="*/ 657225 w 8971757"/>
                  <a:gd name="connsiteY40" fmla="*/ 1502569 h 4575969"/>
                  <a:gd name="connsiteX41" fmla="*/ 697706 w 8971757"/>
                  <a:gd name="connsiteY41" fmla="*/ 1490662 h 4575969"/>
                  <a:gd name="connsiteX42" fmla="*/ 716756 w 8971757"/>
                  <a:gd name="connsiteY42" fmla="*/ 1547812 h 4575969"/>
                  <a:gd name="connsiteX43" fmla="*/ 764381 w 8971757"/>
                  <a:gd name="connsiteY43" fmla="*/ 1590675 h 4575969"/>
                  <a:gd name="connsiteX44" fmla="*/ 788194 w 8971757"/>
                  <a:gd name="connsiteY44" fmla="*/ 1693069 h 4575969"/>
                  <a:gd name="connsiteX45" fmla="*/ 785813 w 8971757"/>
                  <a:gd name="connsiteY45" fmla="*/ 1740694 h 4575969"/>
                  <a:gd name="connsiteX46" fmla="*/ 821531 w 8971757"/>
                  <a:gd name="connsiteY46" fmla="*/ 1840706 h 4575969"/>
                  <a:gd name="connsiteX47" fmla="*/ 866775 w 8971757"/>
                  <a:gd name="connsiteY47" fmla="*/ 1897856 h 4575969"/>
                  <a:gd name="connsiteX48" fmla="*/ 883443 w 8971757"/>
                  <a:gd name="connsiteY48" fmla="*/ 2055018 h 4575969"/>
                  <a:gd name="connsiteX49" fmla="*/ 850106 w 8971757"/>
                  <a:gd name="connsiteY49" fmla="*/ 2116931 h 4575969"/>
                  <a:gd name="connsiteX50" fmla="*/ 819150 w 8971757"/>
                  <a:gd name="connsiteY50" fmla="*/ 2193131 h 4575969"/>
                  <a:gd name="connsiteX51" fmla="*/ 833438 w 8971757"/>
                  <a:gd name="connsiteY51" fmla="*/ 2250281 h 4575969"/>
                  <a:gd name="connsiteX52" fmla="*/ 735806 w 8971757"/>
                  <a:gd name="connsiteY52" fmla="*/ 2357438 h 4575969"/>
                  <a:gd name="connsiteX53" fmla="*/ 692944 w 8971757"/>
                  <a:gd name="connsiteY53" fmla="*/ 2471737 h 4575969"/>
                  <a:gd name="connsiteX54" fmla="*/ 726281 w 8971757"/>
                  <a:gd name="connsiteY54" fmla="*/ 2512219 h 4575969"/>
                  <a:gd name="connsiteX55" fmla="*/ 709613 w 8971757"/>
                  <a:gd name="connsiteY55" fmla="*/ 2540794 h 4575969"/>
                  <a:gd name="connsiteX56" fmla="*/ 740569 w 8971757"/>
                  <a:gd name="connsiteY56" fmla="*/ 2597944 h 4575969"/>
                  <a:gd name="connsiteX57" fmla="*/ 769144 w 8971757"/>
                  <a:gd name="connsiteY57" fmla="*/ 2597944 h 4575969"/>
                  <a:gd name="connsiteX58" fmla="*/ 931069 w 8971757"/>
                  <a:gd name="connsiteY58" fmla="*/ 2700337 h 4575969"/>
                  <a:gd name="connsiteX59" fmla="*/ 1035844 w 8971757"/>
                  <a:gd name="connsiteY59" fmla="*/ 2697956 h 4575969"/>
                  <a:gd name="connsiteX60" fmla="*/ 1114425 w 8971757"/>
                  <a:gd name="connsiteY60" fmla="*/ 2752725 h 4575969"/>
                  <a:gd name="connsiteX61" fmla="*/ 1245393 w 8971757"/>
                  <a:gd name="connsiteY61" fmla="*/ 2755106 h 4575969"/>
                  <a:gd name="connsiteX62" fmla="*/ 1435893 w 8971757"/>
                  <a:gd name="connsiteY62" fmla="*/ 2824162 h 4575969"/>
                  <a:gd name="connsiteX63" fmla="*/ 1638300 w 8971757"/>
                  <a:gd name="connsiteY63" fmla="*/ 2974181 h 4575969"/>
                  <a:gd name="connsiteX64" fmla="*/ 1671637 w 8971757"/>
                  <a:gd name="connsiteY64" fmla="*/ 3040856 h 4575969"/>
                  <a:gd name="connsiteX65" fmla="*/ 1838325 w 8971757"/>
                  <a:gd name="connsiteY65" fmla="*/ 3167062 h 4575969"/>
                  <a:gd name="connsiteX66" fmla="*/ 1909763 w 8971757"/>
                  <a:gd name="connsiteY66" fmla="*/ 3162300 h 4575969"/>
                  <a:gd name="connsiteX67" fmla="*/ 1945482 w 8971757"/>
                  <a:gd name="connsiteY67" fmla="*/ 3186112 h 4575969"/>
                  <a:gd name="connsiteX68" fmla="*/ 1916906 w 8971757"/>
                  <a:gd name="connsiteY68" fmla="*/ 3226594 h 4575969"/>
                  <a:gd name="connsiteX69" fmla="*/ 1924050 w 8971757"/>
                  <a:gd name="connsiteY69" fmla="*/ 3278981 h 4575969"/>
                  <a:gd name="connsiteX70" fmla="*/ 1976438 w 8971757"/>
                  <a:gd name="connsiteY70" fmla="*/ 3305175 h 4575969"/>
                  <a:gd name="connsiteX71" fmla="*/ 2038350 w 8971757"/>
                  <a:gd name="connsiteY71" fmla="*/ 3529013 h 4575969"/>
                  <a:gd name="connsiteX72" fmla="*/ 2028825 w 8971757"/>
                  <a:gd name="connsiteY72" fmla="*/ 3593306 h 4575969"/>
                  <a:gd name="connsiteX73" fmla="*/ 2164556 w 8971757"/>
                  <a:gd name="connsiteY73" fmla="*/ 3759994 h 4575969"/>
                  <a:gd name="connsiteX74" fmla="*/ 2183606 w 8971757"/>
                  <a:gd name="connsiteY74" fmla="*/ 3810000 h 4575969"/>
                  <a:gd name="connsiteX75" fmla="*/ 2157413 w 8971757"/>
                  <a:gd name="connsiteY75" fmla="*/ 3829050 h 4575969"/>
                  <a:gd name="connsiteX76" fmla="*/ 2259806 w 8971757"/>
                  <a:gd name="connsiteY76" fmla="*/ 3838575 h 4575969"/>
                  <a:gd name="connsiteX77" fmla="*/ 2371725 w 8971757"/>
                  <a:gd name="connsiteY77" fmla="*/ 3826669 h 4575969"/>
                  <a:gd name="connsiteX78" fmla="*/ 2650331 w 8971757"/>
                  <a:gd name="connsiteY78" fmla="*/ 3910012 h 4575969"/>
                  <a:gd name="connsiteX79" fmla="*/ 3057525 w 8971757"/>
                  <a:gd name="connsiteY79" fmla="*/ 3990975 h 4575969"/>
                  <a:gd name="connsiteX80" fmla="*/ 3255169 w 8971757"/>
                  <a:gd name="connsiteY80" fmla="*/ 3960018 h 4575969"/>
                  <a:gd name="connsiteX81" fmla="*/ 3300413 w 8971757"/>
                  <a:gd name="connsiteY81" fmla="*/ 3971924 h 4575969"/>
                  <a:gd name="connsiteX82" fmla="*/ 3355181 w 8971757"/>
                  <a:gd name="connsiteY82" fmla="*/ 3948113 h 4575969"/>
                  <a:gd name="connsiteX83" fmla="*/ 3748087 w 8971757"/>
                  <a:gd name="connsiteY83" fmla="*/ 4038600 h 4575969"/>
                  <a:gd name="connsiteX84" fmla="*/ 3831432 w 8971757"/>
                  <a:gd name="connsiteY84" fmla="*/ 4136231 h 4575969"/>
                  <a:gd name="connsiteX85" fmla="*/ 3950494 w 8971757"/>
                  <a:gd name="connsiteY85" fmla="*/ 4207669 h 4575969"/>
                  <a:gd name="connsiteX86" fmla="*/ 4010025 w 8971757"/>
                  <a:gd name="connsiteY86" fmla="*/ 4191000 h 4575969"/>
                  <a:gd name="connsiteX87" fmla="*/ 4360068 w 8971757"/>
                  <a:gd name="connsiteY87" fmla="*/ 4364831 h 4575969"/>
                  <a:gd name="connsiteX88" fmla="*/ 4586288 w 8971757"/>
                  <a:gd name="connsiteY88" fmla="*/ 4336256 h 4575969"/>
                  <a:gd name="connsiteX89" fmla="*/ 4595813 w 8971757"/>
                  <a:gd name="connsiteY89" fmla="*/ 4414837 h 4575969"/>
                  <a:gd name="connsiteX90" fmla="*/ 4681538 w 8971757"/>
                  <a:gd name="connsiteY90" fmla="*/ 4410074 h 4575969"/>
                  <a:gd name="connsiteX91" fmla="*/ 4760119 w 8971757"/>
                  <a:gd name="connsiteY91" fmla="*/ 4441031 h 4575969"/>
                  <a:gd name="connsiteX92" fmla="*/ 4802981 w 8971757"/>
                  <a:gd name="connsiteY92" fmla="*/ 4381500 h 4575969"/>
                  <a:gd name="connsiteX93" fmla="*/ 5474494 w 8971757"/>
                  <a:gd name="connsiteY93" fmla="*/ 4062412 h 4575969"/>
                  <a:gd name="connsiteX94" fmla="*/ 5562600 w 8971757"/>
                  <a:gd name="connsiteY94" fmla="*/ 4090988 h 4575969"/>
                  <a:gd name="connsiteX95" fmla="*/ 5693569 w 8971757"/>
                  <a:gd name="connsiteY95" fmla="*/ 4062412 h 4575969"/>
                  <a:gd name="connsiteX96" fmla="*/ 5872162 w 8971757"/>
                  <a:gd name="connsiteY96" fmla="*/ 4079081 h 4575969"/>
                  <a:gd name="connsiteX97" fmla="*/ 5929313 w 8971757"/>
                  <a:gd name="connsiteY97" fmla="*/ 4052888 h 4575969"/>
                  <a:gd name="connsiteX98" fmla="*/ 6062662 w 8971757"/>
                  <a:gd name="connsiteY98" fmla="*/ 4050506 h 4575969"/>
                  <a:gd name="connsiteX99" fmla="*/ 6196012 w 8971757"/>
                  <a:gd name="connsiteY99" fmla="*/ 3952875 h 4575969"/>
                  <a:gd name="connsiteX100" fmla="*/ 6262687 w 8971757"/>
                  <a:gd name="connsiteY100" fmla="*/ 3945731 h 4575969"/>
                  <a:gd name="connsiteX101" fmla="*/ 6360319 w 8971757"/>
                  <a:gd name="connsiteY101" fmla="*/ 3871912 h 4575969"/>
                  <a:gd name="connsiteX102" fmla="*/ 6434138 w 8971757"/>
                  <a:gd name="connsiteY102" fmla="*/ 3802856 h 4575969"/>
                  <a:gd name="connsiteX103" fmla="*/ 6443663 w 8971757"/>
                  <a:gd name="connsiteY103" fmla="*/ 3740944 h 4575969"/>
                  <a:gd name="connsiteX104" fmla="*/ 6477000 w 8971757"/>
                  <a:gd name="connsiteY104" fmla="*/ 3671887 h 4575969"/>
                  <a:gd name="connsiteX105" fmla="*/ 6629400 w 8971757"/>
                  <a:gd name="connsiteY105" fmla="*/ 3564731 h 4575969"/>
                  <a:gd name="connsiteX106" fmla="*/ 6662738 w 8971757"/>
                  <a:gd name="connsiteY106" fmla="*/ 3569494 h 4575969"/>
                  <a:gd name="connsiteX107" fmla="*/ 6715125 w 8971757"/>
                  <a:gd name="connsiteY107" fmla="*/ 3490912 h 4575969"/>
                  <a:gd name="connsiteX108" fmla="*/ 6762750 w 8971757"/>
                  <a:gd name="connsiteY108" fmla="*/ 3452812 h 4575969"/>
                  <a:gd name="connsiteX109" fmla="*/ 6748463 w 8971757"/>
                  <a:gd name="connsiteY109" fmla="*/ 3383756 h 4575969"/>
                  <a:gd name="connsiteX110" fmla="*/ 6698456 w 8971757"/>
                  <a:gd name="connsiteY110" fmla="*/ 3352799 h 4575969"/>
                  <a:gd name="connsiteX111" fmla="*/ 6638925 w 8971757"/>
                  <a:gd name="connsiteY111" fmla="*/ 3298031 h 4575969"/>
                  <a:gd name="connsiteX112" fmla="*/ 6619875 w 8971757"/>
                  <a:gd name="connsiteY112" fmla="*/ 3240881 h 4575969"/>
                  <a:gd name="connsiteX113" fmla="*/ 6584156 w 8971757"/>
                  <a:gd name="connsiteY113" fmla="*/ 3207544 h 4575969"/>
                  <a:gd name="connsiteX114" fmla="*/ 6610350 w 8971757"/>
                  <a:gd name="connsiteY114" fmla="*/ 3155156 h 4575969"/>
                  <a:gd name="connsiteX115" fmla="*/ 6650831 w 8971757"/>
                  <a:gd name="connsiteY115" fmla="*/ 2976562 h 4575969"/>
                  <a:gd name="connsiteX116" fmla="*/ 6691313 w 8971757"/>
                  <a:gd name="connsiteY116" fmla="*/ 2909887 h 4575969"/>
                  <a:gd name="connsiteX117" fmla="*/ 6836569 w 8971757"/>
                  <a:gd name="connsiteY117" fmla="*/ 2893218 h 4575969"/>
                  <a:gd name="connsiteX118" fmla="*/ 6905625 w 8971757"/>
                  <a:gd name="connsiteY118" fmla="*/ 2950369 h 4575969"/>
                  <a:gd name="connsiteX119" fmla="*/ 6981825 w 8971757"/>
                  <a:gd name="connsiteY119" fmla="*/ 2974181 h 4575969"/>
                  <a:gd name="connsiteX120" fmla="*/ 7186612 w 8971757"/>
                  <a:gd name="connsiteY120" fmla="*/ 2978944 h 4575969"/>
                  <a:gd name="connsiteX121" fmla="*/ 7362825 w 8971757"/>
                  <a:gd name="connsiteY121" fmla="*/ 2840831 h 4575969"/>
                  <a:gd name="connsiteX122" fmla="*/ 7419975 w 8971757"/>
                  <a:gd name="connsiteY122" fmla="*/ 2750343 h 4575969"/>
                  <a:gd name="connsiteX123" fmla="*/ 7446169 w 8971757"/>
                  <a:gd name="connsiteY123" fmla="*/ 2667000 h 4575969"/>
                  <a:gd name="connsiteX124" fmla="*/ 7577137 w 8971757"/>
                  <a:gd name="connsiteY124" fmla="*/ 2667000 h 4575969"/>
                  <a:gd name="connsiteX125" fmla="*/ 7750969 w 8971757"/>
                  <a:gd name="connsiteY125" fmla="*/ 2609849 h 4575969"/>
                  <a:gd name="connsiteX126" fmla="*/ 7810500 w 8971757"/>
                  <a:gd name="connsiteY126" fmla="*/ 2497931 h 4575969"/>
                  <a:gd name="connsiteX127" fmla="*/ 7874794 w 8971757"/>
                  <a:gd name="connsiteY127" fmla="*/ 2462212 h 4575969"/>
                  <a:gd name="connsiteX128" fmla="*/ 7853363 w 8971757"/>
                  <a:gd name="connsiteY128" fmla="*/ 2416969 h 4575969"/>
                  <a:gd name="connsiteX129" fmla="*/ 7931944 w 8971757"/>
                  <a:gd name="connsiteY129" fmla="*/ 2247899 h 4575969"/>
                  <a:gd name="connsiteX130" fmla="*/ 7986713 w 8971757"/>
                  <a:gd name="connsiteY130" fmla="*/ 2188369 h 4575969"/>
                  <a:gd name="connsiteX131" fmla="*/ 8024813 w 8971757"/>
                  <a:gd name="connsiteY131" fmla="*/ 2183606 h 4575969"/>
                  <a:gd name="connsiteX132" fmla="*/ 8070056 w 8971757"/>
                  <a:gd name="connsiteY132" fmla="*/ 2188369 h 4575969"/>
                  <a:gd name="connsiteX133" fmla="*/ 8134350 w 8971757"/>
                  <a:gd name="connsiteY133" fmla="*/ 2155031 h 4575969"/>
                  <a:gd name="connsiteX134" fmla="*/ 8143875 w 8971757"/>
                  <a:gd name="connsiteY134" fmla="*/ 2090737 h 4575969"/>
                  <a:gd name="connsiteX135" fmla="*/ 8184355 w 8971757"/>
                  <a:gd name="connsiteY135" fmla="*/ 2055019 h 4575969"/>
                  <a:gd name="connsiteX136" fmla="*/ 8243888 w 8971757"/>
                  <a:gd name="connsiteY136" fmla="*/ 2095499 h 4575969"/>
                  <a:gd name="connsiteX137" fmla="*/ 8270082 w 8971757"/>
                  <a:gd name="connsiteY137" fmla="*/ 2045493 h 4575969"/>
                  <a:gd name="connsiteX138" fmla="*/ 8365331 w 8971757"/>
                  <a:gd name="connsiteY138" fmla="*/ 1976437 h 4575969"/>
                  <a:gd name="connsiteX139" fmla="*/ 8427244 w 8971757"/>
                  <a:gd name="connsiteY139" fmla="*/ 1983581 h 4575969"/>
                  <a:gd name="connsiteX140" fmla="*/ 8477250 w 8971757"/>
                  <a:gd name="connsiteY140" fmla="*/ 1964531 h 4575969"/>
                  <a:gd name="connsiteX141" fmla="*/ 8515350 w 8971757"/>
                  <a:gd name="connsiteY141" fmla="*/ 1935956 h 4575969"/>
                  <a:gd name="connsiteX142" fmla="*/ 8548688 w 8971757"/>
                  <a:gd name="connsiteY142" fmla="*/ 1933575 h 4575969"/>
                  <a:gd name="connsiteX143" fmla="*/ 8584406 w 8971757"/>
                  <a:gd name="connsiteY143" fmla="*/ 1964531 h 4575969"/>
                  <a:gd name="connsiteX144" fmla="*/ 8643938 w 8971757"/>
                  <a:gd name="connsiteY144" fmla="*/ 1964531 h 4575969"/>
                  <a:gd name="connsiteX145" fmla="*/ 8682037 w 8971757"/>
                  <a:gd name="connsiteY145" fmla="*/ 1945481 h 4575969"/>
                  <a:gd name="connsiteX146" fmla="*/ 8765381 w 8971757"/>
                  <a:gd name="connsiteY146" fmla="*/ 1947863 h 4575969"/>
                  <a:gd name="connsiteX147" fmla="*/ 8796338 w 8971757"/>
                  <a:gd name="connsiteY147" fmla="*/ 1902619 h 4575969"/>
                  <a:gd name="connsiteX148" fmla="*/ 8801100 w 8971757"/>
                  <a:gd name="connsiteY148" fmla="*/ 1840706 h 4575969"/>
                  <a:gd name="connsiteX149" fmla="*/ 8751093 w 8971757"/>
                  <a:gd name="connsiteY149" fmla="*/ 1800225 h 4575969"/>
                  <a:gd name="connsiteX150" fmla="*/ 8734425 w 8971757"/>
                  <a:gd name="connsiteY150" fmla="*/ 1745456 h 4575969"/>
                  <a:gd name="connsiteX151" fmla="*/ 8643938 w 8971757"/>
                  <a:gd name="connsiteY151" fmla="*/ 1683544 h 4575969"/>
                  <a:gd name="connsiteX152" fmla="*/ 8603456 w 8971757"/>
                  <a:gd name="connsiteY152" fmla="*/ 1662112 h 4575969"/>
                  <a:gd name="connsiteX153" fmla="*/ 8565356 w 8971757"/>
                  <a:gd name="connsiteY153" fmla="*/ 1616869 h 4575969"/>
                  <a:gd name="connsiteX154" fmla="*/ 8534400 w 8971757"/>
                  <a:gd name="connsiteY154" fmla="*/ 1614487 h 4575969"/>
                  <a:gd name="connsiteX155" fmla="*/ 8517731 w 8971757"/>
                  <a:gd name="connsiteY155" fmla="*/ 1562100 h 4575969"/>
                  <a:gd name="connsiteX156" fmla="*/ 8477250 w 8971757"/>
                  <a:gd name="connsiteY156" fmla="*/ 1545431 h 4575969"/>
                  <a:gd name="connsiteX157" fmla="*/ 8477250 w 8971757"/>
                  <a:gd name="connsiteY157" fmla="*/ 1545431 h 4575969"/>
                  <a:gd name="connsiteX158" fmla="*/ 8436769 w 8971757"/>
                  <a:gd name="connsiteY158" fmla="*/ 1550194 h 4575969"/>
                  <a:gd name="connsiteX159" fmla="*/ 8351043 w 8971757"/>
                  <a:gd name="connsiteY159" fmla="*/ 1476375 h 4575969"/>
                  <a:gd name="connsiteX160" fmla="*/ 8170069 w 8971757"/>
                  <a:gd name="connsiteY160" fmla="*/ 1476374 h 4575969"/>
                  <a:gd name="connsiteX161" fmla="*/ 8117681 w 8971757"/>
                  <a:gd name="connsiteY161" fmla="*/ 1514475 h 4575969"/>
                  <a:gd name="connsiteX162" fmla="*/ 8067675 w 8971757"/>
                  <a:gd name="connsiteY162" fmla="*/ 1593056 h 4575969"/>
                  <a:gd name="connsiteX163" fmla="*/ 8084344 w 8971757"/>
                  <a:gd name="connsiteY163" fmla="*/ 1614487 h 4575969"/>
                  <a:gd name="connsiteX164" fmla="*/ 8039100 w 8971757"/>
                  <a:gd name="connsiteY164" fmla="*/ 1664493 h 4575969"/>
                  <a:gd name="connsiteX165" fmla="*/ 7889081 w 8971757"/>
                  <a:gd name="connsiteY165" fmla="*/ 1588293 h 4575969"/>
                  <a:gd name="connsiteX166" fmla="*/ 7798594 w 8971757"/>
                  <a:gd name="connsiteY166" fmla="*/ 1624012 h 4575969"/>
                  <a:gd name="connsiteX167" fmla="*/ 7724775 w 8971757"/>
                  <a:gd name="connsiteY167" fmla="*/ 1621631 h 4575969"/>
                  <a:gd name="connsiteX168" fmla="*/ 7667625 w 8971757"/>
                  <a:gd name="connsiteY168" fmla="*/ 1716881 h 4575969"/>
                  <a:gd name="connsiteX169" fmla="*/ 7529513 w 8971757"/>
                  <a:gd name="connsiteY169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308256 w 8971757"/>
                  <a:gd name="connsiteY15" fmla="*/ 397294 h 4575969"/>
                  <a:gd name="connsiteX16" fmla="*/ 8343975 w 8971757"/>
                  <a:gd name="connsiteY16" fmla="*/ 356812 h 4575969"/>
                  <a:gd name="connsiteX17" fmla="*/ 8324925 w 8971757"/>
                  <a:gd name="connsiteY17" fmla="*/ 282994 h 4575969"/>
                  <a:gd name="connsiteX18" fmla="*/ 8289206 w 8971757"/>
                  <a:gd name="connsiteY18" fmla="*/ 144882 h 4575969"/>
                  <a:gd name="connsiteX19" fmla="*/ 8412956 w 8971757"/>
                  <a:gd name="connsiteY19" fmla="*/ 23812 h 4575969"/>
                  <a:gd name="connsiteX20" fmla="*/ 8949531 w 8971757"/>
                  <a:gd name="connsiteY20" fmla="*/ 0 h 4575969"/>
                  <a:gd name="connsiteX21" fmla="*/ 8971757 w 8971757"/>
                  <a:gd name="connsiteY21" fmla="*/ 4575969 h 4575969"/>
                  <a:gd name="connsiteX22" fmla="*/ 2381 w 8971757"/>
                  <a:gd name="connsiteY22" fmla="*/ 4547392 h 4575969"/>
                  <a:gd name="connsiteX23" fmla="*/ 0 w 8971757"/>
                  <a:gd name="connsiteY23" fmla="*/ 845344 h 4575969"/>
                  <a:gd name="connsiteX24" fmla="*/ 76200 w 8971757"/>
                  <a:gd name="connsiteY24" fmla="*/ 828675 h 4575969"/>
                  <a:gd name="connsiteX25" fmla="*/ 119063 w 8971757"/>
                  <a:gd name="connsiteY25" fmla="*/ 857250 h 4575969"/>
                  <a:gd name="connsiteX26" fmla="*/ 215900 w 8971757"/>
                  <a:gd name="connsiteY26" fmla="*/ 848519 h 4575969"/>
                  <a:gd name="connsiteX27" fmla="*/ 261938 w 8971757"/>
                  <a:gd name="connsiteY27" fmla="*/ 876299 h 4575969"/>
                  <a:gd name="connsiteX28" fmla="*/ 228600 w 8971757"/>
                  <a:gd name="connsiteY28" fmla="*/ 904875 h 4575969"/>
                  <a:gd name="connsiteX29" fmla="*/ 233363 w 8971757"/>
                  <a:gd name="connsiteY29" fmla="*/ 947737 h 4575969"/>
                  <a:gd name="connsiteX30" fmla="*/ 200025 w 8971757"/>
                  <a:gd name="connsiteY30" fmla="*/ 952500 h 4575969"/>
                  <a:gd name="connsiteX31" fmla="*/ 204788 w 8971757"/>
                  <a:gd name="connsiteY31" fmla="*/ 976312 h 4575969"/>
                  <a:gd name="connsiteX32" fmla="*/ 261937 w 8971757"/>
                  <a:gd name="connsiteY32" fmla="*/ 1050131 h 4575969"/>
                  <a:gd name="connsiteX33" fmla="*/ 223838 w 8971757"/>
                  <a:gd name="connsiteY33" fmla="*/ 1097756 h 4575969"/>
                  <a:gd name="connsiteX34" fmla="*/ 278606 w 8971757"/>
                  <a:gd name="connsiteY34" fmla="*/ 1133475 h 4575969"/>
                  <a:gd name="connsiteX35" fmla="*/ 369094 w 8971757"/>
                  <a:gd name="connsiteY35" fmla="*/ 1221581 h 4575969"/>
                  <a:gd name="connsiteX36" fmla="*/ 371475 w 8971757"/>
                  <a:gd name="connsiteY36" fmla="*/ 1281112 h 4575969"/>
                  <a:gd name="connsiteX37" fmla="*/ 507206 w 8971757"/>
                  <a:gd name="connsiteY37" fmla="*/ 1414463 h 4575969"/>
                  <a:gd name="connsiteX38" fmla="*/ 561975 w 8971757"/>
                  <a:gd name="connsiteY38" fmla="*/ 1390650 h 4575969"/>
                  <a:gd name="connsiteX39" fmla="*/ 600075 w 8971757"/>
                  <a:gd name="connsiteY39" fmla="*/ 1416843 h 4575969"/>
                  <a:gd name="connsiteX40" fmla="*/ 614363 w 8971757"/>
                  <a:gd name="connsiteY40" fmla="*/ 1466849 h 4575969"/>
                  <a:gd name="connsiteX41" fmla="*/ 657225 w 8971757"/>
                  <a:gd name="connsiteY41" fmla="*/ 1502569 h 4575969"/>
                  <a:gd name="connsiteX42" fmla="*/ 697706 w 8971757"/>
                  <a:gd name="connsiteY42" fmla="*/ 1490662 h 4575969"/>
                  <a:gd name="connsiteX43" fmla="*/ 716756 w 8971757"/>
                  <a:gd name="connsiteY43" fmla="*/ 1547812 h 4575969"/>
                  <a:gd name="connsiteX44" fmla="*/ 764381 w 8971757"/>
                  <a:gd name="connsiteY44" fmla="*/ 1590675 h 4575969"/>
                  <a:gd name="connsiteX45" fmla="*/ 788194 w 8971757"/>
                  <a:gd name="connsiteY45" fmla="*/ 1693069 h 4575969"/>
                  <a:gd name="connsiteX46" fmla="*/ 785813 w 8971757"/>
                  <a:gd name="connsiteY46" fmla="*/ 1740694 h 4575969"/>
                  <a:gd name="connsiteX47" fmla="*/ 821531 w 8971757"/>
                  <a:gd name="connsiteY47" fmla="*/ 1840706 h 4575969"/>
                  <a:gd name="connsiteX48" fmla="*/ 866775 w 8971757"/>
                  <a:gd name="connsiteY48" fmla="*/ 1897856 h 4575969"/>
                  <a:gd name="connsiteX49" fmla="*/ 883443 w 8971757"/>
                  <a:gd name="connsiteY49" fmla="*/ 2055018 h 4575969"/>
                  <a:gd name="connsiteX50" fmla="*/ 850106 w 8971757"/>
                  <a:gd name="connsiteY50" fmla="*/ 2116931 h 4575969"/>
                  <a:gd name="connsiteX51" fmla="*/ 819150 w 8971757"/>
                  <a:gd name="connsiteY51" fmla="*/ 2193131 h 4575969"/>
                  <a:gd name="connsiteX52" fmla="*/ 833438 w 8971757"/>
                  <a:gd name="connsiteY52" fmla="*/ 2250281 h 4575969"/>
                  <a:gd name="connsiteX53" fmla="*/ 735806 w 8971757"/>
                  <a:gd name="connsiteY53" fmla="*/ 2357438 h 4575969"/>
                  <a:gd name="connsiteX54" fmla="*/ 692944 w 8971757"/>
                  <a:gd name="connsiteY54" fmla="*/ 2471737 h 4575969"/>
                  <a:gd name="connsiteX55" fmla="*/ 726281 w 8971757"/>
                  <a:gd name="connsiteY55" fmla="*/ 2512219 h 4575969"/>
                  <a:gd name="connsiteX56" fmla="*/ 709613 w 8971757"/>
                  <a:gd name="connsiteY56" fmla="*/ 2540794 h 4575969"/>
                  <a:gd name="connsiteX57" fmla="*/ 740569 w 8971757"/>
                  <a:gd name="connsiteY57" fmla="*/ 2597944 h 4575969"/>
                  <a:gd name="connsiteX58" fmla="*/ 769144 w 8971757"/>
                  <a:gd name="connsiteY58" fmla="*/ 2597944 h 4575969"/>
                  <a:gd name="connsiteX59" fmla="*/ 931069 w 8971757"/>
                  <a:gd name="connsiteY59" fmla="*/ 2700337 h 4575969"/>
                  <a:gd name="connsiteX60" fmla="*/ 1035844 w 8971757"/>
                  <a:gd name="connsiteY60" fmla="*/ 2697956 h 4575969"/>
                  <a:gd name="connsiteX61" fmla="*/ 1114425 w 8971757"/>
                  <a:gd name="connsiteY61" fmla="*/ 2752725 h 4575969"/>
                  <a:gd name="connsiteX62" fmla="*/ 1245393 w 8971757"/>
                  <a:gd name="connsiteY62" fmla="*/ 2755106 h 4575969"/>
                  <a:gd name="connsiteX63" fmla="*/ 1435893 w 8971757"/>
                  <a:gd name="connsiteY63" fmla="*/ 2824162 h 4575969"/>
                  <a:gd name="connsiteX64" fmla="*/ 1638300 w 8971757"/>
                  <a:gd name="connsiteY64" fmla="*/ 2974181 h 4575969"/>
                  <a:gd name="connsiteX65" fmla="*/ 1671637 w 8971757"/>
                  <a:gd name="connsiteY65" fmla="*/ 3040856 h 4575969"/>
                  <a:gd name="connsiteX66" fmla="*/ 1838325 w 8971757"/>
                  <a:gd name="connsiteY66" fmla="*/ 3167062 h 4575969"/>
                  <a:gd name="connsiteX67" fmla="*/ 1909763 w 8971757"/>
                  <a:gd name="connsiteY67" fmla="*/ 3162300 h 4575969"/>
                  <a:gd name="connsiteX68" fmla="*/ 1945482 w 8971757"/>
                  <a:gd name="connsiteY68" fmla="*/ 3186112 h 4575969"/>
                  <a:gd name="connsiteX69" fmla="*/ 1916906 w 8971757"/>
                  <a:gd name="connsiteY69" fmla="*/ 3226594 h 4575969"/>
                  <a:gd name="connsiteX70" fmla="*/ 1924050 w 8971757"/>
                  <a:gd name="connsiteY70" fmla="*/ 3278981 h 4575969"/>
                  <a:gd name="connsiteX71" fmla="*/ 1976438 w 8971757"/>
                  <a:gd name="connsiteY71" fmla="*/ 3305175 h 4575969"/>
                  <a:gd name="connsiteX72" fmla="*/ 2038350 w 8971757"/>
                  <a:gd name="connsiteY72" fmla="*/ 3529013 h 4575969"/>
                  <a:gd name="connsiteX73" fmla="*/ 2028825 w 8971757"/>
                  <a:gd name="connsiteY73" fmla="*/ 3593306 h 4575969"/>
                  <a:gd name="connsiteX74" fmla="*/ 2164556 w 8971757"/>
                  <a:gd name="connsiteY74" fmla="*/ 3759994 h 4575969"/>
                  <a:gd name="connsiteX75" fmla="*/ 2183606 w 8971757"/>
                  <a:gd name="connsiteY75" fmla="*/ 3810000 h 4575969"/>
                  <a:gd name="connsiteX76" fmla="*/ 2157413 w 8971757"/>
                  <a:gd name="connsiteY76" fmla="*/ 3829050 h 4575969"/>
                  <a:gd name="connsiteX77" fmla="*/ 2259806 w 8971757"/>
                  <a:gd name="connsiteY77" fmla="*/ 3838575 h 4575969"/>
                  <a:gd name="connsiteX78" fmla="*/ 2371725 w 8971757"/>
                  <a:gd name="connsiteY78" fmla="*/ 3826669 h 4575969"/>
                  <a:gd name="connsiteX79" fmla="*/ 2650331 w 8971757"/>
                  <a:gd name="connsiteY79" fmla="*/ 3910012 h 4575969"/>
                  <a:gd name="connsiteX80" fmla="*/ 3057525 w 8971757"/>
                  <a:gd name="connsiteY80" fmla="*/ 3990975 h 4575969"/>
                  <a:gd name="connsiteX81" fmla="*/ 3255169 w 8971757"/>
                  <a:gd name="connsiteY81" fmla="*/ 3960018 h 4575969"/>
                  <a:gd name="connsiteX82" fmla="*/ 3300413 w 8971757"/>
                  <a:gd name="connsiteY82" fmla="*/ 3971924 h 4575969"/>
                  <a:gd name="connsiteX83" fmla="*/ 3355181 w 8971757"/>
                  <a:gd name="connsiteY83" fmla="*/ 3948113 h 4575969"/>
                  <a:gd name="connsiteX84" fmla="*/ 3748087 w 8971757"/>
                  <a:gd name="connsiteY84" fmla="*/ 4038600 h 4575969"/>
                  <a:gd name="connsiteX85" fmla="*/ 3831432 w 8971757"/>
                  <a:gd name="connsiteY85" fmla="*/ 4136231 h 4575969"/>
                  <a:gd name="connsiteX86" fmla="*/ 3950494 w 8971757"/>
                  <a:gd name="connsiteY86" fmla="*/ 4207669 h 4575969"/>
                  <a:gd name="connsiteX87" fmla="*/ 4010025 w 8971757"/>
                  <a:gd name="connsiteY87" fmla="*/ 4191000 h 4575969"/>
                  <a:gd name="connsiteX88" fmla="*/ 4360068 w 8971757"/>
                  <a:gd name="connsiteY88" fmla="*/ 4364831 h 4575969"/>
                  <a:gd name="connsiteX89" fmla="*/ 4586288 w 8971757"/>
                  <a:gd name="connsiteY89" fmla="*/ 4336256 h 4575969"/>
                  <a:gd name="connsiteX90" fmla="*/ 4595813 w 8971757"/>
                  <a:gd name="connsiteY90" fmla="*/ 4414837 h 4575969"/>
                  <a:gd name="connsiteX91" fmla="*/ 4681538 w 8971757"/>
                  <a:gd name="connsiteY91" fmla="*/ 4410074 h 4575969"/>
                  <a:gd name="connsiteX92" fmla="*/ 4760119 w 8971757"/>
                  <a:gd name="connsiteY92" fmla="*/ 4441031 h 4575969"/>
                  <a:gd name="connsiteX93" fmla="*/ 4802981 w 8971757"/>
                  <a:gd name="connsiteY93" fmla="*/ 4381500 h 4575969"/>
                  <a:gd name="connsiteX94" fmla="*/ 5474494 w 8971757"/>
                  <a:gd name="connsiteY94" fmla="*/ 4062412 h 4575969"/>
                  <a:gd name="connsiteX95" fmla="*/ 5562600 w 8971757"/>
                  <a:gd name="connsiteY95" fmla="*/ 4090988 h 4575969"/>
                  <a:gd name="connsiteX96" fmla="*/ 5693569 w 8971757"/>
                  <a:gd name="connsiteY96" fmla="*/ 4062412 h 4575969"/>
                  <a:gd name="connsiteX97" fmla="*/ 5872162 w 8971757"/>
                  <a:gd name="connsiteY97" fmla="*/ 4079081 h 4575969"/>
                  <a:gd name="connsiteX98" fmla="*/ 5929313 w 8971757"/>
                  <a:gd name="connsiteY98" fmla="*/ 4052888 h 4575969"/>
                  <a:gd name="connsiteX99" fmla="*/ 6062662 w 8971757"/>
                  <a:gd name="connsiteY99" fmla="*/ 4050506 h 4575969"/>
                  <a:gd name="connsiteX100" fmla="*/ 6196012 w 8971757"/>
                  <a:gd name="connsiteY100" fmla="*/ 3952875 h 4575969"/>
                  <a:gd name="connsiteX101" fmla="*/ 6262687 w 8971757"/>
                  <a:gd name="connsiteY101" fmla="*/ 3945731 h 4575969"/>
                  <a:gd name="connsiteX102" fmla="*/ 6360319 w 8971757"/>
                  <a:gd name="connsiteY102" fmla="*/ 3871912 h 4575969"/>
                  <a:gd name="connsiteX103" fmla="*/ 6434138 w 8971757"/>
                  <a:gd name="connsiteY103" fmla="*/ 3802856 h 4575969"/>
                  <a:gd name="connsiteX104" fmla="*/ 6443663 w 8971757"/>
                  <a:gd name="connsiteY104" fmla="*/ 3740944 h 4575969"/>
                  <a:gd name="connsiteX105" fmla="*/ 6477000 w 8971757"/>
                  <a:gd name="connsiteY105" fmla="*/ 3671887 h 4575969"/>
                  <a:gd name="connsiteX106" fmla="*/ 6629400 w 8971757"/>
                  <a:gd name="connsiteY106" fmla="*/ 3564731 h 4575969"/>
                  <a:gd name="connsiteX107" fmla="*/ 6662738 w 8971757"/>
                  <a:gd name="connsiteY107" fmla="*/ 3569494 h 4575969"/>
                  <a:gd name="connsiteX108" fmla="*/ 6715125 w 8971757"/>
                  <a:gd name="connsiteY108" fmla="*/ 3490912 h 4575969"/>
                  <a:gd name="connsiteX109" fmla="*/ 6762750 w 8971757"/>
                  <a:gd name="connsiteY109" fmla="*/ 3452812 h 4575969"/>
                  <a:gd name="connsiteX110" fmla="*/ 6748463 w 8971757"/>
                  <a:gd name="connsiteY110" fmla="*/ 3383756 h 4575969"/>
                  <a:gd name="connsiteX111" fmla="*/ 6698456 w 8971757"/>
                  <a:gd name="connsiteY111" fmla="*/ 3352799 h 4575969"/>
                  <a:gd name="connsiteX112" fmla="*/ 6638925 w 8971757"/>
                  <a:gd name="connsiteY112" fmla="*/ 3298031 h 4575969"/>
                  <a:gd name="connsiteX113" fmla="*/ 6619875 w 8971757"/>
                  <a:gd name="connsiteY113" fmla="*/ 3240881 h 4575969"/>
                  <a:gd name="connsiteX114" fmla="*/ 6584156 w 8971757"/>
                  <a:gd name="connsiteY114" fmla="*/ 3207544 h 4575969"/>
                  <a:gd name="connsiteX115" fmla="*/ 6610350 w 8971757"/>
                  <a:gd name="connsiteY115" fmla="*/ 3155156 h 4575969"/>
                  <a:gd name="connsiteX116" fmla="*/ 6650831 w 8971757"/>
                  <a:gd name="connsiteY116" fmla="*/ 2976562 h 4575969"/>
                  <a:gd name="connsiteX117" fmla="*/ 6691313 w 8971757"/>
                  <a:gd name="connsiteY117" fmla="*/ 2909887 h 4575969"/>
                  <a:gd name="connsiteX118" fmla="*/ 6836569 w 8971757"/>
                  <a:gd name="connsiteY118" fmla="*/ 2893218 h 4575969"/>
                  <a:gd name="connsiteX119" fmla="*/ 6905625 w 8971757"/>
                  <a:gd name="connsiteY119" fmla="*/ 2950369 h 4575969"/>
                  <a:gd name="connsiteX120" fmla="*/ 6981825 w 8971757"/>
                  <a:gd name="connsiteY120" fmla="*/ 2974181 h 4575969"/>
                  <a:gd name="connsiteX121" fmla="*/ 7186612 w 8971757"/>
                  <a:gd name="connsiteY121" fmla="*/ 2978944 h 4575969"/>
                  <a:gd name="connsiteX122" fmla="*/ 7362825 w 8971757"/>
                  <a:gd name="connsiteY122" fmla="*/ 2840831 h 4575969"/>
                  <a:gd name="connsiteX123" fmla="*/ 7419975 w 8971757"/>
                  <a:gd name="connsiteY123" fmla="*/ 2750343 h 4575969"/>
                  <a:gd name="connsiteX124" fmla="*/ 7446169 w 8971757"/>
                  <a:gd name="connsiteY124" fmla="*/ 2667000 h 4575969"/>
                  <a:gd name="connsiteX125" fmla="*/ 7577137 w 8971757"/>
                  <a:gd name="connsiteY125" fmla="*/ 2667000 h 4575969"/>
                  <a:gd name="connsiteX126" fmla="*/ 7750969 w 8971757"/>
                  <a:gd name="connsiteY126" fmla="*/ 2609849 h 4575969"/>
                  <a:gd name="connsiteX127" fmla="*/ 7810500 w 8971757"/>
                  <a:gd name="connsiteY127" fmla="*/ 2497931 h 4575969"/>
                  <a:gd name="connsiteX128" fmla="*/ 7874794 w 8971757"/>
                  <a:gd name="connsiteY128" fmla="*/ 2462212 h 4575969"/>
                  <a:gd name="connsiteX129" fmla="*/ 7853363 w 8971757"/>
                  <a:gd name="connsiteY129" fmla="*/ 2416969 h 4575969"/>
                  <a:gd name="connsiteX130" fmla="*/ 7931944 w 8971757"/>
                  <a:gd name="connsiteY130" fmla="*/ 2247899 h 4575969"/>
                  <a:gd name="connsiteX131" fmla="*/ 7986713 w 8971757"/>
                  <a:gd name="connsiteY131" fmla="*/ 2188369 h 4575969"/>
                  <a:gd name="connsiteX132" fmla="*/ 8024813 w 8971757"/>
                  <a:gd name="connsiteY132" fmla="*/ 2183606 h 4575969"/>
                  <a:gd name="connsiteX133" fmla="*/ 8070056 w 8971757"/>
                  <a:gd name="connsiteY133" fmla="*/ 2188369 h 4575969"/>
                  <a:gd name="connsiteX134" fmla="*/ 8134350 w 8971757"/>
                  <a:gd name="connsiteY134" fmla="*/ 2155031 h 4575969"/>
                  <a:gd name="connsiteX135" fmla="*/ 8143875 w 8971757"/>
                  <a:gd name="connsiteY135" fmla="*/ 2090737 h 4575969"/>
                  <a:gd name="connsiteX136" fmla="*/ 8184355 w 8971757"/>
                  <a:gd name="connsiteY136" fmla="*/ 2055019 h 4575969"/>
                  <a:gd name="connsiteX137" fmla="*/ 8243888 w 8971757"/>
                  <a:gd name="connsiteY137" fmla="*/ 2095499 h 4575969"/>
                  <a:gd name="connsiteX138" fmla="*/ 8270082 w 8971757"/>
                  <a:gd name="connsiteY138" fmla="*/ 2045493 h 4575969"/>
                  <a:gd name="connsiteX139" fmla="*/ 8365331 w 8971757"/>
                  <a:gd name="connsiteY139" fmla="*/ 1976437 h 4575969"/>
                  <a:gd name="connsiteX140" fmla="*/ 8427244 w 8971757"/>
                  <a:gd name="connsiteY140" fmla="*/ 1983581 h 4575969"/>
                  <a:gd name="connsiteX141" fmla="*/ 8477250 w 8971757"/>
                  <a:gd name="connsiteY141" fmla="*/ 1964531 h 4575969"/>
                  <a:gd name="connsiteX142" fmla="*/ 8515350 w 8971757"/>
                  <a:gd name="connsiteY142" fmla="*/ 1935956 h 4575969"/>
                  <a:gd name="connsiteX143" fmla="*/ 8548688 w 8971757"/>
                  <a:gd name="connsiteY143" fmla="*/ 1933575 h 4575969"/>
                  <a:gd name="connsiteX144" fmla="*/ 8584406 w 8971757"/>
                  <a:gd name="connsiteY144" fmla="*/ 1964531 h 4575969"/>
                  <a:gd name="connsiteX145" fmla="*/ 8643938 w 8971757"/>
                  <a:gd name="connsiteY145" fmla="*/ 1964531 h 4575969"/>
                  <a:gd name="connsiteX146" fmla="*/ 8682037 w 8971757"/>
                  <a:gd name="connsiteY146" fmla="*/ 1945481 h 4575969"/>
                  <a:gd name="connsiteX147" fmla="*/ 8765381 w 8971757"/>
                  <a:gd name="connsiteY147" fmla="*/ 1947863 h 4575969"/>
                  <a:gd name="connsiteX148" fmla="*/ 8796338 w 8971757"/>
                  <a:gd name="connsiteY148" fmla="*/ 1902619 h 4575969"/>
                  <a:gd name="connsiteX149" fmla="*/ 8801100 w 8971757"/>
                  <a:gd name="connsiteY149" fmla="*/ 1840706 h 4575969"/>
                  <a:gd name="connsiteX150" fmla="*/ 8751093 w 8971757"/>
                  <a:gd name="connsiteY150" fmla="*/ 1800225 h 4575969"/>
                  <a:gd name="connsiteX151" fmla="*/ 8734425 w 8971757"/>
                  <a:gd name="connsiteY151" fmla="*/ 1745456 h 4575969"/>
                  <a:gd name="connsiteX152" fmla="*/ 8643938 w 8971757"/>
                  <a:gd name="connsiteY152" fmla="*/ 1683544 h 4575969"/>
                  <a:gd name="connsiteX153" fmla="*/ 8603456 w 8971757"/>
                  <a:gd name="connsiteY153" fmla="*/ 1662112 h 4575969"/>
                  <a:gd name="connsiteX154" fmla="*/ 8565356 w 8971757"/>
                  <a:gd name="connsiteY154" fmla="*/ 1616869 h 4575969"/>
                  <a:gd name="connsiteX155" fmla="*/ 8534400 w 8971757"/>
                  <a:gd name="connsiteY155" fmla="*/ 1614487 h 4575969"/>
                  <a:gd name="connsiteX156" fmla="*/ 8517731 w 8971757"/>
                  <a:gd name="connsiteY156" fmla="*/ 1562100 h 4575969"/>
                  <a:gd name="connsiteX157" fmla="*/ 8477250 w 8971757"/>
                  <a:gd name="connsiteY157" fmla="*/ 1545431 h 4575969"/>
                  <a:gd name="connsiteX158" fmla="*/ 8477250 w 8971757"/>
                  <a:gd name="connsiteY158" fmla="*/ 1545431 h 4575969"/>
                  <a:gd name="connsiteX159" fmla="*/ 8436769 w 8971757"/>
                  <a:gd name="connsiteY159" fmla="*/ 1550194 h 4575969"/>
                  <a:gd name="connsiteX160" fmla="*/ 8351043 w 8971757"/>
                  <a:gd name="connsiteY160" fmla="*/ 1476375 h 4575969"/>
                  <a:gd name="connsiteX161" fmla="*/ 8170069 w 8971757"/>
                  <a:gd name="connsiteY161" fmla="*/ 1476374 h 4575969"/>
                  <a:gd name="connsiteX162" fmla="*/ 8117681 w 8971757"/>
                  <a:gd name="connsiteY162" fmla="*/ 1514475 h 4575969"/>
                  <a:gd name="connsiteX163" fmla="*/ 8067675 w 8971757"/>
                  <a:gd name="connsiteY163" fmla="*/ 1593056 h 4575969"/>
                  <a:gd name="connsiteX164" fmla="*/ 8084344 w 8971757"/>
                  <a:gd name="connsiteY164" fmla="*/ 1614487 h 4575969"/>
                  <a:gd name="connsiteX165" fmla="*/ 8039100 w 8971757"/>
                  <a:gd name="connsiteY165" fmla="*/ 1664493 h 4575969"/>
                  <a:gd name="connsiteX166" fmla="*/ 7889081 w 8971757"/>
                  <a:gd name="connsiteY166" fmla="*/ 1588293 h 4575969"/>
                  <a:gd name="connsiteX167" fmla="*/ 7798594 w 8971757"/>
                  <a:gd name="connsiteY167" fmla="*/ 1624012 h 4575969"/>
                  <a:gd name="connsiteX168" fmla="*/ 7724775 w 8971757"/>
                  <a:gd name="connsiteY168" fmla="*/ 1621631 h 4575969"/>
                  <a:gd name="connsiteX169" fmla="*/ 7667625 w 8971757"/>
                  <a:gd name="connsiteY169" fmla="*/ 1716881 h 4575969"/>
                  <a:gd name="connsiteX170" fmla="*/ 7529513 w 8971757"/>
                  <a:gd name="connsiteY170" fmla="*/ 1619250 h 4575969"/>
                  <a:gd name="connsiteX0" fmla="*/ 7529513 w 8971757"/>
                  <a:gd name="connsiteY0" fmla="*/ 1619250 h 4575969"/>
                  <a:gd name="connsiteX1" fmla="*/ 7522369 w 8971757"/>
                  <a:gd name="connsiteY1" fmla="*/ 1564481 h 4575969"/>
                  <a:gd name="connsiteX2" fmla="*/ 7589044 w 8971757"/>
                  <a:gd name="connsiteY2" fmla="*/ 1490662 h 4575969"/>
                  <a:gd name="connsiteX3" fmla="*/ 7572375 w 8971757"/>
                  <a:gd name="connsiteY3" fmla="*/ 1419225 h 4575969"/>
                  <a:gd name="connsiteX4" fmla="*/ 7586663 w 8971757"/>
                  <a:gd name="connsiteY4" fmla="*/ 1323975 h 4575969"/>
                  <a:gd name="connsiteX5" fmla="*/ 7624763 w 8971757"/>
                  <a:gd name="connsiteY5" fmla="*/ 1266825 h 4575969"/>
                  <a:gd name="connsiteX6" fmla="*/ 7605712 w 8971757"/>
                  <a:gd name="connsiteY6" fmla="*/ 1233487 h 4575969"/>
                  <a:gd name="connsiteX7" fmla="*/ 7703343 w 8971757"/>
                  <a:gd name="connsiteY7" fmla="*/ 833437 h 4575969"/>
                  <a:gd name="connsiteX8" fmla="*/ 7867725 w 8971757"/>
                  <a:gd name="connsiteY8" fmla="*/ 885450 h 4575969"/>
                  <a:gd name="connsiteX9" fmla="*/ 7929638 w 8971757"/>
                  <a:gd name="connsiteY9" fmla="*/ 864019 h 4575969"/>
                  <a:gd name="connsiteX10" fmla="*/ 8039175 w 8971757"/>
                  <a:gd name="connsiteY10" fmla="*/ 906881 h 4575969"/>
                  <a:gd name="connsiteX11" fmla="*/ 8205863 w 8971757"/>
                  <a:gd name="connsiteY11" fmla="*/ 694950 h 4575969"/>
                  <a:gd name="connsiteX12" fmla="*/ 8341594 w 8971757"/>
                  <a:gd name="connsiteY12" fmla="*/ 642562 h 4575969"/>
                  <a:gd name="connsiteX13" fmla="*/ 8339213 w 8971757"/>
                  <a:gd name="connsiteY13" fmla="*/ 511594 h 4575969"/>
                  <a:gd name="connsiteX14" fmla="*/ 8298731 w 8971757"/>
                  <a:gd name="connsiteY14" fmla="*/ 480637 h 4575969"/>
                  <a:gd name="connsiteX15" fmla="*/ 8308256 w 8971757"/>
                  <a:gd name="connsiteY15" fmla="*/ 397294 h 4575969"/>
                  <a:gd name="connsiteX16" fmla="*/ 8343975 w 8971757"/>
                  <a:gd name="connsiteY16" fmla="*/ 356812 h 4575969"/>
                  <a:gd name="connsiteX17" fmla="*/ 8324925 w 8971757"/>
                  <a:gd name="connsiteY17" fmla="*/ 282994 h 4575969"/>
                  <a:gd name="connsiteX18" fmla="*/ 8412956 w 8971757"/>
                  <a:gd name="connsiteY18" fmla="*/ 23812 h 4575969"/>
                  <a:gd name="connsiteX19" fmla="*/ 8949531 w 8971757"/>
                  <a:gd name="connsiteY19" fmla="*/ 0 h 4575969"/>
                  <a:gd name="connsiteX20" fmla="*/ 8971757 w 8971757"/>
                  <a:gd name="connsiteY20" fmla="*/ 4575969 h 4575969"/>
                  <a:gd name="connsiteX21" fmla="*/ 2381 w 8971757"/>
                  <a:gd name="connsiteY21" fmla="*/ 4547392 h 4575969"/>
                  <a:gd name="connsiteX22" fmla="*/ 0 w 8971757"/>
                  <a:gd name="connsiteY22" fmla="*/ 845344 h 4575969"/>
                  <a:gd name="connsiteX23" fmla="*/ 76200 w 8971757"/>
                  <a:gd name="connsiteY23" fmla="*/ 828675 h 4575969"/>
                  <a:gd name="connsiteX24" fmla="*/ 119063 w 8971757"/>
                  <a:gd name="connsiteY24" fmla="*/ 857250 h 4575969"/>
                  <a:gd name="connsiteX25" fmla="*/ 215900 w 8971757"/>
                  <a:gd name="connsiteY25" fmla="*/ 848519 h 4575969"/>
                  <a:gd name="connsiteX26" fmla="*/ 261938 w 8971757"/>
                  <a:gd name="connsiteY26" fmla="*/ 876299 h 4575969"/>
                  <a:gd name="connsiteX27" fmla="*/ 228600 w 8971757"/>
                  <a:gd name="connsiteY27" fmla="*/ 904875 h 4575969"/>
                  <a:gd name="connsiteX28" fmla="*/ 233363 w 8971757"/>
                  <a:gd name="connsiteY28" fmla="*/ 947737 h 4575969"/>
                  <a:gd name="connsiteX29" fmla="*/ 200025 w 8971757"/>
                  <a:gd name="connsiteY29" fmla="*/ 952500 h 4575969"/>
                  <a:gd name="connsiteX30" fmla="*/ 204788 w 8971757"/>
                  <a:gd name="connsiteY30" fmla="*/ 976312 h 4575969"/>
                  <a:gd name="connsiteX31" fmla="*/ 261937 w 8971757"/>
                  <a:gd name="connsiteY31" fmla="*/ 1050131 h 4575969"/>
                  <a:gd name="connsiteX32" fmla="*/ 223838 w 8971757"/>
                  <a:gd name="connsiteY32" fmla="*/ 1097756 h 4575969"/>
                  <a:gd name="connsiteX33" fmla="*/ 278606 w 8971757"/>
                  <a:gd name="connsiteY33" fmla="*/ 1133475 h 4575969"/>
                  <a:gd name="connsiteX34" fmla="*/ 369094 w 8971757"/>
                  <a:gd name="connsiteY34" fmla="*/ 1221581 h 4575969"/>
                  <a:gd name="connsiteX35" fmla="*/ 371475 w 8971757"/>
                  <a:gd name="connsiteY35" fmla="*/ 1281112 h 4575969"/>
                  <a:gd name="connsiteX36" fmla="*/ 507206 w 8971757"/>
                  <a:gd name="connsiteY36" fmla="*/ 1414463 h 4575969"/>
                  <a:gd name="connsiteX37" fmla="*/ 561975 w 8971757"/>
                  <a:gd name="connsiteY37" fmla="*/ 1390650 h 4575969"/>
                  <a:gd name="connsiteX38" fmla="*/ 600075 w 8971757"/>
                  <a:gd name="connsiteY38" fmla="*/ 1416843 h 4575969"/>
                  <a:gd name="connsiteX39" fmla="*/ 614363 w 8971757"/>
                  <a:gd name="connsiteY39" fmla="*/ 1466849 h 4575969"/>
                  <a:gd name="connsiteX40" fmla="*/ 657225 w 8971757"/>
                  <a:gd name="connsiteY40" fmla="*/ 1502569 h 4575969"/>
                  <a:gd name="connsiteX41" fmla="*/ 697706 w 8971757"/>
                  <a:gd name="connsiteY41" fmla="*/ 1490662 h 4575969"/>
                  <a:gd name="connsiteX42" fmla="*/ 716756 w 8971757"/>
                  <a:gd name="connsiteY42" fmla="*/ 1547812 h 4575969"/>
                  <a:gd name="connsiteX43" fmla="*/ 764381 w 8971757"/>
                  <a:gd name="connsiteY43" fmla="*/ 1590675 h 4575969"/>
                  <a:gd name="connsiteX44" fmla="*/ 788194 w 8971757"/>
                  <a:gd name="connsiteY44" fmla="*/ 1693069 h 4575969"/>
                  <a:gd name="connsiteX45" fmla="*/ 785813 w 8971757"/>
                  <a:gd name="connsiteY45" fmla="*/ 1740694 h 4575969"/>
                  <a:gd name="connsiteX46" fmla="*/ 821531 w 8971757"/>
                  <a:gd name="connsiteY46" fmla="*/ 1840706 h 4575969"/>
                  <a:gd name="connsiteX47" fmla="*/ 866775 w 8971757"/>
                  <a:gd name="connsiteY47" fmla="*/ 1897856 h 4575969"/>
                  <a:gd name="connsiteX48" fmla="*/ 883443 w 8971757"/>
                  <a:gd name="connsiteY48" fmla="*/ 2055018 h 4575969"/>
                  <a:gd name="connsiteX49" fmla="*/ 850106 w 8971757"/>
                  <a:gd name="connsiteY49" fmla="*/ 2116931 h 4575969"/>
                  <a:gd name="connsiteX50" fmla="*/ 819150 w 8971757"/>
                  <a:gd name="connsiteY50" fmla="*/ 2193131 h 4575969"/>
                  <a:gd name="connsiteX51" fmla="*/ 833438 w 8971757"/>
                  <a:gd name="connsiteY51" fmla="*/ 2250281 h 4575969"/>
                  <a:gd name="connsiteX52" fmla="*/ 735806 w 8971757"/>
                  <a:gd name="connsiteY52" fmla="*/ 2357438 h 4575969"/>
                  <a:gd name="connsiteX53" fmla="*/ 692944 w 8971757"/>
                  <a:gd name="connsiteY53" fmla="*/ 2471737 h 4575969"/>
                  <a:gd name="connsiteX54" fmla="*/ 726281 w 8971757"/>
                  <a:gd name="connsiteY54" fmla="*/ 2512219 h 4575969"/>
                  <a:gd name="connsiteX55" fmla="*/ 709613 w 8971757"/>
                  <a:gd name="connsiteY55" fmla="*/ 2540794 h 4575969"/>
                  <a:gd name="connsiteX56" fmla="*/ 740569 w 8971757"/>
                  <a:gd name="connsiteY56" fmla="*/ 2597944 h 4575969"/>
                  <a:gd name="connsiteX57" fmla="*/ 769144 w 8971757"/>
                  <a:gd name="connsiteY57" fmla="*/ 2597944 h 4575969"/>
                  <a:gd name="connsiteX58" fmla="*/ 931069 w 8971757"/>
                  <a:gd name="connsiteY58" fmla="*/ 2700337 h 4575969"/>
                  <a:gd name="connsiteX59" fmla="*/ 1035844 w 8971757"/>
                  <a:gd name="connsiteY59" fmla="*/ 2697956 h 4575969"/>
                  <a:gd name="connsiteX60" fmla="*/ 1114425 w 8971757"/>
                  <a:gd name="connsiteY60" fmla="*/ 2752725 h 4575969"/>
                  <a:gd name="connsiteX61" fmla="*/ 1245393 w 8971757"/>
                  <a:gd name="connsiteY61" fmla="*/ 2755106 h 4575969"/>
                  <a:gd name="connsiteX62" fmla="*/ 1435893 w 8971757"/>
                  <a:gd name="connsiteY62" fmla="*/ 2824162 h 4575969"/>
                  <a:gd name="connsiteX63" fmla="*/ 1638300 w 8971757"/>
                  <a:gd name="connsiteY63" fmla="*/ 2974181 h 4575969"/>
                  <a:gd name="connsiteX64" fmla="*/ 1671637 w 8971757"/>
                  <a:gd name="connsiteY64" fmla="*/ 3040856 h 4575969"/>
                  <a:gd name="connsiteX65" fmla="*/ 1838325 w 8971757"/>
                  <a:gd name="connsiteY65" fmla="*/ 3167062 h 4575969"/>
                  <a:gd name="connsiteX66" fmla="*/ 1909763 w 8971757"/>
                  <a:gd name="connsiteY66" fmla="*/ 3162300 h 4575969"/>
                  <a:gd name="connsiteX67" fmla="*/ 1945482 w 8971757"/>
                  <a:gd name="connsiteY67" fmla="*/ 3186112 h 4575969"/>
                  <a:gd name="connsiteX68" fmla="*/ 1916906 w 8971757"/>
                  <a:gd name="connsiteY68" fmla="*/ 3226594 h 4575969"/>
                  <a:gd name="connsiteX69" fmla="*/ 1924050 w 8971757"/>
                  <a:gd name="connsiteY69" fmla="*/ 3278981 h 4575969"/>
                  <a:gd name="connsiteX70" fmla="*/ 1976438 w 8971757"/>
                  <a:gd name="connsiteY70" fmla="*/ 3305175 h 4575969"/>
                  <a:gd name="connsiteX71" fmla="*/ 2038350 w 8971757"/>
                  <a:gd name="connsiteY71" fmla="*/ 3529013 h 4575969"/>
                  <a:gd name="connsiteX72" fmla="*/ 2028825 w 8971757"/>
                  <a:gd name="connsiteY72" fmla="*/ 3593306 h 4575969"/>
                  <a:gd name="connsiteX73" fmla="*/ 2164556 w 8971757"/>
                  <a:gd name="connsiteY73" fmla="*/ 3759994 h 4575969"/>
                  <a:gd name="connsiteX74" fmla="*/ 2183606 w 8971757"/>
                  <a:gd name="connsiteY74" fmla="*/ 3810000 h 4575969"/>
                  <a:gd name="connsiteX75" fmla="*/ 2157413 w 8971757"/>
                  <a:gd name="connsiteY75" fmla="*/ 3829050 h 4575969"/>
                  <a:gd name="connsiteX76" fmla="*/ 2259806 w 8971757"/>
                  <a:gd name="connsiteY76" fmla="*/ 3838575 h 4575969"/>
                  <a:gd name="connsiteX77" fmla="*/ 2371725 w 8971757"/>
                  <a:gd name="connsiteY77" fmla="*/ 3826669 h 4575969"/>
                  <a:gd name="connsiteX78" fmla="*/ 2650331 w 8971757"/>
                  <a:gd name="connsiteY78" fmla="*/ 3910012 h 4575969"/>
                  <a:gd name="connsiteX79" fmla="*/ 3057525 w 8971757"/>
                  <a:gd name="connsiteY79" fmla="*/ 3990975 h 4575969"/>
                  <a:gd name="connsiteX80" fmla="*/ 3255169 w 8971757"/>
                  <a:gd name="connsiteY80" fmla="*/ 3960018 h 4575969"/>
                  <a:gd name="connsiteX81" fmla="*/ 3300413 w 8971757"/>
                  <a:gd name="connsiteY81" fmla="*/ 3971924 h 4575969"/>
                  <a:gd name="connsiteX82" fmla="*/ 3355181 w 8971757"/>
                  <a:gd name="connsiteY82" fmla="*/ 3948113 h 4575969"/>
                  <a:gd name="connsiteX83" fmla="*/ 3748087 w 8971757"/>
                  <a:gd name="connsiteY83" fmla="*/ 4038600 h 4575969"/>
                  <a:gd name="connsiteX84" fmla="*/ 3831432 w 8971757"/>
                  <a:gd name="connsiteY84" fmla="*/ 4136231 h 4575969"/>
                  <a:gd name="connsiteX85" fmla="*/ 3950494 w 8971757"/>
                  <a:gd name="connsiteY85" fmla="*/ 4207669 h 4575969"/>
                  <a:gd name="connsiteX86" fmla="*/ 4010025 w 8971757"/>
                  <a:gd name="connsiteY86" fmla="*/ 4191000 h 4575969"/>
                  <a:gd name="connsiteX87" fmla="*/ 4360068 w 8971757"/>
                  <a:gd name="connsiteY87" fmla="*/ 4364831 h 4575969"/>
                  <a:gd name="connsiteX88" fmla="*/ 4586288 w 8971757"/>
                  <a:gd name="connsiteY88" fmla="*/ 4336256 h 4575969"/>
                  <a:gd name="connsiteX89" fmla="*/ 4595813 w 8971757"/>
                  <a:gd name="connsiteY89" fmla="*/ 4414837 h 4575969"/>
                  <a:gd name="connsiteX90" fmla="*/ 4681538 w 8971757"/>
                  <a:gd name="connsiteY90" fmla="*/ 4410074 h 4575969"/>
                  <a:gd name="connsiteX91" fmla="*/ 4760119 w 8971757"/>
                  <a:gd name="connsiteY91" fmla="*/ 4441031 h 4575969"/>
                  <a:gd name="connsiteX92" fmla="*/ 4802981 w 8971757"/>
                  <a:gd name="connsiteY92" fmla="*/ 4381500 h 4575969"/>
                  <a:gd name="connsiteX93" fmla="*/ 5474494 w 8971757"/>
                  <a:gd name="connsiteY93" fmla="*/ 4062412 h 4575969"/>
                  <a:gd name="connsiteX94" fmla="*/ 5562600 w 8971757"/>
                  <a:gd name="connsiteY94" fmla="*/ 4090988 h 4575969"/>
                  <a:gd name="connsiteX95" fmla="*/ 5693569 w 8971757"/>
                  <a:gd name="connsiteY95" fmla="*/ 4062412 h 4575969"/>
                  <a:gd name="connsiteX96" fmla="*/ 5872162 w 8971757"/>
                  <a:gd name="connsiteY96" fmla="*/ 4079081 h 4575969"/>
                  <a:gd name="connsiteX97" fmla="*/ 5929313 w 8971757"/>
                  <a:gd name="connsiteY97" fmla="*/ 4052888 h 4575969"/>
                  <a:gd name="connsiteX98" fmla="*/ 6062662 w 8971757"/>
                  <a:gd name="connsiteY98" fmla="*/ 4050506 h 4575969"/>
                  <a:gd name="connsiteX99" fmla="*/ 6196012 w 8971757"/>
                  <a:gd name="connsiteY99" fmla="*/ 3952875 h 4575969"/>
                  <a:gd name="connsiteX100" fmla="*/ 6262687 w 8971757"/>
                  <a:gd name="connsiteY100" fmla="*/ 3945731 h 4575969"/>
                  <a:gd name="connsiteX101" fmla="*/ 6360319 w 8971757"/>
                  <a:gd name="connsiteY101" fmla="*/ 3871912 h 4575969"/>
                  <a:gd name="connsiteX102" fmla="*/ 6434138 w 8971757"/>
                  <a:gd name="connsiteY102" fmla="*/ 3802856 h 4575969"/>
                  <a:gd name="connsiteX103" fmla="*/ 6443663 w 8971757"/>
                  <a:gd name="connsiteY103" fmla="*/ 3740944 h 4575969"/>
                  <a:gd name="connsiteX104" fmla="*/ 6477000 w 8971757"/>
                  <a:gd name="connsiteY104" fmla="*/ 3671887 h 4575969"/>
                  <a:gd name="connsiteX105" fmla="*/ 6629400 w 8971757"/>
                  <a:gd name="connsiteY105" fmla="*/ 3564731 h 4575969"/>
                  <a:gd name="connsiteX106" fmla="*/ 6662738 w 8971757"/>
                  <a:gd name="connsiteY106" fmla="*/ 3569494 h 4575969"/>
                  <a:gd name="connsiteX107" fmla="*/ 6715125 w 8971757"/>
                  <a:gd name="connsiteY107" fmla="*/ 3490912 h 4575969"/>
                  <a:gd name="connsiteX108" fmla="*/ 6762750 w 8971757"/>
                  <a:gd name="connsiteY108" fmla="*/ 3452812 h 4575969"/>
                  <a:gd name="connsiteX109" fmla="*/ 6748463 w 8971757"/>
                  <a:gd name="connsiteY109" fmla="*/ 3383756 h 4575969"/>
                  <a:gd name="connsiteX110" fmla="*/ 6698456 w 8971757"/>
                  <a:gd name="connsiteY110" fmla="*/ 3352799 h 4575969"/>
                  <a:gd name="connsiteX111" fmla="*/ 6638925 w 8971757"/>
                  <a:gd name="connsiteY111" fmla="*/ 3298031 h 4575969"/>
                  <a:gd name="connsiteX112" fmla="*/ 6619875 w 8971757"/>
                  <a:gd name="connsiteY112" fmla="*/ 3240881 h 4575969"/>
                  <a:gd name="connsiteX113" fmla="*/ 6584156 w 8971757"/>
                  <a:gd name="connsiteY113" fmla="*/ 3207544 h 4575969"/>
                  <a:gd name="connsiteX114" fmla="*/ 6610350 w 8971757"/>
                  <a:gd name="connsiteY114" fmla="*/ 3155156 h 4575969"/>
                  <a:gd name="connsiteX115" fmla="*/ 6650831 w 8971757"/>
                  <a:gd name="connsiteY115" fmla="*/ 2976562 h 4575969"/>
                  <a:gd name="connsiteX116" fmla="*/ 6691313 w 8971757"/>
                  <a:gd name="connsiteY116" fmla="*/ 2909887 h 4575969"/>
                  <a:gd name="connsiteX117" fmla="*/ 6836569 w 8971757"/>
                  <a:gd name="connsiteY117" fmla="*/ 2893218 h 4575969"/>
                  <a:gd name="connsiteX118" fmla="*/ 6905625 w 8971757"/>
                  <a:gd name="connsiteY118" fmla="*/ 2950369 h 4575969"/>
                  <a:gd name="connsiteX119" fmla="*/ 6981825 w 8971757"/>
                  <a:gd name="connsiteY119" fmla="*/ 2974181 h 4575969"/>
                  <a:gd name="connsiteX120" fmla="*/ 7186612 w 8971757"/>
                  <a:gd name="connsiteY120" fmla="*/ 2978944 h 4575969"/>
                  <a:gd name="connsiteX121" fmla="*/ 7362825 w 8971757"/>
                  <a:gd name="connsiteY121" fmla="*/ 2840831 h 4575969"/>
                  <a:gd name="connsiteX122" fmla="*/ 7419975 w 8971757"/>
                  <a:gd name="connsiteY122" fmla="*/ 2750343 h 4575969"/>
                  <a:gd name="connsiteX123" fmla="*/ 7446169 w 8971757"/>
                  <a:gd name="connsiteY123" fmla="*/ 2667000 h 4575969"/>
                  <a:gd name="connsiteX124" fmla="*/ 7577137 w 8971757"/>
                  <a:gd name="connsiteY124" fmla="*/ 2667000 h 4575969"/>
                  <a:gd name="connsiteX125" fmla="*/ 7750969 w 8971757"/>
                  <a:gd name="connsiteY125" fmla="*/ 2609849 h 4575969"/>
                  <a:gd name="connsiteX126" fmla="*/ 7810500 w 8971757"/>
                  <a:gd name="connsiteY126" fmla="*/ 2497931 h 4575969"/>
                  <a:gd name="connsiteX127" fmla="*/ 7874794 w 8971757"/>
                  <a:gd name="connsiteY127" fmla="*/ 2462212 h 4575969"/>
                  <a:gd name="connsiteX128" fmla="*/ 7853363 w 8971757"/>
                  <a:gd name="connsiteY128" fmla="*/ 2416969 h 4575969"/>
                  <a:gd name="connsiteX129" fmla="*/ 7931944 w 8971757"/>
                  <a:gd name="connsiteY129" fmla="*/ 2247899 h 4575969"/>
                  <a:gd name="connsiteX130" fmla="*/ 7986713 w 8971757"/>
                  <a:gd name="connsiteY130" fmla="*/ 2188369 h 4575969"/>
                  <a:gd name="connsiteX131" fmla="*/ 8024813 w 8971757"/>
                  <a:gd name="connsiteY131" fmla="*/ 2183606 h 4575969"/>
                  <a:gd name="connsiteX132" fmla="*/ 8070056 w 8971757"/>
                  <a:gd name="connsiteY132" fmla="*/ 2188369 h 4575969"/>
                  <a:gd name="connsiteX133" fmla="*/ 8134350 w 8971757"/>
                  <a:gd name="connsiteY133" fmla="*/ 2155031 h 4575969"/>
                  <a:gd name="connsiteX134" fmla="*/ 8143875 w 8971757"/>
                  <a:gd name="connsiteY134" fmla="*/ 2090737 h 4575969"/>
                  <a:gd name="connsiteX135" fmla="*/ 8184355 w 8971757"/>
                  <a:gd name="connsiteY135" fmla="*/ 2055019 h 4575969"/>
                  <a:gd name="connsiteX136" fmla="*/ 8243888 w 8971757"/>
                  <a:gd name="connsiteY136" fmla="*/ 2095499 h 4575969"/>
                  <a:gd name="connsiteX137" fmla="*/ 8270082 w 8971757"/>
                  <a:gd name="connsiteY137" fmla="*/ 2045493 h 4575969"/>
                  <a:gd name="connsiteX138" fmla="*/ 8365331 w 8971757"/>
                  <a:gd name="connsiteY138" fmla="*/ 1976437 h 4575969"/>
                  <a:gd name="connsiteX139" fmla="*/ 8427244 w 8971757"/>
                  <a:gd name="connsiteY139" fmla="*/ 1983581 h 4575969"/>
                  <a:gd name="connsiteX140" fmla="*/ 8477250 w 8971757"/>
                  <a:gd name="connsiteY140" fmla="*/ 1964531 h 4575969"/>
                  <a:gd name="connsiteX141" fmla="*/ 8515350 w 8971757"/>
                  <a:gd name="connsiteY141" fmla="*/ 1935956 h 4575969"/>
                  <a:gd name="connsiteX142" fmla="*/ 8548688 w 8971757"/>
                  <a:gd name="connsiteY142" fmla="*/ 1933575 h 4575969"/>
                  <a:gd name="connsiteX143" fmla="*/ 8584406 w 8971757"/>
                  <a:gd name="connsiteY143" fmla="*/ 1964531 h 4575969"/>
                  <a:gd name="connsiteX144" fmla="*/ 8643938 w 8971757"/>
                  <a:gd name="connsiteY144" fmla="*/ 1964531 h 4575969"/>
                  <a:gd name="connsiteX145" fmla="*/ 8682037 w 8971757"/>
                  <a:gd name="connsiteY145" fmla="*/ 1945481 h 4575969"/>
                  <a:gd name="connsiteX146" fmla="*/ 8765381 w 8971757"/>
                  <a:gd name="connsiteY146" fmla="*/ 1947863 h 4575969"/>
                  <a:gd name="connsiteX147" fmla="*/ 8796338 w 8971757"/>
                  <a:gd name="connsiteY147" fmla="*/ 1902619 h 4575969"/>
                  <a:gd name="connsiteX148" fmla="*/ 8801100 w 8971757"/>
                  <a:gd name="connsiteY148" fmla="*/ 1840706 h 4575969"/>
                  <a:gd name="connsiteX149" fmla="*/ 8751093 w 8971757"/>
                  <a:gd name="connsiteY149" fmla="*/ 1800225 h 4575969"/>
                  <a:gd name="connsiteX150" fmla="*/ 8734425 w 8971757"/>
                  <a:gd name="connsiteY150" fmla="*/ 1745456 h 4575969"/>
                  <a:gd name="connsiteX151" fmla="*/ 8643938 w 8971757"/>
                  <a:gd name="connsiteY151" fmla="*/ 1683544 h 4575969"/>
                  <a:gd name="connsiteX152" fmla="*/ 8603456 w 8971757"/>
                  <a:gd name="connsiteY152" fmla="*/ 1662112 h 4575969"/>
                  <a:gd name="connsiteX153" fmla="*/ 8565356 w 8971757"/>
                  <a:gd name="connsiteY153" fmla="*/ 1616869 h 4575969"/>
                  <a:gd name="connsiteX154" fmla="*/ 8534400 w 8971757"/>
                  <a:gd name="connsiteY154" fmla="*/ 1614487 h 4575969"/>
                  <a:gd name="connsiteX155" fmla="*/ 8517731 w 8971757"/>
                  <a:gd name="connsiteY155" fmla="*/ 1562100 h 4575969"/>
                  <a:gd name="connsiteX156" fmla="*/ 8477250 w 8971757"/>
                  <a:gd name="connsiteY156" fmla="*/ 1545431 h 4575969"/>
                  <a:gd name="connsiteX157" fmla="*/ 8477250 w 8971757"/>
                  <a:gd name="connsiteY157" fmla="*/ 1545431 h 4575969"/>
                  <a:gd name="connsiteX158" fmla="*/ 8436769 w 8971757"/>
                  <a:gd name="connsiteY158" fmla="*/ 1550194 h 4575969"/>
                  <a:gd name="connsiteX159" fmla="*/ 8351043 w 8971757"/>
                  <a:gd name="connsiteY159" fmla="*/ 1476375 h 4575969"/>
                  <a:gd name="connsiteX160" fmla="*/ 8170069 w 8971757"/>
                  <a:gd name="connsiteY160" fmla="*/ 1476374 h 4575969"/>
                  <a:gd name="connsiteX161" fmla="*/ 8117681 w 8971757"/>
                  <a:gd name="connsiteY161" fmla="*/ 1514475 h 4575969"/>
                  <a:gd name="connsiteX162" fmla="*/ 8067675 w 8971757"/>
                  <a:gd name="connsiteY162" fmla="*/ 1593056 h 4575969"/>
                  <a:gd name="connsiteX163" fmla="*/ 8084344 w 8971757"/>
                  <a:gd name="connsiteY163" fmla="*/ 1614487 h 4575969"/>
                  <a:gd name="connsiteX164" fmla="*/ 8039100 w 8971757"/>
                  <a:gd name="connsiteY164" fmla="*/ 1664493 h 4575969"/>
                  <a:gd name="connsiteX165" fmla="*/ 7889081 w 8971757"/>
                  <a:gd name="connsiteY165" fmla="*/ 1588293 h 4575969"/>
                  <a:gd name="connsiteX166" fmla="*/ 7798594 w 8971757"/>
                  <a:gd name="connsiteY166" fmla="*/ 1624012 h 4575969"/>
                  <a:gd name="connsiteX167" fmla="*/ 7724775 w 8971757"/>
                  <a:gd name="connsiteY167" fmla="*/ 1621631 h 4575969"/>
                  <a:gd name="connsiteX168" fmla="*/ 7667625 w 8971757"/>
                  <a:gd name="connsiteY168" fmla="*/ 1716881 h 4575969"/>
                  <a:gd name="connsiteX169" fmla="*/ 7529513 w 8971757"/>
                  <a:gd name="connsiteY169" fmla="*/ 1619250 h 4575969"/>
                  <a:gd name="connsiteX0" fmla="*/ 7529513 w 8971757"/>
                  <a:gd name="connsiteY0" fmla="*/ 1595438 h 4552157"/>
                  <a:gd name="connsiteX1" fmla="*/ 7522369 w 8971757"/>
                  <a:gd name="connsiteY1" fmla="*/ 1540669 h 4552157"/>
                  <a:gd name="connsiteX2" fmla="*/ 7589044 w 8971757"/>
                  <a:gd name="connsiteY2" fmla="*/ 1466850 h 4552157"/>
                  <a:gd name="connsiteX3" fmla="*/ 7572375 w 8971757"/>
                  <a:gd name="connsiteY3" fmla="*/ 1395413 h 4552157"/>
                  <a:gd name="connsiteX4" fmla="*/ 7586663 w 8971757"/>
                  <a:gd name="connsiteY4" fmla="*/ 1300163 h 4552157"/>
                  <a:gd name="connsiteX5" fmla="*/ 7624763 w 8971757"/>
                  <a:gd name="connsiteY5" fmla="*/ 1243013 h 4552157"/>
                  <a:gd name="connsiteX6" fmla="*/ 7605712 w 8971757"/>
                  <a:gd name="connsiteY6" fmla="*/ 1209675 h 4552157"/>
                  <a:gd name="connsiteX7" fmla="*/ 7703343 w 8971757"/>
                  <a:gd name="connsiteY7" fmla="*/ 809625 h 4552157"/>
                  <a:gd name="connsiteX8" fmla="*/ 7867725 w 8971757"/>
                  <a:gd name="connsiteY8" fmla="*/ 861638 h 4552157"/>
                  <a:gd name="connsiteX9" fmla="*/ 7929638 w 8971757"/>
                  <a:gd name="connsiteY9" fmla="*/ 840207 h 4552157"/>
                  <a:gd name="connsiteX10" fmla="*/ 8039175 w 8971757"/>
                  <a:gd name="connsiteY10" fmla="*/ 883069 h 4552157"/>
                  <a:gd name="connsiteX11" fmla="*/ 8205863 w 8971757"/>
                  <a:gd name="connsiteY11" fmla="*/ 671138 h 4552157"/>
                  <a:gd name="connsiteX12" fmla="*/ 8341594 w 8971757"/>
                  <a:gd name="connsiteY12" fmla="*/ 618750 h 4552157"/>
                  <a:gd name="connsiteX13" fmla="*/ 8339213 w 8971757"/>
                  <a:gd name="connsiteY13" fmla="*/ 487782 h 4552157"/>
                  <a:gd name="connsiteX14" fmla="*/ 8298731 w 8971757"/>
                  <a:gd name="connsiteY14" fmla="*/ 456825 h 4552157"/>
                  <a:gd name="connsiteX15" fmla="*/ 8308256 w 8971757"/>
                  <a:gd name="connsiteY15" fmla="*/ 373482 h 4552157"/>
                  <a:gd name="connsiteX16" fmla="*/ 8343975 w 8971757"/>
                  <a:gd name="connsiteY16" fmla="*/ 333000 h 4552157"/>
                  <a:gd name="connsiteX17" fmla="*/ 8324925 w 8971757"/>
                  <a:gd name="connsiteY17" fmla="*/ 259182 h 4552157"/>
                  <a:gd name="connsiteX18" fmla="*/ 8412956 w 8971757"/>
                  <a:gd name="connsiteY18" fmla="*/ 0 h 4552157"/>
                  <a:gd name="connsiteX19" fmla="*/ 8959056 w 8971757"/>
                  <a:gd name="connsiteY19" fmla="*/ 11907 h 4552157"/>
                  <a:gd name="connsiteX20" fmla="*/ 8971757 w 8971757"/>
                  <a:gd name="connsiteY20" fmla="*/ 4552157 h 4552157"/>
                  <a:gd name="connsiteX21" fmla="*/ 2381 w 8971757"/>
                  <a:gd name="connsiteY21" fmla="*/ 4523580 h 4552157"/>
                  <a:gd name="connsiteX22" fmla="*/ 0 w 8971757"/>
                  <a:gd name="connsiteY22" fmla="*/ 821532 h 4552157"/>
                  <a:gd name="connsiteX23" fmla="*/ 76200 w 8971757"/>
                  <a:gd name="connsiteY23" fmla="*/ 804863 h 4552157"/>
                  <a:gd name="connsiteX24" fmla="*/ 119063 w 8971757"/>
                  <a:gd name="connsiteY24" fmla="*/ 833438 h 4552157"/>
                  <a:gd name="connsiteX25" fmla="*/ 215900 w 8971757"/>
                  <a:gd name="connsiteY25" fmla="*/ 824707 h 4552157"/>
                  <a:gd name="connsiteX26" fmla="*/ 261938 w 8971757"/>
                  <a:gd name="connsiteY26" fmla="*/ 852487 h 4552157"/>
                  <a:gd name="connsiteX27" fmla="*/ 228600 w 8971757"/>
                  <a:gd name="connsiteY27" fmla="*/ 881063 h 4552157"/>
                  <a:gd name="connsiteX28" fmla="*/ 233363 w 8971757"/>
                  <a:gd name="connsiteY28" fmla="*/ 923925 h 4552157"/>
                  <a:gd name="connsiteX29" fmla="*/ 200025 w 8971757"/>
                  <a:gd name="connsiteY29" fmla="*/ 928688 h 4552157"/>
                  <a:gd name="connsiteX30" fmla="*/ 204788 w 8971757"/>
                  <a:gd name="connsiteY30" fmla="*/ 952500 h 4552157"/>
                  <a:gd name="connsiteX31" fmla="*/ 261937 w 8971757"/>
                  <a:gd name="connsiteY31" fmla="*/ 1026319 h 4552157"/>
                  <a:gd name="connsiteX32" fmla="*/ 223838 w 8971757"/>
                  <a:gd name="connsiteY32" fmla="*/ 1073944 h 4552157"/>
                  <a:gd name="connsiteX33" fmla="*/ 278606 w 8971757"/>
                  <a:gd name="connsiteY33" fmla="*/ 1109663 h 4552157"/>
                  <a:gd name="connsiteX34" fmla="*/ 369094 w 8971757"/>
                  <a:gd name="connsiteY34" fmla="*/ 1197769 h 4552157"/>
                  <a:gd name="connsiteX35" fmla="*/ 371475 w 8971757"/>
                  <a:gd name="connsiteY35" fmla="*/ 1257300 h 4552157"/>
                  <a:gd name="connsiteX36" fmla="*/ 507206 w 8971757"/>
                  <a:gd name="connsiteY36" fmla="*/ 1390651 h 4552157"/>
                  <a:gd name="connsiteX37" fmla="*/ 561975 w 8971757"/>
                  <a:gd name="connsiteY37" fmla="*/ 1366838 h 4552157"/>
                  <a:gd name="connsiteX38" fmla="*/ 600075 w 8971757"/>
                  <a:gd name="connsiteY38" fmla="*/ 1393031 h 4552157"/>
                  <a:gd name="connsiteX39" fmla="*/ 614363 w 8971757"/>
                  <a:gd name="connsiteY39" fmla="*/ 1443037 h 4552157"/>
                  <a:gd name="connsiteX40" fmla="*/ 657225 w 8971757"/>
                  <a:gd name="connsiteY40" fmla="*/ 1478757 h 4552157"/>
                  <a:gd name="connsiteX41" fmla="*/ 697706 w 8971757"/>
                  <a:gd name="connsiteY41" fmla="*/ 1466850 h 4552157"/>
                  <a:gd name="connsiteX42" fmla="*/ 716756 w 8971757"/>
                  <a:gd name="connsiteY42" fmla="*/ 1524000 h 4552157"/>
                  <a:gd name="connsiteX43" fmla="*/ 764381 w 8971757"/>
                  <a:gd name="connsiteY43" fmla="*/ 1566863 h 4552157"/>
                  <a:gd name="connsiteX44" fmla="*/ 788194 w 8971757"/>
                  <a:gd name="connsiteY44" fmla="*/ 1669257 h 4552157"/>
                  <a:gd name="connsiteX45" fmla="*/ 785813 w 8971757"/>
                  <a:gd name="connsiteY45" fmla="*/ 1716882 h 4552157"/>
                  <a:gd name="connsiteX46" fmla="*/ 821531 w 8971757"/>
                  <a:gd name="connsiteY46" fmla="*/ 1816894 h 4552157"/>
                  <a:gd name="connsiteX47" fmla="*/ 866775 w 8971757"/>
                  <a:gd name="connsiteY47" fmla="*/ 1874044 h 4552157"/>
                  <a:gd name="connsiteX48" fmla="*/ 883443 w 8971757"/>
                  <a:gd name="connsiteY48" fmla="*/ 2031206 h 4552157"/>
                  <a:gd name="connsiteX49" fmla="*/ 850106 w 8971757"/>
                  <a:gd name="connsiteY49" fmla="*/ 2093119 h 4552157"/>
                  <a:gd name="connsiteX50" fmla="*/ 819150 w 8971757"/>
                  <a:gd name="connsiteY50" fmla="*/ 2169319 h 4552157"/>
                  <a:gd name="connsiteX51" fmla="*/ 833438 w 8971757"/>
                  <a:gd name="connsiteY51" fmla="*/ 2226469 h 4552157"/>
                  <a:gd name="connsiteX52" fmla="*/ 735806 w 8971757"/>
                  <a:gd name="connsiteY52" fmla="*/ 2333626 h 4552157"/>
                  <a:gd name="connsiteX53" fmla="*/ 692944 w 8971757"/>
                  <a:gd name="connsiteY53" fmla="*/ 2447925 h 4552157"/>
                  <a:gd name="connsiteX54" fmla="*/ 726281 w 8971757"/>
                  <a:gd name="connsiteY54" fmla="*/ 2488407 h 4552157"/>
                  <a:gd name="connsiteX55" fmla="*/ 709613 w 8971757"/>
                  <a:gd name="connsiteY55" fmla="*/ 2516982 h 4552157"/>
                  <a:gd name="connsiteX56" fmla="*/ 740569 w 8971757"/>
                  <a:gd name="connsiteY56" fmla="*/ 2574132 h 4552157"/>
                  <a:gd name="connsiteX57" fmla="*/ 769144 w 8971757"/>
                  <a:gd name="connsiteY57" fmla="*/ 2574132 h 4552157"/>
                  <a:gd name="connsiteX58" fmla="*/ 931069 w 8971757"/>
                  <a:gd name="connsiteY58" fmla="*/ 2676525 h 4552157"/>
                  <a:gd name="connsiteX59" fmla="*/ 1035844 w 8971757"/>
                  <a:gd name="connsiteY59" fmla="*/ 2674144 h 4552157"/>
                  <a:gd name="connsiteX60" fmla="*/ 1114425 w 8971757"/>
                  <a:gd name="connsiteY60" fmla="*/ 2728913 h 4552157"/>
                  <a:gd name="connsiteX61" fmla="*/ 1245393 w 8971757"/>
                  <a:gd name="connsiteY61" fmla="*/ 2731294 h 4552157"/>
                  <a:gd name="connsiteX62" fmla="*/ 1435893 w 8971757"/>
                  <a:gd name="connsiteY62" fmla="*/ 2800350 h 4552157"/>
                  <a:gd name="connsiteX63" fmla="*/ 1638300 w 8971757"/>
                  <a:gd name="connsiteY63" fmla="*/ 2950369 h 4552157"/>
                  <a:gd name="connsiteX64" fmla="*/ 1671637 w 8971757"/>
                  <a:gd name="connsiteY64" fmla="*/ 3017044 h 4552157"/>
                  <a:gd name="connsiteX65" fmla="*/ 1838325 w 8971757"/>
                  <a:gd name="connsiteY65" fmla="*/ 3143250 h 4552157"/>
                  <a:gd name="connsiteX66" fmla="*/ 1909763 w 8971757"/>
                  <a:gd name="connsiteY66" fmla="*/ 3138488 h 4552157"/>
                  <a:gd name="connsiteX67" fmla="*/ 1945482 w 8971757"/>
                  <a:gd name="connsiteY67" fmla="*/ 3162300 h 4552157"/>
                  <a:gd name="connsiteX68" fmla="*/ 1916906 w 8971757"/>
                  <a:gd name="connsiteY68" fmla="*/ 3202782 h 4552157"/>
                  <a:gd name="connsiteX69" fmla="*/ 1924050 w 8971757"/>
                  <a:gd name="connsiteY69" fmla="*/ 3255169 h 4552157"/>
                  <a:gd name="connsiteX70" fmla="*/ 1976438 w 8971757"/>
                  <a:gd name="connsiteY70" fmla="*/ 3281363 h 4552157"/>
                  <a:gd name="connsiteX71" fmla="*/ 2038350 w 8971757"/>
                  <a:gd name="connsiteY71" fmla="*/ 3505201 h 4552157"/>
                  <a:gd name="connsiteX72" fmla="*/ 2028825 w 8971757"/>
                  <a:gd name="connsiteY72" fmla="*/ 3569494 h 4552157"/>
                  <a:gd name="connsiteX73" fmla="*/ 2164556 w 8971757"/>
                  <a:gd name="connsiteY73" fmla="*/ 3736182 h 4552157"/>
                  <a:gd name="connsiteX74" fmla="*/ 2183606 w 8971757"/>
                  <a:gd name="connsiteY74" fmla="*/ 3786188 h 4552157"/>
                  <a:gd name="connsiteX75" fmla="*/ 2157413 w 8971757"/>
                  <a:gd name="connsiteY75" fmla="*/ 3805238 h 4552157"/>
                  <a:gd name="connsiteX76" fmla="*/ 2259806 w 8971757"/>
                  <a:gd name="connsiteY76" fmla="*/ 3814763 h 4552157"/>
                  <a:gd name="connsiteX77" fmla="*/ 2371725 w 8971757"/>
                  <a:gd name="connsiteY77" fmla="*/ 3802857 h 4552157"/>
                  <a:gd name="connsiteX78" fmla="*/ 2650331 w 8971757"/>
                  <a:gd name="connsiteY78" fmla="*/ 3886200 h 4552157"/>
                  <a:gd name="connsiteX79" fmla="*/ 3057525 w 8971757"/>
                  <a:gd name="connsiteY79" fmla="*/ 3967163 h 4552157"/>
                  <a:gd name="connsiteX80" fmla="*/ 3255169 w 8971757"/>
                  <a:gd name="connsiteY80" fmla="*/ 3936206 h 4552157"/>
                  <a:gd name="connsiteX81" fmla="*/ 3300413 w 8971757"/>
                  <a:gd name="connsiteY81" fmla="*/ 3948112 h 4552157"/>
                  <a:gd name="connsiteX82" fmla="*/ 3355181 w 8971757"/>
                  <a:gd name="connsiteY82" fmla="*/ 3924301 h 4552157"/>
                  <a:gd name="connsiteX83" fmla="*/ 3748087 w 8971757"/>
                  <a:gd name="connsiteY83" fmla="*/ 4014788 h 4552157"/>
                  <a:gd name="connsiteX84" fmla="*/ 3831432 w 8971757"/>
                  <a:gd name="connsiteY84" fmla="*/ 4112419 h 4552157"/>
                  <a:gd name="connsiteX85" fmla="*/ 3950494 w 8971757"/>
                  <a:gd name="connsiteY85" fmla="*/ 4183857 h 4552157"/>
                  <a:gd name="connsiteX86" fmla="*/ 4010025 w 8971757"/>
                  <a:gd name="connsiteY86" fmla="*/ 4167188 h 4552157"/>
                  <a:gd name="connsiteX87" fmla="*/ 4360068 w 8971757"/>
                  <a:gd name="connsiteY87" fmla="*/ 4341019 h 4552157"/>
                  <a:gd name="connsiteX88" fmla="*/ 4586288 w 8971757"/>
                  <a:gd name="connsiteY88" fmla="*/ 4312444 h 4552157"/>
                  <a:gd name="connsiteX89" fmla="*/ 4595813 w 8971757"/>
                  <a:gd name="connsiteY89" fmla="*/ 4391025 h 4552157"/>
                  <a:gd name="connsiteX90" fmla="*/ 4681538 w 8971757"/>
                  <a:gd name="connsiteY90" fmla="*/ 4386262 h 4552157"/>
                  <a:gd name="connsiteX91" fmla="*/ 4760119 w 8971757"/>
                  <a:gd name="connsiteY91" fmla="*/ 4417219 h 4552157"/>
                  <a:gd name="connsiteX92" fmla="*/ 4802981 w 8971757"/>
                  <a:gd name="connsiteY92" fmla="*/ 4357688 h 4552157"/>
                  <a:gd name="connsiteX93" fmla="*/ 5474494 w 8971757"/>
                  <a:gd name="connsiteY93" fmla="*/ 4038600 h 4552157"/>
                  <a:gd name="connsiteX94" fmla="*/ 5562600 w 8971757"/>
                  <a:gd name="connsiteY94" fmla="*/ 4067176 h 4552157"/>
                  <a:gd name="connsiteX95" fmla="*/ 5693569 w 8971757"/>
                  <a:gd name="connsiteY95" fmla="*/ 4038600 h 4552157"/>
                  <a:gd name="connsiteX96" fmla="*/ 5872162 w 8971757"/>
                  <a:gd name="connsiteY96" fmla="*/ 4055269 h 4552157"/>
                  <a:gd name="connsiteX97" fmla="*/ 5929313 w 8971757"/>
                  <a:gd name="connsiteY97" fmla="*/ 4029076 h 4552157"/>
                  <a:gd name="connsiteX98" fmla="*/ 6062662 w 8971757"/>
                  <a:gd name="connsiteY98" fmla="*/ 4026694 h 4552157"/>
                  <a:gd name="connsiteX99" fmla="*/ 6196012 w 8971757"/>
                  <a:gd name="connsiteY99" fmla="*/ 3929063 h 4552157"/>
                  <a:gd name="connsiteX100" fmla="*/ 6262687 w 8971757"/>
                  <a:gd name="connsiteY100" fmla="*/ 3921919 h 4552157"/>
                  <a:gd name="connsiteX101" fmla="*/ 6360319 w 8971757"/>
                  <a:gd name="connsiteY101" fmla="*/ 3848100 h 4552157"/>
                  <a:gd name="connsiteX102" fmla="*/ 6434138 w 8971757"/>
                  <a:gd name="connsiteY102" fmla="*/ 3779044 h 4552157"/>
                  <a:gd name="connsiteX103" fmla="*/ 6443663 w 8971757"/>
                  <a:gd name="connsiteY103" fmla="*/ 3717132 h 4552157"/>
                  <a:gd name="connsiteX104" fmla="*/ 6477000 w 8971757"/>
                  <a:gd name="connsiteY104" fmla="*/ 3648075 h 4552157"/>
                  <a:gd name="connsiteX105" fmla="*/ 6629400 w 8971757"/>
                  <a:gd name="connsiteY105" fmla="*/ 3540919 h 4552157"/>
                  <a:gd name="connsiteX106" fmla="*/ 6662738 w 8971757"/>
                  <a:gd name="connsiteY106" fmla="*/ 3545682 h 4552157"/>
                  <a:gd name="connsiteX107" fmla="*/ 6715125 w 8971757"/>
                  <a:gd name="connsiteY107" fmla="*/ 3467100 h 4552157"/>
                  <a:gd name="connsiteX108" fmla="*/ 6762750 w 8971757"/>
                  <a:gd name="connsiteY108" fmla="*/ 3429000 h 4552157"/>
                  <a:gd name="connsiteX109" fmla="*/ 6748463 w 8971757"/>
                  <a:gd name="connsiteY109" fmla="*/ 3359944 h 4552157"/>
                  <a:gd name="connsiteX110" fmla="*/ 6698456 w 8971757"/>
                  <a:gd name="connsiteY110" fmla="*/ 3328987 h 4552157"/>
                  <a:gd name="connsiteX111" fmla="*/ 6638925 w 8971757"/>
                  <a:gd name="connsiteY111" fmla="*/ 3274219 h 4552157"/>
                  <a:gd name="connsiteX112" fmla="*/ 6619875 w 8971757"/>
                  <a:gd name="connsiteY112" fmla="*/ 3217069 h 4552157"/>
                  <a:gd name="connsiteX113" fmla="*/ 6584156 w 8971757"/>
                  <a:gd name="connsiteY113" fmla="*/ 3183732 h 4552157"/>
                  <a:gd name="connsiteX114" fmla="*/ 6610350 w 8971757"/>
                  <a:gd name="connsiteY114" fmla="*/ 3131344 h 4552157"/>
                  <a:gd name="connsiteX115" fmla="*/ 6650831 w 8971757"/>
                  <a:gd name="connsiteY115" fmla="*/ 2952750 h 4552157"/>
                  <a:gd name="connsiteX116" fmla="*/ 6691313 w 8971757"/>
                  <a:gd name="connsiteY116" fmla="*/ 2886075 h 4552157"/>
                  <a:gd name="connsiteX117" fmla="*/ 6836569 w 8971757"/>
                  <a:gd name="connsiteY117" fmla="*/ 2869406 h 4552157"/>
                  <a:gd name="connsiteX118" fmla="*/ 6905625 w 8971757"/>
                  <a:gd name="connsiteY118" fmla="*/ 2926557 h 4552157"/>
                  <a:gd name="connsiteX119" fmla="*/ 6981825 w 8971757"/>
                  <a:gd name="connsiteY119" fmla="*/ 2950369 h 4552157"/>
                  <a:gd name="connsiteX120" fmla="*/ 7186612 w 8971757"/>
                  <a:gd name="connsiteY120" fmla="*/ 2955132 h 4552157"/>
                  <a:gd name="connsiteX121" fmla="*/ 7362825 w 8971757"/>
                  <a:gd name="connsiteY121" fmla="*/ 2817019 h 4552157"/>
                  <a:gd name="connsiteX122" fmla="*/ 7419975 w 8971757"/>
                  <a:gd name="connsiteY122" fmla="*/ 2726531 h 4552157"/>
                  <a:gd name="connsiteX123" fmla="*/ 7446169 w 8971757"/>
                  <a:gd name="connsiteY123" fmla="*/ 2643188 h 4552157"/>
                  <a:gd name="connsiteX124" fmla="*/ 7577137 w 8971757"/>
                  <a:gd name="connsiteY124" fmla="*/ 2643188 h 4552157"/>
                  <a:gd name="connsiteX125" fmla="*/ 7750969 w 8971757"/>
                  <a:gd name="connsiteY125" fmla="*/ 2586037 h 4552157"/>
                  <a:gd name="connsiteX126" fmla="*/ 7810500 w 8971757"/>
                  <a:gd name="connsiteY126" fmla="*/ 2474119 h 4552157"/>
                  <a:gd name="connsiteX127" fmla="*/ 7874794 w 8971757"/>
                  <a:gd name="connsiteY127" fmla="*/ 2438400 h 4552157"/>
                  <a:gd name="connsiteX128" fmla="*/ 7853363 w 8971757"/>
                  <a:gd name="connsiteY128" fmla="*/ 2393157 h 4552157"/>
                  <a:gd name="connsiteX129" fmla="*/ 7931944 w 8971757"/>
                  <a:gd name="connsiteY129" fmla="*/ 2224087 h 4552157"/>
                  <a:gd name="connsiteX130" fmla="*/ 7986713 w 8971757"/>
                  <a:gd name="connsiteY130" fmla="*/ 2164557 h 4552157"/>
                  <a:gd name="connsiteX131" fmla="*/ 8024813 w 8971757"/>
                  <a:gd name="connsiteY131" fmla="*/ 2159794 h 4552157"/>
                  <a:gd name="connsiteX132" fmla="*/ 8070056 w 8971757"/>
                  <a:gd name="connsiteY132" fmla="*/ 2164557 h 4552157"/>
                  <a:gd name="connsiteX133" fmla="*/ 8134350 w 8971757"/>
                  <a:gd name="connsiteY133" fmla="*/ 2131219 h 4552157"/>
                  <a:gd name="connsiteX134" fmla="*/ 8143875 w 8971757"/>
                  <a:gd name="connsiteY134" fmla="*/ 2066925 h 4552157"/>
                  <a:gd name="connsiteX135" fmla="*/ 8184355 w 8971757"/>
                  <a:gd name="connsiteY135" fmla="*/ 2031207 h 4552157"/>
                  <a:gd name="connsiteX136" fmla="*/ 8243888 w 8971757"/>
                  <a:gd name="connsiteY136" fmla="*/ 2071687 h 4552157"/>
                  <a:gd name="connsiteX137" fmla="*/ 8270082 w 8971757"/>
                  <a:gd name="connsiteY137" fmla="*/ 2021681 h 4552157"/>
                  <a:gd name="connsiteX138" fmla="*/ 8365331 w 8971757"/>
                  <a:gd name="connsiteY138" fmla="*/ 1952625 h 4552157"/>
                  <a:gd name="connsiteX139" fmla="*/ 8427244 w 8971757"/>
                  <a:gd name="connsiteY139" fmla="*/ 1959769 h 4552157"/>
                  <a:gd name="connsiteX140" fmla="*/ 8477250 w 8971757"/>
                  <a:gd name="connsiteY140" fmla="*/ 1940719 h 4552157"/>
                  <a:gd name="connsiteX141" fmla="*/ 8515350 w 8971757"/>
                  <a:gd name="connsiteY141" fmla="*/ 1912144 h 4552157"/>
                  <a:gd name="connsiteX142" fmla="*/ 8548688 w 8971757"/>
                  <a:gd name="connsiteY142" fmla="*/ 1909763 h 4552157"/>
                  <a:gd name="connsiteX143" fmla="*/ 8584406 w 8971757"/>
                  <a:gd name="connsiteY143" fmla="*/ 1940719 h 4552157"/>
                  <a:gd name="connsiteX144" fmla="*/ 8643938 w 8971757"/>
                  <a:gd name="connsiteY144" fmla="*/ 1940719 h 4552157"/>
                  <a:gd name="connsiteX145" fmla="*/ 8682037 w 8971757"/>
                  <a:gd name="connsiteY145" fmla="*/ 1921669 h 4552157"/>
                  <a:gd name="connsiteX146" fmla="*/ 8765381 w 8971757"/>
                  <a:gd name="connsiteY146" fmla="*/ 1924051 h 4552157"/>
                  <a:gd name="connsiteX147" fmla="*/ 8796338 w 8971757"/>
                  <a:gd name="connsiteY147" fmla="*/ 1878807 h 4552157"/>
                  <a:gd name="connsiteX148" fmla="*/ 8801100 w 8971757"/>
                  <a:gd name="connsiteY148" fmla="*/ 1816894 h 4552157"/>
                  <a:gd name="connsiteX149" fmla="*/ 8751093 w 8971757"/>
                  <a:gd name="connsiteY149" fmla="*/ 1776413 h 4552157"/>
                  <a:gd name="connsiteX150" fmla="*/ 8734425 w 8971757"/>
                  <a:gd name="connsiteY150" fmla="*/ 1721644 h 4552157"/>
                  <a:gd name="connsiteX151" fmla="*/ 8643938 w 8971757"/>
                  <a:gd name="connsiteY151" fmla="*/ 1659732 h 4552157"/>
                  <a:gd name="connsiteX152" fmla="*/ 8603456 w 8971757"/>
                  <a:gd name="connsiteY152" fmla="*/ 1638300 h 4552157"/>
                  <a:gd name="connsiteX153" fmla="*/ 8565356 w 8971757"/>
                  <a:gd name="connsiteY153" fmla="*/ 1593057 h 4552157"/>
                  <a:gd name="connsiteX154" fmla="*/ 8534400 w 8971757"/>
                  <a:gd name="connsiteY154" fmla="*/ 1590675 h 4552157"/>
                  <a:gd name="connsiteX155" fmla="*/ 8517731 w 8971757"/>
                  <a:gd name="connsiteY155" fmla="*/ 1538288 h 4552157"/>
                  <a:gd name="connsiteX156" fmla="*/ 8477250 w 8971757"/>
                  <a:gd name="connsiteY156" fmla="*/ 1521619 h 4552157"/>
                  <a:gd name="connsiteX157" fmla="*/ 8477250 w 8971757"/>
                  <a:gd name="connsiteY157" fmla="*/ 1521619 h 4552157"/>
                  <a:gd name="connsiteX158" fmla="*/ 8436769 w 8971757"/>
                  <a:gd name="connsiteY158" fmla="*/ 1526382 h 4552157"/>
                  <a:gd name="connsiteX159" fmla="*/ 8351043 w 8971757"/>
                  <a:gd name="connsiteY159" fmla="*/ 1452563 h 4552157"/>
                  <a:gd name="connsiteX160" fmla="*/ 8170069 w 8971757"/>
                  <a:gd name="connsiteY160" fmla="*/ 1452562 h 4552157"/>
                  <a:gd name="connsiteX161" fmla="*/ 8117681 w 8971757"/>
                  <a:gd name="connsiteY161" fmla="*/ 1490663 h 4552157"/>
                  <a:gd name="connsiteX162" fmla="*/ 8067675 w 8971757"/>
                  <a:gd name="connsiteY162" fmla="*/ 1569244 h 4552157"/>
                  <a:gd name="connsiteX163" fmla="*/ 8084344 w 8971757"/>
                  <a:gd name="connsiteY163" fmla="*/ 1590675 h 4552157"/>
                  <a:gd name="connsiteX164" fmla="*/ 8039100 w 8971757"/>
                  <a:gd name="connsiteY164" fmla="*/ 1640681 h 4552157"/>
                  <a:gd name="connsiteX165" fmla="*/ 7889081 w 8971757"/>
                  <a:gd name="connsiteY165" fmla="*/ 1564481 h 4552157"/>
                  <a:gd name="connsiteX166" fmla="*/ 7798594 w 8971757"/>
                  <a:gd name="connsiteY166" fmla="*/ 1600200 h 4552157"/>
                  <a:gd name="connsiteX167" fmla="*/ 7724775 w 8971757"/>
                  <a:gd name="connsiteY167" fmla="*/ 1597819 h 4552157"/>
                  <a:gd name="connsiteX168" fmla="*/ 7667625 w 8971757"/>
                  <a:gd name="connsiteY168" fmla="*/ 1693069 h 4552157"/>
                  <a:gd name="connsiteX169" fmla="*/ 7529513 w 8971757"/>
                  <a:gd name="connsiteY169" fmla="*/ 1595438 h 4552157"/>
                  <a:gd name="connsiteX0" fmla="*/ 7529513 w 8971757"/>
                  <a:gd name="connsiteY0" fmla="*/ 1595438 h 4552157"/>
                  <a:gd name="connsiteX1" fmla="*/ 7522369 w 8971757"/>
                  <a:gd name="connsiteY1" fmla="*/ 1540669 h 4552157"/>
                  <a:gd name="connsiteX2" fmla="*/ 7589044 w 8971757"/>
                  <a:gd name="connsiteY2" fmla="*/ 1466850 h 4552157"/>
                  <a:gd name="connsiteX3" fmla="*/ 7572375 w 8971757"/>
                  <a:gd name="connsiteY3" fmla="*/ 1395413 h 4552157"/>
                  <a:gd name="connsiteX4" fmla="*/ 7586663 w 8971757"/>
                  <a:gd name="connsiteY4" fmla="*/ 1300163 h 4552157"/>
                  <a:gd name="connsiteX5" fmla="*/ 7624763 w 8971757"/>
                  <a:gd name="connsiteY5" fmla="*/ 1243013 h 4552157"/>
                  <a:gd name="connsiteX6" fmla="*/ 7605712 w 8971757"/>
                  <a:gd name="connsiteY6" fmla="*/ 1209675 h 4552157"/>
                  <a:gd name="connsiteX7" fmla="*/ 7703343 w 8971757"/>
                  <a:gd name="connsiteY7" fmla="*/ 809625 h 4552157"/>
                  <a:gd name="connsiteX8" fmla="*/ 7867725 w 8971757"/>
                  <a:gd name="connsiteY8" fmla="*/ 861638 h 4552157"/>
                  <a:gd name="connsiteX9" fmla="*/ 7929638 w 8971757"/>
                  <a:gd name="connsiteY9" fmla="*/ 840207 h 4552157"/>
                  <a:gd name="connsiteX10" fmla="*/ 8039175 w 8971757"/>
                  <a:gd name="connsiteY10" fmla="*/ 883069 h 4552157"/>
                  <a:gd name="connsiteX11" fmla="*/ 8205863 w 8971757"/>
                  <a:gd name="connsiteY11" fmla="*/ 671138 h 4552157"/>
                  <a:gd name="connsiteX12" fmla="*/ 8341594 w 8971757"/>
                  <a:gd name="connsiteY12" fmla="*/ 618750 h 4552157"/>
                  <a:gd name="connsiteX13" fmla="*/ 8339213 w 8971757"/>
                  <a:gd name="connsiteY13" fmla="*/ 487782 h 4552157"/>
                  <a:gd name="connsiteX14" fmla="*/ 8298731 w 8971757"/>
                  <a:gd name="connsiteY14" fmla="*/ 456825 h 4552157"/>
                  <a:gd name="connsiteX15" fmla="*/ 8308256 w 8971757"/>
                  <a:gd name="connsiteY15" fmla="*/ 373482 h 4552157"/>
                  <a:gd name="connsiteX16" fmla="*/ 8343975 w 8971757"/>
                  <a:gd name="connsiteY16" fmla="*/ 333000 h 4552157"/>
                  <a:gd name="connsiteX17" fmla="*/ 8324925 w 8971757"/>
                  <a:gd name="connsiteY17" fmla="*/ 259182 h 4552157"/>
                  <a:gd name="connsiteX18" fmla="*/ 8412956 w 8971757"/>
                  <a:gd name="connsiteY18" fmla="*/ 0 h 4552157"/>
                  <a:gd name="connsiteX19" fmla="*/ 8951912 w 8971757"/>
                  <a:gd name="connsiteY19" fmla="*/ 2382 h 4552157"/>
                  <a:gd name="connsiteX20" fmla="*/ 8971757 w 8971757"/>
                  <a:gd name="connsiteY20" fmla="*/ 4552157 h 4552157"/>
                  <a:gd name="connsiteX21" fmla="*/ 2381 w 8971757"/>
                  <a:gd name="connsiteY21" fmla="*/ 4523580 h 4552157"/>
                  <a:gd name="connsiteX22" fmla="*/ 0 w 8971757"/>
                  <a:gd name="connsiteY22" fmla="*/ 821532 h 4552157"/>
                  <a:gd name="connsiteX23" fmla="*/ 76200 w 8971757"/>
                  <a:gd name="connsiteY23" fmla="*/ 804863 h 4552157"/>
                  <a:gd name="connsiteX24" fmla="*/ 119063 w 8971757"/>
                  <a:gd name="connsiteY24" fmla="*/ 833438 h 4552157"/>
                  <a:gd name="connsiteX25" fmla="*/ 215900 w 8971757"/>
                  <a:gd name="connsiteY25" fmla="*/ 824707 h 4552157"/>
                  <a:gd name="connsiteX26" fmla="*/ 261938 w 8971757"/>
                  <a:gd name="connsiteY26" fmla="*/ 852487 h 4552157"/>
                  <a:gd name="connsiteX27" fmla="*/ 228600 w 8971757"/>
                  <a:gd name="connsiteY27" fmla="*/ 881063 h 4552157"/>
                  <a:gd name="connsiteX28" fmla="*/ 233363 w 8971757"/>
                  <a:gd name="connsiteY28" fmla="*/ 923925 h 4552157"/>
                  <a:gd name="connsiteX29" fmla="*/ 200025 w 8971757"/>
                  <a:gd name="connsiteY29" fmla="*/ 928688 h 4552157"/>
                  <a:gd name="connsiteX30" fmla="*/ 204788 w 8971757"/>
                  <a:gd name="connsiteY30" fmla="*/ 952500 h 4552157"/>
                  <a:gd name="connsiteX31" fmla="*/ 261937 w 8971757"/>
                  <a:gd name="connsiteY31" fmla="*/ 1026319 h 4552157"/>
                  <a:gd name="connsiteX32" fmla="*/ 223838 w 8971757"/>
                  <a:gd name="connsiteY32" fmla="*/ 1073944 h 4552157"/>
                  <a:gd name="connsiteX33" fmla="*/ 278606 w 8971757"/>
                  <a:gd name="connsiteY33" fmla="*/ 1109663 h 4552157"/>
                  <a:gd name="connsiteX34" fmla="*/ 369094 w 8971757"/>
                  <a:gd name="connsiteY34" fmla="*/ 1197769 h 4552157"/>
                  <a:gd name="connsiteX35" fmla="*/ 371475 w 8971757"/>
                  <a:gd name="connsiteY35" fmla="*/ 1257300 h 4552157"/>
                  <a:gd name="connsiteX36" fmla="*/ 507206 w 8971757"/>
                  <a:gd name="connsiteY36" fmla="*/ 1390651 h 4552157"/>
                  <a:gd name="connsiteX37" fmla="*/ 561975 w 8971757"/>
                  <a:gd name="connsiteY37" fmla="*/ 1366838 h 4552157"/>
                  <a:gd name="connsiteX38" fmla="*/ 600075 w 8971757"/>
                  <a:gd name="connsiteY38" fmla="*/ 1393031 h 4552157"/>
                  <a:gd name="connsiteX39" fmla="*/ 614363 w 8971757"/>
                  <a:gd name="connsiteY39" fmla="*/ 1443037 h 4552157"/>
                  <a:gd name="connsiteX40" fmla="*/ 657225 w 8971757"/>
                  <a:gd name="connsiteY40" fmla="*/ 1478757 h 4552157"/>
                  <a:gd name="connsiteX41" fmla="*/ 697706 w 8971757"/>
                  <a:gd name="connsiteY41" fmla="*/ 1466850 h 4552157"/>
                  <a:gd name="connsiteX42" fmla="*/ 716756 w 8971757"/>
                  <a:gd name="connsiteY42" fmla="*/ 1524000 h 4552157"/>
                  <a:gd name="connsiteX43" fmla="*/ 764381 w 8971757"/>
                  <a:gd name="connsiteY43" fmla="*/ 1566863 h 4552157"/>
                  <a:gd name="connsiteX44" fmla="*/ 788194 w 8971757"/>
                  <a:gd name="connsiteY44" fmla="*/ 1669257 h 4552157"/>
                  <a:gd name="connsiteX45" fmla="*/ 785813 w 8971757"/>
                  <a:gd name="connsiteY45" fmla="*/ 1716882 h 4552157"/>
                  <a:gd name="connsiteX46" fmla="*/ 821531 w 8971757"/>
                  <a:gd name="connsiteY46" fmla="*/ 1816894 h 4552157"/>
                  <a:gd name="connsiteX47" fmla="*/ 866775 w 8971757"/>
                  <a:gd name="connsiteY47" fmla="*/ 1874044 h 4552157"/>
                  <a:gd name="connsiteX48" fmla="*/ 883443 w 8971757"/>
                  <a:gd name="connsiteY48" fmla="*/ 2031206 h 4552157"/>
                  <a:gd name="connsiteX49" fmla="*/ 850106 w 8971757"/>
                  <a:gd name="connsiteY49" fmla="*/ 2093119 h 4552157"/>
                  <a:gd name="connsiteX50" fmla="*/ 819150 w 8971757"/>
                  <a:gd name="connsiteY50" fmla="*/ 2169319 h 4552157"/>
                  <a:gd name="connsiteX51" fmla="*/ 833438 w 8971757"/>
                  <a:gd name="connsiteY51" fmla="*/ 2226469 h 4552157"/>
                  <a:gd name="connsiteX52" fmla="*/ 735806 w 8971757"/>
                  <a:gd name="connsiteY52" fmla="*/ 2333626 h 4552157"/>
                  <a:gd name="connsiteX53" fmla="*/ 692944 w 8971757"/>
                  <a:gd name="connsiteY53" fmla="*/ 2447925 h 4552157"/>
                  <a:gd name="connsiteX54" fmla="*/ 726281 w 8971757"/>
                  <a:gd name="connsiteY54" fmla="*/ 2488407 h 4552157"/>
                  <a:gd name="connsiteX55" fmla="*/ 709613 w 8971757"/>
                  <a:gd name="connsiteY55" fmla="*/ 2516982 h 4552157"/>
                  <a:gd name="connsiteX56" fmla="*/ 740569 w 8971757"/>
                  <a:gd name="connsiteY56" fmla="*/ 2574132 h 4552157"/>
                  <a:gd name="connsiteX57" fmla="*/ 769144 w 8971757"/>
                  <a:gd name="connsiteY57" fmla="*/ 2574132 h 4552157"/>
                  <a:gd name="connsiteX58" fmla="*/ 931069 w 8971757"/>
                  <a:gd name="connsiteY58" fmla="*/ 2676525 h 4552157"/>
                  <a:gd name="connsiteX59" fmla="*/ 1035844 w 8971757"/>
                  <a:gd name="connsiteY59" fmla="*/ 2674144 h 4552157"/>
                  <a:gd name="connsiteX60" fmla="*/ 1114425 w 8971757"/>
                  <a:gd name="connsiteY60" fmla="*/ 2728913 h 4552157"/>
                  <a:gd name="connsiteX61" fmla="*/ 1245393 w 8971757"/>
                  <a:gd name="connsiteY61" fmla="*/ 2731294 h 4552157"/>
                  <a:gd name="connsiteX62" fmla="*/ 1435893 w 8971757"/>
                  <a:gd name="connsiteY62" fmla="*/ 2800350 h 4552157"/>
                  <a:gd name="connsiteX63" fmla="*/ 1638300 w 8971757"/>
                  <a:gd name="connsiteY63" fmla="*/ 2950369 h 4552157"/>
                  <a:gd name="connsiteX64" fmla="*/ 1671637 w 8971757"/>
                  <a:gd name="connsiteY64" fmla="*/ 3017044 h 4552157"/>
                  <a:gd name="connsiteX65" fmla="*/ 1838325 w 8971757"/>
                  <a:gd name="connsiteY65" fmla="*/ 3143250 h 4552157"/>
                  <a:gd name="connsiteX66" fmla="*/ 1909763 w 8971757"/>
                  <a:gd name="connsiteY66" fmla="*/ 3138488 h 4552157"/>
                  <a:gd name="connsiteX67" fmla="*/ 1945482 w 8971757"/>
                  <a:gd name="connsiteY67" fmla="*/ 3162300 h 4552157"/>
                  <a:gd name="connsiteX68" fmla="*/ 1916906 w 8971757"/>
                  <a:gd name="connsiteY68" fmla="*/ 3202782 h 4552157"/>
                  <a:gd name="connsiteX69" fmla="*/ 1924050 w 8971757"/>
                  <a:gd name="connsiteY69" fmla="*/ 3255169 h 4552157"/>
                  <a:gd name="connsiteX70" fmla="*/ 1976438 w 8971757"/>
                  <a:gd name="connsiteY70" fmla="*/ 3281363 h 4552157"/>
                  <a:gd name="connsiteX71" fmla="*/ 2038350 w 8971757"/>
                  <a:gd name="connsiteY71" fmla="*/ 3505201 h 4552157"/>
                  <a:gd name="connsiteX72" fmla="*/ 2028825 w 8971757"/>
                  <a:gd name="connsiteY72" fmla="*/ 3569494 h 4552157"/>
                  <a:gd name="connsiteX73" fmla="*/ 2164556 w 8971757"/>
                  <a:gd name="connsiteY73" fmla="*/ 3736182 h 4552157"/>
                  <a:gd name="connsiteX74" fmla="*/ 2183606 w 8971757"/>
                  <a:gd name="connsiteY74" fmla="*/ 3786188 h 4552157"/>
                  <a:gd name="connsiteX75" fmla="*/ 2157413 w 8971757"/>
                  <a:gd name="connsiteY75" fmla="*/ 3805238 h 4552157"/>
                  <a:gd name="connsiteX76" fmla="*/ 2259806 w 8971757"/>
                  <a:gd name="connsiteY76" fmla="*/ 3814763 h 4552157"/>
                  <a:gd name="connsiteX77" fmla="*/ 2371725 w 8971757"/>
                  <a:gd name="connsiteY77" fmla="*/ 3802857 h 4552157"/>
                  <a:gd name="connsiteX78" fmla="*/ 2650331 w 8971757"/>
                  <a:gd name="connsiteY78" fmla="*/ 3886200 h 4552157"/>
                  <a:gd name="connsiteX79" fmla="*/ 3057525 w 8971757"/>
                  <a:gd name="connsiteY79" fmla="*/ 3967163 h 4552157"/>
                  <a:gd name="connsiteX80" fmla="*/ 3255169 w 8971757"/>
                  <a:gd name="connsiteY80" fmla="*/ 3936206 h 4552157"/>
                  <a:gd name="connsiteX81" fmla="*/ 3300413 w 8971757"/>
                  <a:gd name="connsiteY81" fmla="*/ 3948112 h 4552157"/>
                  <a:gd name="connsiteX82" fmla="*/ 3355181 w 8971757"/>
                  <a:gd name="connsiteY82" fmla="*/ 3924301 h 4552157"/>
                  <a:gd name="connsiteX83" fmla="*/ 3748087 w 8971757"/>
                  <a:gd name="connsiteY83" fmla="*/ 4014788 h 4552157"/>
                  <a:gd name="connsiteX84" fmla="*/ 3831432 w 8971757"/>
                  <a:gd name="connsiteY84" fmla="*/ 4112419 h 4552157"/>
                  <a:gd name="connsiteX85" fmla="*/ 3950494 w 8971757"/>
                  <a:gd name="connsiteY85" fmla="*/ 4183857 h 4552157"/>
                  <a:gd name="connsiteX86" fmla="*/ 4010025 w 8971757"/>
                  <a:gd name="connsiteY86" fmla="*/ 4167188 h 4552157"/>
                  <a:gd name="connsiteX87" fmla="*/ 4360068 w 8971757"/>
                  <a:gd name="connsiteY87" fmla="*/ 4341019 h 4552157"/>
                  <a:gd name="connsiteX88" fmla="*/ 4586288 w 8971757"/>
                  <a:gd name="connsiteY88" fmla="*/ 4312444 h 4552157"/>
                  <a:gd name="connsiteX89" fmla="*/ 4595813 w 8971757"/>
                  <a:gd name="connsiteY89" fmla="*/ 4391025 h 4552157"/>
                  <a:gd name="connsiteX90" fmla="*/ 4681538 w 8971757"/>
                  <a:gd name="connsiteY90" fmla="*/ 4386262 h 4552157"/>
                  <a:gd name="connsiteX91" fmla="*/ 4760119 w 8971757"/>
                  <a:gd name="connsiteY91" fmla="*/ 4417219 h 4552157"/>
                  <a:gd name="connsiteX92" fmla="*/ 4802981 w 8971757"/>
                  <a:gd name="connsiteY92" fmla="*/ 4357688 h 4552157"/>
                  <a:gd name="connsiteX93" fmla="*/ 5474494 w 8971757"/>
                  <a:gd name="connsiteY93" fmla="*/ 4038600 h 4552157"/>
                  <a:gd name="connsiteX94" fmla="*/ 5562600 w 8971757"/>
                  <a:gd name="connsiteY94" fmla="*/ 4067176 h 4552157"/>
                  <a:gd name="connsiteX95" fmla="*/ 5693569 w 8971757"/>
                  <a:gd name="connsiteY95" fmla="*/ 4038600 h 4552157"/>
                  <a:gd name="connsiteX96" fmla="*/ 5872162 w 8971757"/>
                  <a:gd name="connsiteY96" fmla="*/ 4055269 h 4552157"/>
                  <a:gd name="connsiteX97" fmla="*/ 5929313 w 8971757"/>
                  <a:gd name="connsiteY97" fmla="*/ 4029076 h 4552157"/>
                  <a:gd name="connsiteX98" fmla="*/ 6062662 w 8971757"/>
                  <a:gd name="connsiteY98" fmla="*/ 4026694 h 4552157"/>
                  <a:gd name="connsiteX99" fmla="*/ 6196012 w 8971757"/>
                  <a:gd name="connsiteY99" fmla="*/ 3929063 h 4552157"/>
                  <a:gd name="connsiteX100" fmla="*/ 6262687 w 8971757"/>
                  <a:gd name="connsiteY100" fmla="*/ 3921919 h 4552157"/>
                  <a:gd name="connsiteX101" fmla="*/ 6360319 w 8971757"/>
                  <a:gd name="connsiteY101" fmla="*/ 3848100 h 4552157"/>
                  <a:gd name="connsiteX102" fmla="*/ 6434138 w 8971757"/>
                  <a:gd name="connsiteY102" fmla="*/ 3779044 h 4552157"/>
                  <a:gd name="connsiteX103" fmla="*/ 6443663 w 8971757"/>
                  <a:gd name="connsiteY103" fmla="*/ 3717132 h 4552157"/>
                  <a:gd name="connsiteX104" fmla="*/ 6477000 w 8971757"/>
                  <a:gd name="connsiteY104" fmla="*/ 3648075 h 4552157"/>
                  <a:gd name="connsiteX105" fmla="*/ 6629400 w 8971757"/>
                  <a:gd name="connsiteY105" fmla="*/ 3540919 h 4552157"/>
                  <a:gd name="connsiteX106" fmla="*/ 6662738 w 8971757"/>
                  <a:gd name="connsiteY106" fmla="*/ 3545682 h 4552157"/>
                  <a:gd name="connsiteX107" fmla="*/ 6715125 w 8971757"/>
                  <a:gd name="connsiteY107" fmla="*/ 3467100 h 4552157"/>
                  <a:gd name="connsiteX108" fmla="*/ 6762750 w 8971757"/>
                  <a:gd name="connsiteY108" fmla="*/ 3429000 h 4552157"/>
                  <a:gd name="connsiteX109" fmla="*/ 6748463 w 8971757"/>
                  <a:gd name="connsiteY109" fmla="*/ 3359944 h 4552157"/>
                  <a:gd name="connsiteX110" fmla="*/ 6698456 w 8971757"/>
                  <a:gd name="connsiteY110" fmla="*/ 3328987 h 4552157"/>
                  <a:gd name="connsiteX111" fmla="*/ 6638925 w 8971757"/>
                  <a:gd name="connsiteY111" fmla="*/ 3274219 h 4552157"/>
                  <a:gd name="connsiteX112" fmla="*/ 6619875 w 8971757"/>
                  <a:gd name="connsiteY112" fmla="*/ 3217069 h 4552157"/>
                  <a:gd name="connsiteX113" fmla="*/ 6584156 w 8971757"/>
                  <a:gd name="connsiteY113" fmla="*/ 3183732 h 4552157"/>
                  <a:gd name="connsiteX114" fmla="*/ 6610350 w 8971757"/>
                  <a:gd name="connsiteY114" fmla="*/ 3131344 h 4552157"/>
                  <a:gd name="connsiteX115" fmla="*/ 6650831 w 8971757"/>
                  <a:gd name="connsiteY115" fmla="*/ 2952750 h 4552157"/>
                  <a:gd name="connsiteX116" fmla="*/ 6691313 w 8971757"/>
                  <a:gd name="connsiteY116" fmla="*/ 2886075 h 4552157"/>
                  <a:gd name="connsiteX117" fmla="*/ 6836569 w 8971757"/>
                  <a:gd name="connsiteY117" fmla="*/ 2869406 h 4552157"/>
                  <a:gd name="connsiteX118" fmla="*/ 6905625 w 8971757"/>
                  <a:gd name="connsiteY118" fmla="*/ 2926557 h 4552157"/>
                  <a:gd name="connsiteX119" fmla="*/ 6981825 w 8971757"/>
                  <a:gd name="connsiteY119" fmla="*/ 2950369 h 4552157"/>
                  <a:gd name="connsiteX120" fmla="*/ 7186612 w 8971757"/>
                  <a:gd name="connsiteY120" fmla="*/ 2955132 h 4552157"/>
                  <a:gd name="connsiteX121" fmla="*/ 7362825 w 8971757"/>
                  <a:gd name="connsiteY121" fmla="*/ 2817019 h 4552157"/>
                  <a:gd name="connsiteX122" fmla="*/ 7419975 w 8971757"/>
                  <a:gd name="connsiteY122" fmla="*/ 2726531 h 4552157"/>
                  <a:gd name="connsiteX123" fmla="*/ 7446169 w 8971757"/>
                  <a:gd name="connsiteY123" fmla="*/ 2643188 h 4552157"/>
                  <a:gd name="connsiteX124" fmla="*/ 7577137 w 8971757"/>
                  <a:gd name="connsiteY124" fmla="*/ 2643188 h 4552157"/>
                  <a:gd name="connsiteX125" fmla="*/ 7750969 w 8971757"/>
                  <a:gd name="connsiteY125" fmla="*/ 2586037 h 4552157"/>
                  <a:gd name="connsiteX126" fmla="*/ 7810500 w 8971757"/>
                  <a:gd name="connsiteY126" fmla="*/ 2474119 h 4552157"/>
                  <a:gd name="connsiteX127" fmla="*/ 7874794 w 8971757"/>
                  <a:gd name="connsiteY127" fmla="*/ 2438400 h 4552157"/>
                  <a:gd name="connsiteX128" fmla="*/ 7853363 w 8971757"/>
                  <a:gd name="connsiteY128" fmla="*/ 2393157 h 4552157"/>
                  <a:gd name="connsiteX129" fmla="*/ 7931944 w 8971757"/>
                  <a:gd name="connsiteY129" fmla="*/ 2224087 h 4552157"/>
                  <a:gd name="connsiteX130" fmla="*/ 7986713 w 8971757"/>
                  <a:gd name="connsiteY130" fmla="*/ 2164557 h 4552157"/>
                  <a:gd name="connsiteX131" fmla="*/ 8024813 w 8971757"/>
                  <a:gd name="connsiteY131" fmla="*/ 2159794 h 4552157"/>
                  <a:gd name="connsiteX132" fmla="*/ 8070056 w 8971757"/>
                  <a:gd name="connsiteY132" fmla="*/ 2164557 h 4552157"/>
                  <a:gd name="connsiteX133" fmla="*/ 8134350 w 8971757"/>
                  <a:gd name="connsiteY133" fmla="*/ 2131219 h 4552157"/>
                  <a:gd name="connsiteX134" fmla="*/ 8143875 w 8971757"/>
                  <a:gd name="connsiteY134" fmla="*/ 2066925 h 4552157"/>
                  <a:gd name="connsiteX135" fmla="*/ 8184355 w 8971757"/>
                  <a:gd name="connsiteY135" fmla="*/ 2031207 h 4552157"/>
                  <a:gd name="connsiteX136" fmla="*/ 8243888 w 8971757"/>
                  <a:gd name="connsiteY136" fmla="*/ 2071687 h 4552157"/>
                  <a:gd name="connsiteX137" fmla="*/ 8270082 w 8971757"/>
                  <a:gd name="connsiteY137" fmla="*/ 2021681 h 4552157"/>
                  <a:gd name="connsiteX138" fmla="*/ 8365331 w 8971757"/>
                  <a:gd name="connsiteY138" fmla="*/ 1952625 h 4552157"/>
                  <a:gd name="connsiteX139" fmla="*/ 8427244 w 8971757"/>
                  <a:gd name="connsiteY139" fmla="*/ 1959769 h 4552157"/>
                  <a:gd name="connsiteX140" fmla="*/ 8477250 w 8971757"/>
                  <a:gd name="connsiteY140" fmla="*/ 1940719 h 4552157"/>
                  <a:gd name="connsiteX141" fmla="*/ 8515350 w 8971757"/>
                  <a:gd name="connsiteY141" fmla="*/ 1912144 h 4552157"/>
                  <a:gd name="connsiteX142" fmla="*/ 8548688 w 8971757"/>
                  <a:gd name="connsiteY142" fmla="*/ 1909763 h 4552157"/>
                  <a:gd name="connsiteX143" fmla="*/ 8584406 w 8971757"/>
                  <a:gd name="connsiteY143" fmla="*/ 1940719 h 4552157"/>
                  <a:gd name="connsiteX144" fmla="*/ 8643938 w 8971757"/>
                  <a:gd name="connsiteY144" fmla="*/ 1940719 h 4552157"/>
                  <a:gd name="connsiteX145" fmla="*/ 8682037 w 8971757"/>
                  <a:gd name="connsiteY145" fmla="*/ 1921669 h 4552157"/>
                  <a:gd name="connsiteX146" fmla="*/ 8765381 w 8971757"/>
                  <a:gd name="connsiteY146" fmla="*/ 1924051 h 4552157"/>
                  <a:gd name="connsiteX147" fmla="*/ 8796338 w 8971757"/>
                  <a:gd name="connsiteY147" fmla="*/ 1878807 h 4552157"/>
                  <a:gd name="connsiteX148" fmla="*/ 8801100 w 8971757"/>
                  <a:gd name="connsiteY148" fmla="*/ 1816894 h 4552157"/>
                  <a:gd name="connsiteX149" fmla="*/ 8751093 w 8971757"/>
                  <a:gd name="connsiteY149" fmla="*/ 1776413 h 4552157"/>
                  <a:gd name="connsiteX150" fmla="*/ 8734425 w 8971757"/>
                  <a:gd name="connsiteY150" fmla="*/ 1721644 h 4552157"/>
                  <a:gd name="connsiteX151" fmla="*/ 8643938 w 8971757"/>
                  <a:gd name="connsiteY151" fmla="*/ 1659732 h 4552157"/>
                  <a:gd name="connsiteX152" fmla="*/ 8603456 w 8971757"/>
                  <a:gd name="connsiteY152" fmla="*/ 1638300 h 4552157"/>
                  <a:gd name="connsiteX153" fmla="*/ 8565356 w 8971757"/>
                  <a:gd name="connsiteY153" fmla="*/ 1593057 h 4552157"/>
                  <a:gd name="connsiteX154" fmla="*/ 8534400 w 8971757"/>
                  <a:gd name="connsiteY154" fmla="*/ 1590675 h 4552157"/>
                  <a:gd name="connsiteX155" fmla="*/ 8517731 w 8971757"/>
                  <a:gd name="connsiteY155" fmla="*/ 1538288 h 4552157"/>
                  <a:gd name="connsiteX156" fmla="*/ 8477250 w 8971757"/>
                  <a:gd name="connsiteY156" fmla="*/ 1521619 h 4552157"/>
                  <a:gd name="connsiteX157" fmla="*/ 8477250 w 8971757"/>
                  <a:gd name="connsiteY157" fmla="*/ 1521619 h 4552157"/>
                  <a:gd name="connsiteX158" fmla="*/ 8436769 w 8971757"/>
                  <a:gd name="connsiteY158" fmla="*/ 1526382 h 4552157"/>
                  <a:gd name="connsiteX159" fmla="*/ 8351043 w 8971757"/>
                  <a:gd name="connsiteY159" fmla="*/ 1452563 h 4552157"/>
                  <a:gd name="connsiteX160" fmla="*/ 8170069 w 8971757"/>
                  <a:gd name="connsiteY160" fmla="*/ 1452562 h 4552157"/>
                  <a:gd name="connsiteX161" fmla="*/ 8117681 w 8971757"/>
                  <a:gd name="connsiteY161" fmla="*/ 1490663 h 4552157"/>
                  <a:gd name="connsiteX162" fmla="*/ 8067675 w 8971757"/>
                  <a:gd name="connsiteY162" fmla="*/ 1569244 h 4552157"/>
                  <a:gd name="connsiteX163" fmla="*/ 8084344 w 8971757"/>
                  <a:gd name="connsiteY163" fmla="*/ 1590675 h 4552157"/>
                  <a:gd name="connsiteX164" fmla="*/ 8039100 w 8971757"/>
                  <a:gd name="connsiteY164" fmla="*/ 1640681 h 4552157"/>
                  <a:gd name="connsiteX165" fmla="*/ 7889081 w 8971757"/>
                  <a:gd name="connsiteY165" fmla="*/ 1564481 h 4552157"/>
                  <a:gd name="connsiteX166" fmla="*/ 7798594 w 8971757"/>
                  <a:gd name="connsiteY166" fmla="*/ 1600200 h 4552157"/>
                  <a:gd name="connsiteX167" fmla="*/ 7724775 w 8971757"/>
                  <a:gd name="connsiteY167" fmla="*/ 1597819 h 4552157"/>
                  <a:gd name="connsiteX168" fmla="*/ 7667625 w 8971757"/>
                  <a:gd name="connsiteY168" fmla="*/ 1693069 h 4552157"/>
                  <a:gd name="connsiteX169" fmla="*/ 7529513 w 8971757"/>
                  <a:gd name="connsiteY169" fmla="*/ 1595438 h 4552157"/>
                  <a:gd name="connsiteX0" fmla="*/ 7529513 w 8971757"/>
                  <a:gd name="connsiteY0" fmla="*/ 1593057 h 4549776"/>
                  <a:gd name="connsiteX1" fmla="*/ 7522369 w 8971757"/>
                  <a:gd name="connsiteY1" fmla="*/ 1538288 h 4549776"/>
                  <a:gd name="connsiteX2" fmla="*/ 7589044 w 8971757"/>
                  <a:gd name="connsiteY2" fmla="*/ 1464469 h 4549776"/>
                  <a:gd name="connsiteX3" fmla="*/ 7572375 w 8971757"/>
                  <a:gd name="connsiteY3" fmla="*/ 1393032 h 4549776"/>
                  <a:gd name="connsiteX4" fmla="*/ 7586663 w 8971757"/>
                  <a:gd name="connsiteY4" fmla="*/ 1297782 h 4549776"/>
                  <a:gd name="connsiteX5" fmla="*/ 7624763 w 8971757"/>
                  <a:gd name="connsiteY5" fmla="*/ 1240632 h 4549776"/>
                  <a:gd name="connsiteX6" fmla="*/ 7605712 w 8971757"/>
                  <a:gd name="connsiteY6" fmla="*/ 1207294 h 4549776"/>
                  <a:gd name="connsiteX7" fmla="*/ 7703343 w 8971757"/>
                  <a:gd name="connsiteY7" fmla="*/ 807244 h 4549776"/>
                  <a:gd name="connsiteX8" fmla="*/ 7867725 w 8971757"/>
                  <a:gd name="connsiteY8" fmla="*/ 859257 h 4549776"/>
                  <a:gd name="connsiteX9" fmla="*/ 7929638 w 8971757"/>
                  <a:gd name="connsiteY9" fmla="*/ 837826 h 4549776"/>
                  <a:gd name="connsiteX10" fmla="*/ 8039175 w 8971757"/>
                  <a:gd name="connsiteY10" fmla="*/ 880688 h 4549776"/>
                  <a:gd name="connsiteX11" fmla="*/ 8205863 w 8971757"/>
                  <a:gd name="connsiteY11" fmla="*/ 668757 h 4549776"/>
                  <a:gd name="connsiteX12" fmla="*/ 8341594 w 8971757"/>
                  <a:gd name="connsiteY12" fmla="*/ 616369 h 4549776"/>
                  <a:gd name="connsiteX13" fmla="*/ 8339213 w 8971757"/>
                  <a:gd name="connsiteY13" fmla="*/ 485401 h 4549776"/>
                  <a:gd name="connsiteX14" fmla="*/ 8298731 w 8971757"/>
                  <a:gd name="connsiteY14" fmla="*/ 454444 h 4549776"/>
                  <a:gd name="connsiteX15" fmla="*/ 8308256 w 8971757"/>
                  <a:gd name="connsiteY15" fmla="*/ 371101 h 4549776"/>
                  <a:gd name="connsiteX16" fmla="*/ 8343975 w 8971757"/>
                  <a:gd name="connsiteY16" fmla="*/ 330619 h 4549776"/>
                  <a:gd name="connsiteX17" fmla="*/ 8324925 w 8971757"/>
                  <a:gd name="connsiteY17" fmla="*/ 256801 h 4549776"/>
                  <a:gd name="connsiteX18" fmla="*/ 8410575 w 8971757"/>
                  <a:gd name="connsiteY18" fmla="*/ 0 h 4549776"/>
                  <a:gd name="connsiteX19" fmla="*/ 8951912 w 8971757"/>
                  <a:gd name="connsiteY19" fmla="*/ 1 h 4549776"/>
                  <a:gd name="connsiteX20" fmla="*/ 8971757 w 8971757"/>
                  <a:gd name="connsiteY20" fmla="*/ 4549776 h 4549776"/>
                  <a:gd name="connsiteX21" fmla="*/ 2381 w 8971757"/>
                  <a:gd name="connsiteY21" fmla="*/ 4521199 h 4549776"/>
                  <a:gd name="connsiteX22" fmla="*/ 0 w 8971757"/>
                  <a:gd name="connsiteY22" fmla="*/ 819151 h 4549776"/>
                  <a:gd name="connsiteX23" fmla="*/ 76200 w 8971757"/>
                  <a:gd name="connsiteY23" fmla="*/ 802482 h 4549776"/>
                  <a:gd name="connsiteX24" fmla="*/ 119063 w 8971757"/>
                  <a:gd name="connsiteY24" fmla="*/ 831057 h 4549776"/>
                  <a:gd name="connsiteX25" fmla="*/ 215900 w 8971757"/>
                  <a:gd name="connsiteY25" fmla="*/ 822326 h 4549776"/>
                  <a:gd name="connsiteX26" fmla="*/ 261938 w 8971757"/>
                  <a:gd name="connsiteY26" fmla="*/ 850106 h 4549776"/>
                  <a:gd name="connsiteX27" fmla="*/ 228600 w 8971757"/>
                  <a:gd name="connsiteY27" fmla="*/ 878682 h 4549776"/>
                  <a:gd name="connsiteX28" fmla="*/ 233363 w 8971757"/>
                  <a:gd name="connsiteY28" fmla="*/ 921544 h 4549776"/>
                  <a:gd name="connsiteX29" fmla="*/ 200025 w 8971757"/>
                  <a:gd name="connsiteY29" fmla="*/ 926307 h 4549776"/>
                  <a:gd name="connsiteX30" fmla="*/ 204788 w 8971757"/>
                  <a:gd name="connsiteY30" fmla="*/ 950119 h 4549776"/>
                  <a:gd name="connsiteX31" fmla="*/ 261937 w 8971757"/>
                  <a:gd name="connsiteY31" fmla="*/ 1023938 h 4549776"/>
                  <a:gd name="connsiteX32" fmla="*/ 223838 w 8971757"/>
                  <a:gd name="connsiteY32" fmla="*/ 1071563 h 4549776"/>
                  <a:gd name="connsiteX33" fmla="*/ 278606 w 8971757"/>
                  <a:gd name="connsiteY33" fmla="*/ 1107282 h 4549776"/>
                  <a:gd name="connsiteX34" fmla="*/ 369094 w 8971757"/>
                  <a:gd name="connsiteY34" fmla="*/ 1195388 h 4549776"/>
                  <a:gd name="connsiteX35" fmla="*/ 371475 w 8971757"/>
                  <a:gd name="connsiteY35" fmla="*/ 1254919 h 4549776"/>
                  <a:gd name="connsiteX36" fmla="*/ 507206 w 8971757"/>
                  <a:gd name="connsiteY36" fmla="*/ 1388270 h 4549776"/>
                  <a:gd name="connsiteX37" fmla="*/ 561975 w 8971757"/>
                  <a:gd name="connsiteY37" fmla="*/ 1364457 h 4549776"/>
                  <a:gd name="connsiteX38" fmla="*/ 600075 w 8971757"/>
                  <a:gd name="connsiteY38" fmla="*/ 1390650 h 4549776"/>
                  <a:gd name="connsiteX39" fmla="*/ 614363 w 8971757"/>
                  <a:gd name="connsiteY39" fmla="*/ 1440656 h 4549776"/>
                  <a:gd name="connsiteX40" fmla="*/ 657225 w 8971757"/>
                  <a:gd name="connsiteY40" fmla="*/ 1476376 h 4549776"/>
                  <a:gd name="connsiteX41" fmla="*/ 697706 w 8971757"/>
                  <a:gd name="connsiteY41" fmla="*/ 1464469 h 4549776"/>
                  <a:gd name="connsiteX42" fmla="*/ 716756 w 8971757"/>
                  <a:gd name="connsiteY42" fmla="*/ 1521619 h 4549776"/>
                  <a:gd name="connsiteX43" fmla="*/ 764381 w 8971757"/>
                  <a:gd name="connsiteY43" fmla="*/ 1564482 h 4549776"/>
                  <a:gd name="connsiteX44" fmla="*/ 788194 w 8971757"/>
                  <a:gd name="connsiteY44" fmla="*/ 1666876 h 4549776"/>
                  <a:gd name="connsiteX45" fmla="*/ 785813 w 8971757"/>
                  <a:gd name="connsiteY45" fmla="*/ 1714501 h 4549776"/>
                  <a:gd name="connsiteX46" fmla="*/ 821531 w 8971757"/>
                  <a:gd name="connsiteY46" fmla="*/ 1814513 h 4549776"/>
                  <a:gd name="connsiteX47" fmla="*/ 866775 w 8971757"/>
                  <a:gd name="connsiteY47" fmla="*/ 1871663 h 4549776"/>
                  <a:gd name="connsiteX48" fmla="*/ 883443 w 8971757"/>
                  <a:gd name="connsiteY48" fmla="*/ 2028825 h 4549776"/>
                  <a:gd name="connsiteX49" fmla="*/ 850106 w 8971757"/>
                  <a:gd name="connsiteY49" fmla="*/ 2090738 h 4549776"/>
                  <a:gd name="connsiteX50" fmla="*/ 819150 w 8971757"/>
                  <a:gd name="connsiteY50" fmla="*/ 2166938 h 4549776"/>
                  <a:gd name="connsiteX51" fmla="*/ 833438 w 8971757"/>
                  <a:gd name="connsiteY51" fmla="*/ 2224088 h 4549776"/>
                  <a:gd name="connsiteX52" fmla="*/ 735806 w 8971757"/>
                  <a:gd name="connsiteY52" fmla="*/ 2331245 h 4549776"/>
                  <a:gd name="connsiteX53" fmla="*/ 692944 w 8971757"/>
                  <a:gd name="connsiteY53" fmla="*/ 2445544 h 4549776"/>
                  <a:gd name="connsiteX54" fmla="*/ 726281 w 8971757"/>
                  <a:gd name="connsiteY54" fmla="*/ 2486026 h 4549776"/>
                  <a:gd name="connsiteX55" fmla="*/ 709613 w 8971757"/>
                  <a:gd name="connsiteY55" fmla="*/ 2514601 h 4549776"/>
                  <a:gd name="connsiteX56" fmla="*/ 740569 w 8971757"/>
                  <a:gd name="connsiteY56" fmla="*/ 2571751 h 4549776"/>
                  <a:gd name="connsiteX57" fmla="*/ 769144 w 8971757"/>
                  <a:gd name="connsiteY57" fmla="*/ 2571751 h 4549776"/>
                  <a:gd name="connsiteX58" fmla="*/ 931069 w 8971757"/>
                  <a:gd name="connsiteY58" fmla="*/ 2674144 h 4549776"/>
                  <a:gd name="connsiteX59" fmla="*/ 1035844 w 8971757"/>
                  <a:gd name="connsiteY59" fmla="*/ 2671763 h 4549776"/>
                  <a:gd name="connsiteX60" fmla="*/ 1114425 w 8971757"/>
                  <a:gd name="connsiteY60" fmla="*/ 2726532 h 4549776"/>
                  <a:gd name="connsiteX61" fmla="*/ 1245393 w 8971757"/>
                  <a:gd name="connsiteY61" fmla="*/ 2728913 h 4549776"/>
                  <a:gd name="connsiteX62" fmla="*/ 1435893 w 8971757"/>
                  <a:gd name="connsiteY62" fmla="*/ 2797969 h 4549776"/>
                  <a:gd name="connsiteX63" fmla="*/ 1638300 w 8971757"/>
                  <a:gd name="connsiteY63" fmla="*/ 2947988 h 4549776"/>
                  <a:gd name="connsiteX64" fmla="*/ 1671637 w 8971757"/>
                  <a:gd name="connsiteY64" fmla="*/ 3014663 h 4549776"/>
                  <a:gd name="connsiteX65" fmla="*/ 1838325 w 8971757"/>
                  <a:gd name="connsiteY65" fmla="*/ 3140869 h 4549776"/>
                  <a:gd name="connsiteX66" fmla="*/ 1909763 w 8971757"/>
                  <a:gd name="connsiteY66" fmla="*/ 3136107 h 4549776"/>
                  <a:gd name="connsiteX67" fmla="*/ 1945482 w 8971757"/>
                  <a:gd name="connsiteY67" fmla="*/ 3159919 h 4549776"/>
                  <a:gd name="connsiteX68" fmla="*/ 1916906 w 8971757"/>
                  <a:gd name="connsiteY68" fmla="*/ 3200401 h 4549776"/>
                  <a:gd name="connsiteX69" fmla="*/ 1924050 w 8971757"/>
                  <a:gd name="connsiteY69" fmla="*/ 3252788 h 4549776"/>
                  <a:gd name="connsiteX70" fmla="*/ 1976438 w 8971757"/>
                  <a:gd name="connsiteY70" fmla="*/ 3278982 h 4549776"/>
                  <a:gd name="connsiteX71" fmla="*/ 2038350 w 8971757"/>
                  <a:gd name="connsiteY71" fmla="*/ 3502820 h 4549776"/>
                  <a:gd name="connsiteX72" fmla="*/ 2028825 w 8971757"/>
                  <a:gd name="connsiteY72" fmla="*/ 3567113 h 4549776"/>
                  <a:gd name="connsiteX73" fmla="*/ 2164556 w 8971757"/>
                  <a:gd name="connsiteY73" fmla="*/ 3733801 h 4549776"/>
                  <a:gd name="connsiteX74" fmla="*/ 2183606 w 8971757"/>
                  <a:gd name="connsiteY74" fmla="*/ 3783807 h 4549776"/>
                  <a:gd name="connsiteX75" fmla="*/ 2157413 w 8971757"/>
                  <a:gd name="connsiteY75" fmla="*/ 3802857 h 4549776"/>
                  <a:gd name="connsiteX76" fmla="*/ 2259806 w 8971757"/>
                  <a:gd name="connsiteY76" fmla="*/ 3812382 h 4549776"/>
                  <a:gd name="connsiteX77" fmla="*/ 2371725 w 8971757"/>
                  <a:gd name="connsiteY77" fmla="*/ 3800476 h 4549776"/>
                  <a:gd name="connsiteX78" fmla="*/ 2650331 w 8971757"/>
                  <a:gd name="connsiteY78" fmla="*/ 3883819 h 4549776"/>
                  <a:gd name="connsiteX79" fmla="*/ 3057525 w 8971757"/>
                  <a:gd name="connsiteY79" fmla="*/ 3964782 h 4549776"/>
                  <a:gd name="connsiteX80" fmla="*/ 3255169 w 8971757"/>
                  <a:gd name="connsiteY80" fmla="*/ 3933825 h 4549776"/>
                  <a:gd name="connsiteX81" fmla="*/ 3300413 w 8971757"/>
                  <a:gd name="connsiteY81" fmla="*/ 3945731 h 4549776"/>
                  <a:gd name="connsiteX82" fmla="*/ 3355181 w 8971757"/>
                  <a:gd name="connsiteY82" fmla="*/ 3921920 h 4549776"/>
                  <a:gd name="connsiteX83" fmla="*/ 3748087 w 8971757"/>
                  <a:gd name="connsiteY83" fmla="*/ 4012407 h 4549776"/>
                  <a:gd name="connsiteX84" fmla="*/ 3831432 w 8971757"/>
                  <a:gd name="connsiteY84" fmla="*/ 4110038 h 4549776"/>
                  <a:gd name="connsiteX85" fmla="*/ 3950494 w 8971757"/>
                  <a:gd name="connsiteY85" fmla="*/ 4181476 h 4549776"/>
                  <a:gd name="connsiteX86" fmla="*/ 4010025 w 8971757"/>
                  <a:gd name="connsiteY86" fmla="*/ 4164807 h 4549776"/>
                  <a:gd name="connsiteX87" fmla="*/ 4360068 w 8971757"/>
                  <a:gd name="connsiteY87" fmla="*/ 4338638 h 4549776"/>
                  <a:gd name="connsiteX88" fmla="*/ 4586288 w 8971757"/>
                  <a:gd name="connsiteY88" fmla="*/ 4310063 h 4549776"/>
                  <a:gd name="connsiteX89" fmla="*/ 4595813 w 8971757"/>
                  <a:gd name="connsiteY89" fmla="*/ 4388644 h 4549776"/>
                  <a:gd name="connsiteX90" fmla="*/ 4681538 w 8971757"/>
                  <a:gd name="connsiteY90" fmla="*/ 4383881 h 4549776"/>
                  <a:gd name="connsiteX91" fmla="*/ 4760119 w 8971757"/>
                  <a:gd name="connsiteY91" fmla="*/ 4414838 h 4549776"/>
                  <a:gd name="connsiteX92" fmla="*/ 4802981 w 8971757"/>
                  <a:gd name="connsiteY92" fmla="*/ 4355307 h 4549776"/>
                  <a:gd name="connsiteX93" fmla="*/ 5474494 w 8971757"/>
                  <a:gd name="connsiteY93" fmla="*/ 4036219 h 4549776"/>
                  <a:gd name="connsiteX94" fmla="*/ 5562600 w 8971757"/>
                  <a:gd name="connsiteY94" fmla="*/ 4064795 h 4549776"/>
                  <a:gd name="connsiteX95" fmla="*/ 5693569 w 8971757"/>
                  <a:gd name="connsiteY95" fmla="*/ 4036219 h 4549776"/>
                  <a:gd name="connsiteX96" fmla="*/ 5872162 w 8971757"/>
                  <a:gd name="connsiteY96" fmla="*/ 4052888 h 4549776"/>
                  <a:gd name="connsiteX97" fmla="*/ 5929313 w 8971757"/>
                  <a:gd name="connsiteY97" fmla="*/ 4026695 h 4549776"/>
                  <a:gd name="connsiteX98" fmla="*/ 6062662 w 8971757"/>
                  <a:gd name="connsiteY98" fmla="*/ 4024313 h 4549776"/>
                  <a:gd name="connsiteX99" fmla="*/ 6196012 w 8971757"/>
                  <a:gd name="connsiteY99" fmla="*/ 3926682 h 4549776"/>
                  <a:gd name="connsiteX100" fmla="*/ 6262687 w 8971757"/>
                  <a:gd name="connsiteY100" fmla="*/ 3919538 h 4549776"/>
                  <a:gd name="connsiteX101" fmla="*/ 6360319 w 8971757"/>
                  <a:gd name="connsiteY101" fmla="*/ 3845719 h 4549776"/>
                  <a:gd name="connsiteX102" fmla="*/ 6434138 w 8971757"/>
                  <a:gd name="connsiteY102" fmla="*/ 3776663 h 4549776"/>
                  <a:gd name="connsiteX103" fmla="*/ 6443663 w 8971757"/>
                  <a:gd name="connsiteY103" fmla="*/ 3714751 h 4549776"/>
                  <a:gd name="connsiteX104" fmla="*/ 6477000 w 8971757"/>
                  <a:gd name="connsiteY104" fmla="*/ 3645694 h 4549776"/>
                  <a:gd name="connsiteX105" fmla="*/ 6629400 w 8971757"/>
                  <a:gd name="connsiteY105" fmla="*/ 3538538 h 4549776"/>
                  <a:gd name="connsiteX106" fmla="*/ 6662738 w 8971757"/>
                  <a:gd name="connsiteY106" fmla="*/ 3543301 h 4549776"/>
                  <a:gd name="connsiteX107" fmla="*/ 6715125 w 8971757"/>
                  <a:gd name="connsiteY107" fmla="*/ 3464719 h 4549776"/>
                  <a:gd name="connsiteX108" fmla="*/ 6762750 w 8971757"/>
                  <a:gd name="connsiteY108" fmla="*/ 3426619 h 4549776"/>
                  <a:gd name="connsiteX109" fmla="*/ 6748463 w 8971757"/>
                  <a:gd name="connsiteY109" fmla="*/ 3357563 h 4549776"/>
                  <a:gd name="connsiteX110" fmla="*/ 6698456 w 8971757"/>
                  <a:gd name="connsiteY110" fmla="*/ 3326606 h 4549776"/>
                  <a:gd name="connsiteX111" fmla="*/ 6638925 w 8971757"/>
                  <a:gd name="connsiteY111" fmla="*/ 3271838 h 4549776"/>
                  <a:gd name="connsiteX112" fmla="*/ 6619875 w 8971757"/>
                  <a:gd name="connsiteY112" fmla="*/ 3214688 h 4549776"/>
                  <a:gd name="connsiteX113" fmla="*/ 6584156 w 8971757"/>
                  <a:gd name="connsiteY113" fmla="*/ 3181351 h 4549776"/>
                  <a:gd name="connsiteX114" fmla="*/ 6610350 w 8971757"/>
                  <a:gd name="connsiteY114" fmla="*/ 3128963 h 4549776"/>
                  <a:gd name="connsiteX115" fmla="*/ 6650831 w 8971757"/>
                  <a:gd name="connsiteY115" fmla="*/ 2950369 h 4549776"/>
                  <a:gd name="connsiteX116" fmla="*/ 6691313 w 8971757"/>
                  <a:gd name="connsiteY116" fmla="*/ 2883694 h 4549776"/>
                  <a:gd name="connsiteX117" fmla="*/ 6836569 w 8971757"/>
                  <a:gd name="connsiteY117" fmla="*/ 2867025 h 4549776"/>
                  <a:gd name="connsiteX118" fmla="*/ 6905625 w 8971757"/>
                  <a:gd name="connsiteY118" fmla="*/ 2924176 h 4549776"/>
                  <a:gd name="connsiteX119" fmla="*/ 6981825 w 8971757"/>
                  <a:gd name="connsiteY119" fmla="*/ 2947988 h 4549776"/>
                  <a:gd name="connsiteX120" fmla="*/ 7186612 w 8971757"/>
                  <a:gd name="connsiteY120" fmla="*/ 2952751 h 4549776"/>
                  <a:gd name="connsiteX121" fmla="*/ 7362825 w 8971757"/>
                  <a:gd name="connsiteY121" fmla="*/ 2814638 h 4549776"/>
                  <a:gd name="connsiteX122" fmla="*/ 7419975 w 8971757"/>
                  <a:gd name="connsiteY122" fmla="*/ 2724150 h 4549776"/>
                  <a:gd name="connsiteX123" fmla="*/ 7446169 w 8971757"/>
                  <a:gd name="connsiteY123" fmla="*/ 2640807 h 4549776"/>
                  <a:gd name="connsiteX124" fmla="*/ 7577137 w 8971757"/>
                  <a:gd name="connsiteY124" fmla="*/ 2640807 h 4549776"/>
                  <a:gd name="connsiteX125" fmla="*/ 7750969 w 8971757"/>
                  <a:gd name="connsiteY125" fmla="*/ 2583656 h 4549776"/>
                  <a:gd name="connsiteX126" fmla="*/ 7810500 w 8971757"/>
                  <a:gd name="connsiteY126" fmla="*/ 2471738 h 4549776"/>
                  <a:gd name="connsiteX127" fmla="*/ 7874794 w 8971757"/>
                  <a:gd name="connsiteY127" fmla="*/ 2436019 h 4549776"/>
                  <a:gd name="connsiteX128" fmla="*/ 7853363 w 8971757"/>
                  <a:gd name="connsiteY128" fmla="*/ 2390776 h 4549776"/>
                  <a:gd name="connsiteX129" fmla="*/ 7931944 w 8971757"/>
                  <a:gd name="connsiteY129" fmla="*/ 2221706 h 4549776"/>
                  <a:gd name="connsiteX130" fmla="*/ 7986713 w 8971757"/>
                  <a:gd name="connsiteY130" fmla="*/ 2162176 h 4549776"/>
                  <a:gd name="connsiteX131" fmla="*/ 8024813 w 8971757"/>
                  <a:gd name="connsiteY131" fmla="*/ 2157413 h 4549776"/>
                  <a:gd name="connsiteX132" fmla="*/ 8070056 w 8971757"/>
                  <a:gd name="connsiteY132" fmla="*/ 2162176 h 4549776"/>
                  <a:gd name="connsiteX133" fmla="*/ 8134350 w 8971757"/>
                  <a:gd name="connsiteY133" fmla="*/ 2128838 h 4549776"/>
                  <a:gd name="connsiteX134" fmla="*/ 8143875 w 8971757"/>
                  <a:gd name="connsiteY134" fmla="*/ 2064544 h 4549776"/>
                  <a:gd name="connsiteX135" fmla="*/ 8184355 w 8971757"/>
                  <a:gd name="connsiteY135" fmla="*/ 2028826 h 4549776"/>
                  <a:gd name="connsiteX136" fmla="*/ 8243888 w 8971757"/>
                  <a:gd name="connsiteY136" fmla="*/ 2069306 h 4549776"/>
                  <a:gd name="connsiteX137" fmla="*/ 8270082 w 8971757"/>
                  <a:gd name="connsiteY137" fmla="*/ 2019300 h 4549776"/>
                  <a:gd name="connsiteX138" fmla="*/ 8365331 w 8971757"/>
                  <a:gd name="connsiteY138" fmla="*/ 1950244 h 4549776"/>
                  <a:gd name="connsiteX139" fmla="*/ 8427244 w 8971757"/>
                  <a:gd name="connsiteY139" fmla="*/ 1957388 h 4549776"/>
                  <a:gd name="connsiteX140" fmla="*/ 8477250 w 8971757"/>
                  <a:gd name="connsiteY140" fmla="*/ 1938338 h 4549776"/>
                  <a:gd name="connsiteX141" fmla="*/ 8515350 w 8971757"/>
                  <a:gd name="connsiteY141" fmla="*/ 1909763 h 4549776"/>
                  <a:gd name="connsiteX142" fmla="*/ 8548688 w 8971757"/>
                  <a:gd name="connsiteY142" fmla="*/ 1907382 h 4549776"/>
                  <a:gd name="connsiteX143" fmla="*/ 8584406 w 8971757"/>
                  <a:gd name="connsiteY143" fmla="*/ 1938338 h 4549776"/>
                  <a:gd name="connsiteX144" fmla="*/ 8643938 w 8971757"/>
                  <a:gd name="connsiteY144" fmla="*/ 1938338 h 4549776"/>
                  <a:gd name="connsiteX145" fmla="*/ 8682037 w 8971757"/>
                  <a:gd name="connsiteY145" fmla="*/ 1919288 h 4549776"/>
                  <a:gd name="connsiteX146" fmla="*/ 8765381 w 8971757"/>
                  <a:gd name="connsiteY146" fmla="*/ 1921670 h 4549776"/>
                  <a:gd name="connsiteX147" fmla="*/ 8796338 w 8971757"/>
                  <a:gd name="connsiteY147" fmla="*/ 1876426 h 4549776"/>
                  <a:gd name="connsiteX148" fmla="*/ 8801100 w 8971757"/>
                  <a:gd name="connsiteY148" fmla="*/ 1814513 h 4549776"/>
                  <a:gd name="connsiteX149" fmla="*/ 8751093 w 8971757"/>
                  <a:gd name="connsiteY149" fmla="*/ 1774032 h 4549776"/>
                  <a:gd name="connsiteX150" fmla="*/ 8734425 w 8971757"/>
                  <a:gd name="connsiteY150" fmla="*/ 1719263 h 4549776"/>
                  <a:gd name="connsiteX151" fmla="*/ 8643938 w 8971757"/>
                  <a:gd name="connsiteY151" fmla="*/ 1657351 h 4549776"/>
                  <a:gd name="connsiteX152" fmla="*/ 8603456 w 8971757"/>
                  <a:gd name="connsiteY152" fmla="*/ 1635919 h 4549776"/>
                  <a:gd name="connsiteX153" fmla="*/ 8565356 w 8971757"/>
                  <a:gd name="connsiteY153" fmla="*/ 1590676 h 4549776"/>
                  <a:gd name="connsiteX154" fmla="*/ 8534400 w 8971757"/>
                  <a:gd name="connsiteY154" fmla="*/ 1588294 h 4549776"/>
                  <a:gd name="connsiteX155" fmla="*/ 8517731 w 8971757"/>
                  <a:gd name="connsiteY155" fmla="*/ 1535907 h 4549776"/>
                  <a:gd name="connsiteX156" fmla="*/ 8477250 w 8971757"/>
                  <a:gd name="connsiteY156" fmla="*/ 1519238 h 4549776"/>
                  <a:gd name="connsiteX157" fmla="*/ 8477250 w 8971757"/>
                  <a:gd name="connsiteY157" fmla="*/ 1519238 h 4549776"/>
                  <a:gd name="connsiteX158" fmla="*/ 8436769 w 8971757"/>
                  <a:gd name="connsiteY158" fmla="*/ 1524001 h 4549776"/>
                  <a:gd name="connsiteX159" fmla="*/ 8351043 w 8971757"/>
                  <a:gd name="connsiteY159" fmla="*/ 1450182 h 4549776"/>
                  <a:gd name="connsiteX160" fmla="*/ 8170069 w 8971757"/>
                  <a:gd name="connsiteY160" fmla="*/ 1450181 h 4549776"/>
                  <a:gd name="connsiteX161" fmla="*/ 8117681 w 8971757"/>
                  <a:gd name="connsiteY161" fmla="*/ 1488282 h 4549776"/>
                  <a:gd name="connsiteX162" fmla="*/ 8067675 w 8971757"/>
                  <a:gd name="connsiteY162" fmla="*/ 1566863 h 4549776"/>
                  <a:gd name="connsiteX163" fmla="*/ 8084344 w 8971757"/>
                  <a:gd name="connsiteY163" fmla="*/ 1588294 h 4549776"/>
                  <a:gd name="connsiteX164" fmla="*/ 8039100 w 8971757"/>
                  <a:gd name="connsiteY164" fmla="*/ 1638300 h 4549776"/>
                  <a:gd name="connsiteX165" fmla="*/ 7889081 w 8971757"/>
                  <a:gd name="connsiteY165" fmla="*/ 1562100 h 4549776"/>
                  <a:gd name="connsiteX166" fmla="*/ 7798594 w 8971757"/>
                  <a:gd name="connsiteY166" fmla="*/ 1597819 h 4549776"/>
                  <a:gd name="connsiteX167" fmla="*/ 7724775 w 8971757"/>
                  <a:gd name="connsiteY167" fmla="*/ 1595438 h 4549776"/>
                  <a:gd name="connsiteX168" fmla="*/ 7667625 w 8971757"/>
                  <a:gd name="connsiteY168" fmla="*/ 1690688 h 4549776"/>
                  <a:gd name="connsiteX169" fmla="*/ 7529513 w 8971757"/>
                  <a:gd name="connsiteY169" fmla="*/ 1593057 h 4549776"/>
                  <a:gd name="connsiteX0" fmla="*/ 7529513 w 8956146"/>
                  <a:gd name="connsiteY0" fmla="*/ 1593057 h 4554539"/>
                  <a:gd name="connsiteX1" fmla="*/ 7522369 w 8956146"/>
                  <a:gd name="connsiteY1" fmla="*/ 1538288 h 4554539"/>
                  <a:gd name="connsiteX2" fmla="*/ 7589044 w 8956146"/>
                  <a:gd name="connsiteY2" fmla="*/ 1464469 h 4554539"/>
                  <a:gd name="connsiteX3" fmla="*/ 7572375 w 8956146"/>
                  <a:gd name="connsiteY3" fmla="*/ 1393032 h 4554539"/>
                  <a:gd name="connsiteX4" fmla="*/ 7586663 w 8956146"/>
                  <a:gd name="connsiteY4" fmla="*/ 1297782 h 4554539"/>
                  <a:gd name="connsiteX5" fmla="*/ 7624763 w 8956146"/>
                  <a:gd name="connsiteY5" fmla="*/ 1240632 h 4554539"/>
                  <a:gd name="connsiteX6" fmla="*/ 7605712 w 8956146"/>
                  <a:gd name="connsiteY6" fmla="*/ 1207294 h 4554539"/>
                  <a:gd name="connsiteX7" fmla="*/ 7703343 w 8956146"/>
                  <a:gd name="connsiteY7" fmla="*/ 807244 h 4554539"/>
                  <a:gd name="connsiteX8" fmla="*/ 7867725 w 8956146"/>
                  <a:gd name="connsiteY8" fmla="*/ 859257 h 4554539"/>
                  <a:gd name="connsiteX9" fmla="*/ 7929638 w 8956146"/>
                  <a:gd name="connsiteY9" fmla="*/ 837826 h 4554539"/>
                  <a:gd name="connsiteX10" fmla="*/ 8039175 w 8956146"/>
                  <a:gd name="connsiteY10" fmla="*/ 880688 h 4554539"/>
                  <a:gd name="connsiteX11" fmla="*/ 8205863 w 8956146"/>
                  <a:gd name="connsiteY11" fmla="*/ 668757 h 4554539"/>
                  <a:gd name="connsiteX12" fmla="*/ 8341594 w 8956146"/>
                  <a:gd name="connsiteY12" fmla="*/ 616369 h 4554539"/>
                  <a:gd name="connsiteX13" fmla="*/ 8339213 w 8956146"/>
                  <a:gd name="connsiteY13" fmla="*/ 485401 h 4554539"/>
                  <a:gd name="connsiteX14" fmla="*/ 8298731 w 8956146"/>
                  <a:gd name="connsiteY14" fmla="*/ 454444 h 4554539"/>
                  <a:gd name="connsiteX15" fmla="*/ 8308256 w 8956146"/>
                  <a:gd name="connsiteY15" fmla="*/ 371101 h 4554539"/>
                  <a:gd name="connsiteX16" fmla="*/ 8343975 w 8956146"/>
                  <a:gd name="connsiteY16" fmla="*/ 330619 h 4554539"/>
                  <a:gd name="connsiteX17" fmla="*/ 8324925 w 8956146"/>
                  <a:gd name="connsiteY17" fmla="*/ 256801 h 4554539"/>
                  <a:gd name="connsiteX18" fmla="*/ 8410575 w 8956146"/>
                  <a:gd name="connsiteY18" fmla="*/ 0 h 4554539"/>
                  <a:gd name="connsiteX19" fmla="*/ 8951912 w 8956146"/>
                  <a:gd name="connsiteY19" fmla="*/ 1 h 4554539"/>
                  <a:gd name="connsiteX20" fmla="*/ 8952707 w 8956146"/>
                  <a:gd name="connsiteY20" fmla="*/ 4554539 h 4554539"/>
                  <a:gd name="connsiteX21" fmla="*/ 2381 w 8956146"/>
                  <a:gd name="connsiteY21" fmla="*/ 4521199 h 4554539"/>
                  <a:gd name="connsiteX22" fmla="*/ 0 w 8956146"/>
                  <a:gd name="connsiteY22" fmla="*/ 819151 h 4554539"/>
                  <a:gd name="connsiteX23" fmla="*/ 76200 w 8956146"/>
                  <a:gd name="connsiteY23" fmla="*/ 802482 h 4554539"/>
                  <a:gd name="connsiteX24" fmla="*/ 119063 w 8956146"/>
                  <a:gd name="connsiteY24" fmla="*/ 831057 h 4554539"/>
                  <a:gd name="connsiteX25" fmla="*/ 215900 w 8956146"/>
                  <a:gd name="connsiteY25" fmla="*/ 822326 h 4554539"/>
                  <a:gd name="connsiteX26" fmla="*/ 261938 w 8956146"/>
                  <a:gd name="connsiteY26" fmla="*/ 850106 h 4554539"/>
                  <a:gd name="connsiteX27" fmla="*/ 228600 w 8956146"/>
                  <a:gd name="connsiteY27" fmla="*/ 878682 h 4554539"/>
                  <a:gd name="connsiteX28" fmla="*/ 233363 w 8956146"/>
                  <a:gd name="connsiteY28" fmla="*/ 921544 h 4554539"/>
                  <a:gd name="connsiteX29" fmla="*/ 200025 w 8956146"/>
                  <a:gd name="connsiteY29" fmla="*/ 926307 h 4554539"/>
                  <a:gd name="connsiteX30" fmla="*/ 204788 w 8956146"/>
                  <a:gd name="connsiteY30" fmla="*/ 950119 h 4554539"/>
                  <a:gd name="connsiteX31" fmla="*/ 261937 w 8956146"/>
                  <a:gd name="connsiteY31" fmla="*/ 1023938 h 4554539"/>
                  <a:gd name="connsiteX32" fmla="*/ 223838 w 8956146"/>
                  <a:gd name="connsiteY32" fmla="*/ 1071563 h 4554539"/>
                  <a:gd name="connsiteX33" fmla="*/ 278606 w 8956146"/>
                  <a:gd name="connsiteY33" fmla="*/ 1107282 h 4554539"/>
                  <a:gd name="connsiteX34" fmla="*/ 369094 w 8956146"/>
                  <a:gd name="connsiteY34" fmla="*/ 1195388 h 4554539"/>
                  <a:gd name="connsiteX35" fmla="*/ 371475 w 8956146"/>
                  <a:gd name="connsiteY35" fmla="*/ 1254919 h 4554539"/>
                  <a:gd name="connsiteX36" fmla="*/ 507206 w 8956146"/>
                  <a:gd name="connsiteY36" fmla="*/ 1388270 h 4554539"/>
                  <a:gd name="connsiteX37" fmla="*/ 561975 w 8956146"/>
                  <a:gd name="connsiteY37" fmla="*/ 1364457 h 4554539"/>
                  <a:gd name="connsiteX38" fmla="*/ 600075 w 8956146"/>
                  <a:gd name="connsiteY38" fmla="*/ 1390650 h 4554539"/>
                  <a:gd name="connsiteX39" fmla="*/ 614363 w 8956146"/>
                  <a:gd name="connsiteY39" fmla="*/ 1440656 h 4554539"/>
                  <a:gd name="connsiteX40" fmla="*/ 657225 w 8956146"/>
                  <a:gd name="connsiteY40" fmla="*/ 1476376 h 4554539"/>
                  <a:gd name="connsiteX41" fmla="*/ 697706 w 8956146"/>
                  <a:gd name="connsiteY41" fmla="*/ 1464469 h 4554539"/>
                  <a:gd name="connsiteX42" fmla="*/ 716756 w 8956146"/>
                  <a:gd name="connsiteY42" fmla="*/ 1521619 h 4554539"/>
                  <a:gd name="connsiteX43" fmla="*/ 764381 w 8956146"/>
                  <a:gd name="connsiteY43" fmla="*/ 1564482 h 4554539"/>
                  <a:gd name="connsiteX44" fmla="*/ 788194 w 8956146"/>
                  <a:gd name="connsiteY44" fmla="*/ 1666876 h 4554539"/>
                  <a:gd name="connsiteX45" fmla="*/ 785813 w 8956146"/>
                  <a:gd name="connsiteY45" fmla="*/ 1714501 h 4554539"/>
                  <a:gd name="connsiteX46" fmla="*/ 821531 w 8956146"/>
                  <a:gd name="connsiteY46" fmla="*/ 1814513 h 4554539"/>
                  <a:gd name="connsiteX47" fmla="*/ 866775 w 8956146"/>
                  <a:gd name="connsiteY47" fmla="*/ 1871663 h 4554539"/>
                  <a:gd name="connsiteX48" fmla="*/ 883443 w 8956146"/>
                  <a:gd name="connsiteY48" fmla="*/ 2028825 h 4554539"/>
                  <a:gd name="connsiteX49" fmla="*/ 850106 w 8956146"/>
                  <a:gd name="connsiteY49" fmla="*/ 2090738 h 4554539"/>
                  <a:gd name="connsiteX50" fmla="*/ 819150 w 8956146"/>
                  <a:gd name="connsiteY50" fmla="*/ 2166938 h 4554539"/>
                  <a:gd name="connsiteX51" fmla="*/ 833438 w 8956146"/>
                  <a:gd name="connsiteY51" fmla="*/ 2224088 h 4554539"/>
                  <a:gd name="connsiteX52" fmla="*/ 735806 w 8956146"/>
                  <a:gd name="connsiteY52" fmla="*/ 2331245 h 4554539"/>
                  <a:gd name="connsiteX53" fmla="*/ 692944 w 8956146"/>
                  <a:gd name="connsiteY53" fmla="*/ 2445544 h 4554539"/>
                  <a:gd name="connsiteX54" fmla="*/ 726281 w 8956146"/>
                  <a:gd name="connsiteY54" fmla="*/ 2486026 h 4554539"/>
                  <a:gd name="connsiteX55" fmla="*/ 709613 w 8956146"/>
                  <a:gd name="connsiteY55" fmla="*/ 2514601 h 4554539"/>
                  <a:gd name="connsiteX56" fmla="*/ 740569 w 8956146"/>
                  <a:gd name="connsiteY56" fmla="*/ 2571751 h 4554539"/>
                  <a:gd name="connsiteX57" fmla="*/ 769144 w 8956146"/>
                  <a:gd name="connsiteY57" fmla="*/ 2571751 h 4554539"/>
                  <a:gd name="connsiteX58" fmla="*/ 931069 w 8956146"/>
                  <a:gd name="connsiteY58" fmla="*/ 2674144 h 4554539"/>
                  <a:gd name="connsiteX59" fmla="*/ 1035844 w 8956146"/>
                  <a:gd name="connsiteY59" fmla="*/ 2671763 h 4554539"/>
                  <a:gd name="connsiteX60" fmla="*/ 1114425 w 8956146"/>
                  <a:gd name="connsiteY60" fmla="*/ 2726532 h 4554539"/>
                  <a:gd name="connsiteX61" fmla="*/ 1245393 w 8956146"/>
                  <a:gd name="connsiteY61" fmla="*/ 2728913 h 4554539"/>
                  <a:gd name="connsiteX62" fmla="*/ 1435893 w 8956146"/>
                  <a:gd name="connsiteY62" fmla="*/ 2797969 h 4554539"/>
                  <a:gd name="connsiteX63" fmla="*/ 1638300 w 8956146"/>
                  <a:gd name="connsiteY63" fmla="*/ 2947988 h 4554539"/>
                  <a:gd name="connsiteX64" fmla="*/ 1671637 w 8956146"/>
                  <a:gd name="connsiteY64" fmla="*/ 3014663 h 4554539"/>
                  <a:gd name="connsiteX65" fmla="*/ 1838325 w 8956146"/>
                  <a:gd name="connsiteY65" fmla="*/ 3140869 h 4554539"/>
                  <a:gd name="connsiteX66" fmla="*/ 1909763 w 8956146"/>
                  <a:gd name="connsiteY66" fmla="*/ 3136107 h 4554539"/>
                  <a:gd name="connsiteX67" fmla="*/ 1945482 w 8956146"/>
                  <a:gd name="connsiteY67" fmla="*/ 3159919 h 4554539"/>
                  <a:gd name="connsiteX68" fmla="*/ 1916906 w 8956146"/>
                  <a:gd name="connsiteY68" fmla="*/ 3200401 h 4554539"/>
                  <a:gd name="connsiteX69" fmla="*/ 1924050 w 8956146"/>
                  <a:gd name="connsiteY69" fmla="*/ 3252788 h 4554539"/>
                  <a:gd name="connsiteX70" fmla="*/ 1976438 w 8956146"/>
                  <a:gd name="connsiteY70" fmla="*/ 3278982 h 4554539"/>
                  <a:gd name="connsiteX71" fmla="*/ 2038350 w 8956146"/>
                  <a:gd name="connsiteY71" fmla="*/ 3502820 h 4554539"/>
                  <a:gd name="connsiteX72" fmla="*/ 2028825 w 8956146"/>
                  <a:gd name="connsiteY72" fmla="*/ 3567113 h 4554539"/>
                  <a:gd name="connsiteX73" fmla="*/ 2164556 w 8956146"/>
                  <a:gd name="connsiteY73" fmla="*/ 3733801 h 4554539"/>
                  <a:gd name="connsiteX74" fmla="*/ 2183606 w 8956146"/>
                  <a:gd name="connsiteY74" fmla="*/ 3783807 h 4554539"/>
                  <a:gd name="connsiteX75" fmla="*/ 2157413 w 8956146"/>
                  <a:gd name="connsiteY75" fmla="*/ 3802857 h 4554539"/>
                  <a:gd name="connsiteX76" fmla="*/ 2259806 w 8956146"/>
                  <a:gd name="connsiteY76" fmla="*/ 3812382 h 4554539"/>
                  <a:gd name="connsiteX77" fmla="*/ 2371725 w 8956146"/>
                  <a:gd name="connsiteY77" fmla="*/ 3800476 h 4554539"/>
                  <a:gd name="connsiteX78" fmla="*/ 2650331 w 8956146"/>
                  <a:gd name="connsiteY78" fmla="*/ 3883819 h 4554539"/>
                  <a:gd name="connsiteX79" fmla="*/ 3057525 w 8956146"/>
                  <a:gd name="connsiteY79" fmla="*/ 3964782 h 4554539"/>
                  <a:gd name="connsiteX80" fmla="*/ 3255169 w 8956146"/>
                  <a:gd name="connsiteY80" fmla="*/ 3933825 h 4554539"/>
                  <a:gd name="connsiteX81" fmla="*/ 3300413 w 8956146"/>
                  <a:gd name="connsiteY81" fmla="*/ 3945731 h 4554539"/>
                  <a:gd name="connsiteX82" fmla="*/ 3355181 w 8956146"/>
                  <a:gd name="connsiteY82" fmla="*/ 3921920 h 4554539"/>
                  <a:gd name="connsiteX83" fmla="*/ 3748087 w 8956146"/>
                  <a:gd name="connsiteY83" fmla="*/ 4012407 h 4554539"/>
                  <a:gd name="connsiteX84" fmla="*/ 3831432 w 8956146"/>
                  <a:gd name="connsiteY84" fmla="*/ 4110038 h 4554539"/>
                  <a:gd name="connsiteX85" fmla="*/ 3950494 w 8956146"/>
                  <a:gd name="connsiteY85" fmla="*/ 4181476 h 4554539"/>
                  <a:gd name="connsiteX86" fmla="*/ 4010025 w 8956146"/>
                  <a:gd name="connsiteY86" fmla="*/ 4164807 h 4554539"/>
                  <a:gd name="connsiteX87" fmla="*/ 4360068 w 8956146"/>
                  <a:gd name="connsiteY87" fmla="*/ 4338638 h 4554539"/>
                  <a:gd name="connsiteX88" fmla="*/ 4586288 w 8956146"/>
                  <a:gd name="connsiteY88" fmla="*/ 4310063 h 4554539"/>
                  <a:gd name="connsiteX89" fmla="*/ 4595813 w 8956146"/>
                  <a:gd name="connsiteY89" fmla="*/ 4388644 h 4554539"/>
                  <a:gd name="connsiteX90" fmla="*/ 4681538 w 8956146"/>
                  <a:gd name="connsiteY90" fmla="*/ 4383881 h 4554539"/>
                  <a:gd name="connsiteX91" fmla="*/ 4760119 w 8956146"/>
                  <a:gd name="connsiteY91" fmla="*/ 4414838 h 4554539"/>
                  <a:gd name="connsiteX92" fmla="*/ 4802981 w 8956146"/>
                  <a:gd name="connsiteY92" fmla="*/ 4355307 h 4554539"/>
                  <a:gd name="connsiteX93" fmla="*/ 5474494 w 8956146"/>
                  <a:gd name="connsiteY93" fmla="*/ 4036219 h 4554539"/>
                  <a:gd name="connsiteX94" fmla="*/ 5562600 w 8956146"/>
                  <a:gd name="connsiteY94" fmla="*/ 4064795 h 4554539"/>
                  <a:gd name="connsiteX95" fmla="*/ 5693569 w 8956146"/>
                  <a:gd name="connsiteY95" fmla="*/ 4036219 h 4554539"/>
                  <a:gd name="connsiteX96" fmla="*/ 5872162 w 8956146"/>
                  <a:gd name="connsiteY96" fmla="*/ 4052888 h 4554539"/>
                  <a:gd name="connsiteX97" fmla="*/ 5929313 w 8956146"/>
                  <a:gd name="connsiteY97" fmla="*/ 4026695 h 4554539"/>
                  <a:gd name="connsiteX98" fmla="*/ 6062662 w 8956146"/>
                  <a:gd name="connsiteY98" fmla="*/ 4024313 h 4554539"/>
                  <a:gd name="connsiteX99" fmla="*/ 6196012 w 8956146"/>
                  <a:gd name="connsiteY99" fmla="*/ 3926682 h 4554539"/>
                  <a:gd name="connsiteX100" fmla="*/ 6262687 w 8956146"/>
                  <a:gd name="connsiteY100" fmla="*/ 3919538 h 4554539"/>
                  <a:gd name="connsiteX101" fmla="*/ 6360319 w 8956146"/>
                  <a:gd name="connsiteY101" fmla="*/ 3845719 h 4554539"/>
                  <a:gd name="connsiteX102" fmla="*/ 6434138 w 8956146"/>
                  <a:gd name="connsiteY102" fmla="*/ 3776663 h 4554539"/>
                  <a:gd name="connsiteX103" fmla="*/ 6443663 w 8956146"/>
                  <a:gd name="connsiteY103" fmla="*/ 3714751 h 4554539"/>
                  <a:gd name="connsiteX104" fmla="*/ 6477000 w 8956146"/>
                  <a:gd name="connsiteY104" fmla="*/ 3645694 h 4554539"/>
                  <a:gd name="connsiteX105" fmla="*/ 6629400 w 8956146"/>
                  <a:gd name="connsiteY105" fmla="*/ 3538538 h 4554539"/>
                  <a:gd name="connsiteX106" fmla="*/ 6662738 w 8956146"/>
                  <a:gd name="connsiteY106" fmla="*/ 3543301 h 4554539"/>
                  <a:gd name="connsiteX107" fmla="*/ 6715125 w 8956146"/>
                  <a:gd name="connsiteY107" fmla="*/ 3464719 h 4554539"/>
                  <a:gd name="connsiteX108" fmla="*/ 6762750 w 8956146"/>
                  <a:gd name="connsiteY108" fmla="*/ 3426619 h 4554539"/>
                  <a:gd name="connsiteX109" fmla="*/ 6748463 w 8956146"/>
                  <a:gd name="connsiteY109" fmla="*/ 3357563 h 4554539"/>
                  <a:gd name="connsiteX110" fmla="*/ 6698456 w 8956146"/>
                  <a:gd name="connsiteY110" fmla="*/ 3326606 h 4554539"/>
                  <a:gd name="connsiteX111" fmla="*/ 6638925 w 8956146"/>
                  <a:gd name="connsiteY111" fmla="*/ 3271838 h 4554539"/>
                  <a:gd name="connsiteX112" fmla="*/ 6619875 w 8956146"/>
                  <a:gd name="connsiteY112" fmla="*/ 3214688 h 4554539"/>
                  <a:gd name="connsiteX113" fmla="*/ 6584156 w 8956146"/>
                  <a:gd name="connsiteY113" fmla="*/ 3181351 h 4554539"/>
                  <a:gd name="connsiteX114" fmla="*/ 6610350 w 8956146"/>
                  <a:gd name="connsiteY114" fmla="*/ 3128963 h 4554539"/>
                  <a:gd name="connsiteX115" fmla="*/ 6650831 w 8956146"/>
                  <a:gd name="connsiteY115" fmla="*/ 2950369 h 4554539"/>
                  <a:gd name="connsiteX116" fmla="*/ 6691313 w 8956146"/>
                  <a:gd name="connsiteY116" fmla="*/ 2883694 h 4554539"/>
                  <a:gd name="connsiteX117" fmla="*/ 6836569 w 8956146"/>
                  <a:gd name="connsiteY117" fmla="*/ 2867025 h 4554539"/>
                  <a:gd name="connsiteX118" fmla="*/ 6905625 w 8956146"/>
                  <a:gd name="connsiteY118" fmla="*/ 2924176 h 4554539"/>
                  <a:gd name="connsiteX119" fmla="*/ 6981825 w 8956146"/>
                  <a:gd name="connsiteY119" fmla="*/ 2947988 h 4554539"/>
                  <a:gd name="connsiteX120" fmla="*/ 7186612 w 8956146"/>
                  <a:gd name="connsiteY120" fmla="*/ 2952751 h 4554539"/>
                  <a:gd name="connsiteX121" fmla="*/ 7362825 w 8956146"/>
                  <a:gd name="connsiteY121" fmla="*/ 2814638 h 4554539"/>
                  <a:gd name="connsiteX122" fmla="*/ 7419975 w 8956146"/>
                  <a:gd name="connsiteY122" fmla="*/ 2724150 h 4554539"/>
                  <a:gd name="connsiteX123" fmla="*/ 7446169 w 8956146"/>
                  <a:gd name="connsiteY123" fmla="*/ 2640807 h 4554539"/>
                  <a:gd name="connsiteX124" fmla="*/ 7577137 w 8956146"/>
                  <a:gd name="connsiteY124" fmla="*/ 2640807 h 4554539"/>
                  <a:gd name="connsiteX125" fmla="*/ 7750969 w 8956146"/>
                  <a:gd name="connsiteY125" fmla="*/ 2583656 h 4554539"/>
                  <a:gd name="connsiteX126" fmla="*/ 7810500 w 8956146"/>
                  <a:gd name="connsiteY126" fmla="*/ 2471738 h 4554539"/>
                  <a:gd name="connsiteX127" fmla="*/ 7874794 w 8956146"/>
                  <a:gd name="connsiteY127" fmla="*/ 2436019 h 4554539"/>
                  <a:gd name="connsiteX128" fmla="*/ 7853363 w 8956146"/>
                  <a:gd name="connsiteY128" fmla="*/ 2390776 h 4554539"/>
                  <a:gd name="connsiteX129" fmla="*/ 7931944 w 8956146"/>
                  <a:gd name="connsiteY129" fmla="*/ 2221706 h 4554539"/>
                  <a:gd name="connsiteX130" fmla="*/ 7986713 w 8956146"/>
                  <a:gd name="connsiteY130" fmla="*/ 2162176 h 4554539"/>
                  <a:gd name="connsiteX131" fmla="*/ 8024813 w 8956146"/>
                  <a:gd name="connsiteY131" fmla="*/ 2157413 h 4554539"/>
                  <a:gd name="connsiteX132" fmla="*/ 8070056 w 8956146"/>
                  <a:gd name="connsiteY132" fmla="*/ 2162176 h 4554539"/>
                  <a:gd name="connsiteX133" fmla="*/ 8134350 w 8956146"/>
                  <a:gd name="connsiteY133" fmla="*/ 2128838 h 4554539"/>
                  <a:gd name="connsiteX134" fmla="*/ 8143875 w 8956146"/>
                  <a:gd name="connsiteY134" fmla="*/ 2064544 h 4554539"/>
                  <a:gd name="connsiteX135" fmla="*/ 8184355 w 8956146"/>
                  <a:gd name="connsiteY135" fmla="*/ 2028826 h 4554539"/>
                  <a:gd name="connsiteX136" fmla="*/ 8243888 w 8956146"/>
                  <a:gd name="connsiteY136" fmla="*/ 2069306 h 4554539"/>
                  <a:gd name="connsiteX137" fmla="*/ 8270082 w 8956146"/>
                  <a:gd name="connsiteY137" fmla="*/ 2019300 h 4554539"/>
                  <a:gd name="connsiteX138" fmla="*/ 8365331 w 8956146"/>
                  <a:gd name="connsiteY138" fmla="*/ 1950244 h 4554539"/>
                  <a:gd name="connsiteX139" fmla="*/ 8427244 w 8956146"/>
                  <a:gd name="connsiteY139" fmla="*/ 1957388 h 4554539"/>
                  <a:gd name="connsiteX140" fmla="*/ 8477250 w 8956146"/>
                  <a:gd name="connsiteY140" fmla="*/ 1938338 h 4554539"/>
                  <a:gd name="connsiteX141" fmla="*/ 8515350 w 8956146"/>
                  <a:gd name="connsiteY141" fmla="*/ 1909763 h 4554539"/>
                  <a:gd name="connsiteX142" fmla="*/ 8548688 w 8956146"/>
                  <a:gd name="connsiteY142" fmla="*/ 1907382 h 4554539"/>
                  <a:gd name="connsiteX143" fmla="*/ 8584406 w 8956146"/>
                  <a:gd name="connsiteY143" fmla="*/ 1938338 h 4554539"/>
                  <a:gd name="connsiteX144" fmla="*/ 8643938 w 8956146"/>
                  <a:gd name="connsiteY144" fmla="*/ 1938338 h 4554539"/>
                  <a:gd name="connsiteX145" fmla="*/ 8682037 w 8956146"/>
                  <a:gd name="connsiteY145" fmla="*/ 1919288 h 4554539"/>
                  <a:gd name="connsiteX146" fmla="*/ 8765381 w 8956146"/>
                  <a:gd name="connsiteY146" fmla="*/ 1921670 h 4554539"/>
                  <a:gd name="connsiteX147" fmla="*/ 8796338 w 8956146"/>
                  <a:gd name="connsiteY147" fmla="*/ 1876426 h 4554539"/>
                  <a:gd name="connsiteX148" fmla="*/ 8801100 w 8956146"/>
                  <a:gd name="connsiteY148" fmla="*/ 1814513 h 4554539"/>
                  <a:gd name="connsiteX149" fmla="*/ 8751093 w 8956146"/>
                  <a:gd name="connsiteY149" fmla="*/ 1774032 h 4554539"/>
                  <a:gd name="connsiteX150" fmla="*/ 8734425 w 8956146"/>
                  <a:gd name="connsiteY150" fmla="*/ 1719263 h 4554539"/>
                  <a:gd name="connsiteX151" fmla="*/ 8643938 w 8956146"/>
                  <a:gd name="connsiteY151" fmla="*/ 1657351 h 4554539"/>
                  <a:gd name="connsiteX152" fmla="*/ 8603456 w 8956146"/>
                  <a:gd name="connsiteY152" fmla="*/ 1635919 h 4554539"/>
                  <a:gd name="connsiteX153" fmla="*/ 8565356 w 8956146"/>
                  <a:gd name="connsiteY153" fmla="*/ 1590676 h 4554539"/>
                  <a:gd name="connsiteX154" fmla="*/ 8534400 w 8956146"/>
                  <a:gd name="connsiteY154" fmla="*/ 1588294 h 4554539"/>
                  <a:gd name="connsiteX155" fmla="*/ 8517731 w 8956146"/>
                  <a:gd name="connsiteY155" fmla="*/ 1535907 h 4554539"/>
                  <a:gd name="connsiteX156" fmla="*/ 8477250 w 8956146"/>
                  <a:gd name="connsiteY156" fmla="*/ 1519238 h 4554539"/>
                  <a:gd name="connsiteX157" fmla="*/ 8477250 w 8956146"/>
                  <a:gd name="connsiteY157" fmla="*/ 1519238 h 4554539"/>
                  <a:gd name="connsiteX158" fmla="*/ 8436769 w 8956146"/>
                  <a:gd name="connsiteY158" fmla="*/ 1524001 h 4554539"/>
                  <a:gd name="connsiteX159" fmla="*/ 8351043 w 8956146"/>
                  <a:gd name="connsiteY159" fmla="*/ 1450182 h 4554539"/>
                  <a:gd name="connsiteX160" fmla="*/ 8170069 w 8956146"/>
                  <a:gd name="connsiteY160" fmla="*/ 1450181 h 4554539"/>
                  <a:gd name="connsiteX161" fmla="*/ 8117681 w 8956146"/>
                  <a:gd name="connsiteY161" fmla="*/ 1488282 h 4554539"/>
                  <a:gd name="connsiteX162" fmla="*/ 8067675 w 8956146"/>
                  <a:gd name="connsiteY162" fmla="*/ 1566863 h 4554539"/>
                  <a:gd name="connsiteX163" fmla="*/ 8084344 w 8956146"/>
                  <a:gd name="connsiteY163" fmla="*/ 1588294 h 4554539"/>
                  <a:gd name="connsiteX164" fmla="*/ 8039100 w 8956146"/>
                  <a:gd name="connsiteY164" fmla="*/ 1638300 h 4554539"/>
                  <a:gd name="connsiteX165" fmla="*/ 7889081 w 8956146"/>
                  <a:gd name="connsiteY165" fmla="*/ 1562100 h 4554539"/>
                  <a:gd name="connsiteX166" fmla="*/ 7798594 w 8956146"/>
                  <a:gd name="connsiteY166" fmla="*/ 1597819 h 4554539"/>
                  <a:gd name="connsiteX167" fmla="*/ 7724775 w 8956146"/>
                  <a:gd name="connsiteY167" fmla="*/ 1595438 h 4554539"/>
                  <a:gd name="connsiteX168" fmla="*/ 7667625 w 8956146"/>
                  <a:gd name="connsiteY168" fmla="*/ 1690688 h 4554539"/>
                  <a:gd name="connsiteX169" fmla="*/ 7529513 w 8956146"/>
                  <a:gd name="connsiteY169" fmla="*/ 1593057 h 4554539"/>
                  <a:gd name="connsiteX0" fmla="*/ 7537451 w 8964084"/>
                  <a:gd name="connsiteY0" fmla="*/ 1593057 h 4554539"/>
                  <a:gd name="connsiteX1" fmla="*/ 7530307 w 8964084"/>
                  <a:gd name="connsiteY1" fmla="*/ 1538288 h 4554539"/>
                  <a:gd name="connsiteX2" fmla="*/ 7596982 w 8964084"/>
                  <a:gd name="connsiteY2" fmla="*/ 1464469 h 4554539"/>
                  <a:gd name="connsiteX3" fmla="*/ 7580313 w 8964084"/>
                  <a:gd name="connsiteY3" fmla="*/ 1393032 h 4554539"/>
                  <a:gd name="connsiteX4" fmla="*/ 7594601 w 8964084"/>
                  <a:gd name="connsiteY4" fmla="*/ 1297782 h 4554539"/>
                  <a:gd name="connsiteX5" fmla="*/ 7632701 w 8964084"/>
                  <a:gd name="connsiteY5" fmla="*/ 1240632 h 4554539"/>
                  <a:gd name="connsiteX6" fmla="*/ 7613650 w 8964084"/>
                  <a:gd name="connsiteY6" fmla="*/ 1207294 h 4554539"/>
                  <a:gd name="connsiteX7" fmla="*/ 7711281 w 8964084"/>
                  <a:gd name="connsiteY7" fmla="*/ 807244 h 4554539"/>
                  <a:gd name="connsiteX8" fmla="*/ 7875663 w 8964084"/>
                  <a:gd name="connsiteY8" fmla="*/ 859257 h 4554539"/>
                  <a:gd name="connsiteX9" fmla="*/ 7937576 w 8964084"/>
                  <a:gd name="connsiteY9" fmla="*/ 837826 h 4554539"/>
                  <a:gd name="connsiteX10" fmla="*/ 8047113 w 8964084"/>
                  <a:gd name="connsiteY10" fmla="*/ 880688 h 4554539"/>
                  <a:gd name="connsiteX11" fmla="*/ 8213801 w 8964084"/>
                  <a:gd name="connsiteY11" fmla="*/ 668757 h 4554539"/>
                  <a:gd name="connsiteX12" fmla="*/ 8349532 w 8964084"/>
                  <a:gd name="connsiteY12" fmla="*/ 616369 h 4554539"/>
                  <a:gd name="connsiteX13" fmla="*/ 8347151 w 8964084"/>
                  <a:gd name="connsiteY13" fmla="*/ 485401 h 4554539"/>
                  <a:gd name="connsiteX14" fmla="*/ 8306669 w 8964084"/>
                  <a:gd name="connsiteY14" fmla="*/ 454444 h 4554539"/>
                  <a:gd name="connsiteX15" fmla="*/ 8316194 w 8964084"/>
                  <a:gd name="connsiteY15" fmla="*/ 371101 h 4554539"/>
                  <a:gd name="connsiteX16" fmla="*/ 8351913 w 8964084"/>
                  <a:gd name="connsiteY16" fmla="*/ 330619 h 4554539"/>
                  <a:gd name="connsiteX17" fmla="*/ 8332863 w 8964084"/>
                  <a:gd name="connsiteY17" fmla="*/ 256801 h 4554539"/>
                  <a:gd name="connsiteX18" fmla="*/ 8418513 w 8964084"/>
                  <a:gd name="connsiteY18" fmla="*/ 0 h 4554539"/>
                  <a:gd name="connsiteX19" fmla="*/ 8959850 w 8964084"/>
                  <a:gd name="connsiteY19" fmla="*/ 1 h 4554539"/>
                  <a:gd name="connsiteX20" fmla="*/ 8960645 w 8964084"/>
                  <a:gd name="connsiteY20" fmla="*/ 4554539 h 4554539"/>
                  <a:gd name="connsiteX21" fmla="*/ 794 w 8964084"/>
                  <a:gd name="connsiteY21" fmla="*/ 4552155 h 4554539"/>
                  <a:gd name="connsiteX22" fmla="*/ 7938 w 8964084"/>
                  <a:gd name="connsiteY22" fmla="*/ 819151 h 4554539"/>
                  <a:gd name="connsiteX23" fmla="*/ 84138 w 8964084"/>
                  <a:gd name="connsiteY23" fmla="*/ 802482 h 4554539"/>
                  <a:gd name="connsiteX24" fmla="*/ 127001 w 8964084"/>
                  <a:gd name="connsiteY24" fmla="*/ 831057 h 4554539"/>
                  <a:gd name="connsiteX25" fmla="*/ 223838 w 8964084"/>
                  <a:gd name="connsiteY25" fmla="*/ 822326 h 4554539"/>
                  <a:gd name="connsiteX26" fmla="*/ 269876 w 8964084"/>
                  <a:gd name="connsiteY26" fmla="*/ 850106 h 4554539"/>
                  <a:gd name="connsiteX27" fmla="*/ 236538 w 8964084"/>
                  <a:gd name="connsiteY27" fmla="*/ 878682 h 4554539"/>
                  <a:gd name="connsiteX28" fmla="*/ 241301 w 8964084"/>
                  <a:gd name="connsiteY28" fmla="*/ 921544 h 4554539"/>
                  <a:gd name="connsiteX29" fmla="*/ 207963 w 8964084"/>
                  <a:gd name="connsiteY29" fmla="*/ 926307 h 4554539"/>
                  <a:gd name="connsiteX30" fmla="*/ 212726 w 8964084"/>
                  <a:gd name="connsiteY30" fmla="*/ 950119 h 4554539"/>
                  <a:gd name="connsiteX31" fmla="*/ 269875 w 8964084"/>
                  <a:gd name="connsiteY31" fmla="*/ 1023938 h 4554539"/>
                  <a:gd name="connsiteX32" fmla="*/ 231776 w 8964084"/>
                  <a:gd name="connsiteY32" fmla="*/ 1071563 h 4554539"/>
                  <a:gd name="connsiteX33" fmla="*/ 286544 w 8964084"/>
                  <a:gd name="connsiteY33" fmla="*/ 1107282 h 4554539"/>
                  <a:gd name="connsiteX34" fmla="*/ 377032 w 8964084"/>
                  <a:gd name="connsiteY34" fmla="*/ 1195388 h 4554539"/>
                  <a:gd name="connsiteX35" fmla="*/ 379413 w 8964084"/>
                  <a:gd name="connsiteY35" fmla="*/ 1254919 h 4554539"/>
                  <a:gd name="connsiteX36" fmla="*/ 515144 w 8964084"/>
                  <a:gd name="connsiteY36" fmla="*/ 1388270 h 4554539"/>
                  <a:gd name="connsiteX37" fmla="*/ 569913 w 8964084"/>
                  <a:gd name="connsiteY37" fmla="*/ 1364457 h 4554539"/>
                  <a:gd name="connsiteX38" fmla="*/ 608013 w 8964084"/>
                  <a:gd name="connsiteY38" fmla="*/ 1390650 h 4554539"/>
                  <a:gd name="connsiteX39" fmla="*/ 622301 w 8964084"/>
                  <a:gd name="connsiteY39" fmla="*/ 1440656 h 4554539"/>
                  <a:gd name="connsiteX40" fmla="*/ 665163 w 8964084"/>
                  <a:gd name="connsiteY40" fmla="*/ 1476376 h 4554539"/>
                  <a:gd name="connsiteX41" fmla="*/ 705644 w 8964084"/>
                  <a:gd name="connsiteY41" fmla="*/ 1464469 h 4554539"/>
                  <a:gd name="connsiteX42" fmla="*/ 724694 w 8964084"/>
                  <a:gd name="connsiteY42" fmla="*/ 1521619 h 4554539"/>
                  <a:gd name="connsiteX43" fmla="*/ 772319 w 8964084"/>
                  <a:gd name="connsiteY43" fmla="*/ 1564482 h 4554539"/>
                  <a:gd name="connsiteX44" fmla="*/ 796132 w 8964084"/>
                  <a:gd name="connsiteY44" fmla="*/ 1666876 h 4554539"/>
                  <a:gd name="connsiteX45" fmla="*/ 793751 w 8964084"/>
                  <a:gd name="connsiteY45" fmla="*/ 1714501 h 4554539"/>
                  <a:gd name="connsiteX46" fmla="*/ 829469 w 8964084"/>
                  <a:gd name="connsiteY46" fmla="*/ 1814513 h 4554539"/>
                  <a:gd name="connsiteX47" fmla="*/ 874713 w 8964084"/>
                  <a:gd name="connsiteY47" fmla="*/ 1871663 h 4554539"/>
                  <a:gd name="connsiteX48" fmla="*/ 891381 w 8964084"/>
                  <a:gd name="connsiteY48" fmla="*/ 2028825 h 4554539"/>
                  <a:gd name="connsiteX49" fmla="*/ 858044 w 8964084"/>
                  <a:gd name="connsiteY49" fmla="*/ 2090738 h 4554539"/>
                  <a:gd name="connsiteX50" fmla="*/ 827088 w 8964084"/>
                  <a:gd name="connsiteY50" fmla="*/ 2166938 h 4554539"/>
                  <a:gd name="connsiteX51" fmla="*/ 841376 w 8964084"/>
                  <a:gd name="connsiteY51" fmla="*/ 2224088 h 4554539"/>
                  <a:gd name="connsiteX52" fmla="*/ 743744 w 8964084"/>
                  <a:gd name="connsiteY52" fmla="*/ 2331245 h 4554539"/>
                  <a:gd name="connsiteX53" fmla="*/ 700882 w 8964084"/>
                  <a:gd name="connsiteY53" fmla="*/ 2445544 h 4554539"/>
                  <a:gd name="connsiteX54" fmla="*/ 734219 w 8964084"/>
                  <a:gd name="connsiteY54" fmla="*/ 2486026 h 4554539"/>
                  <a:gd name="connsiteX55" fmla="*/ 717551 w 8964084"/>
                  <a:gd name="connsiteY55" fmla="*/ 2514601 h 4554539"/>
                  <a:gd name="connsiteX56" fmla="*/ 748507 w 8964084"/>
                  <a:gd name="connsiteY56" fmla="*/ 2571751 h 4554539"/>
                  <a:gd name="connsiteX57" fmla="*/ 777082 w 8964084"/>
                  <a:gd name="connsiteY57" fmla="*/ 2571751 h 4554539"/>
                  <a:gd name="connsiteX58" fmla="*/ 939007 w 8964084"/>
                  <a:gd name="connsiteY58" fmla="*/ 2674144 h 4554539"/>
                  <a:gd name="connsiteX59" fmla="*/ 1043782 w 8964084"/>
                  <a:gd name="connsiteY59" fmla="*/ 2671763 h 4554539"/>
                  <a:gd name="connsiteX60" fmla="*/ 1122363 w 8964084"/>
                  <a:gd name="connsiteY60" fmla="*/ 2726532 h 4554539"/>
                  <a:gd name="connsiteX61" fmla="*/ 1253331 w 8964084"/>
                  <a:gd name="connsiteY61" fmla="*/ 2728913 h 4554539"/>
                  <a:gd name="connsiteX62" fmla="*/ 1443831 w 8964084"/>
                  <a:gd name="connsiteY62" fmla="*/ 2797969 h 4554539"/>
                  <a:gd name="connsiteX63" fmla="*/ 1646238 w 8964084"/>
                  <a:gd name="connsiteY63" fmla="*/ 2947988 h 4554539"/>
                  <a:gd name="connsiteX64" fmla="*/ 1679575 w 8964084"/>
                  <a:gd name="connsiteY64" fmla="*/ 3014663 h 4554539"/>
                  <a:gd name="connsiteX65" fmla="*/ 1846263 w 8964084"/>
                  <a:gd name="connsiteY65" fmla="*/ 3140869 h 4554539"/>
                  <a:gd name="connsiteX66" fmla="*/ 1917701 w 8964084"/>
                  <a:gd name="connsiteY66" fmla="*/ 3136107 h 4554539"/>
                  <a:gd name="connsiteX67" fmla="*/ 1953420 w 8964084"/>
                  <a:gd name="connsiteY67" fmla="*/ 3159919 h 4554539"/>
                  <a:gd name="connsiteX68" fmla="*/ 1924844 w 8964084"/>
                  <a:gd name="connsiteY68" fmla="*/ 3200401 h 4554539"/>
                  <a:gd name="connsiteX69" fmla="*/ 1931988 w 8964084"/>
                  <a:gd name="connsiteY69" fmla="*/ 3252788 h 4554539"/>
                  <a:gd name="connsiteX70" fmla="*/ 1984376 w 8964084"/>
                  <a:gd name="connsiteY70" fmla="*/ 3278982 h 4554539"/>
                  <a:gd name="connsiteX71" fmla="*/ 2046288 w 8964084"/>
                  <a:gd name="connsiteY71" fmla="*/ 3502820 h 4554539"/>
                  <a:gd name="connsiteX72" fmla="*/ 2036763 w 8964084"/>
                  <a:gd name="connsiteY72" fmla="*/ 3567113 h 4554539"/>
                  <a:gd name="connsiteX73" fmla="*/ 2172494 w 8964084"/>
                  <a:gd name="connsiteY73" fmla="*/ 3733801 h 4554539"/>
                  <a:gd name="connsiteX74" fmla="*/ 2191544 w 8964084"/>
                  <a:gd name="connsiteY74" fmla="*/ 3783807 h 4554539"/>
                  <a:gd name="connsiteX75" fmla="*/ 2165351 w 8964084"/>
                  <a:gd name="connsiteY75" fmla="*/ 3802857 h 4554539"/>
                  <a:gd name="connsiteX76" fmla="*/ 2267744 w 8964084"/>
                  <a:gd name="connsiteY76" fmla="*/ 3812382 h 4554539"/>
                  <a:gd name="connsiteX77" fmla="*/ 2379663 w 8964084"/>
                  <a:gd name="connsiteY77" fmla="*/ 3800476 h 4554539"/>
                  <a:gd name="connsiteX78" fmla="*/ 2658269 w 8964084"/>
                  <a:gd name="connsiteY78" fmla="*/ 3883819 h 4554539"/>
                  <a:gd name="connsiteX79" fmla="*/ 3065463 w 8964084"/>
                  <a:gd name="connsiteY79" fmla="*/ 3964782 h 4554539"/>
                  <a:gd name="connsiteX80" fmla="*/ 3263107 w 8964084"/>
                  <a:gd name="connsiteY80" fmla="*/ 3933825 h 4554539"/>
                  <a:gd name="connsiteX81" fmla="*/ 3308351 w 8964084"/>
                  <a:gd name="connsiteY81" fmla="*/ 3945731 h 4554539"/>
                  <a:gd name="connsiteX82" fmla="*/ 3363119 w 8964084"/>
                  <a:gd name="connsiteY82" fmla="*/ 3921920 h 4554539"/>
                  <a:gd name="connsiteX83" fmla="*/ 3756025 w 8964084"/>
                  <a:gd name="connsiteY83" fmla="*/ 4012407 h 4554539"/>
                  <a:gd name="connsiteX84" fmla="*/ 3839370 w 8964084"/>
                  <a:gd name="connsiteY84" fmla="*/ 4110038 h 4554539"/>
                  <a:gd name="connsiteX85" fmla="*/ 3958432 w 8964084"/>
                  <a:gd name="connsiteY85" fmla="*/ 4181476 h 4554539"/>
                  <a:gd name="connsiteX86" fmla="*/ 4017963 w 8964084"/>
                  <a:gd name="connsiteY86" fmla="*/ 4164807 h 4554539"/>
                  <a:gd name="connsiteX87" fmla="*/ 4368006 w 8964084"/>
                  <a:gd name="connsiteY87" fmla="*/ 4338638 h 4554539"/>
                  <a:gd name="connsiteX88" fmla="*/ 4594226 w 8964084"/>
                  <a:gd name="connsiteY88" fmla="*/ 4310063 h 4554539"/>
                  <a:gd name="connsiteX89" fmla="*/ 4603751 w 8964084"/>
                  <a:gd name="connsiteY89" fmla="*/ 4388644 h 4554539"/>
                  <a:gd name="connsiteX90" fmla="*/ 4689476 w 8964084"/>
                  <a:gd name="connsiteY90" fmla="*/ 4383881 h 4554539"/>
                  <a:gd name="connsiteX91" fmla="*/ 4768057 w 8964084"/>
                  <a:gd name="connsiteY91" fmla="*/ 4414838 h 4554539"/>
                  <a:gd name="connsiteX92" fmla="*/ 4810919 w 8964084"/>
                  <a:gd name="connsiteY92" fmla="*/ 4355307 h 4554539"/>
                  <a:gd name="connsiteX93" fmla="*/ 5482432 w 8964084"/>
                  <a:gd name="connsiteY93" fmla="*/ 4036219 h 4554539"/>
                  <a:gd name="connsiteX94" fmla="*/ 5570538 w 8964084"/>
                  <a:gd name="connsiteY94" fmla="*/ 4064795 h 4554539"/>
                  <a:gd name="connsiteX95" fmla="*/ 5701507 w 8964084"/>
                  <a:gd name="connsiteY95" fmla="*/ 4036219 h 4554539"/>
                  <a:gd name="connsiteX96" fmla="*/ 5880100 w 8964084"/>
                  <a:gd name="connsiteY96" fmla="*/ 4052888 h 4554539"/>
                  <a:gd name="connsiteX97" fmla="*/ 5937251 w 8964084"/>
                  <a:gd name="connsiteY97" fmla="*/ 4026695 h 4554539"/>
                  <a:gd name="connsiteX98" fmla="*/ 6070600 w 8964084"/>
                  <a:gd name="connsiteY98" fmla="*/ 4024313 h 4554539"/>
                  <a:gd name="connsiteX99" fmla="*/ 6203950 w 8964084"/>
                  <a:gd name="connsiteY99" fmla="*/ 3926682 h 4554539"/>
                  <a:gd name="connsiteX100" fmla="*/ 6270625 w 8964084"/>
                  <a:gd name="connsiteY100" fmla="*/ 3919538 h 4554539"/>
                  <a:gd name="connsiteX101" fmla="*/ 6368257 w 8964084"/>
                  <a:gd name="connsiteY101" fmla="*/ 3845719 h 4554539"/>
                  <a:gd name="connsiteX102" fmla="*/ 6442076 w 8964084"/>
                  <a:gd name="connsiteY102" fmla="*/ 3776663 h 4554539"/>
                  <a:gd name="connsiteX103" fmla="*/ 6451601 w 8964084"/>
                  <a:gd name="connsiteY103" fmla="*/ 3714751 h 4554539"/>
                  <a:gd name="connsiteX104" fmla="*/ 6484938 w 8964084"/>
                  <a:gd name="connsiteY104" fmla="*/ 3645694 h 4554539"/>
                  <a:gd name="connsiteX105" fmla="*/ 6637338 w 8964084"/>
                  <a:gd name="connsiteY105" fmla="*/ 3538538 h 4554539"/>
                  <a:gd name="connsiteX106" fmla="*/ 6670676 w 8964084"/>
                  <a:gd name="connsiteY106" fmla="*/ 3543301 h 4554539"/>
                  <a:gd name="connsiteX107" fmla="*/ 6723063 w 8964084"/>
                  <a:gd name="connsiteY107" fmla="*/ 3464719 h 4554539"/>
                  <a:gd name="connsiteX108" fmla="*/ 6770688 w 8964084"/>
                  <a:gd name="connsiteY108" fmla="*/ 3426619 h 4554539"/>
                  <a:gd name="connsiteX109" fmla="*/ 6756401 w 8964084"/>
                  <a:gd name="connsiteY109" fmla="*/ 3357563 h 4554539"/>
                  <a:gd name="connsiteX110" fmla="*/ 6706394 w 8964084"/>
                  <a:gd name="connsiteY110" fmla="*/ 3326606 h 4554539"/>
                  <a:gd name="connsiteX111" fmla="*/ 6646863 w 8964084"/>
                  <a:gd name="connsiteY111" fmla="*/ 3271838 h 4554539"/>
                  <a:gd name="connsiteX112" fmla="*/ 6627813 w 8964084"/>
                  <a:gd name="connsiteY112" fmla="*/ 3214688 h 4554539"/>
                  <a:gd name="connsiteX113" fmla="*/ 6592094 w 8964084"/>
                  <a:gd name="connsiteY113" fmla="*/ 3181351 h 4554539"/>
                  <a:gd name="connsiteX114" fmla="*/ 6618288 w 8964084"/>
                  <a:gd name="connsiteY114" fmla="*/ 3128963 h 4554539"/>
                  <a:gd name="connsiteX115" fmla="*/ 6658769 w 8964084"/>
                  <a:gd name="connsiteY115" fmla="*/ 2950369 h 4554539"/>
                  <a:gd name="connsiteX116" fmla="*/ 6699251 w 8964084"/>
                  <a:gd name="connsiteY116" fmla="*/ 2883694 h 4554539"/>
                  <a:gd name="connsiteX117" fmla="*/ 6844507 w 8964084"/>
                  <a:gd name="connsiteY117" fmla="*/ 2867025 h 4554539"/>
                  <a:gd name="connsiteX118" fmla="*/ 6913563 w 8964084"/>
                  <a:gd name="connsiteY118" fmla="*/ 2924176 h 4554539"/>
                  <a:gd name="connsiteX119" fmla="*/ 6989763 w 8964084"/>
                  <a:gd name="connsiteY119" fmla="*/ 2947988 h 4554539"/>
                  <a:gd name="connsiteX120" fmla="*/ 7194550 w 8964084"/>
                  <a:gd name="connsiteY120" fmla="*/ 2952751 h 4554539"/>
                  <a:gd name="connsiteX121" fmla="*/ 7370763 w 8964084"/>
                  <a:gd name="connsiteY121" fmla="*/ 2814638 h 4554539"/>
                  <a:gd name="connsiteX122" fmla="*/ 7427913 w 8964084"/>
                  <a:gd name="connsiteY122" fmla="*/ 2724150 h 4554539"/>
                  <a:gd name="connsiteX123" fmla="*/ 7454107 w 8964084"/>
                  <a:gd name="connsiteY123" fmla="*/ 2640807 h 4554539"/>
                  <a:gd name="connsiteX124" fmla="*/ 7585075 w 8964084"/>
                  <a:gd name="connsiteY124" fmla="*/ 2640807 h 4554539"/>
                  <a:gd name="connsiteX125" fmla="*/ 7758907 w 8964084"/>
                  <a:gd name="connsiteY125" fmla="*/ 2583656 h 4554539"/>
                  <a:gd name="connsiteX126" fmla="*/ 7818438 w 8964084"/>
                  <a:gd name="connsiteY126" fmla="*/ 2471738 h 4554539"/>
                  <a:gd name="connsiteX127" fmla="*/ 7882732 w 8964084"/>
                  <a:gd name="connsiteY127" fmla="*/ 2436019 h 4554539"/>
                  <a:gd name="connsiteX128" fmla="*/ 7861301 w 8964084"/>
                  <a:gd name="connsiteY128" fmla="*/ 2390776 h 4554539"/>
                  <a:gd name="connsiteX129" fmla="*/ 7939882 w 8964084"/>
                  <a:gd name="connsiteY129" fmla="*/ 2221706 h 4554539"/>
                  <a:gd name="connsiteX130" fmla="*/ 7994651 w 8964084"/>
                  <a:gd name="connsiteY130" fmla="*/ 2162176 h 4554539"/>
                  <a:gd name="connsiteX131" fmla="*/ 8032751 w 8964084"/>
                  <a:gd name="connsiteY131" fmla="*/ 2157413 h 4554539"/>
                  <a:gd name="connsiteX132" fmla="*/ 8077994 w 8964084"/>
                  <a:gd name="connsiteY132" fmla="*/ 2162176 h 4554539"/>
                  <a:gd name="connsiteX133" fmla="*/ 8142288 w 8964084"/>
                  <a:gd name="connsiteY133" fmla="*/ 2128838 h 4554539"/>
                  <a:gd name="connsiteX134" fmla="*/ 8151813 w 8964084"/>
                  <a:gd name="connsiteY134" fmla="*/ 2064544 h 4554539"/>
                  <a:gd name="connsiteX135" fmla="*/ 8192293 w 8964084"/>
                  <a:gd name="connsiteY135" fmla="*/ 2028826 h 4554539"/>
                  <a:gd name="connsiteX136" fmla="*/ 8251826 w 8964084"/>
                  <a:gd name="connsiteY136" fmla="*/ 2069306 h 4554539"/>
                  <a:gd name="connsiteX137" fmla="*/ 8278020 w 8964084"/>
                  <a:gd name="connsiteY137" fmla="*/ 2019300 h 4554539"/>
                  <a:gd name="connsiteX138" fmla="*/ 8373269 w 8964084"/>
                  <a:gd name="connsiteY138" fmla="*/ 1950244 h 4554539"/>
                  <a:gd name="connsiteX139" fmla="*/ 8435182 w 8964084"/>
                  <a:gd name="connsiteY139" fmla="*/ 1957388 h 4554539"/>
                  <a:gd name="connsiteX140" fmla="*/ 8485188 w 8964084"/>
                  <a:gd name="connsiteY140" fmla="*/ 1938338 h 4554539"/>
                  <a:gd name="connsiteX141" fmla="*/ 8523288 w 8964084"/>
                  <a:gd name="connsiteY141" fmla="*/ 1909763 h 4554539"/>
                  <a:gd name="connsiteX142" fmla="*/ 8556626 w 8964084"/>
                  <a:gd name="connsiteY142" fmla="*/ 1907382 h 4554539"/>
                  <a:gd name="connsiteX143" fmla="*/ 8592344 w 8964084"/>
                  <a:gd name="connsiteY143" fmla="*/ 1938338 h 4554539"/>
                  <a:gd name="connsiteX144" fmla="*/ 8651876 w 8964084"/>
                  <a:gd name="connsiteY144" fmla="*/ 1938338 h 4554539"/>
                  <a:gd name="connsiteX145" fmla="*/ 8689975 w 8964084"/>
                  <a:gd name="connsiteY145" fmla="*/ 1919288 h 4554539"/>
                  <a:gd name="connsiteX146" fmla="*/ 8773319 w 8964084"/>
                  <a:gd name="connsiteY146" fmla="*/ 1921670 h 4554539"/>
                  <a:gd name="connsiteX147" fmla="*/ 8804276 w 8964084"/>
                  <a:gd name="connsiteY147" fmla="*/ 1876426 h 4554539"/>
                  <a:gd name="connsiteX148" fmla="*/ 8809038 w 8964084"/>
                  <a:gd name="connsiteY148" fmla="*/ 1814513 h 4554539"/>
                  <a:gd name="connsiteX149" fmla="*/ 8759031 w 8964084"/>
                  <a:gd name="connsiteY149" fmla="*/ 1774032 h 4554539"/>
                  <a:gd name="connsiteX150" fmla="*/ 8742363 w 8964084"/>
                  <a:gd name="connsiteY150" fmla="*/ 1719263 h 4554539"/>
                  <a:gd name="connsiteX151" fmla="*/ 8651876 w 8964084"/>
                  <a:gd name="connsiteY151" fmla="*/ 1657351 h 4554539"/>
                  <a:gd name="connsiteX152" fmla="*/ 8611394 w 8964084"/>
                  <a:gd name="connsiteY152" fmla="*/ 1635919 h 4554539"/>
                  <a:gd name="connsiteX153" fmla="*/ 8573294 w 8964084"/>
                  <a:gd name="connsiteY153" fmla="*/ 1590676 h 4554539"/>
                  <a:gd name="connsiteX154" fmla="*/ 8542338 w 8964084"/>
                  <a:gd name="connsiteY154" fmla="*/ 1588294 h 4554539"/>
                  <a:gd name="connsiteX155" fmla="*/ 8525669 w 8964084"/>
                  <a:gd name="connsiteY155" fmla="*/ 1535907 h 4554539"/>
                  <a:gd name="connsiteX156" fmla="*/ 8485188 w 8964084"/>
                  <a:gd name="connsiteY156" fmla="*/ 1519238 h 4554539"/>
                  <a:gd name="connsiteX157" fmla="*/ 8485188 w 8964084"/>
                  <a:gd name="connsiteY157" fmla="*/ 1519238 h 4554539"/>
                  <a:gd name="connsiteX158" fmla="*/ 8444707 w 8964084"/>
                  <a:gd name="connsiteY158" fmla="*/ 1524001 h 4554539"/>
                  <a:gd name="connsiteX159" fmla="*/ 8358981 w 8964084"/>
                  <a:gd name="connsiteY159" fmla="*/ 1450182 h 4554539"/>
                  <a:gd name="connsiteX160" fmla="*/ 8178007 w 8964084"/>
                  <a:gd name="connsiteY160" fmla="*/ 1450181 h 4554539"/>
                  <a:gd name="connsiteX161" fmla="*/ 8125619 w 8964084"/>
                  <a:gd name="connsiteY161" fmla="*/ 1488282 h 4554539"/>
                  <a:gd name="connsiteX162" fmla="*/ 8075613 w 8964084"/>
                  <a:gd name="connsiteY162" fmla="*/ 1566863 h 4554539"/>
                  <a:gd name="connsiteX163" fmla="*/ 8092282 w 8964084"/>
                  <a:gd name="connsiteY163" fmla="*/ 1588294 h 4554539"/>
                  <a:gd name="connsiteX164" fmla="*/ 8047038 w 8964084"/>
                  <a:gd name="connsiteY164" fmla="*/ 1638300 h 4554539"/>
                  <a:gd name="connsiteX165" fmla="*/ 7897019 w 8964084"/>
                  <a:gd name="connsiteY165" fmla="*/ 1562100 h 4554539"/>
                  <a:gd name="connsiteX166" fmla="*/ 7806532 w 8964084"/>
                  <a:gd name="connsiteY166" fmla="*/ 1597819 h 4554539"/>
                  <a:gd name="connsiteX167" fmla="*/ 7732713 w 8964084"/>
                  <a:gd name="connsiteY167" fmla="*/ 1595438 h 4554539"/>
                  <a:gd name="connsiteX168" fmla="*/ 7675563 w 8964084"/>
                  <a:gd name="connsiteY168" fmla="*/ 1690688 h 4554539"/>
                  <a:gd name="connsiteX169" fmla="*/ 7537451 w 8964084"/>
                  <a:gd name="connsiteY169" fmla="*/ 1593057 h 45545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</a:cxnLst>
                <a:rect l="l" t="t" r="r" b="b"/>
                <a:pathLst>
                  <a:path w="8964084" h="4554539">
                    <a:moveTo>
                      <a:pt x="7537451" y="1593057"/>
                    </a:moveTo>
                    <a:lnTo>
                      <a:pt x="7530307" y="1538288"/>
                    </a:lnTo>
                    <a:lnTo>
                      <a:pt x="7596982" y="1464469"/>
                    </a:lnTo>
                    <a:lnTo>
                      <a:pt x="7580313" y="1393032"/>
                    </a:lnTo>
                    <a:lnTo>
                      <a:pt x="7594601" y="1297782"/>
                    </a:lnTo>
                    <a:lnTo>
                      <a:pt x="7632701" y="1240632"/>
                    </a:lnTo>
                    <a:lnTo>
                      <a:pt x="7613650" y="1207294"/>
                    </a:lnTo>
                    <a:lnTo>
                      <a:pt x="7711281" y="807244"/>
                    </a:lnTo>
                    <a:lnTo>
                      <a:pt x="7875663" y="859257"/>
                    </a:lnTo>
                    <a:lnTo>
                      <a:pt x="7937576" y="837826"/>
                    </a:lnTo>
                    <a:lnTo>
                      <a:pt x="8047113" y="880688"/>
                    </a:lnTo>
                    <a:lnTo>
                      <a:pt x="8213801" y="668757"/>
                    </a:lnTo>
                    <a:lnTo>
                      <a:pt x="8349532" y="616369"/>
                    </a:lnTo>
                    <a:cubicBezTo>
                      <a:pt x="8348738" y="572713"/>
                      <a:pt x="8347945" y="529057"/>
                      <a:pt x="8347151" y="485401"/>
                    </a:cubicBezTo>
                    <a:lnTo>
                      <a:pt x="8306669" y="454444"/>
                    </a:lnTo>
                    <a:lnTo>
                      <a:pt x="8316194" y="371101"/>
                    </a:lnTo>
                    <a:lnTo>
                      <a:pt x="8351913" y="330619"/>
                    </a:lnTo>
                    <a:lnTo>
                      <a:pt x="8332863" y="256801"/>
                    </a:lnTo>
                    <a:lnTo>
                      <a:pt x="8418513" y="0"/>
                    </a:lnTo>
                    <a:lnTo>
                      <a:pt x="8959850" y="1"/>
                    </a:lnTo>
                    <a:cubicBezTo>
                      <a:pt x="8964084" y="1513418"/>
                      <a:pt x="8956411" y="3041122"/>
                      <a:pt x="8960645" y="4554539"/>
                    </a:cubicBezTo>
                    <a:lnTo>
                      <a:pt x="794" y="4552155"/>
                    </a:lnTo>
                    <a:cubicBezTo>
                      <a:pt x="0" y="4291806"/>
                      <a:pt x="8732" y="1079500"/>
                      <a:pt x="7938" y="819151"/>
                    </a:cubicBezTo>
                    <a:lnTo>
                      <a:pt x="84138" y="802482"/>
                    </a:lnTo>
                    <a:lnTo>
                      <a:pt x="127001" y="831057"/>
                    </a:lnTo>
                    <a:lnTo>
                      <a:pt x="223838" y="822326"/>
                    </a:lnTo>
                    <a:lnTo>
                      <a:pt x="269876" y="850106"/>
                    </a:lnTo>
                    <a:lnTo>
                      <a:pt x="236538" y="878682"/>
                    </a:lnTo>
                    <a:lnTo>
                      <a:pt x="241301" y="921544"/>
                    </a:lnTo>
                    <a:lnTo>
                      <a:pt x="207963" y="926307"/>
                    </a:lnTo>
                    <a:lnTo>
                      <a:pt x="212726" y="950119"/>
                    </a:lnTo>
                    <a:lnTo>
                      <a:pt x="269875" y="1023938"/>
                    </a:lnTo>
                    <a:lnTo>
                      <a:pt x="231776" y="1071563"/>
                    </a:lnTo>
                    <a:lnTo>
                      <a:pt x="286544" y="1107282"/>
                    </a:lnTo>
                    <a:lnTo>
                      <a:pt x="377032" y="1195388"/>
                    </a:lnTo>
                    <a:cubicBezTo>
                      <a:pt x="377826" y="1215232"/>
                      <a:pt x="378619" y="1235075"/>
                      <a:pt x="379413" y="1254919"/>
                    </a:cubicBezTo>
                    <a:lnTo>
                      <a:pt x="515144" y="1388270"/>
                    </a:lnTo>
                    <a:lnTo>
                      <a:pt x="569913" y="1364457"/>
                    </a:lnTo>
                    <a:lnTo>
                      <a:pt x="608013" y="1390650"/>
                    </a:lnTo>
                    <a:lnTo>
                      <a:pt x="622301" y="1440656"/>
                    </a:lnTo>
                    <a:lnTo>
                      <a:pt x="665163" y="1476376"/>
                    </a:lnTo>
                    <a:lnTo>
                      <a:pt x="705644" y="1464469"/>
                    </a:lnTo>
                    <a:lnTo>
                      <a:pt x="724694" y="1521619"/>
                    </a:lnTo>
                    <a:lnTo>
                      <a:pt x="772319" y="1564482"/>
                    </a:lnTo>
                    <a:lnTo>
                      <a:pt x="796132" y="1666876"/>
                    </a:lnTo>
                    <a:lnTo>
                      <a:pt x="793751" y="1714501"/>
                    </a:lnTo>
                    <a:lnTo>
                      <a:pt x="829469" y="1814513"/>
                    </a:lnTo>
                    <a:lnTo>
                      <a:pt x="874713" y="1871663"/>
                    </a:lnTo>
                    <a:lnTo>
                      <a:pt x="891381" y="2028825"/>
                    </a:lnTo>
                    <a:lnTo>
                      <a:pt x="858044" y="2090738"/>
                    </a:lnTo>
                    <a:lnTo>
                      <a:pt x="827088" y="2166938"/>
                    </a:lnTo>
                    <a:lnTo>
                      <a:pt x="841376" y="2224088"/>
                    </a:lnTo>
                    <a:lnTo>
                      <a:pt x="743744" y="2331245"/>
                    </a:lnTo>
                    <a:lnTo>
                      <a:pt x="700882" y="2445544"/>
                    </a:lnTo>
                    <a:lnTo>
                      <a:pt x="734219" y="2486026"/>
                    </a:lnTo>
                    <a:lnTo>
                      <a:pt x="717551" y="2514601"/>
                    </a:lnTo>
                    <a:lnTo>
                      <a:pt x="748507" y="2571751"/>
                    </a:lnTo>
                    <a:lnTo>
                      <a:pt x="777082" y="2571751"/>
                    </a:lnTo>
                    <a:lnTo>
                      <a:pt x="939007" y="2674144"/>
                    </a:lnTo>
                    <a:lnTo>
                      <a:pt x="1043782" y="2671763"/>
                    </a:lnTo>
                    <a:lnTo>
                      <a:pt x="1122363" y="2726532"/>
                    </a:lnTo>
                    <a:lnTo>
                      <a:pt x="1253331" y="2728913"/>
                    </a:lnTo>
                    <a:lnTo>
                      <a:pt x="1443831" y="2797969"/>
                    </a:lnTo>
                    <a:lnTo>
                      <a:pt x="1646238" y="2947988"/>
                    </a:lnTo>
                    <a:lnTo>
                      <a:pt x="1679575" y="3014663"/>
                    </a:lnTo>
                    <a:lnTo>
                      <a:pt x="1846263" y="3140869"/>
                    </a:lnTo>
                    <a:lnTo>
                      <a:pt x="1917701" y="3136107"/>
                    </a:lnTo>
                    <a:lnTo>
                      <a:pt x="1953420" y="3159919"/>
                    </a:lnTo>
                    <a:lnTo>
                      <a:pt x="1924844" y="3200401"/>
                    </a:lnTo>
                    <a:lnTo>
                      <a:pt x="1931988" y="3252788"/>
                    </a:lnTo>
                    <a:lnTo>
                      <a:pt x="1984376" y="3278982"/>
                    </a:lnTo>
                    <a:lnTo>
                      <a:pt x="2046288" y="3502820"/>
                    </a:lnTo>
                    <a:lnTo>
                      <a:pt x="2036763" y="3567113"/>
                    </a:lnTo>
                    <a:lnTo>
                      <a:pt x="2172494" y="3733801"/>
                    </a:lnTo>
                    <a:lnTo>
                      <a:pt x="2191544" y="3783807"/>
                    </a:lnTo>
                    <a:lnTo>
                      <a:pt x="2165351" y="3802857"/>
                    </a:lnTo>
                    <a:lnTo>
                      <a:pt x="2267744" y="3812382"/>
                    </a:lnTo>
                    <a:lnTo>
                      <a:pt x="2379663" y="3800476"/>
                    </a:lnTo>
                    <a:lnTo>
                      <a:pt x="2658269" y="3883819"/>
                    </a:lnTo>
                    <a:lnTo>
                      <a:pt x="3065463" y="3964782"/>
                    </a:lnTo>
                    <a:lnTo>
                      <a:pt x="3263107" y="3933825"/>
                    </a:lnTo>
                    <a:lnTo>
                      <a:pt x="3308351" y="3945731"/>
                    </a:lnTo>
                    <a:lnTo>
                      <a:pt x="3363119" y="3921920"/>
                    </a:lnTo>
                    <a:lnTo>
                      <a:pt x="3756025" y="4012407"/>
                    </a:lnTo>
                    <a:lnTo>
                      <a:pt x="3839370" y="4110038"/>
                    </a:lnTo>
                    <a:lnTo>
                      <a:pt x="3958432" y="4181476"/>
                    </a:lnTo>
                    <a:lnTo>
                      <a:pt x="4017963" y="4164807"/>
                    </a:lnTo>
                    <a:lnTo>
                      <a:pt x="4368006" y="4338638"/>
                    </a:lnTo>
                    <a:lnTo>
                      <a:pt x="4594226" y="4310063"/>
                    </a:lnTo>
                    <a:lnTo>
                      <a:pt x="4603751" y="4388644"/>
                    </a:lnTo>
                    <a:lnTo>
                      <a:pt x="4689476" y="4383881"/>
                    </a:lnTo>
                    <a:lnTo>
                      <a:pt x="4768057" y="4414838"/>
                    </a:lnTo>
                    <a:lnTo>
                      <a:pt x="4810919" y="4355307"/>
                    </a:lnTo>
                    <a:lnTo>
                      <a:pt x="5482432" y="4036219"/>
                    </a:lnTo>
                    <a:lnTo>
                      <a:pt x="5570538" y="4064795"/>
                    </a:lnTo>
                    <a:lnTo>
                      <a:pt x="5701507" y="4036219"/>
                    </a:lnTo>
                    <a:lnTo>
                      <a:pt x="5880100" y="4052888"/>
                    </a:lnTo>
                    <a:lnTo>
                      <a:pt x="5937251" y="4026695"/>
                    </a:lnTo>
                    <a:lnTo>
                      <a:pt x="6070600" y="4024313"/>
                    </a:lnTo>
                    <a:lnTo>
                      <a:pt x="6203950" y="3926682"/>
                    </a:lnTo>
                    <a:lnTo>
                      <a:pt x="6270625" y="3919538"/>
                    </a:lnTo>
                    <a:lnTo>
                      <a:pt x="6368257" y="3845719"/>
                    </a:lnTo>
                    <a:lnTo>
                      <a:pt x="6442076" y="3776663"/>
                    </a:lnTo>
                    <a:lnTo>
                      <a:pt x="6451601" y="3714751"/>
                    </a:lnTo>
                    <a:lnTo>
                      <a:pt x="6484938" y="3645694"/>
                    </a:lnTo>
                    <a:lnTo>
                      <a:pt x="6637338" y="3538538"/>
                    </a:lnTo>
                    <a:lnTo>
                      <a:pt x="6670676" y="3543301"/>
                    </a:lnTo>
                    <a:lnTo>
                      <a:pt x="6723063" y="3464719"/>
                    </a:lnTo>
                    <a:lnTo>
                      <a:pt x="6770688" y="3426619"/>
                    </a:lnTo>
                    <a:lnTo>
                      <a:pt x="6756401" y="3357563"/>
                    </a:lnTo>
                    <a:lnTo>
                      <a:pt x="6706394" y="3326606"/>
                    </a:lnTo>
                    <a:lnTo>
                      <a:pt x="6646863" y="3271838"/>
                    </a:lnTo>
                    <a:lnTo>
                      <a:pt x="6627813" y="3214688"/>
                    </a:lnTo>
                    <a:lnTo>
                      <a:pt x="6592094" y="3181351"/>
                    </a:lnTo>
                    <a:lnTo>
                      <a:pt x="6618288" y="3128963"/>
                    </a:lnTo>
                    <a:lnTo>
                      <a:pt x="6658769" y="2950369"/>
                    </a:lnTo>
                    <a:lnTo>
                      <a:pt x="6699251" y="2883694"/>
                    </a:lnTo>
                    <a:lnTo>
                      <a:pt x="6844507" y="2867025"/>
                    </a:lnTo>
                    <a:lnTo>
                      <a:pt x="6913563" y="2924176"/>
                    </a:lnTo>
                    <a:lnTo>
                      <a:pt x="6989763" y="2947988"/>
                    </a:lnTo>
                    <a:lnTo>
                      <a:pt x="7194550" y="2952751"/>
                    </a:lnTo>
                    <a:lnTo>
                      <a:pt x="7370763" y="2814638"/>
                    </a:lnTo>
                    <a:lnTo>
                      <a:pt x="7427913" y="2724150"/>
                    </a:lnTo>
                    <a:lnTo>
                      <a:pt x="7454107" y="2640807"/>
                    </a:lnTo>
                    <a:lnTo>
                      <a:pt x="7585075" y="2640807"/>
                    </a:lnTo>
                    <a:lnTo>
                      <a:pt x="7758907" y="2583656"/>
                    </a:lnTo>
                    <a:lnTo>
                      <a:pt x="7818438" y="2471738"/>
                    </a:lnTo>
                    <a:lnTo>
                      <a:pt x="7882732" y="2436019"/>
                    </a:lnTo>
                    <a:lnTo>
                      <a:pt x="7861301" y="2390776"/>
                    </a:lnTo>
                    <a:lnTo>
                      <a:pt x="7939882" y="2221706"/>
                    </a:lnTo>
                    <a:lnTo>
                      <a:pt x="7994651" y="2162176"/>
                    </a:lnTo>
                    <a:lnTo>
                      <a:pt x="8032751" y="2157413"/>
                    </a:lnTo>
                    <a:lnTo>
                      <a:pt x="8077994" y="2162176"/>
                    </a:lnTo>
                    <a:lnTo>
                      <a:pt x="8142288" y="2128838"/>
                    </a:lnTo>
                    <a:lnTo>
                      <a:pt x="8151813" y="2064544"/>
                    </a:lnTo>
                    <a:lnTo>
                      <a:pt x="8192293" y="2028826"/>
                    </a:lnTo>
                    <a:lnTo>
                      <a:pt x="8251826" y="2069306"/>
                    </a:lnTo>
                    <a:lnTo>
                      <a:pt x="8278020" y="2019300"/>
                    </a:lnTo>
                    <a:lnTo>
                      <a:pt x="8373269" y="1950244"/>
                    </a:lnTo>
                    <a:lnTo>
                      <a:pt x="8435182" y="1957388"/>
                    </a:lnTo>
                    <a:lnTo>
                      <a:pt x="8485188" y="1938338"/>
                    </a:lnTo>
                    <a:lnTo>
                      <a:pt x="8523288" y="1909763"/>
                    </a:lnTo>
                    <a:lnTo>
                      <a:pt x="8556626" y="1907382"/>
                    </a:lnTo>
                    <a:lnTo>
                      <a:pt x="8592344" y="1938338"/>
                    </a:lnTo>
                    <a:lnTo>
                      <a:pt x="8651876" y="1938338"/>
                    </a:lnTo>
                    <a:lnTo>
                      <a:pt x="8689975" y="1919288"/>
                    </a:lnTo>
                    <a:lnTo>
                      <a:pt x="8773319" y="1921670"/>
                    </a:lnTo>
                    <a:lnTo>
                      <a:pt x="8804276" y="1876426"/>
                    </a:lnTo>
                    <a:lnTo>
                      <a:pt x="8809038" y="1814513"/>
                    </a:lnTo>
                    <a:lnTo>
                      <a:pt x="8759031" y="1774032"/>
                    </a:lnTo>
                    <a:lnTo>
                      <a:pt x="8742363" y="1719263"/>
                    </a:lnTo>
                    <a:lnTo>
                      <a:pt x="8651876" y="1657351"/>
                    </a:lnTo>
                    <a:lnTo>
                      <a:pt x="8611394" y="1635919"/>
                    </a:lnTo>
                    <a:lnTo>
                      <a:pt x="8573294" y="1590676"/>
                    </a:lnTo>
                    <a:lnTo>
                      <a:pt x="8542338" y="1588294"/>
                    </a:lnTo>
                    <a:lnTo>
                      <a:pt x="8525669" y="1535907"/>
                    </a:lnTo>
                    <a:lnTo>
                      <a:pt x="8485188" y="1519238"/>
                    </a:lnTo>
                    <a:lnTo>
                      <a:pt x="8485188" y="1519238"/>
                    </a:lnTo>
                    <a:lnTo>
                      <a:pt x="8444707" y="1524001"/>
                    </a:lnTo>
                    <a:lnTo>
                      <a:pt x="8358981" y="1450182"/>
                    </a:lnTo>
                    <a:lnTo>
                      <a:pt x="8178007" y="1450181"/>
                    </a:lnTo>
                    <a:lnTo>
                      <a:pt x="8125619" y="1488282"/>
                    </a:lnTo>
                    <a:lnTo>
                      <a:pt x="8075613" y="1566863"/>
                    </a:lnTo>
                    <a:lnTo>
                      <a:pt x="8092282" y="1588294"/>
                    </a:lnTo>
                    <a:lnTo>
                      <a:pt x="8047038" y="1638300"/>
                    </a:lnTo>
                    <a:lnTo>
                      <a:pt x="7897019" y="1562100"/>
                    </a:lnTo>
                    <a:lnTo>
                      <a:pt x="7806532" y="1597819"/>
                    </a:lnTo>
                    <a:lnTo>
                      <a:pt x="7732713" y="1595438"/>
                    </a:lnTo>
                    <a:lnTo>
                      <a:pt x="7675563" y="1690688"/>
                    </a:lnTo>
                    <a:lnTo>
                      <a:pt x="7537451" y="1593057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3175">
                <a:solidFill>
                  <a:schemeClr val="accent4">
                    <a:lumMod val="60000"/>
                    <a:lumOff val="40000"/>
                  </a:schemeClr>
                </a:solidFill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GB" noProof="1"/>
              </a:p>
            </p:txBody>
          </p:sp>
          <p:sp>
            <p:nvSpPr>
              <p:cNvPr id="14" name="Lake Baikal">
                <a:extLst>
                  <a:ext uri="{FF2B5EF4-FFF2-40B4-BE49-F238E27FC236}">
                    <a16:creationId xmlns:a16="http://schemas.microsoft.com/office/drawing/2014/main" id="{4896F4E7-D39B-4780-B8B1-75F34E3974AB}"/>
                  </a:ext>
                </a:extLst>
              </p:cNvPr>
              <p:cNvSpPr/>
              <p:nvPr/>
            </p:nvSpPr>
            <p:spPr bwMode="gray">
              <a:xfrm>
                <a:off x="4936331" y="2069306"/>
                <a:ext cx="797719" cy="438150"/>
              </a:xfrm>
              <a:custGeom>
                <a:avLst/>
                <a:gdLst>
                  <a:gd name="connsiteX0" fmla="*/ 797719 w 797719"/>
                  <a:gd name="connsiteY0" fmla="*/ 0 h 438150"/>
                  <a:gd name="connsiteX1" fmla="*/ 573882 w 797719"/>
                  <a:gd name="connsiteY1" fmla="*/ 4763 h 438150"/>
                  <a:gd name="connsiteX2" fmla="*/ 533400 w 797719"/>
                  <a:gd name="connsiteY2" fmla="*/ 47625 h 438150"/>
                  <a:gd name="connsiteX3" fmla="*/ 483394 w 797719"/>
                  <a:gd name="connsiteY3" fmla="*/ 116682 h 438150"/>
                  <a:gd name="connsiteX4" fmla="*/ 466725 w 797719"/>
                  <a:gd name="connsiteY4" fmla="*/ 154782 h 438150"/>
                  <a:gd name="connsiteX5" fmla="*/ 442913 w 797719"/>
                  <a:gd name="connsiteY5" fmla="*/ 200025 h 438150"/>
                  <a:gd name="connsiteX6" fmla="*/ 392907 w 797719"/>
                  <a:gd name="connsiteY6" fmla="*/ 214313 h 438150"/>
                  <a:gd name="connsiteX7" fmla="*/ 359569 w 797719"/>
                  <a:gd name="connsiteY7" fmla="*/ 261938 h 438150"/>
                  <a:gd name="connsiteX8" fmla="*/ 316707 w 797719"/>
                  <a:gd name="connsiteY8" fmla="*/ 264319 h 438150"/>
                  <a:gd name="connsiteX9" fmla="*/ 285750 w 797719"/>
                  <a:gd name="connsiteY9" fmla="*/ 283369 h 438150"/>
                  <a:gd name="connsiteX10" fmla="*/ 238125 w 797719"/>
                  <a:gd name="connsiteY10" fmla="*/ 283369 h 438150"/>
                  <a:gd name="connsiteX11" fmla="*/ 188119 w 797719"/>
                  <a:gd name="connsiteY11" fmla="*/ 304800 h 438150"/>
                  <a:gd name="connsiteX12" fmla="*/ 85725 w 797719"/>
                  <a:gd name="connsiteY12" fmla="*/ 314325 h 438150"/>
                  <a:gd name="connsiteX13" fmla="*/ 66675 w 797719"/>
                  <a:gd name="connsiteY13" fmla="*/ 319088 h 438150"/>
                  <a:gd name="connsiteX14" fmla="*/ 2382 w 797719"/>
                  <a:gd name="connsiteY14" fmla="*/ 330994 h 438150"/>
                  <a:gd name="connsiteX15" fmla="*/ 0 w 797719"/>
                  <a:gd name="connsiteY15" fmla="*/ 352425 h 438150"/>
                  <a:gd name="connsiteX16" fmla="*/ 33338 w 797719"/>
                  <a:gd name="connsiteY16" fmla="*/ 371475 h 438150"/>
                  <a:gd name="connsiteX17" fmla="*/ 73819 w 797719"/>
                  <a:gd name="connsiteY17" fmla="*/ 400050 h 438150"/>
                  <a:gd name="connsiteX18" fmla="*/ 119063 w 797719"/>
                  <a:gd name="connsiteY18" fmla="*/ 416719 h 438150"/>
                  <a:gd name="connsiteX19" fmla="*/ 169069 w 797719"/>
                  <a:gd name="connsiteY19" fmla="*/ 423863 h 438150"/>
                  <a:gd name="connsiteX20" fmla="*/ 195263 w 797719"/>
                  <a:gd name="connsiteY20" fmla="*/ 438150 h 438150"/>
                  <a:gd name="connsiteX21" fmla="*/ 226219 w 797719"/>
                  <a:gd name="connsiteY21" fmla="*/ 419100 h 438150"/>
                  <a:gd name="connsiteX22" fmla="*/ 252413 w 797719"/>
                  <a:gd name="connsiteY22" fmla="*/ 438150 h 438150"/>
                  <a:gd name="connsiteX23" fmla="*/ 283369 w 797719"/>
                  <a:gd name="connsiteY23" fmla="*/ 414338 h 438150"/>
                  <a:gd name="connsiteX24" fmla="*/ 409575 w 797719"/>
                  <a:gd name="connsiteY24" fmla="*/ 373857 h 438150"/>
                  <a:gd name="connsiteX25" fmla="*/ 535782 w 797719"/>
                  <a:gd name="connsiteY25" fmla="*/ 319088 h 438150"/>
                  <a:gd name="connsiteX26" fmla="*/ 581025 w 797719"/>
                  <a:gd name="connsiteY26" fmla="*/ 278607 h 438150"/>
                  <a:gd name="connsiteX27" fmla="*/ 573882 w 797719"/>
                  <a:gd name="connsiteY27" fmla="*/ 266700 h 438150"/>
                  <a:gd name="connsiteX28" fmla="*/ 607219 w 797719"/>
                  <a:gd name="connsiteY28" fmla="*/ 235744 h 438150"/>
                  <a:gd name="connsiteX29" fmla="*/ 592932 w 797719"/>
                  <a:gd name="connsiteY29" fmla="*/ 216694 h 438150"/>
                  <a:gd name="connsiteX30" fmla="*/ 600075 w 797719"/>
                  <a:gd name="connsiteY30" fmla="*/ 190500 h 438150"/>
                  <a:gd name="connsiteX31" fmla="*/ 623888 w 797719"/>
                  <a:gd name="connsiteY31" fmla="*/ 164307 h 438150"/>
                  <a:gd name="connsiteX32" fmla="*/ 621507 w 797719"/>
                  <a:gd name="connsiteY32" fmla="*/ 140494 h 438150"/>
                  <a:gd name="connsiteX33" fmla="*/ 621507 w 797719"/>
                  <a:gd name="connsiteY33" fmla="*/ 140494 h 438150"/>
                  <a:gd name="connsiteX34" fmla="*/ 614363 w 797719"/>
                  <a:gd name="connsiteY34" fmla="*/ 104775 h 438150"/>
                  <a:gd name="connsiteX35" fmla="*/ 657225 w 797719"/>
                  <a:gd name="connsiteY35" fmla="*/ 76200 h 438150"/>
                  <a:gd name="connsiteX36" fmla="*/ 695325 w 797719"/>
                  <a:gd name="connsiteY36" fmla="*/ 64294 h 438150"/>
                  <a:gd name="connsiteX37" fmla="*/ 731044 w 797719"/>
                  <a:gd name="connsiteY37" fmla="*/ 83344 h 438150"/>
                  <a:gd name="connsiteX38" fmla="*/ 759619 w 797719"/>
                  <a:gd name="connsiteY38" fmla="*/ 83344 h 438150"/>
                  <a:gd name="connsiteX39" fmla="*/ 773907 w 797719"/>
                  <a:gd name="connsiteY39" fmla="*/ 52388 h 438150"/>
                  <a:gd name="connsiteX40" fmla="*/ 797719 w 797719"/>
                  <a:gd name="connsiteY40" fmla="*/ 0 h 438150"/>
                  <a:gd name="connsiteX0" fmla="*/ 797719 w 797719"/>
                  <a:gd name="connsiteY0" fmla="*/ 0 h 438150"/>
                  <a:gd name="connsiteX1" fmla="*/ 573882 w 797719"/>
                  <a:gd name="connsiteY1" fmla="*/ 4763 h 438150"/>
                  <a:gd name="connsiteX2" fmla="*/ 533400 w 797719"/>
                  <a:gd name="connsiteY2" fmla="*/ 47625 h 438150"/>
                  <a:gd name="connsiteX3" fmla="*/ 483394 w 797719"/>
                  <a:gd name="connsiteY3" fmla="*/ 116682 h 438150"/>
                  <a:gd name="connsiteX4" fmla="*/ 466725 w 797719"/>
                  <a:gd name="connsiteY4" fmla="*/ 154782 h 438150"/>
                  <a:gd name="connsiteX5" fmla="*/ 442913 w 797719"/>
                  <a:gd name="connsiteY5" fmla="*/ 200025 h 438150"/>
                  <a:gd name="connsiteX6" fmla="*/ 392907 w 797719"/>
                  <a:gd name="connsiteY6" fmla="*/ 214313 h 438150"/>
                  <a:gd name="connsiteX7" fmla="*/ 359569 w 797719"/>
                  <a:gd name="connsiteY7" fmla="*/ 261938 h 438150"/>
                  <a:gd name="connsiteX8" fmla="*/ 316707 w 797719"/>
                  <a:gd name="connsiteY8" fmla="*/ 264319 h 438150"/>
                  <a:gd name="connsiteX9" fmla="*/ 285750 w 797719"/>
                  <a:gd name="connsiteY9" fmla="*/ 283369 h 438150"/>
                  <a:gd name="connsiteX10" fmla="*/ 238125 w 797719"/>
                  <a:gd name="connsiteY10" fmla="*/ 283369 h 438150"/>
                  <a:gd name="connsiteX11" fmla="*/ 188119 w 797719"/>
                  <a:gd name="connsiteY11" fmla="*/ 304800 h 438150"/>
                  <a:gd name="connsiteX12" fmla="*/ 85725 w 797719"/>
                  <a:gd name="connsiteY12" fmla="*/ 314325 h 438150"/>
                  <a:gd name="connsiteX13" fmla="*/ 66675 w 797719"/>
                  <a:gd name="connsiteY13" fmla="*/ 319088 h 438150"/>
                  <a:gd name="connsiteX14" fmla="*/ 2382 w 797719"/>
                  <a:gd name="connsiteY14" fmla="*/ 330994 h 438150"/>
                  <a:gd name="connsiteX15" fmla="*/ 0 w 797719"/>
                  <a:gd name="connsiteY15" fmla="*/ 352425 h 438150"/>
                  <a:gd name="connsiteX16" fmla="*/ 33338 w 797719"/>
                  <a:gd name="connsiteY16" fmla="*/ 371475 h 438150"/>
                  <a:gd name="connsiteX17" fmla="*/ 73819 w 797719"/>
                  <a:gd name="connsiteY17" fmla="*/ 400050 h 438150"/>
                  <a:gd name="connsiteX18" fmla="*/ 119063 w 797719"/>
                  <a:gd name="connsiteY18" fmla="*/ 416719 h 438150"/>
                  <a:gd name="connsiteX19" fmla="*/ 169069 w 797719"/>
                  <a:gd name="connsiteY19" fmla="*/ 423863 h 438150"/>
                  <a:gd name="connsiteX20" fmla="*/ 195263 w 797719"/>
                  <a:gd name="connsiteY20" fmla="*/ 438150 h 438150"/>
                  <a:gd name="connsiteX21" fmla="*/ 226219 w 797719"/>
                  <a:gd name="connsiteY21" fmla="*/ 419100 h 438150"/>
                  <a:gd name="connsiteX22" fmla="*/ 252413 w 797719"/>
                  <a:gd name="connsiteY22" fmla="*/ 438150 h 438150"/>
                  <a:gd name="connsiteX23" fmla="*/ 283369 w 797719"/>
                  <a:gd name="connsiteY23" fmla="*/ 414338 h 438150"/>
                  <a:gd name="connsiteX24" fmla="*/ 409575 w 797719"/>
                  <a:gd name="connsiteY24" fmla="*/ 373857 h 438150"/>
                  <a:gd name="connsiteX25" fmla="*/ 535782 w 797719"/>
                  <a:gd name="connsiteY25" fmla="*/ 319088 h 438150"/>
                  <a:gd name="connsiteX26" fmla="*/ 581025 w 797719"/>
                  <a:gd name="connsiteY26" fmla="*/ 278607 h 438150"/>
                  <a:gd name="connsiteX27" fmla="*/ 573882 w 797719"/>
                  <a:gd name="connsiteY27" fmla="*/ 266700 h 438150"/>
                  <a:gd name="connsiteX28" fmla="*/ 607219 w 797719"/>
                  <a:gd name="connsiteY28" fmla="*/ 235744 h 438150"/>
                  <a:gd name="connsiteX29" fmla="*/ 592932 w 797719"/>
                  <a:gd name="connsiteY29" fmla="*/ 216694 h 438150"/>
                  <a:gd name="connsiteX30" fmla="*/ 600075 w 797719"/>
                  <a:gd name="connsiteY30" fmla="*/ 190500 h 438150"/>
                  <a:gd name="connsiteX31" fmla="*/ 623888 w 797719"/>
                  <a:gd name="connsiteY31" fmla="*/ 164307 h 438150"/>
                  <a:gd name="connsiteX32" fmla="*/ 621507 w 797719"/>
                  <a:gd name="connsiteY32" fmla="*/ 140494 h 438150"/>
                  <a:gd name="connsiteX33" fmla="*/ 621507 w 797719"/>
                  <a:gd name="connsiteY33" fmla="*/ 140494 h 438150"/>
                  <a:gd name="connsiteX34" fmla="*/ 623888 w 797719"/>
                  <a:gd name="connsiteY34" fmla="*/ 104775 h 438150"/>
                  <a:gd name="connsiteX35" fmla="*/ 657225 w 797719"/>
                  <a:gd name="connsiteY35" fmla="*/ 76200 h 438150"/>
                  <a:gd name="connsiteX36" fmla="*/ 695325 w 797719"/>
                  <a:gd name="connsiteY36" fmla="*/ 64294 h 438150"/>
                  <a:gd name="connsiteX37" fmla="*/ 731044 w 797719"/>
                  <a:gd name="connsiteY37" fmla="*/ 83344 h 438150"/>
                  <a:gd name="connsiteX38" fmla="*/ 759619 w 797719"/>
                  <a:gd name="connsiteY38" fmla="*/ 83344 h 438150"/>
                  <a:gd name="connsiteX39" fmla="*/ 773907 w 797719"/>
                  <a:gd name="connsiteY39" fmla="*/ 52388 h 438150"/>
                  <a:gd name="connsiteX40" fmla="*/ 797719 w 797719"/>
                  <a:gd name="connsiteY40" fmla="*/ 0 h 43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797719" h="438150">
                    <a:moveTo>
                      <a:pt x="797719" y="0"/>
                    </a:moveTo>
                    <a:lnTo>
                      <a:pt x="573882" y="4763"/>
                    </a:lnTo>
                    <a:lnTo>
                      <a:pt x="533400" y="47625"/>
                    </a:lnTo>
                    <a:lnTo>
                      <a:pt x="483394" y="116682"/>
                    </a:lnTo>
                    <a:lnTo>
                      <a:pt x="466725" y="154782"/>
                    </a:lnTo>
                    <a:lnTo>
                      <a:pt x="442913" y="200025"/>
                    </a:lnTo>
                    <a:lnTo>
                      <a:pt x="392907" y="214313"/>
                    </a:lnTo>
                    <a:lnTo>
                      <a:pt x="359569" y="261938"/>
                    </a:lnTo>
                    <a:lnTo>
                      <a:pt x="316707" y="264319"/>
                    </a:lnTo>
                    <a:lnTo>
                      <a:pt x="285750" y="283369"/>
                    </a:lnTo>
                    <a:lnTo>
                      <a:pt x="238125" y="283369"/>
                    </a:lnTo>
                    <a:lnTo>
                      <a:pt x="188119" y="304800"/>
                    </a:lnTo>
                    <a:lnTo>
                      <a:pt x="85725" y="314325"/>
                    </a:lnTo>
                    <a:lnTo>
                      <a:pt x="66675" y="319088"/>
                    </a:lnTo>
                    <a:lnTo>
                      <a:pt x="2382" y="330994"/>
                    </a:lnTo>
                    <a:lnTo>
                      <a:pt x="0" y="352425"/>
                    </a:lnTo>
                    <a:lnTo>
                      <a:pt x="33338" y="371475"/>
                    </a:lnTo>
                    <a:lnTo>
                      <a:pt x="73819" y="400050"/>
                    </a:lnTo>
                    <a:lnTo>
                      <a:pt x="119063" y="416719"/>
                    </a:lnTo>
                    <a:lnTo>
                      <a:pt x="169069" y="423863"/>
                    </a:lnTo>
                    <a:lnTo>
                      <a:pt x="195263" y="438150"/>
                    </a:lnTo>
                    <a:lnTo>
                      <a:pt x="226219" y="419100"/>
                    </a:lnTo>
                    <a:lnTo>
                      <a:pt x="252413" y="438150"/>
                    </a:lnTo>
                    <a:lnTo>
                      <a:pt x="283369" y="414338"/>
                    </a:lnTo>
                    <a:lnTo>
                      <a:pt x="409575" y="373857"/>
                    </a:lnTo>
                    <a:lnTo>
                      <a:pt x="535782" y="319088"/>
                    </a:lnTo>
                    <a:lnTo>
                      <a:pt x="581025" y="278607"/>
                    </a:lnTo>
                    <a:lnTo>
                      <a:pt x="573882" y="266700"/>
                    </a:lnTo>
                    <a:lnTo>
                      <a:pt x="607219" y="235744"/>
                    </a:lnTo>
                    <a:lnTo>
                      <a:pt x="592932" y="216694"/>
                    </a:lnTo>
                    <a:lnTo>
                      <a:pt x="600075" y="190500"/>
                    </a:lnTo>
                    <a:lnTo>
                      <a:pt x="623888" y="164307"/>
                    </a:lnTo>
                    <a:lnTo>
                      <a:pt x="621507" y="140494"/>
                    </a:lnTo>
                    <a:lnTo>
                      <a:pt x="621507" y="140494"/>
                    </a:lnTo>
                    <a:lnTo>
                      <a:pt x="623888" y="104775"/>
                    </a:lnTo>
                    <a:lnTo>
                      <a:pt x="657225" y="76200"/>
                    </a:lnTo>
                    <a:lnTo>
                      <a:pt x="695325" y="64294"/>
                    </a:lnTo>
                    <a:lnTo>
                      <a:pt x="731044" y="83344"/>
                    </a:lnTo>
                    <a:lnTo>
                      <a:pt x="759619" y="83344"/>
                    </a:lnTo>
                    <a:lnTo>
                      <a:pt x="773907" y="52388"/>
                    </a:lnTo>
                    <a:lnTo>
                      <a:pt x="797719" y="0"/>
                    </a:lnTo>
                    <a:close/>
                  </a:path>
                </a:pathLst>
              </a:custGeom>
              <a:solidFill>
                <a:srgbClr val="B3DCF9"/>
              </a:solidFill>
              <a:ln w="3175">
                <a:noFill/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GB" noProof="1"/>
              </a:p>
            </p:txBody>
          </p:sp>
          <p:grpSp>
            <p:nvGrpSpPr>
              <p:cNvPr id="15" name="All Labels">
                <a:extLst>
                  <a:ext uri="{FF2B5EF4-FFF2-40B4-BE49-F238E27FC236}">
                    <a16:creationId xmlns:a16="http://schemas.microsoft.com/office/drawing/2014/main" id="{BEFEF0C9-9D20-49B7-BBF8-3A91F2390F73}"/>
                  </a:ext>
                </a:extLst>
              </p:cNvPr>
              <p:cNvGrpSpPr/>
              <p:nvPr/>
            </p:nvGrpSpPr>
            <p:grpSpPr bwMode="gray">
              <a:xfrm>
                <a:off x="1263215" y="2174996"/>
                <a:ext cx="7635738" cy="3813182"/>
                <a:chOff x="1263215" y="2174996"/>
                <a:chExt cx="7635738" cy="3813182"/>
              </a:xfrm>
            </p:grpSpPr>
            <p:grpSp>
              <p:nvGrpSpPr>
                <p:cNvPr id="20" name="Mongolia City Locators">
                  <a:extLst>
                    <a:ext uri="{FF2B5EF4-FFF2-40B4-BE49-F238E27FC236}">
                      <a16:creationId xmlns:a16="http://schemas.microsoft.com/office/drawing/2014/main" id="{D63C494B-994F-4255-948D-BEBCDE7E2DAE}"/>
                    </a:ext>
                  </a:extLst>
                </p:cNvPr>
                <p:cNvGrpSpPr/>
                <p:nvPr/>
              </p:nvGrpSpPr>
              <p:grpSpPr bwMode="gray">
                <a:xfrm>
                  <a:off x="1263215" y="3105964"/>
                  <a:ext cx="6587882" cy="2596908"/>
                  <a:chOff x="1263215" y="3105964"/>
                  <a:chExt cx="6587882" cy="2596908"/>
                </a:xfrm>
              </p:grpSpPr>
              <p:sp>
                <p:nvSpPr>
                  <p:cNvPr id="41" name="Ölgiy Locator">
                    <a:extLst>
                      <a:ext uri="{FF2B5EF4-FFF2-40B4-BE49-F238E27FC236}">
                        <a16:creationId xmlns:a16="http://schemas.microsoft.com/office/drawing/2014/main" id="{1B3C56E6-8FA8-485E-A1CF-7D4A116C5E5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1263215" y="3105964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2" name="Dund-Us Locator">
                    <a:extLst>
                      <a:ext uri="{FF2B5EF4-FFF2-40B4-BE49-F238E27FC236}">
                        <a16:creationId xmlns:a16="http://schemas.microsoft.com/office/drawing/2014/main" id="{EBDD01D0-E71A-43A4-8707-CCF9B50B0EEB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1677552" y="3582214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3" name="Altay Locator">
                    <a:extLst>
                      <a:ext uri="{FF2B5EF4-FFF2-40B4-BE49-F238E27FC236}">
                        <a16:creationId xmlns:a16="http://schemas.microsoft.com/office/drawing/2014/main" id="{5EB208D9-1C27-45BB-B841-A24AE6B5CA76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2806265" y="4387076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4" name="Bayanhongor Locator">
                    <a:extLst>
                      <a:ext uri="{FF2B5EF4-FFF2-40B4-BE49-F238E27FC236}">
                        <a16:creationId xmlns:a16="http://schemas.microsoft.com/office/drawing/2014/main" id="{A10DE955-61E8-4430-9AA6-4C740CEB761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4034990" y="4601389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5" name="Dalandzadgad Locator">
                    <a:extLst>
                      <a:ext uri="{FF2B5EF4-FFF2-40B4-BE49-F238E27FC236}">
                        <a16:creationId xmlns:a16="http://schemas.microsoft.com/office/drawing/2014/main" id="{47BF4886-8A06-4895-B479-B4F39FDA454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5073215" y="5644377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6" name="Bulgan Locator">
                    <a:extLst>
                      <a:ext uri="{FF2B5EF4-FFF2-40B4-BE49-F238E27FC236}">
                        <a16:creationId xmlns:a16="http://schemas.microsoft.com/office/drawing/2014/main" id="{6D76903F-259E-4057-9664-C4E3B5A7840A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4854140" y="3544115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7" name="Erdenet Locator">
                    <a:extLst>
                      <a:ext uri="{FF2B5EF4-FFF2-40B4-BE49-F238E27FC236}">
                        <a16:creationId xmlns:a16="http://schemas.microsoft.com/office/drawing/2014/main" id="{7B28965D-AA4B-401D-BC45-9D8E58D4764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5025590" y="3453627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8" name="Darhan Locator">
                    <a:extLst>
                      <a:ext uri="{FF2B5EF4-FFF2-40B4-BE49-F238E27FC236}">
                        <a16:creationId xmlns:a16="http://schemas.microsoft.com/office/drawing/2014/main" id="{A9925341-F336-4709-B73D-8036413BEE79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5492315" y="3267889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49" name="Choybalsan Locator">
                    <a:extLst>
                      <a:ext uri="{FF2B5EF4-FFF2-40B4-BE49-F238E27FC236}">
                        <a16:creationId xmlns:a16="http://schemas.microsoft.com/office/drawing/2014/main" id="{94B361B6-23FB-4C06-90EB-404E755AFFD8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7792602" y="3610789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  <p:sp>
                <p:nvSpPr>
                  <p:cNvPr id="50" name="Buyant-Uhaa Locator">
                    <a:extLst>
                      <a:ext uri="{FF2B5EF4-FFF2-40B4-BE49-F238E27FC236}">
                        <a16:creationId xmlns:a16="http://schemas.microsoft.com/office/drawing/2014/main" id="{6D326F55-7863-4F1A-B1FC-E3CB7816175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6721039" y="5106214"/>
                    <a:ext cx="58495" cy="58495"/>
                  </a:xfrm>
                  <a:custGeom>
                    <a:avLst/>
                    <a:gdLst/>
                    <a:ahLst/>
                    <a:cxnLst>
                      <a:cxn ang="0">
                        <a:pos x="28" y="14"/>
                      </a:cxn>
                      <a:cxn ang="0">
                        <a:pos x="26" y="18"/>
                      </a:cxn>
                      <a:cxn ang="0">
                        <a:pos x="24" y="24"/>
                      </a:cxn>
                      <a:cxn ang="0">
                        <a:pos x="20" y="26"/>
                      </a:cxn>
                      <a:cxn ang="0">
                        <a:pos x="14" y="28"/>
                      </a:cxn>
                      <a:cxn ang="0">
                        <a:pos x="8" y="26"/>
                      </a:cxn>
                      <a:cxn ang="0">
                        <a:pos x="4" y="24"/>
                      </a:cxn>
                      <a:cxn ang="0">
                        <a:pos x="0" y="18"/>
                      </a:cxn>
                      <a:cxn ang="0">
                        <a:pos x="0" y="14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4" y="0"/>
                      </a:cxn>
                      <a:cxn ang="0">
                        <a:pos x="20" y="0"/>
                      </a:cxn>
                      <a:cxn ang="0">
                        <a:pos x="24" y="4"/>
                      </a:cxn>
                      <a:cxn ang="0">
                        <a:pos x="26" y="8"/>
                      </a:cxn>
                      <a:cxn ang="0">
                        <a:pos x="26" y="14"/>
                      </a:cxn>
                      <a:cxn ang="0">
                        <a:pos x="28" y="14"/>
                      </a:cxn>
                    </a:cxnLst>
                    <a:rect l="0" t="0" r="r" b="b"/>
                    <a:pathLst>
                      <a:path w="28" h="28">
                        <a:moveTo>
                          <a:pt x="28" y="14"/>
                        </a:moveTo>
                        <a:lnTo>
                          <a:pt x="26" y="18"/>
                        </a:lnTo>
                        <a:lnTo>
                          <a:pt x="24" y="24"/>
                        </a:lnTo>
                        <a:lnTo>
                          <a:pt x="20" y="26"/>
                        </a:lnTo>
                        <a:lnTo>
                          <a:pt x="14" y="28"/>
                        </a:lnTo>
                        <a:lnTo>
                          <a:pt x="8" y="26"/>
                        </a:lnTo>
                        <a:lnTo>
                          <a:pt x="4" y="24"/>
                        </a:lnTo>
                        <a:lnTo>
                          <a:pt x="0" y="18"/>
                        </a:lnTo>
                        <a:lnTo>
                          <a:pt x="0" y="14"/>
                        </a:lnTo>
                        <a:lnTo>
                          <a:pt x="0" y="8"/>
                        </a:lnTo>
                        <a:lnTo>
                          <a:pt x="4" y="4"/>
                        </a:lnTo>
                        <a:lnTo>
                          <a:pt x="8" y="0"/>
                        </a:lnTo>
                        <a:lnTo>
                          <a:pt x="14" y="0"/>
                        </a:lnTo>
                        <a:lnTo>
                          <a:pt x="20" y="0"/>
                        </a:lnTo>
                        <a:lnTo>
                          <a:pt x="24" y="4"/>
                        </a:lnTo>
                        <a:lnTo>
                          <a:pt x="26" y="8"/>
                        </a:lnTo>
                        <a:lnTo>
                          <a:pt x="26" y="14"/>
                        </a:lnTo>
                        <a:lnTo>
                          <a:pt x="28" y="14"/>
                        </a:lnTo>
                        <a:close/>
                      </a:path>
                    </a:pathLst>
                  </a:custGeom>
                  <a:solidFill>
                    <a:schemeClr val="accent1">
                      <a:lumMod val="20000"/>
                      <a:lumOff val="80000"/>
                    </a:schemeClr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>
                      <a:solidFill>
                        <a:schemeClr val="tx2"/>
                      </a:solidFill>
                    </a:endParaRPr>
                  </a:p>
                </p:txBody>
              </p:sp>
            </p:grpSp>
            <p:grpSp>
              <p:nvGrpSpPr>
                <p:cNvPr id="21" name="Mongolia City Labels">
                  <a:extLst>
                    <a:ext uri="{FF2B5EF4-FFF2-40B4-BE49-F238E27FC236}">
                      <a16:creationId xmlns:a16="http://schemas.microsoft.com/office/drawing/2014/main" id="{B6AF4534-7CFB-4BD0-A0D7-427D0B85E5E5}"/>
                    </a:ext>
                  </a:extLst>
                </p:cNvPr>
                <p:cNvGrpSpPr/>
                <p:nvPr/>
              </p:nvGrpSpPr>
              <p:grpSpPr bwMode="gray">
                <a:xfrm>
                  <a:off x="1331161" y="2966965"/>
                  <a:ext cx="6446744" cy="2723160"/>
                  <a:chOff x="1331161" y="2966965"/>
                  <a:chExt cx="6446744" cy="2723160"/>
                </a:xfrm>
              </p:grpSpPr>
              <p:sp>
                <p:nvSpPr>
                  <p:cNvPr id="31" name="Ölgiy Label">
                    <a:extLst>
                      <a:ext uri="{FF2B5EF4-FFF2-40B4-BE49-F238E27FC236}">
                        <a16:creationId xmlns:a16="http://schemas.microsoft.com/office/drawing/2014/main" id="{47BB575B-0491-452A-885F-3BD21B8244E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331161" y="2966965"/>
                    <a:ext cx="349455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Ölgiy</a:t>
                    </a:r>
                  </a:p>
                </p:txBody>
              </p:sp>
              <p:sp>
                <p:nvSpPr>
                  <p:cNvPr id="32" name="Dund-Us Label">
                    <a:extLst>
                      <a:ext uri="{FF2B5EF4-FFF2-40B4-BE49-F238E27FC236}">
                        <a16:creationId xmlns:a16="http://schemas.microsoft.com/office/drawing/2014/main" id="{7F82DC31-4D10-4244-AB8E-CA6173E89E2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1755025" y="3443234"/>
                    <a:ext cx="604333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Dund-Us</a:t>
                    </a:r>
                  </a:p>
                </p:txBody>
              </p:sp>
              <p:sp>
                <p:nvSpPr>
                  <p:cNvPr id="33" name="Altay Label">
                    <a:extLst>
                      <a:ext uri="{FF2B5EF4-FFF2-40B4-BE49-F238E27FC236}">
                        <a16:creationId xmlns:a16="http://schemas.microsoft.com/office/drawing/2014/main" id="{0AAAADD0-AC7F-428C-82E7-D6AC2C6D418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2878976" y="4257642"/>
                    <a:ext cx="341440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Altay</a:t>
                    </a:r>
                  </a:p>
                </p:txBody>
              </p:sp>
              <p:sp>
                <p:nvSpPr>
                  <p:cNvPr id="34" name="Bayanhongor Label">
                    <a:extLst>
                      <a:ext uri="{FF2B5EF4-FFF2-40B4-BE49-F238E27FC236}">
                        <a16:creationId xmlns:a16="http://schemas.microsoft.com/office/drawing/2014/main" id="{F9C6C6F7-5543-457E-A0E7-728F9A71515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117227" y="4462449"/>
                    <a:ext cx="910506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Bayanhongor</a:t>
                    </a:r>
                  </a:p>
                </p:txBody>
              </p:sp>
              <p:sp>
                <p:nvSpPr>
                  <p:cNvPr id="35" name="Dalandzadgad Label">
                    <a:extLst>
                      <a:ext uri="{FF2B5EF4-FFF2-40B4-BE49-F238E27FC236}">
                        <a16:creationId xmlns:a16="http://schemas.microsoft.com/office/drawing/2014/main" id="{C79FBC5F-9148-4D35-A6E6-E2F0928FAF4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055314" y="5505459"/>
                    <a:ext cx="985847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Dalandzadgad</a:t>
                    </a:r>
                  </a:p>
                </p:txBody>
              </p:sp>
              <p:sp>
                <p:nvSpPr>
                  <p:cNvPr id="36" name="Bulgan Label">
                    <a:extLst>
                      <a:ext uri="{FF2B5EF4-FFF2-40B4-BE49-F238E27FC236}">
                        <a16:creationId xmlns:a16="http://schemas.microsoft.com/office/drawing/2014/main" id="{2DC79BA2-A4D7-4B98-B1E5-35AB94CCE7A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355380" y="3538501"/>
                    <a:ext cx="476092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Bulgan</a:t>
                    </a:r>
                  </a:p>
                </p:txBody>
              </p:sp>
              <p:sp>
                <p:nvSpPr>
                  <p:cNvPr id="37" name="Erdenet Label">
                    <a:extLst>
                      <a:ext uri="{FF2B5EF4-FFF2-40B4-BE49-F238E27FC236}">
                        <a16:creationId xmlns:a16="http://schemas.microsoft.com/office/drawing/2014/main" id="{DCDC3A05-9A11-43A4-8736-E9B2784B321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4464916" y="3309919"/>
                    <a:ext cx="537006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Erdenet</a:t>
                    </a:r>
                  </a:p>
                </p:txBody>
              </p:sp>
              <p:sp>
                <p:nvSpPr>
                  <p:cNvPr id="38" name="Darhan Label">
                    <a:extLst>
                      <a:ext uri="{FF2B5EF4-FFF2-40B4-BE49-F238E27FC236}">
                        <a16:creationId xmlns:a16="http://schemas.microsoft.com/office/drawing/2014/main" id="{49F8E21B-7C28-4463-9D49-3FD512D56BF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565055" y="3290851"/>
                    <a:ext cx="501740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Darhan</a:t>
                    </a:r>
                  </a:p>
                </p:txBody>
              </p:sp>
              <p:sp>
                <p:nvSpPr>
                  <p:cNvPr id="39" name="Choybalsan Label">
                    <a:extLst>
                      <a:ext uri="{FF2B5EF4-FFF2-40B4-BE49-F238E27FC236}">
                        <a16:creationId xmlns:a16="http://schemas.microsoft.com/office/drawing/2014/main" id="{068C1BEB-65E0-4134-950E-7E156117824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6969992" y="3462319"/>
                    <a:ext cx="807913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Choybalsan</a:t>
                    </a:r>
                  </a:p>
                </p:txBody>
              </p:sp>
              <p:sp>
                <p:nvSpPr>
                  <p:cNvPr id="40" name="Buyant-Uhaa Label">
                    <a:extLst>
                      <a:ext uri="{FF2B5EF4-FFF2-40B4-BE49-F238E27FC236}">
                        <a16:creationId xmlns:a16="http://schemas.microsoft.com/office/drawing/2014/main" id="{D440CC93-F799-4D96-BAC7-46E25638E45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793654" y="4938714"/>
                    <a:ext cx="894476" cy="184666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200" noProof="1">
                        <a:solidFill>
                          <a:schemeClr val="bg1"/>
                        </a:solidFill>
                        <a:latin typeface="Arial" charset="0"/>
                      </a:rPr>
                      <a:t>Buyant-Uhaa</a:t>
                    </a:r>
                  </a:p>
                </p:txBody>
              </p:sp>
            </p:grpSp>
            <p:grpSp>
              <p:nvGrpSpPr>
                <p:cNvPr id="22" name="ULAANBAATAR">
                  <a:extLst>
                    <a:ext uri="{FF2B5EF4-FFF2-40B4-BE49-F238E27FC236}">
                      <a16:creationId xmlns:a16="http://schemas.microsoft.com/office/drawing/2014/main" id="{C60CE0E4-BE7A-488D-A084-8FF0951253B9}"/>
                    </a:ext>
                  </a:extLst>
                </p:cNvPr>
                <p:cNvGrpSpPr/>
                <p:nvPr/>
              </p:nvGrpSpPr>
              <p:grpSpPr bwMode="gray">
                <a:xfrm>
                  <a:off x="5712235" y="3794909"/>
                  <a:ext cx="1346493" cy="302441"/>
                  <a:chOff x="5712235" y="3794909"/>
                  <a:chExt cx="1346493" cy="302441"/>
                </a:xfrm>
              </p:grpSpPr>
              <p:sp>
                <p:nvSpPr>
                  <p:cNvPr id="29" name="ULAANBAATAR Label">
                    <a:extLst>
                      <a:ext uri="{FF2B5EF4-FFF2-40B4-BE49-F238E27FC236}">
                        <a16:creationId xmlns:a16="http://schemas.microsoft.com/office/drawing/2014/main" id="{02193396-9D93-4BE3-945C-9E5449775A8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gray">
                  <a:xfrm>
                    <a:off x="5863593" y="3897295"/>
                    <a:ext cx="1195135" cy="200055"/>
                  </a:xfrm>
                  <a:prstGeom prst="rect">
                    <a:avLst/>
                  </a:prstGeom>
                  <a:noFill/>
                  <a:ln w="9525">
                    <a:solidFill>
                      <a:schemeClr val="accent4">
                        <a:lumMod val="60000"/>
                        <a:lumOff val="40000"/>
                      </a:schemeClr>
                    </a:solidFill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r>
                      <a:rPr lang="en-GB" sz="1300" noProof="1">
                        <a:solidFill>
                          <a:schemeClr val="bg1"/>
                        </a:solidFill>
                      </a:rPr>
                      <a:t>ULAANBAATAR</a:t>
                    </a:r>
                  </a:p>
                </p:txBody>
              </p:sp>
              <p:sp>
                <p:nvSpPr>
                  <p:cNvPr id="30" name="ULAANBAATAR Locator">
                    <a:extLst>
                      <a:ext uri="{FF2B5EF4-FFF2-40B4-BE49-F238E27FC236}">
                        <a16:creationId xmlns:a16="http://schemas.microsoft.com/office/drawing/2014/main" id="{0B93BDA0-26BC-44F2-99D0-D020FD324627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 bwMode="gray">
                  <a:xfrm>
                    <a:off x="5712235" y="3794909"/>
                    <a:ext cx="139489" cy="135265"/>
                  </a:xfrm>
                  <a:prstGeom prst="flowChartConnector">
                    <a:avLst/>
                  </a:prstGeom>
                  <a:solidFill>
                    <a:schemeClr val="accent4"/>
                  </a:solidFill>
                  <a:ln w="3175">
                    <a:solidFill>
                      <a:schemeClr val="accent4">
                        <a:lumMod val="60000"/>
                        <a:lumOff val="40000"/>
                      </a:schemeClr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GB" noProof="1"/>
                  </a:p>
                </p:txBody>
              </p:sp>
            </p:grpSp>
            <p:sp>
              <p:nvSpPr>
                <p:cNvPr id="23" name="Lake Baikal Label">
                  <a:extLst>
                    <a:ext uri="{FF2B5EF4-FFF2-40B4-BE49-F238E27FC236}">
                      <a16:creationId xmlns:a16="http://schemas.microsoft.com/office/drawing/2014/main" id="{C76856D9-54EA-40D2-A64A-DFFCEE6B47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5554722" y="2174996"/>
                  <a:ext cx="416781" cy="36933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pPr algn="ctr"/>
                  <a:r>
                    <a:rPr lang="en-GB" sz="1200" i="1" noProof="1">
                      <a:solidFill>
                        <a:schemeClr val="accent4"/>
                      </a:solidFill>
                    </a:rPr>
                    <a:t>Lake</a:t>
                  </a:r>
                </a:p>
                <a:p>
                  <a:pPr algn="ctr"/>
                  <a:r>
                    <a:rPr lang="en-GB" sz="1200" i="1" noProof="1">
                      <a:solidFill>
                        <a:schemeClr val="accent4"/>
                      </a:solidFill>
                    </a:rPr>
                    <a:t>Baikal</a:t>
                  </a:r>
                  <a:endParaRPr lang="en-GB" sz="1200" noProof="1">
                    <a:solidFill>
                      <a:schemeClr val="accent4"/>
                    </a:solidFill>
                  </a:endParaRPr>
                </a:p>
              </p:txBody>
            </p:sp>
            <p:sp>
              <p:nvSpPr>
                <p:cNvPr id="24" name="Russia Label">
                  <a:extLst>
                    <a:ext uri="{FF2B5EF4-FFF2-40B4-BE49-F238E27FC236}">
                      <a16:creationId xmlns:a16="http://schemas.microsoft.com/office/drawing/2014/main" id="{28A016EB-F987-4370-9CFD-2712585B961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200981" y="2422893"/>
                  <a:ext cx="956993" cy="30777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GB" sz="2000" noProof="1">
                      <a:solidFill>
                        <a:schemeClr val="accent4"/>
                      </a:solidFill>
                    </a:rPr>
                    <a:t>RUSSIA</a:t>
                  </a:r>
                </a:p>
              </p:txBody>
            </p:sp>
            <p:sp>
              <p:nvSpPr>
                <p:cNvPr id="26" name="China Label">
                  <a:extLst>
                    <a:ext uri="{FF2B5EF4-FFF2-40B4-BE49-F238E27FC236}">
                      <a16:creationId xmlns:a16="http://schemas.microsoft.com/office/drawing/2014/main" id="{DE70F17A-5076-4449-8596-5C8130089A1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8099054" y="5263075"/>
                  <a:ext cx="799899" cy="30777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GB" sz="2000" noProof="1">
                      <a:solidFill>
                        <a:schemeClr val="accent4"/>
                      </a:solidFill>
                    </a:rPr>
                    <a:t>CHINA</a:t>
                  </a:r>
                </a:p>
              </p:txBody>
            </p:sp>
            <p:sp>
              <p:nvSpPr>
                <p:cNvPr id="27" name="Gobi Desert Label">
                  <a:extLst>
                    <a:ext uri="{FF2B5EF4-FFF2-40B4-BE49-F238E27FC236}">
                      <a16:creationId xmlns:a16="http://schemas.microsoft.com/office/drawing/2014/main" id="{0E1A5D30-9383-4E63-A833-E2619D93F74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6413913" y="5678411"/>
                  <a:ext cx="1377415" cy="30976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GB" sz="1600" i="1" noProof="1">
                      <a:solidFill>
                        <a:schemeClr val="bg1"/>
                      </a:solidFill>
                    </a:rPr>
                    <a:t>Gobi </a:t>
                  </a:r>
                  <a:r>
                    <a:rPr lang="en-GB" sz="1600" i="1" noProof="1">
                      <a:solidFill>
                        <a:schemeClr val="accent4"/>
                      </a:solidFill>
                    </a:rPr>
                    <a:t>Desert</a:t>
                  </a:r>
                </a:p>
              </p:txBody>
            </p:sp>
            <p:sp>
              <p:nvSpPr>
                <p:cNvPr id="28" name="MONGOLIA Label">
                  <a:extLst>
                    <a:ext uri="{FF2B5EF4-FFF2-40B4-BE49-F238E27FC236}">
                      <a16:creationId xmlns:a16="http://schemas.microsoft.com/office/drawing/2014/main" id="{A940A099-A8CA-4263-B6C3-2AE7735413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gray">
                <a:xfrm>
                  <a:off x="3753750" y="3943727"/>
                  <a:ext cx="1428276" cy="307777"/>
                </a:xfrm>
                <a:prstGeom prst="rect">
                  <a:avLst/>
                </a:prstGeom>
                <a:noFill/>
                <a:ln w="9525">
                  <a:solidFill>
                    <a:schemeClr val="accent4">
                      <a:lumMod val="60000"/>
                      <a:lumOff val="40000"/>
                    </a:schemeClr>
                  </a:solidFill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GB" sz="2000" noProof="1">
                      <a:solidFill>
                        <a:schemeClr val="bg1"/>
                      </a:solidFill>
                      <a:latin typeface="+mj-lt"/>
                    </a:rPr>
                    <a:t>MONGOLIA</a:t>
                  </a:r>
                </a:p>
              </p:txBody>
            </p:sp>
          </p:grpSp>
        </p:grp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7FBA0CED-AC05-4A29-B86E-E086F736377C}"/>
                </a:ext>
              </a:extLst>
            </p:cNvPr>
            <p:cNvSpPr/>
            <p:nvPr/>
          </p:nvSpPr>
          <p:spPr>
            <a:xfrm>
              <a:off x="4148670" y="2261126"/>
              <a:ext cx="7163510" cy="3620220"/>
            </a:xfrm>
            <a:prstGeom prst="rect">
              <a:avLst/>
            </a:prstGeom>
            <a:noFill/>
            <a:ln w="76200">
              <a:solidFill>
                <a:schemeClr val="bg1"/>
              </a:solidFill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/>
            </a:p>
          </p:txBody>
        </p:sp>
      </p:grpSp>
      <p:sp>
        <p:nvSpPr>
          <p:cNvPr id="51" name="Rectangle 50">
            <a:extLst>
              <a:ext uri="{FF2B5EF4-FFF2-40B4-BE49-F238E27FC236}">
                <a16:creationId xmlns:a16="http://schemas.microsoft.com/office/drawing/2014/main" id="{7FD8BCDB-78E9-41CC-813B-EB7C9A924BF4}"/>
              </a:ext>
            </a:extLst>
          </p:cNvPr>
          <p:cNvSpPr/>
          <p:nvPr/>
        </p:nvSpPr>
        <p:spPr>
          <a:xfrm>
            <a:off x="701736" y="2854122"/>
            <a:ext cx="3480593" cy="504000"/>
          </a:xfrm>
          <a:prstGeom prst="rect">
            <a:avLst/>
          </a:prstGeom>
          <a:solidFill>
            <a:schemeClr val="accent3">
              <a:alpha val="77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de-DE" sz="1500" dirty="0"/>
              <a:t>2 Baseler Abkommen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D7832B23-AC8D-44EE-BB2C-5FEB3C3E8FA2}"/>
              </a:ext>
            </a:extLst>
          </p:cNvPr>
          <p:cNvSpPr/>
          <p:nvPr/>
        </p:nvSpPr>
        <p:spPr>
          <a:xfrm>
            <a:off x="5087656" y="4025947"/>
            <a:ext cx="54000" cy="291672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4DF1F440-18C9-4FB9-BA54-31596E82BEAB}"/>
              </a:ext>
            </a:extLst>
          </p:cNvPr>
          <p:cNvSpPr/>
          <p:nvPr/>
        </p:nvSpPr>
        <p:spPr>
          <a:xfrm>
            <a:off x="4148670" y="2261126"/>
            <a:ext cx="54000" cy="4681541"/>
          </a:xfrm>
          <a:prstGeom prst="rect">
            <a:avLst/>
          </a:prstGeom>
          <a:solidFill>
            <a:schemeClr val="accent1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17F0DC-5463-44FF-8F48-292BA657EBEB}"/>
              </a:ext>
            </a:extLst>
          </p:cNvPr>
          <p:cNvSpPr/>
          <p:nvPr/>
        </p:nvSpPr>
        <p:spPr>
          <a:xfrm>
            <a:off x="442913" y="2377444"/>
            <a:ext cx="3754072" cy="50400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80000" rtlCol="0" anchor="ctr"/>
          <a:lstStyle/>
          <a:p>
            <a:pPr>
              <a:lnSpc>
                <a:spcPct val="100000"/>
              </a:lnSpc>
            </a:pPr>
            <a:r>
              <a:rPr lang="de-DE" sz="1500" dirty="0"/>
              <a:t>1 Internationale Abkommen &amp; Verträg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A0A769F-4C9E-46AA-B6CA-0D65FD6EE350}"/>
              </a:ext>
            </a:extLst>
          </p:cNvPr>
          <p:cNvSpPr/>
          <p:nvPr/>
        </p:nvSpPr>
        <p:spPr>
          <a:xfrm>
            <a:off x="1645806" y="4126675"/>
            <a:ext cx="3480594" cy="50400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txBody>
          <a:bodyPr rot="0" spcFirstLastPara="0" vertOverflow="overflow" horzOverflow="overflow" vert="horz" wrap="square" lIns="18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500" dirty="0">
                <a:solidFill>
                  <a:schemeClr val="lt1"/>
                </a:solidFill>
              </a:rPr>
              <a:t>3 Nationales mongolisches Recht</a:t>
            </a:r>
          </a:p>
        </p:txBody>
      </p:sp>
    </p:spTree>
    <p:extLst>
      <p:ext uri="{BB962C8B-B14F-4D97-AF65-F5344CB8AC3E}">
        <p14:creationId xmlns:p14="http://schemas.microsoft.com/office/powerpoint/2010/main" val="2172643876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59" grpId="0" animBg="1"/>
      <p:bldP spid="58" grpId="0" animBg="1"/>
      <p:bldP spid="9" grpId="0" animBg="1"/>
      <p:bldP spid="5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0174" y="0"/>
            <a:ext cx="5993296" cy="6858000"/>
          </a:xfrm>
        </p:spPr>
        <p:txBody>
          <a:bodyPr anchor="ctr"/>
          <a:lstStyle/>
          <a:p>
            <a:r>
              <a:rPr lang="en-GB" sz="4800" b="1" dirty="0"/>
              <a:t>Internationale </a:t>
            </a:r>
            <a:r>
              <a:rPr lang="en-GB" sz="4800" b="1" dirty="0" err="1"/>
              <a:t>Abkommen</a:t>
            </a:r>
            <a:r>
              <a:rPr lang="en-GB" sz="4800" b="1" dirty="0"/>
              <a:t> &amp; </a:t>
            </a:r>
            <a:r>
              <a:rPr lang="en-GB" sz="4800" b="1" dirty="0" err="1"/>
              <a:t>Verträge</a:t>
            </a:r>
            <a:r>
              <a:rPr lang="en-GB" sz="4800" b="1" dirty="0"/>
              <a:t> </a:t>
            </a:r>
            <a:r>
              <a:rPr lang="en-GB" sz="4800" b="1" dirty="0" err="1"/>
              <a:t>zum</a:t>
            </a:r>
            <a:r>
              <a:rPr lang="en-GB" sz="4800" b="1" dirty="0"/>
              <a:t> </a:t>
            </a:r>
            <a:r>
              <a:rPr lang="en-GB" sz="4800" b="1" dirty="0" err="1"/>
              <a:t>Investitionsschutz</a:t>
            </a:r>
            <a:r>
              <a:rPr lang="en-GB" sz="4800" b="1" dirty="0"/>
              <a:t> in der </a:t>
            </a:r>
            <a:r>
              <a:rPr lang="en-GB" sz="4800" b="1" dirty="0" err="1"/>
              <a:t>Mongolei</a:t>
            </a:r>
            <a:endParaRPr lang="en-GB" sz="4800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173102"/>
      </p:ext>
    </p:extLst>
  </p:cSld>
  <p:clrMapOvr>
    <a:masterClrMapping/>
  </p:clrMapOvr>
  <p:transition spd="slow">
    <p:push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" name="Group 66">
            <a:extLst>
              <a:ext uri="{FF2B5EF4-FFF2-40B4-BE49-F238E27FC236}">
                <a16:creationId xmlns:a16="http://schemas.microsoft.com/office/drawing/2014/main" id="{7C9D8ED1-F70F-496C-9B66-1D03F5AB494E}"/>
              </a:ext>
            </a:extLst>
          </p:cNvPr>
          <p:cNvGrpSpPr>
            <a:grpSpLocks noChangeAspect="1"/>
          </p:cNvGrpSpPr>
          <p:nvPr/>
        </p:nvGrpSpPr>
        <p:grpSpPr>
          <a:xfrm>
            <a:off x="449793" y="2075865"/>
            <a:ext cx="633600" cy="633600"/>
            <a:chOff x="6486082" y="3429000"/>
            <a:chExt cx="426447" cy="426447"/>
          </a:xfrm>
          <a:solidFill>
            <a:schemeClr val="tx1"/>
          </a:solidFill>
        </p:grpSpPr>
        <p:sp>
          <p:nvSpPr>
            <p:cNvPr id="68" name="Freeform 30">
              <a:extLst>
                <a:ext uri="{FF2B5EF4-FFF2-40B4-BE49-F238E27FC236}">
                  <a16:creationId xmlns:a16="http://schemas.microsoft.com/office/drawing/2014/main" id="{C2C2A80A-40D2-43B6-A920-A0CC47133F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6082" y="3429000"/>
              <a:ext cx="426447" cy="426447"/>
            </a:xfrm>
            <a:custGeom>
              <a:avLst/>
              <a:gdLst>
                <a:gd name="T0" fmla="*/ 0 w 61"/>
                <a:gd name="T1" fmla="*/ 0 h 61"/>
                <a:gd name="T2" fmla="*/ 0 w 61"/>
                <a:gd name="T3" fmla="*/ 61 h 61"/>
                <a:gd name="T4" fmla="*/ 61 w 61"/>
                <a:gd name="T5" fmla="*/ 61 h 61"/>
                <a:gd name="T6" fmla="*/ 61 w 61"/>
                <a:gd name="T7" fmla="*/ 0 h 61"/>
                <a:gd name="T8" fmla="*/ 0 w 61"/>
                <a:gd name="T9" fmla="*/ 0 h 61"/>
                <a:gd name="T10" fmla="*/ 58 w 61"/>
                <a:gd name="T11" fmla="*/ 58 h 61"/>
                <a:gd name="T12" fmla="*/ 3 w 61"/>
                <a:gd name="T13" fmla="*/ 58 h 61"/>
                <a:gd name="T14" fmla="*/ 3 w 61"/>
                <a:gd name="T15" fmla="*/ 3 h 61"/>
                <a:gd name="T16" fmla="*/ 58 w 61"/>
                <a:gd name="T17" fmla="*/ 3 h 61"/>
                <a:gd name="T18" fmla="*/ 58 w 61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0" y="0"/>
                  </a:moveTo>
                  <a:lnTo>
                    <a:pt x="0" y="61"/>
                  </a:lnTo>
                  <a:lnTo>
                    <a:pt x="61" y="61"/>
                  </a:lnTo>
                  <a:lnTo>
                    <a:pt x="61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3" y="58"/>
                  </a:lnTo>
                  <a:lnTo>
                    <a:pt x="3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9" name="Freeform 31">
              <a:extLst>
                <a:ext uri="{FF2B5EF4-FFF2-40B4-BE49-F238E27FC236}">
                  <a16:creationId xmlns:a16="http://schemas.microsoft.com/office/drawing/2014/main" id="{4FE52701-34D9-424D-BAD9-DAB9045B14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4045" y="3470945"/>
              <a:ext cx="370519" cy="335563"/>
            </a:xfrm>
            <a:custGeom>
              <a:avLst/>
              <a:gdLst>
                <a:gd name="T0" fmla="*/ 27 w 53"/>
                <a:gd name="T1" fmla="*/ 48 h 48"/>
                <a:gd name="T2" fmla="*/ 53 w 53"/>
                <a:gd name="T3" fmla="*/ 32 h 48"/>
                <a:gd name="T4" fmla="*/ 47 w 53"/>
                <a:gd name="T5" fmla="*/ 28 h 48"/>
                <a:gd name="T6" fmla="*/ 53 w 53"/>
                <a:gd name="T7" fmla="*/ 24 h 48"/>
                <a:gd name="T8" fmla="*/ 47 w 53"/>
                <a:gd name="T9" fmla="*/ 20 h 48"/>
                <a:gd name="T10" fmla="*/ 53 w 53"/>
                <a:gd name="T11" fmla="*/ 16 h 48"/>
                <a:gd name="T12" fmla="*/ 26 w 53"/>
                <a:gd name="T13" fmla="*/ 0 h 48"/>
                <a:gd name="T14" fmla="*/ 0 w 53"/>
                <a:gd name="T15" fmla="*/ 16 h 48"/>
                <a:gd name="T16" fmla="*/ 6 w 53"/>
                <a:gd name="T17" fmla="*/ 20 h 48"/>
                <a:gd name="T18" fmla="*/ 0 w 53"/>
                <a:gd name="T19" fmla="*/ 24 h 48"/>
                <a:gd name="T20" fmla="*/ 6 w 53"/>
                <a:gd name="T21" fmla="*/ 28 h 48"/>
                <a:gd name="T22" fmla="*/ 0 w 53"/>
                <a:gd name="T23" fmla="*/ 32 h 48"/>
                <a:gd name="T24" fmla="*/ 27 w 53"/>
                <a:gd name="T25" fmla="*/ 48 h 48"/>
                <a:gd name="T26" fmla="*/ 27 w 53"/>
                <a:gd name="T27" fmla="*/ 3 h 48"/>
                <a:gd name="T28" fmla="*/ 49 w 53"/>
                <a:gd name="T29" fmla="*/ 16 h 48"/>
                <a:gd name="T30" fmla="*/ 26 w 53"/>
                <a:gd name="T31" fmla="*/ 30 h 48"/>
                <a:gd name="T32" fmla="*/ 4 w 53"/>
                <a:gd name="T33" fmla="*/ 16 h 48"/>
                <a:gd name="T34" fmla="*/ 27 w 53"/>
                <a:gd name="T35" fmla="*/ 3 h 48"/>
                <a:gd name="T36" fmla="*/ 8 w 53"/>
                <a:gd name="T37" fmla="*/ 22 h 48"/>
                <a:gd name="T38" fmla="*/ 27 w 53"/>
                <a:gd name="T39" fmla="*/ 33 h 48"/>
                <a:gd name="T40" fmla="*/ 45 w 53"/>
                <a:gd name="T41" fmla="*/ 22 h 48"/>
                <a:gd name="T42" fmla="*/ 49 w 53"/>
                <a:gd name="T43" fmla="*/ 24 h 48"/>
                <a:gd name="T44" fmla="*/ 26 w 53"/>
                <a:gd name="T45" fmla="*/ 38 h 48"/>
                <a:gd name="T46" fmla="*/ 4 w 53"/>
                <a:gd name="T47" fmla="*/ 24 h 48"/>
                <a:gd name="T48" fmla="*/ 8 w 53"/>
                <a:gd name="T49" fmla="*/ 22 h 48"/>
                <a:gd name="T50" fmla="*/ 27 w 53"/>
                <a:gd name="T51" fmla="*/ 40 h 48"/>
                <a:gd name="T52" fmla="*/ 45 w 53"/>
                <a:gd name="T53" fmla="*/ 29 h 48"/>
                <a:gd name="T54" fmla="*/ 49 w 53"/>
                <a:gd name="T55" fmla="*/ 32 h 48"/>
                <a:gd name="T56" fmla="*/ 26 w 53"/>
                <a:gd name="T57" fmla="*/ 45 h 48"/>
                <a:gd name="T58" fmla="*/ 4 w 53"/>
                <a:gd name="T59" fmla="*/ 32 h 48"/>
                <a:gd name="T60" fmla="*/ 8 w 53"/>
                <a:gd name="T61" fmla="*/ 29 h 48"/>
                <a:gd name="T62" fmla="*/ 27 w 53"/>
                <a:gd name="T6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3" h="48">
                  <a:moveTo>
                    <a:pt x="27" y="48"/>
                  </a:moveTo>
                  <a:lnTo>
                    <a:pt x="53" y="32"/>
                  </a:lnTo>
                  <a:lnTo>
                    <a:pt x="47" y="28"/>
                  </a:lnTo>
                  <a:lnTo>
                    <a:pt x="53" y="24"/>
                  </a:lnTo>
                  <a:lnTo>
                    <a:pt x="47" y="20"/>
                  </a:lnTo>
                  <a:lnTo>
                    <a:pt x="53" y="16"/>
                  </a:lnTo>
                  <a:lnTo>
                    <a:pt x="26" y="0"/>
                  </a:lnTo>
                  <a:lnTo>
                    <a:pt x="0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6" y="28"/>
                  </a:lnTo>
                  <a:lnTo>
                    <a:pt x="0" y="32"/>
                  </a:lnTo>
                  <a:lnTo>
                    <a:pt x="27" y="48"/>
                  </a:lnTo>
                  <a:close/>
                  <a:moveTo>
                    <a:pt x="27" y="3"/>
                  </a:moveTo>
                  <a:lnTo>
                    <a:pt x="49" y="16"/>
                  </a:lnTo>
                  <a:lnTo>
                    <a:pt x="26" y="30"/>
                  </a:lnTo>
                  <a:lnTo>
                    <a:pt x="4" y="16"/>
                  </a:lnTo>
                  <a:lnTo>
                    <a:pt x="27" y="3"/>
                  </a:lnTo>
                  <a:close/>
                  <a:moveTo>
                    <a:pt x="8" y="22"/>
                  </a:moveTo>
                  <a:lnTo>
                    <a:pt x="27" y="33"/>
                  </a:lnTo>
                  <a:lnTo>
                    <a:pt x="45" y="22"/>
                  </a:lnTo>
                  <a:lnTo>
                    <a:pt x="49" y="24"/>
                  </a:lnTo>
                  <a:lnTo>
                    <a:pt x="26" y="38"/>
                  </a:lnTo>
                  <a:lnTo>
                    <a:pt x="4" y="24"/>
                  </a:lnTo>
                  <a:lnTo>
                    <a:pt x="8" y="22"/>
                  </a:lnTo>
                  <a:close/>
                  <a:moveTo>
                    <a:pt x="27" y="40"/>
                  </a:moveTo>
                  <a:lnTo>
                    <a:pt x="45" y="29"/>
                  </a:lnTo>
                  <a:lnTo>
                    <a:pt x="49" y="32"/>
                  </a:lnTo>
                  <a:lnTo>
                    <a:pt x="26" y="45"/>
                  </a:lnTo>
                  <a:lnTo>
                    <a:pt x="4" y="32"/>
                  </a:lnTo>
                  <a:lnTo>
                    <a:pt x="8" y="29"/>
                  </a:lnTo>
                  <a:lnTo>
                    <a:pt x="27" y="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FD30661-ABE4-4645-8E3F-41E774D1222D}"/>
              </a:ext>
            </a:extLst>
          </p:cNvPr>
          <p:cNvGrpSpPr>
            <a:grpSpLocks noChangeAspect="1"/>
          </p:cNvGrpSpPr>
          <p:nvPr/>
        </p:nvGrpSpPr>
        <p:grpSpPr>
          <a:xfrm>
            <a:off x="442789" y="4243722"/>
            <a:ext cx="633600" cy="633600"/>
            <a:chOff x="944563" y="1219200"/>
            <a:chExt cx="123825" cy="123825"/>
          </a:xfrm>
          <a:solidFill>
            <a:schemeClr val="tx1"/>
          </a:solidFill>
        </p:grpSpPr>
        <p:sp>
          <p:nvSpPr>
            <p:cNvPr id="57" name="Freeform 70">
              <a:extLst>
                <a:ext uri="{FF2B5EF4-FFF2-40B4-BE49-F238E27FC236}">
                  <a16:creationId xmlns:a16="http://schemas.microsoft.com/office/drawing/2014/main" id="{2BF920BA-76D1-4BDC-ACB6-E7668645D5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1219200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4 h 78"/>
                <a:gd name="T12" fmla="*/ 4 w 78"/>
                <a:gd name="T13" fmla="*/ 74 h 78"/>
                <a:gd name="T14" fmla="*/ 4 w 78"/>
                <a:gd name="T15" fmla="*/ 3 h 78"/>
                <a:gd name="T16" fmla="*/ 75 w 78"/>
                <a:gd name="T17" fmla="*/ 3 h 78"/>
                <a:gd name="T18" fmla="*/ 75 w 78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4"/>
                  </a:moveTo>
                  <a:lnTo>
                    <a:pt x="4" y="74"/>
                  </a:lnTo>
                  <a:lnTo>
                    <a:pt x="4" y="3"/>
                  </a:lnTo>
                  <a:lnTo>
                    <a:pt x="75" y="3"/>
                  </a:lnTo>
                  <a:lnTo>
                    <a:pt x="75" y="7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58" name="Freeform 71">
              <a:extLst>
                <a:ext uri="{FF2B5EF4-FFF2-40B4-BE49-F238E27FC236}">
                  <a16:creationId xmlns:a16="http://schemas.microsoft.com/office/drawing/2014/main" id="{D8320AC5-FC27-4A67-9DBC-000F6E41BC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438" y="1235075"/>
              <a:ext cx="92075" cy="38100"/>
            </a:xfrm>
            <a:custGeom>
              <a:avLst/>
              <a:gdLst>
                <a:gd name="T0" fmla="*/ 58 w 58"/>
                <a:gd name="T1" fmla="*/ 0 h 24"/>
                <a:gd name="T2" fmla="*/ 0 w 58"/>
                <a:gd name="T3" fmla="*/ 0 h 24"/>
                <a:gd name="T4" fmla="*/ 0 w 58"/>
                <a:gd name="T5" fmla="*/ 24 h 24"/>
                <a:gd name="T6" fmla="*/ 58 w 58"/>
                <a:gd name="T7" fmla="*/ 24 h 24"/>
                <a:gd name="T8" fmla="*/ 58 w 58"/>
                <a:gd name="T9" fmla="*/ 0 h 24"/>
                <a:gd name="T10" fmla="*/ 55 w 58"/>
                <a:gd name="T11" fmla="*/ 21 h 24"/>
                <a:gd name="T12" fmla="*/ 3 w 58"/>
                <a:gd name="T13" fmla="*/ 21 h 24"/>
                <a:gd name="T14" fmla="*/ 3 w 58"/>
                <a:gd name="T15" fmla="*/ 4 h 24"/>
                <a:gd name="T16" fmla="*/ 55 w 58"/>
                <a:gd name="T17" fmla="*/ 4 h 24"/>
                <a:gd name="T18" fmla="*/ 55 w 58"/>
                <a:gd name="T19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24">
                  <a:moveTo>
                    <a:pt x="58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58" y="24"/>
                  </a:lnTo>
                  <a:lnTo>
                    <a:pt x="58" y="0"/>
                  </a:lnTo>
                  <a:close/>
                  <a:moveTo>
                    <a:pt x="55" y="21"/>
                  </a:moveTo>
                  <a:lnTo>
                    <a:pt x="3" y="21"/>
                  </a:lnTo>
                  <a:lnTo>
                    <a:pt x="3" y="4"/>
                  </a:lnTo>
                  <a:lnTo>
                    <a:pt x="55" y="4"/>
                  </a:lnTo>
                  <a:lnTo>
                    <a:pt x="55" y="2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59" name="Freeform 72">
              <a:extLst>
                <a:ext uri="{FF2B5EF4-FFF2-40B4-BE49-F238E27FC236}">
                  <a16:creationId xmlns:a16="http://schemas.microsoft.com/office/drawing/2014/main" id="{46E0C64A-FF5F-4D2F-A939-8CFDF34AD9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438" y="1281113"/>
              <a:ext cx="17463" cy="19050"/>
            </a:xfrm>
            <a:custGeom>
              <a:avLst/>
              <a:gdLst>
                <a:gd name="T0" fmla="*/ 11 w 11"/>
                <a:gd name="T1" fmla="*/ 0 h 12"/>
                <a:gd name="T2" fmla="*/ 0 w 11"/>
                <a:gd name="T3" fmla="*/ 0 h 12"/>
                <a:gd name="T4" fmla="*/ 0 w 11"/>
                <a:gd name="T5" fmla="*/ 12 h 12"/>
                <a:gd name="T6" fmla="*/ 11 w 11"/>
                <a:gd name="T7" fmla="*/ 12 h 12"/>
                <a:gd name="T8" fmla="*/ 11 w 11"/>
                <a:gd name="T9" fmla="*/ 0 h 12"/>
                <a:gd name="T10" fmla="*/ 8 w 11"/>
                <a:gd name="T11" fmla="*/ 8 h 12"/>
                <a:gd name="T12" fmla="*/ 3 w 11"/>
                <a:gd name="T13" fmla="*/ 8 h 12"/>
                <a:gd name="T14" fmla="*/ 3 w 11"/>
                <a:gd name="T15" fmla="*/ 4 h 12"/>
                <a:gd name="T16" fmla="*/ 8 w 11"/>
                <a:gd name="T17" fmla="*/ 4 h 12"/>
                <a:gd name="T18" fmla="*/ 8 w 11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1" y="12"/>
                  </a:lnTo>
                  <a:lnTo>
                    <a:pt x="11" y="0"/>
                  </a:lnTo>
                  <a:close/>
                  <a:moveTo>
                    <a:pt x="8" y="8"/>
                  </a:moveTo>
                  <a:lnTo>
                    <a:pt x="3" y="8"/>
                  </a:lnTo>
                  <a:lnTo>
                    <a:pt x="3" y="4"/>
                  </a:lnTo>
                  <a:lnTo>
                    <a:pt x="8" y="4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0" name="Freeform 73">
              <a:extLst>
                <a:ext uri="{FF2B5EF4-FFF2-40B4-BE49-F238E27FC236}">
                  <a16:creationId xmlns:a16="http://schemas.microsoft.com/office/drawing/2014/main" id="{D91D9D7C-B19B-46E3-8645-CC36A555E5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5838" y="1281113"/>
              <a:ext cx="17463" cy="19050"/>
            </a:xfrm>
            <a:custGeom>
              <a:avLst/>
              <a:gdLst>
                <a:gd name="T0" fmla="*/ 0 w 11"/>
                <a:gd name="T1" fmla="*/ 12 h 12"/>
                <a:gd name="T2" fmla="*/ 11 w 11"/>
                <a:gd name="T3" fmla="*/ 12 h 12"/>
                <a:gd name="T4" fmla="*/ 11 w 11"/>
                <a:gd name="T5" fmla="*/ 0 h 12"/>
                <a:gd name="T6" fmla="*/ 0 w 11"/>
                <a:gd name="T7" fmla="*/ 0 h 12"/>
                <a:gd name="T8" fmla="*/ 0 w 11"/>
                <a:gd name="T9" fmla="*/ 12 h 12"/>
                <a:gd name="T10" fmla="*/ 3 w 11"/>
                <a:gd name="T11" fmla="*/ 4 h 12"/>
                <a:gd name="T12" fmla="*/ 8 w 11"/>
                <a:gd name="T13" fmla="*/ 4 h 12"/>
                <a:gd name="T14" fmla="*/ 8 w 11"/>
                <a:gd name="T15" fmla="*/ 8 h 12"/>
                <a:gd name="T16" fmla="*/ 3 w 11"/>
                <a:gd name="T17" fmla="*/ 8 h 12"/>
                <a:gd name="T18" fmla="*/ 3 w 11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0" y="12"/>
                  </a:moveTo>
                  <a:lnTo>
                    <a:pt x="11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2"/>
                  </a:lnTo>
                  <a:close/>
                  <a:moveTo>
                    <a:pt x="3" y="4"/>
                  </a:moveTo>
                  <a:lnTo>
                    <a:pt x="8" y="4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1" name="Freeform 74">
              <a:extLst>
                <a:ext uri="{FF2B5EF4-FFF2-40B4-BE49-F238E27FC236}">
                  <a16:creationId xmlns:a16="http://schemas.microsoft.com/office/drawing/2014/main" id="{E04133CB-3075-4F49-81B6-D910315EB0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650" y="1281113"/>
              <a:ext cx="19050" cy="190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12 h 12"/>
                <a:gd name="T4" fmla="*/ 12 w 12"/>
                <a:gd name="T5" fmla="*/ 0 h 12"/>
                <a:gd name="T6" fmla="*/ 0 w 12"/>
                <a:gd name="T7" fmla="*/ 0 h 12"/>
                <a:gd name="T8" fmla="*/ 0 w 12"/>
                <a:gd name="T9" fmla="*/ 12 h 12"/>
                <a:gd name="T10" fmla="*/ 4 w 12"/>
                <a:gd name="T11" fmla="*/ 4 h 12"/>
                <a:gd name="T12" fmla="*/ 8 w 12"/>
                <a:gd name="T13" fmla="*/ 4 h 12"/>
                <a:gd name="T14" fmla="*/ 8 w 12"/>
                <a:gd name="T15" fmla="*/ 8 h 12"/>
                <a:gd name="T16" fmla="*/ 4 w 12"/>
                <a:gd name="T17" fmla="*/ 8 h 12"/>
                <a:gd name="T18" fmla="*/ 4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12" y="1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2"/>
                  </a:lnTo>
                  <a:close/>
                  <a:moveTo>
                    <a:pt x="4" y="4"/>
                  </a:moveTo>
                  <a:lnTo>
                    <a:pt x="8" y="4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2" name="Freeform 75">
              <a:extLst>
                <a:ext uri="{FF2B5EF4-FFF2-40B4-BE49-F238E27FC236}">
                  <a16:creationId xmlns:a16="http://schemas.microsoft.com/office/drawing/2014/main" id="{CBAE506C-172A-4D4C-9193-6AB97B5BAA4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5050" y="1281113"/>
              <a:ext cx="17463" cy="19050"/>
            </a:xfrm>
            <a:custGeom>
              <a:avLst/>
              <a:gdLst>
                <a:gd name="T0" fmla="*/ 0 w 11"/>
                <a:gd name="T1" fmla="*/ 12 h 12"/>
                <a:gd name="T2" fmla="*/ 11 w 11"/>
                <a:gd name="T3" fmla="*/ 12 h 12"/>
                <a:gd name="T4" fmla="*/ 11 w 11"/>
                <a:gd name="T5" fmla="*/ 0 h 12"/>
                <a:gd name="T6" fmla="*/ 0 w 11"/>
                <a:gd name="T7" fmla="*/ 0 h 12"/>
                <a:gd name="T8" fmla="*/ 0 w 11"/>
                <a:gd name="T9" fmla="*/ 12 h 12"/>
                <a:gd name="T10" fmla="*/ 3 w 11"/>
                <a:gd name="T11" fmla="*/ 4 h 12"/>
                <a:gd name="T12" fmla="*/ 8 w 11"/>
                <a:gd name="T13" fmla="*/ 4 h 12"/>
                <a:gd name="T14" fmla="*/ 8 w 11"/>
                <a:gd name="T15" fmla="*/ 8 h 12"/>
                <a:gd name="T16" fmla="*/ 3 w 11"/>
                <a:gd name="T17" fmla="*/ 8 h 12"/>
                <a:gd name="T18" fmla="*/ 3 w 11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0" y="12"/>
                  </a:moveTo>
                  <a:lnTo>
                    <a:pt x="11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2"/>
                  </a:lnTo>
                  <a:close/>
                  <a:moveTo>
                    <a:pt x="3" y="4"/>
                  </a:moveTo>
                  <a:lnTo>
                    <a:pt x="8" y="4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3" name="Freeform 76">
              <a:extLst>
                <a:ext uri="{FF2B5EF4-FFF2-40B4-BE49-F238E27FC236}">
                  <a16:creationId xmlns:a16="http://schemas.microsoft.com/office/drawing/2014/main" id="{397B1843-BB3C-4970-9CCE-486964A2B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438" y="1308100"/>
              <a:ext cx="17463" cy="17463"/>
            </a:xfrm>
            <a:custGeom>
              <a:avLst/>
              <a:gdLst>
                <a:gd name="T0" fmla="*/ 11 w 11"/>
                <a:gd name="T1" fmla="*/ 0 h 11"/>
                <a:gd name="T2" fmla="*/ 0 w 11"/>
                <a:gd name="T3" fmla="*/ 0 h 11"/>
                <a:gd name="T4" fmla="*/ 0 w 11"/>
                <a:gd name="T5" fmla="*/ 11 h 11"/>
                <a:gd name="T6" fmla="*/ 11 w 11"/>
                <a:gd name="T7" fmla="*/ 11 h 11"/>
                <a:gd name="T8" fmla="*/ 11 w 11"/>
                <a:gd name="T9" fmla="*/ 0 h 11"/>
                <a:gd name="T10" fmla="*/ 8 w 11"/>
                <a:gd name="T11" fmla="*/ 8 h 11"/>
                <a:gd name="T12" fmla="*/ 3 w 11"/>
                <a:gd name="T13" fmla="*/ 8 h 11"/>
                <a:gd name="T14" fmla="*/ 3 w 11"/>
                <a:gd name="T15" fmla="*/ 3 h 11"/>
                <a:gd name="T16" fmla="*/ 8 w 11"/>
                <a:gd name="T17" fmla="*/ 3 h 11"/>
                <a:gd name="T18" fmla="*/ 8 w 11"/>
                <a:gd name="T1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11" y="11"/>
                  </a:lnTo>
                  <a:lnTo>
                    <a:pt x="11" y="0"/>
                  </a:lnTo>
                  <a:close/>
                  <a:moveTo>
                    <a:pt x="8" y="8"/>
                  </a:moveTo>
                  <a:lnTo>
                    <a:pt x="3" y="8"/>
                  </a:lnTo>
                  <a:lnTo>
                    <a:pt x="3" y="3"/>
                  </a:lnTo>
                  <a:lnTo>
                    <a:pt x="8" y="3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4" name="Freeform 77">
              <a:extLst>
                <a:ext uri="{FF2B5EF4-FFF2-40B4-BE49-F238E27FC236}">
                  <a16:creationId xmlns:a16="http://schemas.microsoft.com/office/drawing/2014/main" id="{D47F7AB5-B2A7-4B6F-9E97-E714891DF1B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5838" y="1308100"/>
              <a:ext cx="17463" cy="17463"/>
            </a:xfrm>
            <a:custGeom>
              <a:avLst/>
              <a:gdLst>
                <a:gd name="T0" fmla="*/ 0 w 11"/>
                <a:gd name="T1" fmla="*/ 11 h 11"/>
                <a:gd name="T2" fmla="*/ 11 w 11"/>
                <a:gd name="T3" fmla="*/ 11 h 11"/>
                <a:gd name="T4" fmla="*/ 11 w 11"/>
                <a:gd name="T5" fmla="*/ 0 h 11"/>
                <a:gd name="T6" fmla="*/ 0 w 11"/>
                <a:gd name="T7" fmla="*/ 0 h 11"/>
                <a:gd name="T8" fmla="*/ 0 w 11"/>
                <a:gd name="T9" fmla="*/ 11 h 11"/>
                <a:gd name="T10" fmla="*/ 3 w 11"/>
                <a:gd name="T11" fmla="*/ 3 h 11"/>
                <a:gd name="T12" fmla="*/ 8 w 11"/>
                <a:gd name="T13" fmla="*/ 3 h 11"/>
                <a:gd name="T14" fmla="*/ 8 w 11"/>
                <a:gd name="T15" fmla="*/ 8 h 11"/>
                <a:gd name="T16" fmla="*/ 3 w 11"/>
                <a:gd name="T17" fmla="*/ 8 h 11"/>
                <a:gd name="T18" fmla="*/ 3 w 11"/>
                <a:gd name="T1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0" y="11"/>
                  </a:moveTo>
                  <a:lnTo>
                    <a:pt x="11" y="1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1"/>
                  </a:lnTo>
                  <a:close/>
                  <a:moveTo>
                    <a:pt x="3" y="3"/>
                  </a:moveTo>
                  <a:lnTo>
                    <a:pt x="8" y="3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5" name="Freeform 78">
              <a:extLst>
                <a:ext uri="{FF2B5EF4-FFF2-40B4-BE49-F238E27FC236}">
                  <a16:creationId xmlns:a16="http://schemas.microsoft.com/office/drawing/2014/main" id="{EFDFAE47-A8EC-49BD-AFC2-FCA2917559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650" y="1308100"/>
              <a:ext cx="19050" cy="17463"/>
            </a:xfrm>
            <a:custGeom>
              <a:avLst/>
              <a:gdLst>
                <a:gd name="T0" fmla="*/ 0 w 12"/>
                <a:gd name="T1" fmla="*/ 11 h 11"/>
                <a:gd name="T2" fmla="*/ 12 w 12"/>
                <a:gd name="T3" fmla="*/ 11 h 11"/>
                <a:gd name="T4" fmla="*/ 12 w 12"/>
                <a:gd name="T5" fmla="*/ 0 h 11"/>
                <a:gd name="T6" fmla="*/ 0 w 12"/>
                <a:gd name="T7" fmla="*/ 0 h 11"/>
                <a:gd name="T8" fmla="*/ 0 w 12"/>
                <a:gd name="T9" fmla="*/ 11 h 11"/>
                <a:gd name="T10" fmla="*/ 4 w 12"/>
                <a:gd name="T11" fmla="*/ 3 h 11"/>
                <a:gd name="T12" fmla="*/ 8 w 12"/>
                <a:gd name="T13" fmla="*/ 3 h 11"/>
                <a:gd name="T14" fmla="*/ 8 w 12"/>
                <a:gd name="T15" fmla="*/ 8 h 11"/>
                <a:gd name="T16" fmla="*/ 4 w 12"/>
                <a:gd name="T17" fmla="*/ 8 h 11"/>
                <a:gd name="T18" fmla="*/ 4 w 12"/>
                <a:gd name="T1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1">
                  <a:moveTo>
                    <a:pt x="0" y="11"/>
                  </a:moveTo>
                  <a:lnTo>
                    <a:pt x="12" y="11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close/>
                  <a:moveTo>
                    <a:pt x="4" y="3"/>
                  </a:moveTo>
                  <a:lnTo>
                    <a:pt x="8" y="3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66" name="Freeform 79">
              <a:extLst>
                <a:ext uri="{FF2B5EF4-FFF2-40B4-BE49-F238E27FC236}">
                  <a16:creationId xmlns:a16="http://schemas.microsoft.com/office/drawing/2014/main" id="{22CB568B-AB3A-41C9-AF28-631EBC01E3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5050" y="1308100"/>
              <a:ext cx="17463" cy="17463"/>
            </a:xfrm>
            <a:custGeom>
              <a:avLst/>
              <a:gdLst>
                <a:gd name="T0" fmla="*/ 0 w 11"/>
                <a:gd name="T1" fmla="*/ 11 h 11"/>
                <a:gd name="T2" fmla="*/ 11 w 11"/>
                <a:gd name="T3" fmla="*/ 11 h 11"/>
                <a:gd name="T4" fmla="*/ 11 w 11"/>
                <a:gd name="T5" fmla="*/ 0 h 11"/>
                <a:gd name="T6" fmla="*/ 0 w 11"/>
                <a:gd name="T7" fmla="*/ 0 h 11"/>
                <a:gd name="T8" fmla="*/ 0 w 11"/>
                <a:gd name="T9" fmla="*/ 11 h 11"/>
                <a:gd name="T10" fmla="*/ 3 w 11"/>
                <a:gd name="T11" fmla="*/ 3 h 11"/>
                <a:gd name="T12" fmla="*/ 8 w 11"/>
                <a:gd name="T13" fmla="*/ 3 h 11"/>
                <a:gd name="T14" fmla="*/ 8 w 11"/>
                <a:gd name="T15" fmla="*/ 8 h 11"/>
                <a:gd name="T16" fmla="*/ 3 w 11"/>
                <a:gd name="T17" fmla="*/ 8 h 11"/>
                <a:gd name="T18" fmla="*/ 3 w 11"/>
                <a:gd name="T1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0" y="11"/>
                  </a:moveTo>
                  <a:lnTo>
                    <a:pt x="11" y="1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1"/>
                  </a:lnTo>
                  <a:close/>
                  <a:moveTo>
                    <a:pt x="3" y="3"/>
                  </a:moveTo>
                  <a:lnTo>
                    <a:pt x="8" y="3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</p:grpSp>
      <p:sp>
        <p:nvSpPr>
          <p:cNvPr id="3" name="Titel 2">
            <a:extLst>
              <a:ext uri="{FF2B5EF4-FFF2-40B4-BE49-F238E27FC236}">
                <a16:creationId xmlns:a16="http://schemas.microsoft.com/office/drawing/2014/main" id="{42AAFAA9-A938-3A4E-89E5-361AE584E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ationales Recht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Der völkerrechtliche Rahmen für den Investitionsschutz</a:t>
            </a:r>
          </a:p>
        </p:txBody>
      </p: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C1D9C9FF-22C5-3B46-A16E-80E64674F2E3}"/>
              </a:ext>
            </a:extLst>
          </p:cNvPr>
          <p:cNvGrpSpPr/>
          <p:nvPr/>
        </p:nvGrpSpPr>
        <p:grpSpPr>
          <a:xfrm>
            <a:off x="-28280" y="2115455"/>
            <a:ext cx="8236253" cy="3722990"/>
            <a:chOff x="358220" y="2209725"/>
            <a:chExt cx="8236253" cy="3722990"/>
          </a:xfrm>
        </p:grpSpPr>
        <p:grpSp>
          <p:nvGrpSpPr>
            <p:cNvPr id="7" name="Group 2271">
              <a:extLst>
                <a:ext uri="{FF2B5EF4-FFF2-40B4-BE49-F238E27FC236}">
                  <a16:creationId xmlns:a16="http://schemas.microsoft.com/office/drawing/2014/main" id="{5446E5E6-2D1F-C445-A9D6-24327409E041}"/>
                </a:ext>
              </a:extLst>
            </p:cNvPr>
            <p:cNvGrpSpPr/>
            <p:nvPr/>
          </p:nvGrpSpPr>
          <p:grpSpPr>
            <a:xfrm rot="20258410">
              <a:off x="7378377" y="3980878"/>
              <a:ext cx="1216096" cy="1374106"/>
              <a:chOff x="5392489" y="3983038"/>
              <a:chExt cx="1368425" cy="1546225"/>
            </a:xfrm>
            <a:solidFill>
              <a:schemeClr val="bg1">
                <a:lumMod val="85000"/>
              </a:schemeClr>
            </a:solidFill>
          </p:grpSpPr>
          <p:sp>
            <p:nvSpPr>
              <p:cNvPr id="8" name="Freeform 32">
                <a:extLst>
                  <a:ext uri="{FF2B5EF4-FFF2-40B4-BE49-F238E27FC236}">
                    <a16:creationId xmlns:a16="http://schemas.microsoft.com/office/drawing/2014/main" id="{2F55C588-9A76-B640-9F3C-1D23389FEAB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95689" y="4548188"/>
                <a:ext cx="574675" cy="441325"/>
              </a:xfrm>
              <a:custGeom>
                <a:avLst/>
                <a:gdLst>
                  <a:gd name="T0" fmla="*/ 8 w 362"/>
                  <a:gd name="T1" fmla="*/ 174 h 278"/>
                  <a:gd name="T2" fmla="*/ 0 w 362"/>
                  <a:gd name="T3" fmla="*/ 162 h 278"/>
                  <a:gd name="T4" fmla="*/ 0 w 362"/>
                  <a:gd name="T5" fmla="*/ 162 h 278"/>
                  <a:gd name="T6" fmla="*/ 50 w 362"/>
                  <a:gd name="T7" fmla="*/ 128 h 278"/>
                  <a:gd name="T8" fmla="*/ 98 w 362"/>
                  <a:gd name="T9" fmla="*/ 88 h 278"/>
                  <a:gd name="T10" fmla="*/ 142 w 362"/>
                  <a:gd name="T11" fmla="*/ 46 h 278"/>
                  <a:gd name="T12" fmla="*/ 184 w 362"/>
                  <a:gd name="T13" fmla="*/ 0 h 278"/>
                  <a:gd name="T14" fmla="*/ 362 w 362"/>
                  <a:gd name="T15" fmla="*/ 152 h 278"/>
                  <a:gd name="T16" fmla="*/ 362 w 362"/>
                  <a:gd name="T17" fmla="*/ 152 h 278"/>
                  <a:gd name="T18" fmla="*/ 352 w 362"/>
                  <a:gd name="T19" fmla="*/ 208 h 278"/>
                  <a:gd name="T20" fmla="*/ 338 w 362"/>
                  <a:gd name="T21" fmla="*/ 266 h 278"/>
                  <a:gd name="T22" fmla="*/ 204 w 362"/>
                  <a:gd name="T23" fmla="*/ 126 h 278"/>
                  <a:gd name="T24" fmla="*/ 188 w 362"/>
                  <a:gd name="T25" fmla="*/ 142 h 278"/>
                  <a:gd name="T26" fmla="*/ 244 w 362"/>
                  <a:gd name="T27" fmla="*/ 198 h 278"/>
                  <a:gd name="T28" fmla="*/ 244 w 362"/>
                  <a:gd name="T29" fmla="*/ 198 h 278"/>
                  <a:gd name="T30" fmla="*/ 234 w 362"/>
                  <a:gd name="T31" fmla="*/ 238 h 278"/>
                  <a:gd name="T32" fmla="*/ 222 w 362"/>
                  <a:gd name="T33" fmla="*/ 278 h 278"/>
                  <a:gd name="T34" fmla="*/ 126 w 362"/>
                  <a:gd name="T35" fmla="*/ 162 h 278"/>
                  <a:gd name="T36" fmla="*/ 126 w 362"/>
                  <a:gd name="T37" fmla="*/ 162 h 278"/>
                  <a:gd name="T38" fmla="*/ 102 w 362"/>
                  <a:gd name="T39" fmla="*/ 182 h 278"/>
                  <a:gd name="T40" fmla="*/ 78 w 362"/>
                  <a:gd name="T41" fmla="*/ 198 h 278"/>
                  <a:gd name="T42" fmla="*/ 50 w 362"/>
                  <a:gd name="T43" fmla="*/ 160 h 278"/>
                  <a:gd name="T44" fmla="*/ 50 w 362"/>
                  <a:gd name="T45" fmla="*/ 160 h 278"/>
                  <a:gd name="T46" fmla="*/ 28 w 362"/>
                  <a:gd name="T47" fmla="*/ 168 h 278"/>
                  <a:gd name="T48" fmla="*/ 8 w 362"/>
                  <a:gd name="T49" fmla="*/ 174 h 278"/>
                  <a:gd name="T50" fmla="*/ 8 w 362"/>
                  <a:gd name="T51" fmla="*/ 174 h 278"/>
                  <a:gd name="T52" fmla="*/ 190 w 362"/>
                  <a:gd name="T53" fmla="*/ 62 h 278"/>
                  <a:gd name="T54" fmla="*/ 206 w 362"/>
                  <a:gd name="T55" fmla="*/ 44 h 278"/>
                  <a:gd name="T56" fmla="*/ 184 w 362"/>
                  <a:gd name="T57" fmla="*/ 24 h 278"/>
                  <a:gd name="T58" fmla="*/ 168 w 362"/>
                  <a:gd name="T59" fmla="*/ 42 h 278"/>
                  <a:gd name="T60" fmla="*/ 190 w 362"/>
                  <a:gd name="T61" fmla="*/ 62 h 278"/>
                  <a:gd name="T62" fmla="*/ 220 w 362"/>
                  <a:gd name="T63" fmla="*/ 90 h 278"/>
                  <a:gd name="T64" fmla="*/ 238 w 362"/>
                  <a:gd name="T65" fmla="*/ 72 h 278"/>
                  <a:gd name="T66" fmla="*/ 216 w 362"/>
                  <a:gd name="T67" fmla="*/ 52 h 278"/>
                  <a:gd name="T68" fmla="*/ 198 w 362"/>
                  <a:gd name="T69" fmla="*/ 70 h 278"/>
                  <a:gd name="T70" fmla="*/ 220 w 362"/>
                  <a:gd name="T71" fmla="*/ 90 h 278"/>
                  <a:gd name="T72" fmla="*/ 162 w 362"/>
                  <a:gd name="T73" fmla="*/ 92 h 278"/>
                  <a:gd name="T74" fmla="*/ 178 w 362"/>
                  <a:gd name="T75" fmla="*/ 74 h 278"/>
                  <a:gd name="T76" fmla="*/ 158 w 362"/>
                  <a:gd name="T77" fmla="*/ 54 h 278"/>
                  <a:gd name="T78" fmla="*/ 140 w 362"/>
                  <a:gd name="T79" fmla="*/ 70 h 278"/>
                  <a:gd name="T80" fmla="*/ 162 w 362"/>
                  <a:gd name="T81" fmla="*/ 92 h 278"/>
                  <a:gd name="T82" fmla="*/ 190 w 362"/>
                  <a:gd name="T83" fmla="*/ 122 h 278"/>
                  <a:gd name="T84" fmla="*/ 208 w 362"/>
                  <a:gd name="T85" fmla="*/ 102 h 278"/>
                  <a:gd name="T86" fmla="*/ 186 w 362"/>
                  <a:gd name="T87" fmla="*/ 82 h 278"/>
                  <a:gd name="T88" fmla="*/ 168 w 362"/>
                  <a:gd name="T89" fmla="*/ 100 h 278"/>
                  <a:gd name="T90" fmla="*/ 190 w 362"/>
                  <a:gd name="T91" fmla="*/ 122 h 278"/>
                  <a:gd name="T92" fmla="*/ 130 w 362"/>
                  <a:gd name="T93" fmla="*/ 120 h 278"/>
                  <a:gd name="T94" fmla="*/ 150 w 362"/>
                  <a:gd name="T95" fmla="*/ 104 h 278"/>
                  <a:gd name="T96" fmla="*/ 130 w 362"/>
                  <a:gd name="T97" fmla="*/ 82 h 278"/>
                  <a:gd name="T98" fmla="*/ 112 w 362"/>
                  <a:gd name="T99" fmla="*/ 98 h 278"/>
                  <a:gd name="T100" fmla="*/ 130 w 362"/>
                  <a:gd name="T101" fmla="*/ 120 h 278"/>
                  <a:gd name="T102" fmla="*/ 158 w 362"/>
                  <a:gd name="T103" fmla="*/ 150 h 278"/>
                  <a:gd name="T104" fmla="*/ 176 w 362"/>
                  <a:gd name="T105" fmla="*/ 134 h 278"/>
                  <a:gd name="T106" fmla="*/ 156 w 362"/>
                  <a:gd name="T107" fmla="*/ 112 h 278"/>
                  <a:gd name="T108" fmla="*/ 138 w 362"/>
                  <a:gd name="T109" fmla="*/ 128 h 278"/>
                  <a:gd name="T110" fmla="*/ 158 w 362"/>
                  <a:gd name="T111" fmla="*/ 150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62" h="278">
                    <a:moveTo>
                      <a:pt x="8" y="174"/>
                    </a:moveTo>
                    <a:lnTo>
                      <a:pt x="0" y="162"/>
                    </a:lnTo>
                    <a:lnTo>
                      <a:pt x="0" y="162"/>
                    </a:lnTo>
                    <a:lnTo>
                      <a:pt x="50" y="128"/>
                    </a:lnTo>
                    <a:lnTo>
                      <a:pt x="98" y="88"/>
                    </a:lnTo>
                    <a:lnTo>
                      <a:pt x="142" y="46"/>
                    </a:lnTo>
                    <a:lnTo>
                      <a:pt x="184" y="0"/>
                    </a:lnTo>
                    <a:lnTo>
                      <a:pt x="362" y="152"/>
                    </a:lnTo>
                    <a:lnTo>
                      <a:pt x="362" y="152"/>
                    </a:lnTo>
                    <a:lnTo>
                      <a:pt x="352" y="208"/>
                    </a:lnTo>
                    <a:lnTo>
                      <a:pt x="338" y="266"/>
                    </a:lnTo>
                    <a:lnTo>
                      <a:pt x="204" y="126"/>
                    </a:lnTo>
                    <a:lnTo>
                      <a:pt x="188" y="142"/>
                    </a:lnTo>
                    <a:lnTo>
                      <a:pt x="244" y="198"/>
                    </a:lnTo>
                    <a:lnTo>
                      <a:pt x="244" y="198"/>
                    </a:lnTo>
                    <a:lnTo>
                      <a:pt x="234" y="238"/>
                    </a:lnTo>
                    <a:lnTo>
                      <a:pt x="222" y="278"/>
                    </a:lnTo>
                    <a:lnTo>
                      <a:pt x="126" y="162"/>
                    </a:lnTo>
                    <a:lnTo>
                      <a:pt x="126" y="162"/>
                    </a:lnTo>
                    <a:lnTo>
                      <a:pt x="102" y="182"/>
                    </a:lnTo>
                    <a:lnTo>
                      <a:pt x="78" y="198"/>
                    </a:lnTo>
                    <a:lnTo>
                      <a:pt x="50" y="160"/>
                    </a:lnTo>
                    <a:lnTo>
                      <a:pt x="50" y="160"/>
                    </a:lnTo>
                    <a:lnTo>
                      <a:pt x="28" y="168"/>
                    </a:lnTo>
                    <a:lnTo>
                      <a:pt x="8" y="174"/>
                    </a:lnTo>
                    <a:lnTo>
                      <a:pt x="8" y="174"/>
                    </a:lnTo>
                    <a:close/>
                    <a:moveTo>
                      <a:pt x="190" y="62"/>
                    </a:moveTo>
                    <a:lnTo>
                      <a:pt x="206" y="44"/>
                    </a:lnTo>
                    <a:lnTo>
                      <a:pt x="184" y="24"/>
                    </a:lnTo>
                    <a:lnTo>
                      <a:pt x="168" y="42"/>
                    </a:lnTo>
                    <a:lnTo>
                      <a:pt x="190" y="62"/>
                    </a:lnTo>
                    <a:close/>
                    <a:moveTo>
                      <a:pt x="220" y="90"/>
                    </a:moveTo>
                    <a:lnTo>
                      <a:pt x="238" y="72"/>
                    </a:lnTo>
                    <a:lnTo>
                      <a:pt x="216" y="52"/>
                    </a:lnTo>
                    <a:lnTo>
                      <a:pt x="198" y="70"/>
                    </a:lnTo>
                    <a:lnTo>
                      <a:pt x="220" y="90"/>
                    </a:lnTo>
                    <a:close/>
                    <a:moveTo>
                      <a:pt x="162" y="92"/>
                    </a:moveTo>
                    <a:lnTo>
                      <a:pt x="178" y="74"/>
                    </a:lnTo>
                    <a:lnTo>
                      <a:pt x="158" y="54"/>
                    </a:lnTo>
                    <a:lnTo>
                      <a:pt x="140" y="70"/>
                    </a:lnTo>
                    <a:lnTo>
                      <a:pt x="162" y="92"/>
                    </a:lnTo>
                    <a:close/>
                    <a:moveTo>
                      <a:pt x="190" y="122"/>
                    </a:moveTo>
                    <a:lnTo>
                      <a:pt x="208" y="102"/>
                    </a:lnTo>
                    <a:lnTo>
                      <a:pt x="186" y="82"/>
                    </a:lnTo>
                    <a:lnTo>
                      <a:pt x="168" y="100"/>
                    </a:lnTo>
                    <a:lnTo>
                      <a:pt x="190" y="122"/>
                    </a:lnTo>
                    <a:close/>
                    <a:moveTo>
                      <a:pt x="130" y="120"/>
                    </a:moveTo>
                    <a:lnTo>
                      <a:pt x="150" y="104"/>
                    </a:lnTo>
                    <a:lnTo>
                      <a:pt x="130" y="82"/>
                    </a:lnTo>
                    <a:lnTo>
                      <a:pt x="112" y="98"/>
                    </a:lnTo>
                    <a:lnTo>
                      <a:pt x="130" y="120"/>
                    </a:lnTo>
                    <a:close/>
                    <a:moveTo>
                      <a:pt x="158" y="150"/>
                    </a:moveTo>
                    <a:lnTo>
                      <a:pt x="176" y="134"/>
                    </a:lnTo>
                    <a:lnTo>
                      <a:pt x="156" y="112"/>
                    </a:lnTo>
                    <a:lnTo>
                      <a:pt x="138" y="128"/>
                    </a:lnTo>
                    <a:lnTo>
                      <a:pt x="158" y="15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33">
                <a:extLst>
                  <a:ext uri="{FF2B5EF4-FFF2-40B4-BE49-F238E27FC236}">
                    <a16:creationId xmlns:a16="http://schemas.microsoft.com/office/drawing/2014/main" id="{058CEC3D-E0F8-5841-9280-87C2E8BC37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2714" y="4354513"/>
                <a:ext cx="282575" cy="288925"/>
              </a:xfrm>
              <a:custGeom>
                <a:avLst/>
                <a:gdLst>
                  <a:gd name="T0" fmla="*/ 90 w 178"/>
                  <a:gd name="T1" fmla="*/ 182 h 182"/>
                  <a:gd name="T2" fmla="*/ 90 w 178"/>
                  <a:gd name="T3" fmla="*/ 182 h 182"/>
                  <a:gd name="T4" fmla="*/ 136 w 178"/>
                  <a:gd name="T5" fmla="*/ 126 h 182"/>
                  <a:gd name="T6" fmla="*/ 158 w 178"/>
                  <a:gd name="T7" fmla="*/ 96 h 182"/>
                  <a:gd name="T8" fmla="*/ 178 w 178"/>
                  <a:gd name="T9" fmla="*/ 68 h 182"/>
                  <a:gd name="T10" fmla="*/ 178 w 178"/>
                  <a:gd name="T11" fmla="*/ 68 h 182"/>
                  <a:gd name="T12" fmla="*/ 178 w 178"/>
                  <a:gd name="T13" fmla="*/ 68 h 182"/>
                  <a:gd name="T14" fmla="*/ 174 w 178"/>
                  <a:gd name="T15" fmla="*/ 84 h 182"/>
                  <a:gd name="T16" fmla="*/ 166 w 178"/>
                  <a:gd name="T17" fmla="*/ 102 h 182"/>
                  <a:gd name="T18" fmla="*/ 158 w 178"/>
                  <a:gd name="T19" fmla="*/ 118 h 182"/>
                  <a:gd name="T20" fmla="*/ 146 w 178"/>
                  <a:gd name="T21" fmla="*/ 134 h 182"/>
                  <a:gd name="T22" fmla="*/ 146 w 178"/>
                  <a:gd name="T23" fmla="*/ 134 h 182"/>
                  <a:gd name="T24" fmla="*/ 134 w 178"/>
                  <a:gd name="T25" fmla="*/ 148 h 182"/>
                  <a:gd name="T26" fmla="*/ 120 w 178"/>
                  <a:gd name="T27" fmla="*/ 162 h 182"/>
                  <a:gd name="T28" fmla="*/ 106 w 178"/>
                  <a:gd name="T29" fmla="*/ 172 h 182"/>
                  <a:gd name="T30" fmla="*/ 92 w 178"/>
                  <a:gd name="T31" fmla="*/ 182 h 182"/>
                  <a:gd name="T32" fmla="*/ 90 w 178"/>
                  <a:gd name="T33" fmla="*/ 182 h 182"/>
                  <a:gd name="T34" fmla="*/ 34 w 178"/>
                  <a:gd name="T35" fmla="*/ 146 h 182"/>
                  <a:gd name="T36" fmla="*/ 8 w 178"/>
                  <a:gd name="T37" fmla="*/ 124 h 182"/>
                  <a:gd name="T38" fmla="*/ 8 w 178"/>
                  <a:gd name="T39" fmla="*/ 124 h 182"/>
                  <a:gd name="T40" fmla="*/ 2 w 178"/>
                  <a:gd name="T41" fmla="*/ 116 h 182"/>
                  <a:gd name="T42" fmla="*/ 0 w 178"/>
                  <a:gd name="T43" fmla="*/ 108 h 182"/>
                  <a:gd name="T44" fmla="*/ 0 w 178"/>
                  <a:gd name="T45" fmla="*/ 100 h 182"/>
                  <a:gd name="T46" fmla="*/ 4 w 178"/>
                  <a:gd name="T47" fmla="*/ 94 h 182"/>
                  <a:gd name="T48" fmla="*/ 4 w 178"/>
                  <a:gd name="T49" fmla="*/ 94 h 182"/>
                  <a:gd name="T50" fmla="*/ 36 w 178"/>
                  <a:gd name="T51" fmla="*/ 50 h 182"/>
                  <a:gd name="T52" fmla="*/ 36 w 178"/>
                  <a:gd name="T53" fmla="*/ 50 h 182"/>
                  <a:gd name="T54" fmla="*/ 54 w 178"/>
                  <a:gd name="T55" fmla="*/ 30 h 182"/>
                  <a:gd name="T56" fmla="*/ 70 w 178"/>
                  <a:gd name="T57" fmla="*/ 8 h 182"/>
                  <a:gd name="T58" fmla="*/ 70 w 178"/>
                  <a:gd name="T59" fmla="*/ 8 h 182"/>
                  <a:gd name="T60" fmla="*/ 76 w 178"/>
                  <a:gd name="T61" fmla="*/ 2 h 182"/>
                  <a:gd name="T62" fmla="*/ 82 w 178"/>
                  <a:gd name="T63" fmla="*/ 0 h 182"/>
                  <a:gd name="T64" fmla="*/ 92 w 178"/>
                  <a:gd name="T65" fmla="*/ 0 h 182"/>
                  <a:gd name="T66" fmla="*/ 100 w 178"/>
                  <a:gd name="T67" fmla="*/ 2 h 182"/>
                  <a:gd name="T68" fmla="*/ 130 w 178"/>
                  <a:gd name="T69" fmla="*/ 20 h 182"/>
                  <a:gd name="T70" fmla="*/ 130 w 178"/>
                  <a:gd name="T71" fmla="*/ 20 h 182"/>
                  <a:gd name="T72" fmla="*/ 106 w 178"/>
                  <a:gd name="T73" fmla="*/ 48 h 182"/>
                  <a:gd name="T74" fmla="*/ 80 w 178"/>
                  <a:gd name="T75" fmla="*/ 82 h 182"/>
                  <a:gd name="T76" fmla="*/ 80 w 178"/>
                  <a:gd name="T77" fmla="*/ 82 h 182"/>
                  <a:gd name="T78" fmla="*/ 54 w 178"/>
                  <a:gd name="T79" fmla="*/ 118 h 182"/>
                  <a:gd name="T80" fmla="*/ 34 w 178"/>
                  <a:gd name="T81" fmla="*/ 146 h 182"/>
                  <a:gd name="T82" fmla="*/ 34 w 178"/>
                  <a:gd name="T83" fmla="*/ 146 h 182"/>
                  <a:gd name="T84" fmla="*/ 88 w 178"/>
                  <a:gd name="T85" fmla="*/ 90 h 182"/>
                  <a:gd name="T86" fmla="*/ 88 w 178"/>
                  <a:gd name="T87" fmla="*/ 90 h 182"/>
                  <a:gd name="T88" fmla="*/ 114 w 178"/>
                  <a:gd name="T89" fmla="*/ 56 h 182"/>
                  <a:gd name="T90" fmla="*/ 136 w 178"/>
                  <a:gd name="T91" fmla="*/ 32 h 182"/>
                  <a:gd name="T92" fmla="*/ 174 w 178"/>
                  <a:gd name="T93" fmla="*/ 54 h 182"/>
                  <a:gd name="T94" fmla="*/ 174 w 178"/>
                  <a:gd name="T95" fmla="*/ 54 h 182"/>
                  <a:gd name="T96" fmla="*/ 152 w 178"/>
                  <a:gd name="T97" fmla="*/ 86 h 182"/>
                  <a:gd name="T98" fmla="*/ 128 w 178"/>
                  <a:gd name="T99" fmla="*/ 118 h 182"/>
                  <a:gd name="T100" fmla="*/ 104 w 178"/>
                  <a:gd name="T101" fmla="*/ 150 h 182"/>
                  <a:gd name="T102" fmla="*/ 78 w 178"/>
                  <a:gd name="T103" fmla="*/ 180 h 182"/>
                  <a:gd name="T104" fmla="*/ 44 w 178"/>
                  <a:gd name="T105" fmla="*/ 150 h 182"/>
                  <a:gd name="T106" fmla="*/ 44 w 178"/>
                  <a:gd name="T107" fmla="*/ 150 h 182"/>
                  <a:gd name="T108" fmla="*/ 64 w 178"/>
                  <a:gd name="T109" fmla="*/ 124 h 182"/>
                  <a:gd name="T110" fmla="*/ 88 w 178"/>
                  <a:gd name="T111" fmla="*/ 90 h 182"/>
                  <a:gd name="T112" fmla="*/ 88 w 178"/>
                  <a:gd name="T113" fmla="*/ 9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78" h="182">
                    <a:moveTo>
                      <a:pt x="90" y="182"/>
                    </a:moveTo>
                    <a:lnTo>
                      <a:pt x="90" y="182"/>
                    </a:lnTo>
                    <a:lnTo>
                      <a:pt x="136" y="126"/>
                    </a:lnTo>
                    <a:lnTo>
                      <a:pt x="158" y="96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4" y="84"/>
                    </a:lnTo>
                    <a:lnTo>
                      <a:pt x="166" y="102"/>
                    </a:lnTo>
                    <a:lnTo>
                      <a:pt x="158" y="118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34" y="148"/>
                    </a:lnTo>
                    <a:lnTo>
                      <a:pt x="120" y="162"/>
                    </a:lnTo>
                    <a:lnTo>
                      <a:pt x="106" y="172"/>
                    </a:lnTo>
                    <a:lnTo>
                      <a:pt x="92" y="182"/>
                    </a:lnTo>
                    <a:lnTo>
                      <a:pt x="90" y="182"/>
                    </a:lnTo>
                    <a:close/>
                    <a:moveTo>
                      <a:pt x="34" y="146"/>
                    </a:moveTo>
                    <a:lnTo>
                      <a:pt x="8" y="124"/>
                    </a:lnTo>
                    <a:lnTo>
                      <a:pt x="8" y="124"/>
                    </a:lnTo>
                    <a:lnTo>
                      <a:pt x="2" y="116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36" y="50"/>
                    </a:lnTo>
                    <a:lnTo>
                      <a:pt x="36" y="50"/>
                    </a:lnTo>
                    <a:lnTo>
                      <a:pt x="54" y="30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6" y="2"/>
                    </a:lnTo>
                    <a:lnTo>
                      <a:pt x="82" y="0"/>
                    </a:lnTo>
                    <a:lnTo>
                      <a:pt x="92" y="0"/>
                    </a:lnTo>
                    <a:lnTo>
                      <a:pt x="100" y="2"/>
                    </a:lnTo>
                    <a:lnTo>
                      <a:pt x="130" y="20"/>
                    </a:lnTo>
                    <a:lnTo>
                      <a:pt x="130" y="20"/>
                    </a:lnTo>
                    <a:lnTo>
                      <a:pt x="106" y="4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54" y="118"/>
                    </a:lnTo>
                    <a:lnTo>
                      <a:pt x="34" y="146"/>
                    </a:lnTo>
                    <a:lnTo>
                      <a:pt x="34" y="146"/>
                    </a:lnTo>
                    <a:close/>
                    <a:moveTo>
                      <a:pt x="88" y="90"/>
                    </a:moveTo>
                    <a:lnTo>
                      <a:pt x="88" y="90"/>
                    </a:lnTo>
                    <a:lnTo>
                      <a:pt x="114" y="56"/>
                    </a:lnTo>
                    <a:lnTo>
                      <a:pt x="136" y="32"/>
                    </a:lnTo>
                    <a:lnTo>
                      <a:pt x="174" y="54"/>
                    </a:lnTo>
                    <a:lnTo>
                      <a:pt x="174" y="54"/>
                    </a:lnTo>
                    <a:lnTo>
                      <a:pt x="152" y="86"/>
                    </a:lnTo>
                    <a:lnTo>
                      <a:pt x="128" y="118"/>
                    </a:lnTo>
                    <a:lnTo>
                      <a:pt x="104" y="150"/>
                    </a:lnTo>
                    <a:lnTo>
                      <a:pt x="78" y="180"/>
                    </a:lnTo>
                    <a:lnTo>
                      <a:pt x="44" y="150"/>
                    </a:lnTo>
                    <a:lnTo>
                      <a:pt x="44" y="150"/>
                    </a:lnTo>
                    <a:lnTo>
                      <a:pt x="64" y="124"/>
                    </a:lnTo>
                    <a:lnTo>
                      <a:pt x="88" y="90"/>
                    </a:lnTo>
                    <a:lnTo>
                      <a:pt x="88" y="9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10" name="Group 2905">
                <a:extLst>
                  <a:ext uri="{FF2B5EF4-FFF2-40B4-BE49-F238E27FC236}">
                    <a16:creationId xmlns:a16="http://schemas.microsoft.com/office/drawing/2014/main" id="{D370A52F-7BB1-D14C-A5A0-601B72B3AD5A}"/>
                  </a:ext>
                </a:extLst>
              </p:cNvPr>
              <p:cNvGrpSpPr/>
              <p:nvPr/>
            </p:nvGrpSpPr>
            <p:grpSpPr>
              <a:xfrm>
                <a:off x="5392489" y="4833938"/>
                <a:ext cx="527050" cy="695325"/>
                <a:chOff x="5321300" y="4833938"/>
                <a:chExt cx="527050" cy="695325"/>
              </a:xfrm>
              <a:grpFill/>
            </p:grpSpPr>
            <p:sp>
              <p:nvSpPr>
                <p:cNvPr id="13" name="Freeform 34">
                  <a:extLst>
                    <a:ext uri="{FF2B5EF4-FFF2-40B4-BE49-F238E27FC236}">
                      <a16:creationId xmlns:a16="http://schemas.microsoft.com/office/drawing/2014/main" id="{35D9AD3F-6FCF-A845-8797-50A6A44807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56225" y="4865688"/>
                  <a:ext cx="130175" cy="79375"/>
                </a:xfrm>
                <a:custGeom>
                  <a:avLst/>
                  <a:gdLst>
                    <a:gd name="T0" fmla="*/ 0 w 82"/>
                    <a:gd name="T1" fmla="*/ 44 h 50"/>
                    <a:gd name="T2" fmla="*/ 2 w 82"/>
                    <a:gd name="T3" fmla="*/ 42 h 50"/>
                    <a:gd name="T4" fmla="*/ 2 w 82"/>
                    <a:gd name="T5" fmla="*/ 42 h 50"/>
                    <a:gd name="T6" fmla="*/ 40 w 82"/>
                    <a:gd name="T7" fmla="*/ 22 h 50"/>
                    <a:gd name="T8" fmla="*/ 76 w 82"/>
                    <a:gd name="T9" fmla="*/ 0 h 50"/>
                    <a:gd name="T10" fmla="*/ 80 w 82"/>
                    <a:gd name="T11" fmla="*/ 0 h 50"/>
                    <a:gd name="T12" fmla="*/ 82 w 82"/>
                    <a:gd name="T13" fmla="*/ 4 h 50"/>
                    <a:gd name="T14" fmla="*/ 80 w 82"/>
                    <a:gd name="T15" fmla="*/ 8 h 50"/>
                    <a:gd name="T16" fmla="*/ 80 w 82"/>
                    <a:gd name="T17" fmla="*/ 8 h 50"/>
                    <a:gd name="T18" fmla="*/ 44 w 82"/>
                    <a:gd name="T19" fmla="*/ 30 h 50"/>
                    <a:gd name="T20" fmla="*/ 4 w 82"/>
                    <a:gd name="T21" fmla="*/ 50 h 50"/>
                    <a:gd name="T22" fmla="*/ 2 w 82"/>
                    <a:gd name="T23" fmla="*/ 48 h 50"/>
                    <a:gd name="T24" fmla="*/ 0 w 82"/>
                    <a:gd name="T25" fmla="*/ 44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82" h="50">
                      <a:moveTo>
                        <a:pt x="0" y="44"/>
                      </a:moveTo>
                      <a:lnTo>
                        <a:pt x="2" y="42"/>
                      </a:lnTo>
                      <a:lnTo>
                        <a:pt x="2" y="42"/>
                      </a:lnTo>
                      <a:lnTo>
                        <a:pt x="40" y="22"/>
                      </a:lnTo>
                      <a:lnTo>
                        <a:pt x="76" y="0"/>
                      </a:lnTo>
                      <a:lnTo>
                        <a:pt x="80" y="0"/>
                      </a:lnTo>
                      <a:lnTo>
                        <a:pt x="82" y="4"/>
                      </a:lnTo>
                      <a:lnTo>
                        <a:pt x="80" y="8"/>
                      </a:lnTo>
                      <a:lnTo>
                        <a:pt x="80" y="8"/>
                      </a:lnTo>
                      <a:lnTo>
                        <a:pt x="44" y="30"/>
                      </a:lnTo>
                      <a:lnTo>
                        <a:pt x="4" y="50"/>
                      </a:lnTo>
                      <a:lnTo>
                        <a:pt x="2" y="48"/>
                      </a:lnTo>
                      <a:lnTo>
                        <a:pt x="0" y="4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4" name="Freeform 35">
                  <a:extLst>
                    <a:ext uri="{FF2B5EF4-FFF2-40B4-BE49-F238E27FC236}">
                      <a16:creationId xmlns:a16="http://schemas.microsoft.com/office/drawing/2014/main" id="{C5C433F3-D080-FE48-913A-27D1BC8F95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1300" y="4833938"/>
                  <a:ext cx="180975" cy="111125"/>
                </a:xfrm>
                <a:custGeom>
                  <a:avLst/>
                  <a:gdLst>
                    <a:gd name="T0" fmla="*/ 0 w 114"/>
                    <a:gd name="T1" fmla="*/ 64 h 70"/>
                    <a:gd name="T2" fmla="*/ 0 w 114"/>
                    <a:gd name="T3" fmla="*/ 64 h 70"/>
                    <a:gd name="T4" fmla="*/ 0 w 114"/>
                    <a:gd name="T5" fmla="*/ 62 h 70"/>
                    <a:gd name="T6" fmla="*/ 0 w 114"/>
                    <a:gd name="T7" fmla="*/ 60 h 70"/>
                    <a:gd name="T8" fmla="*/ 0 w 114"/>
                    <a:gd name="T9" fmla="*/ 60 h 70"/>
                    <a:gd name="T10" fmla="*/ 56 w 114"/>
                    <a:gd name="T11" fmla="*/ 32 h 70"/>
                    <a:gd name="T12" fmla="*/ 108 w 114"/>
                    <a:gd name="T13" fmla="*/ 0 h 70"/>
                    <a:gd name="T14" fmla="*/ 108 w 114"/>
                    <a:gd name="T15" fmla="*/ 0 h 70"/>
                    <a:gd name="T16" fmla="*/ 110 w 114"/>
                    <a:gd name="T17" fmla="*/ 0 h 70"/>
                    <a:gd name="T18" fmla="*/ 112 w 114"/>
                    <a:gd name="T19" fmla="*/ 0 h 70"/>
                    <a:gd name="T20" fmla="*/ 114 w 114"/>
                    <a:gd name="T21" fmla="*/ 4 h 70"/>
                    <a:gd name="T22" fmla="*/ 114 w 114"/>
                    <a:gd name="T23" fmla="*/ 4 h 70"/>
                    <a:gd name="T24" fmla="*/ 114 w 114"/>
                    <a:gd name="T25" fmla="*/ 6 h 70"/>
                    <a:gd name="T26" fmla="*/ 114 w 114"/>
                    <a:gd name="T27" fmla="*/ 8 h 70"/>
                    <a:gd name="T28" fmla="*/ 114 w 114"/>
                    <a:gd name="T29" fmla="*/ 8 h 70"/>
                    <a:gd name="T30" fmla="*/ 60 w 114"/>
                    <a:gd name="T31" fmla="*/ 40 h 70"/>
                    <a:gd name="T32" fmla="*/ 4 w 114"/>
                    <a:gd name="T33" fmla="*/ 70 h 70"/>
                    <a:gd name="T34" fmla="*/ 4 w 114"/>
                    <a:gd name="T35" fmla="*/ 70 h 70"/>
                    <a:gd name="T36" fmla="*/ 2 w 114"/>
                    <a:gd name="T37" fmla="*/ 70 h 70"/>
                    <a:gd name="T38" fmla="*/ 2 w 114"/>
                    <a:gd name="T39" fmla="*/ 68 h 70"/>
                    <a:gd name="T40" fmla="*/ 0 w 114"/>
                    <a:gd name="T41" fmla="*/ 6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14" h="70">
                      <a:moveTo>
                        <a:pt x="0" y="64"/>
                      </a:moveTo>
                      <a:lnTo>
                        <a:pt x="0" y="64"/>
                      </a:lnTo>
                      <a:lnTo>
                        <a:pt x="0" y="62"/>
                      </a:lnTo>
                      <a:lnTo>
                        <a:pt x="0" y="60"/>
                      </a:lnTo>
                      <a:lnTo>
                        <a:pt x="0" y="60"/>
                      </a:lnTo>
                      <a:lnTo>
                        <a:pt x="56" y="32"/>
                      </a:lnTo>
                      <a:lnTo>
                        <a:pt x="108" y="0"/>
                      </a:lnTo>
                      <a:lnTo>
                        <a:pt x="108" y="0"/>
                      </a:lnTo>
                      <a:lnTo>
                        <a:pt x="110" y="0"/>
                      </a:lnTo>
                      <a:lnTo>
                        <a:pt x="112" y="0"/>
                      </a:lnTo>
                      <a:lnTo>
                        <a:pt x="114" y="4"/>
                      </a:lnTo>
                      <a:lnTo>
                        <a:pt x="114" y="4"/>
                      </a:lnTo>
                      <a:lnTo>
                        <a:pt x="114" y="6"/>
                      </a:lnTo>
                      <a:lnTo>
                        <a:pt x="114" y="8"/>
                      </a:lnTo>
                      <a:lnTo>
                        <a:pt x="114" y="8"/>
                      </a:lnTo>
                      <a:lnTo>
                        <a:pt x="60" y="40"/>
                      </a:lnTo>
                      <a:lnTo>
                        <a:pt x="4" y="70"/>
                      </a:lnTo>
                      <a:lnTo>
                        <a:pt x="4" y="70"/>
                      </a:lnTo>
                      <a:lnTo>
                        <a:pt x="2" y="70"/>
                      </a:lnTo>
                      <a:lnTo>
                        <a:pt x="2" y="68"/>
                      </a:lnTo>
                      <a:lnTo>
                        <a:pt x="0" y="6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5" name="Freeform 36">
                  <a:extLst>
                    <a:ext uri="{FF2B5EF4-FFF2-40B4-BE49-F238E27FC236}">
                      <a16:creationId xmlns:a16="http://schemas.microsoft.com/office/drawing/2014/main" id="{E3247375-D09F-B342-88BD-31E9A68C3B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3400" y="5265738"/>
                  <a:ext cx="34925" cy="31750"/>
                </a:xfrm>
                <a:custGeom>
                  <a:avLst/>
                  <a:gdLst>
                    <a:gd name="T0" fmla="*/ 2 w 22"/>
                    <a:gd name="T1" fmla="*/ 16 h 20"/>
                    <a:gd name="T2" fmla="*/ 2 w 22"/>
                    <a:gd name="T3" fmla="*/ 16 h 20"/>
                    <a:gd name="T4" fmla="*/ 0 w 22"/>
                    <a:gd name="T5" fmla="*/ 12 h 20"/>
                    <a:gd name="T6" fmla="*/ 2 w 22"/>
                    <a:gd name="T7" fmla="*/ 8 h 20"/>
                    <a:gd name="T8" fmla="*/ 4 w 22"/>
                    <a:gd name="T9" fmla="*/ 4 h 20"/>
                    <a:gd name="T10" fmla="*/ 8 w 22"/>
                    <a:gd name="T11" fmla="*/ 2 h 20"/>
                    <a:gd name="T12" fmla="*/ 8 w 22"/>
                    <a:gd name="T13" fmla="*/ 2 h 20"/>
                    <a:gd name="T14" fmla="*/ 12 w 22"/>
                    <a:gd name="T15" fmla="*/ 0 h 20"/>
                    <a:gd name="T16" fmla="*/ 16 w 22"/>
                    <a:gd name="T17" fmla="*/ 0 h 20"/>
                    <a:gd name="T18" fmla="*/ 20 w 22"/>
                    <a:gd name="T19" fmla="*/ 2 h 20"/>
                    <a:gd name="T20" fmla="*/ 22 w 22"/>
                    <a:gd name="T21" fmla="*/ 4 h 20"/>
                    <a:gd name="T22" fmla="*/ 22 w 22"/>
                    <a:gd name="T23" fmla="*/ 4 h 20"/>
                    <a:gd name="T24" fmla="*/ 22 w 22"/>
                    <a:gd name="T25" fmla="*/ 8 h 20"/>
                    <a:gd name="T26" fmla="*/ 22 w 22"/>
                    <a:gd name="T27" fmla="*/ 12 h 20"/>
                    <a:gd name="T28" fmla="*/ 20 w 22"/>
                    <a:gd name="T29" fmla="*/ 16 h 20"/>
                    <a:gd name="T30" fmla="*/ 16 w 22"/>
                    <a:gd name="T31" fmla="*/ 18 h 20"/>
                    <a:gd name="T32" fmla="*/ 16 w 22"/>
                    <a:gd name="T33" fmla="*/ 18 h 20"/>
                    <a:gd name="T34" fmla="*/ 12 w 22"/>
                    <a:gd name="T35" fmla="*/ 20 h 20"/>
                    <a:gd name="T36" fmla="*/ 8 w 22"/>
                    <a:gd name="T37" fmla="*/ 20 h 20"/>
                    <a:gd name="T38" fmla="*/ 4 w 22"/>
                    <a:gd name="T39" fmla="*/ 18 h 20"/>
                    <a:gd name="T40" fmla="*/ 2 w 22"/>
                    <a:gd name="T41" fmla="*/ 16 h 20"/>
                    <a:gd name="T42" fmla="*/ 2 w 22"/>
                    <a:gd name="T43" fmla="*/ 16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2" h="20">
                      <a:moveTo>
                        <a:pt x="2" y="16"/>
                      </a:moveTo>
                      <a:lnTo>
                        <a:pt x="2" y="16"/>
                      </a:lnTo>
                      <a:lnTo>
                        <a:pt x="0" y="12"/>
                      </a:lnTo>
                      <a:lnTo>
                        <a:pt x="2" y="8"/>
                      </a:lnTo>
                      <a:lnTo>
                        <a:pt x="4" y="4"/>
                      </a:lnTo>
                      <a:lnTo>
                        <a:pt x="8" y="2"/>
                      </a:lnTo>
                      <a:lnTo>
                        <a:pt x="8" y="2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20" y="2"/>
                      </a:lnTo>
                      <a:lnTo>
                        <a:pt x="22" y="4"/>
                      </a:lnTo>
                      <a:lnTo>
                        <a:pt x="22" y="4"/>
                      </a:lnTo>
                      <a:lnTo>
                        <a:pt x="22" y="8"/>
                      </a:lnTo>
                      <a:lnTo>
                        <a:pt x="22" y="12"/>
                      </a:lnTo>
                      <a:lnTo>
                        <a:pt x="20" y="16"/>
                      </a:lnTo>
                      <a:lnTo>
                        <a:pt x="16" y="18"/>
                      </a:lnTo>
                      <a:lnTo>
                        <a:pt x="16" y="18"/>
                      </a:lnTo>
                      <a:lnTo>
                        <a:pt x="12" y="20"/>
                      </a:lnTo>
                      <a:lnTo>
                        <a:pt x="8" y="20"/>
                      </a:lnTo>
                      <a:lnTo>
                        <a:pt x="4" y="18"/>
                      </a:lnTo>
                      <a:lnTo>
                        <a:pt x="2" y="16"/>
                      </a:lnTo>
                      <a:lnTo>
                        <a:pt x="2" y="1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6" name="Freeform 37">
                  <a:extLst>
                    <a:ext uri="{FF2B5EF4-FFF2-40B4-BE49-F238E27FC236}">
                      <a16:creationId xmlns:a16="http://schemas.microsoft.com/office/drawing/2014/main" id="{E3CE0459-787B-604A-81CD-BF774F4626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32450" y="5300663"/>
                  <a:ext cx="149225" cy="228600"/>
                </a:xfrm>
                <a:custGeom>
                  <a:avLst/>
                  <a:gdLst>
                    <a:gd name="T0" fmla="*/ 78 w 94"/>
                    <a:gd name="T1" fmla="*/ 142 h 144"/>
                    <a:gd name="T2" fmla="*/ 78 w 94"/>
                    <a:gd name="T3" fmla="*/ 142 h 144"/>
                    <a:gd name="T4" fmla="*/ 80 w 94"/>
                    <a:gd name="T5" fmla="*/ 144 h 144"/>
                    <a:gd name="T6" fmla="*/ 82 w 94"/>
                    <a:gd name="T7" fmla="*/ 144 h 144"/>
                    <a:gd name="T8" fmla="*/ 88 w 94"/>
                    <a:gd name="T9" fmla="*/ 144 h 144"/>
                    <a:gd name="T10" fmla="*/ 88 w 94"/>
                    <a:gd name="T11" fmla="*/ 144 h 144"/>
                    <a:gd name="T12" fmla="*/ 94 w 94"/>
                    <a:gd name="T13" fmla="*/ 138 h 144"/>
                    <a:gd name="T14" fmla="*/ 94 w 94"/>
                    <a:gd name="T15" fmla="*/ 136 h 144"/>
                    <a:gd name="T16" fmla="*/ 94 w 94"/>
                    <a:gd name="T17" fmla="*/ 132 h 144"/>
                    <a:gd name="T18" fmla="*/ 30 w 94"/>
                    <a:gd name="T19" fmla="*/ 6 h 144"/>
                    <a:gd name="T20" fmla="*/ 24 w 94"/>
                    <a:gd name="T21" fmla="*/ 8 h 144"/>
                    <a:gd name="T22" fmla="*/ 20 w 94"/>
                    <a:gd name="T23" fmla="*/ 0 h 144"/>
                    <a:gd name="T24" fmla="*/ 16 w 94"/>
                    <a:gd name="T25" fmla="*/ 4 h 144"/>
                    <a:gd name="T26" fmla="*/ 20 w 94"/>
                    <a:gd name="T27" fmla="*/ 12 h 144"/>
                    <a:gd name="T28" fmla="*/ 10 w 94"/>
                    <a:gd name="T29" fmla="*/ 18 h 144"/>
                    <a:gd name="T30" fmla="*/ 6 w 94"/>
                    <a:gd name="T31" fmla="*/ 10 h 144"/>
                    <a:gd name="T32" fmla="*/ 0 w 94"/>
                    <a:gd name="T33" fmla="*/ 12 h 144"/>
                    <a:gd name="T34" fmla="*/ 4 w 94"/>
                    <a:gd name="T35" fmla="*/ 20 h 144"/>
                    <a:gd name="T36" fmla="*/ 2 w 94"/>
                    <a:gd name="T37" fmla="*/ 22 h 144"/>
                    <a:gd name="T38" fmla="*/ 78 w 94"/>
                    <a:gd name="T39" fmla="*/ 142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94" h="144">
                      <a:moveTo>
                        <a:pt x="78" y="142"/>
                      </a:moveTo>
                      <a:lnTo>
                        <a:pt x="78" y="142"/>
                      </a:lnTo>
                      <a:lnTo>
                        <a:pt x="80" y="144"/>
                      </a:lnTo>
                      <a:lnTo>
                        <a:pt x="82" y="144"/>
                      </a:lnTo>
                      <a:lnTo>
                        <a:pt x="88" y="144"/>
                      </a:lnTo>
                      <a:lnTo>
                        <a:pt x="88" y="144"/>
                      </a:lnTo>
                      <a:lnTo>
                        <a:pt x="94" y="138"/>
                      </a:lnTo>
                      <a:lnTo>
                        <a:pt x="94" y="136"/>
                      </a:lnTo>
                      <a:lnTo>
                        <a:pt x="94" y="132"/>
                      </a:lnTo>
                      <a:lnTo>
                        <a:pt x="30" y="6"/>
                      </a:lnTo>
                      <a:lnTo>
                        <a:pt x="24" y="8"/>
                      </a:lnTo>
                      <a:lnTo>
                        <a:pt x="20" y="0"/>
                      </a:lnTo>
                      <a:lnTo>
                        <a:pt x="16" y="4"/>
                      </a:lnTo>
                      <a:lnTo>
                        <a:pt x="20" y="12"/>
                      </a:lnTo>
                      <a:lnTo>
                        <a:pt x="10" y="18"/>
                      </a:lnTo>
                      <a:lnTo>
                        <a:pt x="6" y="10"/>
                      </a:lnTo>
                      <a:lnTo>
                        <a:pt x="0" y="12"/>
                      </a:lnTo>
                      <a:lnTo>
                        <a:pt x="4" y="20"/>
                      </a:lnTo>
                      <a:lnTo>
                        <a:pt x="2" y="22"/>
                      </a:lnTo>
                      <a:lnTo>
                        <a:pt x="78" y="1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7" name="Freeform 38">
                  <a:extLst>
                    <a:ext uri="{FF2B5EF4-FFF2-40B4-BE49-F238E27FC236}">
                      <a16:creationId xmlns:a16="http://schemas.microsoft.com/office/drawing/2014/main" id="{5EA9DCBC-3383-6C43-8978-754E2E63F6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48325" y="5043488"/>
                  <a:ext cx="200025" cy="222250"/>
                </a:xfrm>
                <a:custGeom>
                  <a:avLst/>
                  <a:gdLst>
                    <a:gd name="T0" fmla="*/ 0 w 126"/>
                    <a:gd name="T1" fmla="*/ 128 h 140"/>
                    <a:gd name="T2" fmla="*/ 2 w 126"/>
                    <a:gd name="T3" fmla="*/ 130 h 140"/>
                    <a:gd name="T4" fmla="*/ 2 w 126"/>
                    <a:gd name="T5" fmla="*/ 130 h 140"/>
                    <a:gd name="T6" fmla="*/ 10 w 126"/>
                    <a:gd name="T7" fmla="*/ 122 h 140"/>
                    <a:gd name="T8" fmla="*/ 18 w 126"/>
                    <a:gd name="T9" fmla="*/ 130 h 140"/>
                    <a:gd name="T10" fmla="*/ 10 w 126"/>
                    <a:gd name="T11" fmla="*/ 136 h 140"/>
                    <a:gd name="T12" fmla="*/ 14 w 126"/>
                    <a:gd name="T13" fmla="*/ 140 h 140"/>
                    <a:gd name="T14" fmla="*/ 22 w 126"/>
                    <a:gd name="T15" fmla="*/ 132 h 140"/>
                    <a:gd name="T16" fmla="*/ 24 w 126"/>
                    <a:gd name="T17" fmla="*/ 134 h 140"/>
                    <a:gd name="T18" fmla="*/ 24 w 126"/>
                    <a:gd name="T19" fmla="*/ 134 h 140"/>
                    <a:gd name="T20" fmla="*/ 52 w 126"/>
                    <a:gd name="T21" fmla="*/ 104 h 140"/>
                    <a:gd name="T22" fmla="*/ 76 w 126"/>
                    <a:gd name="T23" fmla="*/ 74 h 140"/>
                    <a:gd name="T24" fmla="*/ 126 w 126"/>
                    <a:gd name="T25" fmla="*/ 10 h 140"/>
                    <a:gd name="T26" fmla="*/ 126 w 126"/>
                    <a:gd name="T27" fmla="*/ 10 h 140"/>
                    <a:gd name="T28" fmla="*/ 126 w 126"/>
                    <a:gd name="T29" fmla="*/ 6 h 140"/>
                    <a:gd name="T30" fmla="*/ 124 w 126"/>
                    <a:gd name="T31" fmla="*/ 2 h 140"/>
                    <a:gd name="T32" fmla="*/ 124 w 126"/>
                    <a:gd name="T33" fmla="*/ 2 h 140"/>
                    <a:gd name="T34" fmla="*/ 118 w 126"/>
                    <a:gd name="T35" fmla="*/ 0 h 140"/>
                    <a:gd name="T36" fmla="*/ 114 w 126"/>
                    <a:gd name="T37" fmla="*/ 2 h 140"/>
                    <a:gd name="T38" fmla="*/ 114 w 126"/>
                    <a:gd name="T39" fmla="*/ 2 h 140"/>
                    <a:gd name="T40" fmla="*/ 60 w 126"/>
                    <a:gd name="T41" fmla="*/ 60 h 140"/>
                    <a:gd name="T42" fmla="*/ 32 w 126"/>
                    <a:gd name="T43" fmla="*/ 90 h 140"/>
                    <a:gd name="T44" fmla="*/ 2 w 126"/>
                    <a:gd name="T45" fmla="*/ 116 h 140"/>
                    <a:gd name="T46" fmla="*/ 6 w 126"/>
                    <a:gd name="T47" fmla="*/ 120 h 140"/>
                    <a:gd name="T48" fmla="*/ 6 w 126"/>
                    <a:gd name="T49" fmla="*/ 120 h 140"/>
                    <a:gd name="T50" fmla="*/ 0 w 126"/>
                    <a:gd name="T51" fmla="*/ 128 h 140"/>
                    <a:gd name="T52" fmla="*/ 0 w 126"/>
                    <a:gd name="T53" fmla="*/ 128 h 1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26" h="140">
                      <a:moveTo>
                        <a:pt x="0" y="128"/>
                      </a:moveTo>
                      <a:lnTo>
                        <a:pt x="2" y="130"/>
                      </a:lnTo>
                      <a:lnTo>
                        <a:pt x="2" y="130"/>
                      </a:lnTo>
                      <a:lnTo>
                        <a:pt x="10" y="122"/>
                      </a:lnTo>
                      <a:lnTo>
                        <a:pt x="18" y="130"/>
                      </a:lnTo>
                      <a:lnTo>
                        <a:pt x="10" y="136"/>
                      </a:lnTo>
                      <a:lnTo>
                        <a:pt x="14" y="140"/>
                      </a:lnTo>
                      <a:lnTo>
                        <a:pt x="22" y="132"/>
                      </a:lnTo>
                      <a:lnTo>
                        <a:pt x="24" y="134"/>
                      </a:lnTo>
                      <a:lnTo>
                        <a:pt x="24" y="134"/>
                      </a:lnTo>
                      <a:lnTo>
                        <a:pt x="52" y="104"/>
                      </a:lnTo>
                      <a:lnTo>
                        <a:pt x="76" y="74"/>
                      </a:lnTo>
                      <a:lnTo>
                        <a:pt x="126" y="10"/>
                      </a:lnTo>
                      <a:lnTo>
                        <a:pt x="126" y="10"/>
                      </a:lnTo>
                      <a:lnTo>
                        <a:pt x="126" y="6"/>
                      </a:lnTo>
                      <a:lnTo>
                        <a:pt x="124" y="2"/>
                      </a:lnTo>
                      <a:lnTo>
                        <a:pt x="124" y="2"/>
                      </a:lnTo>
                      <a:lnTo>
                        <a:pt x="118" y="0"/>
                      </a:lnTo>
                      <a:lnTo>
                        <a:pt x="114" y="2"/>
                      </a:lnTo>
                      <a:lnTo>
                        <a:pt x="114" y="2"/>
                      </a:lnTo>
                      <a:lnTo>
                        <a:pt x="60" y="60"/>
                      </a:lnTo>
                      <a:lnTo>
                        <a:pt x="32" y="90"/>
                      </a:lnTo>
                      <a:lnTo>
                        <a:pt x="2" y="116"/>
                      </a:lnTo>
                      <a:lnTo>
                        <a:pt x="6" y="120"/>
                      </a:lnTo>
                      <a:lnTo>
                        <a:pt x="6" y="120"/>
                      </a:lnTo>
                      <a:lnTo>
                        <a:pt x="0" y="128"/>
                      </a:lnTo>
                      <a:lnTo>
                        <a:pt x="0" y="12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8" name="Freeform 39">
                  <a:extLst>
                    <a:ext uri="{FF2B5EF4-FFF2-40B4-BE49-F238E27FC236}">
                      <a16:creationId xmlns:a16="http://schemas.microsoft.com/office/drawing/2014/main" id="{4E1B91BB-6E13-B54B-BAD6-248F56C88B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21300" y="5272088"/>
                  <a:ext cx="276225" cy="79375"/>
                </a:xfrm>
                <a:custGeom>
                  <a:avLst/>
                  <a:gdLst>
                    <a:gd name="T0" fmla="*/ 8 w 174"/>
                    <a:gd name="T1" fmla="*/ 50 h 50"/>
                    <a:gd name="T2" fmla="*/ 8 w 174"/>
                    <a:gd name="T3" fmla="*/ 50 h 50"/>
                    <a:gd name="T4" fmla="*/ 46 w 174"/>
                    <a:gd name="T5" fmla="*/ 46 h 50"/>
                    <a:gd name="T6" fmla="*/ 86 w 174"/>
                    <a:gd name="T7" fmla="*/ 40 h 50"/>
                    <a:gd name="T8" fmla="*/ 126 w 174"/>
                    <a:gd name="T9" fmla="*/ 34 h 50"/>
                    <a:gd name="T10" fmla="*/ 166 w 174"/>
                    <a:gd name="T11" fmla="*/ 28 h 50"/>
                    <a:gd name="T12" fmla="*/ 166 w 174"/>
                    <a:gd name="T13" fmla="*/ 24 h 50"/>
                    <a:gd name="T14" fmla="*/ 174 w 174"/>
                    <a:gd name="T15" fmla="*/ 22 h 50"/>
                    <a:gd name="T16" fmla="*/ 174 w 174"/>
                    <a:gd name="T17" fmla="*/ 16 h 50"/>
                    <a:gd name="T18" fmla="*/ 164 w 174"/>
                    <a:gd name="T19" fmla="*/ 20 h 50"/>
                    <a:gd name="T20" fmla="*/ 162 w 174"/>
                    <a:gd name="T21" fmla="*/ 10 h 50"/>
                    <a:gd name="T22" fmla="*/ 172 w 174"/>
                    <a:gd name="T23" fmla="*/ 6 h 50"/>
                    <a:gd name="T24" fmla="*/ 172 w 174"/>
                    <a:gd name="T25" fmla="*/ 2 h 50"/>
                    <a:gd name="T26" fmla="*/ 162 w 174"/>
                    <a:gd name="T27" fmla="*/ 4 h 50"/>
                    <a:gd name="T28" fmla="*/ 160 w 174"/>
                    <a:gd name="T29" fmla="*/ 0 h 50"/>
                    <a:gd name="T30" fmla="*/ 160 w 174"/>
                    <a:gd name="T31" fmla="*/ 0 h 50"/>
                    <a:gd name="T32" fmla="*/ 84 w 174"/>
                    <a:gd name="T33" fmla="*/ 20 h 50"/>
                    <a:gd name="T34" fmla="*/ 44 w 174"/>
                    <a:gd name="T35" fmla="*/ 28 h 50"/>
                    <a:gd name="T36" fmla="*/ 6 w 174"/>
                    <a:gd name="T37" fmla="*/ 36 h 50"/>
                    <a:gd name="T38" fmla="*/ 6 w 174"/>
                    <a:gd name="T39" fmla="*/ 36 h 50"/>
                    <a:gd name="T40" fmla="*/ 2 w 174"/>
                    <a:gd name="T41" fmla="*/ 38 h 50"/>
                    <a:gd name="T42" fmla="*/ 0 w 174"/>
                    <a:gd name="T43" fmla="*/ 44 h 50"/>
                    <a:gd name="T44" fmla="*/ 0 w 174"/>
                    <a:gd name="T45" fmla="*/ 44 h 50"/>
                    <a:gd name="T46" fmla="*/ 2 w 174"/>
                    <a:gd name="T47" fmla="*/ 48 h 50"/>
                    <a:gd name="T48" fmla="*/ 8 w 174"/>
                    <a:gd name="T49" fmla="*/ 50 h 50"/>
                    <a:gd name="T50" fmla="*/ 8 w 174"/>
                    <a:gd name="T51" fmla="*/ 5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174" h="50">
                      <a:moveTo>
                        <a:pt x="8" y="50"/>
                      </a:moveTo>
                      <a:lnTo>
                        <a:pt x="8" y="50"/>
                      </a:lnTo>
                      <a:lnTo>
                        <a:pt x="46" y="46"/>
                      </a:lnTo>
                      <a:lnTo>
                        <a:pt x="86" y="40"/>
                      </a:lnTo>
                      <a:lnTo>
                        <a:pt x="126" y="34"/>
                      </a:lnTo>
                      <a:lnTo>
                        <a:pt x="166" y="28"/>
                      </a:lnTo>
                      <a:lnTo>
                        <a:pt x="166" y="24"/>
                      </a:lnTo>
                      <a:lnTo>
                        <a:pt x="174" y="22"/>
                      </a:lnTo>
                      <a:lnTo>
                        <a:pt x="174" y="16"/>
                      </a:lnTo>
                      <a:lnTo>
                        <a:pt x="164" y="20"/>
                      </a:lnTo>
                      <a:lnTo>
                        <a:pt x="162" y="10"/>
                      </a:lnTo>
                      <a:lnTo>
                        <a:pt x="172" y="6"/>
                      </a:lnTo>
                      <a:lnTo>
                        <a:pt x="172" y="2"/>
                      </a:lnTo>
                      <a:lnTo>
                        <a:pt x="162" y="4"/>
                      </a:lnTo>
                      <a:lnTo>
                        <a:pt x="160" y="0"/>
                      </a:lnTo>
                      <a:lnTo>
                        <a:pt x="160" y="0"/>
                      </a:lnTo>
                      <a:lnTo>
                        <a:pt x="84" y="20"/>
                      </a:lnTo>
                      <a:lnTo>
                        <a:pt x="44" y="28"/>
                      </a:lnTo>
                      <a:lnTo>
                        <a:pt x="6" y="36"/>
                      </a:lnTo>
                      <a:lnTo>
                        <a:pt x="6" y="36"/>
                      </a:lnTo>
                      <a:lnTo>
                        <a:pt x="2" y="38"/>
                      </a:lnTo>
                      <a:lnTo>
                        <a:pt x="0" y="44"/>
                      </a:lnTo>
                      <a:lnTo>
                        <a:pt x="0" y="44"/>
                      </a:lnTo>
                      <a:lnTo>
                        <a:pt x="2" y="48"/>
                      </a:lnTo>
                      <a:lnTo>
                        <a:pt x="8" y="50"/>
                      </a:lnTo>
                      <a:lnTo>
                        <a:pt x="8" y="5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9" name="Freeform 40">
                  <a:extLst>
                    <a:ext uri="{FF2B5EF4-FFF2-40B4-BE49-F238E27FC236}">
                      <a16:creationId xmlns:a16="http://schemas.microsoft.com/office/drawing/2014/main" id="{E341C57E-E65C-2547-8A41-155F85A54B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1150" y="4894263"/>
                  <a:ext cx="234950" cy="352425"/>
                </a:xfrm>
                <a:custGeom>
                  <a:avLst/>
                  <a:gdLst>
                    <a:gd name="T0" fmla="*/ 124 w 148"/>
                    <a:gd name="T1" fmla="*/ 222 h 222"/>
                    <a:gd name="T2" fmla="*/ 124 w 148"/>
                    <a:gd name="T3" fmla="*/ 222 h 222"/>
                    <a:gd name="T4" fmla="*/ 62 w 148"/>
                    <a:gd name="T5" fmla="*/ 126 h 222"/>
                    <a:gd name="T6" fmla="*/ 0 w 148"/>
                    <a:gd name="T7" fmla="*/ 28 h 222"/>
                    <a:gd name="T8" fmla="*/ 24 w 148"/>
                    <a:gd name="T9" fmla="*/ 14 h 222"/>
                    <a:gd name="T10" fmla="*/ 46 w 148"/>
                    <a:gd name="T11" fmla="*/ 0 h 222"/>
                    <a:gd name="T12" fmla="*/ 46 w 148"/>
                    <a:gd name="T13" fmla="*/ 0 h 222"/>
                    <a:gd name="T14" fmla="*/ 98 w 148"/>
                    <a:gd name="T15" fmla="*/ 104 h 222"/>
                    <a:gd name="T16" fmla="*/ 148 w 148"/>
                    <a:gd name="T17" fmla="*/ 210 h 222"/>
                    <a:gd name="T18" fmla="*/ 124 w 148"/>
                    <a:gd name="T19" fmla="*/ 222 h 2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8" h="222">
                      <a:moveTo>
                        <a:pt x="124" y="222"/>
                      </a:moveTo>
                      <a:lnTo>
                        <a:pt x="124" y="222"/>
                      </a:lnTo>
                      <a:lnTo>
                        <a:pt x="62" y="126"/>
                      </a:lnTo>
                      <a:lnTo>
                        <a:pt x="0" y="28"/>
                      </a:lnTo>
                      <a:lnTo>
                        <a:pt x="24" y="14"/>
                      </a:lnTo>
                      <a:lnTo>
                        <a:pt x="46" y="0"/>
                      </a:lnTo>
                      <a:lnTo>
                        <a:pt x="46" y="0"/>
                      </a:lnTo>
                      <a:lnTo>
                        <a:pt x="98" y="104"/>
                      </a:lnTo>
                      <a:lnTo>
                        <a:pt x="148" y="210"/>
                      </a:lnTo>
                      <a:lnTo>
                        <a:pt x="124" y="22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20" name="Freeform 41">
                  <a:extLst>
                    <a:ext uri="{FF2B5EF4-FFF2-40B4-BE49-F238E27FC236}">
                      <a16:creationId xmlns:a16="http://schemas.microsoft.com/office/drawing/2014/main" id="{1BFD9F40-555D-FD4A-9114-0E9FB3B5D84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81650" y="5224463"/>
                  <a:ext cx="95250" cy="95250"/>
                </a:xfrm>
                <a:custGeom>
                  <a:avLst/>
                  <a:gdLst>
                    <a:gd name="T0" fmla="*/ 8 w 60"/>
                    <a:gd name="T1" fmla="*/ 50 h 60"/>
                    <a:gd name="T2" fmla="*/ 8 w 60"/>
                    <a:gd name="T3" fmla="*/ 50 h 60"/>
                    <a:gd name="T4" fmla="*/ 4 w 60"/>
                    <a:gd name="T5" fmla="*/ 40 h 60"/>
                    <a:gd name="T6" fmla="*/ 6 w 60"/>
                    <a:gd name="T7" fmla="*/ 32 h 60"/>
                    <a:gd name="T8" fmla="*/ 0 w 60"/>
                    <a:gd name="T9" fmla="*/ 20 h 60"/>
                    <a:gd name="T10" fmla="*/ 0 w 60"/>
                    <a:gd name="T11" fmla="*/ 20 h 60"/>
                    <a:gd name="T12" fmla="*/ 36 w 60"/>
                    <a:gd name="T13" fmla="*/ 0 h 60"/>
                    <a:gd name="T14" fmla="*/ 42 w 60"/>
                    <a:gd name="T15" fmla="*/ 12 h 60"/>
                    <a:gd name="T16" fmla="*/ 42 w 60"/>
                    <a:gd name="T17" fmla="*/ 12 h 60"/>
                    <a:gd name="T18" fmla="*/ 50 w 60"/>
                    <a:gd name="T19" fmla="*/ 16 h 60"/>
                    <a:gd name="T20" fmla="*/ 56 w 60"/>
                    <a:gd name="T21" fmla="*/ 22 h 60"/>
                    <a:gd name="T22" fmla="*/ 56 w 60"/>
                    <a:gd name="T23" fmla="*/ 22 h 60"/>
                    <a:gd name="T24" fmla="*/ 60 w 60"/>
                    <a:gd name="T25" fmla="*/ 30 h 60"/>
                    <a:gd name="T26" fmla="*/ 58 w 60"/>
                    <a:gd name="T27" fmla="*/ 40 h 60"/>
                    <a:gd name="T28" fmla="*/ 52 w 60"/>
                    <a:gd name="T29" fmla="*/ 50 h 60"/>
                    <a:gd name="T30" fmla="*/ 44 w 60"/>
                    <a:gd name="T31" fmla="*/ 58 h 60"/>
                    <a:gd name="T32" fmla="*/ 44 w 60"/>
                    <a:gd name="T33" fmla="*/ 58 h 60"/>
                    <a:gd name="T34" fmla="*/ 34 w 60"/>
                    <a:gd name="T35" fmla="*/ 60 h 60"/>
                    <a:gd name="T36" fmla="*/ 22 w 60"/>
                    <a:gd name="T37" fmla="*/ 60 h 60"/>
                    <a:gd name="T38" fmla="*/ 14 w 60"/>
                    <a:gd name="T39" fmla="*/ 56 h 60"/>
                    <a:gd name="T40" fmla="*/ 8 w 60"/>
                    <a:gd name="T41" fmla="*/ 50 h 60"/>
                    <a:gd name="T42" fmla="*/ 8 w 60"/>
                    <a:gd name="T43" fmla="*/ 50 h 60"/>
                    <a:gd name="T44" fmla="*/ 12 w 60"/>
                    <a:gd name="T45" fmla="*/ 46 h 60"/>
                    <a:gd name="T46" fmla="*/ 12 w 60"/>
                    <a:gd name="T47" fmla="*/ 46 h 60"/>
                    <a:gd name="T48" fmla="*/ 18 w 60"/>
                    <a:gd name="T49" fmla="*/ 52 h 60"/>
                    <a:gd name="T50" fmla="*/ 24 w 60"/>
                    <a:gd name="T51" fmla="*/ 56 h 60"/>
                    <a:gd name="T52" fmla="*/ 32 w 60"/>
                    <a:gd name="T53" fmla="*/ 56 h 60"/>
                    <a:gd name="T54" fmla="*/ 42 w 60"/>
                    <a:gd name="T55" fmla="*/ 52 h 60"/>
                    <a:gd name="T56" fmla="*/ 42 w 60"/>
                    <a:gd name="T57" fmla="*/ 52 h 60"/>
                    <a:gd name="T58" fmla="*/ 48 w 60"/>
                    <a:gd name="T59" fmla="*/ 48 h 60"/>
                    <a:gd name="T60" fmla="*/ 52 w 60"/>
                    <a:gd name="T61" fmla="*/ 40 h 60"/>
                    <a:gd name="T62" fmla="*/ 54 w 60"/>
                    <a:gd name="T63" fmla="*/ 32 h 60"/>
                    <a:gd name="T64" fmla="*/ 52 w 60"/>
                    <a:gd name="T65" fmla="*/ 24 h 60"/>
                    <a:gd name="T66" fmla="*/ 52 w 60"/>
                    <a:gd name="T67" fmla="*/ 24 h 60"/>
                    <a:gd name="T68" fmla="*/ 46 w 60"/>
                    <a:gd name="T69" fmla="*/ 18 h 60"/>
                    <a:gd name="T70" fmla="*/ 38 w 60"/>
                    <a:gd name="T71" fmla="*/ 16 h 60"/>
                    <a:gd name="T72" fmla="*/ 30 w 60"/>
                    <a:gd name="T73" fmla="*/ 16 h 60"/>
                    <a:gd name="T74" fmla="*/ 22 w 60"/>
                    <a:gd name="T75" fmla="*/ 18 h 60"/>
                    <a:gd name="T76" fmla="*/ 22 w 60"/>
                    <a:gd name="T77" fmla="*/ 18 h 60"/>
                    <a:gd name="T78" fmla="*/ 16 w 60"/>
                    <a:gd name="T79" fmla="*/ 24 h 60"/>
                    <a:gd name="T80" fmla="*/ 12 w 60"/>
                    <a:gd name="T81" fmla="*/ 32 h 60"/>
                    <a:gd name="T82" fmla="*/ 10 w 60"/>
                    <a:gd name="T83" fmla="*/ 40 h 60"/>
                    <a:gd name="T84" fmla="*/ 12 w 60"/>
                    <a:gd name="T85" fmla="*/ 46 h 60"/>
                    <a:gd name="T86" fmla="*/ 12 w 60"/>
                    <a:gd name="T87" fmla="*/ 4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60" h="60">
                      <a:moveTo>
                        <a:pt x="8" y="50"/>
                      </a:moveTo>
                      <a:lnTo>
                        <a:pt x="8" y="50"/>
                      </a:lnTo>
                      <a:lnTo>
                        <a:pt x="4" y="40"/>
                      </a:lnTo>
                      <a:lnTo>
                        <a:pt x="6" y="32"/>
                      </a:lnTo>
                      <a:lnTo>
                        <a:pt x="0" y="20"/>
                      </a:lnTo>
                      <a:lnTo>
                        <a:pt x="0" y="20"/>
                      </a:lnTo>
                      <a:lnTo>
                        <a:pt x="36" y="0"/>
                      </a:lnTo>
                      <a:lnTo>
                        <a:pt x="42" y="12"/>
                      </a:lnTo>
                      <a:lnTo>
                        <a:pt x="42" y="12"/>
                      </a:lnTo>
                      <a:lnTo>
                        <a:pt x="50" y="16"/>
                      </a:lnTo>
                      <a:lnTo>
                        <a:pt x="56" y="22"/>
                      </a:lnTo>
                      <a:lnTo>
                        <a:pt x="56" y="22"/>
                      </a:lnTo>
                      <a:lnTo>
                        <a:pt x="60" y="30"/>
                      </a:lnTo>
                      <a:lnTo>
                        <a:pt x="58" y="40"/>
                      </a:lnTo>
                      <a:lnTo>
                        <a:pt x="52" y="50"/>
                      </a:lnTo>
                      <a:lnTo>
                        <a:pt x="44" y="58"/>
                      </a:lnTo>
                      <a:lnTo>
                        <a:pt x="44" y="58"/>
                      </a:lnTo>
                      <a:lnTo>
                        <a:pt x="34" y="60"/>
                      </a:lnTo>
                      <a:lnTo>
                        <a:pt x="22" y="60"/>
                      </a:lnTo>
                      <a:lnTo>
                        <a:pt x="14" y="56"/>
                      </a:lnTo>
                      <a:lnTo>
                        <a:pt x="8" y="50"/>
                      </a:lnTo>
                      <a:lnTo>
                        <a:pt x="8" y="50"/>
                      </a:lnTo>
                      <a:close/>
                      <a:moveTo>
                        <a:pt x="12" y="46"/>
                      </a:moveTo>
                      <a:lnTo>
                        <a:pt x="12" y="46"/>
                      </a:lnTo>
                      <a:lnTo>
                        <a:pt x="18" y="52"/>
                      </a:lnTo>
                      <a:lnTo>
                        <a:pt x="24" y="56"/>
                      </a:lnTo>
                      <a:lnTo>
                        <a:pt x="32" y="56"/>
                      </a:lnTo>
                      <a:lnTo>
                        <a:pt x="42" y="52"/>
                      </a:lnTo>
                      <a:lnTo>
                        <a:pt x="42" y="52"/>
                      </a:lnTo>
                      <a:lnTo>
                        <a:pt x="48" y="48"/>
                      </a:lnTo>
                      <a:lnTo>
                        <a:pt x="52" y="40"/>
                      </a:lnTo>
                      <a:lnTo>
                        <a:pt x="54" y="32"/>
                      </a:lnTo>
                      <a:lnTo>
                        <a:pt x="52" y="24"/>
                      </a:lnTo>
                      <a:lnTo>
                        <a:pt x="52" y="24"/>
                      </a:lnTo>
                      <a:lnTo>
                        <a:pt x="46" y="18"/>
                      </a:lnTo>
                      <a:lnTo>
                        <a:pt x="38" y="16"/>
                      </a:lnTo>
                      <a:lnTo>
                        <a:pt x="30" y="16"/>
                      </a:lnTo>
                      <a:lnTo>
                        <a:pt x="22" y="18"/>
                      </a:lnTo>
                      <a:lnTo>
                        <a:pt x="22" y="18"/>
                      </a:lnTo>
                      <a:lnTo>
                        <a:pt x="16" y="24"/>
                      </a:lnTo>
                      <a:lnTo>
                        <a:pt x="12" y="32"/>
                      </a:lnTo>
                      <a:lnTo>
                        <a:pt x="10" y="40"/>
                      </a:lnTo>
                      <a:lnTo>
                        <a:pt x="12" y="46"/>
                      </a:lnTo>
                      <a:lnTo>
                        <a:pt x="12" y="4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sz="1539" dirty="0">
                    <a:solidFill>
                      <a:srgbClr val="000000"/>
                    </a:solidFill>
                  </a:endParaRPr>
                </a:p>
              </p:txBody>
            </p:sp>
          </p:grpSp>
          <p:sp>
            <p:nvSpPr>
              <p:cNvPr id="11" name="Freeform 42">
                <a:extLst>
                  <a:ext uri="{FF2B5EF4-FFF2-40B4-BE49-F238E27FC236}">
                    <a16:creationId xmlns:a16="http://schemas.microsoft.com/office/drawing/2014/main" id="{FE0884F1-4720-8344-A35C-BA33F3A5A3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21139" y="3983038"/>
                <a:ext cx="739775" cy="546100"/>
              </a:xfrm>
              <a:custGeom>
                <a:avLst/>
                <a:gdLst>
                  <a:gd name="T0" fmla="*/ 216 w 466"/>
                  <a:gd name="T1" fmla="*/ 340 h 344"/>
                  <a:gd name="T2" fmla="*/ 198 w 466"/>
                  <a:gd name="T3" fmla="*/ 300 h 344"/>
                  <a:gd name="T4" fmla="*/ 188 w 466"/>
                  <a:gd name="T5" fmla="*/ 316 h 344"/>
                  <a:gd name="T6" fmla="*/ 182 w 466"/>
                  <a:gd name="T7" fmla="*/ 310 h 344"/>
                  <a:gd name="T8" fmla="*/ 144 w 466"/>
                  <a:gd name="T9" fmla="*/ 288 h 344"/>
                  <a:gd name="T10" fmla="*/ 138 w 466"/>
                  <a:gd name="T11" fmla="*/ 284 h 344"/>
                  <a:gd name="T12" fmla="*/ 146 w 466"/>
                  <a:gd name="T13" fmla="*/ 268 h 344"/>
                  <a:gd name="T14" fmla="*/ 2 w 466"/>
                  <a:gd name="T15" fmla="*/ 182 h 344"/>
                  <a:gd name="T16" fmla="*/ 10 w 466"/>
                  <a:gd name="T17" fmla="*/ 166 h 344"/>
                  <a:gd name="T18" fmla="*/ 252 w 466"/>
                  <a:gd name="T19" fmla="*/ 280 h 344"/>
                  <a:gd name="T20" fmla="*/ 260 w 466"/>
                  <a:gd name="T21" fmla="*/ 284 h 344"/>
                  <a:gd name="T22" fmla="*/ 272 w 466"/>
                  <a:gd name="T23" fmla="*/ 314 h 344"/>
                  <a:gd name="T24" fmla="*/ 260 w 466"/>
                  <a:gd name="T25" fmla="*/ 336 h 344"/>
                  <a:gd name="T26" fmla="*/ 238 w 466"/>
                  <a:gd name="T27" fmla="*/ 322 h 344"/>
                  <a:gd name="T28" fmla="*/ 224 w 466"/>
                  <a:gd name="T29" fmla="*/ 344 h 344"/>
                  <a:gd name="T30" fmla="*/ 122 w 466"/>
                  <a:gd name="T31" fmla="*/ 214 h 344"/>
                  <a:gd name="T32" fmla="*/ 112 w 466"/>
                  <a:gd name="T33" fmla="*/ 208 h 344"/>
                  <a:gd name="T34" fmla="*/ 100 w 466"/>
                  <a:gd name="T35" fmla="*/ 190 h 344"/>
                  <a:gd name="T36" fmla="*/ 96 w 466"/>
                  <a:gd name="T37" fmla="*/ 188 h 344"/>
                  <a:gd name="T38" fmla="*/ 74 w 466"/>
                  <a:gd name="T39" fmla="*/ 188 h 344"/>
                  <a:gd name="T40" fmla="*/ 30 w 466"/>
                  <a:gd name="T41" fmla="*/ 128 h 344"/>
                  <a:gd name="T42" fmla="*/ 182 w 466"/>
                  <a:gd name="T43" fmla="*/ 190 h 344"/>
                  <a:gd name="T44" fmla="*/ 180 w 466"/>
                  <a:gd name="T45" fmla="*/ 220 h 344"/>
                  <a:gd name="T46" fmla="*/ 198 w 466"/>
                  <a:gd name="T47" fmla="*/ 216 h 344"/>
                  <a:gd name="T48" fmla="*/ 212 w 466"/>
                  <a:gd name="T49" fmla="*/ 188 h 344"/>
                  <a:gd name="T50" fmla="*/ 52 w 466"/>
                  <a:gd name="T51" fmla="*/ 82 h 344"/>
                  <a:gd name="T52" fmla="*/ 54 w 466"/>
                  <a:gd name="T53" fmla="*/ 76 h 344"/>
                  <a:gd name="T54" fmla="*/ 80 w 466"/>
                  <a:gd name="T55" fmla="*/ 0 h 344"/>
                  <a:gd name="T56" fmla="*/ 442 w 466"/>
                  <a:gd name="T57" fmla="*/ 134 h 344"/>
                  <a:gd name="T58" fmla="*/ 442 w 466"/>
                  <a:gd name="T59" fmla="*/ 160 h 344"/>
                  <a:gd name="T60" fmla="*/ 394 w 466"/>
                  <a:gd name="T61" fmla="*/ 160 h 344"/>
                  <a:gd name="T62" fmla="*/ 386 w 466"/>
                  <a:gd name="T63" fmla="*/ 166 h 344"/>
                  <a:gd name="T64" fmla="*/ 378 w 466"/>
                  <a:gd name="T65" fmla="*/ 168 h 344"/>
                  <a:gd name="T66" fmla="*/ 232 w 466"/>
                  <a:gd name="T67" fmla="*/ 170 h 344"/>
                  <a:gd name="T68" fmla="*/ 210 w 466"/>
                  <a:gd name="T69" fmla="*/ 216 h 344"/>
                  <a:gd name="T70" fmla="*/ 184 w 466"/>
                  <a:gd name="T71" fmla="*/ 232 h 344"/>
                  <a:gd name="T72" fmla="*/ 134 w 466"/>
                  <a:gd name="T73" fmla="*/ 208 h 344"/>
                  <a:gd name="T74" fmla="*/ 360 w 466"/>
                  <a:gd name="T75" fmla="*/ 110 h 344"/>
                  <a:gd name="T76" fmla="*/ 434 w 466"/>
                  <a:gd name="T77" fmla="*/ 156 h 344"/>
                  <a:gd name="T78" fmla="*/ 356 w 466"/>
                  <a:gd name="T79" fmla="*/ 122 h 344"/>
                  <a:gd name="T80" fmla="*/ 396 w 466"/>
                  <a:gd name="T81" fmla="*/ 136 h 344"/>
                  <a:gd name="T82" fmla="*/ 346 w 466"/>
                  <a:gd name="T83" fmla="*/ 204 h 344"/>
                  <a:gd name="T84" fmla="*/ 252 w 466"/>
                  <a:gd name="T85" fmla="*/ 126 h 344"/>
                  <a:gd name="T86" fmla="*/ 350 w 466"/>
                  <a:gd name="T87" fmla="*/ 164 h 344"/>
                  <a:gd name="T88" fmla="*/ 346 w 466"/>
                  <a:gd name="T89" fmla="*/ 170 h 344"/>
                  <a:gd name="T90" fmla="*/ 346 w 466"/>
                  <a:gd name="T91" fmla="*/ 172 h 344"/>
                  <a:gd name="T92" fmla="*/ 344 w 466"/>
                  <a:gd name="T93" fmla="*/ 178 h 344"/>
                  <a:gd name="T94" fmla="*/ 244 w 466"/>
                  <a:gd name="T95" fmla="*/ 142 h 344"/>
                  <a:gd name="T96" fmla="*/ 236 w 466"/>
                  <a:gd name="T97" fmla="*/ 158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66" h="344">
                    <a:moveTo>
                      <a:pt x="224" y="344"/>
                    </a:moveTo>
                    <a:lnTo>
                      <a:pt x="218" y="340"/>
                    </a:lnTo>
                    <a:lnTo>
                      <a:pt x="216" y="340"/>
                    </a:lnTo>
                    <a:lnTo>
                      <a:pt x="216" y="338"/>
                    </a:lnTo>
                    <a:lnTo>
                      <a:pt x="230" y="318"/>
                    </a:lnTo>
                    <a:lnTo>
                      <a:pt x="198" y="300"/>
                    </a:lnTo>
                    <a:lnTo>
                      <a:pt x="190" y="314"/>
                    </a:lnTo>
                    <a:lnTo>
                      <a:pt x="188" y="316"/>
                    </a:lnTo>
                    <a:lnTo>
                      <a:pt x="188" y="316"/>
                    </a:lnTo>
                    <a:lnTo>
                      <a:pt x="182" y="312"/>
                    </a:lnTo>
                    <a:lnTo>
                      <a:pt x="182" y="312"/>
                    </a:lnTo>
                    <a:lnTo>
                      <a:pt x="182" y="310"/>
                    </a:lnTo>
                    <a:lnTo>
                      <a:pt x="192" y="296"/>
                    </a:lnTo>
                    <a:lnTo>
                      <a:pt x="154" y="272"/>
                    </a:lnTo>
                    <a:lnTo>
                      <a:pt x="144" y="288"/>
                    </a:lnTo>
                    <a:lnTo>
                      <a:pt x="144" y="288"/>
                    </a:lnTo>
                    <a:lnTo>
                      <a:pt x="144" y="288"/>
                    </a:lnTo>
                    <a:lnTo>
                      <a:pt x="138" y="284"/>
                    </a:lnTo>
                    <a:lnTo>
                      <a:pt x="138" y="284"/>
                    </a:lnTo>
                    <a:lnTo>
                      <a:pt x="138" y="282"/>
                    </a:lnTo>
                    <a:lnTo>
                      <a:pt x="146" y="268"/>
                    </a:lnTo>
                    <a:lnTo>
                      <a:pt x="0" y="182"/>
                    </a:lnTo>
                    <a:lnTo>
                      <a:pt x="0" y="182"/>
                    </a:lnTo>
                    <a:lnTo>
                      <a:pt x="2" y="182"/>
                    </a:lnTo>
                    <a:lnTo>
                      <a:pt x="10" y="166"/>
                    </a:lnTo>
                    <a:lnTo>
                      <a:pt x="10" y="166"/>
                    </a:lnTo>
                    <a:lnTo>
                      <a:pt x="10" y="166"/>
                    </a:lnTo>
                    <a:lnTo>
                      <a:pt x="242" y="298"/>
                    </a:lnTo>
                    <a:lnTo>
                      <a:pt x="250" y="282"/>
                    </a:lnTo>
                    <a:lnTo>
                      <a:pt x="252" y="280"/>
                    </a:lnTo>
                    <a:lnTo>
                      <a:pt x="252" y="280"/>
                    </a:lnTo>
                    <a:lnTo>
                      <a:pt x="258" y="284"/>
                    </a:lnTo>
                    <a:lnTo>
                      <a:pt x="260" y="284"/>
                    </a:lnTo>
                    <a:lnTo>
                      <a:pt x="258" y="286"/>
                    </a:lnTo>
                    <a:lnTo>
                      <a:pt x="250" y="302"/>
                    </a:lnTo>
                    <a:lnTo>
                      <a:pt x="272" y="314"/>
                    </a:lnTo>
                    <a:lnTo>
                      <a:pt x="272" y="314"/>
                    </a:lnTo>
                    <a:lnTo>
                      <a:pt x="272" y="316"/>
                    </a:lnTo>
                    <a:lnTo>
                      <a:pt x="260" y="336"/>
                    </a:lnTo>
                    <a:lnTo>
                      <a:pt x="260" y="336"/>
                    </a:lnTo>
                    <a:lnTo>
                      <a:pt x="260" y="336"/>
                    </a:lnTo>
                    <a:lnTo>
                      <a:pt x="238" y="322"/>
                    </a:lnTo>
                    <a:lnTo>
                      <a:pt x="224" y="344"/>
                    </a:lnTo>
                    <a:lnTo>
                      <a:pt x="224" y="344"/>
                    </a:lnTo>
                    <a:lnTo>
                      <a:pt x="224" y="344"/>
                    </a:lnTo>
                    <a:close/>
                    <a:moveTo>
                      <a:pt x="134" y="208"/>
                    </a:moveTo>
                    <a:lnTo>
                      <a:pt x="128" y="216"/>
                    </a:lnTo>
                    <a:lnTo>
                      <a:pt x="122" y="214"/>
                    </a:lnTo>
                    <a:lnTo>
                      <a:pt x="128" y="204"/>
                    </a:lnTo>
                    <a:lnTo>
                      <a:pt x="116" y="200"/>
                    </a:lnTo>
                    <a:lnTo>
                      <a:pt x="112" y="208"/>
                    </a:lnTo>
                    <a:lnTo>
                      <a:pt x="106" y="206"/>
                    </a:lnTo>
                    <a:lnTo>
                      <a:pt x="112" y="196"/>
                    </a:lnTo>
                    <a:lnTo>
                      <a:pt x="100" y="190"/>
                    </a:lnTo>
                    <a:lnTo>
                      <a:pt x="96" y="200"/>
                    </a:lnTo>
                    <a:lnTo>
                      <a:pt x="90" y="196"/>
                    </a:lnTo>
                    <a:lnTo>
                      <a:pt x="96" y="188"/>
                    </a:lnTo>
                    <a:lnTo>
                      <a:pt x="84" y="182"/>
                    </a:lnTo>
                    <a:lnTo>
                      <a:pt x="80" y="190"/>
                    </a:lnTo>
                    <a:lnTo>
                      <a:pt x="74" y="188"/>
                    </a:lnTo>
                    <a:lnTo>
                      <a:pt x="80" y="180"/>
                    </a:lnTo>
                    <a:lnTo>
                      <a:pt x="20" y="148"/>
                    </a:lnTo>
                    <a:lnTo>
                      <a:pt x="30" y="128"/>
                    </a:lnTo>
                    <a:lnTo>
                      <a:pt x="172" y="198"/>
                    </a:lnTo>
                    <a:lnTo>
                      <a:pt x="178" y="188"/>
                    </a:lnTo>
                    <a:lnTo>
                      <a:pt x="182" y="190"/>
                    </a:lnTo>
                    <a:lnTo>
                      <a:pt x="170" y="214"/>
                    </a:lnTo>
                    <a:lnTo>
                      <a:pt x="180" y="220"/>
                    </a:lnTo>
                    <a:lnTo>
                      <a:pt x="180" y="220"/>
                    </a:lnTo>
                    <a:lnTo>
                      <a:pt x="186" y="222"/>
                    </a:lnTo>
                    <a:lnTo>
                      <a:pt x="192" y="220"/>
                    </a:lnTo>
                    <a:lnTo>
                      <a:pt x="198" y="216"/>
                    </a:lnTo>
                    <a:lnTo>
                      <a:pt x="202" y="212"/>
                    </a:lnTo>
                    <a:lnTo>
                      <a:pt x="202" y="212"/>
                    </a:lnTo>
                    <a:lnTo>
                      <a:pt x="212" y="188"/>
                    </a:lnTo>
                    <a:lnTo>
                      <a:pt x="222" y="166"/>
                    </a:lnTo>
                    <a:lnTo>
                      <a:pt x="48" y="90"/>
                    </a:lnTo>
                    <a:lnTo>
                      <a:pt x="52" y="82"/>
                    </a:lnTo>
                    <a:lnTo>
                      <a:pt x="228" y="154"/>
                    </a:lnTo>
                    <a:lnTo>
                      <a:pt x="230" y="148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68" y="38"/>
                    </a:lnTo>
                    <a:lnTo>
                      <a:pt x="80" y="0"/>
                    </a:lnTo>
                    <a:lnTo>
                      <a:pt x="368" y="84"/>
                    </a:lnTo>
                    <a:lnTo>
                      <a:pt x="360" y="108"/>
                    </a:lnTo>
                    <a:lnTo>
                      <a:pt x="442" y="134"/>
                    </a:lnTo>
                    <a:lnTo>
                      <a:pt x="442" y="130"/>
                    </a:lnTo>
                    <a:lnTo>
                      <a:pt x="452" y="134"/>
                    </a:lnTo>
                    <a:lnTo>
                      <a:pt x="442" y="160"/>
                    </a:lnTo>
                    <a:lnTo>
                      <a:pt x="466" y="168"/>
                    </a:lnTo>
                    <a:lnTo>
                      <a:pt x="460" y="184"/>
                    </a:lnTo>
                    <a:lnTo>
                      <a:pt x="394" y="160"/>
                    </a:lnTo>
                    <a:lnTo>
                      <a:pt x="394" y="160"/>
                    </a:lnTo>
                    <a:lnTo>
                      <a:pt x="390" y="164"/>
                    </a:lnTo>
                    <a:lnTo>
                      <a:pt x="386" y="166"/>
                    </a:lnTo>
                    <a:lnTo>
                      <a:pt x="382" y="168"/>
                    </a:lnTo>
                    <a:lnTo>
                      <a:pt x="378" y="168"/>
                    </a:lnTo>
                    <a:lnTo>
                      <a:pt x="378" y="168"/>
                    </a:lnTo>
                    <a:lnTo>
                      <a:pt x="372" y="198"/>
                    </a:lnTo>
                    <a:lnTo>
                      <a:pt x="366" y="228"/>
                    </a:lnTo>
                    <a:lnTo>
                      <a:pt x="232" y="170"/>
                    </a:lnTo>
                    <a:lnTo>
                      <a:pt x="232" y="170"/>
                    </a:lnTo>
                    <a:lnTo>
                      <a:pt x="210" y="216"/>
                    </a:lnTo>
                    <a:lnTo>
                      <a:pt x="210" y="216"/>
                    </a:lnTo>
                    <a:lnTo>
                      <a:pt x="204" y="224"/>
                    </a:lnTo>
                    <a:lnTo>
                      <a:pt x="194" y="230"/>
                    </a:lnTo>
                    <a:lnTo>
                      <a:pt x="184" y="232"/>
                    </a:lnTo>
                    <a:lnTo>
                      <a:pt x="180" y="232"/>
                    </a:lnTo>
                    <a:lnTo>
                      <a:pt x="174" y="230"/>
                    </a:lnTo>
                    <a:lnTo>
                      <a:pt x="134" y="208"/>
                    </a:lnTo>
                    <a:close/>
                    <a:moveTo>
                      <a:pt x="438" y="144"/>
                    </a:moveTo>
                    <a:lnTo>
                      <a:pt x="440" y="136"/>
                    </a:lnTo>
                    <a:lnTo>
                      <a:pt x="360" y="110"/>
                    </a:lnTo>
                    <a:lnTo>
                      <a:pt x="358" y="116"/>
                    </a:lnTo>
                    <a:lnTo>
                      <a:pt x="438" y="144"/>
                    </a:lnTo>
                    <a:close/>
                    <a:moveTo>
                      <a:pt x="434" y="156"/>
                    </a:moveTo>
                    <a:lnTo>
                      <a:pt x="438" y="146"/>
                    </a:lnTo>
                    <a:lnTo>
                      <a:pt x="358" y="120"/>
                    </a:lnTo>
                    <a:lnTo>
                      <a:pt x="356" y="122"/>
                    </a:lnTo>
                    <a:lnTo>
                      <a:pt x="390" y="132"/>
                    </a:lnTo>
                    <a:lnTo>
                      <a:pt x="390" y="132"/>
                    </a:lnTo>
                    <a:lnTo>
                      <a:pt x="396" y="136"/>
                    </a:lnTo>
                    <a:lnTo>
                      <a:pt x="398" y="144"/>
                    </a:lnTo>
                    <a:lnTo>
                      <a:pt x="434" y="156"/>
                    </a:lnTo>
                    <a:close/>
                    <a:moveTo>
                      <a:pt x="346" y="204"/>
                    </a:moveTo>
                    <a:lnTo>
                      <a:pt x="354" y="158"/>
                    </a:lnTo>
                    <a:lnTo>
                      <a:pt x="252" y="120"/>
                    </a:lnTo>
                    <a:lnTo>
                      <a:pt x="252" y="126"/>
                    </a:lnTo>
                    <a:lnTo>
                      <a:pt x="350" y="162"/>
                    </a:lnTo>
                    <a:lnTo>
                      <a:pt x="350" y="162"/>
                    </a:lnTo>
                    <a:lnTo>
                      <a:pt x="350" y="164"/>
                    </a:lnTo>
                    <a:lnTo>
                      <a:pt x="348" y="168"/>
                    </a:lnTo>
                    <a:lnTo>
                      <a:pt x="348" y="170"/>
                    </a:lnTo>
                    <a:lnTo>
                      <a:pt x="346" y="170"/>
                    </a:lnTo>
                    <a:lnTo>
                      <a:pt x="248" y="132"/>
                    </a:lnTo>
                    <a:lnTo>
                      <a:pt x="248" y="134"/>
                    </a:lnTo>
                    <a:lnTo>
                      <a:pt x="346" y="172"/>
                    </a:lnTo>
                    <a:lnTo>
                      <a:pt x="346" y="174"/>
                    </a:lnTo>
                    <a:lnTo>
                      <a:pt x="346" y="174"/>
                    </a:lnTo>
                    <a:lnTo>
                      <a:pt x="344" y="178"/>
                    </a:lnTo>
                    <a:lnTo>
                      <a:pt x="344" y="180"/>
                    </a:lnTo>
                    <a:lnTo>
                      <a:pt x="342" y="180"/>
                    </a:lnTo>
                    <a:lnTo>
                      <a:pt x="244" y="142"/>
                    </a:lnTo>
                    <a:lnTo>
                      <a:pt x="240" y="152"/>
                    </a:lnTo>
                    <a:lnTo>
                      <a:pt x="240" y="152"/>
                    </a:lnTo>
                    <a:lnTo>
                      <a:pt x="236" y="158"/>
                    </a:lnTo>
                    <a:lnTo>
                      <a:pt x="346" y="20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Freeform 63">
                <a:extLst>
                  <a:ext uri="{FF2B5EF4-FFF2-40B4-BE49-F238E27FC236}">
                    <a16:creationId xmlns:a16="http://schemas.microsoft.com/office/drawing/2014/main" id="{FE8493CE-6310-D343-A606-F7E4D37E1A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98914" y="4278313"/>
                <a:ext cx="22225" cy="12700"/>
              </a:xfrm>
              <a:custGeom>
                <a:avLst/>
                <a:gdLst>
                  <a:gd name="T0" fmla="*/ 12 w 14"/>
                  <a:gd name="T1" fmla="*/ 8 h 8"/>
                  <a:gd name="T2" fmla="*/ 12 w 14"/>
                  <a:gd name="T3" fmla="*/ 8 h 8"/>
                  <a:gd name="T4" fmla="*/ 14 w 14"/>
                  <a:gd name="T5" fmla="*/ 8 h 8"/>
                  <a:gd name="T6" fmla="*/ 0 w 14"/>
                  <a:gd name="T7" fmla="*/ 0 h 8"/>
                  <a:gd name="T8" fmla="*/ 12 w 14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8">
                    <a:moveTo>
                      <a:pt x="12" y="8"/>
                    </a:moveTo>
                    <a:lnTo>
                      <a:pt x="12" y="8"/>
                    </a:lnTo>
                    <a:lnTo>
                      <a:pt x="14" y="8"/>
                    </a:lnTo>
                    <a:lnTo>
                      <a:pt x="0" y="0"/>
                    </a:lnTo>
                    <a:lnTo>
                      <a:pt x="12" y="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" name="Gerade Verbindung 20">
              <a:extLst>
                <a:ext uri="{FF2B5EF4-FFF2-40B4-BE49-F238E27FC236}">
                  <a16:creationId xmlns:a16="http://schemas.microsoft.com/office/drawing/2014/main" id="{7FE854DD-3C56-5A4C-B724-61F99C4BF842}"/>
                </a:ext>
              </a:extLst>
            </p:cNvPr>
            <p:cNvCxnSpPr>
              <a:cxnSpLocks/>
            </p:cNvCxnSpPr>
            <p:nvPr/>
          </p:nvCxnSpPr>
          <p:spPr>
            <a:xfrm>
              <a:off x="358220" y="4163297"/>
              <a:ext cx="4817863" cy="0"/>
            </a:xfrm>
            <a:prstGeom prst="line">
              <a:avLst/>
            </a:prstGeom>
            <a:solidFill>
              <a:schemeClr val="bg1"/>
            </a:solidFill>
            <a:ln w="381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Arc 2274">
              <a:extLst>
                <a:ext uri="{FF2B5EF4-FFF2-40B4-BE49-F238E27FC236}">
                  <a16:creationId xmlns:a16="http://schemas.microsoft.com/office/drawing/2014/main" id="{919B30F8-A11C-6E49-BF7D-274769957C8E}"/>
                </a:ext>
              </a:extLst>
            </p:cNvPr>
            <p:cNvSpPr/>
            <p:nvPr/>
          </p:nvSpPr>
          <p:spPr>
            <a:xfrm rot="20258410">
              <a:off x="5181271" y="2807396"/>
              <a:ext cx="2646378" cy="2646381"/>
            </a:xfrm>
            <a:prstGeom prst="arc">
              <a:avLst>
                <a:gd name="adj1" fmla="val 20787809"/>
                <a:gd name="adj2" fmla="val 18813139"/>
              </a:avLst>
            </a:prstGeom>
            <a:solidFill>
              <a:schemeClr val="bg1"/>
            </a:solidFill>
            <a:ln w="381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 sz="1539" dirty="0">
                <a:solidFill>
                  <a:srgbClr val="000000"/>
                </a:solidFill>
              </a:endParaRPr>
            </a:p>
          </p:txBody>
        </p:sp>
        <p:grpSp>
          <p:nvGrpSpPr>
            <p:cNvPr id="24" name="Group 2267">
              <a:extLst>
                <a:ext uri="{FF2B5EF4-FFF2-40B4-BE49-F238E27FC236}">
                  <a16:creationId xmlns:a16="http://schemas.microsoft.com/office/drawing/2014/main" id="{44A49316-EDFF-C64D-8FE8-1F6EC542E043}"/>
                </a:ext>
              </a:extLst>
            </p:cNvPr>
            <p:cNvGrpSpPr/>
            <p:nvPr/>
          </p:nvGrpSpPr>
          <p:grpSpPr>
            <a:xfrm rot="20258410">
              <a:off x="6408043" y="5320434"/>
              <a:ext cx="1032695" cy="612281"/>
              <a:chOff x="3970089" y="4957763"/>
              <a:chExt cx="1162050" cy="688975"/>
            </a:xfrm>
            <a:solidFill>
              <a:schemeClr val="bg1">
                <a:lumMod val="85000"/>
              </a:schemeClr>
            </a:solidFill>
          </p:grpSpPr>
          <p:sp>
            <p:nvSpPr>
              <p:cNvPr id="25" name="Freeform 30">
                <a:extLst>
                  <a:ext uri="{FF2B5EF4-FFF2-40B4-BE49-F238E27FC236}">
                    <a16:creationId xmlns:a16="http://schemas.microsoft.com/office/drawing/2014/main" id="{B8A1A0B9-2195-D244-9C96-02A2CD1453C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41639" y="5030788"/>
                <a:ext cx="190500" cy="206375"/>
              </a:xfrm>
              <a:custGeom>
                <a:avLst/>
                <a:gdLst>
                  <a:gd name="T0" fmla="*/ 8 w 120"/>
                  <a:gd name="T1" fmla="*/ 88 h 130"/>
                  <a:gd name="T2" fmla="*/ 0 w 120"/>
                  <a:gd name="T3" fmla="*/ 18 h 130"/>
                  <a:gd name="T4" fmla="*/ 0 w 120"/>
                  <a:gd name="T5" fmla="*/ 18 h 130"/>
                  <a:gd name="T6" fmla="*/ 52 w 120"/>
                  <a:gd name="T7" fmla="*/ 10 h 130"/>
                  <a:gd name="T8" fmla="*/ 102 w 120"/>
                  <a:gd name="T9" fmla="*/ 0 h 130"/>
                  <a:gd name="T10" fmla="*/ 120 w 120"/>
                  <a:gd name="T11" fmla="*/ 68 h 130"/>
                  <a:gd name="T12" fmla="*/ 120 w 120"/>
                  <a:gd name="T13" fmla="*/ 68 h 130"/>
                  <a:gd name="T14" fmla="*/ 98 w 120"/>
                  <a:gd name="T15" fmla="*/ 98 h 130"/>
                  <a:gd name="T16" fmla="*/ 74 w 120"/>
                  <a:gd name="T17" fmla="*/ 130 h 130"/>
                  <a:gd name="T18" fmla="*/ 74 w 120"/>
                  <a:gd name="T19" fmla="*/ 130 h 130"/>
                  <a:gd name="T20" fmla="*/ 40 w 120"/>
                  <a:gd name="T21" fmla="*/ 110 h 130"/>
                  <a:gd name="T22" fmla="*/ 8 w 120"/>
                  <a:gd name="T23" fmla="*/ 88 h 130"/>
                  <a:gd name="T24" fmla="*/ 8 w 120"/>
                  <a:gd name="T25" fmla="*/ 88 h 130"/>
                  <a:gd name="T26" fmla="*/ 46 w 120"/>
                  <a:gd name="T27" fmla="*/ 68 h 130"/>
                  <a:gd name="T28" fmla="*/ 78 w 120"/>
                  <a:gd name="T29" fmla="*/ 62 h 130"/>
                  <a:gd name="T30" fmla="*/ 72 w 120"/>
                  <a:gd name="T31" fmla="*/ 32 h 130"/>
                  <a:gd name="T32" fmla="*/ 40 w 120"/>
                  <a:gd name="T33" fmla="*/ 38 h 130"/>
                  <a:gd name="T34" fmla="*/ 46 w 120"/>
                  <a:gd name="T35" fmla="*/ 6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0" h="130">
                    <a:moveTo>
                      <a:pt x="8" y="8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52" y="10"/>
                    </a:lnTo>
                    <a:lnTo>
                      <a:pt x="102" y="0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98" y="98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40" y="110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46" y="68"/>
                    </a:moveTo>
                    <a:lnTo>
                      <a:pt x="78" y="62"/>
                    </a:lnTo>
                    <a:lnTo>
                      <a:pt x="72" y="32"/>
                    </a:lnTo>
                    <a:lnTo>
                      <a:pt x="40" y="38"/>
                    </a:lnTo>
                    <a:lnTo>
                      <a:pt x="46" y="6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 31">
                <a:extLst>
                  <a:ext uri="{FF2B5EF4-FFF2-40B4-BE49-F238E27FC236}">
                    <a16:creationId xmlns:a16="http://schemas.microsoft.com/office/drawing/2014/main" id="{CC2F4925-C8A4-8249-A921-A90C3A204D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70089" y="4957763"/>
                <a:ext cx="1003300" cy="688975"/>
              </a:xfrm>
              <a:custGeom>
                <a:avLst/>
                <a:gdLst>
                  <a:gd name="T0" fmla="*/ 418 w 632"/>
                  <a:gd name="T1" fmla="*/ 142 h 434"/>
                  <a:gd name="T2" fmla="*/ 402 w 632"/>
                  <a:gd name="T3" fmla="*/ 214 h 434"/>
                  <a:gd name="T4" fmla="*/ 458 w 632"/>
                  <a:gd name="T5" fmla="*/ 210 h 434"/>
                  <a:gd name="T6" fmla="*/ 438 w 632"/>
                  <a:gd name="T7" fmla="*/ 70 h 434"/>
                  <a:gd name="T8" fmla="*/ 484 w 632"/>
                  <a:gd name="T9" fmla="*/ 206 h 434"/>
                  <a:gd name="T10" fmla="*/ 560 w 632"/>
                  <a:gd name="T11" fmla="*/ 68 h 434"/>
                  <a:gd name="T12" fmla="*/ 590 w 632"/>
                  <a:gd name="T13" fmla="*/ 64 h 434"/>
                  <a:gd name="T14" fmla="*/ 604 w 632"/>
                  <a:gd name="T15" fmla="*/ 160 h 434"/>
                  <a:gd name="T16" fmla="*/ 608 w 632"/>
                  <a:gd name="T17" fmla="*/ 196 h 434"/>
                  <a:gd name="T18" fmla="*/ 624 w 632"/>
                  <a:gd name="T19" fmla="*/ 272 h 434"/>
                  <a:gd name="T20" fmla="*/ 618 w 632"/>
                  <a:gd name="T21" fmla="*/ 286 h 434"/>
                  <a:gd name="T22" fmla="*/ 618 w 632"/>
                  <a:gd name="T23" fmla="*/ 290 h 434"/>
                  <a:gd name="T24" fmla="*/ 628 w 632"/>
                  <a:gd name="T25" fmla="*/ 298 h 434"/>
                  <a:gd name="T26" fmla="*/ 582 w 632"/>
                  <a:gd name="T27" fmla="*/ 304 h 434"/>
                  <a:gd name="T28" fmla="*/ 536 w 632"/>
                  <a:gd name="T29" fmla="*/ 306 h 434"/>
                  <a:gd name="T30" fmla="*/ 544 w 632"/>
                  <a:gd name="T31" fmla="*/ 296 h 434"/>
                  <a:gd name="T32" fmla="*/ 544 w 632"/>
                  <a:gd name="T33" fmla="*/ 292 h 434"/>
                  <a:gd name="T34" fmla="*/ 476 w 632"/>
                  <a:gd name="T35" fmla="*/ 324 h 434"/>
                  <a:gd name="T36" fmla="*/ 500 w 632"/>
                  <a:gd name="T37" fmla="*/ 330 h 434"/>
                  <a:gd name="T38" fmla="*/ 466 w 632"/>
                  <a:gd name="T39" fmla="*/ 320 h 434"/>
                  <a:gd name="T40" fmla="*/ 452 w 632"/>
                  <a:gd name="T41" fmla="*/ 238 h 434"/>
                  <a:gd name="T42" fmla="*/ 376 w 632"/>
                  <a:gd name="T43" fmla="*/ 218 h 434"/>
                  <a:gd name="T44" fmla="*/ 354 w 632"/>
                  <a:gd name="T45" fmla="*/ 230 h 434"/>
                  <a:gd name="T46" fmla="*/ 356 w 632"/>
                  <a:gd name="T47" fmla="*/ 132 h 434"/>
                  <a:gd name="T48" fmla="*/ 548 w 632"/>
                  <a:gd name="T49" fmla="*/ 288 h 434"/>
                  <a:gd name="T50" fmla="*/ 578 w 632"/>
                  <a:gd name="T51" fmla="*/ 294 h 434"/>
                  <a:gd name="T52" fmla="*/ 584 w 632"/>
                  <a:gd name="T53" fmla="*/ 298 h 434"/>
                  <a:gd name="T54" fmla="*/ 614 w 632"/>
                  <a:gd name="T55" fmla="*/ 290 h 434"/>
                  <a:gd name="T56" fmla="*/ 612 w 632"/>
                  <a:gd name="T57" fmla="*/ 286 h 434"/>
                  <a:gd name="T58" fmla="*/ 600 w 632"/>
                  <a:gd name="T59" fmla="*/ 160 h 434"/>
                  <a:gd name="T60" fmla="*/ 570 w 632"/>
                  <a:gd name="T61" fmla="*/ 168 h 434"/>
                  <a:gd name="T62" fmla="*/ 566 w 632"/>
                  <a:gd name="T63" fmla="*/ 260 h 434"/>
                  <a:gd name="T64" fmla="*/ 574 w 632"/>
                  <a:gd name="T65" fmla="*/ 248 h 434"/>
                  <a:gd name="T66" fmla="*/ 612 w 632"/>
                  <a:gd name="T67" fmla="*/ 260 h 434"/>
                  <a:gd name="T68" fmla="*/ 538 w 632"/>
                  <a:gd name="T69" fmla="*/ 268 h 434"/>
                  <a:gd name="T70" fmla="*/ 510 w 632"/>
                  <a:gd name="T71" fmla="*/ 236 h 434"/>
                  <a:gd name="T72" fmla="*/ 474 w 632"/>
                  <a:gd name="T73" fmla="*/ 248 h 434"/>
                  <a:gd name="T74" fmla="*/ 494 w 632"/>
                  <a:gd name="T75" fmla="*/ 270 h 434"/>
                  <a:gd name="T76" fmla="*/ 468 w 632"/>
                  <a:gd name="T77" fmla="*/ 226 h 434"/>
                  <a:gd name="T78" fmla="*/ 456 w 632"/>
                  <a:gd name="T79" fmla="*/ 238 h 434"/>
                  <a:gd name="T80" fmla="*/ 390 w 632"/>
                  <a:gd name="T81" fmla="*/ 228 h 434"/>
                  <a:gd name="T82" fmla="*/ 394 w 632"/>
                  <a:gd name="T83" fmla="*/ 216 h 434"/>
                  <a:gd name="T84" fmla="*/ 4 w 632"/>
                  <a:gd name="T85" fmla="*/ 252 h 434"/>
                  <a:gd name="T86" fmla="*/ 30 w 632"/>
                  <a:gd name="T87" fmla="*/ 212 h 434"/>
                  <a:gd name="T88" fmla="*/ 52 w 632"/>
                  <a:gd name="T89" fmla="*/ 160 h 434"/>
                  <a:gd name="T90" fmla="*/ 160 w 632"/>
                  <a:gd name="T91" fmla="*/ 8 h 434"/>
                  <a:gd name="T92" fmla="*/ 50 w 632"/>
                  <a:gd name="T93" fmla="*/ 282 h 434"/>
                  <a:gd name="T94" fmla="*/ 2 w 632"/>
                  <a:gd name="T95" fmla="*/ 262 h 434"/>
                  <a:gd name="T96" fmla="*/ 130 w 632"/>
                  <a:gd name="T97" fmla="*/ 122 h 434"/>
                  <a:gd name="T98" fmla="*/ 144 w 632"/>
                  <a:gd name="T99" fmla="*/ 86 h 434"/>
                  <a:gd name="T100" fmla="*/ 132 w 632"/>
                  <a:gd name="T101" fmla="*/ 184 h 434"/>
                  <a:gd name="T102" fmla="*/ 164 w 632"/>
                  <a:gd name="T103" fmla="*/ 226 h 434"/>
                  <a:gd name="T104" fmla="*/ 306 w 632"/>
                  <a:gd name="T105" fmla="*/ 52 h 434"/>
                  <a:gd name="T106" fmla="*/ 238 w 632"/>
                  <a:gd name="T107" fmla="*/ 434 h 434"/>
                  <a:gd name="T108" fmla="*/ 226 w 632"/>
                  <a:gd name="T109" fmla="*/ 340 h 434"/>
                  <a:gd name="T110" fmla="*/ 130 w 632"/>
                  <a:gd name="T111" fmla="*/ 226 h 434"/>
                  <a:gd name="T112" fmla="*/ 266 w 632"/>
                  <a:gd name="T113" fmla="*/ 402 h 434"/>
                  <a:gd name="T114" fmla="*/ 264 w 632"/>
                  <a:gd name="T115" fmla="*/ 348 h 434"/>
                  <a:gd name="T116" fmla="*/ 242 w 632"/>
                  <a:gd name="T117" fmla="*/ 260 h 434"/>
                  <a:gd name="T118" fmla="*/ 230 w 632"/>
                  <a:gd name="T119" fmla="*/ 256 h 434"/>
                  <a:gd name="T120" fmla="*/ 220 w 632"/>
                  <a:gd name="T121" fmla="*/ 254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2" h="434">
                    <a:moveTo>
                      <a:pt x="356" y="132"/>
                    </a:moveTo>
                    <a:lnTo>
                      <a:pt x="366" y="62"/>
                    </a:lnTo>
                    <a:lnTo>
                      <a:pt x="366" y="62"/>
                    </a:lnTo>
                    <a:lnTo>
                      <a:pt x="396" y="66"/>
                    </a:lnTo>
                    <a:lnTo>
                      <a:pt x="424" y="68"/>
                    </a:lnTo>
                    <a:lnTo>
                      <a:pt x="420" y="140"/>
                    </a:lnTo>
                    <a:lnTo>
                      <a:pt x="420" y="140"/>
                    </a:lnTo>
                    <a:lnTo>
                      <a:pt x="418" y="142"/>
                    </a:lnTo>
                    <a:lnTo>
                      <a:pt x="414" y="144"/>
                    </a:lnTo>
                    <a:lnTo>
                      <a:pt x="404" y="148"/>
                    </a:lnTo>
                    <a:lnTo>
                      <a:pt x="398" y="208"/>
                    </a:lnTo>
                    <a:lnTo>
                      <a:pt x="398" y="208"/>
                    </a:lnTo>
                    <a:lnTo>
                      <a:pt x="398" y="210"/>
                    </a:lnTo>
                    <a:lnTo>
                      <a:pt x="400" y="212"/>
                    </a:lnTo>
                    <a:lnTo>
                      <a:pt x="400" y="212"/>
                    </a:lnTo>
                    <a:lnTo>
                      <a:pt x="402" y="214"/>
                    </a:lnTo>
                    <a:lnTo>
                      <a:pt x="406" y="216"/>
                    </a:lnTo>
                    <a:lnTo>
                      <a:pt x="406" y="216"/>
                    </a:lnTo>
                    <a:lnTo>
                      <a:pt x="436" y="218"/>
                    </a:lnTo>
                    <a:lnTo>
                      <a:pt x="468" y="218"/>
                    </a:lnTo>
                    <a:lnTo>
                      <a:pt x="468" y="210"/>
                    </a:lnTo>
                    <a:lnTo>
                      <a:pt x="464" y="210"/>
                    </a:lnTo>
                    <a:lnTo>
                      <a:pt x="464" y="210"/>
                    </a:lnTo>
                    <a:lnTo>
                      <a:pt x="458" y="210"/>
                    </a:lnTo>
                    <a:lnTo>
                      <a:pt x="452" y="208"/>
                    </a:lnTo>
                    <a:lnTo>
                      <a:pt x="446" y="204"/>
                    </a:lnTo>
                    <a:lnTo>
                      <a:pt x="440" y="200"/>
                    </a:lnTo>
                    <a:lnTo>
                      <a:pt x="438" y="196"/>
                    </a:lnTo>
                    <a:lnTo>
                      <a:pt x="434" y="190"/>
                    </a:lnTo>
                    <a:lnTo>
                      <a:pt x="432" y="184"/>
                    </a:lnTo>
                    <a:lnTo>
                      <a:pt x="432" y="178"/>
                    </a:lnTo>
                    <a:lnTo>
                      <a:pt x="438" y="70"/>
                    </a:lnTo>
                    <a:lnTo>
                      <a:pt x="438" y="70"/>
                    </a:lnTo>
                    <a:lnTo>
                      <a:pt x="468" y="70"/>
                    </a:lnTo>
                    <a:lnTo>
                      <a:pt x="496" y="70"/>
                    </a:lnTo>
                    <a:lnTo>
                      <a:pt x="498" y="178"/>
                    </a:lnTo>
                    <a:lnTo>
                      <a:pt x="498" y="178"/>
                    </a:lnTo>
                    <a:lnTo>
                      <a:pt x="496" y="188"/>
                    </a:lnTo>
                    <a:lnTo>
                      <a:pt x="492" y="198"/>
                    </a:lnTo>
                    <a:lnTo>
                      <a:pt x="484" y="206"/>
                    </a:lnTo>
                    <a:lnTo>
                      <a:pt x="474" y="210"/>
                    </a:lnTo>
                    <a:lnTo>
                      <a:pt x="474" y="232"/>
                    </a:lnTo>
                    <a:lnTo>
                      <a:pt x="508" y="232"/>
                    </a:lnTo>
                    <a:lnTo>
                      <a:pt x="510" y="232"/>
                    </a:lnTo>
                    <a:lnTo>
                      <a:pt x="506" y="70"/>
                    </a:lnTo>
                    <a:lnTo>
                      <a:pt x="506" y="70"/>
                    </a:lnTo>
                    <a:lnTo>
                      <a:pt x="534" y="70"/>
                    </a:lnTo>
                    <a:lnTo>
                      <a:pt x="560" y="68"/>
                    </a:lnTo>
                    <a:lnTo>
                      <a:pt x="562" y="86"/>
                    </a:lnTo>
                    <a:lnTo>
                      <a:pt x="564" y="86"/>
                    </a:lnTo>
                    <a:lnTo>
                      <a:pt x="594" y="108"/>
                    </a:lnTo>
                    <a:lnTo>
                      <a:pt x="588" y="64"/>
                    </a:lnTo>
                    <a:lnTo>
                      <a:pt x="588" y="64"/>
                    </a:lnTo>
                    <a:lnTo>
                      <a:pt x="588" y="64"/>
                    </a:lnTo>
                    <a:lnTo>
                      <a:pt x="590" y="64"/>
                    </a:lnTo>
                    <a:lnTo>
                      <a:pt x="590" y="64"/>
                    </a:lnTo>
                    <a:lnTo>
                      <a:pt x="592" y="64"/>
                    </a:lnTo>
                    <a:lnTo>
                      <a:pt x="592" y="64"/>
                    </a:lnTo>
                    <a:lnTo>
                      <a:pt x="598" y="112"/>
                    </a:lnTo>
                    <a:lnTo>
                      <a:pt x="598" y="112"/>
                    </a:lnTo>
                    <a:lnTo>
                      <a:pt x="600" y="114"/>
                    </a:lnTo>
                    <a:lnTo>
                      <a:pt x="598" y="114"/>
                    </a:lnTo>
                    <a:lnTo>
                      <a:pt x="604" y="160"/>
                    </a:lnTo>
                    <a:lnTo>
                      <a:pt x="604" y="160"/>
                    </a:lnTo>
                    <a:lnTo>
                      <a:pt x="606" y="160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4" y="164"/>
                    </a:lnTo>
                    <a:lnTo>
                      <a:pt x="608" y="192"/>
                    </a:lnTo>
                    <a:lnTo>
                      <a:pt x="610" y="194"/>
                    </a:lnTo>
                    <a:lnTo>
                      <a:pt x="608" y="196"/>
                    </a:lnTo>
                    <a:lnTo>
                      <a:pt x="612" y="224"/>
                    </a:lnTo>
                    <a:lnTo>
                      <a:pt x="614" y="226"/>
                    </a:lnTo>
                    <a:lnTo>
                      <a:pt x="612" y="228"/>
                    </a:lnTo>
                    <a:lnTo>
                      <a:pt x="616" y="256"/>
                    </a:lnTo>
                    <a:lnTo>
                      <a:pt x="618" y="256"/>
                    </a:lnTo>
                    <a:lnTo>
                      <a:pt x="616" y="258"/>
                    </a:lnTo>
                    <a:lnTo>
                      <a:pt x="618" y="272"/>
                    </a:lnTo>
                    <a:lnTo>
                      <a:pt x="624" y="272"/>
                    </a:lnTo>
                    <a:lnTo>
                      <a:pt x="624" y="272"/>
                    </a:lnTo>
                    <a:lnTo>
                      <a:pt x="628" y="272"/>
                    </a:lnTo>
                    <a:lnTo>
                      <a:pt x="630" y="276"/>
                    </a:lnTo>
                    <a:lnTo>
                      <a:pt x="630" y="276"/>
                    </a:lnTo>
                    <a:lnTo>
                      <a:pt x="628" y="278"/>
                    </a:lnTo>
                    <a:lnTo>
                      <a:pt x="626" y="280"/>
                    </a:lnTo>
                    <a:lnTo>
                      <a:pt x="616" y="280"/>
                    </a:lnTo>
                    <a:lnTo>
                      <a:pt x="618" y="286"/>
                    </a:lnTo>
                    <a:lnTo>
                      <a:pt x="628" y="284"/>
                    </a:lnTo>
                    <a:lnTo>
                      <a:pt x="628" y="284"/>
                    </a:lnTo>
                    <a:lnTo>
                      <a:pt x="630" y="286"/>
                    </a:lnTo>
                    <a:lnTo>
                      <a:pt x="630" y="286"/>
                    </a:lnTo>
                    <a:lnTo>
                      <a:pt x="630" y="286"/>
                    </a:lnTo>
                    <a:lnTo>
                      <a:pt x="630" y="288"/>
                    </a:lnTo>
                    <a:lnTo>
                      <a:pt x="628" y="290"/>
                    </a:lnTo>
                    <a:lnTo>
                      <a:pt x="618" y="290"/>
                    </a:lnTo>
                    <a:lnTo>
                      <a:pt x="618" y="294"/>
                    </a:lnTo>
                    <a:lnTo>
                      <a:pt x="628" y="294"/>
                    </a:lnTo>
                    <a:lnTo>
                      <a:pt x="628" y="294"/>
                    </a:lnTo>
                    <a:lnTo>
                      <a:pt x="630" y="294"/>
                    </a:lnTo>
                    <a:lnTo>
                      <a:pt x="632" y="296"/>
                    </a:lnTo>
                    <a:lnTo>
                      <a:pt x="632" y="296"/>
                    </a:lnTo>
                    <a:lnTo>
                      <a:pt x="630" y="298"/>
                    </a:lnTo>
                    <a:lnTo>
                      <a:pt x="628" y="298"/>
                    </a:lnTo>
                    <a:lnTo>
                      <a:pt x="618" y="300"/>
                    </a:lnTo>
                    <a:lnTo>
                      <a:pt x="616" y="300"/>
                    </a:lnTo>
                    <a:lnTo>
                      <a:pt x="614" y="300"/>
                    </a:lnTo>
                    <a:lnTo>
                      <a:pt x="602" y="302"/>
                    </a:lnTo>
                    <a:lnTo>
                      <a:pt x="600" y="302"/>
                    </a:lnTo>
                    <a:lnTo>
                      <a:pt x="596" y="302"/>
                    </a:lnTo>
                    <a:lnTo>
                      <a:pt x="584" y="304"/>
                    </a:lnTo>
                    <a:lnTo>
                      <a:pt x="582" y="304"/>
                    </a:lnTo>
                    <a:lnTo>
                      <a:pt x="580" y="304"/>
                    </a:lnTo>
                    <a:lnTo>
                      <a:pt x="566" y="304"/>
                    </a:lnTo>
                    <a:lnTo>
                      <a:pt x="564" y="306"/>
                    </a:lnTo>
                    <a:lnTo>
                      <a:pt x="562" y="304"/>
                    </a:lnTo>
                    <a:lnTo>
                      <a:pt x="548" y="306"/>
                    </a:lnTo>
                    <a:lnTo>
                      <a:pt x="546" y="306"/>
                    </a:lnTo>
                    <a:lnTo>
                      <a:pt x="544" y="306"/>
                    </a:lnTo>
                    <a:lnTo>
                      <a:pt x="536" y="306"/>
                    </a:lnTo>
                    <a:lnTo>
                      <a:pt x="536" y="306"/>
                    </a:lnTo>
                    <a:lnTo>
                      <a:pt x="534" y="306"/>
                    </a:lnTo>
                    <a:lnTo>
                      <a:pt x="532" y="304"/>
                    </a:lnTo>
                    <a:lnTo>
                      <a:pt x="532" y="304"/>
                    </a:lnTo>
                    <a:lnTo>
                      <a:pt x="534" y="302"/>
                    </a:lnTo>
                    <a:lnTo>
                      <a:pt x="536" y="302"/>
                    </a:lnTo>
                    <a:lnTo>
                      <a:pt x="544" y="302"/>
                    </a:lnTo>
                    <a:lnTo>
                      <a:pt x="544" y="296"/>
                    </a:lnTo>
                    <a:lnTo>
                      <a:pt x="534" y="298"/>
                    </a:lnTo>
                    <a:lnTo>
                      <a:pt x="534" y="298"/>
                    </a:lnTo>
                    <a:lnTo>
                      <a:pt x="534" y="298"/>
                    </a:lnTo>
                    <a:lnTo>
                      <a:pt x="532" y="296"/>
                    </a:lnTo>
                    <a:lnTo>
                      <a:pt x="532" y="296"/>
                    </a:lnTo>
                    <a:lnTo>
                      <a:pt x="534" y="294"/>
                    </a:lnTo>
                    <a:lnTo>
                      <a:pt x="534" y="294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4" y="288"/>
                    </a:lnTo>
                    <a:lnTo>
                      <a:pt x="508" y="288"/>
                    </a:lnTo>
                    <a:lnTo>
                      <a:pt x="474" y="290"/>
                    </a:lnTo>
                    <a:lnTo>
                      <a:pt x="474" y="320"/>
                    </a:lnTo>
                    <a:lnTo>
                      <a:pt x="474" y="320"/>
                    </a:lnTo>
                    <a:lnTo>
                      <a:pt x="474" y="322"/>
                    </a:lnTo>
                    <a:lnTo>
                      <a:pt x="476" y="324"/>
                    </a:lnTo>
                    <a:lnTo>
                      <a:pt x="476" y="324"/>
                    </a:lnTo>
                    <a:lnTo>
                      <a:pt x="480" y="326"/>
                    </a:lnTo>
                    <a:lnTo>
                      <a:pt x="482" y="328"/>
                    </a:lnTo>
                    <a:lnTo>
                      <a:pt x="496" y="326"/>
                    </a:lnTo>
                    <a:lnTo>
                      <a:pt x="496" y="326"/>
                    </a:lnTo>
                    <a:lnTo>
                      <a:pt x="500" y="328"/>
                    </a:lnTo>
                    <a:lnTo>
                      <a:pt x="500" y="330"/>
                    </a:lnTo>
                    <a:lnTo>
                      <a:pt x="500" y="330"/>
                    </a:lnTo>
                    <a:lnTo>
                      <a:pt x="500" y="332"/>
                    </a:lnTo>
                    <a:lnTo>
                      <a:pt x="496" y="334"/>
                    </a:lnTo>
                    <a:lnTo>
                      <a:pt x="482" y="334"/>
                    </a:lnTo>
                    <a:lnTo>
                      <a:pt x="482" y="334"/>
                    </a:lnTo>
                    <a:lnTo>
                      <a:pt x="476" y="332"/>
                    </a:lnTo>
                    <a:lnTo>
                      <a:pt x="470" y="330"/>
                    </a:lnTo>
                    <a:lnTo>
                      <a:pt x="468" y="324"/>
                    </a:lnTo>
                    <a:lnTo>
                      <a:pt x="466" y="320"/>
                    </a:lnTo>
                    <a:lnTo>
                      <a:pt x="466" y="306"/>
                    </a:lnTo>
                    <a:lnTo>
                      <a:pt x="462" y="306"/>
                    </a:lnTo>
                    <a:lnTo>
                      <a:pt x="462" y="306"/>
                    </a:lnTo>
                    <a:lnTo>
                      <a:pt x="456" y="304"/>
                    </a:lnTo>
                    <a:lnTo>
                      <a:pt x="454" y="302"/>
                    </a:lnTo>
                    <a:lnTo>
                      <a:pt x="452" y="300"/>
                    </a:lnTo>
                    <a:lnTo>
                      <a:pt x="450" y="296"/>
                    </a:lnTo>
                    <a:lnTo>
                      <a:pt x="452" y="238"/>
                    </a:lnTo>
                    <a:lnTo>
                      <a:pt x="452" y="238"/>
                    </a:lnTo>
                    <a:lnTo>
                      <a:pt x="422" y="236"/>
                    </a:lnTo>
                    <a:lnTo>
                      <a:pt x="390" y="234"/>
                    </a:lnTo>
                    <a:lnTo>
                      <a:pt x="390" y="234"/>
                    </a:lnTo>
                    <a:lnTo>
                      <a:pt x="384" y="232"/>
                    </a:lnTo>
                    <a:lnTo>
                      <a:pt x="380" y="228"/>
                    </a:lnTo>
                    <a:lnTo>
                      <a:pt x="378" y="224"/>
                    </a:lnTo>
                    <a:lnTo>
                      <a:pt x="376" y="218"/>
                    </a:lnTo>
                    <a:lnTo>
                      <a:pt x="384" y="148"/>
                    </a:lnTo>
                    <a:lnTo>
                      <a:pt x="384" y="148"/>
                    </a:lnTo>
                    <a:lnTo>
                      <a:pt x="374" y="146"/>
                    </a:lnTo>
                    <a:lnTo>
                      <a:pt x="368" y="144"/>
                    </a:lnTo>
                    <a:lnTo>
                      <a:pt x="356" y="228"/>
                    </a:lnTo>
                    <a:lnTo>
                      <a:pt x="356" y="228"/>
                    </a:lnTo>
                    <a:lnTo>
                      <a:pt x="356" y="230"/>
                    </a:lnTo>
                    <a:lnTo>
                      <a:pt x="354" y="230"/>
                    </a:lnTo>
                    <a:lnTo>
                      <a:pt x="350" y="230"/>
                    </a:lnTo>
                    <a:lnTo>
                      <a:pt x="350" y="230"/>
                    </a:lnTo>
                    <a:lnTo>
                      <a:pt x="348" y="230"/>
                    </a:lnTo>
                    <a:lnTo>
                      <a:pt x="348" y="228"/>
                    </a:lnTo>
                    <a:lnTo>
                      <a:pt x="360" y="140"/>
                    </a:lnTo>
                    <a:lnTo>
                      <a:pt x="360" y="140"/>
                    </a:lnTo>
                    <a:lnTo>
                      <a:pt x="358" y="136"/>
                    </a:lnTo>
                    <a:lnTo>
                      <a:pt x="356" y="132"/>
                    </a:lnTo>
                    <a:lnTo>
                      <a:pt x="356" y="132"/>
                    </a:lnTo>
                    <a:close/>
                    <a:moveTo>
                      <a:pt x="562" y="296"/>
                    </a:moveTo>
                    <a:lnTo>
                      <a:pt x="548" y="296"/>
                    </a:lnTo>
                    <a:lnTo>
                      <a:pt x="548" y="302"/>
                    </a:lnTo>
                    <a:lnTo>
                      <a:pt x="562" y="300"/>
                    </a:lnTo>
                    <a:lnTo>
                      <a:pt x="562" y="296"/>
                    </a:lnTo>
                    <a:close/>
                    <a:moveTo>
                      <a:pt x="560" y="286"/>
                    </a:moveTo>
                    <a:lnTo>
                      <a:pt x="548" y="288"/>
                    </a:lnTo>
                    <a:lnTo>
                      <a:pt x="548" y="292"/>
                    </a:lnTo>
                    <a:lnTo>
                      <a:pt x="560" y="292"/>
                    </a:lnTo>
                    <a:lnTo>
                      <a:pt x="560" y="286"/>
                    </a:lnTo>
                    <a:close/>
                    <a:moveTo>
                      <a:pt x="578" y="294"/>
                    </a:moveTo>
                    <a:lnTo>
                      <a:pt x="566" y="296"/>
                    </a:lnTo>
                    <a:lnTo>
                      <a:pt x="566" y="300"/>
                    </a:lnTo>
                    <a:lnTo>
                      <a:pt x="578" y="300"/>
                    </a:lnTo>
                    <a:lnTo>
                      <a:pt x="578" y="294"/>
                    </a:lnTo>
                    <a:close/>
                    <a:moveTo>
                      <a:pt x="578" y="286"/>
                    </a:moveTo>
                    <a:lnTo>
                      <a:pt x="566" y="286"/>
                    </a:lnTo>
                    <a:lnTo>
                      <a:pt x="566" y="292"/>
                    </a:lnTo>
                    <a:lnTo>
                      <a:pt x="578" y="290"/>
                    </a:lnTo>
                    <a:lnTo>
                      <a:pt x="578" y="286"/>
                    </a:lnTo>
                    <a:close/>
                    <a:moveTo>
                      <a:pt x="596" y="292"/>
                    </a:moveTo>
                    <a:lnTo>
                      <a:pt x="584" y="294"/>
                    </a:lnTo>
                    <a:lnTo>
                      <a:pt x="584" y="298"/>
                    </a:lnTo>
                    <a:lnTo>
                      <a:pt x="596" y="298"/>
                    </a:lnTo>
                    <a:lnTo>
                      <a:pt x="596" y="292"/>
                    </a:lnTo>
                    <a:close/>
                    <a:moveTo>
                      <a:pt x="594" y="284"/>
                    </a:moveTo>
                    <a:lnTo>
                      <a:pt x="582" y="284"/>
                    </a:lnTo>
                    <a:lnTo>
                      <a:pt x="582" y="290"/>
                    </a:lnTo>
                    <a:lnTo>
                      <a:pt x="596" y="288"/>
                    </a:lnTo>
                    <a:lnTo>
                      <a:pt x="594" y="284"/>
                    </a:lnTo>
                    <a:close/>
                    <a:moveTo>
                      <a:pt x="614" y="290"/>
                    </a:moveTo>
                    <a:lnTo>
                      <a:pt x="600" y="292"/>
                    </a:lnTo>
                    <a:lnTo>
                      <a:pt x="602" y="296"/>
                    </a:lnTo>
                    <a:lnTo>
                      <a:pt x="614" y="296"/>
                    </a:lnTo>
                    <a:lnTo>
                      <a:pt x="614" y="290"/>
                    </a:lnTo>
                    <a:close/>
                    <a:moveTo>
                      <a:pt x="612" y="282"/>
                    </a:moveTo>
                    <a:lnTo>
                      <a:pt x="600" y="282"/>
                    </a:lnTo>
                    <a:lnTo>
                      <a:pt x="600" y="288"/>
                    </a:lnTo>
                    <a:lnTo>
                      <a:pt x="612" y="286"/>
                    </a:lnTo>
                    <a:lnTo>
                      <a:pt x="612" y="282"/>
                    </a:lnTo>
                    <a:close/>
                    <a:moveTo>
                      <a:pt x="564" y="114"/>
                    </a:moveTo>
                    <a:lnTo>
                      <a:pt x="592" y="112"/>
                    </a:lnTo>
                    <a:lnTo>
                      <a:pt x="562" y="90"/>
                    </a:lnTo>
                    <a:lnTo>
                      <a:pt x="564" y="114"/>
                    </a:lnTo>
                    <a:close/>
                    <a:moveTo>
                      <a:pt x="570" y="164"/>
                    </a:moveTo>
                    <a:lnTo>
                      <a:pt x="570" y="164"/>
                    </a:lnTo>
                    <a:lnTo>
                      <a:pt x="600" y="160"/>
                    </a:lnTo>
                    <a:lnTo>
                      <a:pt x="594" y="116"/>
                    </a:lnTo>
                    <a:lnTo>
                      <a:pt x="566" y="120"/>
                    </a:lnTo>
                    <a:lnTo>
                      <a:pt x="570" y="164"/>
                    </a:lnTo>
                    <a:close/>
                    <a:moveTo>
                      <a:pt x="572" y="196"/>
                    </a:moveTo>
                    <a:lnTo>
                      <a:pt x="604" y="192"/>
                    </a:lnTo>
                    <a:lnTo>
                      <a:pt x="600" y="164"/>
                    </a:lnTo>
                    <a:lnTo>
                      <a:pt x="570" y="168"/>
                    </a:lnTo>
                    <a:lnTo>
                      <a:pt x="570" y="168"/>
                    </a:lnTo>
                    <a:lnTo>
                      <a:pt x="572" y="196"/>
                    </a:lnTo>
                    <a:close/>
                    <a:moveTo>
                      <a:pt x="574" y="228"/>
                    </a:moveTo>
                    <a:lnTo>
                      <a:pt x="608" y="224"/>
                    </a:lnTo>
                    <a:lnTo>
                      <a:pt x="604" y="196"/>
                    </a:lnTo>
                    <a:lnTo>
                      <a:pt x="572" y="200"/>
                    </a:lnTo>
                    <a:lnTo>
                      <a:pt x="574" y="228"/>
                    </a:lnTo>
                    <a:close/>
                    <a:moveTo>
                      <a:pt x="566" y="260"/>
                    </a:moveTo>
                    <a:lnTo>
                      <a:pt x="566" y="260"/>
                    </a:lnTo>
                    <a:lnTo>
                      <a:pt x="588" y="258"/>
                    </a:lnTo>
                    <a:lnTo>
                      <a:pt x="612" y="256"/>
                    </a:lnTo>
                    <a:lnTo>
                      <a:pt x="608" y="228"/>
                    </a:lnTo>
                    <a:lnTo>
                      <a:pt x="576" y="232"/>
                    </a:lnTo>
                    <a:lnTo>
                      <a:pt x="576" y="234"/>
                    </a:lnTo>
                    <a:lnTo>
                      <a:pt x="576" y="234"/>
                    </a:lnTo>
                    <a:lnTo>
                      <a:pt x="576" y="242"/>
                    </a:lnTo>
                    <a:lnTo>
                      <a:pt x="574" y="248"/>
                    </a:lnTo>
                    <a:lnTo>
                      <a:pt x="570" y="254"/>
                    </a:lnTo>
                    <a:lnTo>
                      <a:pt x="566" y="260"/>
                    </a:lnTo>
                    <a:lnTo>
                      <a:pt x="566" y="260"/>
                    </a:lnTo>
                    <a:close/>
                    <a:moveTo>
                      <a:pt x="502" y="280"/>
                    </a:moveTo>
                    <a:lnTo>
                      <a:pt x="502" y="280"/>
                    </a:lnTo>
                    <a:lnTo>
                      <a:pt x="558" y="278"/>
                    </a:lnTo>
                    <a:lnTo>
                      <a:pt x="614" y="272"/>
                    </a:lnTo>
                    <a:lnTo>
                      <a:pt x="612" y="260"/>
                    </a:lnTo>
                    <a:lnTo>
                      <a:pt x="612" y="260"/>
                    </a:lnTo>
                    <a:lnTo>
                      <a:pt x="586" y="262"/>
                    </a:lnTo>
                    <a:lnTo>
                      <a:pt x="560" y="264"/>
                    </a:lnTo>
                    <a:lnTo>
                      <a:pt x="560" y="264"/>
                    </a:lnTo>
                    <a:lnTo>
                      <a:pt x="552" y="268"/>
                    </a:lnTo>
                    <a:lnTo>
                      <a:pt x="544" y="268"/>
                    </a:lnTo>
                    <a:lnTo>
                      <a:pt x="544" y="268"/>
                    </a:lnTo>
                    <a:lnTo>
                      <a:pt x="538" y="268"/>
                    </a:lnTo>
                    <a:lnTo>
                      <a:pt x="532" y="268"/>
                    </a:lnTo>
                    <a:lnTo>
                      <a:pt x="526" y="264"/>
                    </a:lnTo>
                    <a:lnTo>
                      <a:pt x="520" y="260"/>
                    </a:lnTo>
                    <a:lnTo>
                      <a:pt x="516" y="256"/>
                    </a:lnTo>
                    <a:lnTo>
                      <a:pt x="514" y="250"/>
                    </a:lnTo>
                    <a:lnTo>
                      <a:pt x="510" y="244"/>
                    </a:lnTo>
                    <a:lnTo>
                      <a:pt x="510" y="238"/>
                    </a:lnTo>
                    <a:lnTo>
                      <a:pt x="510" y="236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80"/>
                    </a:lnTo>
                    <a:close/>
                    <a:moveTo>
                      <a:pt x="474" y="248"/>
                    </a:moveTo>
                    <a:lnTo>
                      <a:pt x="494" y="248"/>
                    </a:lnTo>
                    <a:lnTo>
                      <a:pt x="494" y="238"/>
                    </a:lnTo>
                    <a:lnTo>
                      <a:pt x="474" y="238"/>
                    </a:lnTo>
                    <a:lnTo>
                      <a:pt x="474" y="248"/>
                    </a:lnTo>
                    <a:close/>
                    <a:moveTo>
                      <a:pt x="474" y="264"/>
                    </a:moveTo>
                    <a:lnTo>
                      <a:pt x="494" y="262"/>
                    </a:lnTo>
                    <a:lnTo>
                      <a:pt x="494" y="254"/>
                    </a:lnTo>
                    <a:lnTo>
                      <a:pt x="474" y="254"/>
                    </a:lnTo>
                    <a:lnTo>
                      <a:pt x="474" y="264"/>
                    </a:lnTo>
                    <a:close/>
                    <a:moveTo>
                      <a:pt x="474" y="280"/>
                    </a:moveTo>
                    <a:lnTo>
                      <a:pt x="494" y="280"/>
                    </a:lnTo>
                    <a:lnTo>
                      <a:pt x="494" y="270"/>
                    </a:lnTo>
                    <a:lnTo>
                      <a:pt x="474" y="270"/>
                    </a:lnTo>
                    <a:lnTo>
                      <a:pt x="474" y="280"/>
                    </a:lnTo>
                    <a:close/>
                    <a:moveTo>
                      <a:pt x="456" y="296"/>
                    </a:moveTo>
                    <a:lnTo>
                      <a:pt x="456" y="296"/>
                    </a:lnTo>
                    <a:lnTo>
                      <a:pt x="458" y="300"/>
                    </a:lnTo>
                    <a:lnTo>
                      <a:pt x="462" y="302"/>
                    </a:lnTo>
                    <a:lnTo>
                      <a:pt x="466" y="302"/>
                    </a:lnTo>
                    <a:lnTo>
                      <a:pt x="468" y="226"/>
                    </a:lnTo>
                    <a:lnTo>
                      <a:pt x="458" y="224"/>
                    </a:lnTo>
                    <a:lnTo>
                      <a:pt x="458" y="232"/>
                    </a:lnTo>
                    <a:lnTo>
                      <a:pt x="458" y="232"/>
                    </a:lnTo>
                    <a:lnTo>
                      <a:pt x="458" y="232"/>
                    </a:lnTo>
                    <a:lnTo>
                      <a:pt x="460" y="234"/>
                    </a:lnTo>
                    <a:lnTo>
                      <a:pt x="460" y="234"/>
                    </a:lnTo>
                    <a:lnTo>
                      <a:pt x="458" y="236"/>
                    </a:lnTo>
                    <a:lnTo>
                      <a:pt x="456" y="238"/>
                    </a:lnTo>
                    <a:lnTo>
                      <a:pt x="456" y="296"/>
                    </a:lnTo>
                    <a:close/>
                    <a:moveTo>
                      <a:pt x="384" y="220"/>
                    </a:moveTo>
                    <a:lnTo>
                      <a:pt x="384" y="220"/>
                    </a:lnTo>
                    <a:lnTo>
                      <a:pt x="384" y="222"/>
                    </a:lnTo>
                    <a:lnTo>
                      <a:pt x="386" y="224"/>
                    </a:lnTo>
                    <a:lnTo>
                      <a:pt x="386" y="224"/>
                    </a:lnTo>
                    <a:lnTo>
                      <a:pt x="390" y="228"/>
                    </a:lnTo>
                    <a:lnTo>
                      <a:pt x="390" y="228"/>
                    </a:lnTo>
                    <a:lnTo>
                      <a:pt x="422" y="230"/>
                    </a:lnTo>
                    <a:lnTo>
                      <a:pt x="452" y="232"/>
                    </a:lnTo>
                    <a:lnTo>
                      <a:pt x="452" y="224"/>
                    </a:lnTo>
                    <a:lnTo>
                      <a:pt x="452" y="224"/>
                    </a:lnTo>
                    <a:lnTo>
                      <a:pt x="406" y="222"/>
                    </a:lnTo>
                    <a:lnTo>
                      <a:pt x="406" y="222"/>
                    </a:lnTo>
                    <a:lnTo>
                      <a:pt x="400" y="220"/>
                    </a:lnTo>
                    <a:lnTo>
                      <a:pt x="394" y="216"/>
                    </a:lnTo>
                    <a:lnTo>
                      <a:pt x="392" y="212"/>
                    </a:lnTo>
                    <a:lnTo>
                      <a:pt x="392" y="206"/>
                    </a:lnTo>
                    <a:lnTo>
                      <a:pt x="396" y="150"/>
                    </a:lnTo>
                    <a:lnTo>
                      <a:pt x="390" y="150"/>
                    </a:lnTo>
                    <a:lnTo>
                      <a:pt x="384" y="220"/>
                    </a:lnTo>
                    <a:close/>
                    <a:moveTo>
                      <a:pt x="0" y="260"/>
                    </a:moveTo>
                    <a:lnTo>
                      <a:pt x="4" y="252"/>
                    </a:lnTo>
                    <a:lnTo>
                      <a:pt x="4" y="252"/>
                    </a:lnTo>
                    <a:lnTo>
                      <a:pt x="6" y="252"/>
                    </a:lnTo>
                    <a:lnTo>
                      <a:pt x="30" y="262"/>
                    </a:lnTo>
                    <a:lnTo>
                      <a:pt x="44" y="228"/>
                    </a:lnTo>
                    <a:lnTo>
                      <a:pt x="28" y="220"/>
                    </a:lnTo>
                    <a:lnTo>
                      <a:pt x="26" y="218"/>
                    </a:lnTo>
                    <a:lnTo>
                      <a:pt x="26" y="218"/>
                    </a:lnTo>
                    <a:lnTo>
                      <a:pt x="30" y="212"/>
                    </a:lnTo>
                    <a:lnTo>
                      <a:pt x="30" y="212"/>
                    </a:lnTo>
                    <a:lnTo>
                      <a:pt x="30" y="212"/>
                    </a:lnTo>
                    <a:lnTo>
                      <a:pt x="48" y="220"/>
                    </a:lnTo>
                    <a:lnTo>
                      <a:pt x="66" y="176"/>
                    </a:lnTo>
                    <a:lnTo>
                      <a:pt x="50" y="168"/>
                    </a:lnTo>
                    <a:lnTo>
                      <a:pt x="50" y="168"/>
                    </a:lnTo>
                    <a:lnTo>
                      <a:pt x="50" y="166"/>
                    </a:lnTo>
                    <a:lnTo>
                      <a:pt x="52" y="160"/>
                    </a:lnTo>
                    <a:lnTo>
                      <a:pt x="52" y="160"/>
                    </a:lnTo>
                    <a:lnTo>
                      <a:pt x="54" y="160"/>
                    </a:lnTo>
                    <a:lnTo>
                      <a:pt x="70" y="168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42" y="0"/>
                    </a:lnTo>
                    <a:lnTo>
                      <a:pt x="160" y="8"/>
                    </a:lnTo>
                    <a:lnTo>
                      <a:pt x="160" y="8"/>
                    </a:lnTo>
                    <a:lnTo>
                      <a:pt x="160" y="8"/>
                    </a:lnTo>
                    <a:lnTo>
                      <a:pt x="54" y="274"/>
                    </a:lnTo>
                    <a:lnTo>
                      <a:pt x="72" y="280"/>
                    </a:lnTo>
                    <a:lnTo>
                      <a:pt x="72" y="280"/>
                    </a:lnTo>
                    <a:lnTo>
                      <a:pt x="72" y="282"/>
                    </a:lnTo>
                    <a:lnTo>
                      <a:pt x="70" y="288"/>
                    </a:lnTo>
                    <a:lnTo>
                      <a:pt x="70" y="290"/>
                    </a:lnTo>
                    <a:lnTo>
                      <a:pt x="68" y="290"/>
                    </a:lnTo>
                    <a:lnTo>
                      <a:pt x="50" y="282"/>
                    </a:lnTo>
                    <a:lnTo>
                      <a:pt x="40" y="308"/>
                    </a:lnTo>
                    <a:lnTo>
                      <a:pt x="40" y="308"/>
                    </a:lnTo>
                    <a:lnTo>
                      <a:pt x="38" y="308"/>
                    </a:lnTo>
                    <a:lnTo>
                      <a:pt x="16" y="298"/>
                    </a:lnTo>
                    <a:lnTo>
                      <a:pt x="14" y="298"/>
                    </a:lnTo>
                    <a:lnTo>
                      <a:pt x="14" y="296"/>
                    </a:lnTo>
                    <a:lnTo>
                      <a:pt x="26" y="272"/>
                    </a:lnTo>
                    <a:lnTo>
                      <a:pt x="2" y="262"/>
                    </a:lnTo>
                    <a:lnTo>
                      <a:pt x="0" y="260"/>
                    </a:lnTo>
                    <a:lnTo>
                      <a:pt x="0" y="260"/>
                    </a:lnTo>
                    <a:close/>
                    <a:moveTo>
                      <a:pt x="134" y="144"/>
                    </a:moveTo>
                    <a:lnTo>
                      <a:pt x="122" y="140"/>
                    </a:lnTo>
                    <a:lnTo>
                      <a:pt x="126" y="134"/>
                    </a:lnTo>
                    <a:lnTo>
                      <a:pt x="136" y="138"/>
                    </a:lnTo>
                    <a:lnTo>
                      <a:pt x="140" y="126"/>
                    </a:lnTo>
                    <a:lnTo>
                      <a:pt x="130" y="122"/>
                    </a:lnTo>
                    <a:lnTo>
                      <a:pt x="132" y="116"/>
                    </a:lnTo>
                    <a:lnTo>
                      <a:pt x="142" y="120"/>
                    </a:lnTo>
                    <a:lnTo>
                      <a:pt x="146" y="108"/>
                    </a:lnTo>
                    <a:lnTo>
                      <a:pt x="136" y="104"/>
                    </a:lnTo>
                    <a:lnTo>
                      <a:pt x="140" y="98"/>
                    </a:lnTo>
                    <a:lnTo>
                      <a:pt x="150" y="102"/>
                    </a:lnTo>
                    <a:lnTo>
                      <a:pt x="154" y="90"/>
                    </a:lnTo>
                    <a:lnTo>
                      <a:pt x="144" y="86"/>
                    </a:lnTo>
                    <a:lnTo>
                      <a:pt x="146" y="80"/>
                    </a:lnTo>
                    <a:lnTo>
                      <a:pt x="156" y="84"/>
                    </a:lnTo>
                    <a:lnTo>
                      <a:pt x="182" y="16"/>
                    </a:lnTo>
                    <a:lnTo>
                      <a:pt x="204" y="24"/>
                    </a:lnTo>
                    <a:lnTo>
                      <a:pt x="150" y="186"/>
                    </a:lnTo>
                    <a:lnTo>
                      <a:pt x="162" y="190"/>
                    </a:lnTo>
                    <a:lnTo>
                      <a:pt x="160" y="194"/>
                    </a:lnTo>
                    <a:lnTo>
                      <a:pt x="132" y="184"/>
                    </a:lnTo>
                    <a:lnTo>
                      <a:pt x="128" y="196"/>
                    </a:lnTo>
                    <a:lnTo>
                      <a:pt x="128" y="196"/>
                    </a:lnTo>
                    <a:lnTo>
                      <a:pt x="126" y="202"/>
                    </a:lnTo>
                    <a:lnTo>
                      <a:pt x="128" y="210"/>
                    </a:lnTo>
                    <a:lnTo>
                      <a:pt x="132" y="214"/>
                    </a:lnTo>
                    <a:lnTo>
                      <a:pt x="140" y="218"/>
                    </a:lnTo>
                    <a:lnTo>
                      <a:pt x="140" y="218"/>
                    </a:lnTo>
                    <a:lnTo>
                      <a:pt x="164" y="226"/>
                    </a:lnTo>
                    <a:lnTo>
                      <a:pt x="190" y="234"/>
                    </a:lnTo>
                    <a:lnTo>
                      <a:pt x="246" y="38"/>
                    </a:lnTo>
                    <a:lnTo>
                      <a:pt x="256" y="40"/>
                    </a:lnTo>
                    <a:lnTo>
                      <a:pt x="202" y="238"/>
                    </a:lnTo>
                    <a:lnTo>
                      <a:pt x="210" y="240"/>
                    </a:lnTo>
                    <a:lnTo>
                      <a:pt x="262" y="42"/>
                    </a:lnTo>
                    <a:lnTo>
                      <a:pt x="262" y="42"/>
                    </a:lnTo>
                    <a:lnTo>
                      <a:pt x="306" y="52"/>
                    </a:lnTo>
                    <a:lnTo>
                      <a:pt x="348" y="60"/>
                    </a:lnTo>
                    <a:lnTo>
                      <a:pt x="312" y="318"/>
                    </a:lnTo>
                    <a:lnTo>
                      <a:pt x="286" y="314"/>
                    </a:lnTo>
                    <a:lnTo>
                      <a:pt x="268" y="404"/>
                    </a:lnTo>
                    <a:lnTo>
                      <a:pt x="274" y="404"/>
                    </a:lnTo>
                    <a:lnTo>
                      <a:pt x="272" y="414"/>
                    </a:lnTo>
                    <a:lnTo>
                      <a:pt x="242" y="408"/>
                    </a:lnTo>
                    <a:lnTo>
                      <a:pt x="238" y="434"/>
                    </a:lnTo>
                    <a:lnTo>
                      <a:pt x="218" y="430"/>
                    </a:lnTo>
                    <a:lnTo>
                      <a:pt x="234" y="356"/>
                    </a:lnTo>
                    <a:lnTo>
                      <a:pt x="234" y="356"/>
                    </a:lnTo>
                    <a:lnTo>
                      <a:pt x="230" y="354"/>
                    </a:lnTo>
                    <a:lnTo>
                      <a:pt x="226" y="350"/>
                    </a:lnTo>
                    <a:lnTo>
                      <a:pt x="226" y="344"/>
                    </a:lnTo>
                    <a:lnTo>
                      <a:pt x="226" y="340"/>
                    </a:lnTo>
                    <a:lnTo>
                      <a:pt x="226" y="340"/>
                    </a:lnTo>
                    <a:lnTo>
                      <a:pt x="192" y="338"/>
                    </a:lnTo>
                    <a:lnTo>
                      <a:pt x="158" y="336"/>
                    </a:lnTo>
                    <a:lnTo>
                      <a:pt x="186" y="244"/>
                    </a:lnTo>
                    <a:lnTo>
                      <a:pt x="186" y="244"/>
                    </a:lnTo>
                    <a:lnTo>
                      <a:pt x="160" y="236"/>
                    </a:lnTo>
                    <a:lnTo>
                      <a:pt x="136" y="228"/>
                    </a:lnTo>
                    <a:lnTo>
                      <a:pt x="136" y="228"/>
                    </a:lnTo>
                    <a:lnTo>
                      <a:pt x="130" y="226"/>
                    </a:lnTo>
                    <a:lnTo>
                      <a:pt x="124" y="222"/>
                    </a:lnTo>
                    <a:lnTo>
                      <a:pt x="118" y="214"/>
                    </a:lnTo>
                    <a:lnTo>
                      <a:pt x="114" y="202"/>
                    </a:lnTo>
                    <a:lnTo>
                      <a:pt x="114" y="198"/>
                    </a:lnTo>
                    <a:lnTo>
                      <a:pt x="116" y="192"/>
                    </a:lnTo>
                    <a:lnTo>
                      <a:pt x="134" y="144"/>
                    </a:lnTo>
                    <a:close/>
                    <a:moveTo>
                      <a:pt x="258" y="402"/>
                    </a:moveTo>
                    <a:lnTo>
                      <a:pt x="266" y="402"/>
                    </a:lnTo>
                    <a:lnTo>
                      <a:pt x="282" y="314"/>
                    </a:lnTo>
                    <a:lnTo>
                      <a:pt x="276" y="312"/>
                    </a:lnTo>
                    <a:lnTo>
                      <a:pt x="258" y="402"/>
                    </a:lnTo>
                    <a:close/>
                    <a:moveTo>
                      <a:pt x="244" y="398"/>
                    </a:moveTo>
                    <a:lnTo>
                      <a:pt x="256" y="400"/>
                    </a:lnTo>
                    <a:lnTo>
                      <a:pt x="274" y="312"/>
                    </a:lnTo>
                    <a:lnTo>
                      <a:pt x="270" y="310"/>
                    </a:lnTo>
                    <a:lnTo>
                      <a:pt x="264" y="348"/>
                    </a:lnTo>
                    <a:lnTo>
                      <a:pt x="264" y="348"/>
                    </a:lnTo>
                    <a:lnTo>
                      <a:pt x="260" y="354"/>
                    </a:lnTo>
                    <a:lnTo>
                      <a:pt x="252" y="358"/>
                    </a:lnTo>
                    <a:lnTo>
                      <a:pt x="244" y="398"/>
                    </a:lnTo>
                    <a:close/>
                    <a:moveTo>
                      <a:pt x="182" y="310"/>
                    </a:moveTo>
                    <a:lnTo>
                      <a:pt x="182" y="310"/>
                    </a:lnTo>
                    <a:lnTo>
                      <a:pt x="232" y="314"/>
                    </a:lnTo>
                    <a:lnTo>
                      <a:pt x="242" y="260"/>
                    </a:lnTo>
                    <a:lnTo>
                      <a:pt x="238" y="258"/>
                    </a:lnTo>
                    <a:lnTo>
                      <a:pt x="226" y="310"/>
                    </a:lnTo>
                    <a:lnTo>
                      <a:pt x="226" y="310"/>
                    </a:lnTo>
                    <a:lnTo>
                      <a:pt x="226" y="310"/>
                    </a:lnTo>
                    <a:lnTo>
                      <a:pt x="220" y="308"/>
                    </a:lnTo>
                    <a:lnTo>
                      <a:pt x="218" y="308"/>
                    </a:lnTo>
                    <a:lnTo>
                      <a:pt x="218" y="308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14" y="306"/>
                    </a:lnTo>
                    <a:lnTo>
                      <a:pt x="214" y="306"/>
                    </a:lnTo>
                    <a:lnTo>
                      <a:pt x="214" y="308"/>
                    </a:lnTo>
                    <a:lnTo>
                      <a:pt x="208" y="306"/>
                    </a:lnTo>
                    <a:lnTo>
                      <a:pt x="208" y="306"/>
                    </a:lnTo>
                    <a:lnTo>
                      <a:pt x="206" y="304"/>
                    </a:lnTo>
                    <a:lnTo>
                      <a:pt x="220" y="254"/>
                    </a:lnTo>
                    <a:lnTo>
                      <a:pt x="208" y="252"/>
                    </a:lnTo>
                    <a:lnTo>
                      <a:pt x="208" y="250"/>
                    </a:lnTo>
                    <a:lnTo>
                      <a:pt x="200" y="248"/>
                    </a:lnTo>
                    <a:lnTo>
                      <a:pt x="182" y="3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7" name="Group 2270">
              <a:extLst>
                <a:ext uri="{FF2B5EF4-FFF2-40B4-BE49-F238E27FC236}">
                  <a16:creationId xmlns:a16="http://schemas.microsoft.com/office/drawing/2014/main" id="{F04D20F5-AB34-0C46-8D20-E58B7255ECB8}"/>
                </a:ext>
              </a:extLst>
            </p:cNvPr>
            <p:cNvGrpSpPr/>
            <p:nvPr/>
          </p:nvGrpSpPr>
          <p:grpSpPr>
            <a:xfrm rot="580710">
              <a:off x="4805574" y="2209725"/>
              <a:ext cx="1974700" cy="1807462"/>
              <a:chOff x="2906464" y="1747838"/>
              <a:chExt cx="1949450" cy="1784350"/>
            </a:xfrm>
            <a:solidFill>
              <a:schemeClr val="bg1">
                <a:lumMod val="85000"/>
              </a:schemeClr>
            </a:solidFill>
          </p:grpSpPr>
          <p:sp>
            <p:nvSpPr>
              <p:cNvPr id="28" name="Freeform 52">
                <a:extLst>
                  <a:ext uri="{FF2B5EF4-FFF2-40B4-BE49-F238E27FC236}">
                    <a16:creationId xmlns:a16="http://schemas.microsoft.com/office/drawing/2014/main" id="{ECA13AA9-9757-C648-A291-59BED6B7F0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1164" y="2493963"/>
                <a:ext cx="66675" cy="212725"/>
              </a:xfrm>
              <a:custGeom>
                <a:avLst/>
                <a:gdLst>
                  <a:gd name="T0" fmla="*/ 34 w 42"/>
                  <a:gd name="T1" fmla="*/ 114 h 134"/>
                  <a:gd name="T2" fmla="*/ 18 w 42"/>
                  <a:gd name="T3" fmla="*/ 134 h 134"/>
                  <a:gd name="T4" fmla="*/ 8 w 42"/>
                  <a:gd name="T5" fmla="*/ 126 h 134"/>
                  <a:gd name="T6" fmla="*/ 24 w 42"/>
                  <a:gd name="T7" fmla="*/ 108 h 134"/>
                  <a:gd name="T8" fmla="*/ 10 w 42"/>
                  <a:gd name="T9" fmla="*/ 96 h 134"/>
                  <a:gd name="T10" fmla="*/ 10 w 42"/>
                  <a:gd name="T11" fmla="*/ 96 h 134"/>
                  <a:gd name="T12" fmla="*/ 6 w 42"/>
                  <a:gd name="T13" fmla="*/ 92 h 134"/>
                  <a:gd name="T14" fmla="*/ 6 w 42"/>
                  <a:gd name="T15" fmla="*/ 88 h 134"/>
                  <a:gd name="T16" fmla="*/ 6 w 42"/>
                  <a:gd name="T17" fmla="*/ 82 h 134"/>
                  <a:gd name="T18" fmla="*/ 8 w 42"/>
                  <a:gd name="T19" fmla="*/ 78 h 134"/>
                  <a:gd name="T20" fmla="*/ 28 w 42"/>
                  <a:gd name="T21" fmla="*/ 56 h 134"/>
                  <a:gd name="T22" fmla="*/ 4 w 42"/>
                  <a:gd name="T23" fmla="*/ 34 h 134"/>
                  <a:gd name="T24" fmla="*/ 4 w 42"/>
                  <a:gd name="T25" fmla="*/ 34 h 134"/>
                  <a:gd name="T26" fmla="*/ 2 w 42"/>
                  <a:gd name="T27" fmla="*/ 30 h 134"/>
                  <a:gd name="T28" fmla="*/ 0 w 42"/>
                  <a:gd name="T29" fmla="*/ 26 h 134"/>
                  <a:gd name="T30" fmla="*/ 2 w 42"/>
                  <a:gd name="T31" fmla="*/ 22 h 134"/>
                  <a:gd name="T32" fmla="*/ 4 w 42"/>
                  <a:gd name="T33" fmla="*/ 18 h 134"/>
                  <a:gd name="T34" fmla="*/ 20 w 42"/>
                  <a:gd name="T35" fmla="*/ 0 h 134"/>
                  <a:gd name="T36" fmla="*/ 30 w 42"/>
                  <a:gd name="T37" fmla="*/ 10 h 134"/>
                  <a:gd name="T38" fmla="*/ 14 w 42"/>
                  <a:gd name="T39" fmla="*/ 26 h 134"/>
                  <a:gd name="T40" fmla="*/ 38 w 42"/>
                  <a:gd name="T41" fmla="*/ 48 h 134"/>
                  <a:gd name="T42" fmla="*/ 38 w 42"/>
                  <a:gd name="T43" fmla="*/ 48 h 134"/>
                  <a:gd name="T44" fmla="*/ 40 w 42"/>
                  <a:gd name="T45" fmla="*/ 52 h 134"/>
                  <a:gd name="T46" fmla="*/ 42 w 42"/>
                  <a:gd name="T47" fmla="*/ 56 h 134"/>
                  <a:gd name="T48" fmla="*/ 42 w 42"/>
                  <a:gd name="T49" fmla="*/ 60 h 134"/>
                  <a:gd name="T50" fmla="*/ 38 w 42"/>
                  <a:gd name="T51" fmla="*/ 64 h 134"/>
                  <a:gd name="T52" fmla="*/ 20 w 42"/>
                  <a:gd name="T53" fmla="*/ 86 h 134"/>
                  <a:gd name="T54" fmla="*/ 32 w 42"/>
                  <a:gd name="T55" fmla="*/ 98 h 134"/>
                  <a:gd name="T56" fmla="*/ 32 w 42"/>
                  <a:gd name="T57" fmla="*/ 98 h 134"/>
                  <a:gd name="T58" fmla="*/ 36 w 42"/>
                  <a:gd name="T59" fmla="*/ 102 h 134"/>
                  <a:gd name="T60" fmla="*/ 38 w 42"/>
                  <a:gd name="T61" fmla="*/ 106 h 134"/>
                  <a:gd name="T62" fmla="*/ 36 w 42"/>
                  <a:gd name="T63" fmla="*/ 112 h 134"/>
                  <a:gd name="T64" fmla="*/ 34 w 42"/>
                  <a:gd name="T65" fmla="*/ 114 h 134"/>
                  <a:gd name="T66" fmla="*/ 34 w 42"/>
                  <a:gd name="T67" fmla="*/ 11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2" h="134">
                    <a:moveTo>
                      <a:pt x="34" y="114"/>
                    </a:moveTo>
                    <a:lnTo>
                      <a:pt x="18" y="134"/>
                    </a:lnTo>
                    <a:lnTo>
                      <a:pt x="8" y="126"/>
                    </a:lnTo>
                    <a:lnTo>
                      <a:pt x="24" y="108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6" y="92"/>
                    </a:lnTo>
                    <a:lnTo>
                      <a:pt x="6" y="88"/>
                    </a:lnTo>
                    <a:lnTo>
                      <a:pt x="6" y="82"/>
                    </a:lnTo>
                    <a:lnTo>
                      <a:pt x="8" y="78"/>
                    </a:lnTo>
                    <a:lnTo>
                      <a:pt x="28" y="5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2" y="30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8"/>
                    </a:lnTo>
                    <a:lnTo>
                      <a:pt x="20" y="0"/>
                    </a:lnTo>
                    <a:lnTo>
                      <a:pt x="30" y="10"/>
                    </a:lnTo>
                    <a:lnTo>
                      <a:pt x="14" y="26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40" y="52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4"/>
                    </a:lnTo>
                    <a:lnTo>
                      <a:pt x="20" y="86"/>
                    </a:lnTo>
                    <a:lnTo>
                      <a:pt x="32" y="98"/>
                    </a:lnTo>
                    <a:lnTo>
                      <a:pt x="32" y="98"/>
                    </a:lnTo>
                    <a:lnTo>
                      <a:pt x="36" y="102"/>
                    </a:lnTo>
                    <a:lnTo>
                      <a:pt x="38" y="106"/>
                    </a:lnTo>
                    <a:lnTo>
                      <a:pt x="36" y="112"/>
                    </a:lnTo>
                    <a:lnTo>
                      <a:pt x="34" y="114"/>
                    </a:lnTo>
                    <a:lnTo>
                      <a:pt x="34" y="11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 53">
                <a:extLst>
                  <a:ext uri="{FF2B5EF4-FFF2-40B4-BE49-F238E27FC236}">
                    <a16:creationId xmlns:a16="http://schemas.microsoft.com/office/drawing/2014/main" id="{8E664100-5A05-2642-8EC7-1E5261DCD7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6864" y="2452688"/>
                <a:ext cx="136525" cy="269875"/>
              </a:xfrm>
              <a:custGeom>
                <a:avLst/>
                <a:gdLst>
                  <a:gd name="T0" fmla="*/ 58 w 86"/>
                  <a:gd name="T1" fmla="*/ 10 h 170"/>
                  <a:gd name="T2" fmla="*/ 52 w 86"/>
                  <a:gd name="T3" fmla="*/ 8 h 170"/>
                  <a:gd name="T4" fmla="*/ 50 w 86"/>
                  <a:gd name="T5" fmla="*/ 16 h 170"/>
                  <a:gd name="T6" fmla="*/ 38 w 86"/>
                  <a:gd name="T7" fmla="*/ 30 h 170"/>
                  <a:gd name="T8" fmla="*/ 34 w 86"/>
                  <a:gd name="T9" fmla="*/ 28 h 170"/>
                  <a:gd name="T10" fmla="*/ 30 w 86"/>
                  <a:gd name="T11" fmla="*/ 36 h 170"/>
                  <a:gd name="T12" fmla="*/ 20 w 86"/>
                  <a:gd name="T13" fmla="*/ 50 h 170"/>
                  <a:gd name="T14" fmla="*/ 16 w 86"/>
                  <a:gd name="T15" fmla="*/ 48 h 170"/>
                  <a:gd name="T16" fmla="*/ 12 w 86"/>
                  <a:gd name="T17" fmla="*/ 56 h 170"/>
                  <a:gd name="T18" fmla="*/ 10 w 86"/>
                  <a:gd name="T19" fmla="*/ 64 h 170"/>
                  <a:gd name="T20" fmla="*/ 4 w 86"/>
                  <a:gd name="T21" fmla="*/ 70 h 170"/>
                  <a:gd name="T22" fmla="*/ 0 w 86"/>
                  <a:gd name="T23" fmla="*/ 82 h 170"/>
                  <a:gd name="T24" fmla="*/ 2 w 86"/>
                  <a:gd name="T25" fmla="*/ 96 h 170"/>
                  <a:gd name="T26" fmla="*/ 8 w 86"/>
                  <a:gd name="T27" fmla="*/ 110 h 170"/>
                  <a:gd name="T28" fmla="*/ 20 w 86"/>
                  <a:gd name="T29" fmla="*/ 118 h 170"/>
                  <a:gd name="T30" fmla="*/ 18 w 86"/>
                  <a:gd name="T31" fmla="*/ 124 h 170"/>
                  <a:gd name="T32" fmla="*/ 26 w 86"/>
                  <a:gd name="T33" fmla="*/ 126 h 170"/>
                  <a:gd name="T34" fmla="*/ 40 w 86"/>
                  <a:gd name="T35" fmla="*/ 134 h 170"/>
                  <a:gd name="T36" fmla="*/ 40 w 86"/>
                  <a:gd name="T37" fmla="*/ 140 h 170"/>
                  <a:gd name="T38" fmla="*/ 46 w 86"/>
                  <a:gd name="T39" fmla="*/ 142 h 170"/>
                  <a:gd name="T40" fmla="*/ 60 w 86"/>
                  <a:gd name="T41" fmla="*/ 150 h 170"/>
                  <a:gd name="T42" fmla="*/ 60 w 86"/>
                  <a:gd name="T43" fmla="*/ 156 h 170"/>
                  <a:gd name="T44" fmla="*/ 66 w 86"/>
                  <a:gd name="T45" fmla="*/ 158 h 170"/>
                  <a:gd name="T46" fmla="*/ 84 w 86"/>
                  <a:gd name="T47" fmla="*/ 170 h 170"/>
                  <a:gd name="T48" fmla="*/ 70 w 86"/>
                  <a:gd name="T49" fmla="*/ 154 h 170"/>
                  <a:gd name="T50" fmla="*/ 70 w 86"/>
                  <a:gd name="T51" fmla="*/ 150 h 170"/>
                  <a:gd name="T52" fmla="*/ 64 w 86"/>
                  <a:gd name="T53" fmla="*/ 146 h 170"/>
                  <a:gd name="T54" fmla="*/ 50 w 86"/>
                  <a:gd name="T55" fmla="*/ 138 h 170"/>
                  <a:gd name="T56" fmla="*/ 50 w 86"/>
                  <a:gd name="T57" fmla="*/ 134 h 170"/>
                  <a:gd name="T58" fmla="*/ 44 w 86"/>
                  <a:gd name="T59" fmla="*/ 130 h 170"/>
                  <a:gd name="T60" fmla="*/ 30 w 86"/>
                  <a:gd name="T61" fmla="*/ 122 h 170"/>
                  <a:gd name="T62" fmla="*/ 30 w 86"/>
                  <a:gd name="T63" fmla="*/ 116 h 170"/>
                  <a:gd name="T64" fmla="*/ 24 w 86"/>
                  <a:gd name="T65" fmla="*/ 114 h 170"/>
                  <a:gd name="T66" fmla="*/ 16 w 86"/>
                  <a:gd name="T67" fmla="*/ 112 h 170"/>
                  <a:gd name="T68" fmla="*/ 12 w 86"/>
                  <a:gd name="T69" fmla="*/ 106 h 170"/>
                  <a:gd name="T70" fmla="*/ 6 w 86"/>
                  <a:gd name="T71" fmla="*/ 96 h 170"/>
                  <a:gd name="T72" fmla="*/ 4 w 86"/>
                  <a:gd name="T73" fmla="*/ 84 h 170"/>
                  <a:gd name="T74" fmla="*/ 8 w 86"/>
                  <a:gd name="T75" fmla="*/ 70 h 170"/>
                  <a:gd name="T76" fmla="*/ 16 w 86"/>
                  <a:gd name="T77" fmla="*/ 60 h 170"/>
                  <a:gd name="T78" fmla="*/ 22 w 86"/>
                  <a:gd name="T79" fmla="*/ 60 h 170"/>
                  <a:gd name="T80" fmla="*/ 24 w 86"/>
                  <a:gd name="T81" fmla="*/ 54 h 170"/>
                  <a:gd name="T82" fmla="*/ 34 w 86"/>
                  <a:gd name="T83" fmla="*/ 40 h 170"/>
                  <a:gd name="T84" fmla="*/ 40 w 86"/>
                  <a:gd name="T85" fmla="*/ 40 h 170"/>
                  <a:gd name="T86" fmla="*/ 42 w 86"/>
                  <a:gd name="T87" fmla="*/ 34 h 170"/>
                  <a:gd name="T88" fmla="*/ 54 w 86"/>
                  <a:gd name="T89" fmla="*/ 20 h 170"/>
                  <a:gd name="T90" fmla="*/ 58 w 86"/>
                  <a:gd name="T91" fmla="*/ 22 h 170"/>
                  <a:gd name="T92" fmla="*/ 62 w 86"/>
                  <a:gd name="T93" fmla="*/ 14 h 170"/>
                  <a:gd name="T94" fmla="*/ 70 w 86"/>
                  <a:gd name="T95" fmla="*/ 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86" h="170">
                    <a:moveTo>
                      <a:pt x="68" y="0"/>
                    </a:moveTo>
                    <a:lnTo>
                      <a:pt x="58" y="10"/>
                    </a:lnTo>
                    <a:lnTo>
                      <a:pt x="56" y="8"/>
                    </a:lnTo>
                    <a:lnTo>
                      <a:pt x="52" y="8"/>
                    </a:lnTo>
                    <a:lnTo>
                      <a:pt x="50" y="12"/>
                    </a:lnTo>
                    <a:lnTo>
                      <a:pt x="50" y="16"/>
                    </a:lnTo>
                    <a:lnTo>
                      <a:pt x="50" y="18"/>
                    </a:lnTo>
                    <a:lnTo>
                      <a:pt x="38" y="30"/>
                    </a:lnTo>
                    <a:lnTo>
                      <a:pt x="36" y="28"/>
                    </a:lnTo>
                    <a:lnTo>
                      <a:pt x="34" y="28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2" y="36"/>
                    </a:lnTo>
                    <a:lnTo>
                      <a:pt x="20" y="50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4" y="5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4" y="70"/>
                    </a:lnTo>
                    <a:lnTo>
                      <a:pt x="2" y="76"/>
                    </a:lnTo>
                    <a:lnTo>
                      <a:pt x="0" y="82"/>
                    </a:lnTo>
                    <a:lnTo>
                      <a:pt x="0" y="90"/>
                    </a:lnTo>
                    <a:lnTo>
                      <a:pt x="2" y="96"/>
                    </a:lnTo>
                    <a:lnTo>
                      <a:pt x="4" y="104"/>
                    </a:lnTo>
                    <a:lnTo>
                      <a:pt x="8" y="110"/>
                    </a:lnTo>
                    <a:lnTo>
                      <a:pt x="14" y="114"/>
                    </a:lnTo>
                    <a:lnTo>
                      <a:pt x="20" y="118"/>
                    </a:lnTo>
                    <a:lnTo>
                      <a:pt x="18" y="120"/>
                    </a:lnTo>
                    <a:lnTo>
                      <a:pt x="18" y="124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40" y="134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44" y="142"/>
                    </a:lnTo>
                    <a:lnTo>
                      <a:pt x="46" y="142"/>
                    </a:lnTo>
                    <a:lnTo>
                      <a:pt x="48" y="140"/>
                    </a:lnTo>
                    <a:lnTo>
                      <a:pt x="60" y="150"/>
                    </a:lnTo>
                    <a:lnTo>
                      <a:pt x="60" y="152"/>
                    </a:lnTo>
                    <a:lnTo>
                      <a:pt x="60" y="156"/>
                    </a:lnTo>
                    <a:lnTo>
                      <a:pt x="64" y="158"/>
                    </a:lnTo>
                    <a:lnTo>
                      <a:pt x="66" y="158"/>
                    </a:lnTo>
                    <a:lnTo>
                      <a:pt x="68" y="156"/>
                    </a:lnTo>
                    <a:lnTo>
                      <a:pt x="84" y="170"/>
                    </a:lnTo>
                    <a:lnTo>
                      <a:pt x="86" y="166"/>
                    </a:lnTo>
                    <a:lnTo>
                      <a:pt x="70" y="154"/>
                    </a:lnTo>
                    <a:lnTo>
                      <a:pt x="72" y="152"/>
                    </a:lnTo>
                    <a:lnTo>
                      <a:pt x="70" y="150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2" y="148"/>
                    </a:lnTo>
                    <a:lnTo>
                      <a:pt x="50" y="138"/>
                    </a:lnTo>
                    <a:lnTo>
                      <a:pt x="52" y="136"/>
                    </a:lnTo>
                    <a:lnTo>
                      <a:pt x="50" y="134"/>
                    </a:lnTo>
                    <a:lnTo>
                      <a:pt x="46" y="130"/>
                    </a:lnTo>
                    <a:lnTo>
                      <a:pt x="44" y="130"/>
                    </a:lnTo>
                    <a:lnTo>
                      <a:pt x="42" y="132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4"/>
                    </a:lnTo>
                    <a:lnTo>
                      <a:pt x="24" y="114"/>
                    </a:lnTo>
                    <a:lnTo>
                      <a:pt x="22" y="116"/>
                    </a:lnTo>
                    <a:lnTo>
                      <a:pt x="16" y="112"/>
                    </a:lnTo>
                    <a:lnTo>
                      <a:pt x="16" y="112"/>
                    </a:lnTo>
                    <a:lnTo>
                      <a:pt x="12" y="106"/>
                    </a:lnTo>
                    <a:lnTo>
                      <a:pt x="8" y="102"/>
                    </a:lnTo>
                    <a:lnTo>
                      <a:pt x="6" y="96"/>
                    </a:lnTo>
                    <a:lnTo>
                      <a:pt x="4" y="90"/>
                    </a:lnTo>
                    <a:lnTo>
                      <a:pt x="4" y="84"/>
                    </a:lnTo>
                    <a:lnTo>
                      <a:pt x="6" y="76"/>
                    </a:lnTo>
                    <a:lnTo>
                      <a:pt x="8" y="70"/>
                    </a:lnTo>
                    <a:lnTo>
                      <a:pt x="12" y="66"/>
                    </a:lnTo>
                    <a:lnTo>
                      <a:pt x="16" y="60"/>
                    </a:lnTo>
                    <a:lnTo>
                      <a:pt x="18" y="62"/>
                    </a:lnTo>
                    <a:lnTo>
                      <a:pt x="22" y="60"/>
                    </a:lnTo>
                    <a:lnTo>
                      <a:pt x="24" y="56"/>
                    </a:lnTo>
                    <a:lnTo>
                      <a:pt x="24" y="54"/>
                    </a:lnTo>
                    <a:lnTo>
                      <a:pt x="22" y="52"/>
                    </a:lnTo>
                    <a:lnTo>
                      <a:pt x="34" y="40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2" y="36"/>
                    </a:lnTo>
                    <a:lnTo>
                      <a:pt x="42" y="34"/>
                    </a:lnTo>
                    <a:lnTo>
                      <a:pt x="42" y="32"/>
                    </a:lnTo>
                    <a:lnTo>
                      <a:pt x="54" y="20"/>
                    </a:lnTo>
                    <a:lnTo>
                      <a:pt x="56" y="22"/>
                    </a:lnTo>
                    <a:lnTo>
                      <a:pt x="58" y="22"/>
                    </a:lnTo>
                    <a:lnTo>
                      <a:pt x="62" y="18"/>
                    </a:lnTo>
                    <a:lnTo>
                      <a:pt x="62" y="14"/>
                    </a:lnTo>
                    <a:lnTo>
                      <a:pt x="60" y="12"/>
                    </a:lnTo>
                    <a:lnTo>
                      <a:pt x="70" y="2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 54">
                <a:extLst>
                  <a:ext uri="{FF2B5EF4-FFF2-40B4-BE49-F238E27FC236}">
                    <a16:creationId xmlns:a16="http://schemas.microsoft.com/office/drawing/2014/main" id="{10795F40-FF5A-1C41-849F-CD56DE0942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1339" y="2170113"/>
                <a:ext cx="117475" cy="212725"/>
              </a:xfrm>
              <a:custGeom>
                <a:avLst/>
                <a:gdLst>
                  <a:gd name="T0" fmla="*/ 62 w 74"/>
                  <a:gd name="T1" fmla="*/ 6 h 134"/>
                  <a:gd name="T2" fmla="*/ 58 w 74"/>
                  <a:gd name="T3" fmla="*/ 4 h 134"/>
                  <a:gd name="T4" fmla="*/ 54 w 74"/>
                  <a:gd name="T5" fmla="*/ 10 h 134"/>
                  <a:gd name="T6" fmla="*/ 44 w 74"/>
                  <a:gd name="T7" fmla="*/ 20 h 134"/>
                  <a:gd name="T8" fmla="*/ 40 w 74"/>
                  <a:gd name="T9" fmla="*/ 16 h 134"/>
                  <a:gd name="T10" fmla="*/ 36 w 74"/>
                  <a:gd name="T11" fmla="*/ 22 h 134"/>
                  <a:gd name="T12" fmla="*/ 24 w 74"/>
                  <a:gd name="T13" fmla="*/ 32 h 134"/>
                  <a:gd name="T14" fmla="*/ 20 w 74"/>
                  <a:gd name="T15" fmla="*/ 30 h 134"/>
                  <a:gd name="T16" fmla="*/ 16 w 74"/>
                  <a:gd name="T17" fmla="*/ 34 h 134"/>
                  <a:gd name="T18" fmla="*/ 12 w 74"/>
                  <a:gd name="T19" fmla="*/ 40 h 134"/>
                  <a:gd name="T20" fmla="*/ 4 w 74"/>
                  <a:gd name="T21" fmla="*/ 48 h 134"/>
                  <a:gd name="T22" fmla="*/ 0 w 74"/>
                  <a:gd name="T23" fmla="*/ 70 h 134"/>
                  <a:gd name="T24" fmla="*/ 4 w 74"/>
                  <a:gd name="T25" fmla="*/ 82 h 134"/>
                  <a:gd name="T26" fmla="*/ 6 w 74"/>
                  <a:gd name="T27" fmla="*/ 88 h 134"/>
                  <a:gd name="T28" fmla="*/ 8 w 74"/>
                  <a:gd name="T29" fmla="*/ 92 h 134"/>
                  <a:gd name="T30" fmla="*/ 12 w 74"/>
                  <a:gd name="T31" fmla="*/ 92 h 134"/>
                  <a:gd name="T32" fmla="*/ 18 w 74"/>
                  <a:gd name="T33" fmla="*/ 104 h 134"/>
                  <a:gd name="T34" fmla="*/ 22 w 74"/>
                  <a:gd name="T35" fmla="*/ 110 h 134"/>
                  <a:gd name="T36" fmla="*/ 24 w 74"/>
                  <a:gd name="T37" fmla="*/ 108 h 134"/>
                  <a:gd name="T38" fmla="*/ 32 w 74"/>
                  <a:gd name="T39" fmla="*/ 120 h 134"/>
                  <a:gd name="T40" fmla="*/ 34 w 74"/>
                  <a:gd name="T41" fmla="*/ 126 h 134"/>
                  <a:gd name="T42" fmla="*/ 38 w 74"/>
                  <a:gd name="T43" fmla="*/ 126 h 134"/>
                  <a:gd name="T44" fmla="*/ 46 w 74"/>
                  <a:gd name="T45" fmla="*/ 132 h 134"/>
                  <a:gd name="T46" fmla="*/ 42 w 74"/>
                  <a:gd name="T47" fmla="*/ 122 h 134"/>
                  <a:gd name="T48" fmla="*/ 40 w 74"/>
                  <a:gd name="T49" fmla="*/ 118 h 134"/>
                  <a:gd name="T50" fmla="*/ 36 w 74"/>
                  <a:gd name="T51" fmla="*/ 118 h 134"/>
                  <a:gd name="T52" fmla="*/ 28 w 74"/>
                  <a:gd name="T53" fmla="*/ 106 h 134"/>
                  <a:gd name="T54" fmla="*/ 26 w 74"/>
                  <a:gd name="T55" fmla="*/ 100 h 134"/>
                  <a:gd name="T56" fmla="*/ 22 w 74"/>
                  <a:gd name="T57" fmla="*/ 102 h 134"/>
                  <a:gd name="T58" fmla="*/ 16 w 74"/>
                  <a:gd name="T59" fmla="*/ 88 h 134"/>
                  <a:gd name="T60" fmla="*/ 14 w 74"/>
                  <a:gd name="T61" fmla="*/ 84 h 134"/>
                  <a:gd name="T62" fmla="*/ 10 w 74"/>
                  <a:gd name="T63" fmla="*/ 84 h 134"/>
                  <a:gd name="T64" fmla="*/ 6 w 74"/>
                  <a:gd name="T65" fmla="*/ 80 h 134"/>
                  <a:gd name="T66" fmla="*/ 2 w 74"/>
                  <a:gd name="T67" fmla="*/ 60 h 134"/>
                  <a:gd name="T68" fmla="*/ 14 w 74"/>
                  <a:gd name="T69" fmla="*/ 42 h 134"/>
                  <a:gd name="T70" fmla="*/ 20 w 74"/>
                  <a:gd name="T71" fmla="*/ 40 h 134"/>
                  <a:gd name="T72" fmla="*/ 26 w 74"/>
                  <a:gd name="T73" fmla="*/ 38 h 134"/>
                  <a:gd name="T74" fmla="*/ 26 w 74"/>
                  <a:gd name="T75" fmla="*/ 34 h 134"/>
                  <a:gd name="T76" fmla="*/ 40 w 74"/>
                  <a:gd name="T77" fmla="*/ 28 h 134"/>
                  <a:gd name="T78" fmla="*/ 46 w 74"/>
                  <a:gd name="T79" fmla="*/ 26 h 134"/>
                  <a:gd name="T80" fmla="*/ 44 w 74"/>
                  <a:gd name="T81" fmla="*/ 22 h 134"/>
                  <a:gd name="T82" fmla="*/ 58 w 74"/>
                  <a:gd name="T83" fmla="*/ 14 h 134"/>
                  <a:gd name="T84" fmla="*/ 64 w 74"/>
                  <a:gd name="T85" fmla="*/ 14 h 134"/>
                  <a:gd name="T86" fmla="*/ 64 w 74"/>
                  <a:gd name="T87" fmla="*/ 10 h 134"/>
                  <a:gd name="T88" fmla="*/ 72 w 74"/>
                  <a:gd name="T89" fmla="*/ 0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134">
                    <a:moveTo>
                      <a:pt x="72" y="0"/>
                    </a:moveTo>
                    <a:lnTo>
                      <a:pt x="62" y="6"/>
                    </a:lnTo>
                    <a:lnTo>
                      <a:pt x="62" y="4"/>
                    </a:lnTo>
                    <a:lnTo>
                      <a:pt x="58" y="4"/>
                    </a:lnTo>
                    <a:lnTo>
                      <a:pt x="56" y="6"/>
                    </a:lnTo>
                    <a:lnTo>
                      <a:pt x="54" y="10"/>
                    </a:lnTo>
                    <a:lnTo>
                      <a:pt x="56" y="10"/>
                    </a:lnTo>
                    <a:lnTo>
                      <a:pt x="44" y="20"/>
                    </a:lnTo>
                    <a:lnTo>
                      <a:pt x="42" y="18"/>
                    </a:lnTo>
                    <a:lnTo>
                      <a:pt x="40" y="16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4"/>
                    </a:lnTo>
                    <a:lnTo>
                      <a:pt x="24" y="32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18" y="32"/>
                    </a:lnTo>
                    <a:lnTo>
                      <a:pt x="16" y="34"/>
                    </a:lnTo>
                    <a:lnTo>
                      <a:pt x="18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4" y="48"/>
                    </a:lnTo>
                    <a:lnTo>
                      <a:pt x="0" y="60"/>
                    </a:lnTo>
                    <a:lnTo>
                      <a:pt x="0" y="70"/>
                    </a:lnTo>
                    <a:lnTo>
                      <a:pt x="2" y="76"/>
                    </a:lnTo>
                    <a:lnTo>
                      <a:pt x="4" y="82"/>
                    </a:lnTo>
                    <a:lnTo>
                      <a:pt x="8" y="86"/>
                    </a:lnTo>
                    <a:lnTo>
                      <a:pt x="6" y="88"/>
                    </a:lnTo>
                    <a:lnTo>
                      <a:pt x="6" y="90"/>
                    </a:lnTo>
                    <a:lnTo>
                      <a:pt x="8" y="92"/>
                    </a:lnTo>
                    <a:lnTo>
                      <a:pt x="10" y="94"/>
                    </a:lnTo>
                    <a:lnTo>
                      <a:pt x="12" y="92"/>
                    </a:lnTo>
                    <a:lnTo>
                      <a:pt x="20" y="102"/>
                    </a:lnTo>
                    <a:lnTo>
                      <a:pt x="18" y="104"/>
                    </a:lnTo>
                    <a:lnTo>
                      <a:pt x="18" y="106"/>
                    </a:lnTo>
                    <a:lnTo>
                      <a:pt x="22" y="110"/>
                    </a:lnTo>
                    <a:lnTo>
                      <a:pt x="24" y="110"/>
                    </a:lnTo>
                    <a:lnTo>
                      <a:pt x="24" y="108"/>
                    </a:lnTo>
                    <a:lnTo>
                      <a:pt x="34" y="120"/>
                    </a:lnTo>
                    <a:lnTo>
                      <a:pt x="32" y="120"/>
                    </a:lnTo>
                    <a:lnTo>
                      <a:pt x="32" y="124"/>
                    </a:lnTo>
                    <a:lnTo>
                      <a:pt x="34" y="126"/>
                    </a:lnTo>
                    <a:lnTo>
                      <a:pt x="36" y="126"/>
                    </a:lnTo>
                    <a:lnTo>
                      <a:pt x="38" y="126"/>
                    </a:lnTo>
                    <a:lnTo>
                      <a:pt x="44" y="134"/>
                    </a:lnTo>
                    <a:lnTo>
                      <a:pt x="46" y="132"/>
                    </a:lnTo>
                    <a:lnTo>
                      <a:pt x="40" y="124"/>
                    </a:lnTo>
                    <a:lnTo>
                      <a:pt x="42" y="122"/>
                    </a:lnTo>
                    <a:lnTo>
                      <a:pt x="42" y="120"/>
                    </a:lnTo>
                    <a:lnTo>
                      <a:pt x="40" y="118"/>
                    </a:lnTo>
                    <a:lnTo>
                      <a:pt x="38" y="116"/>
                    </a:lnTo>
                    <a:lnTo>
                      <a:pt x="36" y="118"/>
                    </a:lnTo>
                    <a:lnTo>
                      <a:pt x="28" y="106"/>
                    </a:lnTo>
                    <a:lnTo>
                      <a:pt x="28" y="106"/>
                    </a:lnTo>
                    <a:lnTo>
                      <a:pt x="30" y="104"/>
                    </a:lnTo>
                    <a:lnTo>
                      <a:pt x="26" y="100"/>
                    </a:lnTo>
                    <a:lnTo>
                      <a:pt x="24" y="100"/>
                    </a:lnTo>
                    <a:lnTo>
                      <a:pt x="22" y="102"/>
                    </a:lnTo>
                    <a:lnTo>
                      <a:pt x="14" y="90"/>
                    </a:lnTo>
                    <a:lnTo>
                      <a:pt x="16" y="88"/>
                    </a:lnTo>
                    <a:lnTo>
                      <a:pt x="16" y="86"/>
                    </a:lnTo>
                    <a:lnTo>
                      <a:pt x="14" y="84"/>
                    </a:lnTo>
                    <a:lnTo>
                      <a:pt x="12" y="84"/>
                    </a:lnTo>
                    <a:lnTo>
                      <a:pt x="10" y="84"/>
                    </a:lnTo>
                    <a:lnTo>
                      <a:pt x="6" y="80"/>
                    </a:lnTo>
                    <a:lnTo>
                      <a:pt x="6" y="80"/>
                    </a:lnTo>
                    <a:lnTo>
                      <a:pt x="2" y="70"/>
                    </a:lnTo>
                    <a:lnTo>
                      <a:pt x="2" y="60"/>
                    </a:lnTo>
                    <a:lnTo>
                      <a:pt x="6" y="50"/>
                    </a:lnTo>
                    <a:lnTo>
                      <a:pt x="14" y="42"/>
                    </a:lnTo>
                    <a:lnTo>
                      <a:pt x="20" y="38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6" y="38"/>
                    </a:lnTo>
                    <a:lnTo>
                      <a:pt x="26" y="36"/>
                    </a:lnTo>
                    <a:lnTo>
                      <a:pt x="26" y="34"/>
                    </a:lnTo>
                    <a:lnTo>
                      <a:pt x="38" y="26"/>
                    </a:lnTo>
                    <a:lnTo>
                      <a:pt x="40" y="28"/>
                    </a:lnTo>
                    <a:lnTo>
                      <a:pt x="42" y="28"/>
                    </a:lnTo>
                    <a:lnTo>
                      <a:pt x="46" y="26"/>
                    </a:lnTo>
                    <a:lnTo>
                      <a:pt x="46" y="24"/>
                    </a:lnTo>
                    <a:lnTo>
                      <a:pt x="44" y="22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0" y="16"/>
                    </a:lnTo>
                    <a:lnTo>
                      <a:pt x="64" y="14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74" y="2"/>
                    </a:lnTo>
                    <a:lnTo>
                      <a:pt x="7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 55">
                <a:extLst>
                  <a:ext uri="{FF2B5EF4-FFF2-40B4-BE49-F238E27FC236}">
                    <a16:creationId xmlns:a16="http://schemas.microsoft.com/office/drawing/2014/main" id="{5D3B5372-2504-8C4C-999D-5FD4E1FEA4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5139" y="2239963"/>
                <a:ext cx="257175" cy="117475"/>
              </a:xfrm>
              <a:custGeom>
                <a:avLst/>
                <a:gdLst>
                  <a:gd name="T0" fmla="*/ 130 w 162"/>
                  <a:gd name="T1" fmla="*/ 10 h 74"/>
                  <a:gd name="T2" fmla="*/ 110 w 162"/>
                  <a:gd name="T3" fmla="*/ 22 h 74"/>
                  <a:gd name="T4" fmla="*/ 98 w 162"/>
                  <a:gd name="T5" fmla="*/ 4 h 74"/>
                  <a:gd name="T6" fmla="*/ 98 w 162"/>
                  <a:gd name="T7" fmla="*/ 4 h 74"/>
                  <a:gd name="T8" fmla="*/ 94 w 162"/>
                  <a:gd name="T9" fmla="*/ 0 h 74"/>
                  <a:gd name="T10" fmla="*/ 92 w 162"/>
                  <a:gd name="T11" fmla="*/ 0 h 74"/>
                  <a:gd name="T12" fmla="*/ 88 w 162"/>
                  <a:gd name="T13" fmla="*/ 0 h 74"/>
                  <a:gd name="T14" fmla="*/ 84 w 162"/>
                  <a:gd name="T15" fmla="*/ 2 h 74"/>
                  <a:gd name="T16" fmla="*/ 84 w 162"/>
                  <a:gd name="T17" fmla="*/ 2 h 74"/>
                  <a:gd name="T18" fmla="*/ 40 w 162"/>
                  <a:gd name="T19" fmla="*/ 32 h 74"/>
                  <a:gd name="T20" fmla="*/ 0 w 162"/>
                  <a:gd name="T21" fmla="*/ 66 h 74"/>
                  <a:gd name="T22" fmla="*/ 6 w 162"/>
                  <a:gd name="T23" fmla="*/ 74 h 74"/>
                  <a:gd name="T24" fmla="*/ 6 w 162"/>
                  <a:gd name="T25" fmla="*/ 74 h 74"/>
                  <a:gd name="T26" fmla="*/ 46 w 162"/>
                  <a:gd name="T27" fmla="*/ 40 h 74"/>
                  <a:gd name="T28" fmla="*/ 90 w 162"/>
                  <a:gd name="T29" fmla="*/ 10 h 74"/>
                  <a:gd name="T30" fmla="*/ 102 w 162"/>
                  <a:gd name="T31" fmla="*/ 30 h 74"/>
                  <a:gd name="T32" fmla="*/ 102 w 162"/>
                  <a:gd name="T33" fmla="*/ 30 h 74"/>
                  <a:gd name="T34" fmla="*/ 104 w 162"/>
                  <a:gd name="T35" fmla="*/ 32 h 74"/>
                  <a:gd name="T36" fmla="*/ 108 w 162"/>
                  <a:gd name="T37" fmla="*/ 32 h 74"/>
                  <a:gd name="T38" fmla="*/ 112 w 162"/>
                  <a:gd name="T39" fmla="*/ 32 h 74"/>
                  <a:gd name="T40" fmla="*/ 114 w 162"/>
                  <a:gd name="T41" fmla="*/ 32 h 74"/>
                  <a:gd name="T42" fmla="*/ 136 w 162"/>
                  <a:gd name="T43" fmla="*/ 18 h 74"/>
                  <a:gd name="T44" fmla="*/ 152 w 162"/>
                  <a:gd name="T45" fmla="*/ 46 h 74"/>
                  <a:gd name="T46" fmla="*/ 162 w 162"/>
                  <a:gd name="T47" fmla="*/ 40 h 74"/>
                  <a:gd name="T48" fmla="*/ 144 w 162"/>
                  <a:gd name="T49" fmla="*/ 12 h 74"/>
                  <a:gd name="T50" fmla="*/ 144 w 162"/>
                  <a:gd name="T51" fmla="*/ 12 h 74"/>
                  <a:gd name="T52" fmla="*/ 140 w 162"/>
                  <a:gd name="T53" fmla="*/ 10 h 74"/>
                  <a:gd name="T54" fmla="*/ 138 w 162"/>
                  <a:gd name="T55" fmla="*/ 8 h 74"/>
                  <a:gd name="T56" fmla="*/ 134 w 162"/>
                  <a:gd name="T57" fmla="*/ 8 h 74"/>
                  <a:gd name="T58" fmla="*/ 130 w 162"/>
                  <a:gd name="T59" fmla="*/ 10 h 74"/>
                  <a:gd name="T60" fmla="*/ 130 w 162"/>
                  <a:gd name="T61" fmla="*/ 1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62" h="74">
                    <a:moveTo>
                      <a:pt x="130" y="10"/>
                    </a:moveTo>
                    <a:lnTo>
                      <a:pt x="110" y="22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4" y="0"/>
                    </a:lnTo>
                    <a:lnTo>
                      <a:pt x="92" y="0"/>
                    </a:lnTo>
                    <a:lnTo>
                      <a:pt x="88" y="0"/>
                    </a:lnTo>
                    <a:lnTo>
                      <a:pt x="84" y="2"/>
                    </a:lnTo>
                    <a:lnTo>
                      <a:pt x="84" y="2"/>
                    </a:lnTo>
                    <a:lnTo>
                      <a:pt x="40" y="32"/>
                    </a:lnTo>
                    <a:lnTo>
                      <a:pt x="0" y="66"/>
                    </a:lnTo>
                    <a:lnTo>
                      <a:pt x="6" y="74"/>
                    </a:lnTo>
                    <a:lnTo>
                      <a:pt x="6" y="74"/>
                    </a:lnTo>
                    <a:lnTo>
                      <a:pt x="46" y="40"/>
                    </a:lnTo>
                    <a:lnTo>
                      <a:pt x="90" y="1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4" y="32"/>
                    </a:lnTo>
                    <a:lnTo>
                      <a:pt x="108" y="32"/>
                    </a:lnTo>
                    <a:lnTo>
                      <a:pt x="112" y="32"/>
                    </a:lnTo>
                    <a:lnTo>
                      <a:pt x="114" y="32"/>
                    </a:lnTo>
                    <a:lnTo>
                      <a:pt x="136" y="18"/>
                    </a:lnTo>
                    <a:lnTo>
                      <a:pt x="152" y="46"/>
                    </a:lnTo>
                    <a:lnTo>
                      <a:pt x="162" y="40"/>
                    </a:lnTo>
                    <a:lnTo>
                      <a:pt x="144" y="12"/>
                    </a:lnTo>
                    <a:lnTo>
                      <a:pt x="144" y="12"/>
                    </a:lnTo>
                    <a:lnTo>
                      <a:pt x="140" y="10"/>
                    </a:lnTo>
                    <a:lnTo>
                      <a:pt x="138" y="8"/>
                    </a:lnTo>
                    <a:lnTo>
                      <a:pt x="134" y="8"/>
                    </a:lnTo>
                    <a:lnTo>
                      <a:pt x="130" y="10"/>
                    </a:lnTo>
                    <a:lnTo>
                      <a:pt x="130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 56">
                <a:extLst>
                  <a:ext uri="{FF2B5EF4-FFF2-40B4-BE49-F238E27FC236}">
                    <a16:creationId xmlns:a16="http://schemas.microsoft.com/office/drawing/2014/main" id="{13D4B677-08C9-B340-B023-CA8814238E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7214" y="1998663"/>
                <a:ext cx="333375" cy="514350"/>
              </a:xfrm>
              <a:custGeom>
                <a:avLst/>
                <a:gdLst>
                  <a:gd name="T0" fmla="*/ 44 w 210"/>
                  <a:gd name="T1" fmla="*/ 80 h 324"/>
                  <a:gd name="T2" fmla="*/ 70 w 210"/>
                  <a:gd name="T3" fmla="*/ 58 h 324"/>
                  <a:gd name="T4" fmla="*/ 100 w 210"/>
                  <a:gd name="T5" fmla="*/ 0 h 324"/>
                  <a:gd name="T6" fmla="*/ 74 w 210"/>
                  <a:gd name="T7" fmla="*/ 22 h 324"/>
                  <a:gd name="T8" fmla="*/ 100 w 210"/>
                  <a:gd name="T9" fmla="*/ 0 h 324"/>
                  <a:gd name="T10" fmla="*/ 108 w 210"/>
                  <a:gd name="T11" fmla="*/ 16 h 324"/>
                  <a:gd name="T12" fmla="*/ 210 w 210"/>
                  <a:gd name="T13" fmla="*/ 220 h 324"/>
                  <a:gd name="T14" fmla="*/ 138 w 210"/>
                  <a:gd name="T15" fmla="*/ 260 h 324"/>
                  <a:gd name="T16" fmla="*/ 70 w 210"/>
                  <a:gd name="T17" fmla="*/ 306 h 324"/>
                  <a:gd name="T18" fmla="*/ 36 w 210"/>
                  <a:gd name="T19" fmla="*/ 296 h 324"/>
                  <a:gd name="T20" fmla="*/ 48 w 210"/>
                  <a:gd name="T21" fmla="*/ 324 h 324"/>
                  <a:gd name="T22" fmla="*/ 0 w 210"/>
                  <a:gd name="T23" fmla="*/ 266 h 324"/>
                  <a:gd name="T24" fmla="*/ 110 w 210"/>
                  <a:gd name="T25" fmla="*/ 188 h 324"/>
                  <a:gd name="T26" fmla="*/ 80 w 210"/>
                  <a:gd name="T27" fmla="*/ 72 h 324"/>
                  <a:gd name="T28" fmla="*/ 150 w 210"/>
                  <a:gd name="T29" fmla="*/ 166 h 324"/>
                  <a:gd name="T30" fmla="*/ 70 w 210"/>
                  <a:gd name="T31" fmla="*/ 268 h 324"/>
                  <a:gd name="T32" fmla="*/ 68 w 210"/>
                  <a:gd name="T33" fmla="*/ 288 h 324"/>
                  <a:gd name="T34" fmla="*/ 70 w 210"/>
                  <a:gd name="T35" fmla="*/ 268 h 324"/>
                  <a:gd name="T36" fmla="*/ 44 w 210"/>
                  <a:gd name="T37" fmla="*/ 256 h 324"/>
                  <a:gd name="T38" fmla="*/ 64 w 210"/>
                  <a:gd name="T39" fmla="*/ 260 h 324"/>
                  <a:gd name="T40" fmla="*/ 90 w 210"/>
                  <a:gd name="T41" fmla="*/ 254 h 324"/>
                  <a:gd name="T42" fmla="*/ 88 w 210"/>
                  <a:gd name="T43" fmla="*/ 274 h 324"/>
                  <a:gd name="T44" fmla="*/ 90 w 210"/>
                  <a:gd name="T45" fmla="*/ 254 h 324"/>
                  <a:gd name="T46" fmla="*/ 64 w 210"/>
                  <a:gd name="T47" fmla="*/ 242 h 324"/>
                  <a:gd name="T48" fmla="*/ 84 w 210"/>
                  <a:gd name="T49" fmla="*/ 246 h 324"/>
                  <a:gd name="T50" fmla="*/ 110 w 210"/>
                  <a:gd name="T51" fmla="*/ 240 h 324"/>
                  <a:gd name="T52" fmla="*/ 106 w 210"/>
                  <a:gd name="T53" fmla="*/ 260 h 324"/>
                  <a:gd name="T54" fmla="*/ 110 w 210"/>
                  <a:gd name="T55" fmla="*/ 240 h 324"/>
                  <a:gd name="T56" fmla="*/ 84 w 210"/>
                  <a:gd name="T57" fmla="*/ 228 h 324"/>
                  <a:gd name="T58" fmla="*/ 104 w 210"/>
                  <a:gd name="T59" fmla="*/ 232 h 324"/>
                  <a:gd name="T60" fmla="*/ 130 w 210"/>
                  <a:gd name="T61" fmla="*/ 228 h 324"/>
                  <a:gd name="T62" fmla="*/ 126 w 210"/>
                  <a:gd name="T63" fmla="*/ 248 h 324"/>
                  <a:gd name="T64" fmla="*/ 130 w 210"/>
                  <a:gd name="T65" fmla="*/ 228 h 324"/>
                  <a:gd name="T66" fmla="*/ 106 w 210"/>
                  <a:gd name="T67" fmla="*/ 214 h 324"/>
                  <a:gd name="T68" fmla="*/ 124 w 210"/>
                  <a:gd name="T69" fmla="*/ 218 h 324"/>
                  <a:gd name="T70" fmla="*/ 152 w 210"/>
                  <a:gd name="T71" fmla="*/ 216 h 324"/>
                  <a:gd name="T72" fmla="*/ 146 w 210"/>
                  <a:gd name="T73" fmla="*/ 236 h 324"/>
                  <a:gd name="T74" fmla="*/ 152 w 210"/>
                  <a:gd name="T75" fmla="*/ 216 h 324"/>
                  <a:gd name="T76" fmla="*/ 126 w 210"/>
                  <a:gd name="T77" fmla="*/ 200 h 324"/>
                  <a:gd name="T78" fmla="*/ 146 w 210"/>
                  <a:gd name="T79" fmla="*/ 206 h 324"/>
                  <a:gd name="T80" fmla="*/ 172 w 210"/>
                  <a:gd name="T81" fmla="*/ 204 h 324"/>
                  <a:gd name="T82" fmla="*/ 168 w 210"/>
                  <a:gd name="T83" fmla="*/ 224 h 324"/>
                  <a:gd name="T84" fmla="*/ 172 w 210"/>
                  <a:gd name="T85" fmla="*/ 204 h 324"/>
                  <a:gd name="T86" fmla="*/ 148 w 210"/>
                  <a:gd name="T87" fmla="*/ 188 h 324"/>
                  <a:gd name="T88" fmla="*/ 168 w 210"/>
                  <a:gd name="T89" fmla="*/ 19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10" h="324">
                    <a:moveTo>
                      <a:pt x="74" y="64"/>
                    </a:moveTo>
                    <a:lnTo>
                      <a:pt x="44" y="80"/>
                    </a:lnTo>
                    <a:lnTo>
                      <a:pt x="40" y="74"/>
                    </a:lnTo>
                    <a:lnTo>
                      <a:pt x="70" y="58"/>
                    </a:lnTo>
                    <a:lnTo>
                      <a:pt x="74" y="64"/>
                    </a:lnTo>
                    <a:close/>
                    <a:moveTo>
                      <a:pt x="100" y="0"/>
                    </a:moveTo>
                    <a:lnTo>
                      <a:pt x="104" y="6"/>
                    </a:lnTo>
                    <a:lnTo>
                      <a:pt x="74" y="22"/>
                    </a:lnTo>
                    <a:lnTo>
                      <a:pt x="70" y="16"/>
                    </a:lnTo>
                    <a:lnTo>
                      <a:pt x="100" y="0"/>
                    </a:lnTo>
                    <a:close/>
                    <a:moveTo>
                      <a:pt x="80" y="32"/>
                    </a:moveTo>
                    <a:lnTo>
                      <a:pt x="108" y="16"/>
                    </a:lnTo>
                    <a:lnTo>
                      <a:pt x="210" y="220"/>
                    </a:lnTo>
                    <a:lnTo>
                      <a:pt x="210" y="220"/>
                    </a:lnTo>
                    <a:lnTo>
                      <a:pt x="174" y="238"/>
                    </a:lnTo>
                    <a:lnTo>
                      <a:pt x="138" y="260"/>
                    </a:lnTo>
                    <a:lnTo>
                      <a:pt x="104" y="282"/>
                    </a:lnTo>
                    <a:lnTo>
                      <a:pt x="70" y="306"/>
                    </a:lnTo>
                    <a:lnTo>
                      <a:pt x="52" y="284"/>
                    </a:lnTo>
                    <a:lnTo>
                      <a:pt x="36" y="296"/>
                    </a:lnTo>
                    <a:lnTo>
                      <a:pt x="54" y="318"/>
                    </a:lnTo>
                    <a:lnTo>
                      <a:pt x="48" y="324"/>
                    </a:lnTo>
                    <a:lnTo>
                      <a:pt x="0" y="266"/>
                    </a:lnTo>
                    <a:lnTo>
                      <a:pt x="0" y="266"/>
                    </a:lnTo>
                    <a:lnTo>
                      <a:pt x="54" y="226"/>
                    </a:lnTo>
                    <a:lnTo>
                      <a:pt x="110" y="188"/>
                    </a:lnTo>
                    <a:lnTo>
                      <a:pt x="50" y="90"/>
                    </a:lnTo>
                    <a:lnTo>
                      <a:pt x="80" y="72"/>
                    </a:lnTo>
                    <a:lnTo>
                      <a:pt x="136" y="174"/>
                    </a:lnTo>
                    <a:lnTo>
                      <a:pt x="150" y="166"/>
                    </a:lnTo>
                    <a:lnTo>
                      <a:pt x="80" y="32"/>
                    </a:lnTo>
                    <a:close/>
                    <a:moveTo>
                      <a:pt x="70" y="268"/>
                    </a:moveTo>
                    <a:lnTo>
                      <a:pt x="60" y="276"/>
                    </a:lnTo>
                    <a:lnTo>
                      <a:pt x="68" y="288"/>
                    </a:lnTo>
                    <a:lnTo>
                      <a:pt x="78" y="280"/>
                    </a:lnTo>
                    <a:lnTo>
                      <a:pt x="70" y="268"/>
                    </a:lnTo>
                    <a:close/>
                    <a:moveTo>
                      <a:pt x="56" y="248"/>
                    </a:moveTo>
                    <a:lnTo>
                      <a:pt x="44" y="256"/>
                    </a:lnTo>
                    <a:lnTo>
                      <a:pt x="52" y="268"/>
                    </a:lnTo>
                    <a:lnTo>
                      <a:pt x="64" y="260"/>
                    </a:lnTo>
                    <a:lnTo>
                      <a:pt x="56" y="248"/>
                    </a:lnTo>
                    <a:close/>
                    <a:moveTo>
                      <a:pt x="90" y="254"/>
                    </a:moveTo>
                    <a:lnTo>
                      <a:pt x="78" y="262"/>
                    </a:lnTo>
                    <a:lnTo>
                      <a:pt x="88" y="274"/>
                    </a:lnTo>
                    <a:lnTo>
                      <a:pt x="98" y="266"/>
                    </a:lnTo>
                    <a:lnTo>
                      <a:pt x="90" y="254"/>
                    </a:lnTo>
                    <a:close/>
                    <a:moveTo>
                      <a:pt x="76" y="234"/>
                    </a:moveTo>
                    <a:lnTo>
                      <a:pt x="64" y="242"/>
                    </a:lnTo>
                    <a:lnTo>
                      <a:pt x="72" y="254"/>
                    </a:lnTo>
                    <a:lnTo>
                      <a:pt x="84" y="246"/>
                    </a:lnTo>
                    <a:lnTo>
                      <a:pt x="76" y="234"/>
                    </a:lnTo>
                    <a:close/>
                    <a:moveTo>
                      <a:pt x="110" y="240"/>
                    </a:moveTo>
                    <a:lnTo>
                      <a:pt x="98" y="248"/>
                    </a:lnTo>
                    <a:lnTo>
                      <a:pt x="106" y="260"/>
                    </a:lnTo>
                    <a:lnTo>
                      <a:pt x="118" y="254"/>
                    </a:lnTo>
                    <a:lnTo>
                      <a:pt x="110" y="240"/>
                    </a:lnTo>
                    <a:close/>
                    <a:moveTo>
                      <a:pt x="96" y="220"/>
                    </a:moveTo>
                    <a:lnTo>
                      <a:pt x="84" y="228"/>
                    </a:lnTo>
                    <a:lnTo>
                      <a:pt x="92" y="240"/>
                    </a:lnTo>
                    <a:lnTo>
                      <a:pt x="104" y="232"/>
                    </a:lnTo>
                    <a:lnTo>
                      <a:pt x="96" y="220"/>
                    </a:lnTo>
                    <a:close/>
                    <a:moveTo>
                      <a:pt x="130" y="228"/>
                    </a:moveTo>
                    <a:lnTo>
                      <a:pt x="118" y="236"/>
                    </a:lnTo>
                    <a:lnTo>
                      <a:pt x="126" y="248"/>
                    </a:lnTo>
                    <a:lnTo>
                      <a:pt x="138" y="240"/>
                    </a:lnTo>
                    <a:lnTo>
                      <a:pt x="130" y="228"/>
                    </a:lnTo>
                    <a:close/>
                    <a:moveTo>
                      <a:pt x="118" y="206"/>
                    </a:moveTo>
                    <a:lnTo>
                      <a:pt x="106" y="214"/>
                    </a:lnTo>
                    <a:lnTo>
                      <a:pt x="114" y="226"/>
                    </a:lnTo>
                    <a:lnTo>
                      <a:pt x="124" y="218"/>
                    </a:lnTo>
                    <a:lnTo>
                      <a:pt x="118" y="206"/>
                    </a:lnTo>
                    <a:close/>
                    <a:moveTo>
                      <a:pt x="152" y="216"/>
                    </a:moveTo>
                    <a:lnTo>
                      <a:pt x="140" y="222"/>
                    </a:lnTo>
                    <a:lnTo>
                      <a:pt x="146" y="236"/>
                    </a:lnTo>
                    <a:lnTo>
                      <a:pt x="158" y="228"/>
                    </a:lnTo>
                    <a:lnTo>
                      <a:pt x="152" y="216"/>
                    </a:lnTo>
                    <a:close/>
                    <a:moveTo>
                      <a:pt x="138" y="194"/>
                    </a:moveTo>
                    <a:lnTo>
                      <a:pt x="126" y="200"/>
                    </a:lnTo>
                    <a:lnTo>
                      <a:pt x="134" y="214"/>
                    </a:lnTo>
                    <a:lnTo>
                      <a:pt x="146" y="206"/>
                    </a:lnTo>
                    <a:lnTo>
                      <a:pt x="138" y="194"/>
                    </a:lnTo>
                    <a:close/>
                    <a:moveTo>
                      <a:pt x="172" y="204"/>
                    </a:moveTo>
                    <a:lnTo>
                      <a:pt x="160" y="210"/>
                    </a:lnTo>
                    <a:lnTo>
                      <a:pt x="168" y="224"/>
                    </a:lnTo>
                    <a:lnTo>
                      <a:pt x="180" y="218"/>
                    </a:lnTo>
                    <a:lnTo>
                      <a:pt x="172" y="204"/>
                    </a:lnTo>
                    <a:close/>
                    <a:moveTo>
                      <a:pt x="160" y="182"/>
                    </a:moveTo>
                    <a:lnTo>
                      <a:pt x="148" y="188"/>
                    </a:lnTo>
                    <a:lnTo>
                      <a:pt x="156" y="202"/>
                    </a:lnTo>
                    <a:lnTo>
                      <a:pt x="168" y="194"/>
                    </a:lnTo>
                    <a:lnTo>
                      <a:pt x="160" y="18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 57">
                <a:extLst>
                  <a:ext uri="{FF2B5EF4-FFF2-40B4-BE49-F238E27FC236}">
                    <a16:creationId xmlns:a16="http://schemas.microsoft.com/office/drawing/2014/main" id="{285E91AB-0195-AF4A-905F-95B7E4A5B2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0014" y="1893888"/>
                <a:ext cx="215900" cy="317500"/>
              </a:xfrm>
              <a:custGeom>
                <a:avLst/>
                <a:gdLst>
                  <a:gd name="T0" fmla="*/ 136 w 136"/>
                  <a:gd name="T1" fmla="*/ 66 h 200"/>
                  <a:gd name="T2" fmla="*/ 134 w 136"/>
                  <a:gd name="T3" fmla="*/ 58 h 200"/>
                  <a:gd name="T4" fmla="*/ 134 w 136"/>
                  <a:gd name="T5" fmla="*/ 50 h 200"/>
                  <a:gd name="T6" fmla="*/ 130 w 136"/>
                  <a:gd name="T7" fmla="*/ 42 h 200"/>
                  <a:gd name="T8" fmla="*/ 130 w 136"/>
                  <a:gd name="T9" fmla="*/ 34 h 200"/>
                  <a:gd name="T10" fmla="*/ 124 w 136"/>
                  <a:gd name="T11" fmla="*/ 28 h 200"/>
                  <a:gd name="T12" fmla="*/ 120 w 136"/>
                  <a:gd name="T13" fmla="*/ 22 h 200"/>
                  <a:gd name="T14" fmla="*/ 112 w 136"/>
                  <a:gd name="T15" fmla="*/ 18 h 200"/>
                  <a:gd name="T16" fmla="*/ 106 w 136"/>
                  <a:gd name="T17" fmla="*/ 10 h 200"/>
                  <a:gd name="T18" fmla="*/ 98 w 136"/>
                  <a:gd name="T19" fmla="*/ 8 h 200"/>
                  <a:gd name="T20" fmla="*/ 90 w 136"/>
                  <a:gd name="T21" fmla="*/ 4 h 200"/>
                  <a:gd name="T22" fmla="*/ 82 w 136"/>
                  <a:gd name="T23" fmla="*/ 4 h 200"/>
                  <a:gd name="T24" fmla="*/ 74 w 136"/>
                  <a:gd name="T25" fmla="*/ 0 h 200"/>
                  <a:gd name="T26" fmla="*/ 64 w 136"/>
                  <a:gd name="T27" fmla="*/ 2 h 200"/>
                  <a:gd name="T28" fmla="*/ 56 w 136"/>
                  <a:gd name="T29" fmla="*/ 2 h 200"/>
                  <a:gd name="T30" fmla="*/ 48 w 136"/>
                  <a:gd name="T31" fmla="*/ 6 h 200"/>
                  <a:gd name="T32" fmla="*/ 38 w 136"/>
                  <a:gd name="T33" fmla="*/ 6 h 200"/>
                  <a:gd name="T34" fmla="*/ 32 w 136"/>
                  <a:gd name="T35" fmla="*/ 12 h 200"/>
                  <a:gd name="T36" fmla="*/ 24 w 136"/>
                  <a:gd name="T37" fmla="*/ 16 h 200"/>
                  <a:gd name="T38" fmla="*/ 20 w 136"/>
                  <a:gd name="T39" fmla="*/ 22 h 200"/>
                  <a:gd name="T40" fmla="*/ 12 w 136"/>
                  <a:gd name="T41" fmla="*/ 28 h 200"/>
                  <a:gd name="T42" fmla="*/ 10 w 136"/>
                  <a:gd name="T43" fmla="*/ 36 h 200"/>
                  <a:gd name="T44" fmla="*/ 6 w 136"/>
                  <a:gd name="T45" fmla="*/ 42 h 200"/>
                  <a:gd name="T46" fmla="*/ 6 w 136"/>
                  <a:gd name="T47" fmla="*/ 50 h 200"/>
                  <a:gd name="T48" fmla="*/ 2 w 136"/>
                  <a:gd name="T49" fmla="*/ 58 h 200"/>
                  <a:gd name="T50" fmla="*/ 4 w 136"/>
                  <a:gd name="T51" fmla="*/ 64 h 200"/>
                  <a:gd name="T52" fmla="*/ 4 w 136"/>
                  <a:gd name="T53" fmla="*/ 72 h 200"/>
                  <a:gd name="T54" fmla="*/ 8 w 136"/>
                  <a:gd name="T55" fmla="*/ 80 h 200"/>
                  <a:gd name="T56" fmla="*/ 8 w 136"/>
                  <a:gd name="T57" fmla="*/ 88 h 200"/>
                  <a:gd name="T58" fmla="*/ 14 w 136"/>
                  <a:gd name="T59" fmla="*/ 94 h 200"/>
                  <a:gd name="T60" fmla="*/ 18 w 136"/>
                  <a:gd name="T61" fmla="*/ 102 h 200"/>
                  <a:gd name="T62" fmla="*/ 24 w 136"/>
                  <a:gd name="T63" fmla="*/ 106 h 200"/>
                  <a:gd name="T64" fmla="*/ 28 w 136"/>
                  <a:gd name="T65" fmla="*/ 112 h 200"/>
                  <a:gd name="T66" fmla="*/ 36 w 136"/>
                  <a:gd name="T67" fmla="*/ 114 h 200"/>
                  <a:gd name="T68" fmla="*/ 42 w 136"/>
                  <a:gd name="T69" fmla="*/ 120 h 200"/>
                  <a:gd name="T70" fmla="*/ 50 w 136"/>
                  <a:gd name="T71" fmla="*/ 120 h 200"/>
                  <a:gd name="T72" fmla="*/ 58 w 136"/>
                  <a:gd name="T73" fmla="*/ 124 h 200"/>
                  <a:gd name="T74" fmla="*/ 56 w 136"/>
                  <a:gd name="T75" fmla="*/ 198 h 200"/>
                  <a:gd name="T76" fmla="*/ 76 w 136"/>
                  <a:gd name="T77" fmla="*/ 126 h 200"/>
                  <a:gd name="T78" fmla="*/ 82 w 136"/>
                  <a:gd name="T79" fmla="*/ 120 h 200"/>
                  <a:gd name="T80" fmla="*/ 92 w 136"/>
                  <a:gd name="T81" fmla="*/ 122 h 200"/>
                  <a:gd name="T82" fmla="*/ 96 w 136"/>
                  <a:gd name="T83" fmla="*/ 114 h 200"/>
                  <a:gd name="T84" fmla="*/ 106 w 136"/>
                  <a:gd name="T85" fmla="*/ 116 h 200"/>
                  <a:gd name="T86" fmla="*/ 108 w 136"/>
                  <a:gd name="T87" fmla="*/ 106 h 200"/>
                  <a:gd name="T88" fmla="*/ 118 w 136"/>
                  <a:gd name="T89" fmla="*/ 106 h 200"/>
                  <a:gd name="T90" fmla="*/ 118 w 136"/>
                  <a:gd name="T91" fmla="*/ 96 h 200"/>
                  <a:gd name="T92" fmla="*/ 128 w 136"/>
                  <a:gd name="T93" fmla="*/ 92 h 200"/>
                  <a:gd name="T94" fmla="*/ 126 w 136"/>
                  <a:gd name="T95" fmla="*/ 84 h 200"/>
                  <a:gd name="T96" fmla="*/ 134 w 136"/>
                  <a:gd name="T97" fmla="*/ 78 h 200"/>
                  <a:gd name="T98" fmla="*/ 130 w 136"/>
                  <a:gd name="T99" fmla="*/ 7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36" h="200">
                    <a:moveTo>
                      <a:pt x="130" y="70"/>
                    </a:moveTo>
                    <a:lnTo>
                      <a:pt x="130" y="70"/>
                    </a:lnTo>
                    <a:lnTo>
                      <a:pt x="134" y="68"/>
                    </a:lnTo>
                    <a:lnTo>
                      <a:pt x="136" y="66"/>
                    </a:lnTo>
                    <a:lnTo>
                      <a:pt x="136" y="62"/>
                    </a:lnTo>
                    <a:lnTo>
                      <a:pt x="136" y="62"/>
                    </a:lnTo>
                    <a:lnTo>
                      <a:pt x="136" y="60"/>
                    </a:lnTo>
                    <a:lnTo>
                      <a:pt x="134" y="58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4" y="52"/>
                    </a:lnTo>
                    <a:lnTo>
                      <a:pt x="134" y="50"/>
                    </a:lnTo>
                    <a:lnTo>
                      <a:pt x="136" y="46"/>
                    </a:lnTo>
                    <a:lnTo>
                      <a:pt x="136" y="46"/>
                    </a:lnTo>
                    <a:lnTo>
                      <a:pt x="134" y="44"/>
                    </a:lnTo>
                    <a:lnTo>
                      <a:pt x="130" y="42"/>
                    </a:lnTo>
                    <a:lnTo>
                      <a:pt x="126" y="42"/>
                    </a:lnTo>
                    <a:lnTo>
                      <a:pt x="126" y="42"/>
                    </a:lnTo>
                    <a:lnTo>
                      <a:pt x="128" y="38"/>
                    </a:lnTo>
                    <a:lnTo>
                      <a:pt x="130" y="34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6" y="30"/>
                    </a:lnTo>
                    <a:lnTo>
                      <a:pt x="124" y="28"/>
                    </a:lnTo>
                    <a:lnTo>
                      <a:pt x="120" y="28"/>
                    </a:lnTo>
                    <a:lnTo>
                      <a:pt x="120" y="28"/>
                    </a:lnTo>
                    <a:lnTo>
                      <a:pt x="120" y="24"/>
                    </a:lnTo>
                    <a:lnTo>
                      <a:pt x="120" y="2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16" y="18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6" y="10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2" y="8"/>
                    </a:lnTo>
                    <a:lnTo>
                      <a:pt x="98" y="8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92" y="6"/>
                    </a:lnTo>
                    <a:lnTo>
                      <a:pt x="90" y="4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84" y="2"/>
                    </a:lnTo>
                    <a:lnTo>
                      <a:pt x="82" y="4"/>
                    </a:lnTo>
                    <a:lnTo>
                      <a:pt x="78" y="6"/>
                    </a:lnTo>
                    <a:lnTo>
                      <a:pt x="78" y="6"/>
                    </a:lnTo>
                    <a:lnTo>
                      <a:pt x="76" y="2"/>
                    </a:lnTo>
                    <a:lnTo>
                      <a:pt x="74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4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0" y="2"/>
                    </a:lnTo>
                    <a:lnTo>
                      <a:pt x="48" y="6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38" y="6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4" y="10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28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2" y="28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2"/>
                    </a:lnTo>
                    <a:lnTo>
                      <a:pt x="10" y="36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40"/>
                    </a:lnTo>
                    <a:lnTo>
                      <a:pt x="6" y="42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6"/>
                    </a:lnTo>
                    <a:lnTo>
                      <a:pt x="6" y="50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4"/>
                    </a:lnTo>
                    <a:lnTo>
                      <a:pt x="2" y="58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2" y="62"/>
                    </a:lnTo>
                    <a:lnTo>
                      <a:pt x="4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70"/>
                    </a:lnTo>
                    <a:lnTo>
                      <a:pt x="4" y="72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4" y="78"/>
                    </a:lnTo>
                    <a:lnTo>
                      <a:pt x="8" y="80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10" y="84"/>
                    </a:lnTo>
                    <a:lnTo>
                      <a:pt x="8" y="88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10" y="92"/>
                    </a:lnTo>
                    <a:lnTo>
                      <a:pt x="14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8"/>
                    </a:lnTo>
                    <a:lnTo>
                      <a:pt x="18" y="102"/>
                    </a:lnTo>
                    <a:lnTo>
                      <a:pt x="18" y="104"/>
                    </a:lnTo>
                    <a:lnTo>
                      <a:pt x="18" y="104"/>
                    </a:lnTo>
                    <a:lnTo>
                      <a:pt x="20" y="104"/>
                    </a:lnTo>
                    <a:lnTo>
                      <a:pt x="24" y="106"/>
                    </a:lnTo>
                    <a:lnTo>
                      <a:pt x="28" y="106"/>
                    </a:lnTo>
                    <a:lnTo>
                      <a:pt x="28" y="106"/>
                    </a:lnTo>
                    <a:lnTo>
                      <a:pt x="28" y="108"/>
                    </a:lnTo>
                    <a:lnTo>
                      <a:pt x="28" y="112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4" y="114"/>
                    </a:lnTo>
                    <a:lnTo>
                      <a:pt x="36" y="114"/>
                    </a:lnTo>
                    <a:lnTo>
                      <a:pt x="40" y="114"/>
                    </a:lnTo>
                    <a:lnTo>
                      <a:pt x="40" y="114"/>
                    </a:lnTo>
                    <a:lnTo>
                      <a:pt x="40" y="116"/>
                    </a:lnTo>
                    <a:lnTo>
                      <a:pt x="42" y="120"/>
                    </a:lnTo>
                    <a:lnTo>
                      <a:pt x="44" y="122"/>
                    </a:lnTo>
                    <a:lnTo>
                      <a:pt x="44" y="122"/>
                    </a:lnTo>
                    <a:lnTo>
                      <a:pt x="48" y="122"/>
                    </a:lnTo>
                    <a:lnTo>
                      <a:pt x="50" y="120"/>
                    </a:lnTo>
                    <a:lnTo>
                      <a:pt x="54" y="118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8" y="124"/>
                    </a:lnTo>
                    <a:lnTo>
                      <a:pt x="60" y="126"/>
                    </a:lnTo>
                    <a:lnTo>
                      <a:pt x="62" y="126"/>
                    </a:lnTo>
                    <a:lnTo>
                      <a:pt x="60" y="170"/>
                    </a:lnTo>
                    <a:lnTo>
                      <a:pt x="56" y="198"/>
                    </a:lnTo>
                    <a:lnTo>
                      <a:pt x="76" y="200"/>
                    </a:lnTo>
                    <a:lnTo>
                      <a:pt x="74" y="172"/>
                    </a:lnTo>
                    <a:lnTo>
                      <a:pt x="74" y="126"/>
                    </a:lnTo>
                    <a:lnTo>
                      <a:pt x="76" y="126"/>
                    </a:lnTo>
                    <a:lnTo>
                      <a:pt x="76" y="126"/>
                    </a:lnTo>
                    <a:lnTo>
                      <a:pt x="78" y="124"/>
                    </a:lnTo>
                    <a:lnTo>
                      <a:pt x="80" y="122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6" y="122"/>
                    </a:lnTo>
                    <a:lnTo>
                      <a:pt x="88" y="122"/>
                    </a:lnTo>
                    <a:lnTo>
                      <a:pt x="92" y="122"/>
                    </a:lnTo>
                    <a:lnTo>
                      <a:pt x="92" y="122"/>
                    </a:lnTo>
                    <a:lnTo>
                      <a:pt x="94" y="120"/>
                    </a:lnTo>
                    <a:lnTo>
                      <a:pt x="94" y="118"/>
                    </a:lnTo>
                    <a:lnTo>
                      <a:pt x="96" y="114"/>
                    </a:lnTo>
                    <a:lnTo>
                      <a:pt x="96" y="114"/>
                    </a:lnTo>
                    <a:lnTo>
                      <a:pt x="100" y="116"/>
                    </a:lnTo>
                    <a:lnTo>
                      <a:pt x="102" y="116"/>
                    </a:lnTo>
                    <a:lnTo>
                      <a:pt x="106" y="116"/>
                    </a:lnTo>
                    <a:lnTo>
                      <a:pt x="106" y="116"/>
                    </a:lnTo>
                    <a:lnTo>
                      <a:pt x="108" y="114"/>
                    </a:lnTo>
                    <a:lnTo>
                      <a:pt x="108" y="110"/>
                    </a:lnTo>
                    <a:lnTo>
                      <a:pt x="108" y="106"/>
                    </a:lnTo>
                    <a:lnTo>
                      <a:pt x="108" y="106"/>
                    </a:lnTo>
                    <a:lnTo>
                      <a:pt x="112" y="106"/>
                    </a:lnTo>
                    <a:lnTo>
                      <a:pt x="116" y="106"/>
                    </a:lnTo>
                    <a:lnTo>
                      <a:pt x="118" y="106"/>
                    </a:lnTo>
                    <a:lnTo>
                      <a:pt x="118" y="106"/>
                    </a:lnTo>
                    <a:lnTo>
                      <a:pt x="120" y="104"/>
                    </a:lnTo>
                    <a:lnTo>
                      <a:pt x="120" y="100"/>
                    </a:lnTo>
                    <a:lnTo>
                      <a:pt x="118" y="96"/>
                    </a:lnTo>
                    <a:lnTo>
                      <a:pt x="118" y="96"/>
                    </a:lnTo>
                    <a:lnTo>
                      <a:pt x="122" y="96"/>
                    </a:lnTo>
                    <a:lnTo>
                      <a:pt x="126" y="94"/>
                    </a:lnTo>
                    <a:lnTo>
                      <a:pt x="128" y="92"/>
                    </a:lnTo>
                    <a:lnTo>
                      <a:pt x="128" y="92"/>
                    </a:lnTo>
                    <a:lnTo>
                      <a:pt x="128" y="90"/>
                    </a:lnTo>
                    <a:lnTo>
                      <a:pt x="128" y="88"/>
                    </a:lnTo>
                    <a:lnTo>
                      <a:pt x="126" y="84"/>
                    </a:lnTo>
                    <a:lnTo>
                      <a:pt x="126" y="84"/>
                    </a:lnTo>
                    <a:lnTo>
                      <a:pt x="130" y="82"/>
                    </a:lnTo>
                    <a:lnTo>
                      <a:pt x="132" y="80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6"/>
                    </a:lnTo>
                    <a:lnTo>
                      <a:pt x="132" y="72"/>
                    </a:lnTo>
                    <a:lnTo>
                      <a:pt x="130" y="70"/>
                    </a:lnTo>
                    <a:lnTo>
                      <a:pt x="130" y="7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 58">
                <a:extLst>
                  <a:ext uri="{FF2B5EF4-FFF2-40B4-BE49-F238E27FC236}">
                    <a16:creationId xmlns:a16="http://schemas.microsoft.com/office/drawing/2014/main" id="{E12D8A3A-5AC2-4C49-BCF3-EB92B9967F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79514" y="3014663"/>
                <a:ext cx="307975" cy="314325"/>
              </a:xfrm>
              <a:custGeom>
                <a:avLst/>
                <a:gdLst>
                  <a:gd name="T0" fmla="*/ 0 w 194"/>
                  <a:gd name="T1" fmla="*/ 0 h 198"/>
                  <a:gd name="T2" fmla="*/ 194 w 194"/>
                  <a:gd name="T3" fmla="*/ 64 h 198"/>
                  <a:gd name="T4" fmla="*/ 194 w 194"/>
                  <a:gd name="T5" fmla="*/ 64 h 198"/>
                  <a:gd name="T6" fmla="*/ 184 w 194"/>
                  <a:gd name="T7" fmla="*/ 98 h 198"/>
                  <a:gd name="T8" fmla="*/ 174 w 194"/>
                  <a:gd name="T9" fmla="*/ 130 h 198"/>
                  <a:gd name="T10" fmla="*/ 166 w 194"/>
                  <a:gd name="T11" fmla="*/ 164 h 198"/>
                  <a:gd name="T12" fmla="*/ 160 w 194"/>
                  <a:gd name="T13" fmla="*/ 198 h 198"/>
                  <a:gd name="T14" fmla="*/ 32 w 194"/>
                  <a:gd name="T15" fmla="*/ 176 h 198"/>
                  <a:gd name="T16" fmla="*/ 32 w 194"/>
                  <a:gd name="T17" fmla="*/ 176 h 198"/>
                  <a:gd name="T18" fmla="*/ 22 w 194"/>
                  <a:gd name="T19" fmla="*/ 134 h 198"/>
                  <a:gd name="T20" fmla="*/ 12 w 194"/>
                  <a:gd name="T21" fmla="*/ 90 h 198"/>
                  <a:gd name="T22" fmla="*/ 6 w 194"/>
                  <a:gd name="T23" fmla="*/ 46 h 198"/>
                  <a:gd name="T24" fmla="*/ 0 w 194"/>
                  <a:gd name="T25" fmla="*/ 0 h 198"/>
                  <a:gd name="T26" fmla="*/ 0 w 194"/>
                  <a:gd name="T27" fmla="*/ 0 h 198"/>
                  <a:gd name="T28" fmla="*/ 116 w 194"/>
                  <a:gd name="T29" fmla="*/ 96 h 198"/>
                  <a:gd name="T30" fmla="*/ 114 w 194"/>
                  <a:gd name="T31" fmla="*/ 108 h 198"/>
                  <a:gd name="T32" fmla="*/ 168 w 194"/>
                  <a:gd name="T33" fmla="*/ 122 h 198"/>
                  <a:gd name="T34" fmla="*/ 172 w 194"/>
                  <a:gd name="T35" fmla="*/ 110 h 198"/>
                  <a:gd name="T36" fmla="*/ 116 w 194"/>
                  <a:gd name="T37" fmla="*/ 96 h 198"/>
                  <a:gd name="T38" fmla="*/ 122 w 194"/>
                  <a:gd name="T39" fmla="*/ 76 h 198"/>
                  <a:gd name="T40" fmla="*/ 120 w 194"/>
                  <a:gd name="T41" fmla="*/ 88 h 198"/>
                  <a:gd name="T42" fmla="*/ 174 w 194"/>
                  <a:gd name="T43" fmla="*/ 102 h 198"/>
                  <a:gd name="T44" fmla="*/ 176 w 194"/>
                  <a:gd name="T45" fmla="*/ 92 h 198"/>
                  <a:gd name="T46" fmla="*/ 122 w 194"/>
                  <a:gd name="T47" fmla="*/ 76 h 198"/>
                  <a:gd name="T48" fmla="*/ 130 w 194"/>
                  <a:gd name="T49" fmla="*/ 54 h 198"/>
                  <a:gd name="T50" fmla="*/ 126 w 194"/>
                  <a:gd name="T51" fmla="*/ 66 h 198"/>
                  <a:gd name="T52" fmla="*/ 178 w 194"/>
                  <a:gd name="T53" fmla="*/ 82 h 198"/>
                  <a:gd name="T54" fmla="*/ 182 w 194"/>
                  <a:gd name="T55" fmla="*/ 72 h 198"/>
                  <a:gd name="T56" fmla="*/ 130 w 194"/>
                  <a:gd name="T57" fmla="*/ 54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94" h="198">
                    <a:moveTo>
                      <a:pt x="0" y="0"/>
                    </a:moveTo>
                    <a:lnTo>
                      <a:pt x="194" y="64"/>
                    </a:lnTo>
                    <a:lnTo>
                      <a:pt x="194" y="64"/>
                    </a:lnTo>
                    <a:lnTo>
                      <a:pt x="184" y="98"/>
                    </a:lnTo>
                    <a:lnTo>
                      <a:pt x="174" y="130"/>
                    </a:lnTo>
                    <a:lnTo>
                      <a:pt x="166" y="164"/>
                    </a:lnTo>
                    <a:lnTo>
                      <a:pt x="160" y="198"/>
                    </a:lnTo>
                    <a:lnTo>
                      <a:pt x="32" y="176"/>
                    </a:lnTo>
                    <a:lnTo>
                      <a:pt x="32" y="176"/>
                    </a:lnTo>
                    <a:lnTo>
                      <a:pt x="22" y="134"/>
                    </a:lnTo>
                    <a:lnTo>
                      <a:pt x="12" y="90"/>
                    </a:lnTo>
                    <a:lnTo>
                      <a:pt x="6" y="46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116" y="96"/>
                    </a:moveTo>
                    <a:lnTo>
                      <a:pt x="114" y="108"/>
                    </a:lnTo>
                    <a:lnTo>
                      <a:pt x="168" y="122"/>
                    </a:lnTo>
                    <a:lnTo>
                      <a:pt x="172" y="110"/>
                    </a:lnTo>
                    <a:lnTo>
                      <a:pt x="116" y="96"/>
                    </a:lnTo>
                    <a:close/>
                    <a:moveTo>
                      <a:pt x="122" y="76"/>
                    </a:moveTo>
                    <a:lnTo>
                      <a:pt x="120" y="88"/>
                    </a:lnTo>
                    <a:lnTo>
                      <a:pt x="174" y="102"/>
                    </a:lnTo>
                    <a:lnTo>
                      <a:pt x="176" y="92"/>
                    </a:lnTo>
                    <a:lnTo>
                      <a:pt x="122" y="76"/>
                    </a:lnTo>
                    <a:close/>
                    <a:moveTo>
                      <a:pt x="130" y="54"/>
                    </a:moveTo>
                    <a:lnTo>
                      <a:pt x="126" y="66"/>
                    </a:lnTo>
                    <a:lnTo>
                      <a:pt x="178" y="82"/>
                    </a:lnTo>
                    <a:lnTo>
                      <a:pt x="182" y="72"/>
                    </a:lnTo>
                    <a:lnTo>
                      <a:pt x="130" y="5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 59">
                <a:extLst>
                  <a:ext uri="{FF2B5EF4-FFF2-40B4-BE49-F238E27FC236}">
                    <a16:creationId xmlns:a16="http://schemas.microsoft.com/office/drawing/2014/main" id="{FA13851D-2DA0-554E-B7A3-BB6DAB50FB2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96989" y="2570163"/>
                <a:ext cx="387350" cy="530225"/>
              </a:xfrm>
              <a:custGeom>
                <a:avLst/>
                <a:gdLst>
                  <a:gd name="T0" fmla="*/ 56 w 244"/>
                  <a:gd name="T1" fmla="*/ 32 h 334"/>
                  <a:gd name="T2" fmla="*/ 74 w 244"/>
                  <a:gd name="T3" fmla="*/ 6 h 334"/>
                  <a:gd name="T4" fmla="*/ 132 w 244"/>
                  <a:gd name="T5" fmla="*/ 92 h 334"/>
                  <a:gd name="T6" fmla="*/ 0 w 244"/>
                  <a:gd name="T7" fmla="*/ 222 h 334"/>
                  <a:gd name="T8" fmla="*/ 24 w 244"/>
                  <a:gd name="T9" fmla="*/ 202 h 334"/>
                  <a:gd name="T10" fmla="*/ 50 w 244"/>
                  <a:gd name="T11" fmla="*/ 184 h 334"/>
                  <a:gd name="T12" fmla="*/ 74 w 244"/>
                  <a:gd name="T13" fmla="*/ 138 h 334"/>
                  <a:gd name="T14" fmla="*/ 74 w 244"/>
                  <a:gd name="T15" fmla="*/ 84 h 334"/>
                  <a:gd name="T16" fmla="*/ 138 w 244"/>
                  <a:gd name="T17" fmla="*/ 108 h 334"/>
                  <a:gd name="T18" fmla="*/ 134 w 244"/>
                  <a:gd name="T19" fmla="*/ 98 h 334"/>
                  <a:gd name="T20" fmla="*/ 174 w 244"/>
                  <a:gd name="T21" fmla="*/ 54 h 334"/>
                  <a:gd name="T22" fmla="*/ 208 w 244"/>
                  <a:gd name="T23" fmla="*/ 162 h 334"/>
                  <a:gd name="T24" fmla="*/ 160 w 244"/>
                  <a:gd name="T25" fmla="*/ 246 h 334"/>
                  <a:gd name="T26" fmla="*/ 122 w 244"/>
                  <a:gd name="T27" fmla="*/ 334 h 334"/>
                  <a:gd name="T28" fmla="*/ 176 w 244"/>
                  <a:gd name="T29" fmla="*/ 182 h 334"/>
                  <a:gd name="T30" fmla="*/ 160 w 244"/>
                  <a:gd name="T31" fmla="*/ 174 h 334"/>
                  <a:gd name="T32" fmla="*/ 166 w 244"/>
                  <a:gd name="T33" fmla="*/ 152 h 334"/>
                  <a:gd name="T34" fmla="*/ 156 w 244"/>
                  <a:gd name="T35" fmla="*/ 170 h 334"/>
                  <a:gd name="T36" fmla="*/ 130 w 244"/>
                  <a:gd name="T37" fmla="*/ 128 h 334"/>
                  <a:gd name="T38" fmla="*/ 114 w 244"/>
                  <a:gd name="T39" fmla="*/ 146 h 334"/>
                  <a:gd name="T40" fmla="*/ 98 w 244"/>
                  <a:gd name="T41" fmla="*/ 136 h 334"/>
                  <a:gd name="T42" fmla="*/ 174 w 244"/>
                  <a:gd name="T43" fmla="*/ 186 h 334"/>
                  <a:gd name="T44" fmla="*/ 164 w 244"/>
                  <a:gd name="T45" fmla="*/ 202 h 334"/>
                  <a:gd name="T46" fmla="*/ 136 w 244"/>
                  <a:gd name="T47" fmla="*/ 166 h 334"/>
                  <a:gd name="T48" fmla="*/ 122 w 244"/>
                  <a:gd name="T49" fmla="*/ 178 h 334"/>
                  <a:gd name="T50" fmla="*/ 106 w 244"/>
                  <a:gd name="T51" fmla="*/ 170 h 334"/>
                  <a:gd name="T52" fmla="*/ 110 w 244"/>
                  <a:gd name="T53" fmla="*/ 150 h 334"/>
                  <a:gd name="T54" fmla="*/ 102 w 244"/>
                  <a:gd name="T55" fmla="*/ 166 h 334"/>
                  <a:gd name="T56" fmla="*/ 146 w 244"/>
                  <a:gd name="T57" fmla="*/ 198 h 334"/>
                  <a:gd name="T58" fmla="*/ 134 w 244"/>
                  <a:gd name="T59" fmla="*/ 210 h 334"/>
                  <a:gd name="T60" fmla="*/ 118 w 244"/>
                  <a:gd name="T61" fmla="*/ 202 h 334"/>
                  <a:gd name="T62" fmla="*/ 120 w 244"/>
                  <a:gd name="T63" fmla="*/ 184 h 334"/>
                  <a:gd name="T64" fmla="*/ 112 w 244"/>
                  <a:gd name="T65" fmla="*/ 200 h 334"/>
                  <a:gd name="T66" fmla="*/ 82 w 244"/>
                  <a:gd name="T67" fmla="*/ 164 h 334"/>
                  <a:gd name="T68" fmla="*/ 144 w 244"/>
                  <a:gd name="T69" fmla="*/ 240 h 334"/>
                  <a:gd name="T70" fmla="*/ 128 w 244"/>
                  <a:gd name="T71" fmla="*/ 234 h 334"/>
                  <a:gd name="T72" fmla="*/ 130 w 244"/>
                  <a:gd name="T73" fmla="*/ 216 h 334"/>
                  <a:gd name="T74" fmla="*/ 122 w 244"/>
                  <a:gd name="T75" fmla="*/ 230 h 334"/>
                  <a:gd name="T76" fmla="*/ 94 w 244"/>
                  <a:gd name="T77" fmla="*/ 196 h 334"/>
                  <a:gd name="T78" fmla="*/ 80 w 244"/>
                  <a:gd name="T79" fmla="*/ 210 h 334"/>
                  <a:gd name="T80" fmla="*/ 64 w 244"/>
                  <a:gd name="T81" fmla="*/ 202 h 334"/>
                  <a:gd name="T82" fmla="*/ 142 w 244"/>
                  <a:gd name="T83" fmla="*/ 246 h 334"/>
                  <a:gd name="T84" fmla="*/ 134 w 244"/>
                  <a:gd name="T85" fmla="*/ 262 h 334"/>
                  <a:gd name="T86" fmla="*/ 104 w 244"/>
                  <a:gd name="T87" fmla="*/ 228 h 334"/>
                  <a:gd name="T88" fmla="*/ 92 w 244"/>
                  <a:gd name="T89" fmla="*/ 242 h 334"/>
                  <a:gd name="T90" fmla="*/ 74 w 244"/>
                  <a:gd name="T91" fmla="*/ 234 h 334"/>
                  <a:gd name="T92" fmla="*/ 76 w 244"/>
                  <a:gd name="T93" fmla="*/ 214 h 334"/>
                  <a:gd name="T94" fmla="*/ 70 w 244"/>
                  <a:gd name="T95" fmla="*/ 232 h 334"/>
                  <a:gd name="T96" fmla="*/ 116 w 244"/>
                  <a:gd name="T97" fmla="*/ 258 h 334"/>
                  <a:gd name="T98" fmla="*/ 104 w 244"/>
                  <a:gd name="T99" fmla="*/ 272 h 334"/>
                  <a:gd name="T100" fmla="*/ 88 w 244"/>
                  <a:gd name="T101" fmla="*/ 266 h 334"/>
                  <a:gd name="T102" fmla="*/ 90 w 244"/>
                  <a:gd name="T103" fmla="*/ 246 h 334"/>
                  <a:gd name="T104" fmla="*/ 82 w 244"/>
                  <a:gd name="T105" fmla="*/ 262 h 334"/>
                  <a:gd name="T106" fmla="*/ 50 w 244"/>
                  <a:gd name="T107" fmla="*/ 230 h 334"/>
                  <a:gd name="T108" fmla="*/ 116 w 244"/>
                  <a:gd name="T109" fmla="*/ 304 h 334"/>
                  <a:gd name="T110" fmla="*/ 100 w 244"/>
                  <a:gd name="T111" fmla="*/ 298 h 334"/>
                  <a:gd name="T112" fmla="*/ 102 w 244"/>
                  <a:gd name="T113" fmla="*/ 278 h 334"/>
                  <a:gd name="T114" fmla="*/ 94 w 244"/>
                  <a:gd name="T115" fmla="*/ 296 h 334"/>
                  <a:gd name="T116" fmla="*/ 62 w 244"/>
                  <a:gd name="T117" fmla="*/ 262 h 334"/>
                  <a:gd name="T118" fmla="*/ 50 w 244"/>
                  <a:gd name="T119" fmla="*/ 278 h 334"/>
                  <a:gd name="T120" fmla="*/ 32 w 244"/>
                  <a:gd name="T121" fmla="*/ 272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4" h="334">
                    <a:moveTo>
                      <a:pt x="132" y="92"/>
                    </a:moveTo>
                    <a:lnTo>
                      <a:pt x="58" y="30"/>
                    </a:lnTo>
                    <a:lnTo>
                      <a:pt x="56" y="32"/>
                    </a:lnTo>
                    <a:lnTo>
                      <a:pt x="48" y="28"/>
                    </a:lnTo>
                    <a:lnTo>
                      <a:pt x="68" y="0"/>
                    </a:lnTo>
                    <a:lnTo>
                      <a:pt x="74" y="6"/>
                    </a:lnTo>
                    <a:lnTo>
                      <a:pt x="74" y="8"/>
                    </a:lnTo>
                    <a:lnTo>
                      <a:pt x="156" y="56"/>
                    </a:lnTo>
                    <a:lnTo>
                      <a:pt x="132" y="92"/>
                    </a:lnTo>
                    <a:close/>
                    <a:moveTo>
                      <a:pt x="8" y="284"/>
                    </a:moveTo>
                    <a:lnTo>
                      <a:pt x="8" y="284"/>
                    </a:lnTo>
                    <a:lnTo>
                      <a:pt x="0" y="222"/>
                    </a:lnTo>
                    <a:lnTo>
                      <a:pt x="28" y="228"/>
                    </a:lnTo>
                    <a:lnTo>
                      <a:pt x="28" y="228"/>
                    </a:lnTo>
                    <a:lnTo>
                      <a:pt x="24" y="202"/>
                    </a:lnTo>
                    <a:lnTo>
                      <a:pt x="22" y="174"/>
                    </a:lnTo>
                    <a:lnTo>
                      <a:pt x="50" y="184"/>
                    </a:lnTo>
                    <a:lnTo>
                      <a:pt x="50" y="184"/>
                    </a:lnTo>
                    <a:lnTo>
                      <a:pt x="48" y="156"/>
                    </a:lnTo>
                    <a:lnTo>
                      <a:pt x="46" y="130"/>
                    </a:lnTo>
                    <a:lnTo>
                      <a:pt x="74" y="138"/>
                    </a:lnTo>
                    <a:lnTo>
                      <a:pt x="74" y="138"/>
                    </a:lnTo>
                    <a:lnTo>
                      <a:pt x="72" y="112"/>
                    </a:lnTo>
                    <a:lnTo>
                      <a:pt x="74" y="84"/>
                    </a:lnTo>
                    <a:lnTo>
                      <a:pt x="102" y="98"/>
                    </a:lnTo>
                    <a:lnTo>
                      <a:pt x="108" y="88"/>
                    </a:lnTo>
                    <a:lnTo>
                      <a:pt x="138" y="108"/>
                    </a:lnTo>
                    <a:lnTo>
                      <a:pt x="140" y="102"/>
                    </a:lnTo>
                    <a:lnTo>
                      <a:pt x="134" y="98"/>
                    </a:lnTo>
                    <a:lnTo>
                      <a:pt x="134" y="98"/>
                    </a:lnTo>
                    <a:lnTo>
                      <a:pt x="162" y="56"/>
                    </a:lnTo>
                    <a:lnTo>
                      <a:pt x="168" y="62"/>
                    </a:lnTo>
                    <a:lnTo>
                      <a:pt x="174" y="54"/>
                    </a:lnTo>
                    <a:lnTo>
                      <a:pt x="244" y="108"/>
                    </a:lnTo>
                    <a:lnTo>
                      <a:pt x="244" y="108"/>
                    </a:lnTo>
                    <a:lnTo>
                      <a:pt x="208" y="162"/>
                    </a:lnTo>
                    <a:lnTo>
                      <a:pt x="190" y="188"/>
                    </a:lnTo>
                    <a:lnTo>
                      <a:pt x="174" y="216"/>
                    </a:lnTo>
                    <a:lnTo>
                      <a:pt x="160" y="246"/>
                    </a:lnTo>
                    <a:lnTo>
                      <a:pt x="146" y="274"/>
                    </a:lnTo>
                    <a:lnTo>
                      <a:pt x="134" y="304"/>
                    </a:lnTo>
                    <a:lnTo>
                      <a:pt x="122" y="334"/>
                    </a:lnTo>
                    <a:lnTo>
                      <a:pt x="4" y="294"/>
                    </a:lnTo>
                    <a:lnTo>
                      <a:pt x="8" y="284"/>
                    </a:lnTo>
                    <a:close/>
                    <a:moveTo>
                      <a:pt x="176" y="182"/>
                    </a:moveTo>
                    <a:lnTo>
                      <a:pt x="186" y="164"/>
                    </a:lnTo>
                    <a:lnTo>
                      <a:pt x="172" y="154"/>
                    </a:lnTo>
                    <a:lnTo>
                      <a:pt x="160" y="174"/>
                    </a:lnTo>
                    <a:lnTo>
                      <a:pt x="176" y="182"/>
                    </a:lnTo>
                    <a:close/>
                    <a:moveTo>
                      <a:pt x="156" y="170"/>
                    </a:moveTo>
                    <a:lnTo>
                      <a:pt x="166" y="152"/>
                    </a:lnTo>
                    <a:lnTo>
                      <a:pt x="150" y="142"/>
                    </a:lnTo>
                    <a:lnTo>
                      <a:pt x="140" y="160"/>
                    </a:lnTo>
                    <a:lnTo>
                      <a:pt x="156" y="170"/>
                    </a:lnTo>
                    <a:close/>
                    <a:moveTo>
                      <a:pt x="134" y="158"/>
                    </a:moveTo>
                    <a:lnTo>
                      <a:pt x="146" y="138"/>
                    </a:lnTo>
                    <a:lnTo>
                      <a:pt x="130" y="128"/>
                    </a:lnTo>
                    <a:lnTo>
                      <a:pt x="118" y="148"/>
                    </a:lnTo>
                    <a:lnTo>
                      <a:pt x="134" y="158"/>
                    </a:lnTo>
                    <a:close/>
                    <a:moveTo>
                      <a:pt x="114" y="146"/>
                    </a:moveTo>
                    <a:lnTo>
                      <a:pt x="126" y="126"/>
                    </a:lnTo>
                    <a:lnTo>
                      <a:pt x="110" y="116"/>
                    </a:lnTo>
                    <a:lnTo>
                      <a:pt x="98" y="136"/>
                    </a:lnTo>
                    <a:lnTo>
                      <a:pt x="114" y="146"/>
                    </a:lnTo>
                    <a:close/>
                    <a:moveTo>
                      <a:pt x="164" y="202"/>
                    </a:moveTo>
                    <a:lnTo>
                      <a:pt x="174" y="186"/>
                    </a:lnTo>
                    <a:lnTo>
                      <a:pt x="158" y="178"/>
                    </a:lnTo>
                    <a:lnTo>
                      <a:pt x="150" y="192"/>
                    </a:lnTo>
                    <a:lnTo>
                      <a:pt x="164" y="202"/>
                    </a:lnTo>
                    <a:close/>
                    <a:moveTo>
                      <a:pt x="144" y="190"/>
                    </a:moveTo>
                    <a:lnTo>
                      <a:pt x="152" y="174"/>
                    </a:lnTo>
                    <a:lnTo>
                      <a:pt x="136" y="166"/>
                    </a:lnTo>
                    <a:lnTo>
                      <a:pt x="128" y="182"/>
                    </a:lnTo>
                    <a:lnTo>
                      <a:pt x="144" y="190"/>
                    </a:lnTo>
                    <a:close/>
                    <a:moveTo>
                      <a:pt x="122" y="178"/>
                    </a:moveTo>
                    <a:lnTo>
                      <a:pt x="132" y="162"/>
                    </a:lnTo>
                    <a:lnTo>
                      <a:pt x="116" y="154"/>
                    </a:lnTo>
                    <a:lnTo>
                      <a:pt x="106" y="170"/>
                    </a:lnTo>
                    <a:lnTo>
                      <a:pt x="122" y="178"/>
                    </a:lnTo>
                    <a:close/>
                    <a:moveTo>
                      <a:pt x="102" y="166"/>
                    </a:moveTo>
                    <a:lnTo>
                      <a:pt x="110" y="150"/>
                    </a:lnTo>
                    <a:lnTo>
                      <a:pt x="96" y="142"/>
                    </a:lnTo>
                    <a:lnTo>
                      <a:pt x="86" y="158"/>
                    </a:lnTo>
                    <a:lnTo>
                      <a:pt x="102" y="166"/>
                    </a:lnTo>
                    <a:close/>
                    <a:moveTo>
                      <a:pt x="154" y="220"/>
                    </a:moveTo>
                    <a:lnTo>
                      <a:pt x="162" y="206"/>
                    </a:lnTo>
                    <a:lnTo>
                      <a:pt x="146" y="198"/>
                    </a:lnTo>
                    <a:lnTo>
                      <a:pt x="138" y="212"/>
                    </a:lnTo>
                    <a:lnTo>
                      <a:pt x="154" y="220"/>
                    </a:lnTo>
                    <a:close/>
                    <a:moveTo>
                      <a:pt x="134" y="210"/>
                    </a:moveTo>
                    <a:lnTo>
                      <a:pt x="142" y="194"/>
                    </a:lnTo>
                    <a:lnTo>
                      <a:pt x="126" y="186"/>
                    </a:lnTo>
                    <a:lnTo>
                      <a:pt x="118" y="202"/>
                    </a:lnTo>
                    <a:lnTo>
                      <a:pt x="134" y="210"/>
                    </a:lnTo>
                    <a:close/>
                    <a:moveTo>
                      <a:pt x="112" y="200"/>
                    </a:moveTo>
                    <a:lnTo>
                      <a:pt x="120" y="184"/>
                    </a:lnTo>
                    <a:lnTo>
                      <a:pt x="104" y="174"/>
                    </a:lnTo>
                    <a:lnTo>
                      <a:pt x="96" y="190"/>
                    </a:lnTo>
                    <a:lnTo>
                      <a:pt x="112" y="200"/>
                    </a:lnTo>
                    <a:close/>
                    <a:moveTo>
                      <a:pt x="90" y="188"/>
                    </a:moveTo>
                    <a:lnTo>
                      <a:pt x="98" y="172"/>
                    </a:lnTo>
                    <a:lnTo>
                      <a:pt x="82" y="164"/>
                    </a:lnTo>
                    <a:lnTo>
                      <a:pt x="74" y="180"/>
                    </a:lnTo>
                    <a:lnTo>
                      <a:pt x="90" y="188"/>
                    </a:lnTo>
                    <a:close/>
                    <a:moveTo>
                      <a:pt x="144" y="240"/>
                    </a:moveTo>
                    <a:lnTo>
                      <a:pt x="152" y="226"/>
                    </a:lnTo>
                    <a:lnTo>
                      <a:pt x="136" y="218"/>
                    </a:lnTo>
                    <a:lnTo>
                      <a:pt x="128" y="234"/>
                    </a:lnTo>
                    <a:lnTo>
                      <a:pt x="144" y="240"/>
                    </a:lnTo>
                    <a:close/>
                    <a:moveTo>
                      <a:pt x="122" y="230"/>
                    </a:moveTo>
                    <a:lnTo>
                      <a:pt x="130" y="216"/>
                    </a:lnTo>
                    <a:lnTo>
                      <a:pt x="114" y="206"/>
                    </a:lnTo>
                    <a:lnTo>
                      <a:pt x="106" y="222"/>
                    </a:lnTo>
                    <a:lnTo>
                      <a:pt x="122" y="230"/>
                    </a:lnTo>
                    <a:close/>
                    <a:moveTo>
                      <a:pt x="102" y="220"/>
                    </a:moveTo>
                    <a:lnTo>
                      <a:pt x="110" y="204"/>
                    </a:lnTo>
                    <a:lnTo>
                      <a:pt x="94" y="196"/>
                    </a:lnTo>
                    <a:lnTo>
                      <a:pt x="84" y="212"/>
                    </a:lnTo>
                    <a:lnTo>
                      <a:pt x="102" y="220"/>
                    </a:lnTo>
                    <a:close/>
                    <a:moveTo>
                      <a:pt x="80" y="210"/>
                    </a:moveTo>
                    <a:lnTo>
                      <a:pt x="88" y="194"/>
                    </a:lnTo>
                    <a:lnTo>
                      <a:pt x="72" y="184"/>
                    </a:lnTo>
                    <a:lnTo>
                      <a:pt x="64" y="202"/>
                    </a:lnTo>
                    <a:lnTo>
                      <a:pt x="80" y="210"/>
                    </a:lnTo>
                    <a:close/>
                    <a:moveTo>
                      <a:pt x="134" y="262"/>
                    </a:moveTo>
                    <a:lnTo>
                      <a:pt x="142" y="246"/>
                    </a:lnTo>
                    <a:lnTo>
                      <a:pt x="126" y="238"/>
                    </a:lnTo>
                    <a:lnTo>
                      <a:pt x="118" y="254"/>
                    </a:lnTo>
                    <a:lnTo>
                      <a:pt x="134" y="262"/>
                    </a:lnTo>
                    <a:close/>
                    <a:moveTo>
                      <a:pt x="114" y="252"/>
                    </a:moveTo>
                    <a:lnTo>
                      <a:pt x="120" y="236"/>
                    </a:lnTo>
                    <a:lnTo>
                      <a:pt x="104" y="228"/>
                    </a:lnTo>
                    <a:lnTo>
                      <a:pt x="96" y="244"/>
                    </a:lnTo>
                    <a:lnTo>
                      <a:pt x="114" y="252"/>
                    </a:lnTo>
                    <a:close/>
                    <a:moveTo>
                      <a:pt x="92" y="242"/>
                    </a:moveTo>
                    <a:lnTo>
                      <a:pt x="98" y="226"/>
                    </a:lnTo>
                    <a:lnTo>
                      <a:pt x="82" y="218"/>
                    </a:lnTo>
                    <a:lnTo>
                      <a:pt x="74" y="234"/>
                    </a:lnTo>
                    <a:lnTo>
                      <a:pt x="92" y="242"/>
                    </a:lnTo>
                    <a:close/>
                    <a:moveTo>
                      <a:pt x="70" y="232"/>
                    </a:moveTo>
                    <a:lnTo>
                      <a:pt x="76" y="214"/>
                    </a:lnTo>
                    <a:lnTo>
                      <a:pt x="60" y="206"/>
                    </a:lnTo>
                    <a:lnTo>
                      <a:pt x="52" y="224"/>
                    </a:lnTo>
                    <a:lnTo>
                      <a:pt x="70" y="232"/>
                    </a:lnTo>
                    <a:close/>
                    <a:moveTo>
                      <a:pt x="126" y="282"/>
                    </a:moveTo>
                    <a:lnTo>
                      <a:pt x="132" y="266"/>
                    </a:lnTo>
                    <a:lnTo>
                      <a:pt x="116" y="258"/>
                    </a:lnTo>
                    <a:lnTo>
                      <a:pt x="110" y="274"/>
                    </a:lnTo>
                    <a:lnTo>
                      <a:pt x="126" y="282"/>
                    </a:lnTo>
                    <a:close/>
                    <a:moveTo>
                      <a:pt x="104" y="272"/>
                    </a:moveTo>
                    <a:lnTo>
                      <a:pt x="112" y="256"/>
                    </a:lnTo>
                    <a:lnTo>
                      <a:pt x="94" y="248"/>
                    </a:lnTo>
                    <a:lnTo>
                      <a:pt x="88" y="266"/>
                    </a:lnTo>
                    <a:lnTo>
                      <a:pt x="104" y="272"/>
                    </a:lnTo>
                    <a:close/>
                    <a:moveTo>
                      <a:pt x="82" y="262"/>
                    </a:moveTo>
                    <a:lnTo>
                      <a:pt x="90" y="246"/>
                    </a:lnTo>
                    <a:lnTo>
                      <a:pt x="72" y="240"/>
                    </a:lnTo>
                    <a:lnTo>
                      <a:pt x="64" y="256"/>
                    </a:lnTo>
                    <a:lnTo>
                      <a:pt x="82" y="262"/>
                    </a:lnTo>
                    <a:close/>
                    <a:moveTo>
                      <a:pt x="60" y="254"/>
                    </a:moveTo>
                    <a:lnTo>
                      <a:pt x="68" y="236"/>
                    </a:lnTo>
                    <a:lnTo>
                      <a:pt x="50" y="230"/>
                    </a:lnTo>
                    <a:lnTo>
                      <a:pt x="42" y="246"/>
                    </a:lnTo>
                    <a:lnTo>
                      <a:pt x="60" y="254"/>
                    </a:lnTo>
                    <a:close/>
                    <a:moveTo>
                      <a:pt x="116" y="304"/>
                    </a:moveTo>
                    <a:lnTo>
                      <a:pt x="124" y="286"/>
                    </a:lnTo>
                    <a:lnTo>
                      <a:pt x="108" y="280"/>
                    </a:lnTo>
                    <a:lnTo>
                      <a:pt x="100" y="298"/>
                    </a:lnTo>
                    <a:lnTo>
                      <a:pt x="116" y="304"/>
                    </a:lnTo>
                    <a:close/>
                    <a:moveTo>
                      <a:pt x="94" y="296"/>
                    </a:moveTo>
                    <a:lnTo>
                      <a:pt x="102" y="278"/>
                    </a:lnTo>
                    <a:lnTo>
                      <a:pt x="86" y="270"/>
                    </a:lnTo>
                    <a:lnTo>
                      <a:pt x="78" y="290"/>
                    </a:lnTo>
                    <a:lnTo>
                      <a:pt x="94" y="296"/>
                    </a:lnTo>
                    <a:close/>
                    <a:moveTo>
                      <a:pt x="72" y="288"/>
                    </a:moveTo>
                    <a:lnTo>
                      <a:pt x="80" y="268"/>
                    </a:lnTo>
                    <a:lnTo>
                      <a:pt x="62" y="262"/>
                    </a:lnTo>
                    <a:lnTo>
                      <a:pt x="56" y="280"/>
                    </a:lnTo>
                    <a:lnTo>
                      <a:pt x="72" y="288"/>
                    </a:lnTo>
                    <a:close/>
                    <a:moveTo>
                      <a:pt x="50" y="278"/>
                    </a:moveTo>
                    <a:lnTo>
                      <a:pt x="58" y="258"/>
                    </a:lnTo>
                    <a:lnTo>
                      <a:pt x="40" y="252"/>
                    </a:lnTo>
                    <a:lnTo>
                      <a:pt x="32" y="272"/>
                    </a:lnTo>
                    <a:lnTo>
                      <a:pt x="50" y="27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 60">
                <a:extLst>
                  <a:ext uri="{FF2B5EF4-FFF2-40B4-BE49-F238E27FC236}">
                    <a16:creationId xmlns:a16="http://schemas.microsoft.com/office/drawing/2014/main" id="{DAE6380B-55C1-4146-927D-B7A148A5E6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44639" y="2220913"/>
                <a:ext cx="352425" cy="374650"/>
              </a:xfrm>
              <a:custGeom>
                <a:avLst/>
                <a:gdLst>
                  <a:gd name="T0" fmla="*/ 222 w 222"/>
                  <a:gd name="T1" fmla="*/ 188 h 236"/>
                  <a:gd name="T2" fmla="*/ 126 w 222"/>
                  <a:gd name="T3" fmla="*/ 74 h 236"/>
                  <a:gd name="T4" fmla="*/ 120 w 222"/>
                  <a:gd name="T5" fmla="*/ 80 h 236"/>
                  <a:gd name="T6" fmla="*/ 92 w 222"/>
                  <a:gd name="T7" fmla="*/ 46 h 236"/>
                  <a:gd name="T8" fmla="*/ 88 w 222"/>
                  <a:gd name="T9" fmla="*/ 50 h 236"/>
                  <a:gd name="T10" fmla="*/ 64 w 222"/>
                  <a:gd name="T11" fmla="*/ 24 h 236"/>
                  <a:gd name="T12" fmla="*/ 58 w 222"/>
                  <a:gd name="T13" fmla="*/ 28 h 236"/>
                  <a:gd name="T14" fmla="*/ 48 w 222"/>
                  <a:gd name="T15" fmla="*/ 16 h 236"/>
                  <a:gd name="T16" fmla="*/ 48 w 222"/>
                  <a:gd name="T17" fmla="*/ 16 h 236"/>
                  <a:gd name="T18" fmla="*/ 44 w 222"/>
                  <a:gd name="T19" fmla="*/ 12 h 236"/>
                  <a:gd name="T20" fmla="*/ 36 w 222"/>
                  <a:gd name="T21" fmla="*/ 12 h 236"/>
                  <a:gd name="T22" fmla="*/ 28 w 222"/>
                  <a:gd name="T23" fmla="*/ 14 h 236"/>
                  <a:gd name="T24" fmla="*/ 20 w 222"/>
                  <a:gd name="T25" fmla="*/ 18 h 236"/>
                  <a:gd name="T26" fmla="*/ 4 w 222"/>
                  <a:gd name="T27" fmla="*/ 2 h 236"/>
                  <a:gd name="T28" fmla="*/ 4 w 222"/>
                  <a:gd name="T29" fmla="*/ 2 h 236"/>
                  <a:gd name="T30" fmla="*/ 2 w 222"/>
                  <a:gd name="T31" fmla="*/ 0 h 236"/>
                  <a:gd name="T32" fmla="*/ 0 w 222"/>
                  <a:gd name="T33" fmla="*/ 2 h 236"/>
                  <a:gd name="T34" fmla="*/ 0 w 222"/>
                  <a:gd name="T35" fmla="*/ 2 h 236"/>
                  <a:gd name="T36" fmla="*/ 0 w 222"/>
                  <a:gd name="T37" fmla="*/ 4 h 236"/>
                  <a:gd name="T38" fmla="*/ 0 w 222"/>
                  <a:gd name="T39" fmla="*/ 4 h 236"/>
                  <a:gd name="T40" fmla="*/ 16 w 222"/>
                  <a:gd name="T41" fmla="*/ 22 h 236"/>
                  <a:gd name="T42" fmla="*/ 16 w 222"/>
                  <a:gd name="T43" fmla="*/ 22 h 236"/>
                  <a:gd name="T44" fmla="*/ 10 w 222"/>
                  <a:gd name="T45" fmla="*/ 30 h 236"/>
                  <a:gd name="T46" fmla="*/ 8 w 222"/>
                  <a:gd name="T47" fmla="*/ 38 h 236"/>
                  <a:gd name="T48" fmla="*/ 8 w 222"/>
                  <a:gd name="T49" fmla="*/ 44 h 236"/>
                  <a:gd name="T50" fmla="*/ 12 w 222"/>
                  <a:gd name="T51" fmla="*/ 50 h 236"/>
                  <a:gd name="T52" fmla="*/ 22 w 222"/>
                  <a:gd name="T53" fmla="*/ 62 h 236"/>
                  <a:gd name="T54" fmla="*/ 18 w 222"/>
                  <a:gd name="T55" fmla="*/ 66 h 236"/>
                  <a:gd name="T56" fmla="*/ 42 w 222"/>
                  <a:gd name="T57" fmla="*/ 92 h 236"/>
                  <a:gd name="T58" fmla="*/ 38 w 222"/>
                  <a:gd name="T59" fmla="*/ 96 h 236"/>
                  <a:gd name="T60" fmla="*/ 68 w 222"/>
                  <a:gd name="T61" fmla="*/ 126 h 236"/>
                  <a:gd name="T62" fmla="*/ 62 w 222"/>
                  <a:gd name="T63" fmla="*/ 132 h 236"/>
                  <a:gd name="T64" fmla="*/ 168 w 222"/>
                  <a:gd name="T65" fmla="*/ 236 h 236"/>
                  <a:gd name="T66" fmla="*/ 168 w 222"/>
                  <a:gd name="T67" fmla="*/ 236 h 236"/>
                  <a:gd name="T68" fmla="*/ 194 w 222"/>
                  <a:gd name="T69" fmla="*/ 212 h 236"/>
                  <a:gd name="T70" fmla="*/ 222 w 222"/>
                  <a:gd name="T71" fmla="*/ 188 h 236"/>
                  <a:gd name="T72" fmla="*/ 222 w 222"/>
                  <a:gd name="T73" fmla="*/ 18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22" h="236">
                    <a:moveTo>
                      <a:pt x="222" y="188"/>
                    </a:moveTo>
                    <a:lnTo>
                      <a:pt x="126" y="74"/>
                    </a:lnTo>
                    <a:lnTo>
                      <a:pt x="120" y="80"/>
                    </a:lnTo>
                    <a:lnTo>
                      <a:pt x="92" y="46"/>
                    </a:lnTo>
                    <a:lnTo>
                      <a:pt x="88" y="50"/>
                    </a:lnTo>
                    <a:lnTo>
                      <a:pt x="64" y="24"/>
                    </a:lnTo>
                    <a:lnTo>
                      <a:pt x="58" y="28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2"/>
                    </a:lnTo>
                    <a:lnTo>
                      <a:pt x="36" y="12"/>
                    </a:lnTo>
                    <a:lnTo>
                      <a:pt x="28" y="14"/>
                    </a:lnTo>
                    <a:lnTo>
                      <a:pt x="20" y="18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0" y="30"/>
                    </a:lnTo>
                    <a:lnTo>
                      <a:pt x="8" y="38"/>
                    </a:lnTo>
                    <a:lnTo>
                      <a:pt x="8" y="44"/>
                    </a:lnTo>
                    <a:lnTo>
                      <a:pt x="12" y="50"/>
                    </a:lnTo>
                    <a:lnTo>
                      <a:pt x="22" y="62"/>
                    </a:lnTo>
                    <a:lnTo>
                      <a:pt x="18" y="66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68" y="126"/>
                    </a:lnTo>
                    <a:lnTo>
                      <a:pt x="62" y="132"/>
                    </a:lnTo>
                    <a:lnTo>
                      <a:pt x="168" y="236"/>
                    </a:lnTo>
                    <a:lnTo>
                      <a:pt x="168" y="236"/>
                    </a:lnTo>
                    <a:lnTo>
                      <a:pt x="194" y="212"/>
                    </a:lnTo>
                    <a:lnTo>
                      <a:pt x="222" y="188"/>
                    </a:lnTo>
                    <a:lnTo>
                      <a:pt x="222" y="18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 61">
                <a:extLst>
                  <a:ext uri="{FF2B5EF4-FFF2-40B4-BE49-F238E27FC236}">
                    <a16:creationId xmlns:a16="http://schemas.microsoft.com/office/drawing/2014/main" id="{279C86C1-935F-D047-8CF5-9009CDF33E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7714" y="1747838"/>
                <a:ext cx="631825" cy="558800"/>
              </a:xfrm>
              <a:custGeom>
                <a:avLst/>
                <a:gdLst>
                  <a:gd name="T0" fmla="*/ 164 w 398"/>
                  <a:gd name="T1" fmla="*/ 344 h 352"/>
                  <a:gd name="T2" fmla="*/ 144 w 398"/>
                  <a:gd name="T3" fmla="*/ 216 h 352"/>
                  <a:gd name="T4" fmla="*/ 150 w 398"/>
                  <a:gd name="T5" fmla="*/ 100 h 352"/>
                  <a:gd name="T6" fmla="*/ 42 w 398"/>
                  <a:gd name="T7" fmla="*/ 78 h 352"/>
                  <a:gd name="T8" fmla="*/ 36 w 398"/>
                  <a:gd name="T9" fmla="*/ 186 h 352"/>
                  <a:gd name="T10" fmla="*/ 98 w 398"/>
                  <a:gd name="T11" fmla="*/ 312 h 352"/>
                  <a:gd name="T12" fmla="*/ 114 w 398"/>
                  <a:gd name="T13" fmla="*/ 344 h 352"/>
                  <a:gd name="T14" fmla="*/ 96 w 398"/>
                  <a:gd name="T15" fmla="*/ 334 h 352"/>
                  <a:gd name="T16" fmla="*/ 40 w 398"/>
                  <a:gd name="T17" fmla="*/ 202 h 352"/>
                  <a:gd name="T18" fmla="*/ 32 w 398"/>
                  <a:gd name="T19" fmla="*/ 184 h 352"/>
                  <a:gd name="T20" fmla="*/ 0 w 398"/>
                  <a:gd name="T21" fmla="*/ 74 h 352"/>
                  <a:gd name="T22" fmla="*/ 48 w 398"/>
                  <a:gd name="T23" fmla="*/ 42 h 352"/>
                  <a:gd name="T24" fmla="*/ 296 w 398"/>
                  <a:gd name="T25" fmla="*/ 106 h 352"/>
                  <a:gd name="T26" fmla="*/ 308 w 398"/>
                  <a:gd name="T27" fmla="*/ 140 h 352"/>
                  <a:gd name="T28" fmla="*/ 378 w 398"/>
                  <a:gd name="T29" fmla="*/ 152 h 352"/>
                  <a:gd name="T30" fmla="*/ 382 w 398"/>
                  <a:gd name="T31" fmla="*/ 194 h 352"/>
                  <a:gd name="T32" fmla="*/ 368 w 398"/>
                  <a:gd name="T33" fmla="*/ 226 h 352"/>
                  <a:gd name="T34" fmla="*/ 88 w 398"/>
                  <a:gd name="T35" fmla="*/ 318 h 352"/>
                  <a:gd name="T36" fmla="*/ 102 w 398"/>
                  <a:gd name="T37" fmla="*/ 350 h 352"/>
                  <a:gd name="T38" fmla="*/ 104 w 398"/>
                  <a:gd name="T39" fmla="*/ 334 h 352"/>
                  <a:gd name="T40" fmla="*/ 100 w 398"/>
                  <a:gd name="T41" fmla="*/ 332 h 352"/>
                  <a:gd name="T42" fmla="*/ 104 w 398"/>
                  <a:gd name="T43" fmla="*/ 330 h 352"/>
                  <a:gd name="T44" fmla="*/ 96 w 398"/>
                  <a:gd name="T45" fmla="*/ 314 h 352"/>
                  <a:gd name="T46" fmla="*/ 86 w 398"/>
                  <a:gd name="T47" fmla="*/ 316 h 352"/>
                  <a:gd name="T48" fmla="*/ 32 w 398"/>
                  <a:gd name="T49" fmla="*/ 188 h 352"/>
                  <a:gd name="T50" fmla="*/ 30 w 398"/>
                  <a:gd name="T51" fmla="*/ 184 h 352"/>
                  <a:gd name="T52" fmla="*/ 360 w 398"/>
                  <a:gd name="T53" fmla="*/ 226 h 352"/>
                  <a:gd name="T54" fmla="*/ 386 w 398"/>
                  <a:gd name="T55" fmla="*/ 212 h 352"/>
                  <a:gd name="T56" fmla="*/ 382 w 398"/>
                  <a:gd name="T57" fmla="*/ 194 h 352"/>
                  <a:gd name="T58" fmla="*/ 366 w 398"/>
                  <a:gd name="T59" fmla="*/ 184 h 352"/>
                  <a:gd name="T60" fmla="*/ 352 w 398"/>
                  <a:gd name="T61" fmla="*/ 214 h 352"/>
                  <a:gd name="T62" fmla="*/ 364 w 398"/>
                  <a:gd name="T63" fmla="*/ 196 h 352"/>
                  <a:gd name="T64" fmla="*/ 382 w 398"/>
                  <a:gd name="T65" fmla="*/ 176 h 352"/>
                  <a:gd name="T66" fmla="*/ 338 w 398"/>
                  <a:gd name="T67" fmla="*/ 208 h 352"/>
                  <a:gd name="T68" fmla="*/ 322 w 398"/>
                  <a:gd name="T69" fmla="*/ 172 h 352"/>
                  <a:gd name="T70" fmla="*/ 378 w 398"/>
                  <a:gd name="T71" fmla="*/ 154 h 352"/>
                  <a:gd name="T72" fmla="*/ 348 w 398"/>
                  <a:gd name="T73" fmla="*/ 234 h 352"/>
                  <a:gd name="T74" fmla="*/ 314 w 398"/>
                  <a:gd name="T75" fmla="*/ 196 h 352"/>
                  <a:gd name="T76" fmla="*/ 294 w 398"/>
                  <a:gd name="T77" fmla="*/ 178 h 352"/>
                  <a:gd name="T78" fmla="*/ 312 w 398"/>
                  <a:gd name="T79" fmla="*/ 156 h 352"/>
                  <a:gd name="T80" fmla="*/ 318 w 398"/>
                  <a:gd name="T81" fmla="*/ 174 h 352"/>
                  <a:gd name="T82" fmla="*/ 340 w 398"/>
                  <a:gd name="T83" fmla="*/ 222 h 352"/>
                  <a:gd name="T84" fmla="*/ 342 w 398"/>
                  <a:gd name="T85" fmla="*/ 224 h 352"/>
                  <a:gd name="T86" fmla="*/ 344 w 398"/>
                  <a:gd name="T87" fmla="*/ 238 h 352"/>
                  <a:gd name="T88" fmla="*/ 312 w 398"/>
                  <a:gd name="T89" fmla="*/ 152 h 352"/>
                  <a:gd name="T90" fmla="*/ 284 w 398"/>
                  <a:gd name="T91" fmla="*/ 116 h 352"/>
                  <a:gd name="T92" fmla="*/ 286 w 398"/>
                  <a:gd name="T93" fmla="*/ 102 h 352"/>
                  <a:gd name="T94" fmla="*/ 14 w 398"/>
                  <a:gd name="T95" fmla="*/ 116 h 352"/>
                  <a:gd name="T96" fmla="*/ 22 w 398"/>
                  <a:gd name="T97" fmla="*/ 80 h 352"/>
                  <a:gd name="T98" fmla="*/ 22 w 398"/>
                  <a:gd name="T99" fmla="*/ 48 h 352"/>
                  <a:gd name="T100" fmla="*/ 164 w 398"/>
                  <a:gd name="T101" fmla="*/ 154 h 352"/>
                  <a:gd name="T102" fmla="*/ 166 w 398"/>
                  <a:gd name="T103" fmla="*/ 220 h 352"/>
                  <a:gd name="T104" fmla="*/ 302 w 398"/>
                  <a:gd name="T105" fmla="*/ 234 h 352"/>
                  <a:gd name="T106" fmla="*/ 312 w 398"/>
                  <a:gd name="T107" fmla="*/ 160 h 352"/>
                  <a:gd name="T108" fmla="*/ 288 w 398"/>
                  <a:gd name="T109" fmla="*/ 134 h 352"/>
                  <a:gd name="T110" fmla="*/ 224 w 398"/>
                  <a:gd name="T111" fmla="*/ 90 h 352"/>
                  <a:gd name="T112" fmla="*/ 174 w 398"/>
                  <a:gd name="T113" fmla="*/ 94 h 352"/>
                  <a:gd name="T114" fmla="*/ 244 w 398"/>
                  <a:gd name="T115" fmla="*/ 198 h 352"/>
                  <a:gd name="T116" fmla="*/ 306 w 398"/>
                  <a:gd name="T117" fmla="*/ 232 h 352"/>
                  <a:gd name="T118" fmla="*/ 352 w 398"/>
                  <a:gd name="T119" fmla="*/ 254 h 352"/>
                  <a:gd name="T120" fmla="*/ 366 w 398"/>
                  <a:gd name="T121" fmla="*/ 278 h 352"/>
                  <a:gd name="T122" fmla="*/ 348 w 398"/>
                  <a:gd name="T123" fmla="*/ 218 h 352"/>
                  <a:gd name="T124" fmla="*/ 350 w 398"/>
                  <a:gd name="T125" fmla="*/ 248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8" h="352">
                    <a:moveTo>
                      <a:pt x="398" y="294"/>
                    </a:moveTo>
                    <a:lnTo>
                      <a:pt x="398" y="296"/>
                    </a:lnTo>
                    <a:lnTo>
                      <a:pt x="398" y="296"/>
                    </a:lnTo>
                    <a:lnTo>
                      <a:pt x="336" y="302"/>
                    </a:lnTo>
                    <a:lnTo>
                      <a:pt x="276" y="314"/>
                    </a:lnTo>
                    <a:lnTo>
                      <a:pt x="218" y="328"/>
                    </a:lnTo>
                    <a:lnTo>
                      <a:pt x="160" y="348"/>
                    </a:lnTo>
                    <a:lnTo>
                      <a:pt x="160" y="348"/>
                    </a:lnTo>
                    <a:lnTo>
                      <a:pt x="160" y="346"/>
                    </a:lnTo>
                    <a:lnTo>
                      <a:pt x="164" y="344"/>
                    </a:lnTo>
                    <a:lnTo>
                      <a:pt x="164" y="344"/>
                    </a:lnTo>
                    <a:lnTo>
                      <a:pt x="158" y="284"/>
                    </a:lnTo>
                    <a:lnTo>
                      <a:pt x="154" y="224"/>
                    </a:lnTo>
                    <a:lnTo>
                      <a:pt x="150" y="226"/>
                    </a:lnTo>
                    <a:lnTo>
                      <a:pt x="150" y="226"/>
                    </a:lnTo>
                    <a:lnTo>
                      <a:pt x="150" y="224"/>
                    </a:lnTo>
                    <a:lnTo>
                      <a:pt x="146" y="216"/>
                    </a:lnTo>
                    <a:lnTo>
                      <a:pt x="144" y="218"/>
                    </a:lnTo>
                    <a:lnTo>
                      <a:pt x="144" y="218"/>
                    </a:lnTo>
                    <a:lnTo>
                      <a:pt x="144" y="216"/>
                    </a:lnTo>
                    <a:lnTo>
                      <a:pt x="142" y="212"/>
                    </a:lnTo>
                    <a:lnTo>
                      <a:pt x="142" y="212"/>
                    </a:lnTo>
                    <a:lnTo>
                      <a:pt x="142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2" y="154"/>
                    </a:lnTo>
                    <a:lnTo>
                      <a:pt x="152" y="100"/>
                    </a:lnTo>
                    <a:lnTo>
                      <a:pt x="152" y="100"/>
                    </a:lnTo>
                    <a:lnTo>
                      <a:pt x="150" y="100"/>
                    </a:lnTo>
                    <a:lnTo>
                      <a:pt x="150" y="100"/>
                    </a:lnTo>
                    <a:lnTo>
                      <a:pt x="148" y="96"/>
                    </a:lnTo>
                    <a:lnTo>
                      <a:pt x="148" y="94"/>
                    </a:lnTo>
                    <a:lnTo>
                      <a:pt x="150" y="94"/>
                    </a:lnTo>
                    <a:lnTo>
                      <a:pt x="154" y="92"/>
                    </a:lnTo>
                    <a:lnTo>
                      <a:pt x="156" y="84"/>
                    </a:lnTo>
                    <a:lnTo>
                      <a:pt x="156" y="84"/>
                    </a:lnTo>
                    <a:lnTo>
                      <a:pt x="160" y="82"/>
                    </a:lnTo>
                    <a:lnTo>
                      <a:pt x="160" y="82"/>
                    </a:lnTo>
                    <a:lnTo>
                      <a:pt x="100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2" y="112"/>
                    </a:lnTo>
                    <a:lnTo>
                      <a:pt x="26" y="146"/>
                    </a:lnTo>
                    <a:lnTo>
                      <a:pt x="26" y="146"/>
                    </a:lnTo>
                    <a:lnTo>
                      <a:pt x="18" y="152"/>
                    </a:lnTo>
                    <a:lnTo>
                      <a:pt x="32" y="182"/>
                    </a:lnTo>
                    <a:lnTo>
                      <a:pt x="34" y="182"/>
                    </a:lnTo>
                    <a:lnTo>
                      <a:pt x="34" y="182"/>
                    </a:lnTo>
                    <a:lnTo>
                      <a:pt x="34" y="182"/>
                    </a:lnTo>
                    <a:lnTo>
                      <a:pt x="36" y="186"/>
                    </a:lnTo>
                    <a:lnTo>
                      <a:pt x="40" y="184"/>
                    </a:lnTo>
                    <a:lnTo>
                      <a:pt x="40" y="184"/>
                    </a:lnTo>
                    <a:lnTo>
                      <a:pt x="40" y="184"/>
                    </a:lnTo>
                    <a:lnTo>
                      <a:pt x="44" y="200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92" y="312"/>
                    </a:lnTo>
                    <a:lnTo>
                      <a:pt x="92" y="312"/>
                    </a:lnTo>
                    <a:lnTo>
                      <a:pt x="94" y="310"/>
                    </a:lnTo>
                    <a:lnTo>
                      <a:pt x="98" y="312"/>
                    </a:lnTo>
                    <a:lnTo>
                      <a:pt x="98" y="312"/>
                    </a:lnTo>
                    <a:lnTo>
                      <a:pt x="100" y="318"/>
                    </a:lnTo>
                    <a:lnTo>
                      <a:pt x="100" y="318"/>
                    </a:lnTo>
                    <a:lnTo>
                      <a:pt x="100" y="320"/>
                    </a:lnTo>
                    <a:lnTo>
                      <a:pt x="96" y="322"/>
                    </a:lnTo>
                    <a:lnTo>
                      <a:pt x="100" y="330"/>
                    </a:lnTo>
                    <a:lnTo>
                      <a:pt x="100" y="330"/>
                    </a:lnTo>
                    <a:lnTo>
                      <a:pt x="104" y="330"/>
                    </a:lnTo>
                    <a:lnTo>
                      <a:pt x="106" y="330"/>
                    </a:lnTo>
                    <a:lnTo>
                      <a:pt x="114" y="344"/>
                    </a:lnTo>
                    <a:lnTo>
                      <a:pt x="114" y="344"/>
                    </a:lnTo>
                    <a:lnTo>
                      <a:pt x="112" y="348"/>
                    </a:lnTo>
                    <a:lnTo>
                      <a:pt x="108" y="350"/>
                    </a:lnTo>
                    <a:lnTo>
                      <a:pt x="108" y="350"/>
                    </a:lnTo>
                    <a:lnTo>
                      <a:pt x="104" y="352"/>
                    </a:lnTo>
                    <a:lnTo>
                      <a:pt x="100" y="350"/>
                    </a:lnTo>
                    <a:lnTo>
                      <a:pt x="94" y="336"/>
                    </a:lnTo>
                    <a:lnTo>
                      <a:pt x="94" y="336"/>
                    </a:lnTo>
                    <a:lnTo>
                      <a:pt x="94" y="336"/>
                    </a:lnTo>
                    <a:lnTo>
                      <a:pt x="96" y="334"/>
                    </a:lnTo>
                    <a:lnTo>
                      <a:pt x="98" y="332"/>
                    </a:lnTo>
                    <a:lnTo>
                      <a:pt x="96" y="322"/>
                    </a:lnTo>
                    <a:lnTo>
                      <a:pt x="96" y="322"/>
                    </a:lnTo>
                    <a:lnTo>
                      <a:pt x="92" y="324"/>
                    </a:lnTo>
                    <a:lnTo>
                      <a:pt x="88" y="322"/>
                    </a:lnTo>
                    <a:lnTo>
                      <a:pt x="86" y="316"/>
                    </a:lnTo>
                    <a:lnTo>
                      <a:pt x="86" y="316"/>
                    </a:lnTo>
                    <a:lnTo>
                      <a:pt x="86" y="314"/>
                    </a:lnTo>
                    <a:lnTo>
                      <a:pt x="90" y="312"/>
                    </a:lnTo>
                    <a:lnTo>
                      <a:pt x="40" y="202"/>
                    </a:lnTo>
                    <a:lnTo>
                      <a:pt x="38" y="204"/>
                    </a:lnTo>
                    <a:lnTo>
                      <a:pt x="38" y="204"/>
                    </a:lnTo>
                    <a:lnTo>
                      <a:pt x="28" y="190"/>
                    </a:lnTo>
                    <a:lnTo>
                      <a:pt x="28" y="190"/>
                    </a:lnTo>
                    <a:lnTo>
                      <a:pt x="28" y="190"/>
                    </a:lnTo>
                    <a:lnTo>
                      <a:pt x="32" y="188"/>
                    </a:lnTo>
                    <a:lnTo>
                      <a:pt x="30" y="184"/>
                    </a:lnTo>
                    <a:lnTo>
                      <a:pt x="30" y="184"/>
                    </a:lnTo>
                    <a:lnTo>
                      <a:pt x="30" y="184"/>
                    </a:lnTo>
                    <a:lnTo>
                      <a:pt x="32" y="184"/>
                    </a:lnTo>
                    <a:lnTo>
                      <a:pt x="18" y="152"/>
                    </a:lnTo>
                    <a:lnTo>
                      <a:pt x="14" y="154"/>
                    </a:lnTo>
                    <a:lnTo>
                      <a:pt x="14" y="156"/>
                    </a:lnTo>
                    <a:lnTo>
                      <a:pt x="12" y="156"/>
                    </a:lnTo>
                    <a:lnTo>
                      <a:pt x="12" y="154"/>
                    </a:lnTo>
                    <a:lnTo>
                      <a:pt x="4" y="134"/>
                    </a:lnTo>
                    <a:lnTo>
                      <a:pt x="4" y="134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26" y="12"/>
                    </a:lnTo>
                    <a:lnTo>
                      <a:pt x="26" y="1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114" y="42"/>
                    </a:lnTo>
                    <a:lnTo>
                      <a:pt x="182" y="48"/>
                    </a:lnTo>
                    <a:lnTo>
                      <a:pt x="246" y="58"/>
                    </a:lnTo>
                    <a:lnTo>
                      <a:pt x="308" y="72"/>
                    </a:lnTo>
                    <a:lnTo>
                      <a:pt x="308" y="72"/>
                    </a:lnTo>
                    <a:lnTo>
                      <a:pt x="308" y="72"/>
                    </a:lnTo>
                    <a:lnTo>
                      <a:pt x="296" y="104"/>
                    </a:lnTo>
                    <a:lnTo>
                      <a:pt x="296" y="106"/>
                    </a:lnTo>
                    <a:lnTo>
                      <a:pt x="296" y="106"/>
                    </a:lnTo>
                    <a:lnTo>
                      <a:pt x="288" y="104"/>
                    </a:lnTo>
                    <a:lnTo>
                      <a:pt x="290" y="112"/>
                    </a:lnTo>
                    <a:lnTo>
                      <a:pt x="294" y="110"/>
                    </a:lnTo>
                    <a:lnTo>
                      <a:pt x="296" y="110"/>
                    </a:lnTo>
                    <a:lnTo>
                      <a:pt x="304" y="126"/>
                    </a:lnTo>
                    <a:lnTo>
                      <a:pt x="304" y="126"/>
                    </a:lnTo>
                    <a:lnTo>
                      <a:pt x="304" y="126"/>
                    </a:lnTo>
                    <a:lnTo>
                      <a:pt x="300" y="128"/>
                    </a:lnTo>
                    <a:lnTo>
                      <a:pt x="308" y="140"/>
                    </a:lnTo>
                    <a:lnTo>
                      <a:pt x="308" y="140"/>
                    </a:lnTo>
                    <a:lnTo>
                      <a:pt x="308" y="140"/>
                    </a:lnTo>
                    <a:lnTo>
                      <a:pt x="314" y="156"/>
                    </a:lnTo>
                    <a:lnTo>
                      <a:pt x="314" y="156"/>
                    </a:lnTo>
                    <a:lnTo>
                      <a:pt x="314" y="156"/>
                    </a:lnTo>
                    <a:lnTo>
                      <a:pt x="316" y="160"/>
                    </a:lnTo>
                    <a:lnTo>
                      <a:pt x="316" y="160"/>
                    </a:lnTo>
                    <a:lnTo>
                      <a:pt x="346" y="156"/>
                    </a:lnTo>
                    <a:lnTo>
                      <a:pt x="378" y="152"/>
                    </a:lnTo>
                    <a:lnTo>
                      <a:pt x="378" y="152"/>
                    </a:lnTo>
                    <a:lnTo>
                      <a:pt x="378" y="154"/>
                    </a:lnTo>
                    <a:lnTo>
                      <a:pt x="380" y="160"/>
                    </a:lnTo>
                    <a:lnTo>
                      <a:pt x="382" y="160"/>
                    </a:lnTo>
                    <a:lnTo>
                      <a:pt x="384" y="160"/>
                    </a:lnTo>
                    <a:lnTo>
                      <a:pt x="384" y="162"/>
                    </a:lnTo>
                    <a:lnTo>
                      <a:pt x="382" y="176"/>
                    </a:lnTo>
                    <a:lnTo>
                      <a:pt x="386" y="186"/>
                    </a:lnTo>
                    <a:lnTo>
                      <a:pt x="386" y="186"/>
                    </a:lnTo>
                    <a:lnTo>
                      <a:pt x="384" y="194"/>
                    </a:lnTo>
                    <a:lnTo>
                      <a:pt x="382" y="194"/>
                    </a:lnTo>
                    <a:lnTo>
                      <a:pt x="382" y="196"/>
                    </a:lnTo>
                    <a:lnTo>
                      <a:pt x="382" y="196"/>
                    </a:lnTo>
                    <a:lnTo>
                      <a:pt x="382" y="198"/>
                    </a:lnTo>
                    <a:lnTo>
                      <a:pt x="390" y="192"/>
                    </a:lnTo>
                    <a:lnTo>
                      <a:pt x="390" y="192"/>
                    </a:lnTo>
                    <a:lnTo>
                      <a:pt x="392" y="194"/>
                    </a:lnTo>
                    <a:lnTo>
                      <a:pt x="388" y="212"/>
                    </a:lnTo>
                    <a:lnTo>
                      <a:pt x="388" y="214"/>
                    </a:lnTo>
                    <a:lnTo>
                      <a:pt x="368" y="226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4" y="232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388" y="294"/>
                    </a:lnTo>
                    <a:lnTo>
                      <a:pt x="398" y="294"/>
                    </a:lnTo>
                    <a:lnTo>
                      <a:pt x="398" y="294"/>
                    </a:lnTo>
                    <a:close/>
                    <a:moveTo>
                      <a:pt x="90" y="316"/>
                    </a:moveTo>
                    <a:lnTo>
                      <a:pt x="88" y="318"/>
                    </a:lnTo>
                    <a:lnTo>
                      <a:pt x="90" y="322"/>
                    </a:lnTo>
                    <a:lnTo>
                      <a:pt x="90" y="322"/>
                    </a:lnTo>
                    <a:lnTo>
                      <a:pt x="92" y="322"/>
                    </a:lnTo>
                    <a:lnTo>
                      <a:pt x="94" y="322"/>
                    </a:lnTo>
                    <a:lnTo>
                      <a:pt x="90" y="316"/>
                    </a:lnTo>
                    <a:close/>
                    <a:moveTo>
                      <a:pt x="100" y="336"/>
                    </a:moveTo>
                    <a:lnTo>
                      <a:pt x="100" y="336"/>
                    </a:lnTo>
                    <a:lnTo>
                      <a:pt x="96" y="338"/>
                    </a:lnTo>
                    <a:lnTo>
                      <a:pt x="102" y="350"/>
                    </a:lnTo>
                    <a:lnTo>
                      <a:pt x="102" y="350"/>
                    </a:lnTo>
                    <a:lnTo>
                      <a:pt x="104" y="350"/>
                    </a:lnTo>
                    <a:lnTo>
                      <a:pt x="106" y="350"/>
                    </a:lnTo>
                    <a:lnTo>
                      <a:pt x="100" y="336"/>
                    </a:lnTo>
                    <a:close/>
                    <a:moveTo>
                      <a:pt x="104" y="334"/>
                    </a:moveTo>
                    <a:lnTo>
                      <a:pt x="102" y="336"/>
                    </a:lnTo>
                    <a:lnTo>
                      <a:pt x="100" y="336"/>
                    </a:lnTo>
                    <a:lnTo>
                      <a:pt x="106" y="350"/>
                    </a:lnTo>
                    <a:lnTo>
                      <a:pt x="108" y="350"/>
                    </a:lnTo>
                    <a:lnTo>
                      <a:pt x="110" y="348"/>
                    </a:lnTo>
                    <a:lnTo>
                      <a:pt x="104" y="334"/>
                    </a:lnTo>
                    <a:close/>
                    <a:moveTo>
                      <a:pt x="106" y="332"/>
                    </a:moveTo>
                    <a:lnTo>
                      <a:pt x="104" y="334"/>
                    </a:lnTo>
                    <a:lnTo>
                      <a:pt x="110" y="348"/>
                    </a:lnTo>
                    <a:lnTo>
                      <a:pt x="112" y="348"/>
                    </a:lnTo>
                    <a:lnTo>
                      <a:pt x="112" y="344"/>
                    </a:lnTo>
                    <a:lnTo>
                      <a:pt x="106" y="332"/>
                    </a:lnTo>
                    <a:close/>
                    <a:moveTo>
                      <a:pt x="100" y="332"/>
                    </a:moveTo>
                    <a:lnTo>
                      <a:pt x="102" y="334"/>
                    </a:lnTo>
                    <a:lnTo>
                      <a:pt x="100" y="334"/>
                    </a:lnTo>
                    <a:lnTo>
                      <a:pt x="100" y="332"/>
                    </a:lnTo>
                    <a:lnTo>
                      <a:pt x="96" y="334"/>
                    </a:lnTo>
                    <a:lnTo>
                      <a:pt x="94" y="336"/>
                    </a:lnTo>
                    <a:lnTo>
                      <a:pt x="94" y="336"/>
                    </a:lnTo>
                    <a:lnTo>
                      <a:pt x="96" y="336"/>
                    </a:lnTo>
                    <a:lnTo>
                      <a:pt x="102" y="336"/>
                    </a:lnTo>
                    <a:lnTo>
                      <a:pt x="102" y="336"/>
                    </a:lnTo>
                    <a:lnTo>
                      <a:pt x="106" y="332"/>
                    </a:lnTo>
                    <a:lnTo>
                      <a:pt x="106" y="330"/>
                    </a:lnTo>
                    <a:lnTo>
                      <a:pt x="106" y="330"/>
                    </a:lnTo>
                    <a:lnTo>
                      <a:pt x="104" y="330"/>
                    </a:lnTo>
                    <a:lnTo>
                      <a:pt x="100" y="332"/>
                    </a:lnTo>
                    <a:close/>
                    <a:moveTo>
                      <a:pt x="94" y="316"/>
                    </a:moveTo>
                    <a:lnTo>
                      <a:pt x="92" y="316"/>
                    </a:lnTo>
                    <a:lnTo>
                      <a:pt x="92" y="316"/>
                    </a:lnTo>
                    <a:lnTo>
                      <a:pt x="94" y="322"/>
                    </a:lnTo>
                    <a:lnTo>
                      <a:pt x="96" y="322"/>
                    </a:lnTo>
                    <a:lnTo>
                      <a:pt x="98" y="320"/>
                    </a:lnTo>
                    <a:lnTo>
                      <a:pt x="94" y="316"/>
                    </a:lnTo>
                    <a:close/>
                    <a:moveTo>
                      <a:pt x="98" y="312"/>
                    </a:moveTo>
                    <a:lnTo>
                      <a:pt x="96" y="314"/>
                    </a:lnTo>
                    <a:lnTo>
                      <a:pt x="98" y="320"/>
                    </a:lnTo>
                    <a:lnTo>
                      <a:pt x="98" y="320"/>
                    </a:lnTo>
                    <a:lnTo>
                      <a:pt x="100" y="318"/>
                    </a:lnTo>
                    <a:lnTo>
                      <a:pt x="98" y="312"/>
                    </a:lnTo>
                    <a:close/>
                    <a:moveTo>
                      <a:pt x="92" y="312"/>
                    </a:moveTo>
                    <a:lnTo>
                      <a:pt x="92" y="314"/>
                    </a:lnTo>
                    <a:lnTo>
                      <a:pt x="92" y="314"/>
                    </a:lnTo>
                    <a:lnTo>
                      <a:pt x="90" y="312"/>
                    </a:lnTo>
                    <a:lnTo>
                      <a:pt x="88" y="314"/>
                    </a:lnTo>
                    <a:lnTo>
                      <a:pt x="86" y="316"/>
                    </a:lnTo>
                    <a:lnTo>
                      <a:pt x="86" y="316"/>
                    </a:lnTo>
                    <a:lnTo>
                      <a:pt x="88" y="316"/>
                    </a:lnTo>
                    <a:lnTo>
                      <a:pt x="92" y="316"/>
                    </a:lnTo>
                    <a:lnTo>
                      <a:pt x="96" y="314"/>
                    </a:lnTo>
                    <a:lnTo>
                      <a:pt x="96" y="312"/>
                    </a:lnTo>
                    <a:lnTo>
                      <a:pt x="96" y="312"/>
                    </a:lnTo>
                    <a:lnTo>
                      <a:pt x="94" y="312"/>
                    </a:lnTo>
                    <a:lnTo>
                      <a:pt x="92" y="312"/>
                    </a:lnTo>
                    <a:close/>
                    <a:moveTo>
                      <a:pt x="36" y="186"/>
                    </a:moveTo>
                    <a:lnTo>
                      <a:pt x="32" y="188"/>
                    </a:lnTo>
                    <a:lnTo>
                      <a:pt x="28" y="190"/>
                    </a:lnTo>
                    <a:lnTo>
                      <a:pt x="38" y="202"/>
                    </a:lnTo>
                    <a:lnTo>
                      <a:pt x="42" y="200"/>
                    </a:lnTo>
                    <a:lnTo>
                      <a:pt x="40" y="186"/>
                    </a:lnTo>
                    <a:lnTo>
                      <a:pt x="36" y="186"/>
                    </a:lnTo>
                    <a:close/>
                    <a:moveTo>
                      <a:pt x="30" y="184"/>
                    </a:moveTo>
                    <a:lnTo>
                      <a:pt x="32" y="188"/>
                    </a:lnTo>
                    <a:lnTo>
                      <a:pt x="36" y="186"/>
                    </a:lnTo>
                    <a:lnTo>
                      <a:pt x="34" y="182"/>
                    </a:lnTo>
                    <a:lnTo>
                      <a:pt x="30" y="184"/>
                    </a:lnTo>
                    <a:close/>
                    <a:moveTo>
                      <a:pt x="366" y="228"/>
                    </a:moveTo>
                    <a:lnTo>
                      <a:pt x="366" y="226"/>
                    </a:lnTo>
                    <a:lnTo>
                      <a:pt x="366" y="226"/>
                    </a:lnTo>
                    <a:lnTo>
                      <a:pt x="366" y="226"/>
                    </a:lnTo>
                    <a:lnTo>
                      <a:pt x="366" y="226"/>
                    </a:lnTo>
                    <a:lnTo>
                      <a:pt x="366" y="226"/>
                    </a:lnTo>
                    <a:lnTo>
                      <a:pt x="358" y="214"/>
                    </a:lnTo>
                    <a:lnTo>
                      <a:pt x="358" y="214"/>
                    </a:lnTo>
                    <a:lnTo>
                      <a:pt x="354" y="216"/>
                    </a:lnTo>
                    <a:lnTo>
                      <a:pt x="360" y="226"/>
                    </a:lnTo>
                    <a:lnTo>
                      <a:pt x="362" y="230"/>
                    </a:lnTo>
                    <a:lnTo>
                      <a:pt x="362" y="230"/>
                    </a:lnTo>
                    <a:lnTo>
                      <a:pt x="366" y="228"/>
                    </a:lnTo>
                    <a:close/>
                    <a:moveTo>
                      <a:pt x="382" y="200"/>
                    </a:moveTo>
                    <a:lnTo>
                      <a:pt x="382" y="200"/>
                    </a:lnTo>
                    <a:lnTo>
                      <a:pt x="382" y="200"/>
                    </a:lnTo>
                    <a:lnTo>
                      <a:pt x="380" y="200"/>
                    </a:lnTo>
                    <a:lnTo>
                      <a:pt x="360" y="214"/>
                    </a:lnTo>
                    <a:lnTo>
                      <a:pt x="366" y="226"/>
                    </a:lnTo>
                    <a:lnTo>
                      <a:pt x="386" y="212"/>
                    </a:lnTo>
                    <a:lnTo>
                      <a:pt x="390" y="196"/>
                    </a:lnTo>
                    <a:lnTo>
                      <a:pt x="382" y="200"/>
                    </a:lnTo>
                    <a:close/>
                    <a:moveTo>
                      <a:pt x="386" y="186"/>
                    </a:moveTo>
                    <a:lnTo>
                      <a:pt x="372" y="192"/>
                    </a:lnTo>
                    <a:lnTo>
                      <a:pt x="366" y="196"/>
                    </a:lnTo>
                    <a:lnTo>
                      <a:pt x="374" y="198"/>
                    </a:lnTo>
                    <a:lnTo>
                      <a:pt x="380" y="196"/>
                    </a:lnTo>
                    <a:lnTo>
                      <a:pt x="382" y="194"/>
                    </a:lnTo>
                    <a:lnTo>
                      <a:pt x="382" y="194"/>
                    </a:lnTo>
                    <a:lnTo>
                      <a:pt x="382" y="194"/>
                    </a:lnTo>
                    <a:lnTo>
                      <a:pt x="386" y="186"/>
                    </a:lnTo>
                    <a:lnTo>
                      <a:pt x="386" y="186"/>
                    </a:lnTo>
                    <a:close/>
                    <a:moveTo>
                      <a:pt x="382" y="178"/>
                    </a:moveTo>
                    <a:lnTo>
                      <a:pt x="376" y="180"/>
                    </a:lnTo>
                    <a:lnTo>
                      <a:pt x="362" y="186"/>
                    </a:lnTo>
                    <a:lnTo>
                      <a:pt x="366" y="194"/>
                    </a:lnTo>
                    <a:lnTo>
                      <a:pt x="370" y="192"/>
                    </a:lnTo>
                    <a:lnTo>
                      <a:pt x="386" y="186"/>
                    </a:lnTo>
                    <a:lnTo>
                      <a:pt x="382" y="178"/>
                    </a:lnTo>
                    <a:close/>
                    <a:moveTo>
                      <a:pt x="366" y="184"/>
                    </a:moveTo>
                    <a:lnTo>
                      <a:pt x="382" y="178"/>
                    </a:lnTo>
                    <a:lnTo>
                      <a:pt x="372" y="174"/>
                    </a:lnTo>
                    <a:lnTo>
                      <a:pt x="364" y="178"/>
                    </a:lnTo>
                    <a:lnTo>
                      <a:pt x="362" y="186"/>
                    </a:lnTo>
                    <a:lnTo>
                      <a:pt x="366" y="184"/>
                    </a:lnTo>
                    <a:close/>
                    <a:moveTo>
                      <a:pt x="322" y="174"/>
                    </a:moveTo>
                    <a:lnTo>
                      <a:pt x="336" y="200"/>
                    </a:lnTo>
                    <a:lnTo>
                      <a:pt x="348" y="218"/>
                    </a:lnTo>
                    <a:lnTo>
                      <a:pt x="352" y="214"/>
                    </a:lnTo>
                    <a:lnTo>
                      <a:pt x="352" y="214"/>
                    </a:lnTo>
                    <a:lnTo>
                      <a:pt x="352" y="216"/>
                    </a:lnTo>
                    <a:lnTo>
                      <a:pt x="358" y="212"/>
                    </a:lnTo>
                    <a:lnTo>
                      <a:pt x="358" y="212"/>
                    </a:lnTo>
                    <a:lnTo>
                      <a:pt x="360" y="214"/>
                    </a:lnTo>
                    <a:lnTo>
                      <a:pt x="380" y="200"/>
                    </a:lnTo>
                    <a:lnTo>
                      <a:pt x="380" y="200"/>
                    </a:lnTo>
                    <a:lnTo>
                      <a:pt x="380" y="196"/>
                    </a:lnTo>
                    <a:lnTo>
                      <a:pt x="374" y="198"/>
                    </a:lnTo>
                    <a:lnTo>
                      <a:pt x="374" y="198"/>
                    </a:lnTo>
                    <a:lnTo>
                      <a:pt x="364" y="196"/>
                    </a:lnTo>
                    <a:lnTo>
                      <a:pt x="364" y="196"/>
                    </a:lnTo>
                    <a:lnTo>
                      <a:pt x="364" y="196"/>
                    </a:lnTo>
                    <a:lnTo>
                      <a:pt x="360" y="186"/>
                    </a:lnTo>
                    <a:lnTo>
                      <a:pt x="360" y="186"/>
                    </a:lnTo>
                    <a:lnTo>
                      <a:pt x="360" y="186"/>
                    </a:lnTo>
                    <a:lnTo>
                      <a:pt x="364" y="178"/>
                    </a:lnTo>
                    <a:lnTo>
                      <a:pt x="364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82" y="176"/>
                    </a:lnTo>
                    <a:lnTo>
                      <a:pt x="382" y="162"/>
                    </a:lnTo>
                    <a:lnTo>
                      <a:pt x="380" y="162"/>
                    </a:lnTo>
                    <a:lnTo>
                      <a:pt x="380" y="166"/>
                    </a:lnTo>
                    <a:lnTo>
                      <a:pt x="380" y="168"/>
                    </a:lnTo>
                    <a:lnTo>
                      <a:pt x="380" y="168"/>
                    </a:lnTo>
                    <a:lnTo>
                      <a:pt x="380" y="168"/>
                    </a:lnTo>
                    <a:lnTo>
                      <a:pt x="352" y="170"/>
                    </a:lnTo>
                    <a:lnTo>
                      <a:pt x="322" y="174"/>
                    </a:lnTo>
                    <a:lnTo>
                      <a:pt x="322" y="174"/>
                    </a:lnTo>
                    <a:close/>
                    <a:moveTo>
                      <a:pt x="338" y="208"/>
                    </a:moveTo>
                    <a:lnTo>
                      <a:pt x="344" y="220"/>
                    </a:lnTo>
                    <a:lnTo>
                      <a:pt x="346" y="218"/>
                    </a:lnTo>
                    <a:lnTo>
                      <a:pt x="338" y="208"/>
                    </a:lnTo>
                    <a:close/>
                    <a:moveTo>
                      <a:pt x="378" y="162"/>
                    </a:moveTo>
                    <a:lnTo>
                      <a:pt x="378" y="162"/>
                    </a:lnTo>
                    <a:lnTo>
                      <a:pt x="378" y="158"/>
                    </a:lnTo>
                    <a:lnTo>
                      <a:pt x="378" y="158"/>
                    </a:lnTo>
                    <a:lnTo>
                      <a:pt x="348" y="162"/>
                    </a:lnTo>
                    <a:lnTo>
                      <a:pt x="318" y="166"/>
                    </a:lnTo>
                    <a:lnTo>
                      <a:pt x="322" y="172"/>
                    </a:lnTo>
                    <a:lnTo>
                      <a:pt x="322" y="172"/>
                    </a:lnTo>
                    <a:lnTo>
                      <a:pt x="350" y="170"/>
                    </a:lnTo>
                    <a:lnTo>
                      <a:pt x="378" y="166"/>
                    </a:lnTo>
                    <a:lnTo>
                      <a:pt x="378" y="162"/>
                    </a:lnTo>
                    <a:close/>
                    <a:moveTo>
                      <a:pt x="316" y="162"/>
                    </a:moveTo>
                    <a:lnTo>
                      <a:pt x="318" y="164"/>
                    </a:lnTo>
                    <a:lnTo>
                      <a:pt x="318" y="164"/>
                    </a:lnTo>
                    <a:lnTo>
                      <a:pt x="348" y="160"/>
                    </a:lnTo>
                    <a:lnTo>
                      <a:pt x="378" y="158"/>
                    </a:lnTo>
                    <a:lnTo>
                      <a:pt x="378" y="154"/>
                    </a:lnTo>
                    <a:lnTo>
                      <a:pt x="378" y="154"/>
                    </a:lnTo>
                    <a:lnTo>
                      <a:pt x="346" y="156"/>
                    </a:lnTo>
                    <a:lnTo>
                      <a:pt x="316" y="162"/>
                    </a:lnTo>
                    <a:lnTo>
                      <a:pt x="316" y="162"/>
                    </a:lnTo>
                    <a:close/>
                    <a:moveTo>
                      <a:pt x="312" y="158"/>
                    </a:moveTo>
                    <a:lnTo>
                      <a:pt x="312" y="158"/>
                    </a:lnTo>
                    <a:lnTo>
                      <a:pt x="328" y="190"/>
                    </a:lnTo>
                    <a:lnTo>
                      <a:pt x="328" y="190"/>
                    </a:lnTo>
                    <a:lnTo>
                      <a:pt x="348" y="234"/>
                    </a:lnTo>
                    <a:lnTo>
                      <a:pt x="348" y="234"/>
                    </a:lnTo>
                    <a:lnTo>
                      <a:pt x="350" y="234"/>
                    </a:lnTo>
                    <a:lnTo>
                      <a:pt x="350" y="234"/>
                    </a:lnTo>
                    <a:lnTo>
                      <a:pt x="312" y="158"/>
                    </a:lnTo>
                    <a:lnTo>
                      <a:pt x="312" y="158"/>
                    </a:lnTo>
                    <a:close/>
                    <a:moveTo>
                      <a:pt x="306" y="226"/>
                    </a:moveTo>
                    <a:lnTo>
                      <a:pt x="306" y="226"/>
                    </a:lnTo>
                    <a:lnTo>
                      <a:pt x="306" y="226"/>
                    </a:lnTo>
                    <a:lnTo>
                      <a:pt x="334" y="222"/>
                    </a:lnTo>
                    <a:lnTo>
                      <a:pt x="314" y="196"/>
                    </a:lnTo>
                    <a:lnTo>
                      <a:pt x="314" y="196"/>
                    </a:lnTo>
                    <a:lnTo>
                      <a:pt x="308" y="184"/>
                    </a:lnTo>
                    <a:lnTo>
                      <a:pt x="310" y="184"/>
                    </a:lnTo>
                    <a:lnTo>
                      <a:pt x="316" y="180"/>
                    </a:lnTo>
                    <a:lnTo>
                      <a:pt x="316" y="180"/>
                    </a:lnTo>
                    <a:lnTo>
                      <a:pt x="324" y="188"/>
                    </a:lnTo>
                    <a:lnTo>
                      <a:pt x="318" y="174"/>
                    </a:lnTo>
                    <a:lnTo>
                      <a:pt x="318" y="174"/>
                    </a:lnTo>
                    <a:lnTo>
                      <a:pt x="294" y="178"/>
                    </a:lnTo>
                    <a:lnTo>
                      <a:pt x="294" y="178"/>
                    </a:lnTo>
                    <a:lnTo>
                      <a:pt x="294" y="178"/>
                    </a:lnTo>
                    <a:lnTo>
                      <a:pt x="294" y="174"/>
                    </a:lnTo>
                    <a:lnTo>
                      <a:pt x="292" y="174"/>
                    </a:lnTo>
                    <a:lnTo>
                      <a:pt x="290" y="174"/>
                    </a:lnTo>
                    <a:lnTo>
                      <a:pt x="306" y="226"/>
                    </a:lnTo>
                    <a:close/>
                    <a:moveTo>
                      <a:pt x="312" y="162"/>
                    </a:moveTo>
                    <a:lnTo>
                      <a:pt x="292" y="164"/>
                    </a:lnTo>
                    <a:lnTo>
                      <a:pt x="294" y="168"/>
                    </a:lnTo>
                    <a:lnTo>
                      <a:pt x="314" y="166"/>
                    </a:lnTo>
                    <a:lnTo>
                      <a:pt x="312" y="162"/>
                    </a:lnTo>
                    <a:close/>
                    <a:moveTo>
                      <a:pt x="312" y="156"/>
                    </a:moveTo>
                    <a:lnTo>
                      <a:pt x="312" y="156"/>
                    </a:lnTo>
                    <a:lnTo>
                      <a:pt x="308" y="146"/>
                    </a:lnTo>
                    <a:lnTo>
                      <a:pt x="306" y="146"/>
                    </a:lnTo>
                    <a:lnTo>
                      <a:pt x="312" y="156"/>
                    </a:lnTo>
                    <a:close/>
                    <a:moveTo>
                      <a:pt x="294" y="170"/>
                    </a:moveTo>
                    <a:lnTo>
                      <a:pt x="294" y="172"/>
                    </a:lnTo>
                    <a:lnTo>
                      <a:pt x="294" y="174"/>
                    </a:lnTo>
                    <a:lnTo>
                      <a:pt x="294" y="178"/>
                    </a:lnTo>
                    <a:lnTo>
                      <a:pt x="294" y="178"/>
                    </a:lnTo>
                    <a:lnTo>
                      <a:pt x="318" y="174"/>
                    </a:lnTo>
                    <a:lnTo>
                      <a:pt x="314" y="166"/>
                    </a:lnTo>
                    <a:lnTo>
                      <a:pt x="294" y="170"/>
                    </a:lnTo>
                    <a:close/>
                    <a:moveTo>
                      <a:pt x="316" y="180"/>
                    </a:moveTo>
                    <a:lnTo>
                      <a:pt x="310" y="184"/>
                    </a:lnTo>
                    <a:lnTo>
                      <a:pt x="316" y="194"/>
                    </a:lnTo>
                    <a:lnTo>
                      <a:pt x="324" y="188"/>
                    </a:lnTo>
                    <a:lnTo>
                      <a:pt x="316" y="180"/>
                    </a:lnTo>
                    <a:close/>
                    <a:moveTo>
                      <a:pt x="338" y="224"/>
                    </a:moveTo>
                    <a:lnTo>
                      <a:pt x="340" y="222"/>
                    </a:lnTo>
                    <a:lnTo>
                      <a:pt x="340" y="222"/>
                    </a:lnTo>
                    <a:lnTo>
                      <a:pt x="326" y="190"/>
                    </a:lnTo>
                    <a:lnTo>
                      <a:pt x="326" y="190"/>
                    </a:lnTo>
                    <a:lnTo>
                      <a:pt x="316" y="196"/>
                    </a:lnTo>
                    <a:lnTo>
                      <a:pt x="338" y="224"/>
                    </a:lnTo>
                    <a:close/>
                    <a:moveTo>
                      <a:pt x="334" y="228"/>
                    </a:moveTo>
                    <a:lnTo>
                      <a:pt x="346" y="244"/>
                    </a:lnTo>
                    <a:lnTo>
                      <a:pt x="344" y="238"/>
                    </a:lnTo>
                    <a:lnTo>
                      <a:pt x="344" y="236"/>
                    </a:lnTo>
                    <a:lnTo>
                      <a:pt x="346" y="236"/>
                    </a:lnTo>
                    <a:lnTo>
                      <a:pt x="342" y="224"/>
                    </a:lnTo>
                    <a:lnTo>
                      <a:pt x="338" y="226"/>
                    </a:lnTo>
                    <a:lnTo>
                      <a:pt x="334" y="228"/>
                    </a:lnTo>
                    <a:close/>
                    <a:moveTo>
                      <a:pt x="348" y="246"/>
                    </a:moveTo>
                    <a:lnTo>
                      <a:pt x="358" y="242"/>
                    </a:lnTo>
                    <a:lnTo>
                      <a:pt x="354" y="234"/>
                    </a:lnTo>
                    <a:lnTo>
                      <a:pt x="350" y="236"/>
                    </a:lnTo>
                    <a:lnTo>
                      <a:pt x="350" y="236"/>
                    </a:lnTo>
                    <a:lnTo>
                      <a:pt x="348" y="236"/>
                    </a:lnTo>
                    <a:lnTo>
                      <a:pt x="348" y="236"/>
                    </a:lnTo>
                    <a:lnTo>
                      <a:pt x="344" y="238"/>
                    </a:lnTo>
                    <a:lnTo>
                      <a:pt x="348" y="246"/>
                    </a:lnTo>
                    <a:close/>
                    <a:moveTo>
                      <a:pt x="308" y="142"/>
                    </a:moveTo>
                    <a:lnTo>
                      <a:pt x="304" y="144"/>
                    </a:lnTo>
                    <a:lnTo>
                      <a:pt x="302" y="144"/>
                    </a:lnTo>
                    <a:lnTo>
                      <a:pt x="310" y="156"/>
                    </a:lnTo>
                    <a:lnTo>
                      <a:pt x="304" y="146"/>
                    </a:lnTo>
                    <a:lnTo>
                      <a:pt x="306" y="146"/>
                    </a:lnTo>
                    <a:lnTo>
                      <a:pt x="308" y="144"/>
                    </a:lnTo>
                    <a:lnTo>
                      <a:pt x="308" y="146"/>
                    </a:lnTo>
                    <a:lnTo>
                      <a:pt x="312" y="152"/>
                    </a:lnTo>
                    <a:lnTo>
                      <a:pt x="308" y="142"/>
                    </a:lnTo>
                    <a:close/>
                    <a:moveTo>
                      <a:pt x="300" y="128"/>
                    </a:moveTo>
                    <a:lnTo>
                      <a:pt x="294" y="132"/>
                    </a:lnTo>
                    <a:lnTo>
                      <a:pt x="300" y="144"/>
                    </a:lnTo>
                    <a:lnTo>
                      <a:pt x="300" y="144"/>
                    </a:lnTo>
                    <a:lnTo>
                      <a:pt x="308" y="140"/>
                    </a:lnTo>
                    <a:lnTo>
                      <a:pt x="300" y="128"/>
                    </a:lnTo>
                    <a:close/>
                    <a:moveTo>
                      <a:pt x="290" y="112"/>
                    </a:moveTo>
                    <a:lnTo>
                      <a:pt x="284" y="116"/>
                    </a:lnTo>
                    <a:lnTo>
                      <a:pt x="284" y="116"/>
                    </a:lnTo>
                    <a:lnTo>
                      <a:pt x="280" y="120"/>
                    </a:lnTo>
                    <a:lnTo>
                      <a:pt x="288" y="134"/>
                    </a:lnTo>
                    <a:lnTo>
                      <a:pt x="292" y="132"/>
                    </a:lnTo>
                    <a:lnTo>
                      <a:pt x="300" y="128"/>
                    </a:lnTo>
                    <a:lnTo>
                      <a:pt x="304" y="126"/>
                    </a:lnTo>
                    <a:lnTo>
                      <a:pt x="294" y="110"/>
                    </a:lnTo>
                    <a:lnTo>
                      <a:pt x="290" y="112"/>
                    </a:lnTo>
                    <a:lnTo>
                      <a:pt x="290" y="112"/>
                    </a:lnTo>
                    <a:close/>
                    <a:moveTo>
                      <a:pt x="286" y="102"/>
                    </a:moveTo>
                    <a:lnTo>
                      <a:pt x="286" y="102"/>
                    </a:lnTo>
                    <a:lnTo>
                      <a:pt x="276" y="108"/>
                    </a:lnTo>
                    <a:lnTo>
                      <a:pt x="284" y="116"/>
                    </a:lnTo>
                    <a:lnTo>
                      <a:pt x="284" y="116"/>
                    </a:lnTo>
                    <a:lnTo>
                      <a:pt x="290" y="112"/>
                    </a:lnTo>
                    <a:lnTo>
                      <a:pt x="286" y="102"/>
                    </a:lnTo>
                    <a:close/>
                    <a:moveTo>
                      <a:pt x="14" y="116"/>
                    </a:moveTo>
                    <a:lnTo>
                      <a:pt x="8" y="114"/>
                    </a:lnTo>
                    <a:lnTo>
                      <a:pt x="8" y="126"/>
                    </a:lnTo>
                    <a:lnTo>
                      <a:pt x="12" y="126"/>
                    </a:lnTo>
                    <a:lnTo>
                      <a:pt x="14" y="116"/>
                    </a:lnTo>
                    <a:close/>
                    <a:moveTo>
                      <a:pt x="18" y="96"/>
                    </a:moveTo>
                    <a:lnTo>
                      <a:pt x="6" y="100"/>
                    </a:lnTo>
                    <a:lnTo>
                      <a:pt x="6" y="106"/>
                    </a:lnTo>
                    <a:lnTo>
                      <a:pt x="16" y="108"/>
                    </a:lnTo>
                    <a:lnTo>
                      <a:pt x="18" y="96"/>
                    </a:lnTo>
                    <a:close/>
                    <a:moveTo>
                      <a:pt x="22" y="80"/>
                    </a:moveTo>
                    <a:lnTo>
                      <a:pt x="6" y="78"/>
                    </a:lnTo>
                    <a:lnTo>
                      <a:pt x="6" y="86"/>
                    </a:lnTo>
                    <a:lnTo>
                      <a:pt x="20" y="88"/>
                    </a:lnTo>
                    <a:lnTo>
                      <a:pt x="22" y="80"/>
                    </a:lnTo>
                    <a:close/>
                    <a:moveTo>
                      <a:pt x="22" y="58"/>
                    </a:moveTo>
                    <a:lnTo>
                      <a:pt x="10" y="6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22" y="72"/>
                    </a:lnTo>
                    <a:lnTo>
                      <a:pt x="22" y="58"/>
                    </a:lnTo>
                    <a:close/>
                    <a:moveTo>
                      <a:pt x="22" y="40"/>
                    </a:moveTo>
                    <a:lnTo>
                      <a:pt x="16" y="40"/>
                    </a:lnTo>
                    <a:lnTo>
                      <a:pt x="14" y="48"/>
                    </a:lnTo>
                    <a:lnTo>
                      <a:pt x="22" y="48"/>
                    </a:lnTo>
                    <a:lnTo>
                      <a:pt x="22" y="40"/>
                    </a:lnTo>
                    <a:close/>
                    <a:moveTo>
                      <a:pt x="166" y="204"/>
                    </a:moveTo>
                    <a:lnTo>
                      <a:pt x="166" y="204"/>
                    </a:lnTo>
                    <a:lnTo>
                      <a:pt x="192" y="196"/>
                    </a:lnTo>
                    <a:lnTo>
                      <a:pt x="218" y="190"/>
                    </a:lnTo>
                    <a:lnTo>
                      <a:pt x="218" y="190"/>
                    </a:lnTo>
                    <a:lnTo>
                      <a:pt x="192" y="146"/>
                    </a:lnTo>
                    <a:lnTo>
                      <a:pt x="166" y="104"/>
                    </a:lnTo>
                    <a:lnTo>
                      <a:pt x="166" y="104"/>
                    </a:lnTo>
                    <a:lnTo>
                      <a:pt x="164" y="154"/>
                    </a:lnTo>
                    <a:lnTo>
                      <a:pt x="166" y="204"/>
                    </a:lnTo>
                    <a:lnTo>
                      <a:pt x="166" y="204"/>
                    </a:lnTo>
                    <a:close/>
                    <a:moveTo>
                      <a:pt x="284" y="310"/>
                    </a:moveTo>
                    <a:lnTo>
                      <a:pt x="284" y="310"/>
                    </a:lnTo>
                    <a:lnTo>
                      <a:pt x="256" y="256"/>
                    </a:lnTo>
                    <a:lnTo>
                      <a:pt x="226" y="202"/>
                    </a:lnTo>
                    <a:lnTo>
                      <a:pt x="226" y="202"/>
                    </a:lnTo>
                    <a:lnTo>
                      <a:pt x="196" y="210"/>
                    </a:lnTo>
                    <a:lnTo>
                      <a:pt x="166" y="220"/>
                    </a:lnTo>
                    <a:lnTo>
                      <a:pt x="166" y="220"/>
                    </a:lnTo>
                    <a:lnTo>
                      <a:pt x="170" y="280"/>
                    </a:lnTo>
                    <a:lnTo>
                      <a:pt x="174" y="342"/>
                    </a:lnTo>
                    <a:lnTo>
                      <a:pt x="174" y="342"/>
                    </a:lnTo>
                    <a:lnTo>
                      <a:pt x="202" y="332"/>
                    </a:lnTo>
                    <a:lnTo>
                      <a:pt x="228" y="324"/>
                    </a:lnTo>
                    <a:lnTo>
                      <a:pt x="284" y="310"/>
                    </a:lnTo>
                    <a:lnTo>
                      <a:pt x="284" y="310"/>
                    </a:lnTo>
                    <a:close/>
                    <a:moveTo>
                      <a:pt x="304" y="234"/>
                    </a:moveTo>
                    <a:lnTo>
                      <a:pt x="302" y="234"/>
                    </a:lnTo>
                    <a:lnTo>
                      <a:pt x="302" y="234"/>
                    </a:lnTo>
                    <a:lnTo>
                      <a:pt x="302" y="234"/>
                    </a:lnTo>
                    <a:lnTo>
                      <a:pt x="304" y="226"/>
                    </a:lnTo>
                    <a:lnTo>
                      <a:pt x="304" y="226"/>
                    </a:lnTo>
                    <a:lnTo>
                      <a:pt x="288" y="174"/>
                    </a:lnTo>
                    <a:lnTo>
                      <a:pt x="288" y="174"/>
                    </a:lnTo>
                    <a:lnTo>
                      <a:pt x="290" y="172"/>
                    </a:lnTo>
                    <a:lnTo>
                      <a:pt x="292" y="172"/>
                    </a:lnTo>
                    <a:lnTo>
                      <a:pt x="292" y="164"/>
                    </a:lnTo>
                    <a:lnTo>
                      <a:pt x="292" y="164"/>
                    </a:lnTo>
                    <a:lnTo>
                      <a:pt x="312" y="160"/>
                    </a:lnTo>
                    <a:lnTo>
                      <a:pt x="310" y="158"/>
                    </a:lnTo>
                    <a:lnTo>
                      <a:pt x="310" y="158"/>
                    </a:lnTo>
                    <a:lnTo>
                      <a:pt x="310" y="158"/>
                    </a:lnTo>
                    <a:lnTo>
                      <a:pt x="310" y="158"/>
                    </a:lnTo>
                    <a:lnTo>
                      <a:pt x="300" y="144"/>
                    </a:lnTo>
                    <a:lnTo>
                      <a:pt x="300" y="144"/>
                    </a:lnTo>
                    <a:lnTo>
                      <a:pt x="292" y="132"/>
                    </a:lnTo>
                    <a:lnTo>
                      <a:pt x="288" y="134"/>
                    </a:lnTo>
                    <a:lnTo>
                      <a:pt x="288" y="134"/>
                    </a:lnTo>
                    <a:lnTo>
                      <a:pt x="288" y="134"/>
                    </a:lnTo>
                    <a:lnTo>
                      <a:pt x="288" y="134"/>
                    </a:lnTo>
                    <a:lnTo>
                      <a:pt x="278" y="120"/>
                    </a:lnTo>
                    <a:lnTo>
                      <a:pt x="278" y="118"/>
                    </a:lnTo>
                    <a:lnTo>
                      <a:pt x="282" y="116"/>
                    </a:lnTo>
                    <a:lnTo>
                      <a:pt x="276" y="108"/>
                    </a:lnTo>
                    <a:lnTo>
                      <a:pt x="276" y="108"/>
                    </a:lnTo>
                    <a:lnTo>
                      <a:pt x="276" y="108"/>
                    </a:lnTo>
                    <a:lnTo>
                      <a:pt x="284" y="102"/>
                    </a:lnTo>
                    <a:lnTo>
                      <a:pt x="284" y="102"/>
                    </a:lnTo>
                    <a:lnTo>
                      <a:pt x="224" y="90"/>
                    </a:lnTo>
                    <a:lnTo>
                      <a:pt x="162" y="82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74" y="88"/>
                    </a:lnTo>
                    <a:lnTo>
                      <a:pt x="174" y="88"/>
                    </a:lnTo>
                    <a:lnTo>
                      <a:pt x="176" y="92"/>
                    </a:lnTo>
                    <a:lnTo>
                      <a:pt x="176" y="94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202" y="140"/>
                    </a:lnTo>
                    <a:lnTo>
                      <a:pt x="230" y="186"/>
                    </a:lnTo>
                    <a:lnTo>
                      <a:pt x="242" y="184"/>
                    </a:lnTo>
                    <a:lnTo>
                      <a:pt x="242" y="184"/>
                    </a:lnTo>
                    <a:lnTo>
                      <a:pt x="242" y="184"/>
                    </a:lnTo>
                    <a:lnTo>
                      <a:pt x="244" y="188"/>
                    </a:lnTo>
                    <a:lnTo>
                      <a:pt x="244" y="188"/>
                    </a:lnTo>
                    <a:lnTo>
                      <a:pt x="242" y="188"/>
                    </a:lnTo>
                    <a:lnTo>
                      <a:pt x="242" y="190"/>
                    </a:lnTo>
                    <a:lnTo>
                      <a:pt x="244" y="198"/>
                    </a:lnTo>
                    <a:lnTo>
                      <a:pt x="242" y="198"/>
                    </a:lnTo>
                    <a:lnTo>
                      <a:pt x="242" y="198"/>
                    </a:lnTo>
                    <a:lnTo>
                      <a:pt x="238" y="200"/>
                    </a:lnTo>
                    <a:lnTo>
                      <a:pt x="238" y="200"/>
                    </a:lnTo>
                    <a:lnTo>
                      <a:pt x="266" y="254"/>
                    </a:lnTo>
                    <a:lnTo>
                      <a:pt x="294" y="308"/>
                    </a:lnTo>
                    <a:lnTo>
                      <a:pt x="316" y="304"/>
                    </a:lnTo>
                    <a:lnTo>
                      <a:pt x="304" y="234"/>
                    </a:lnTo>
                    <a:close/>
                    <a:moveTo>
                      <a:pt x="306" y="232"/>
                    </a:moveTo>
                    <a:lnTo>
                      <a:pt x="306" y="232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6" y="226"/>
                    </a:lnTo>
                    <a:lnTo>
                      <a:pt x="334" y="222"/>
                    </a:lnTo>
                    <a:lnTo>
                      <a:pt x="334" y="222"/>
                    </a:lnTo>
                    <a:lnTo>
                      <a:pt x="306" y="226"/>
                    </a:lnTo>
                    <a:lnTo>
                      <a:pt x="304" y="232"/>
                    </a:lnTo>
                    <a:lnTo>
                      <a:pt x="306" y="232"/>
                    </a:lnTo>
                    <a:lnTo>
                      <a:pt x="306" y="232"/>
                    </a:lnTo>
                    <a:close/>
                    <a:moveTo>
                      <a:pt x="352" y="254"/>
                    </a:moveTo>
                    <a:lnTo>
                      <a:pt x="334" y="230"/>
                    </a:lnTo>
                    <a:lnTo>
                      <a:pt x="334" y="230"/>
                    </a:lnTo>
                    <a:lnTo>
                      <a:pt x="306" y="234"/>
                    </a:lnTo>
                    <a:lnTo>
                      <a:pt x="318" y="304"/>
                    </a:lnTo>
                    <a:lnTo>
                      <a:pt x="318" y="304"/>
                    </a:lnTo>
                    <a:lnTo>
                      <a:pt x="356" y="298"/>
                    </a:lnTo>
                    <a:lnTo>
                      <a:pt x="352" y="254"/>
                    </a:lnTo>
                    <a:lnTo>
                      <a:pt x="352" y="254"/>
                    </a:lnTo>
                    <a:close/>
                    <a:moveTo>
                      <a:pt x="368" y="296"/>
                    </a:moveTo>
                    <a:lnTo>
                      <a:pt x="366" y="278"/>
                    </a:lnTo>
                    <a:lnTo>
                      <a:pt x="354" y="258"/>
                    </a:lnTo>
                    <a:lnTo>
                      <a:pt x="358" y="298"/>
                    </a:lnTo>
                    <a:lnTo>
                      <a:pt x="368" y="296"/>
                    </a:lnTo>
                    <a:close/>
                    <a:moveTo>
                      <a:pt x="368" y="276"/>
                    </a:moveTo>
                    <a:lnTo>
                      <a:pt x="384" y="264"/>
                    </a:lnTo>
                    <a:lnTo>
                      <a:pt x="362" y="232"/>
                    </a:lnTo>
                    <a:lnTo>
                      <a:pt x="362" y="230"/>
                    </a:lnTo>
                    <a:lnTo>
                      <a:pt x="358" y="226"/>
                    </a:lnTo>
                    <a:lnTo>
                      <a:pt x="352" y="216"/>
                    </a:lnTo>
                    <a:lnTo>
                      <a:pt x="348" y="218"/>
                    </a:lnTo>
                    <a:lnTo>
                      <a:pt x="348" y="218"/>
                    </a:lnTo>
                    <a:lnTo>
                      <a:pt x="348" y="218"/>
                    </a:lnTo>
                    <a:lnTo>
                      <a:pt x="344" y="220"/>
                    </a:lnTo>
                    <a:lnTo>
                      <a:pt x="350" y="234"/>
                    </a:lnTo>
                    <a:lnTo>
                      <a:pt x="354" y="232"/>
                    </a:lnTo>
                    <a:lnTo>
                      <a:pt x="354" y="232"/>
                    </a:lnTo>
                    <a:lnTo>
                      <a:pt x="360" y="242"/>
                    </a:lnTo>
                    <a:lnTo>
                      <a:pt x="360" y="244"/>
                    </a:lnTo>
                    <a:lnTo>
                      <a:pt x="360" y="244"/>
                    </a:lnTo>
                    <a:lnTo>
                      <a:pt x="350" y="248"/>
                    </a:lnTo>
                    <a:lnTo>
                      <a:pt x="354" y="254"/>
                    </a:lnTo>
                    <a:lnTo>
                      <a:pt x="368" y="276"/>
                    </a:lnTo>
                    <a:close/>
                    <a:moveTo>
                      <a:pt x="384" y="266"/>
                    </a:moveTo>
                    <a:lnTo>
                      <a:pt x="368" y="278"/>
                    </a:lnTo>
                    <a:lnTo>
                      <a:pt x="370" y="296"/>
                    </a:lnTo>
                    <a:lnTo>
                      <a:pt x="386" y="294"/>
                    </a:lnTo>
                    <a:lnTo>
                      <a:pt x="384" y="26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 62">
                <a:extLst>
                  <a:ext uri="{FF2B5EF4-FFF2-40B4-BE49-F238E27FC236}">
                    <a16:creationId xmlns:a16="http://schemas.microsoft.com/office/drawing/2014/main" id="{EF5DB0BD-82AA-1B47-9E79-2C8D40A736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06464" y="3297238"/>
                <a:ext cx="523875" cy="234950"/>
              </a:xfrm>
              <a:custGeom>
                <a:avLst/>
                <a:gdLst>
                  <a:gd name="T0" fmla="*/ 322 w 330"/>
                  <a:gd name="T1" fmla="*/ 34 h 148"/>
                  <a:gd name="T2" fmla="*/ 328 w 330"/>
                  <a:gd name="T3" fmla="*/ 58 h 148"/>
                  <a:gd name="T4" fmla="*/ 310 w 330"/>
                  <a:gd name="T5" fmla="*/ 56 h 148"/>
                  <a:gd name="T6" fmla="*/ 284 w 330"/>
                  <a:gd name="T7" fmla="*/ 62 h 148"/>
                  <a:gd name="T8" fmla="*/ 268 w 330"/>
                  <a:gd name="T9" fmla="*/ 80 h 148"/>
                  <a:gd name="T10" fmla="*/ 266 w 330"/>
                  <a:gd name="T11" fmla="*/ 94 h 148"/>
                  <a:gd name="T12" fmla="*/ 280 w 330"/>
                  <a:gd name="T13" fmla="*/ 114 h 148"/>
                  <a:gd name="T14" fmla="*/ 306 w 330"/>
                  <a:gd name="T15" fmla="*/ 126 h 148"/>
                  <a:gd name="T16" fmla="*/ 322 w 330"/>
                  <a:gd name="T17" fmla="*/ 142 h 148"/>
                  <a:gd name="T18" fmla="*/ 314 w 330"/>
                  <a:gd name="T19" fmla="*/ 148 h 148"/>
                  <a:gd name="T20" fmla="*/ 86 w 330"/>
                  <a:gd name="T21" fmla="*/ 146 h 148"/>
                  <a:gd name="T22" fmla="*/ 82 w 330"/>
                  <a:gd name="T23" fmla="*/ 138 h 148"/>
                  <a:gd name="T24" fmla="*/ 92 w 330"/>
                  <a:gd name="T25" fmla="*/ 10 h 148"/>
                  <a:gd name="T26" fmla="*/ 100 w 330"/>
                  <a:gd name="T27" fmla="*/ 2 h 148"/>
                  <a:gd name="T28" fmla="*/ 172 w 330"/>
                  <a:gd name="T29" fmla="*/ 106 h 148"/>
                  <a:gd name="T30" fmla="*/ 164 w 330"/>
                  <a:gd name="T31" fmla="*/ 112 h 148"/>
                  <a:gd name="T32" fmla="*/ 166 w 330"/>
                  <a:gd name="T33" fmla="*/ 130 h 148"/>
                  <a:gd name="T34" fmla="*/ 210 w 330"/>
                  <a:gd name="T35" fmla="*/ 134 h 148"/>
                  <a:gd name="T36" fmla="*/ 218 w 330"/>
                  <a:gd name="T37" fmla="*/ 114 h 148"/>
                  <a:gd name="T38" fmla="*/ 210 w 330"/>
                  <a:gd name="T39" fmla="*/ 106 h 148"/>
                  <a:gd name="T40" fmla="*/ 110 w 330"/>
                  <a:gd name="T41" fmla="*/ 102 h 148"/>
                  <a:gd name="T42" fmla="*/ 104 w 330"/>
                  <a:gd name="T43" fmla="*/ 110 h 148"/>
                  <a:gd name="T44" fmla="*/ 106 w 330"/>
                  <a:gd name="T45" fmla="*/ 128 h 148"/>
                  <a:gd name="T46" fmla="*/ 136 w 330"/>
                  <a:gd name="T47" fmla="*/ 132 h 148"/>
                  <a:gd name="T48" fmla="*/ 142 w 330"/>
                  <a:gd name="T49" fmla="*/ 124 h 148"/>
                  <a:gd name="T50" fmla="*/ 140 w 330"/>
                  <a:gd name="T51" fmla="*/ 106 h 148"/>
                  <a:gd name="T52" fmla="*/ 174 w 330"/>
                  <a:gd name="T53" fmla="*/ 66 h 148"/>
                  <a:gd name="T54" fmla="*/ 166 w 330"/>
                  <a:gd name="T55" fmla="*/ 74 h 148"/>
                  <a:gd name="T56" fmla="*/ 168 w 330"/>
                  <a:gd name="T57" fmla="*/ 92 h 148"/>
                  <a:gd name="T58" fmla="*/ 212 w 330"/>
                  <a:gd name="T59" fmla="*/ 96 h 148"/>
                  <a:gd name="T60" fmla="*/ 220 w 330"/>
                  <a:gd name="T61" fmla="*/ 78 h 148"/>
                  <a:gd name="T62" fmla="*/ 214 w 330"/>
                  <a:gd name="T63" fmla="*/ 70 h 148"/>
                  <a:gd name="T64" fmla="*/ 114 w 330"/>
                  <a:gd name="T65" fmla="*/ 62 h 148"/>
                  <a:gd name="T66" fmla="*/ 106 w 330"/>
                  <a:gd name="T67" fmla="*/ 68 h 148"/>
                  <a:gd name="T68" fmla="*/ 106 w 330"/>
                  <a:gd name="T69" fmla="*/ 88 h 148"/>
                  <a:gd name="T70" fmla="*/ 136 w 330"/>
                  <a:gd name="T71" fmla="*/ 92 h 148"/>
                  <a:gd name="T72" fmla="*/ 144 w 330"/>
                  <a:gd name="T73" fmla="*/ 84 h 148"/>
                  <a:gd name="T74" fmla="*/ 144 w 330"/>
                  <a:gd name="T75" fmla="*/ 66 h 148"/>
                  <a:gd name="T76" fmla="*/ 178 w 330"/>
                  <a:gd name="T77" fmla="*/ 28 h 148"/>
                  <a:gd name="T78" fmla="*/ 170 w 330"/>
                  <a:gd name="T79" fmla="*/ 36 h 148"/>
                  <a:gd name="T80" fmla="*/ 170 w 330"/>
                  <a:gd name="T81" fmla="*/ 54 h 148"/>
                  <a:gd name="T82" fmla="*/ 214 w 330"/>
                  <a:gd name="T83" fmla="*/ 60 h 148"/>
                  <a:gd name="T84" fmla="*/ 224 w 330"/>
                  <a:gd name="T85" fmla="*/ 42 h 148"/>
                  <a:gd name="T86" fmla="*/ 218 w 330"/>
                  <a:gd name="T87" fmla="*/ 34 h 148"/>
                  <a:gd name="T88" fmla="*/ 118 w 330"/>
                  <a:gd name="T89" fmla="*/ 22 h 148"/>
                  <a:gd name="T90" fmla="*/ 110 w 330"/>
                  <a:gd name="T91" fmla="*/ 28 h 148"/>
                  <a:gd name="T92" fmla="*/ 110 w 330"/>
                  <a:gd name="T93" fmla="*/ 46 h 148"/>
                  <a:gd name="T94" fmla="*/ 140 w 330"/>
                  <a:gd name="T95" fmla="*/ 52 h 148"/>
                  <a:gd name="T96" fmla="*/ 148 w 330"/>
                  <a:gd name="T97" fmla="*/ 46 h 148"/>
                  <a:gd name="T98" fmla="*/ 148 w 330"/>
                  <a:gd name="T99" fmla="*/ 28 h 148"/>
                  <a:gd name="T100" fmla="*/ 82 w 330"/>
                  <a:gd name="T101" fmla="*/ 0 h 148"/>
                  <a:gd name="T102" fmla="*/ 74 w 330"/>
                  <a:gd name="T103" fmla="*/ 72 h 148"/>
                  <a:gd name="T104" fmla="*/ 36 w 330"/>
                  <a:gd name="T105" fmla="*/ 108 h 148"/>
                  <a:gd name="T106" fmla="*/ 40 w 330"/>
                  <a:gd name="T107" fmla="*/ 34 h 148"/>
                  <a:gd name="T108" fmla="*/ 28 w 330"/>
                  <a:gd name="T109" fmla="*/ 32 h 148"/>
                  <a:gd name="T110" fmla="*/ 24 w 330"/>
                  <a:gd name="T111" fmla="*/ 18 h 148"/>
                  <a:gd name="T112" fmla="*/ 30 w 330"/>
                  <a:gd name="T113" fmla="*/ 12 h 148"/>
                  <a:gd name="T114" fmla="*/ 82 w 330"/>
                  <a:gd name="T115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30" h="148">
                    <a:moveTo>
                      <a:pt x="100" y="2"/>
                    </a:moveTo>
                    <a:lnTo>
                      <a:pt x="322" y="34"/>
                    </a:lnTo>
                    <a:lnTo>
                      <a:pt x="322" y="34"/>
                    </a:lnTo>
                    <a:lnTo>
                      <a:pt x="328" y="36"/>
                    </a:lnTo>
                    <a:lnTo>
                      <a:pt x="330" y="42"/>
                    </a:lnTo>
                    <a:lnTo>
                      <a:pt x="328" y="58"/>
                    </a:lnTo>
                    <a:lnTo>
                      <a:pt x="322" y="56"/>
                    </a:lnTo>
                    <a:lnTo>
                      <a:pt x="322" y="56"/>
                    </a:lnTo>
                    <a:lnTo>
                      <a:pt x="310" y="56"/>
                    </a:lnTo>
                    <a:lnTo>
                      <a:pt x="300" y="56"/>
                    </a:lnTo>
                    <a:lnTo>
                      <a:pt x="292" y="60"/>
                    </a:lnTo>
                    <a:lnTo>
                      <a:pt x="284" y="62"/>
                    </a:lnTo>
                    <a:lnTo>
                      <a:pt x="276" y="68"/>
                    </a:lnTo>
                    <a:lnTo>
                      <a:pt x="270" y="74"/>
                    </a:lnTo>
                    <a:lnTo>
                      <a:pt x="268" y="80"/>
                    </a:lnTo>
                    <a:lnTo>
                      <a:pt x="266" y="88"/>
                    </a:lnTo>
                    <a:lnTo>
                      <a:pt x="266" y="88"/>
                    </a:lnTo>
                    <a:lnTo>
                      <a:pt x="266" y="94"/>
                    </a:lnTo>
                    <a:lnTo>
                      <a:pt x="268" y="102"/>
                    </a:lnTo>
                    <a:lnTo>
                      <a:pt x="274" y="108"/>
                    </a:lnTo>
                    <a:lnTo>
                      <a:pt x="280" y="114"/>
                    </a:lnTo>
                    <a:lnTo>
                      <a:pt x="286" y="120"/>
                    </a:lnTo>
                    <a:lnTo>
                      <a:pt x="296" y="122"/>
                    </a:lnTo>
                    <a:lnTo>
                      <a:pt x="306" y="126"/>
                    </a:lnTo>
                    <a:lnTo>
                      <a:pt x="316" y="126"/>
                    </a:lnTo>
                    <a:lnTo>
                      <a:pt x="322" y="126"/>
                    </a:lnTo>
                    <a:lnTo>
                      <a:pt x="322" y="142"/>
                    </a:lnTo>
                    <a:lnTo>
                      <a:pt x="322" y="142"/>
                    </a:lnTo>
                    <a:lnTo>
                      <a:pt x="320" y="146"/>
                    </a:lnTo>
                    <a:lnTo>
                      <a:pt x="314" y="148"/>
                    </a:lnTo>
                    <a:lnTo>
                      <a:pt x="88" y="146"/>
                    </a:lnTo>
                    <a:lnTo>
                      <a:pt x="88" y="146"/>
                    </a:lnTo>
                    <a:lnTo>
                      <a:pt x="86" y="146"/>
                    </a:lnTo>
                    <a:lnTo>
                      <a:pt x="84" y="144"/>
                    </a:lnTo>
                    <a:lnTo>
                      <a:pt x="82" y="138"/>
                    </a:lnTo>
                    <a:lnTo>
                      <a:pt x="82" y="138"/>
                    </a:lnTo>
                    <a:lnTo>
                      <a:pt x="84" y="74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4" y="4"/>
                    </a:lnTo>
                    <a:lnTo>
                      <a:pt x="96" y="2"/>
                    </a:lnTo>
                    <a:lnTo>
                      <a:pt x="100" y="2"/>
                    </a:lnTo>
                    <a:lnTo>
                      <a:pt x="100" y="2"/>
                    </a:lnTo>
                    <a:close/>
                    <a:moveTo>
                      <a:pt x="172" y="106"/>
                    </a:moveTo>
                    <a:lnTo>
                      <a:pt x="172" y="106"/>
                    </a:lnTo>
                    <a:lnTo>
                      <a:pt x="168" y="106"/>
                    </a:lnTo>
                    <a:lnTo>
                      <a:pt x="166" y="106"/>
                    </a:lnTo>
                    <a:lnTo>
                      <a:pt x="164" y="112"/>
                    </a:lnTo>
                    <a:lnTo>
                      <a:pt x="164" y="124"/>
                    </a:lnTo>
                    <a:lnTo>
                      <a:pt x="164" y="124"/>
                    </a:lnTo>
                    <a:lnTo>
                      <a:pt x="166" y="130"/>
                    </a:lnTo>
                    <a:lnTo>
                      <a:pt x="170" y="132"/>
                    </a:lnTo>
                    <a:lnTo>
                      <a:pt x="210" y="134"/>
                    </a:lnTo>
                    <a:lnTo>
                      <a:pt x="210" y="134"/>
                    </a:lnTo>
                    <a:lnTo>
                      <a:pt x="216" y="132"/>
                    </a:lnTo>
                    <a:lnTo>
                      <a:pt x="218" y="126"/>
                    </a:lnTo>
                    <a:lnTo>
                      <a:pt x="218" y="114"/>
                    </a:lnTo>
                    <a:lnTo>
                      <a:pt x="218" y="114"/>
                    </a:lnTo>
                    <a:lnTo>
                      <a:pt x="216" y="110"/>
                    </a:lnTo>
                    <a:lnTo>
                      <a:pt x="210" y="106"/>
                    </a:lnTo>
                    <a:lnTo>
                      <a:pt x="172" y="106"/>
                    </a:lnTo>
                    <a:close/>
                    <a:moveTo>
                      <a:pt x="110" y="102"/>
                    </a:moveTo>
                    <a:lnTo>
                      <a:pt x="110" y="102"/>
                    </a:lnTo>
                    <a:lnTo>
                      <a:pt x="108" y="102"/>
                    </a:lnTo>
                    <a:lnTo>
                      <a:pt x="106" y="104"/>
                    </a:lnTo>
                    <a:lnTo>
                      <a:pt x="104" y="110"/>
                    </a:lnTo>
                    <a:lnTo>
                      <a:pt x="104" y="122"/>
                    </a:lnTo>
                    <a:lnTo>
                      <a:pt x="104" y="122"/>
                    </a:lnTo>
                    <a:lnTo>
                      <a:pt x="106" y="128"/>
                    </a:lnTo>
                    <a:lnTo>
                      <a:pt x="108" y="130"/>
                    </a:lnTo>
                    <a:lnTo>
                      <a:pt x="110" y="130"/>
                    </a:lnTo>
                    <a:lnTo>
                      <a:pt x="136" y="132"/>
                    </a:lnTo>
                    <a:lnTo>
                      <a:pt x="136" y="132"/>
                    </a:lnTo>
                    <a:lnTo>
                      <a:pt x="140" y="130"/>
                    </a:lnTo>
                    <a:lnTo>
                      <a:pt x="142" y="124"/>
                    </a:lnTo>
                    <a:lnTo>
                      <a:pt x="142" y="112"/>
                    </a:lnTo>
                    <a:lnTo>
                      <a:pt x="142" y="112"/>
                    </a:lnTo>
                    <a:lnTo>
                      <a:pt x="140" y="106"/>
                    </a:lnTo>
                    <a:lnTo>
                      <a:pt x="136" y="104"/>
                    </a:lnTo>
                    <a:lnTo>
                      <a:pt x="110" y="102"/>
                    </a:lnTo>
                    <a:close/>
                    <a:moveTo>
                      <a:pt x="174" y="66"/>
                    </a:moveTo>
                    <a:lnTo>
                      <a:pt x="174" y="66"/>
                    </a:lnTo>
                    <a:lnTo>
                      <a:pt x="170" y="68"/>
                    </a:lnTo>
                    <a:lnTo>
                      <a:pt x="166" y="74"/>
                    </a:lnTo>
                    <a:lnTo>
                      <a:pt x="166" y="86"/>
                    </a:lnTo>
                    <a:lnTo>
                      <a:pt x="166" y="86"/>
                    </a:lnTo>
                    <a:lnTo>
                      <a:pt x="168" y="92"/>
                    </a:lnTo>
                    <a:lnTo>
                      <a:pt x="172" y="94"/>
                    </a:lnTo>
                    <a:lnTo>
                      <a:pt x="212" y="96"/>
                    </a:lnTo>
                    <a:lnTo>
                      <a:pt x="212" y="96"/>
                    </a:lnTo>
                    <a:lnTo>
                      <a:pt x="216" y="94"/>
                    </a:lnTo>
                    <a:lnTo>
                      <a:pt x="220" y="90"/>
                    </a:lnTo>
                    <a:lnTo>
                      <a:pt x="220" y="78"/>
                    </a:lnTo>
                    <a:lnTo>
                      <a:pt x="220" y="78"/>
                    </a:lnTo>
                    <a:lnTo>
                      <a:pt x="218" y="72"/>
                    </a:lnTo>
                    <a:lnTo>
                      <a:pt x="214" y="70"/>
                    </a:lnTo>
                    <a:lnTo>
                      <a:pt x="174" y="66"/>
                    </a:lnTo>
                    <a:close/>
                    <a:moveTo>
                      <a:pt x="114" y="62"/>
                    </a:moveTo>
                    <a:lnTo>
                      <a:pt x="114" y="62"/>
                    </a:lnTo>
                    <a:lnTo>
                      <a:pt x="112" y="62"/>
                    </a:lnTo>
                    <a:lnTo>
                      <a:pt x="108" y="64"/>
                    </a:lnTo>
                    <a:lnTo>
                      <a:pt x="106" y="6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8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36" y="92"/>
                    </a:lnTo>
                    <a:lnTo>
                      <a:pt x="136" y="92"/>
                    </a:lnTo>
                    <a:lnTo>
                      <a:pt x="142" y="90"/>
                    </a:lnTo>
                    <a:lnTo>
                      <a:pt x="144" y="84"/>
                    </a:lnTo>
                    <a:lnTo>
                      <a:pt x="146" y="72"/>
                    </a:lnTo>
                    <a:lnTo>
                      <a:pt x="146" y="72"/>
                    </a:lnTo>
                    <a:lnTo>
                      <a:pt x="144" y="66"/>
                    </a:lnTo>
                    <a:lnTo>
                      <a:pt x="138" y="64"/>
                    </a:lnTo>
                    <a:lnTo>
                      <a:pt x="114" y="62"/>
                    </a:lnTo>
                    <a:close/>
                    <a:moveTo>
                      <a:pt x="178" y="28"/>
                    </a:moveTo>
                    <a:lnTo>
                      <a:pt x="178" y="28"/>
                    </a:lnTo>
                    <a:lnTo>
                      <a:pt x="174" y="30"/>
                    </a:lnTo>
                    <a:lnTo>
                      <a:pt x="170" y="36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54"/>
                    </a:lnTo>
                    <a:lnTo>
                      <a:pt x="176" y="56"/>
                    </a:lnTo>
                    <a:lnTo>
                      <a:pt x="214" y="60"/>
                    </a:lnTo>
                    <a:lnTo>
                      <a:pt x="214" y="60"/>
                    </a:lnTo>
                    <a:lnTo>
                      <a:pt x="220" y="58"/>
                    </a:lnTo>
                    <a:lnTo>
                      <a:pt x="222" y="54"/>
                    </a:lnTo>
                    <a:lnTo>
                      <a:pt x="224" y="42"/>
                    </a:lnTo>
                    <a:lnTo>
                      <a:pt x="224" y="42"/>
                    </a:lnTo>
                    <a:lnTo>
                      <a:pt x="222" y="36"/>
                    </a:lnTo>
                    <a:lnTo>
                      <a:pt x="218" y="34"/>
                    </a:lnTo>
                    <a:lnTo>
                      <a:pt x="178" y="28"/>
                    </a:lnTo>
                    <a:close/>
                    <a:moveTo>
                      <a:pt x="118" y="22"/>
                    </a:moveTo>
                    <a:lnTo>
                      <a:pt x="118" y="22"/>
                    </a:lnTo>
                    <a:lnTo>
                      <a:pt x="116" y="22"/>
                    </a:lnTo>
                    <a:lnTo>
                      <a:pt x="114" y="22"/>
                    </a:lnTo>
                    <a:lnTo>
                      <a:pt x="110" y="28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10" y="46"/>
                    </a:lnTo>
                    <a:lnTo>
                      <a:pt x="112" y="48"/>
                    </a:lnTo>
                    <a:lnTo>
                      <a:pt x="114" y="50"/>
                    </a:lnTo>
                    <a:lnTo>
                      <a:pt x="140" y="52"/>
                    </a:lnTo>
                    <a:lnTo>
                      <a:pt x="140" y="52"/>
                    </a:lnTo>
                    <a:lnTo>
                      <a:pt x="144" y="50"/>
                    </a:lnTo>
                    <a:lnTo>
                      <a:pt x="148" y="46"/>
                    </a:lnTo>
                    <a:lnTo>
                      <a:pt x="150" y="32"/>
                    </a:lnTo>
                    <a:lnTo>
                      <a:pt x="150" y="32"/>
                    </a:lnTo>
                    <a:lnTo>
                      <a:pt x="148" y="28"/>
                    </a:lnTo>
                    <a:lnTo>
                      <a:pt x="144" y="24"/>
                    </a:lnTo>
                    <a:lnTo>
                      <a:pt x="118" y="22"/>
                    </a:lnTo>
                    <a:close/>
                    <a:moveTo>
                      <a:pt x="82" y="0"/>
                    </a:moveTo>
                    <a:lnTo>
                      <a:pt x="82" y="0"/>
                    </a:lnTo>
                    <a:lnTo>
                      <a:pt x="78" y="36"/>
                    </a:lnTo>
                    <a:lnTo>
                      <a:pt x="74" y="72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36" y="10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40" y="34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28" y="32"/>
                    </a:lnTo>
                    <a:lnTo>
                      <a:pt x="26" y="30"/>
                    </a:lnTo>
                    <a:lnTo>
                      <a:pt x="24" y="2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4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62" y="16"/>
                    </a:lnTo>
                    <a:lnTo>
                      <a:pt x="82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539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9" name="Freeform 43">
              <a:extLst>
                <a:ext uri="{FF2B5EF4-FFF2-40B4-BE49-F238E27FC236}">
                  <a16:creationId xmlns:a16="http://schemas.microsoft.com/office/drawing/2014/main" id="{8F2420D5-FABC-3C4C-996A-2E099DAB7DD5}"/>
                </a:ext>
              </a:extLst>
            </p:cNvPr>
            <p:cNvSpPr>
              <a:spLocks noEditPoints="1"/>
            </p:cNvSpPr>
            <p:nvPr/>
          </p:nvSpPr>
          <p:spPr bwMode="auto">
            <a:xfrm rot="722104">
              <a:off x="7662649" y="3365866"/>
              <a:ext cx="490953" cy="375270"/>
            </a:xfrm>
            <a:custGeom>
              <a:avLst/>
              <a:gdLst>
                <a:gd name="T0" fmla="*/ 348 w 348"/>
                <a:gd name="T1" fmla="*/ 132 h 266"/>
                <a:gd name="T2" fmla="*/ 100 w 348"/>
                <a:gd name="T3" fmla="*/ 266 h 266"/>
                <a:gd name="T4" fmla="*/ 100 w 348"/>
                <a:gd name="T5" fmla="*/ 266 h 266"/>
                <a:gd name="T6" fmla="*/ 78 w 348"/>
                <a:gd name="T7" fmla="*/ 226 h 266"/>
                <a:gd name="T8" fmla="*/ 54 w 348"/>
                <a:gd name="T9" fmla="*/ 188 h 266"/>
                <a:gd name="T10" fmla="*/ 28 w 348"/>
                <a:gd name="T11" fmla="*/ 152 h 266"/>
                <a:gd name="T12" fmla="*/ 0 w 348"/>
                <a:gd name="T13" fmla="*/ 116 h 266"/>
                <a:gd name="T14" fmla="*/ 144 w 348"/>
                <a:gd name="T15" fmla="*/ 0 h 266"/>
                <a:gd name="T16" fmla="*/ 144 w 348"/>
                <a:gd name="T17" fmla="*/ 0 h 266"/>
                <a:gd name="T18" fmla="*/ 196 w 348"/>
                <a:gd name="T19" fmla="*/ 28 h 266"/>
                <a:gd name="T20" fmla="*/ 248 w 348"/>
                <a:gd name="T21" fmla="*/ 60 h 266"/>
                <a:gd name="T22" fmla="*/ 298 w 348"/>
                <a:gd name="T23" fmla="*/ 94 h 266"/>
                <a:gd name="T24" fmla="*/ 348 w 348"/>
                <a:gd name="T25" fmla="*/ 132 h 266"/>
                <a:gd name="T26" fmla="*/ 348 w 348"/>
                <a:gd name="T27" fmla="*/ 132 h 266"/>
                <a:gd name="T28" fmla="*/ 230 w 348"/>
                <a:gd name="T29" fmla="*/ 106 h 266"/>
                <a:gd name="T30" fmla="*/ 222 w 348"/>
                <a:gd name="T31" fmla="*/ 90 h 266"/>
                <a:gd name="T32" fmla="*/ 68 w 348"/>
                <a:gd name="T33" fmla="*/ 190 h 266"/>
                <a:gd name="T34" fmla="*/ 76 w 348"/>
                <a:gd name="T35" fmla="*/ 204 h 266"/>
                <a:gd name="T36" fmla="*/ 230 w 348"/>
                <a:gd name="T37" fmla="*/ 106 h 266"/>
                <a:gd name="T38" fmla="*/ 248 w 348"/>
                <a:gd name="T39" fmla="*/ 132 h 266"/>
                <a:gd name="T40" fmla="*/ 238 w 348"/>
                <a:gd name="T41" fmla="*/ 118 h 266"/>
                <a:gd name="T42" fmla="*/ 82 w 348"/>
                <a:gd name="T43" fmla="*/ 212 h 266"/>
                <a:gd name="T44" fmla="*/ 90 w 348"/>
                <a:gd name="T45" fmla="*/ 226 h 266"/>
                <a:gd name="T46" fmla="*/ 248 w 348"/>
                <a:gd name="T47" fmla="*/ 132 h 266"/>
                <a:gd name="T48" fmla="*/ 264 w 348"/>
                <a:gd name="T49" fmla="*/ 160 h 266"/>
                <a:gd name="T50" fmla="*/ 254 w 348"/>
                <a:gd name="T51" fmla="*/ 144 h 266"/>
                <a:gd name="T52" fmla="*/ 96 w 348"/>
                <a:gd name="T53" fmla="*/ 236 h 266"/>
                <a:gd name="T54" fmla="*/ 102 w 348"/>
                <a:gd name="T55" fmla="*/ 250 h 266"/>
                <a:gd name="T56" fmla="*/ 264 w 348"/>
                <a:gd name="T57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48" h="266">
                  <a:moveTo>
                    <a:pt x="348" y="132"/>
                  </a:moveTo>
                  <a:lnTo>
                    <a:pt x="100" y="266"/>
                  </a:lnTo>
                  <a:lnTo>
                    <a:pt x="100" y="266"/>
                  </a:lnTo>
                  <a:lnTo>
                    <a:pt x="78" y="226"/>
                  </a:lnTo>
                  <a:lnTo>
                    <a:pt x="54" y="188"/>
                  </a:lnTo>
                  <a:lnTo>
                    <a:pt x="28" y="152"/>
                  </a:lnTo>
                  <a:lnTo>
                    <a:pt x="0" y="116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96" y="28"/>
                  </a:lnTo>
                  <a:lnTo>
                    <a:pt x="248" y="60"/>
                  </a:lnTo>
                  <a:lnTo>
                    <a:pt x="298" y="94"/>
                  </a:lnTo>
                  <a:lnTo>
                    <a:pt x="348" y="132"/>
                  </a:lnTo>
                  <a:lnTo>
                    <a:pt x="348" y="132"/>
                  </a:lnTo>
                  <a:close/>
                  <a:moveTo>
                    <a:pt x="230" y="106"/>
                  </a:moveTo>
                  <a:lnTo>
                    <a:pt x="222" y="90"/>
                  </a:lnTo>
                  <a:lnTo>
                    <a:pt x="68" y="190"/>
                  </a:lnTo>
                  <a:lnTo>
                    <a:pt x="76" y="204"/>
                  </a:lnTo>
                  <a:lnTo>
                    <a:pt x="230" y="106"/>
                  </a:lnTo>
                  <a:close/>
                  <a:moveTo>
                    <a:pt x="248" y="132"/>
                  </a:moveTo>
                  <a:lnTo>
                    <a:pt x="238" y="118"/>
                  </a:lnTo>
                  <a:lnTo>
                    <a:pt x="82" y="212"/>
                  </a:lnTo>
                  <a:lnTo>
                    <a:pt x="90" y="226"/>
                  </a:lnTo>
                  <a:lnTo>
                    <a:pt x="248" y="132"/>
                  </a:lnTo>
                  <a:close/>
                  <a:moveTo>
                    <a:pt x="264" y="160"/>
                  </a:moveTo>
                  <a:lnTo>
                    <a:pt x="254" y="144"/>
                  </a:lnTo>
                  <a:lnTo>
                    <a:pt x="96" y="236"/>
                  </a:lnTo>
                  <a:lnTo>
                    <a:pt x="102" y="250"/>
                  </a:lnTo>
                  <a:lnTo>
                    <a:pt x="264" y="16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de-DE" sz="1539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44">
              <a:extLst>
                <a:ext uri="{FF2B5EF4-FFF2-40B4-BE49-F238E27FC236}">
                  <a16:creationId xmlns:a16="http://schemas.microsoft.com/office/drawing/2014/main" id="{B3D4AB84-D5B6-1E40-85B0-9646DDD9EB9F}"/>
                </a:ext>
              </a:extLst>
            </p:cNvPr>
            <p:cNvSpPr>
              <a:spLocks noEditPoints="1"/>
            </p:cNvSpPr>
            <p:nvPr/>
          </p:nvSpPr>
          <p:spPr bwMode="auto">
            <a:xfrm rot="722104">
              <a:off x="7792317" y="3554846"/>
              <a:ext cx="637674" cy="428880"/>
            </a:xfrm>
            <a:custGeom>
              <a:avLst/>
              <a:gdLst>
                <a:gd name="T0" fmla="*/ 28 w 452"/>
                <a:gd name="T1" fmla="*/ 242 h 304"/>
                <a:gd name="T2" fmla="*/ 338 w 452"/>
                <a:gd name="T3" fmla="*/ 0 h 304"/>
                <a:gd name="T4" fmla="*/ 452 w 452"/>
                <a:gd name="T5" fmla="*/ 50 h 304"/>
                <a:gd name="T6" fmla="*/ 54 w 452"/>
                <a:gd name="T7" fmla="*/ 304 h 304"/>
                <a:gd name="T8" fmla="*/ 14 w 452"/>
                <a:gd name="T9" fmla="*/ 188 h 304"/>
                <a:gd name="T10" fmla="*/ 116 w 452"/>
                <a:gd name="T11" fmla="*/ 152 h 304"/>
                <a:gd name="T12" fmla="*/ 74 w 452"/>
                <a:gd name="T13" fmla="*/ 174 h 304"/>
                <a:gd name="T14" fmla="*/ 162 w 452"/>
                <a:gd name="T15" fmla="*/ 112 h 304"/>
                <a:gd name="T16" fmla="*/ 170 w 452"/>
                <a:gd name="T17" fmla="*/ 126 h 304"/>
                <a:gd name="T18" fmla="*/ 176 w 452"/>
                <a:gd name="T19" fmla="*/ 106 h 304"/>
                <a:gd name="T20" fmla="*/ 278 w 452"/>
                <a:gd name="T21" fmla="*/ 72 h 304"/>
                <a:gd name="T22" fmla="*/ 236 w 452"/>
                <a:gd name="T23" fmla="*/ 94 h 304"/>
                <a:gd name="T24" fmla="*/ 324 w 452"/>
                <a:gd name="T25" fmla="*/ 30 h 304"/>
                <a:gd name="T26" fmla="*/ 332 w 452"/>
                <a:gd name="T27" fmla="*/ 46 h 304"/>
                <a:gd name="T28" fmla="*/ 26 w 452"/>
                <a:gd name="T29" fmla="*/ 210 h 304"/>
                <a:gd name="T30" fmla="*/ 128 w 452"/>
                <a:gd name="T31" fmla="*/ 176 h 304"/>
                <a:gd name="T32" fmla="*/ 86 w 452"/>
                <a:gd name="T33" fmla="*/ 196 h 304"/>
                <a:gd name="T34" fmla="*/ 176 w 452"/>
                <a:gd name="T35" fmla="*/ 136 h 304"/>
                <a:gd name="T36" fmla="*/ 182 w 452"/>
                <a:gd name="T37" fmla="*/ 152 h 304"/>
                <a:gd name="T38" fmla="*/ 188 w 452"/>
                <a:gd name="T39" fmla="*/ 130 h 304"/>
                <a:gd name="T40" fmla="*/ 292 w 452"/>
                <a:gd name="T41" fmla="*/ 100 h 304"/>
                <a:gd name="T42" fmla="*/ 250 w 452"/>
                <a:gd name="T43" fmla="*/ 120 h 304"/>
                <a:gd name="T44" fmla="*/ 338 w 452"/>
                <a:gd name="T45" fmla="*/ 58 h 304"/>
                <a:gd name="T46" fmla="*/ 346 w 452"/>
                <a:gd name="T47" fmla="*/ 74 h 304"/>
                <a:gd name="T48" fmla="*/ 348 w 452"/>
                <a:gd name="T49" fmla="*/ 52 h 304"/>
                <a:gd name="T50" fmla="*/ 84 w 452"/>
                <a:gd name="T51" fmla="*/ 224 h 304"/>
                <a:gd name="T52" fmla="*/ 42 w 452"/>
                <a:gd name="T53" fmla="*/ 244 h 304"/>
                <a:gd name="T54" fmla="*/ 132 w 452"/>
                <a:gd name="T55" fmla="*/ 186 h 304"/>
                <a:gd name="T56" fmla="*/ 138 w 452"/>
                <a:gd name="T57" fmla="*/ 200 h 304"/>
                <a:gd name="T58" fmla="*/ 144 w 452"/>
                <a:gd name="T59" fmla="*/ 182 h 304"/>
                <a:gd name="T60" fmla="*/ 250 w 452"/>
                <a:gd name="T61" fmla="*/ 152 h 304"/>
                <a:gd name="T62" fmla="*/ 206 w 452"/>
                <a:gd name="T63" fmla="*/ 170 h 304"/>
                <a:gd name="T64" fmla="*/ 298 w 452"/>
                <a:gd name="T65" fmla="*/ 112 h 304"/>
                <a:gd name="T66" fmla="*/ 304 w 452"/>
                <a:gd name="T67" fmla="*/ 128 h 304"/>
                <a:gd name="T68" fmla="*/ 308 w 452"/>
                <a:gd name="T69" fmla="*/ 106 h 304"/>
                <a:gd name="T70" fmla="*/ 414 w 452"/>
                <a:gd name="T71" fmla="*/ 80 h 304"/>
                <a:gd name="T72" fmla="*/ 370 w 452"/>
                <a:gd name="T73" fmla="*/ 98 h 304"/>
                <a:gd name="T74" fmla="*/ 88 w 452"/>
                <a:gd name="T75" fmla="*/ 234 h 304"/>
                <a:gd name="T76" fmla="*/ 94 w 452"/>
                <a:gd name="T77" fmla="*/ 246 h 304"/>
                <a:gd name="T78" fmla="*/ 100 w 452"/>
                <a:gd name="T79" fmla="*/ 228 h 304"/>
                <a:gd name="T80" fmla="*/ 204 w 452"/>
                <a:gd name="T81" fmla="*/ 202 h 304"/>
                <a:gd name="T82" fmla="*/ 160 w 452"/>
                <a:gd name="T83" fmla="*/ 220 h 304"/>
                <a:gd name="T84" fmla="*/ 254 w 452"/>
                <a:gd name="T85" fmla="*/ 162 h 304"/>
                <a:gd name="T86" fmla="*/ 262 w 452"/>
                <a:gd name="T87" fmla="*/ 178 h 304"/>
                <a:gd name="T88" fmla="*/ 266 w 452"/>
                <a:gd name="T89" fmla="*/ 158 h 304"/>
                <a:gd name="T90" fmla="*/ 372 w 452"/>
                <a:gd name="T91" fmla="*/ 132 h 304"/>
                <a:gd name="T92" fmla="*/ 328 w 452"/>
                <a:gd name="T93" fmla="*/ 150 h 304"/>
                <a:gd name="T94" fmla="*/ 418 w 452"/>
                <a:gd name="T95" fmla="*/ 92 h 304"/>
                <a:gd name="T96" fmla="*/ 426 w 452"/>
                <a:gd name="T97" fmla="*/ 110 h 304"/>
                <a:gd name="T98" fmla="*/ 54 w 452"/>
                <a:gd name="T99" fmla="*/ 274 h 304"/>
                <a:gd name="T100" fmla="*/ 158 w 452"/>
                <a:gd name="T101" fmla="*/ 248 h 304"/>
                <a:gd name="T102" fmla="*/ 114 w 452"/>
                <a:gd name="T103" fmla="*/ 266 h 304"/>
                <a:gd name="T104" fmla="*/ 208 w 452"/>
                <a:gd name="T105" fmla="*/ 212 h 304"/>
                <a:gd name="T106" fmla="*/ 214 w 452"/>
                <a:gd name="T107" fmla="*/ 226 h 304"/>
                <a:gd name="T108" fmla="*/ 222 w 452"/>
                <a:gd name="T109" fmla="*/ 206 h 304"/>
                <a:gd name="T110" fmla="*/ 328 w 452"/>
                <a:gd name="T111" fmla="*/ 184 h 304"/>
                <a:gd name="T112" fmla="*/ 284 w 452"/>
                <a:gd name="T113" fmla="*/ 200 h 304"/>
                <a:gd name="T114" fmla="*/ 376 w 452"/>
                <a:gd name="T115" fmla="*/ 144 h 304"/>
                <a:gd name="T116" fmla="*/ 384 w 452"/>
                <a:gd name="T117" fmla="*/ 162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52" h="304">
                  <a:moveTo>
                    <a:pt x="54" y="304"/>
                  </a:moveTo>
                  <a:lnTo>
                    <a:pt x="54" y="304"/>
                  </a:lnTo>
                  <a:lnTo>
                    <a:pt x="28" y="242"/>
                  </a:lnTo>
                  <a:lnTo>
                    <a:pt x="0" y="182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94" y="24"/>
                  </a:lnTo>
                  <a:lnTo>
                    <a:pt x="452" y="50"/>
                  </a:lnTo>
                  <a:lnTo>
                    <a:pt x="452" y="50"/>
                  </a:lnTo>
                  <a:lnTo>
                    <a:pt x="434" y="112"/>
                  </a:lnTo>
                  <a:lnTo>
                    <a:pt x="414" y="170"/>
                  </a:lnTo>
                  <a:lnTo>
                    <a:pt x="54" y="304"/>
                  </a:lnTo>
                  <a:close/>
                  <a:moveTo>
                    <a:pt x="64" y="180"/>
                  </a:moveTo>
                  <a:lnTo>
                    <a:pt x="56" y="166"/>
                  </a:lnTo>
                  <a:lnTo>
                    <a:pt x="14" y="188"/>
                  </a:lnTo>
                  <a:lnTo>
                    <a:pt x="22" y="200"/>
                  </a:lnTo>
                  <a:lnTo>
                    <a:pt x="64" y="180"/>
                  </a:lnTo>
                  <a:close/>
                  <a:moveTo>
                    <a:pt x="116" y="152"/>
                  </a:moveTo>
                  <a:lnTo>
                    <a:pt x="110" y="140"/>
                  </a:lnTo>
                  <a:lnTo>
                    <a:pt x="68" y="162"/>
                  </a:lnTo>
                  <a:lnTo>
                    <a:pt x="74" y="174"/>
                  </a:lnTo>
                  <a:lnTo>
                    <a:pt x="116" y="152"/>
                  </a:lnTo>
                  <a:close/>
                  <a:moveTo>
                    <a:pt x="170" y="126"/>
                  </a:moveTo>
                  <a:lnTo>
                    <a:pt x="162" y="112"/>
                  </a:lnTo>
                  <a:lnTo>
                    <a:pt x="120" y="134"/>
                  </a:lnTo>
                  <a:lnTo>
                    <a:pt x="128" y="148"/>
                  </a:lnTo>
                  <a:lnTo>
                    <a:pt x="170" y="126"/>
                  </a:lnTo>
                  <a:close/>
                  <a:moveTo>
                    <a:pt x="226" y="98"/>
                  </a:moveTo>
                  <a:lnTo>
                    <a:pt x="218" y="84"/>
                  </a:lnTo>
                  <a:lnTo>
                    <a:pt x="176" y="106"/>
                  </a:lnTo>
                  <a:lnTo>
                    <a:pt x="182" y="120"/>
                  </a:lnTo>
                  <a:lnTo>
                    <a:pt x="226" y="98"/>
                  </a:lnTo>
                  <a:close/>
                  <a:moveTo>
                    <a:pt x="278" y="72"/>
                  </a:moveTo>
                  <a:lnTo>
                    <a:pt x="270" y="56"/>
                  </a:lnTo>
                  <a:lnTo>
                    <a:pt x="228" y="78"/>
                  </a:lnTo>
                  <a:lnTo>
                    <a:pt x="236" y="94"/>
                  </a:lnTo>
                  <a:lnTo>
                    <a:pt x="278" y="72"/>
                  </a:lnTo>
                  <a:close/>
                  <a:moveTo>
                    <a:pt x="332" y="46"/>
                  </a:moveTo>
                  <a:lnTo>
                    <a:pt x="324" y="30"/>
                  </a:lnTo>
                  <a:lnTo>
                    <a:pt x="282" y="52"/>
                  </a:lnTo>
                  <a:lnTo>
                    <a:pt x="290" y="66"/>
                  </a:lnTo>
                  <a:lnTo>
                    <a:pt x="332" y="46"/>
                  </a:lnTo>
                  <a:close/>
                  <a:moveTo>
                    <a:pt x="74" y="202"/>
                  </a:moveTo>
                  <a:lnTo>
                    <a:pt x="68" y="188"/>
                  </a:lnTo>
                  <a:lnTo>
                    <a:pt x="26" y="210"/>
                  </a:lnTo>
                  <a:lnTo>
                    <a:pt x="32" y="222"/>
                  </a:lnTo>
                  <a:lnTo>
                    <a:pt x="74" y="202"/>
                  </a:lnTo>
                  <a:close/>
                  <a:moveTo>
                    <a:pt x="128" y="176"/>
                  </a:moveTo>
                  <a:lnTo>
                    <a:pt x="122" y="162"/>
                  </a:lnTo>
                  <a:lnTo>
                    <a:pt x="80" y="184"/>
                  </a:lnTo>
                  <a:lnTo>
                    <a:pt x="86" y="196"/>
                  </a:lnTo>
                  <a:lnTo>
                    <a:pt x="128" y="176"/>
                  </a:lnTo>
                  <a:close/>
                  <a:moveTo>
                    <a:pt x="182" y="152"/>
                  </a:moveTo>
                  <a:lnTo>
                    <a:pt x="176" y="136"/>
                  </a:lnTo>
                  <a:lnTo>
                    <a:pt x="132" y="158"/>
                  </a:lnTo>
                  <a:lnTo>
                    <a:pt x="140" y="172"/>
                  </a:lnTo>
                  <a:lnTo>
                    <a:pt x="182" y="152"/>
                  </a:lnTo>
                  <a:close/>
                  <a:moveTo>
                    <a:pt x="238" y="124"/>
                  </a:moveTo>
                  <a:lnTo>
                    <a:pt x="230" y="110"/>
                  </a:lnTo>
                  <a:lnTo>
                    <a:pt x="188" y="130"/>
                  </a:lnTo>
                  <a:lnTo>
                    <a:pt x="196" y="144"/>
                  </a:lnTo>
                  <a:lnTo>
                    <a:pt x="238" y="124"/>
                  </a:lnTo>
                  <a:close/>
                  <a:moveTo>
                    <a:pt x="292" y="100"/>
                  </a:moveTo>
                  <a:lnTo>
                    <a:pt x="284" y="84"/>
                  </a:lnTo>
                  <a:lnTo>
                    <a:pt x="242" y="104"/>
                  </a:lnTo>
                  <a:lnTo>
                    <a:pt x="250" y="120"/>
                  </a:lnTo>
                  <a:lnTo>
                    <a:pt x="292" y="100"/>
                  </a:lnTo>
                  <a:close/>
                  <a:moveTo>
                    <a:pt x="346" y="74"/>
                  </a:moveTo>
                  <a:lnTo>
                    <a:pt x="338" y="58"/>
                  </a:lnTo>
                  <a:lnTo>
                    <a:pt x="296" y="78"/>
                  </a:lnTo>
                  <a:lnTo>
                    <a:pt x="302" y="94"/>
                  </a:lnTo>
                  <a:lnTo>
                    <a:pt x="346" y="74"/>
                  </a:lnTo>
                  <a:close/>
                  <a:moveTo>
                    <a:pt x="400" y="50"/>
                  </a:moveTo>
                  <a:lnTo>
                    <a:pt x="392" y="32"/>
                  </a:lnTo>
                  <a:lnTo>
                    <a:pt x="348" y="52"/>
                  </a:lnTo>
                  <a:lnTo>
                    <a:pt x="356" y="70"/>
                  </a:lnTo>
                  <a:lnTo>
                    <a:pt x="400" y="50"/>
                  </a:lnTo>
                  <a:close/>
                  <a:moveTo>
                    <a:pt x="84" y="224"/>
                  </a:moveTo>
                  <a:lnTo>
                    <a:pt x="78" y="212"/>
                  </a:lnTo>
                  <a:lnTo>
                    <a:pt x="36" y="230"/>
                  </a:lnTo>
                  <a:lnTo>
                    <a:pt x="42" y="244"/>
                  </a:lnTo>
                  <a:lnTo>
                    <a:pt x="84" y="224"/>
                  </a:lnTo>
                  <a:close/>
                  <a:moveTo>
                    <a:pt x="138" y="200"/>
                  </a:moveTo>
                  <a:lnTo>
                    <a:pt x="132" y="186"/>
                  </a:lnTo>
                  <a:lnTo>
                    <a:pt x="90" y="206"/>
                  </a:lnTo>
                  <a:lnTo>
                    <a:pt x="96" y="220"/>
                  </a:lnTo>
                  <a:lnTo>
                    <a:pt x="138" y="200"/>
                  </a:lnTo>
                  <a:close/>
                  <a:moveTo>
                    <a:pt x="194" y="176"/>
                  </a:moveTo>
                  <a:lnTo>
                    <a:pt x="186" y="162"/>
                  </a:lnTo>
                  <a:lnTo>
                    <a:pt x="144" y="182"/>
                  </a:lnTo>
                  <a:lnTo>
                    <a:pt x="150" y="196"/>
                  </a:lnTo>
                  <a:lnTo>
                    <a:pt x="194" y="176"/>
                  </a:lnTo>
                  <a:close/>
                  <a:moveTo>
                    <a:pt x="250" y="152"/>
                  </a:moveTo>
                  <a:lnTo>
                    <a:pt x="242" y="136"/>
                  </a:lnTo>
                  <a:lnTo>
                    <a:pt x="200" y="156"/>
                  </a:lnTo>
                  <a:lnTo>
                    <a:pt x="206" y="170"/>
                  </a:lnTo>
                  <a:lnTo>
                    <a:pt x="250" y="152"/>
                  </a:lnTo>
                  <a:close/>
                  <a:moveTo>
                    <a:pt x="304" y="128"/>
                  </a:moveTo>
                  <a:lnTo>
                    <a:pt x="298" y="112"/>
                  </a:lnTo>
                  <a:lnTo>
                    <a:pt x="254" y="130"/>
                  </a:lnTo>
                  <a:lnTo>
                    <a:pt x="262" y="146"/>
                  </a:lnTo>
                  <a:lnTo>
                    <a:pt x="304" y="128"/>
                  </a:lnTo>
                  <a:close/>
                  <a:moveTo>
                    <a:pt x="358" y="104"/>
                  </a:moveTo>
                  <a:lnTo>
                    <a:pt x="352" y="86"/>
                  </a:lnTo>
                  <a:lnTo>
                    <a:pt x="308" y="106"/>
                  </a:lnTo>
                  <a:lnTo>
                    <a:pt x="316" y="122"/>
                  </a:lnTo>
                  <a:lnTo>
                    <a:pt x="358" y="104"/>
                  </a:lnTo>
                  <a:close/>
                  <a:moveTo>
                    <a:pt x="414" y="80"/>
                  </a:moveTo>
                  <a:lnTo>
                    <a:pt x="406" y="62"/>
                  </a:lnTo>
                  <a:lnTo>
                    <a:pt x="362" y="82"/>
                  </a:lnTo>
                  <a:lnTo>
                    <a:pt x="370" y="98"/>
                  </a:lnTo>
                  <a:lnTo>
                    <a:pt x="414" y="80"/>
                  </a:lnTo>
                  <a:close/>
                  <a:moveTo>
                    <a:pt x="94" y="246"/>
                  </a:moveTo>
                  <a:lnTo>
                    <a:pt x="88" y="234"/>
                  </a:lnTo>
                  <a:lnTo>
                    <a:pt x="46" y="252"/>
                  </a:lnTo>
                  <a:lnTo>
                    <a:pt x="50" y="264"/>
                  </a:lnTo>
                  <a:lnTo>
                    <a:pt x="94" y="246"/>
                  </a:lnTo>
                  <a:close/>
                  <a:moveTo>
                    <a:pt x="150" y="224"/>
                  </a:moveTo>
                  <a:lnTo>
                    <a:pt x="144" y="210"/>
                  </a:lnTo>
                  <a:lnTo>
                    <a:pt x="100" y="228"/>
                  </a:lnTo>
                  <a:lnTo>
                    <a:pt x="106" y="242"/>
                  </a:lnTo>
                  <a:lnTo>
                    <a:pt x="150" y="224"/>
                  </a:lnTo>
                  <a:close/>
                  <a:moveTo>
                    <a:pt x="204" y="202"/>
                  </a:moveTo>
                  <a:lnTo>
                    <a:pt x="198" y="186"/>
                  </a:lnTo>
                  <a:lnTo>
                    <a:pt x="154" y="206"/>
                  </a:lnTo>
                  <a:lnTo>
                    <a:pt x="160" y="220"/>
                  </a:lnTo>
                  <a:lnTo>
                    <a:pt x="204" y="202"/>
                  </a:lnTo>
                  <a:close/>
                  <a:moveTo>
                    <a:pt x="262" y="178"/>
                  </a:moveTo>
                  <a:lnTo>
                    <a:pt x="254" y="162"/>
                  </a:lnTo>
                  <a:lnTo>
                    <a:pt x="212" y="182"/>
                  </a:lnTo>
                  <a:lnTo>
                    <a:pt x="218" y="196"/>
                  </a:lnTo>
                  <a:lnTo>
                    <a:pt x="262" y="178"/>
                  </a:lnTo>
                  <a:close/>
                  <a:moveTo>
                    <a:pt x="316" y="156"/>
                  </a:moveTo>
                  <a:lnTo>
                    <a:pt x="310" y="138"/>
                  </a:lnTo>
                  <a:lnTo>
                    <a:pt x="266" y="158"/>
                  </a:lnTo>
                  <a:lnTo>
                    <a:pt x="272" y="174"/>
                  </a:lnTo>
                  <a:lnTo>
                    <a:pt x="316" y="156"/>
                  </a:lnTo>
                  <a:close/>
                  <a:moveTo>
                    <a:pt x="372" y="132"/>
                  </a:moveTo>
                  <a:lnTo>
                    <a:pt x="364" y="116"/>
                  </a:lnTo>
                  <a:lnTo>
                    <a:pt x="320" y="134"/>
                  </a:lnTo>
                  <a:lnTo>
                    <a:pt x="328" y="150"/>
                  </a:lnTo>
                  <a:lnTo>
                    <a:pt x="372" y="132"/>
                  </a:lnTo>
                  <a:close/>
                  <a:moveTo>
                    <a:pt x="426" y="110"/>
                  </a:moveTo>
                  <a:lnTo>
                    <a:pt x="418" y="92"/>
                  </a:lnTo>
                  <a:lnTo>
                    <a:pt x="376" y="110"/>
                  </a:lnTo>
                  <a:lnTo>
                    <a:pt x="382" y="128"/>
                  </a:lnTo>
                  <a:lnTo>
                    <a:pt x="426" y="110"/>
                  </a:lnTo>
                  <a:close/>
                  <a:moveTo>
                    <a:pt x="104" y="270"/>
                  </a:moveTo>
                  <a:lnTo>
                    <a:pt x="98" y="256"/>
                  </a:lnTo>
                  <a:lnTo>
                    <a:pt x="54" y="274"/>
                  </a:lnTo>
                  <a:lnTo>
                    <a:pt x="58" y="286"/>
                  </a:lnTo>
                  <a:lnTo>
                    <a:pt x="104" y="270"/>
                  </a:lnTo>
                  <a:close/>
                  <a:moveTo>
                    <a:pt x="158" y="248"/>
                  </a:moveTo>
                  <a:lnTo>
                    <a:pt x="154" y="234"/>
                  </a:lnTo>
                  <a:lnTo>
                    <a:pt x="110" y="252"/>
                  </a:lnTo>
                  <a:lnTo>
                    <a:pt x="114" y="266"/>
                  </a:lnTo>
                  <a:lnTo>
                    <a:pt x="158" y="248"/>
                  </a:lnTo>
                  <a:close/>
                  <a:moveTo>
                    <a:pt x="214" y="226"/>
                  </a:moveTo>
                  <a:lnTo>
                    <a:pt x="208" y="212"/>
                  </a:lnTo>
                  <a:lnTo>
                    <a:pt x="164" y="230"/>
                  </a:lnTo>
                  <a:lnTo>
                    <a:pt x="170" y="244"/>
                  </a:lnTo>
                  <a:lnTo>
                    <a:pt x="214" y="226"/>
                  </a:lnTo>
                  <a:close/>
                  <a:moveTo>
                    <a:pt x="272" y="204"/>
                  </a:moveTo>
                  <a:lnTo>
                    <a:pt x="266" y="190"/>
                  </a:lnTo>
                  <a:lnTo>
                    <a:pt x="222" y="206"/>
                  </a:lnTo>
                  <a:lnTo>
                    <a:pt x="228" y="222"/>
                  </a:lnTo>
                  <a:lnTo>
                    <a:pt x="272" y="204"/>
                  </a:lnTo>
                  <a:close/>
                  <a:moveTo>
                    <a:pt x="328" y="184"/>
                  </a:moveTo>
                  <a:lnTo>
                    <a:pt x="322" y="166"/>
                  </a:lnTo>
                  <a:lnTo>
                    <a:pt x="278" y="184"/>
                  </a:lnTo>
                  <a:lnTo>
                    <a:pt x="284" y="200"/>
                  </a:lnTo>
                  <a:lnTo>
                    <a:pt x="328" y="184"/>
                  </a:lnTo>
                  <a:close/>
                  <a:moveTo>
                    <a:pt x="384" y="162"/>
                  </a:moveTo>
                  <a:lnTo>
                    <a:pt x="376" y="144"/>
                  </a:lnTo>
                  <a:lnTo>
                    <a:pt x="332" y="162"/>
                  </a:lnTo>
                  <a:lnTo>
                    <a:pt x="338" y="178"/>
                  </a:lnTo>
                  <a:lnTo>
                    <a:pt x="384" y="1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endParaRPr lang="de-DE" sz="1539" dirty="0">
                <a:solidFill>
                  <a:srgbClr val="000000"/>
                </a:solidFill>
              </a:endParaRPr>
            </a:p>
          </p:txBody>
        </p:sp>
      </p:grpSp>
      <p:sp>
        <p:nvSpPr>
          <p:cNvPr id="54" name="Freeform 55">
            <a:extLst>
              <a:ext uri="{FF2B5EF4-FFF2-40B4-BE49-F238E27FC236}">
                <a16:creationId xmlns:a16="http://schemas.microsoft.com/office/drawing/2014/main" id="{6DBE829C-86B0-42F1-96CD-0ED469D04AC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471529" y="3347639"/>
            <a:ext cx="1370531" cy="1370531"/>
          </a:xfrm>
          <a:custGeom>
            <a:avLst/>
            <a:gdLst>
              <a:gd name="T0" fmla="*/ 175 w 200"/>
              <a:gd name="T1" fmla="*/ 188 h 200"/>
              <a:gd name="T2" fmla="*/ 175 w 200"/>
              <a:gd name="T3" fmla="*/ 50 h 200"/>
              <a:gd name="T4" fmla="*/ 162 w 200"/>
              <a:gd name="T5" fmla="*/ 38 h 200"/>
              <a:gd name="T6" fmla="*/ 137 w 200"/>
              <a:gd name="T7" fmla="*/ 38 h 200"/>
              <a:gd name="T8" fmla="*/ 137 w 200"/>
              <a:gd name="T9" fmla="*/ 13 h 200"/>
              <a:gd name="T10" fmla="*/ 125 w 200"/>
              <a:gd name="T11" fmla="*/ 0 h 200"/>
              <a:gd name="T12" fmla="*/ 37 w 200"/>
              <a:gd name="T13" fmla="*/ 0 h 200"/>
              <a:gd name="T14" fmla="*/ 25 w 200"/>
              <a:gd name="T15" fmla="*/ 13 h 200"/>
              <a:gd name="T16" fmla="*/ 25 w 200"/>
              <a:gd name="T17" fmla="*/ 188 h 200"/>
              <a:gd name="T18" fmla="*/ 0 w 200"/>
              <a:gd name="T19" fmla="*/ 188 h 200"/>
              <a:gd name="T20" fmla="*/ 0 w 200"/>
              <a:gd name="T21" fmla="*/ 200 h 200"/>
              <a:gd name="T22" fmla="*/ 200 w 200"/>
              <a:gd name="T23" fmla="*/ 200 h 200"/>
              <a:gd name="T24" fmla="*/ 200 w 200"/>
              <a:gd name="T25" fmla="*/ 188 h 200"/>
              <a:gd name="T26" fmla="*/ 175 w 200"/>
              <a:gd name="T27" fmla="*/ 188 h 200"/>
              <a:gd name="T28" fmla="*/ 162 w 200"/>
              <a:gd name="T29" fmla="*/ 188 h 200"/>
              <a:gd name="T30" fmla="*/ 37 w 200"/>
              <a:gd name="T31" fmla="*/ 188 h 200"/>
              <a:gd name="T32" fmla="*/ 37 w 200"/>
              <a:gd name="T33" fmla="*/ 13 h 200"/>
              <a:gd name="T34" fmla="*/ 125 w 200"/>
              <a:gd name="T35" fmla="*/ 13 h 200"/>
              <a:gd name="T36" fmla="*/ 125 w 200"/>
              <a:gd name="T37" fmla="*/ 38 h 200"/>
              <a:gd name="T38" fmla="*/ 125 w 200"/>
              <a:gd name="T39" fmla="*/ 50 h 200"/>
              <a:gd name="T40" fmla="*/ 137 w 200"/>
              <a:gd name="T41" fmla="*/ 50 h 200"/>
              <a:gd name="T42" fmla="*/ 162 w 200"/>
              <a:gd name="T43" fmla="*/ 50 h 200"/>
              <a:gd name="T44" fmla="*/ 162 w 200"/>
              <a:gd name="T45" fmla="*/ 188 h 200"/>
              <a:gd name="T46" fmla="*/ 56 w 200"/>
              <a:gd name="T47" fmla="*/ 144 h 200"/>
              <a:gd name="T48" fmla="*/ 69 w 200"/>
              <a:gd name="T49" fmla="*/ 144 h 200"/>
              <a:gd name="T50" fmla="*/ 69 w 200"/>
              <a:gd name="T51" fmla="*/ 132 h 200"/>
              <a:gd name="T52" fmla="*/ 56 w 200"/>
              <a:gd name="T53" fmla="*/ 132 h 200"/>
              <a:gd name="T54" fmla="*/ 56 w 200"/>
              <a:gd name="T55" fmla="*/ 144 h 200"/>
              <a:gd name="T56" fmla="*/ 56 w 200"/>
              <a:gd name="T57" fmla="*/ 94 h 200"/>
              <a:gd name="T58" fmla="*/ 69 w 200"/>
              <a:gd name="T59" fmla="*/ 94 h 200"/>
              <a:gd name="T60" fmla="*/ 69 w 200"/>
              <a:gd name="T61" fmla="*/ 82 h 200"/>
              <a:gd name="T62" fmla="*/ 56 w 200"/>
              <a:gd name="T63" fmla="*/ 82 h 200"/>
              <a:gd name="T64" fmla="*/ 56 w 200"/>
              <a:gd name="T65" fmla="*/ 94 h 200"/>
              <a:gd name="T66" fmla="*/ 56 w 200"/>
              <a:gd name="T67" fmla="*/ 44 h 200"/>
              <a:gd name="T68" fmla="*/ 69 w 200"/>
              <a:gd name="T69" fmla="*/ 44 h 200"/>
              <a:gd name="T70" fmla="*/ 69 w 200"/>
              <a:gd name="T71" fmla="*/ 32 h 200"/>
              <a:gd name="T72" fmla="*/ 56 w 200"/>
              <a:gd name="T73" fmla="*/ 32 h 200"/>
              <a:gd name="T74" fmla="*/ 56 w 200"/>
              <a:gd name="T75" fmla="*/ 44 h 200"/>
              <a:gd name="T76" fmla="*/ 94 w 200"/>
              <a:gd name="T77" fmla="*/ 157 h 200"/>
              <a:gd name="T78" fmla="*/ 106 w 200"/>
              <a:gd name="T79" fmla="*/ 157 h 200"/>
              <a:gd name="T80" fmla="*/ 106 w 200"/>
              <a:gd name="T81" fmla="*/ 132 h 200"/>
              <a:gd name="T82" fmla="*/ 94 w 200"/>
              <a:gd name="T83" fmla="*/ 132 h 200"/>
              <a:gd name="T84" fmla="*/ 94 w 200"/>
              <a:gd name="T85" fmla="*/ 157 h 200"/>
              <a:gd name="T86" fmla="*/ 94 w 200"/>
              <a:gd name="T87" fmla="*/ 94 h 200"/>
              <a:gd name="T88" fmla="*/ 106 w 200"/>
              <a:gd name="T89" fmla="*/ 94 h 200"/>
              <a:gd name="T90" fmla="*/ 106 w 200"/>
              <a:gd name="T91" fmla="*/ 82 h 200"/>
              <a:gd name="T92" fmla="*/ 94 w 200"/>
              <a:gd name="T93" fmla="*/ 82 h 200"/>
              <a:gd name="T94" fmla="*/ 94 w 200"/>
              <a:gd name="T95" fmla="*/ 94 h 200"/>
              <a:gd name="T96" fmla="*/ 94 w 200"/>
              <a:gd name="T97" fmla="*/ 44 h 200"/>
              <a:gd name="T98" fmla="*/ 106 w 200"/>
              <a:gd name="T99" fmla="*/ 44 h 200"/>
              <a:gd name="T100" fmla="*/ 106 w 200"/>
              <a:gd name="T101" fmla="*/ 32 h 200"/>
              <a:gd name="T102" fmla="*/ 94 w 200"/>
              <a:gd name="T103" fmla="*/ 32 h 200"/>
              <a:gd name="T104" fmla="*/ 94 w 200"/>
              <a:gd name="T105" fmla="*/ 44 h 200"/>
              <a:gd name="T106" fmla="*/ 131 w 200"/>
              <a:gd name="T107" fmla="*/ 144 h 200"/>
              <a:gd name="T108" fmla="*/ 144 w 200"/>
              <a:gd name="T109" fmla="*/ 144 h 200"/>
              <a:gd name="T110" fmla="*/ 144 w 200"/>
              <a:gd name="T111" fmla="*/ 132 h 200"/>
              <a:gd name="T112" fmla="*/ 131 w 200"/>
              <a:gd name="T113" fmla="*/ 132 h 200"/>
              <a:gd name="T114" fmla="*/ 131 w 200"/>
              <a:gd name="T115" fmla="*/ 144 h 200"/>
              <a:gd name="T116" fmla="*/ 131 w 200"/>
              <a:gd name="T117" fmla="*/ 94 h 200"/>
              <a:gd name="T118" fmla="*/ 144 w 200"/>
              <a:gd name="T119" fmla="*/ 94 h 200"/>
              <a:gd name="T120" fmla="*/ 144 w 200"/>
              <a:gd name="T121" fmla="*/ 82 h 200"/>
              <a:gd name="T122" fmla="*/ 131 w 200"/>
              <a:gd name="T123" fmla="*/ 82 h 200"/>
              <a:gd name="T124" fmla="*/ 131 w 200"/>
              <a:gd name="T125" fmla="*/ 94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0" h="200">
                <a:moveTo>
                  <a:pt x="175" y="188"/>
                </a:moveTo>
                <a:cubicBezTo>
                  <a:pt x="175" y="50"/>
                  <a:pt x="175" y="50"/>
                  <a:pt x="175" y="50"/>
                </a:cubicBezTo>
                <a:cubicBezTo>
                  <a:pt x="175" y="44"/>
                  <a:pt x="169" y="38"/>
                  <a:pt x="162" y="38"/>
                </a:cubicBezTo>
                <a:cubicBezTo>
                  <a:pt x="137" y="38"/>
                  <a:pt x="137" y="38"/>
                  <a:pt x="137" y="38"/>
                </a:cubicBezTo>
                <a:cubicBezTo>
                  <a:pt x="137" y="13"/>
                  <a:pt x="137" y="13"/>
                  <a:pt x="137" y="13"/>
                </a:cubicBezTo>
                <a:cubicBezTo>
                  <a:pt x="137" y="6"/>
                  <a:pt x="132" y="0"/>
                  <a:pt x="125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1" y="0"/>
                  <a:pt x="25" y="6"/>
                  <a:pt x="25" y="13"/>
                </a:cubicBezTo>
                <a:cubicBezTo>
                  <a:pt x="25" y="188"/>
                  <a:pt x="25" y="188"/>
                  <a:pt x="25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200"/>
                  <a:pt x="0" y="200"/>
                  <a:pt x="0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200" y="188"/>
                  <a:pt x="200" y="188"/>
                  <a:pt x="200" y="188"/>
                </a:cubicBezTo>
                <a:lnTo>
                  <a:pt x="175" y="188"/>
                </a:lnTo>
                <a:close/>
                <a:moveTo>
                  <a:pt x="162" y="188"/>
                </a:moveTo>
                <a:cubicBezTo>
                  <a:pt x="37" y="188"/>
                  <a:pt x="37" y="188"/>
                  <a:pt x="37" y="188"/>
                </a:cubicBezTo>
                <a:cubicBezTo>
                  <a:pt x="37" y="13"/>
                  <a:pt x="37" y="13"/>
                  <a:pt x="37" y="13"/>
                </a:cubicBezTo>
                <a:cubicBezTo>
                  <a:pt x="125" y="13"/>
                  <a:pt x="125" y="13"/>
                  <a:pt x="125" y="13"/>
                </a:cubicBezTo>
                <a:cubicBezTo>
                  <a:pt x="125" y="38"/>
                  <a:pt x="125" y="38"/>
                  <a:pt x="125" y="38"/>
                </a:cubicBezTo>
                <a:cubicBezTo>
                  <a:pt x="125" y="50"/>
                  <a:pt x="125" y="50"/>
                  <a:pt x="125" y="50"/>
                </a:cubicBezTo>
                <a:cubicBezTo>
                  <a:pt x="137" y="50"/>
                  <a:pt x="137" y="50"/>
                  <a:pt x="137" y="50"/>
                </a:cubicBezTo>
                <a:cubicBezTo>
                  <a:pt x="162" y="50"/>
                  <a:pt x="162" y="50"/>
                  <a:pt x="162" y="50"/>
                </a:cubicBezTo>
                <a:lnTo>
                  <a:pt x="162" y="188"/>
                </a:lnTo>
                <a:close/>
                <a:moveTo>
                  <a:pt x="56" y="144"/>
                </a:moveTo>
                <a:cubicBezTo>
                  <a:pt x="69" y="144"/>
                  <a:pt x="69" y="144"/>
                  <a:pt x="69" y="144"/>
                </a:cubicBezTo>
                <a:cubicBezTo>
                  <a:pt x="69" y="132"/>
                  <a:pt x="69" y="132"/>
                  <a:pt x="69" y="132"/>
                </a:cubicBezTo>
                <a:cubicBezTo>
                  <a:pt x="56" y="132"/>
                  <a:pt x="56" y="132"/>
                  <a:pt x="56" y="132"/>
                </a:cubicBezTo>
                <a:lnTo>
                  <a:pt x="56" y="144"/>
                </a:lnTo>
                <a:close/>
                <a:moveTo>
                  <a:pt x="56" y="94"/>
                </a:moveTo>
                <a:cubicBezTo>
                  <a:pt x="69" y="94"/>
                  <a:pt x="69" y="94"/>
                  <a:pt x="69" y="94"/>
                </a:cubicBezTo>
                <a:cubicBezTo>
                  <a:pt x="69" y="82"/>
                  <a:pt x="69" y="82"/>
                  <a:pt x="69" y="82"/>
                </a:cubicBezTo>
                <a:cubicBezTo>
                  <a:pt x="56" y="82"/>
                  <a:pt x="56" y="82"/>
                  <a:pt x="56" y="82"/>
                </a:cubicBezTo>
                <a:lnTo>
                  <a:pt x="56" y="94"/>
                </a:lnTo>
                <a:close/>
                <a:moveTo>
                  <a:pt x="56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9" y="32"/>
                  <a:pt x="69" y="32"/>
                  <a:pt x="69" y="32"/>
                </a:cubicBezTo>
                <a:cubicBezTo>
                  <a:pt x="56" y="32"/>
                  <a:pt x="56" y="32"/>
                  <a:pt x="56" y="32"/>
                </a:cubicBezTo>
                <a:lnTo>
                  <a:pt x="56" y="44"/>
                </a:lnTo>
                <a:close/>
                <a:moveTo>
                  <a:pt x="94" y="157"/>
                </a:moveTo>
                <a:cubicBezTo>
                  <a:pt x="106" y="157"/>
                  <a:pt x="106" y="157"/>
                  <a:pt x="106" y="157"/>
                </a:cubicBezTo>
                <a:cubicBezTo>
                  <a:pt x="106" y="132"/>
                  <a:pt x="106" y="132"/>
                  <a:pt x="106" y="132"/>
                </a:cubicBezTo>
                <a:cubicBezTo>
                  <a:pt x="94" y="132"/>
                  <a:pt x="94" y="132"/>
                  <a:pt x="94" y="132"/>
                </a:cubicBezTo>
                <a:lnTo>
                  <a:pt x="94" y="157"/>
                </a:lnTo>
                <a:close/>
                <a:moveTo>
                  <a:pt x="94" y="94"/>
                </a:moveTo>
                <a:cubicBezTo>
                  <a:pt x="106" y="94"/>
                  <a:pt x="106" y="94"/>
                  <a:pt x="106" y="94"/>
                </a:cubicBezTo>
                <a:cubicBezTo>
                  <a:pt x="106" y="82"/>
                  <a:pt x="106" y="82"/>
                  <a:pt x="106" y="82"/>
                </a:cubicBezTo>
                <a:cubicBezTo>
                  <a:pt x="94" y="82"/>
                  <a:pt x="94" y="82"/>
                  <a:pt x="94" y="82"/>
                </a:cubicBezTo>
                <a:lnTo>
                  <a:pt x="94" y="94"/>
                </a:lnTo>
                <a:close/>
                <a:moveTo>
                  <a:pt x="94" y="44"/>
                </a:moveTo>
                <a:cubicBezTo>
                  <a:pt x="106" y="44"/>
                  <a:pt x="106" y="44"/>
                  <a:pt x="106" y="44"/>
                </a:cubicBezTo>
                <a:cubicBezTo>
                  <a:pt x="106" y="32"/>
                  <a:pt x="106" y="32"/>
                  <a:pt x="106" y="32"/>
                </a:cubicBezTo>
                <a:cubicBezTo>
                  <a:pt x="94" y="32"/>
                  <a:pt x="94" y="32"/>
                  <a:pt x="94" y="32"/>
                </a:cubicBezTo>
                <a:lnTo>
                  <a:pt x="94" y="44"/>
                </a:lnTo>
                <a:close/>
                <a:moveTo>
                  <a:pt x="131" y="144"/>
                </a:moveTo>
                <a:cubicBezTo>
                  <a:pt x="144" y="144"/>
                  <a:pt x="144" y="144"/>
                  <a:pt x="144" y="144"/>
                </a:cubicBezTo>
                <a:cubicBezTo>
                  <a:pt x="144" y="132"/>
                  <a:pt x="144" y="132"/>
                  <a:pt x="144" y="132"/>
                </a:cubicBezTo>
                <a:cubicBezTo>
                  <a:pt x="131" y="132"/>
                  <a:pt x="131" y="132"/>
                  <a:pt x="131" y="132"/>
                </a:cubicBezTo>
                <a:lnTo>
                  <a:pt x="131" y="144"/>
                </a:lnTo>
                <a:close/>
                <a:moveTo>
                  <a:pt x="131" y="94"/>
                </a:moveTo>
                <a:cubicBezTo>
                  <a:pt x="144" y="94"/>
                  <a:pt x="144" y="94"/>
                  <a:pt x="144" y="94"/>
                </a:cubicBezTo>
                <a:cubicBezTo>
                  <a:pt x="144" y="82"/>
                  <a:pt x="144" y="82"/>
                  <a:pt x="144" y="82"/>
                </a:cubicBezTo>
                <a:cubicBezTo>
                  <a:pt x="131" y="82"/>
                  <a:pt x="131" y="82"/>
                  <a:pt x="131" y="82"/>
                </a:cubicBezTo>
                <a:lnTo>
                  <a:pt x="131" y="94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42" name="Freeform 29">
            <a:extLst>
              <a:ext uri="{FF2B5EF4-FFF2-40B4-BE49-F238E27FC236}">
                <a16:creationId xmlns:a16="http://schemas.microsoft.com/office/drawing/2014/main" id="{80DCAE91-3EB9-5245-9EEA-99F8F8E1713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14012" y="4246800"/>
            <a:ext cx="635076" cy="635078"/>
          </a:xfrm>
          <a:custGeom>
            <a:avLst/>
            <a:gdLst>
              <a:gd name="T0" fmla="*/ 0 w 347"/>
              <a:gd name="T1" fmla="*/ 347 h 347"/>
              <a:gd name="T2" fmla="*/ 347 w 347"/>
              <a:gd name="T3" fmla="*/ 0 h 347"/>
              <a:gd name="T4" fmla="*/ 332 w 347"/>
              <a:gd name="T5" fmla="*/ 332 h 347"/>
              <a:gd name="T6" fmla="*/ 15 w 347"/>
              <a:gd name="T7" fmla="*/ 15 h 347"/>
              <a:gd name="T8" fmla="*/ 332 w 347"/>
              <a:gd name="T9" fmla="*/ 332 h 347"/>
              <a:gd name="T10" fmla="*/ 300 w 347"/>
              <a:gd name="T11" fmla="*/ 173 h 347"/>
              <a:gd name="T12" fmla="*/ 47 w 347"/>
              <a:gd name="T13" fmla="*/ 173 h 347"/>
              <a:gd name="T14" fmla="*/ 84 w 347"/>
              <a:gd name="T15" fmla="*/ 240 h 347"/>
              <a:gd name="T16" fmla="*/ 129 w 347"/>
              <a:gd name="T17" fmla="*/ 276 h 347"/>
              <a:gd name="T18" fmla="*/ 91 w 347"/>
              <a:gd name="T19" fmla="*/ 121 h 347"/>
              <a:gd name="T20" fmla="*/ 99 w 347"/>
              <a:gd name="T21" fmla="*/ 166 h 347"/>
              <a:gd name="T22" fmla="*/ 75 w 347"/>
              <a:gd name="T23" fmla="*/ 121 h 347"/>
              <a:gd name="T24" fmla="*/ 285 w 347"/>
              <a:gd name="T25" fmla="*/ 166 h 347"/>
              <a:gd name="T26" fmla="*/ 247 w 347"/>
              <a:gd name="T27" fmla="*/ 149 h 347"/>
              <a:gd name="T28" fmla="*/ 272 w 347"/>
              <a:gd name="T29" fmla="*/ 121 h 347"/>
              <a:gd name="T30" fmla="*/ 145 w 347"/>
              <a:gd name="T31" fmla="*/ 121 h 347"/>
              <a:gd name="T32" fmla="*/ 166 w 347"/>
              <a:gd name="T33" fmla="*/ 166 h 347"/>
              <a:gd name="T34" fmla="*/ 115 w 347"/>
              <a:gd name="T35" fmla="*/ 143 h 347"/>
              <a:gd name="T36" fmla="*/ 145 w 347"/>
              <a:gd name="T37" fmla="*/ 121 h 347"/>
              <a:gd name="T38" fmla="*/ 166 w 347"/>
              <a:gd name="T39" fmla="*/ 205 h 347"/>
              <a:gd name="T40" fmla="*/ 120 w 347"/>
              <a:gd name="T41" fmla="*/ 226 h 347"/>
              <a:gd name="T42" fmla="*/ 166 w 347"/>
              <a:gd name="T43" fmla="*/ 181 h 347"/>
              <a:gd name="T44" fmla="*/ 161 w 347"/>
              <a:gd name="T45" fmla="*/ 232 h 347"/>
              <a:gd name="T46" fmla="*/ 186 w 347"/>
              <a:gd name="T47" fmla="*/ 232 h 347"/>
              <a:gd name="T48" fmla="*/ 148 w 347"/>
              <a:gd name="T49" fmla="*/ 240 h 347"/>
              <a:gd name="T50" fmla="*/ 166 w 347"/>
              <a:gd name="T51" fmla="*/ 284 h 347"/>
              <a:gd name="T52" fmla="*/ 148 w 347"/>
              <a:gd name="T53" fmla="*/ 240 h 347"/>
              <a:gd name="T54" fmla="*/ 181 w 347"/>
              <a:gd name="T55" fmla="*/ 258 h 347"/>
              <a:gd name="T56" fmla="*/ 221 w 347"/>
              <a:gd name="T57" fmla="*/ 240 h 347"/>
              <a:gd name="T58" fmla="*/ 201 w 347"/>
              <a:gd name="T59" fmla="*/ 226 h 347"/>
              <a:gd name="T60" fmla="*/ 181 w 347"/>
              <a:gd name="T61" fmla="*/ 181 h 347"/>
              <a:gd name="T62" fmla="*/ 232 w 347"/>
              <a:gd name="T63" fmla="*/ 201 h 347"/>
              <a:gd name="T64" fmla="*/ 201 w 347"/>
              <a:gd name="T65" fmla="*/ 226 h 347"/>
              <a:gd name="T66" fmla="*/ 254 w 347"/>
              <a:gd name="T67" fmla="*/ 176 h 347"/>
              <a:gd name="T68" fmla="*/ 229 w 347"/>
              <a:gd name="T69" fmla="*/ 176 h 347"/>
              <a:gd name="T70" fmla="*/ 247 w 347"/>
              <a:gd name="T71" fmla="*/ 202 h 347"/>
              <a:gd name="T72" fmla="*/ 285 w 347"/>
              <a:gd name="T73" fmla="*/ 181 h 347"/>
              <a:gd name="T74" fmla="*/ 242 w 347"/>
              <a:gd name="T75" fmla="*/ 226 h 347"/>
              <a:gd name="T76" fmla="*/ 232 w 347"/>
              <a:gd name="T77" fmla="*/ 150 h 347"/>
              <a:gd name="T78" fmla="*/ 181 w 347"/>
              <a:gd name="T79" fmla="*/ 166 h 347"/>
              <a:gd name="T80" fmla="*/ 227 w 347"/>
              <a:gd name="T81" fmla="*/ 121 h 347"/>
              <a:gd name="T82" fmla="*/ 181 w 347"/>
              <a:gd name="T83" fmla="*/ 106 h 347"/>
              <a:gd name="T84" fmla="*/ 222 w 347"/>
              <a:gd name="T85" fmla="*/ 106 h 347"/>
              <a:gd name="T86" fmla="*/ 166 w 347"/>
              <a:gd name="T87" fmla="*/ 63 h 347"/>
              <a:gd name="T88" fmla="*/ 144 w 347"/>
              <a:gd name="T89" fmla="*/ 106 h 347"/>
              <a:gd name="T90" fmla="*/ 166 w 347"/>
              <a:gd name="T91" fmla="*/ 63 h 347"/>
              <a:gd name="T92" fmla="*/ 130 w 347"/>
              <a:gd name="T93" fmla="*/ 116 h 347"/>
              <a:gd name="T94" fmla="*/ 105 w 347"/>
              <a:gd name="T95" fmla="*/ 116 h 347"/>
              <a:gd name="T96" fmla="*/ 98 w 347"/>
              <a:gd name="T97" fmla="*/ 181 h 347"/>
              <a:gd name="T98" fmla="*/ 75 w 347"/>
              <a:gd name="T99" fmla="*/ 226 h 347"/>
              <a:gd name="T100" fmla="*/ 98 w 347"/>
              <a:gd name="T101" fmla="*/ 181 h 347"/>
              <a:gd name="T102" fmla="*/ 237 w 347"/>
              <a:gd name="T103" fmla="*/ 240 h 347"/>
              <a:gd name="T104" fmla="*/ 217 w 347"/>
              <a:gd name="T105" fmla="*/ 276 h 347"/>
              <a:gd name="T106" fmla="*/ 237 w 347"/>
              <a:gd name="T107" fmla="*/ 106 h 347"/>
              <a:gd name="T108" fmla="*/ 263 w 347"/>
              <a:gd name="T109" fmla="*/ 106 h 347"/>
              <a:gd name="T110" fmla="*/ 118 w 347"/>
              <a:gd name="T111" fmla="*/ 88 h 347"/>
              <a:gd name="T112" fmla="*/ 84 w 347"/>
              <a:gd name="T113" fmla="*/ 106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7" h="347">
                <a:moveTo>
                  <a:pt x="0" y="0"/>
                </a:moveTo>
                <a:cubicBezTo>
                  <a:pt x="0" y="347"/>
                  <a:pt x="0" y="347"/>
                  <a:pt x="0" y="347"/>
                </a:cubicBezTo>
                <a:cubicBezTo>
                  <a:pt x="347" y="347"/>
                  <a:pt x="347" y="347"/>
                  <a:pt x="347" y="347"/>
                </a:cubicBezTo>
                <a:cubicBezTo>
                  <a:pt x="347" y="0"/>
                  <a:pt x="347" y="0"/>
                  <a:pt x="347" y="0"/>
                </a:cubicBezTo>
                <a:lnTo>
                  <a:pt x="0" y="0"/>
                </a:lnTo>
                <a:close/>
                <a:moveTo>
                  <a:pt x="332" y="332"/>
                </a:move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2" y="15"/>
                  <a:pt x="332" y="15"/>
                  <a:pt x="332" y="15"/>
                </a:cubicBezTo>
                <a:lnTo>
                  <a:pt x="332" y="332"/>
                </a:lnTo>
                <a:close/>
                <a:moveTo>
                  <a:pt x="173" y="300"/>
                </a:moveTo>
                <a:cubicBezTo>
                  <a:pt x="243" y="300"/>
                  <a:pt x="300" y="243"/>
                  <a:pt x="300" y="173"/>
                </a:cubicBezTo>
                <a:cubicBezTo>
                  <a:pt x="300" y="104"/>
                  <a:pt x="243" y="47"/>
                  <a:pt x="173" y="47"/>
                </a:cubicBezTo>
                <a:cubicBezTo>
                  <a:pt x="104" y="47"/>
                  <a:pt x="47" y="104"/>
                  <a:pt x="47" y="173"/>
                </a:cubicBezTo>
                <a:cubicBezTo>
                  <a:pt x="47" y="243"/>
                  <a:pt x="104" y="300"/>
                  <a:pt x="173" y="300"/>
                </a:cubicBezTo>
                <a:close/>
                <a:moveTo>
                  <a:pt x="84" y="240"/>
                </a:moveTo>
                <a:cubicBezTo>
                  <a:pt x="109" y="240"/>
                  <a:pt x="109" y="240"/>
                  <a:pt x="109" y="240"/>
                </a:cubicBezTo>
                <a:cubicBezTo>
                  <a:pt x="114" y="254"/>
                  <a:pt x="121" y="266"/>
                  <a:pt x="129" y="276"/>
                </a:cubicBezTo>
                <a:cubicBezTo>
                  <a:pt x="111" y="268"/>
                  <a:pt x="96" y="256"/>
                  <a:pt x="84" y="240"/>
                </a:cubicBezTo>
                <a:close/>
                <a:moveTo>
                  <a:pt x="91" y="121"/>
                </a:moveTo>
                <a:cubicBezTo>
                  <a:pt x="92" y="128"/>
                  <a:pt x="96" y="134"/>
                  <a:pt x="101" y="137"/>
                </a:cubicBezTo>
                <a:cubicBezTo>
                  <a:pt x="100" y="147"/>
                  <a:pt x="99" y="156"/>
                  <a:pt x="99" y="166"/>
                </a:cubicBezTo>
                <a:cubicBezTo>
                  <a:pt x="62" y="166"/>
                  <a:pt x="62" y="166"/>
                  <a:pt x="62" y="166"/>
                </a:cubicBezTo>
                <a:cubicBezTo>
                  <a:pt x="63" y="150"/>
                  <a:pt x="67" y="135"/>
                  <a:pt x="75" y="121"/>
                </a:cubicBezTo>
                <a:lnTo>
                  <a:pt x="91" y="121"/>
                </a:lnTo>
                <a:close/>
                <a:moveTo>
                  <a:pt x="285" y="166"/>
                </a:moveTo>
                <a:cubicBezTo>
                  <a:pt x="267" y="166"/>
                  <a:pt x="267" y="166"/>
                  <a:pt x="267" y="166"/>
                </a:cubicBezTo>
                <a:cubicBezTo>
                  <a:pt x="264" y="157"/>
                  <a:pt x="257" y="151"/>
                  <a:pt x="247" y="149"/>
                </a:cubicBezTo>
                <a:cubicBezTo>
                  <a:pt x="246" y="139"/>
                  <a:pt x="244" y="130"/>
                  <a:pt x="242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9" y="135"/>
                  <a:pt x="284" y="150"/>
                  <a:pt x="285" y="166"/>
                </a:cubicBezTo>
                <a:close/>
                <a:moveTo>
                  <a:pt x="145" y="121"/>
                </a:moveTo>
                <a:cubicBezTo>
                  <a:pt x="166" y="121"/>
                  <a:pt x="166" y="121"/>
                  <a:pt x="166" y="121"/>
                </a:cubicBezTo>
                <a:cubicBezTo>
                  <a:pt x="166" y="166"/>
                  <a:pt x="166" y="166"/>
                  <a:pt x="166" y="166"/>
                </a:cubicBezTo>
                <a:cubicBezTo>
                  <a:pt x="113" y="166"/>
                  <a:pt x="113" y="166"/>
                  <a:pt x="113" y="166"/>
                </a:cubicBezTo>
                <a:cubicBezTo>
                  <a:pt x="114" y="158"/>
                  <a:pt x="114" y="150"/>
                  <a:pt x="115" y="143"/>
                </a:cubicBezTo>
                <a:cubicBezTo>
                  <a:pt x="116" y="143"/>
                  <a:pt x="117" y="143"/>
                  <a:pt x="118" y="143"/>
                </a:cubicBezTo>
                <a:cubicBezTo>
                  <a:pt x="131" y="143"/>
                  <a:pt x="142" y="134"/>
                  <a:pt x="145" y="121"/>
                </a:cubicBezTo>
                <a:close/>
                <a:moveTo>
                  <a:pt x="166" y="181"/>
                </a:moveTo>
                <a:cubicBezTo>
                  <a:pt x="166" y="205"/>
                  <a:pt x="166" y="205"/>
                  <a:pt x="166" y="205"/>
                </a:cubicBezTo>
                <a:cubicBezTo>
                  <a:pt x="157" y="208"/>
                  <a:pt x="149" y="216"/>
                  <a:pt x="147" y="226"/>
                </a:cubicBezTo>
                <a:cubicBezTo>
                  <a:pt x="120" y="226"/>
                  <a:pt x="120" y="226"/>
                  <a:pt x="120" y="226"/>
                </a:cubicBezTo>
                <a:cubicBezTo>
                  <a:pt x="116" y="212"/>
                  <a:pt x="114" y="197"/>
                  <a:pt x="113" y="181"/>
                </a:cubicBezTo>
                <a:lnTo>
                  <a:pt x="166" y="181"/>
                </a:lnTo>
                <a:close/>
                <a:moveTo>
                  <a:pt x="174" y="244"/>
                </a:moveTo>
                <a:cubicBezTo>
                  <a:pt x="167" y="244"/>
                  <a:pt x="161" y="238"/>
                  <a:pt x="161" y="232"/>
                </a:cubicBezTo>
                <a:cubicBezTo>
                  <a:pt x="161" y="225"/>
                  <a:pt x="167" y="219"/>
                  <a:pt x="174" y="219"/>
                </a:cubicBezTo>
                <a:cubicBezTo>
                  <a:pt x="181" y="219"/>
                  <a:pt x="186" y="225"/>
                  <a:pt x="186" y="232"/>
                </a:cubicBezTo>
                <a:cubicBezTo>
                  <a:pt x="186" y="238"/>
                  <a:pt x="181" y="244"/>
                  <a:pt x="174" y="244"/>
                </a:cubicBezTo>
                <a:close/>
                <a:moveTo>
                  <a:pt x="148" y="240"/>
                </a:moveTo>
                <a:cubicBezTo>
                  <a:pt x="151" y="249"/>
                  <a:pt x="158" y="255"/>
                  <a:pt x="166" y="258"/>
                </a:cubicBezTo>
                <a:cubicBezTo>
                  <a:pt x="166" y="284"/>
                  <a:pt x="166" y="284"/>
                  <a:pt x="166" y="284"/>
                </a:cubicBezTo>
                <a:cubicBezTo>
                  <a:pt x="150" y="280"/>
                  <a:pt x="135" y="264"/>
                  <a:pt x="126" y="240"/>
                </a:cubicBezTo>
                <a:lnTo>
                  <a:pt x="148" y="240"/>
                </a:lnTo>
                <a:close/>
                <a:moveTo>
                  <a:pt x="181" y="284"/>
                </a:moveTo>
                <a:cubicBezTo>
                  <a:pt x="181" y="258"/>
                  <a:pt x="181" y="258"/>
                  <a:pt x="181" y="258"/>
                </a:cubicBezTo>
                <a:cubicBezTo>
                  <a:pt x="190" y="256"/>
                  <a:pt x="197" y="249"/>
                  <a:pt x="200" y="240"/>
                </a:cubicBezTo>
                <a:cubicBezTo>
                  <a:pt x="221" y="240"/>
                  <a:pt x="221" y="240"/>
                  <a:pt x="221" y="240"/>
                </a:cubicBezTo>
                <a:cubicBezTo>
                  <a:pt x="212" y="264"/>
                  <a:pt x="197" y="280"/>
                  <a:pt x="181" y="284"/>
                </a:cubicBezTo>
                <a:close/>
                <a:moveTo>
                  <a:pt x="201" y="226"/>
                </a:moveTo>
                <a:cubicBezTo>
                  <a:pt x="198" y="216"/>
                  <a:pt x="191" y="208"/>
                  <a:pt x="181" y="205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215" y="181"/>
                  <a:pt x="215" y="181"/>
                  <a:pt x="215" y="181"/>
                </a:cubicBezTo>
                <a:cubicBezTo>
                  <a:pt x="217" y="190"/>
                  <a:pt x="223" y="198"/>
                  <a:pt x="232" y="201"/>
                </a:cubicBezTo>
                <a:cubicBezTo>
                  <a:pt x="231" y="210"/>
                  <a:pt x="229" y="218"/>
                  <a:pt x="227" y="226"/>
                </a:cubicBezTo>
                <a:lnTo>
                  <a:pt x="201" y="226"/>
                </a:lnTo>
                <a:close/>
                <a:moveTo>
                  <a:pt x="242" y="163"/>
                </a:moveTo>
                <a:cubicBezTo>
                  <a:pt x="249" y="163"/>
                  <a:pt x="254" y="169"/>
                  <a:pt x="254" y="176"/>
                </a:cubicBezTo>
                <a:cubicBezTo>
                  <a:pt x="254" y="182"/>
                  <a:pt x="249" y="188"/>
                  <a:pt x="242" y="188"/>
                </a:cubicBezTo>
                <a:cubicBezTo>
                  <a:pt x="235" y="188"/>
                  <a:pt x="229" y="182"/>
                  <a:pt x="229" y="176"/>
                </a:cubicBezTo>
                <a:cubicBezTo>
                  <a:pt x="229" y="169"/>
                  <a:pt x="235" y="163"/>
                  <a:pt x="242" y="163"/>
                </a:cubicBezTo>
                <a:close/>
                <a:moveTo>
                  <a:pt x="247" y="202"/>
                </a:moveTo>
                <a:cubicBezTo>
                  <a:pt x="258" y="201"/>
                  <a:pt x="266" y="192"/>
                  <a:pt x="269" y="181"/>
                </a:cubicBezTo>
                <a:cubicBezTo>
                  <a:pt x="285" y="181"/>
                  <a:pt x="285" y="181"/>
                  <a:pt x="285" y="181"/>
                </a:cubicBezTo>
                <a:cubicBezTo>
                  <a:pt x="284" y="197"/>
                  <a:pt x="279" y="212"/>
                  <a:pt x="272" y="226"/>
                </a:cubicBezTo>
                <a:cubicBezTo>
                  <a:pt x="242" y="226"/>
                  <a:pt x="242" y="226"/>
                  <a:pt x="242" y="226"/>
                </a:cubicBezTo>
                <a:cubicBezTo>
                  <a:pt x="244" y="218"/>
                  <a:pt x="245" y="211"/>
                  <a:pt x="247" y="202"/>
                </a:cubicBezTo>
                <a:close/>
                <a:moveTo>
                  <a:pt x="232" y="150"/>
                </a:moveTo>
                <a:cubicBezTo>
                  <a:pt x="225" y="153"/>
                  <a:pt x="219" y="159"/>
                  <a:pt x="216" y="166"/>
                </a:cubicBezTo>
                <a:cubicBezTo>
                  <a:pt x="181" y="166"/>
                  <a:pt x="181" y="166"/>
                  <a:pt x="181" y="166"/>
                </a:cubicBezTo>
                <a:cubicBezTo>
                  <a:pt x="181" y="121"/>
                  <a:pt x="181" y="121"/>
                  <a:pt x="181" y="121"/>
                </a:cubicBezTo>
                <a:cubicBezTo>
                  <a:pt x="227" y="121"/>
                  <a:pt x="227" y="121"/>
                  <a:pt x="227" y="121"/>
                </a:cubicBezTo>
                <a:cubicBezTo>
                  <a:pt x="229" y="130"/>
                  <a:pt x="231" y="140"/>
                  <a:pt x="232" y="150"/>
                </a:cubicBezTo>
                <a:close/>
                <a:moveTo>
                  <a:pt x="181" y="106"/>
                </a:moveTo>
                <a:cubicBezTo>
                  <a:pt x="181" y="63"/>
                  <a:pt x="181" y="63"/>
                  <a:pt x="181" y="63"/>
                </a:cubicBezTo>
                <a:cubicBezTo>
                  <a:pt x="197" y="66"/>
                  <a:pt x="212" y="83"/>
                  <a:pt x="222" y="106"/>
                </a:cubicBezTo>
                <a:lnTo>
                  <a:pt x="181" y="106"/>
                </a:lnTo>
                <a:close/>
                <a:moveTo>
                  <a:pt x="166" y="63"/>
                </a:moveTo>
                <a:cubicBezTo>
                  <a:pt x="166" y="106"/>
                  <a:pt x="166" y="106"/>
                  <a:pt x="166" y="106"/>
                </a:cubicBezTo>
                <a:cubicBezTo>
                  <a:pt x="144" y="106"/>
                  <a:pt x="144" y="106"/>
                  <a:pt x="144" y="106"/>
                </a:cubicBezTo>
                <a:cubicBezTo>
                  <a:pt x="142" y="101"/>
                  <a:pt x="138" y="96"/>
                  <a:pt x="132" y="92"/>
                </a:cubicBezTo>
                <a:cubicBezTo>
                  <a:pt x="142" y="76"/>
                  <a:pt x="154" y="66"/>
                  <a:pt x="166" y="63"/>
                </a:cubicBezTo>
                <a:close/>
                <a:moveTo>
                  <a:pt x="118" y="103"/>
                </a:moveTo>
                <a:cubicBezTo>
                  <a:pt x="125" y="103"/>
                  <a:pt x="130" y="109"/>
                  <a:pt x="130" y="116"/>
                </a:cubicBezTo>
                <a:cubicBezTo>
                  <a:pt x="130" y="122"/>
                  <a:pt x="125" y="128"/>
                  <a:pt x="118" y="128"/>
                </a:cubicBezTo>
                <a:cubicBezTo>
                  <a:pt x="111" y="128"/>
                  <a:pt x="105" y="122"/>
                  <a:pt x="105" y="116"/>
                </a:cubicBezTo>
                <a:cubicBezTo>
                  <a:pt x="105" y="109"/>
                  <a:pt x="111" y="103"/>
                  <a:pt x="118" y="103"/>
                </a:cubicBezTo>
                <a:close/>
                <a:moveTo>
                  <a:pt x="98" y="181"/>
                </a:moveTo>
                <a:cubicBezTo>
                  <a:pt x="99" y="197"/>
                  <a:pt x="101" y="212"/>
                  <a:pt x="105" y="226"/>
                </a:cubicBezTo>
                <a:cubicBezTo>
                  <a:pt x="75" y="226"/>
                  <a:pt x="75" y="226"/>
                  <a:pt x="75" y="226"/>
                </a:cubicBezTo>
                <a:cubicBezTo>
                  <a:pt x="67" y="212"/>
                  <a:pt x="63" y="197"/>
                  <a:pt x="62" y="181"/>
                </a:cubicBezTo>
                <a:lnTo>
                  <a:pt x="98" y="181"/>
                </a:lnTo>
                <a:close/>
                <a:moveTo>
                  <a:pt x="217" y="276"/>
                </a:moveTo>
                <a:cubicBezTo>
                  <a:pt x="225" y="267"/>
                  <a:pt x="232" y="255"/>
                  <a:pt x="237" y="240"/>
                </a:cubicBezTo>
                <a:cubicBezTo>
                  <a:pt x="263" y="240"/>
                  <a:pt x="263" y="240"/>
                  <a:pt x="263" y="240"/>
                </a:cubicBezTo>
                <a:cubicBezTo>
                  <a:pt x="251" y="256"/>
                  <a:pt x="235" y="268"/>
                  <a:pt x="217" y="276"/>
                </a:cubicBezTo>
                <a:close/>
                <a:moveTo>
                  <a:pt x="263" y="106"/>
                </a:moveTo>
                <a:cubicBezTo>
                  <a:pt x="237" y="106"/>
                  <a:pt x="237" y="106"/>
                  <a:pt x="237" y="106"/>
                </a:cubicBezTo>
                <a:cubicBezTo>
                  <a:pt x="232" y="92"/>
                  <a:pt x="226" y="80"/>
                  <a:pt x="218" y="71"/>
                </a:cubicBezTo>
                <a:cubicBezTo>
                  <a:pt x="236" y="79"/>
                  <a:pt x="251" y="91"/>
                  <a:pt x="263" y="106"/>
                </a:cubicBezTo>
                <a:close/>
                <a:moveTo>
                  <a:pt x="129" y="71"/>
                </a:moveTo>
                <a:cubicBezTo>
                  <a:pt x="125" y="76"/>
                  <a:pt x="121" y="82"/>
                  <a:pt x="118" y="88"/>
                </a:cubicBezTo>
                <a:cubicBezTo>
                  <a:pt x="106" y="88"/>
                  <a:pt x="96" y="96"/>
                  <a:pt x="92" y="106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6" y="91"/>
                  <a:pt x="111" y="79"/>
                  <a:pt x="129" y="7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3" name="Freeform 13">
            <a:extLst>
              <a:ext uri="{FF2B5EF4-FFF2-40B4-BE49-F238E27FC236}">
                <a16:creationId xmlns:a16="http://schemas.microsoft.com/office/drawing/2014/main" id="{23486789-3602-6C40-8679-51D72FC016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17211" y="2084166"/>
            <a:ext cx="631877" cy="631878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A181C7D8-CCEA-4047-BFF2-6DF9384E26E9}"/>
              </a:ext>
            </a:extLst>
          </p:cNvPr>
          <p:cNvSpPr txBox="1"/>
          <p:nvPr/>
        </p:nvSpPr>
        <p:spPr>
          <a:xfrm>
            <a:off x="5308710" y="3283804"/>
            <a:ext cx="1705383" cy="150207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3000"/>
              </a:lnSpc>
            </a:pPr>
            <a:r>
              <a:rPr lang="de-DE" sz="2200" b="1" noProof="0" dirty="0">
                <a:solidFill>
                  <a:schemeClr val="accent4"/>
                </a:solidFill>
                <a:latin typeface="Georgia" pitchFamily="18" charset="0"/>
                <a:cs typeface="Arial" pitchFamily="34" charset="0"/>
              </a:rPr>
              <a:t>Deutsche Investition in der Mongolei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E7E08FFD-6F0A-404B-B80A-75C89E0A85E4}"/>
              </a:ext>
            </a:extLst>
          </p:cNvPr>
          <p:cNvSpPr txBox="1">
            <a:spLocks/>
          </p:cNvSpPr>
          <p:nvPr/>
        </p:nvSpPr>
        <p:spPr>
          <a:xfrm>
            <a:off x="442913" y="2767086"/>
            <a:ext cx="3528000" cy="12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de-DE" sz="1600" dirty="0">
                <a:solidFill>
                  <a:schemeClr val="accent4"/>
                </a:solidFill>
              </a:rPr>
              <a:t>BIT /ICSID/MIGA</a:t>
            </a:r>
          </a:p>
          <a:p>
            <a:pPr>
              <a:spcAft>
                <a:spcPts val="300"/>
              </a:spcAft>
            </a:pPr>
            <a:r>
              <a:rPr lang="de-DE" sz="1600" dirty="0">
                <a:solidFill>
                  <a:schemeClr val="accent4"/>
                </a:solidFill>
              </a:rPr>
              <a:t>Schutz Kapitalanlagen </a:t>
            </a:r>
          </a:p>
          <a:p>
            <a:pPr lvl="1">
              <a:spcAft>
                <a:spcPts val="300"/>
              </a:spcAft>
            </a:pPr>
            <a:r>
              <a:rPr lang="de-DE" sz="1300" dirty="0"/>
              <a:t>BIT von 1991</a:t>
            </a:r>
          </a:p>
          <a:p>
            <a:pPr lvl="1">
              <a:spcAft>
                <a:spcPts val="300"/>
              </a:spcAft>
            </a:pPr>
            <a:r>
              <a:rPr lang="de-DE" sz="1300" dirty="0"/>
              <a:t>Mongolei ist ICSID-Vertragspartei seit 1991</a:t>
            </a:r>
          </a:p>
          <a:p>
            <a:pPr lvl="1">
              <a:spcAft>
                <a:spcPts val="300"/>
              </a:spcAft>
            </a:pPr>
            <a:r>
              <a:rPr lang="de-DE" sz="1300" dirty="0"/>
              <a:t>MIGA gehört zur World Bank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A2B3E1E0-27F0-834F-B477-C00AE7F491E3}"/>
              </a:ext>
            </a:extLst>
          </p:cNvPr>
          <p:cNvSpPr txBox="1">
            <a:spLocks/>
          </p:cNvSpPr>
          <p:nvPr/>
        </p:nvSpPr>
        <p:spPr>
          <a:xfrm>
            <a:off x="442913" y="4954293"/>
            <a:ext cx="3528000" cy="1224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300"/>
              </a:spcAft>
            </a:pPr>
            <a:r>
              <a:rPr lang="de-DE" sz="1600" dirty="0">
                <a:solidFill>
                  <a:schemeClr val="accent3"/>
                </a:solidFill>
              </a:rPr>
              <a:t>Doppelbesteuerungs-</a:t>
            </a:r>
          </a:p>
          <a:p>
            <a:pPr>
              <a:spcAft>
                <a:spcPts val="300"/>
              </a:spcAft>
            </a:pPr>
            <a:r>
              <a:rPr lang="de-DE" sz="1600" dirty="0">
                <a:solidFill>
                  <a:schemeClr val="accent3"/>
                </a:solidFill>
              </a:rPr>
              <a:t>abkommen</a:t>
            </a:r>
          </a:p>
          <a:p>
            <a:pPr lvl="1">
              <a:spcAft>
                <a:spcPts val="300"/>
              </a:spcAft>
            </a:pPr>
            <a:r>
              <a:rPr lang="de-DE" sz="1300" dirty="0"/>
              <a:t>Betrifft die steuerrechtliche Beurteilung von Einkommen und Vermögen </a:t>
            </a:r>
          </a:p>
        </p:txBody>
      </p:sp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447AF9D8-9E1F-284D-8FA7-40B384FAB818}"/>
              </a:ext>
            </a:extLst>
          </p:cNvPr>
          <p:cNvSpPr txBox="1">
            <a:spLocks/>
          </p:cNvSpPr>
          <p:nvPr/>
        </p:nvSpPr>
        <p:spPr>
          <a:xfrm>
            <a:off x="8221088" y="2767086"/>
            <a:ext cx="3528000" cy="1224000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300"/>
              </a:spcAft>
            </a:pPr>
            <a:r>
              <a:rPr lang="de-DE" sz="1600" dirty="0">
                <a:solidFill>
                  <a:schemeClr val="accent6"/>
                </a:solidFill>
              </a:rPr>
              <a:t>Energy Charter Treaty</a:t>
            </a:r>
          </a:p>
          <a:p>
            <a:pPr lvl="1" algn="r">
              <a:spcAft>
                <a:spcPts val="300"/>
              </a:spcAft>
            </a:pPr>
            <a:r>
              <a:rPr lang="de-DE" sz="1300" dirty="0"/>
              <a:t>Betrifft energierechtliche Themen</a:t>
            </a:r>
            <a:br>
              <a:rPr lang="de-DE" sz="1300" dirty="0"/>
            </a:br>
            <a:r>
              <a:rPr lang="de-DE" sz="1300" dirty="0"/>
              <a:t>Gilt neben dem BIT</a:t>
            </a:r>
          </a:p>
        </p:txBody>
      </p:sp>
      <p:sp>
        <p:nvSpPr>
          <p:cNvPr id="48" name="Content Placeholder 2">
            <a:extLst>
              <a:ext uri="{FF2B5EF4-FFF2-40B4-BE49-F238E27FC236}">
                <a16:creationId xmlns:a16="http://schemas.microsoft.com/office/drawing/2014/main" id="{705A676E-21B7-5140-98AB-A7A3DE05BCBB}"/>
              </a:ext>
            </a:extLst>
          </p:cNvPr>
          <p:cNvSpPr txBox="1">
            <a:spLocks/>
          </p:cNvSpPr>
          <p:nvPr/>
        </p:nvSpPr>
        <p:spPr>
          <a:xfrm>
            <a:off x="8106846" y="4954293"/>
            <a:ext cx="3642242" cy="122400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40" indent="-180975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1440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972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801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300"/>
              </a:spcAft>
            </a:pPr>
            <a:r>
              <a:rPr lang="de-DE" sz="1600" dirty="0">
                <a:solidFill>
                  <a:schemeClr val="accent5"/>
                </a:solidFill>
              </a:rPr>
              <a:t>WTO</a:t>
            </a:r>
          </a:p>
          <a:p>
            <a:pPr lvl="1" algn="r">
              <a:spcAft>
                <a:spcPts val="300"/>
              </a:spcAft>
            </a:pPr>
            <a:r>
              <a:rPr lang="de-DE" sz="1300" dirty="0"/>
              <a:t>Mongolei ist seit 29.1.1997 Mitglied der Welthandelsorganisation</a:t>
            </a:r>
          </a:p>
          <a:p>
            <a:pPr lvl="1" algn="r">
              <a:spcAft>
                <a:spcPts val="300"/>
              </a:spcAft>
            </a:pPr>
            <a:r>
              <a:rPr lang="de-DE" sz="1300" dirty="0"/>
              <a:t>Rechtsgrundlagen: GATT 1994, GATS, TRIPS</a:t>
            </a:r>
          </a:p>
          <a:p>
            <a:pPr lvl="1" algn="r">
              <a:spcAft>
                <a:spcPts val="300"/>
              </a:spcAft>
            </a:pPr>
            <a:endParaRPr lang="de-DE" sz="1300" dirty="0"/>
          </a:p>
          <a:p>
            <a:pPr lvl="1" algn="r">
              <a:spcAft>
                <a:spcPts val="300"/>
              </a:spcAft>
            </a:pPr>
            <a:endParaRPr lang="de-DE" sz="1300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05509848-1CF1-4F4E-9104-030B653A73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51" name="Date Placeholder 50">
            <a:extLst>
              <a:ext uri="{FF2B5EF4-FFF2-40B4-BE49-F238E27FC236}">
                <a16:creationId xmlns:a16="http://schemas.microsoft.com/office/drawing/2014/main" id="{C15B07D5-AE55-4966-BE33-AB394E04CA2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dirty="0"/>
              <a:t>Juni 2020</a:t>
            </a:r>
          </a:p>
        </p:txBody>
      </p:sp>
      <p:sp>
        <p:nvSpPr>
          <p:cNvPr id="52" name="Footer Placeholder 51">
            <a:extLst>
              <a:ext uri="{FF2B5EF4-FFF2-40B4-BE49-F238E27FC236}">
                <a16:creationId xmlns:a16="http://schemas.microsoft.com/office/drawing/2014/main" id="{8FF9C832-D636-4068-B976-C9B17850C7C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 dirty="0"/>
              <a:t>Rechtliche Rahmenbedingungen für deutsche Unternehmen in der Mongolei </a:t>
            </a:r>
          </a:p>
        </p:txBody>
      </p:sp>
      <p:cxnSp>
        <p:nvCxnSpPr>
          <p:cNvPr id="70" name="Gerade Verbindung 20">
            <a:extLst>
              <a:ext uri="{FF2B5EF4-FFF2-40B4-BE49-F238E27FC236}">
                <a16:creationId xmlns:a16="http://schemas.microsoft.com/office/drawing/2014/main" id="{31A884EF-37AA-4F54-9E1C-DD48645EB751}"/>
              </a:ext>
            </a:extLst>
          </p:cNvPr>
          <p:cNvCxnSpPr>
            <a:cxnSpLocks/>
          </p:cNvCxnSpPr>
          <p:nvPr/>
        </p:nvCxnSpPr>
        <p:spPr>
          <a:xfrm>
            <a:off x="7453937" y="4046913"/>
            <a:ext cx="4813865" cy="0"/>
          </a:xfrm>
          <a:prstGeom prst="line">
            <a:avLst/>
          </a:prstGeom>
          <a:solidFill>
            <a:schemeClr val="bg1"/>
          </a:solidFill>
          <a:ln w="38100" cap="rnd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30059991"/>
      </p:ext>
    </p:extLst>
  </p:cSld>
  <p:clrMapOvr>
    <a:masterClrMapping/>
  </p:clrMapOvr>
  <p:transition spd="slow">
    <p:push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42" grpId="0" animBg="1"/>
      <p:bldP spid="43" grpId="0" animBg="1"/>
      <p:bldP spid="55" grpId="0"/>
      <p:bldP spid="45" grpId="0"/>
      <p:bldP spid="46" grpId="0"/>
      <p:bldP spid="47" grpId="0"/>
      <p:bldP spid="4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ationales Recht: BIT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Vertrag zwischen der Bundesrepublik Deutschland und der Mongolischen Volksrepublik über die Förderung und den gegenseitigen Schutz von Kapitalanlagen von 1991</a:t>
            </a:r>
          </a:p>
          <a:p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C9DCE2B-CA2B-4303-871F-2FC86C000311}"/>
              </a:ext>
            </a:extLst>
          </p:cNvPr>
          <p:cNvGrpSpPr>
            <a:grpSpLocks noChangeAspect="1"/>
          </p:cNvGrpSpPr>
          <p:nvPr/>
        </p:nvGrpSpPr>
        <p:grpSpPr>
          <a:xfrm>
            <a:off x="11115487" y="365760"/>
            <a:ext cx="633600" cy="633600"/>
            <a:chOff x="6486082" y="3429000"/>
            <a:chExt cx="426447" cy="426447"/>
          </a:xfrm>
          <a:solidFill>
            <a:schemeClr val="tx1"/>
          </a:solidFill>
        </p:grpSpPr>
        <p:sp>
          <p:nvSpPr>
            <p:cNvPr id="12" name="Freeform 30">
              <a:extLst>
                <a:ext uri="{FF2B5EF4-FFF2-40B4-BE49-F238E27FC236}">
                  <a16:creationId xmlns:a16="http://schemas.microsoft.com/office/drawing/2014/main" id="{196A36FB-1A94-406D-86B2-A9CD025615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6082" y="3429000"/>
              <a:ext cx="426447" cy="426447"/>
            </a:xfrm>
            <a:custGeom>
              <a:avLst/>
              <a:gdLst>
                <a:gd name="T0" fmla="*/ 0 w 61"/>
                <a:gd name="T1" fmla="*/ 0 h 61"/>
                <a:gd name="T2" fmla="*/ 0 w 61"/>
                <a:gd name="T3" fmla="*/ 61 h 61"/>
                <a:gd name="T4" fmla="*/ 61 w 61"/>
                <a:gd name="T5" fmla="*/ 61 h 61"/>
                <a:gd name="T6" fmla="*/ 61 w 61"/>
                <a:gd name="T7" fmla="*/ 0 h 61"/>
                <a:gd name="T8" fmla="*/ 0 w 61"/>
                <a:gd name="T9" fmla="*/ 0 h 61"/>
                <a:gd name="T10" fmla="*/ 58 w 61"/>
                <a:gd name="T11" fmla="*/ 58 h 61"/>
                <a:gd name="T12" fmla="*/ 3 w 61"/>
                <a:gd name="T13" fmla="*/ 58 h 61"/>
                <a:gd name="T14" fmla="*/ 3 w 61"/>
                <a:gd name="T15" fmla="*/ 3 h 61"/>
                <a:gd name="T16" fmla="*/ 58 w 61"/>
                <a:gd name="T17" fmla="*/ 3 h 61"/>
                <a:gd name="T18" fmla="*/ 58 w 61"/>
                <a:gd name="T19" fmla="*/ 5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0" y="0"/>
                  </a:moveTo>
                  <a:lnTo>
                    <a:pt x="0" y="61"/>
                  </a:lnTo>
                  <a:lnTo>
                    <a:pt x="61" y="61"/>
                  </a:lnTo>
                  <a:lnTo>
                    <a:pt x="61" y="0"/>
                  </a:lnTo>
                  <a:lnTo>
                    <a:pt x="0" y="0"/>
                  </a:lnTo>
                  <a:close/>
                  <a:moveTo>
                    <a:pt x="58" y="58"/>
                  </a:moveTo>
                  <a:lnTo>
                    <a:pt x="3" y="58"/>
                  </a:lnTo>
                  <a:lnTo>
                    <a:pt x="3" y="3"/>
                  </a:lnTo>
                  <a:lnTo>
                    <a:pt x="58" y="3"/>
                  </a:lnTo>
                  <a:lnTo>
                    <a:pt x="58" y="58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3" name="Freeform 31">
              <a:extLst>
                <a:ext uri="{FF2B5EF4-FFF2-40B4-BE49-F238E27FC236}">
                  <a16:creationId xmlns:a16="http://schemas.microsoft.com/office/drawing/2014/main" id="{5F4BE212-DEC0-4E0A-BB2B-5A1C06E6B8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14045" y="3470945"/>
              <a:ext cx="370519" cy="335563"/>
            </a:xfrm>
            <a:custGeom>
              <a:avLst/>
              <a:gdLst>
                <a:gd name="T0" fmla="*/ 27 w 53"/>
                <a:gd name="T1" fmla="*/ 48 h 48"/>
                <a:gd name="T2" fmla="*/ 53 w 53"/>
                <a:gd name="T3" fmla="*/ 32 h 48"/>
                <a:gd name="T4" fmla="*/ 47 w 53"/>
                <a:gd name="T5" fmla="*/ 28 h 48"/>
                <a:gd name="T6" fmla="*/ 53 w 53"/>
                <a:gd name="T7" fmla="*/ 24 h 48"/>
                <a:gd name="T8" fmla="*/ 47 w 53"/>
                <a:gd name="T9" fmla="*/ 20 h 48"/>
                <a:gd name="T10" fmla="*/ 53 w 53"/>
                <a:gd name="T11" fmla="*/ 16 h 48"/>
                <a:gd name="T12" fmla="*/ 26 w 53"/>
                <a:gd name="T13" fmla="*/ 0 h 48"/>
                <a:gd name="T14" fmla="*/ 0 w 53"/>
                <a:gd name="T15" fmla="*/ 16 h 48"/>
                <a:gd name="T16" fmla="*/ 6 w 53"/>
                <a:gd name="T17" fmla="*/ 20 h 48"/>
                <a:gd name="T18" fmla="*/ 0 w 53"/>
                <a:gd name="T19" fmla="*/ 24 h 48"/>
                <a:gd name="T20" fmla="*/ 6 w 53"/>
                <a:gd name="T21" fmla="*/ 28 h 48"/>
                <a:gd name="T22" fmla="*/ 0 w 53"/>
                <a:gd name="T23" fmla="*/ 32 h 48"/>
                <a:gd name="T24" fmla="*/ 27 w 53"/>
                <a:gd name="T25" fmla="*/ 48 h 48"/>
                <a:gd name="T26" fmla="*/ 27 w 53"/>
                <a:gd name="T27" fmla="*/ 3 h 48"/>
                <a:gd name="T28" fmla="*/ 49 w 53"/>
                <a:gd name="T29" fmla="*/ 16 h 48"/>
                <a:gd name="T30" fmla="*/ 26 w 53"/>
                <a:gd name="T31" fmla="*/ 30 h 48"/>
                <a:gd name="T32" fmla="*/ 4 w 53"/>
                <a:gd name="T33" fmla="*/ 16 h 48"/>
                <a:gd name="T34" fmla="*/ 27 w 53"/>
                <a:gd name="T35" fmla="*/ 3 h 48"/>
                <a:gd name="T36" fmla="*/ 8 w 53"/>
                <a:gd name="T37" fmla="*/ 22 h 48"/>
                <a:gd name="T38" fmla="*/ 27 w 53"/>
                <a:gd name="T39" fmla="*/ 33 h 48"/>
                <a:gd name="T40" fmla="*/ 45 w 53"/>
                <a:gd name="T41" fmla="*/ 22 h 48"/>
                <a:gd name="T42" fmla="*/ 49 w 53"/>
                <a:gd name="T43" fmla="*/ 24 h 48"/>
                <a:gd name="T44" fmla="*/ 26 w 53"/>
                <a:gd name="T45" fmla="*/ 38 h 48"/>
                <a:gd name="T46" fmla="*/ 4 w 53"/>
                <a:gd name="T47" fmla="*/ 24 h 48"/>
                <a:gd name="T48" fmla="*/ 8 w 53"/>
                <a:gd name="T49" fmla="*/ 22 h 48"/>
                <a:gd name="T50" fmla="*/ 27 w 53"/>
                <a:gd name="T51" fmla="*/ 40 h 48"/>
                <a:gd name="T52" fmla="*/ 45 w 53"/>
                <a:gd name="T53" fmla="*/ 29 h 48"/>
                <a:gd name="T54" fmla="*/ 49 w 53"/>
                <a:gd name="T55" fmla="*/ 32 h 48"/>
                <a:gd name="T56" fmla="*/ 26 w 53"/>
                <a:gd name="T57" fmla="*/ 45 h 48"/>
                <a:gd name="T58" fmla="*/ 4 w 53"/>
                <a:gd name="T59" fmla="*/ 32 h 48"/>
                <a:gd name="T60" fmla="*/ 8 w 53"/>
                <a:gd name="T61" fmla="*/ 29 h 48"/>
                <a:gd name="T62" fmla="*/ 27 w 53"/>
                <a:gd name="T63" fmla="*/ 4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3" h="48">
                  <a:moveTo>
                    <a:pt x="27" y="48"/>
                  </a:moveTo>
                  <a:lnTo>
                    <a:pt x="53" y="32"/>
                  </a:lnTo>
                  <a:lnTo>
                    <a:pt x="47" y="28"/>
                  </a:lnTo>
                  <a:lnTo>
                    <a:pt x="53" y="24"/>
                  </a:lnTo>
                  <a:lnTo>
                    <a:pt x="47" y="20"/>
                  </a:lnTo>
                  <a:lnTo>
                    <a:pt x="53" y="16"/>
                  </a:lnTo>
                  <a:lnTo>
                    <a:pt x="26" y="0"/>
                  </a:lnTo>
                  <a:lnTo>
                    <a:pt x="0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6" y="28"/>
                  </a:lnTo>
                  <a:lnTo>
                    <a:pt x="0" y="32"/>
                  </a:lnTo>
                  <a:lnTo>
                    <a:pt x="27" y="48"/>
                  </a:lnTo>
                  <a:close/>
                  <a:moveTo>
                    <a:pt x="27" y="3"/>
                  </a:moveTo>
                  <a:lnTo>
                    <a:pt x="49" y="16"/>
                  </a:lnTo>
                  <a:lnTo>
                    <a:pt x="26" y="30"/>
                  </a:lnTo>
                  <a:lnTo>
                    <a:pt x="4" y="16"/>
                  </a:lnTo>
                  <a:lnTo>
                    <a:pt x="27" y="3"/>
                  </a:lnTo>
                  <a:close/>
                  <a:moveTo>
                    <a:pt x="8" y="22"/>
                  </a:moveTo>
                  <a:lnTo>
                    <a:pt x="27" y="33"/>
                  </a:lnTo>
                  <a:lnTo>
                    <a:pt x="45" y="22"/>
                  </a:lnTo>
                  <a:lnTo>
                    <a:pt x="49" y="24"/>
                  </a:lnTo>
                  <a:lnTo>
                    <a:pt x="26" y="38"/>
                  </a:lnTo>
                  <a:lnTo>
                    <a:pt x="4" y="24"/>
                  </a:lnTo>
                  <a:lnTo>
                    <a:pt x="8" y="22"/>
                  </a:lnTo>
                  <a:close/>
                  <a:moveTo>
                    <a:pt x="27" y="40"/>
                  </a:moveTo>
                  <a:lnTo>
                    <a:pt x="45" y="29"/>
                  </a:lnTo>
                  <a:lnTo>
                    <a:pt x="49" y="32"/>
                  </a:lnTo>
                  <a:lnTo>
                    <a:pt x="26" y="45"/>
                  </a:lnTo>
                  <a:lnTo>
                    <a:pt x="4" y="32"/>
                  </a:lnTo>
                  <a:lnTo>
                    <a:pt x="8" y="29"/>
                  </a:lnTo>
                  <a:lnTo>
                    <a:pt x="27" y="4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AutoShape 18">
            <a:extLst>
              <a:ext uri="{FF2B5EF4-FFF2-40B4-BE49-F238E27FC236}">
                <a16:creationId xmlns:a16="http://schemas.microsoft.com/office/drawing/2014/main" id="{CA3DEC48-30E1-4B31-BEF8-89FBE3A9F6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5278832" y="3314997"/>
            <a:ext cx="1939024" cy="1950444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lIns="0" tIns="0" rIns="0" bIns="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b="1" dirty="0">
                <a:solidFill>
                  <a:srgbClr val="FFFFFF"/>
                </a:solidFill>
              </a:rPr>
              <a:t>Investitions-</a:t>
            </a:r>
          </a:p>
          <a:p>
            <a:pPr algn="ctr"/>
            <a:r>
              <a:rPr lang="de-DE" sz="1800" b="1" dirty="0" err="1">
                <a:solidFill>
                  <a:srgbClr val="FFFFFF"/>
                </a:solidFill>
              </a:rPr>
              <a:t>schutz</a:t>
            </a:r>
            <a:r>
              <a:rPr lang="de-DE" sz="1800" b="1" dirty="0">
                <a:solidFill>
                  <a:srgbClr val="FFFFFF"/>
                </a:solidFill>
              </a:rPr>
              <a:t> durch BIT</a:t>
            </a: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AC03163C-08C3-4B9A-9219-1126B72F01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5200" y="2255838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80000" tIns="36000" rIns="144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Förderung sowie gerechte und billige Behandlung von Kapitalanlagen</a:t>
            </a:r>
          </a:p>
        </p:txBody>
      </p:sp>
      <p:sp>
        <p:nvSpPr>
          <p:cNvPr id="21" name="Rectangle 7">
            <a:extLst>
              <a:ext uri="{FF2B5EF4-FFF2-40B4-BE49-F238E27FC236}">
                <a16:creationId xmlns:a16="http://schemas.microsoft.com/office/drawing/2014/main" id="{E3C39DA3-720D-4601-B03F-9D4EC05888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7488" y="2255838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216000" tIns="36000" rIns="180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de-DE" sz="1600" dirty="0"/>
              <a:t>Freier Transfer von Kapital und Erträgen </a:t>
            </a:r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D0A5EAA3-ED1E-4481-BE8A-2A8B6701D1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95200" y="5388600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80000" tIns="36000" rIns="144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de-DE" sz="1600" dirty="0"/>
              <a:t>Enteignungsschutz</a:t>
            </a:r>
            <a:br>
              <a:rPr lang="de-DE" sz="1200" dirty="0"/>
            </a:br>
            <a:r>
              <a:rPr lang="de-DE" sz="1200" dirty="0"/>
              <a:t>(Überprüfung der Rechtmäßigkeit von Enteignungen sowie Zahlung einer Entschädigung)</a:t>
            </a:r>
          </a:p>
        </p:txBody>
      </p:sp>
      <p:sp>
        <p:nvSpPr>
          <p:cNvPr id="23" name="Rectangle 9">
            <a:extLst>
              <a:ext uri="{FF2B5EF4-FFF2-40B4-BE49-F238E27FC236}">
                <a16:creationId xmlns:a16="http://schemas.microsoft.com/office/drawing/2014/main" id="{9A1D5092-86FC-4B75-BFD5-6432DD1C76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7797488" y="5388600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216000" tIns="36000" rIns="180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r"/>
            <a:r>
              <a:rPr lang="de-DE" sz="1600" dirty="0"/>
              <a:t>Schiedsverfahren</a:t>
            </a:r>
            <a:r>
              <a:rPr lang="de-DE" sz="1200" dirty="0"/>
              <a:t> </a:t>
            </a:r>
            <a:br>
              <a:rPr lang="de-DE" sz="1200" dirty="0"/>
            </a:br>
            <a:r>
              <a:rPr lang="de-DE" sz="1200" dirty="0"/>
              <a:t>(zwischen Vertragsparteien oder einer Partei und einem Investor)</a:t>
            </a:r>
          </a:p>
        </p:txBody>
      </p:sp>
      <p:sp>
        <p:nvSpPr>
          <p:cNvPr id="24" name="AutoShape 27">
            <a:extLst>
              <a:ext uri="{FF2B5EF4-FFF2-40B4-BE49-F238E27FC236}">
                <a16:creationId xmlns:a16="http://schemas.microsoft.com/office/drawing/2014/main" id="{81787056-833D-4238-8852-CB3CB12FB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200" y="3300092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80000" tIns="36000" rIns="144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rgbClr val="000000"/>
                </a:solidFill>
              </a:rPr>
              <a:t>Diskriminierungsverbot</a:t>
            </a:r>
            <a:br>
              <a:rPr lang="de-DE" sz="1200" dirty="0">
                <a:solidFill>
                  <a:srgbClr val="000000"/>
                </a:solidFill>
              </a:rPr>
            </a:br>
            <a:r>
              <a:rPr lang="de-DE" sz="1200" dirty="0">
                <a:solidFill>
                  <a:srgbClr val="000000"/>
                </a:solidFill>
              </a:rPr>
              <a:t>(keine Beeinträchtigung durch willkürliche oder diskriminierende Maßnahmen)</a:t>
            </a:r>
          </a:p>
        </p:txBody>
      </p:sp>
      <p:sp>
        <p:nvSpPr>
          <p:cNvPr id="25" name="AutoShape 28">
            <a:extLst>
              <a:ext uri="{FF2B5EF4-FFF2-40B4-BE49-F238E27FC236}">
                <a16:creationId xmlns:a16="http://schemas.microsoft.com/office/drawing/2014/main" id="{E84F51BD-42FC-425C-B8F3-992CF2701F04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797488" y="3300092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216000" tIns="36000" rIns="180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600" dirty="0">
                <a:solidFill>
                  <a:srgbClr val="000000"/>
                </a:solidFill>
              </a:rPr>
              <a:t>Garantie des Rechtsweges </a:t>
            </a:r>
          </a:p>
        </p:txBody>
      </p:sp>
      <p:sp>
        <p:nvSpPr>
          <p:cNvPr id="26" name="AutoShape 27">
            <a:extLst>
              <a:ext uri="{FF2B5EF4-FFF2-40B4-BE49-F238E27FC236}">
                <a16:creationId xmlns:a16="http://schemas.microsoft.com/office/drawing/2014/main" id="{0CE3846A-9A7B-490F-A987-4AE74A043B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5200" y="4344346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180000" tIns="36000" rIns="144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>
                <a:solidFill>
                  <a:srgbClr val="000000"/>
                </a:solidFill>
              </a:rPr>
              <a:t>Prinzip der Inländerbehandlung und Meistbegünstigung </a:t>
            </a:r>
          </a:p>
        </p:txBody>
      </p:sp>
      <p:sp>
        <p:nvSpPr>
          <p:cNvPr id="27" name="AutoShape 28">
            <a:extLst>
              <a:ext uri="{FF2B5EF4-FFF2-40B4-BE49-F238E27FC236}">
                <a16:creationId xmlns:a16="http://schemas.microsoft.com/office/drawing/2014/main" id="{91E218E4-EC1F-4315-905A-E253CD339621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7797488" y="4344346"/>
            <a:ext cx="4104000" cy="936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lIns="216000" tIns="36000" rIns="180000" bIns="36000" anchor="ctr"/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1600" dirty="0">
                <a:solidFill>
                  <a:srgbClr val="000000"/>
                </a:solidFill>
              </a:rPr>
              <a:t>Grundsätzlich Versuch einer gütlicher Beilegung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9E74D9A-AE06-4101-AB10-4F1822561F37}"/>
              </a:ext>
            </a:extLst>
          </p:cNvPr>
          <p:cNvSpPr/>
          <p:nvPr/>
        </p:nvSpPr>
        <p:spPr>
          <a:xfrm>
            <a:off x="4578081" y="2615838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E658AB06-22CD-4A4B-A246-209EFD4BB71A}"/>
              </a:ext>
            </a:extLst>
          </p:cNvPr>
          <p:cNvSpPr/>
          <p:nvPr/>
        </p:nvSpPr>
        <p:spPr>
          <a:xfrm>
            <a:off x="4578081" y="3660092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A1EBBC2D-4D14-4152-93E6-7D6CDC2FB0F1}"/>
              </a:ext>
            </a:extLst>
          </p:cNvPr>
          <p:cNvSpPr/>
          <p:nvPr/>
        </p:nvSpPr>
        <p:spPr>
          <a:xfrm>
            <a:off x="4578081" y="4704346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73B5EC5B-1441-4E3F-BD51-2C9F6161E5BA}"/>
              </a:ext>
            </a:extLst>
          </p:cNvPr>
          <p:cNvSpPr/>
          <p:nvPr/>
        </p:nvSpPr>
        <p:spPr>
          <a:xfrm>
            <a:off x="4578081" y="5748600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2BB9F898-D1BB-4422-AA01-E09A95A108FA}"/>
              </a:ext>
            </a:extLst>
          </p:cNvPr>
          <p:cNvSpPr/>
          <p:nvPr/>
        </p:nvSpPr>
        <p:spPr>
          <a:xfrm>
            <a:off x="7644733" y="2615838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7448167-05F4-45BA-BF77-6B85F8C1F577}"/>
              </a:ext>
            </a:extLst>
          </p:cNvPr>
          <p:cNvSpPr/>
          <p:nvPr/>
        </p:nvSpPr>
        <p:spPr>
          <a:xfrm>
            <a:off x="7644733" y="3660092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ABC6F08-6849-43CB-9B27-6E3FC28B7CF7}"/>
              </a:ext>
            </a:extLst>
          </p:cNvPr>
          <p:cNvSpPr/>
          <p:nvPr/>
        </p:nvSpPr>
        <p:spPr>
          <a:xfrm>
            <a:off x="7644733" y="4704346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06F93D58-A2F6-4E0E-946B-2005DAB5A117}"/>
              </a:ext>
            </a:extLst>
          </p:cNvPr>
          <p:cNvSpPr/>
          <p:nvPr/>
        </p:nvSpPr>
        <p:spPr>
          <a:xfrm>
            <a:off x="7644733" y="5748600"/>
            <a:ext cx="216000" cy="216000"/>
          </a:xfrm>
          <a:prstGeom prst="ellipse">
            <a:avLst/>
          </a:prstGeom>
          <a:solidFill>
            <a:schemeClr val="accent4"/>
          </a:solidFill>
          <a:ln w="38100">
            <a:solidFill>
              <a:schemeClr val="bg1">
                <a:lumMod val="95000"/>
              </a:schemeClr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cxnSp>
        <p:nvCxnSpPr>
          <p:cNvPr id="36" name="Elbow Connector 22">
            <a:extLst>
              <a:ext uri="{FF2B5EF4-FFF2-40B4-BE49-F238E27FC236}">
                <a16:creationId xmlns:a16="http://schemas.microsoft.com/office/drawing/2014/main" id="{BA9EB8EA-40AE-43E6-B07D-307D7AADB75B}"/>
              </a:ext>
            </a:extLst>
          </p:cNvPr>
          <p:cNvCxnSpPr>
            <a:stCxn id="28" idx="6"/>
            <a:endCxn id="42" idx="0"/>
          </p:cNvCxnSpPr>
          <p:nvPr/>
        </p:nvCxnSpPr>
        <p:spPr>
          <a:xfrm>
            <a:off x="4794081" y="2723838"/>
            <a:ext cx="1248267" cy="587758"/>
          </a:xfrm>
          <a:prstGeom prst="bentConnector2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Elbow Connector 23">
            <a:extLst>
              <a:ext uri="{FF2B5EF4-FFF2-40B4-BE49-F238E27FC236}">
                <a16:creationId xmlns:a16="http://schemas.microsoft.com/office/drawing/2014/main" id="{68D7C3B8-1F8B-4073-9DF8-0E17F3A88522}"/>
              </a:ext>
            </a:extLst>
          </p:cNvPr>
          <p:cNvCxnSpPr>
            <a:stCxn id="32" idx="2"/>
            <a:endCxn id="43" idx="0"/>
          </p:cNvCxnSpPr>
          <p:nvPr/>
        </p:nvCxnSpPr>
        <p:spPr>
          <a:xfrm rot="10800000" flipV="1">
            <a:off x="6463719" y="2723838"/>
            <a:ext cx="1181014" cy="587758"/>
          </a:xfrm>
          <a:prstGeom prst="bentConnector2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24">
            <a:extLst>
              <a:ext uri="{FF2B5EF4-FFF2-40B4-BE49-F238E27FC236}">
                <a16:creationId xmlns:a16="http://schemas.microsoft.com/office/drawing/2014/main" id="{DD824901-BC01-45FC-98C9-D05896A8AB07}"/>
              </a:ext>
            </a:extLst>
          </p:cNvPr>
          <p:cNvCxnSpPr/>
          <p:nvPr/>
        </p:nvCxnSpPr>
        <p:spPr>
          <a:xfrm rot="10800000">
            <a:off x="6463719" y="5244600"/>
            <a:ext cx="1181014" cy="612000"/>
          </a:xfrm>
          <a:prstGeom prst="bentConnector2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25">
            <a:extLst>
              <a:ext uri="{FF2B5EF4-FFF2-40B4-BE49-F238E27FC236}">
                <a16:creationId xmlns:a16="http://schemas.microsoft.com/office/drawing/2014/main" id="{4FA3F799-9432-4283-AFEC-096EC7F79F37}"/>
              </a:ext>
            </a:extLst>
          </p:cNvPr>
          <p:cNvCxnSpPr/>
          <p:nvPr/>
        </p:nvCxnSpPr>
        <p:spPr>
          <a:xfrm flipV="1">
            <a:off x="4794081" y="5244601"/>
            <a:ext cx="1248267" cy="612000"/>
          </a:xfrm>
          <a:prstGeom prst="bentConnector2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26">
            <a:extLst>
              <a:ext uri="{FF2B5EF4-FFF2-40B4-BE49-F238E27FC236}">
                <a16:creationId xmlns:a16="http://schemas.microsoft.com/office/drawing/2014/main" id="{87BB1758-971D-4A5E-BCC8-09230D30F74B}"/>
              </a:ext>
            </a:extLst>
          </p:cNvPr>
          <p:cNvSpPr/>
          <p:nvPr/>
        </p:nvSpPr>
        <p:spPr>
          <a:xfrm>
            <a:off x="5898698" y="4840606"/>
            <a:ext cx="287299" cy="37478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b="1" dirty="0"/>
          </a:p>
        </p:txBody>
      </p:sp>
      <p:sp>
        <p:nvSpPr>
          <p:cNvPr id="41" name="Rectangle 27">
            <a:extLst>
              <a:ext uri="{FF2B5EF4-FFF2-40B4-BE49-F238E27FC236}">
                <a16:creationId xmlns:a16="http://schemas.microsoft.com/office/drawing/2014/main" id="{8978BC46-BD28-49B8-AB87-A9B8A73E51EF}"/>
              </a:ext>
            </a:extLst>
          </p:cNvPr>
          <p:cNvSpPr/>
          <p:nvPr/>
        </p:nvSpPr>
        <p:spPr>
          <a:xfrm>
            <a:off x="6320069" y="4840606"/>
            <a:ext cx="287299" cy="37478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b="1" dirty="0"/>
          </a:p>
        </p:txBody>
      </p:sp>
      <p:sp>
        <p:nvSpPr>
          <p:cNvPr id="42" name="Rectangle 28">
            <a:extLst>
              <a:ext uri="{FF2B5EF4-FFF2-40B4-BE49-F238E27FC236}">
                <a16:creationId xmlns:a16="http://schemas.microsoft.com/office/drawing/2014/main" id="{0E5B3283-9EF0-435D-AF6C-6BB0C8B03DDD}"/>
              </a:ext>
            </a:extLst>
          </p:cNvPr>
          <p:cNvSpPr/>
          <p:nvPr/>
        </p:nvSpPr>
        <p:spPr>
          <a:xfrm>
            <a:off x="5898698" y="3311596"/>
            <a:ext cx="287299" cy="37478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43" name="Rectangle 29">
            <a:extLst>
              <a:ext uri="{FF2B5EF4-FFF2-40B4-BE49-F238E27FC236}">
                <a16:creationId xmlns:a16="http://schemas.microsoft.com/office/drawing/2014/main" id="{9FF2333E-7D30-4F9A-99BA-94A80C7E5902}"/>
              </a:ext>
            </a:extLst>
          </p:cNvPr>
          <p:cNvSpPr/>
          <p:nvPr/>
        </p:nvSpPr>
        <p:spPr>
          <a:xfrm>
            <a:off x="6320069" y="3311596"/>
            <a:ext cx="287299" cy="37478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cxnSp>
        <p:nvCxnSpPr>
          <p:cNvPr id="45" name="Straight Arrow Connector 30">
            <a:extLst>
              <a:ext uri="{FF2B5EF4-FFF2-40B4-BE49-F238E27FC236}">
                <a16:creationId xmlns:a16="http://schemas.microsoft.com/office/drawing/2014/main" id="{B8EE6EBF-EDE3-4C85-A9AC-3BBCBF8756E7}"/>
              </a:ext>
            </a:extLst>
          </p:cNvPr>
          <p:cNvCxnSpPr>
            <a:cxnSpLocks/>
          </p:cNvCxnSpPr>
          <p:nvPr/>
        </p:nvCxnSpPr>
        <p:spPr>
          <a:xfrm>
            <a:off x="4841216" y="4812346"/>
            <a:ext cx="540000" cy="0"/>
          </a:xfrm>
          <a:prstGeom prst="straightConnector1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32">
            <a:extLst>
              <a:ext uri="{FF2B5EF4-FFF2-40B4-BE49-F238E27FC236}">
                <a16:creationId xmlns:a16="http://schemas.microsoft.com/office/drawing/2014/main" id="{DC4C833B-9D50-4E14-9F35-9A8F06B9BB2C}"/>
              </a:ext>
            </a:extLst>
          </p:cNvPr>
          <p:cNvCxnSpPr>
            <a:cxnSpLocks/>
          </p:cNvCxnSpPr>
          <p:nvPr/>
        </p:nvCxnSpPr>
        <p:spPr>
          <a:xfrm flipV="1">
            <a:off x="4841216" y="3762262"/>
            <a:ext cx="540000" cy="0"/>
          </a:xfrm>
          <a:prstGeom prst="straightConnector1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30">
            <a:extLst>
              <a:ext uri="{FF2B5EF4-FFF2-40B4-BE49-F238E27FC236}">
                <a16:creationId xmlns:a16="http://schemas.microsoft.com/office/drawing/2014/main" id="{11964BEA-2669-439E-906A-CCE6CE95E06B}"/>
              </a:ext>
            </a:extLst>
          </p:cNvPr>
          <p:cNvCxnSpPr>
            <a:cxnSpLocks/>
          </p:cNvCxnSpPr>
          <p:nvPr/>
        </p:nvCxnSpPr>
        <p:spPr>
          <a:xfrm flipH="1">
            <a:off x="7067517" y="4812346"/>
            <a:ext cx="540000" cy="0"/>
          </a:xfrm>
          <a:prstGeom prst="straightConnector1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32">
            <a:extLst>
              <a:ext uri="{FF2B5EF4-FFF2-40B4-BE49-F238E27FC236}">
                <a16:creationId xmlns:a16="http://schemas.microsoft.com/office/drawing/2014/main" id="{F5DC67BF-2ACE-4C90-8EA0-67D32F55E1DB}"/>
              </a:ext>
            </a:extLst>
          </p:cNvPr>
          <p:cNvCxnSpPr>
            <a:cxnSpLocks/>
          </p:cNvCxnSpPr>
          <p:nvPr/>
        </p:nvCxnSpPr>
        <p:spPr>
          <a:xfrm flipH="1">
            <a:off x="7071995" y="3762262"/>
            <a:ext cx="540000" cy="0"/>
          </a:xfrm>
          <a:prstGeom prst="straightConnector1">
            <a:avLst/>
          </a:prstGeom>
          <a:ln w="127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Slide Number Placeholder 1">
            <a:extLst>
              <a:ext uri="{FF2B5EF4-FFF2-40B4-BE49-F238E27FC236}">
                <a16:creationId xmlns:a16="http://schemas.microsoft.com/office/drawing/2014/main" id="{63293188-E6BC-4671-96C9-ED4CF56EBB9C}"/>
              </a:ext>
            </a:extLst>
          </p:cNvPr>
          <p:cNvSpPr txBox="1">
            <a:spLocks/>
          </p:cNvSpPr>
          <p:nvPr/>
        </p:nvSpPr>
        <p:spPr>
          <a:xfrm>
            <a:off x="10136696" y="6644640"/>
            <a:ext cx="1764792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defPPr>
              <a:defRPr lang="en-US"/>
            </a:defPPr>
            <a:lvl1pPr marL="0" algn="r" defTabSz="1018824" rtl="0" eaLnBrk="1" latinLnBrk="0" hangingPunct="1">
              <a:defRPr sz="794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70704B-CE94-48CC-AF30-84932A1262A7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52" name="Footer Placeholder 38">
            <a:extLst>
              <a:ext uri="{FF2B5EF4-FFF2-40B4-BE49-F238E27FC236}">
                <a16:creationId xmlns:a16="http://schemas.microsoft.com/office/drawing/2014/main" id="{87240469-7E06-49D6-8562-A0432FE0459A}"/>
              </a:ext>
            </a:extLst>
          </p:cNvPr>
          <p:cNvSpPr txBox="1">
            <a:spLocks/>
          </p:cNvSpPr>
          <p:nvPr/>
        </p:nvSpPr>
        <p:spPr>
          <a:xfrm>
            <a:off x="595312" y="6507480"/>
            <a:ext cx="5473701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defPPr>
              <a:defRPr lang="en-US"/>
            </a:defPPr>
            <a:lvl1pPr marL="0" algn="l" defTabSz="1018824" rtl="0" eaLnBrk="1" latinLnBrk="0" hangingPunct="1">
              <a:defRPr sz="794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echtliche Rahmenbedingungen für deutsche Unternehmen in der Mongolei </a:t>
            </a:r>
          </a:p>
        </p:txBody>
      </p:sp>
      <p:sp>
        <p:nvSpPr>
          <p:cNvPr id="53" name="Date Placeholder 37">
            <a:extLst>
              <a:ext uri="{FF2B5EF4-FFF2-40B4-BE49-F238E27FC236}">
                <a16:creationId xmlns:a16="http://schemas.microsoft.com/office/drawing/2014/main" id="{A6045900-768D-406E-AA1E-7B763EDA7D0B}"/>
              </a:ext>
            </a:extLst>
          </p:cNvPr>
          <p:cNvSpPr txBox="1">
            <a:spLocks/>
          </p:cNvSpPr>
          <p:nvPr/>
        </p:nvSpPr>
        <p:spPr>
          <a:xfrm>
            <a:off x="10136696" y="6507480"/>
            <a:ext cx="1764792" cy="137160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defPPr>
              <a:defRPr lang="en-US"/>
            </a:defPPr>
            <a:lvl1pPr marL="0" algn="r" defTabSz="1018824" rtl="0" eaLnBrk="1" latinLnBrk="0" hangingPunct="1">
              <a:defRPr sz="794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Juni 2020</a:t>
            </a:r>
          </a:p>
        </p:txBody>
      </p:sp>
    </p:spTree>
    <p:extLst>
      <p:ext uri="{BB962C8B-B14F-4D97-AF65-F5344CB8AC3E}">
        <p14:creationId xmlns:p14="http://schemas.microsoft.com/office/powerpoint/2010/main" val="3277108262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0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9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ationales Recht: ECT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3C3351-D312-4B96-9D9E-D79CF3416B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A0EC37-9CF9-4EA3-857E-190C1A477E9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26CDC-6ED3-4B5B-B17F-24474E900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D665757-87CE-4D87-A835-349C4717AE39}"/>
              </a:ext>
            </a:extLst>
          </p:cNvPr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Der Energy Charter Vertrag als Versuch einer Marktordnung im Energiebereich</a:t>
            </a:r>
          </a:p>
        </p:txBody>
      </p:sp>
      <p:sp>
        <p:nvSpPr>
          <p:cNvPr id="61" name="Text Box 13" descr="PresentationLoad.com">
            <a:extLst>
              <a:ext uri="{FF2B5EF4-FFF2-40B4-BE49-F238E27FC236}">
                <a16:creationId xmlns:a16="http://schemas.microsoft.com/office/drawing/2014/main" id="{1628F140-A235-4AE5-81F5-B4551B47B7E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7199" y="2111438"/>
            <a:ext cx="3960000" cy="17249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2000" tIns="0" rIns="0" bIns="0" anchor="ctr">
            <a:noAutofit/>
          </a:bodyPr>
          <a:lstStyle/>
          <a:p>
            <a:pPr>
              <a:lnSpc>
                <a:spcPts val="2200"/>
              </a:lnSpc>
            </a:pPr>
            <a:r>
              <a:rPr lang="de-DE" sz="1600" b="1" dirty="0">
                <a:solidFill>
                  <a:schemeClr val="accent1"/>
                </a:solidFill>
              </a:rPr>
              <a:t>Förderung und Schutz von Investitionen </a:t>
            </a:r>
            <a:r>
              <a:rPr lang="de-DE" sz="1600" dirty="0"/>
              <a:t>(ähnlich wie im BIT) nach dem Prinzip der </a:t>
            </a:r>
            <a:r>
              <a:rPr lang="de-DE" sz="1600" b="1" dirty="0">
                <a:solidFill>
                  <a:schemeClr val="accent1"/>
                </a:solidFill>
              </a:rPr>
              <a:t>Inländerbehandlung</a:t>
            </a:r>
            <a:r>
              <a:rPr lang="de-DE" sz="1600" dirty="0"/>
              <a:t> oder von </a:t>
            </a:r>
            <a:r>
              <a:rPr lang="de-DE" sz="1600" b="1" dirty="0">
                <a:solidFill>
                  <a:schemeClr val="accent1"/>
                </a:solidFill>
              </a:rPr>
              <a:t>Meistbegünstigungen</a:t>
            </a:r>
          </a:p>
        </p:txBody>
      </p:sp>
      <p:sp>
        <p:nvSpPr>
          <p:cNvPr id="64" name="Text Box 13" descr="PresentationLoad.com">
            <a:extLst>
              <a:ext uri="{FF2B5EF4-FFF2-40B4-BE49-F238E27FC236}">
                <a16:creationId xmlns:a16="http://schemas.microsoft.com/office/drawing/2014/main" id="{6ED02A23-D5FB-44C9-8A81-C91AE79FE66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57199" y="3931374"/>
            <a:ext cx="3960000" cy="15696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72000" tIns="0" rIns="0" bIns="0" anchor="ctr" anchorCtr="0">
            <a:noAutofit/>
          </a:bodyPr>
          <a:lstStyle/>
          <a:p>
            <a:pPr>
              <a:lnSpc>
                <a:spcPts val="2200"/>
              </a:lnSpc>
            </a:pPr>
            <a:r>
              <a:rPr lang="de-DE" sz="1600" dirty="0"/>
              <a:t>Förderung von </a:t>
            </a:r>
            <a:r>
              <a:rPr lang="de-DE" sz="1600" b="1" dirty="0">
                <a:solidFill>
                  <a:schemeClr val="accent4"/>
                </a:solidFill>
              </a:rPr>
              <a:t>Energieeffizienz</a:t>
            </a:r>
            <a:r>
              <a:rPr lang="de-DE" sz="1600" dirty="0"/>
              <a:t>, sowie Minimierung der </a:t>
            </a:r>
            <a:r>
              <a:rPr lang="de-DE" sz="1600" b="1" dirty="0">
                <a:solidFill>
                  <a:schemeClr val="accent4"/>
                </a:solidFill>
              </a:rPr>
              <a:t>Umweltauswirkungen</a:t>
            </a:r>
            <a:r>
              <a:rPr lang="de-DE" sz="1600" dirty="0"/>
              <a:t> von Energieproduktion und –verbrauch </a:t>
            </a:r>
          </a:p>
        </p:txBody>
      </p:sp>
      <p:cxnSp>
        <p:nvCxnSpPr>
          <p:cNvPr id="65" name="Gerade Verbindung 52" descr="PresentationLoad.com">
            <a:extLst>
              <a:ext uri="{FF2B5EF4-FFF2-40B4-BE49-F238E27FC236}">
                <a16:creationId xmlns:a16="http://schemas.microsoft.com/office/drawing/2014/main" id="{B5F4EED1-A730-4C80-92C9-333D188A3567}"/>
              </a:ext>
            </a:extLst>
          </p:cNvPr>
          <p:cNvCxnSpPr/>
          <p:nvPr/>
        </p:nvCxnSpPr>
        <p:spPr bwMode="gray">
          <a:xfrm>
            <a:off x="457199" y="3836391"/>
            <a:ext cx="3960000" cy="0"/>
          </a:xfrm>
          <a:prstGeom prst="line">
            <a:avLst/>
          </a:prstGeom>
          <a:noFill/>
          <a:ln w="12700">
            <a:solidFill>
              <a:schemeClr val="bg2">
                <a:lumMod val="90000"/>
              </a:schemeClr>
            </a:solidFill>
            <a:prstDash val="sysDot"/>
            <a:round/>
            <a:headEnd/>
            <a:tailEnd/>
          </a:ln>
        </p:spPr>
      </p:cxnSp>
      <p:sp>
        <p:nvSpPr>
          <p:cNvPr id="10" name="Freeform 13">
            <a:extLst>
              <a:ext uri="{FF2B5EF4-FFF2-40B4-BE49-F238E27FC236}">
                <a16:creationId xmlns:a16="http://schemas.microsoft.com/office/drawing/2014/main" id="{E533D2C2-7A8A-4380-B937-B87048B0B02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17211" y="369861"/>
            <a:ext cx="631877" cy="631878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350" b="0" i="0" u="none" strike="noStrike" kern="0" cap="none" spc="0" normalizeH="0" baseline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4" name="Rechteck 6">
            <a:extLst>
              <a:ext uri="{FF2B5EF4-FFF2-40B4-BE49-F238E27FC236}">
                <a16:creationId xmlns:a16="http://schemas.microsoft.com/office/drawing/2014/main" id="{F92D789F-D72B-4AC5-8771-6213EBA4A4A8}"/>
              </a:ext>
            </a:extLst>
          </p:cNvPr>
          <p:cNvSpPr/>
          <p:nvPr/>
        </p:nvSpPr>
        <p:spPr>
          <a:xfrm>
            <a:off x="0" y="5569370"/>
            <a:ext cx="12191999" cy="605534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15" name="Gruppieren 57">
            <a:extLst>
              <a:ext uri="{FF2B5EF4-FFF2-40B4-BE49-F238E27FC236}">
                <a16:creationId xmlns:a16="http://schemas.microsoft.com/office/drawing/2014/main" id="{8AD7773D-AD11-451F-94D3-18D7319C7EC2}"/>
              </a:ext>
            </a:extLst>
          </p:cNvPr>
          <p:cNvGrpSpPr>
            <a:grpSpLocks noChangeAspect="1"/>
          </p:cNvGrpSpPr>
          <p:nvPr/>
        </p:nvGrpSpPr>
        <p:grpSpPr>
          <a:xfrm>
            <a:off x="4645712" y="1897021"/>
            <a:ext cx="2916156" cy="4176000"/>
            <a:chOff x="2908349" y="1741573"/>
            <a:chExt cx="3060622" cy="4382881"/>
          </a:xfrm>
        </p:grpSpPr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A025478-4D38-4E7D-B3CA-D503507495C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75002" y="3576634"/>
              <a:ext cx="932527" cy="2365178"/>
            </a:xfrm>
            <a:custGeom>
              <a:avLst/>
              <a:gdLst>
                <a:gd name="T0" fmla="*/ 14 w 379"/>
                <a:gd name="T1" fmla="*/ 961 h 961"/>
                <a:gd name="T2" fmla="*/ 0 w 379"/>
                <a:gd name="T3" fmla="*/ 907 h 961"/>
                <a:gd name="T4" fmla="*/ 317 w 379"/>
                <a:gd name="T5" fmla="*/ 702 h 961"/>
                <a:gd name="T6" fmla="*/ 317 w 379"/>
                <a:gd name="T7" fmla="*/ 230 h 961"/>
                <a:gd name="T8" fmla="*/ 117 w 379"/>
                <a:gd name="T9" fmla="*/ 55 h 961"/>
                <a:gd name="T10" fmla="*/ 121 w 379"/>
                <a:gd name="T11" fmla="*/ 0 h 961"/>
                <a:gd name="T12" fmla="*/ 330 w 379"/>
                <a:gd name="T13" fmla="*/ 118 h 961"/>
                <a:gd name="T14" fmla="*/ 373 w 379"/>
                <a:gd name="T15" fmla="*/ 224 h 961"/>
                <a:gd name="T16" fmla="*/ 373 w 379"/>
                <a:gd name="T17" fmla="*/ 225 h 961"/>
                <a:gd name="T18" fmla="*/ 373 w 379"/>
                <a:gd name="T19" fmla="*/ 227 h 961"/>
                <a:gd name="T20" fmla="*/ 373 w 379"/>
                <a:gd name="T21" fmla="*/ 705 h 961"/>
                <a:gd name="T22" fmla="*/ 186 w 379"/>
                <a:gd name="T23" fmla="*/ 900 h 961"/>
                <a:gd name="T24" fmla="*/ 14 w 379"/>
                <a:gd name="T25" fmla="*/ 961 h 961"/>
                <a:gd name="T26" fmla="*/ 7 w 379"/>
                <a:gd name="T27" fmla="*/ 934 h 961"/>
                <a:gd name="T28" fmla="*/ 0 w 379"/>
                <a:gd name="T29" fmla="*/ 907 h 961"/>
                <a:gd name="T30" fmla="*/ 0 w 379"/>
                <a:gd name="T31" fmla="*/ 907 h 961"/>
                <a:gd name="T32" fmla="*/ 7 w 379"/>
                <a:gd name="T33" fmla="*/ 93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79" h="961">
                  <a:moveTo>
                    <a:pt x="14" y="961"/>
                  </a:moveTo>
                  <a:cubicBezTo>
                    <a:pt x="0" y="907"/>
                    <a:pt x="0" y="907"/>
                    <a:pt x="0" y="907"/>
                  </a:cubicBezTo>
                  <a:cubicBezTo>
                    <a:pt x="87" y="886"/>
                    <a:pt x="313" y="808"/>
                    <a:pt x="317" y="702"/>
                  </a:cubicBezTo>
                  <a:cubicBezTo>
                    <a:pt x="323" y="561"/>
                    <a:pt x="318" y="257"/>
                    <a:pt x="317" y="230"/>
                  </a:cubicBezTo>
                  <a:cubicBezTo>
                    <a:pt x="314" y="213"/>
                    <a:pt x="284" y="69"/>
                    <a:pt x="117" y="55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236" y="9"/>
                    <a:pt x="298" y="69"/>
                    <a:pt x="330" y="118"/>
                  </a:cubicBezTo>
                  <a:cubicBezTo>
                    <a:pt x="365" y="171"/>
                    <a:pt x="372" y="221"/>
                    <a:pt x="373" y="224"/>
                  </a:cubicBezTo>
                  <a:cubicBezTo>
                    <a:pt x="373" y="225"/>
                    <a:pt x="373" y="225"/>
                    <a:pt x="373" y="225"/>
                  </a:cubicBezTo>
                  <a:cubicBezTo>
                    <a:pt x="373" y="227"/>
                    <a:pt x="373" y="227"/>
                    <a:pt x="373" y="227"/>
                  </a:cubicBezTo>
                  <a:cubicBezTo>
                    <a:pt x="373" y="230"/>
                    <a:pt x="379" y="555"/>
                    <a:pt x="373" y="705"/>
                  </a:cubicBezTo>
                  <a:cubicBezTo>
                    <a:pt x="370" y="778"/>
                    <a:pt x="307" y="844"/>
                    <a:pt x="186" y="900"/>
                  </a:cubicBezTo>
                  <a:cubicBezTo>
                    <a:pt x="100" y="940"/>
                    <a:pt x="17" y="960"/>
                    <a:pt x="14" y="961"/>
                  </a:cubicBezTo>
                  <a:close/>
                  <a:moveTo>
                    <a:pt x="7" y="934"/>
                  </a:moveTo>
                  <a:cubicBezTo>
                    <a:pt x="0" y="907"/>
                    <a:pt x="0" y="907"/>
                    <a:pt x="0" y="907"/>
                  </a:cubicBezTo>
                  <a:cubicBezTo>
                    <a:pt x="0" y="907"/>
                    <a:pt x="0" y="907"/>
                    <a:pt x="0" y="907"/>
                  </a:cubicBezTo>
                  <a:cubicBezTo>
                    <a:pt x="7" y="934"/>
                    <a:pt x="7" y="934"/>
                    <a:pt x="7" y="9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9B1CE70-B5B8-4756-AF2A-4C712795EC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2308" y="2973662"/>
              <a:ext cx="988791" cy="2872597"/>
            </a:xfrm>
            <a:custGeom>
              <a:avLst/>
              <a:gdLst>
                <a:gd name="T0" fmla="*/ 211 w 402"/>
                <a:gd name="T1" fmla="*/ 1167 h 1167"/>
                <a:gd name="T2" fmla="*/ 185 w 402"/>
                <a:gd name="T3" fmla="*/ 1117 h 1167"/>
                <a:gd name="T4" fmla="*/ 344 w 402"/>
                <a:gd name="T5" fmla="*/ 925 h 1167"/>
                <a:gd name="T6" fmla="*/ 344 w 402"/>
                <a:gd name="T7" fmla="*/ 650 h 1167"/>
                <a:gd name="T8" fmla="*/ 344 w 402"/>
                <a:gd name="T9" fmla="*/ 377 h 1167"/>
                <a:gd name="T10" fmla="*/ 192 w 402"/>
                <a:gd name="T11" fmla="*/ 226 h 1167"/>
                <a:gd name="T12" fmla="*/ 191 w 402"/>
                <a:gd name="T13" fmla="*/ 225 h 1167"/>
                <a:gd name="T14" fmla="*/ 0 w 402"/>
                <a:gd name="T15" fmla="*/ 19 h 1167"/>
                <a:gd name="T16" fmla="*/ 52 w 402"/>
                <a:gd name="T17" fmla="*/ 0 h 1167"/>
                <a:gd name="T18" fmla="*/ 212 w 402"/>
                <a:gd name="T19" fmla="*/ 173 h 1167"/>
                <a:gd name="T20" fmla="*/ 399 w 402"/>
                <a:gd name="T21" fmla="*/ 368 h 1167"/>
                <a:gd name="T22" fmla="*/ 400 w 402"/>
                <a:gd name="T23" fmla="*/ 370 h 1167"/>
                <a:gd name="T24" fmla="*/ 400 w 402"/>
                <a:gd name="T25" fmla="*/ 649 h 1167"/>
                <a:gd name="T26" fmla="*/ 400 w 402"/>
                <a:gd name="T27" fmla="*/ 926 h 1167"/>
                <a:gd name="T28" fmla="*/ 211 w 402"/>
                <a:gd name="T29" fmla="*/ 1167 h 1167"/>
                <a:gd name="T30" fmla="*/ 198 w 402"/>
                <a:gd name="T31" fmla="*/ 1142 h 1167"/>
                <a:gd name="T32" fmla="*/ 185 w 402"/>
                <a:gd name="T33" fmla="*/ 1117 h 1167"/>
                <a:gd name="T34" fmla="*/ 185 w 402"/>
                <a:gd name="T35" fmla="*/ 1117 h 1167"/>
                <a:gd name="T36" fmla="*/ 198 w 402"/>
                <a:gd name="T37" fmla="*/ 1142 h 1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2" h="1167">
                  <a:moveTo>
                    <a:pt x="211" y="1167"/>
                  </a:moveTo>
                  <a:cubicBezTo>
                    <a:pt x="185" y="1117"/>
                    <a:pt x="185" y="1117"/>
                    <a:pt x="185" y="1117"/>
                  </a:cubicBezTo>
                  <a:cubicBezTo>
                    <a:pt x="187" y="1116"/>
                    <a:pt x="342" y="1031"/>
                    <a:pt x="344" y="925"/>
                  </a:cubicBezTo>
                  <a:cubicBezTo>
                    <a:pt x="346" y="803"/>
                    <a:pt x="344" y="651"/>
                    <a:pt x="344" y="650"/>
                  </a:cubicBezTo>
                  <a:cubicBezTo>
                    <a:pt x="344" y="377"/>
                    <a:pt x="344" y="377"/>
                    <a:pt x="344" y="377"/>
                  </a:cubicBezTo>
                  <a:cubicBezTo>
                    <a:pt x="339" y="360"/>
                    <a:pt x="310" y="270"/>
                    <a:pt x="192" y="226"/>
                  </a:cubicBezTo>
                  <a:cubicBezTo>
                    <a:pt x="191" y="225"/>
                    <a:pt x="191" y="225"/>
                    <a:pt x="191" y="225"/>
                  </a:cubicBezTo>
                  <a:cubicBezTo>
                    <a:pt x="186" y="223"/>
                    <a:pt x="55" y="167"/>
                    <a:pt x="0" y="19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98" y="121"/>
                    <a:pt x="205" y="170"/>
                    <a:pt x="212" y="173"/>
                  </a:cubicBezTo>
                  <a:cubicBezTo>
                    <a:pt x="368" y="232"/>
                    <a:pt x="398" y="362"/>
                    <a:pt x="399" y="368"/>
                  </a:cubicBezTo>
                  <a:cubicBezTo>
                    <a:pt x="400" y="370"/>
                    <a:pt x="400" y="370"/>
                    <a:pt x="400" y="370"/>
                  </a:cubicBezTo>
                  <a:cubicBezTo>
                    <a:pt x="400" y="649"/>
                    <a:pt x="400" y="649"/>
                    <a:pt x="400" y="649"/>
                  </a:cubicBezTo>
                  <a:cubicBezTo>
                    <a:pt x="400" y="651"/>
                    <a:pt x="402" y="803"/>
                    <a:pt x="400" y="926"/>
                  </a:cubicBezTo>
                  <a:cubicBezTo>
                    <a:pt x="398" y="1065"/>
                    <a:pt x="219" y="1163"/>
                    <a:pt x="211" y="1167"/>
                  </a:cubicBezTo>
                  <a:close/>
                  <a:moveTo>
                    <a:pt x="198" y="1142"/>
                  </a:moveTo>
                  <a:cubicBezTo>
                    <a:pt x="185" y="1117"/>
                    <a:pt x="185" y="1117"/>
                    <a:pt x="185" y="1117"/>
                  </a:cubicBezTo>
                  <a:cubicBezTo>
                    <a:pt x="185" y="1117"/>
                    <a:pt x="185" y="1117"/>
                    <a:pt x="185" y="1117"/>
                  </a:cubicBezTo>
                  <a:cubicBezTo>
                    <a:pt x="198" y="1142"/>
                    <a:pt x="198" y="1142"/>
                    <a:pt x="198" y="1142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8A7A8A8-E541-42EC-B422-E68B601CA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7631" y="2235976"/>
              <a:ext cx="710595" cy="3610283"/>
            </a:xfrm>
            <a:custGeom>
              <a:avLst/>
              <a:gdLst>
                <a:gd name="T0" fmla="*/ 26 w 289"/>
                <a:gd name="T1" fmla="*/ 1467 h 1467"/>
                <a:gd name="T2" fmla="*/ 0 w 289"/>
                <a:gd name="T3" fmla="*/ 1417 h 1467"/>
                <a:gd name="T4" fmla="*/ 13 w 289"/>
                <a:gd name="T5" fmla="*/ 1442 h 1467"/>
                <a:gd name="T6" fmla="*/ 0 w 289"/>
                <a:gd name="T7" fmla="*/ 1417 h 1467"/>
                <a:gd name="T8" fmla="*/ 159 w 289"/>
                <a:gd name="T9" fmla="*/ 1227 h 1467"/>
                <a:gd name="T10" fmla="*/ 159 w 289"/>
                <a:gd name="T11" fmla="*/ 952 h 1467"/>
                <a:gd name="T12" fmla="*/ 159 w 289"/>
                <a:gd name="T13" fmla="*/ 240 h 1467"/>
                <a:gd name="T14" fmla="*/ 265 w 289"/>
                <a:gd name="T15" fmla="*/ 0 h 1467"/>
                <a:gd name="T16" fmla="*/ 289 w 289"/>
                <a:gd name="T17" fmla="*/ 51 h 1467"/>
                <a:gd name="T18" fmla="*/ 215 w 289"/>
                <a:gd name="T19" fmla="*/ 238 h 1467"/>
                <a:gd name="T20" fmla="*/ 215 w 289"/>
                <a:gd name="T21" fmla="*/ 239 h 1467"/>
                <a:gd name="T22" fmla="*/ 215 w 289"/>
                <a:gd name="T23" fmla="*/ 951 h 1467"/>
                <a:gd name="T24" fmla="*/ 215 w 289"/>
                <a:gd name="T25" fmla="*/ 1228 h 1467"/>
                <a:gd name="T26" fmla="*/ 26 w 289"/>
                <a:gd name="T27" fmla="*/ 1467 h 1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1467">
                  <a:moveTo>
                    <a:pt x="26" y="1467"/>
                  </a:moveTo>
                  <a:cubicBezTo>
                    <a:pt x="0" y="1417"/>
                    <a:pt x="0" y="1417"/>
                    <a:pt x="0" y="1417"/>
                  </a:cubicBezTo>
                  <a:cubicBezTo>
                    <a:pt x="13" y="1442"/>
                    <a:pt x="13" y="1442"/>
                    <a:pt x="13" y="1442"/>
                  </a:cubicBezTo>
                  <a:cubicBezTo>
                    <a:pt x="0" y="1417"/>
                    <a:pt x="0" y="1417"/>
                    <a:pt x="0" y="1417"/>
                  </a:cubicBezTo>
                  <a:cubicBezTo>
                    <a:pt x="2" y="1416"/>
                    <a:pt x="157" y="1333"/>
                    <a:pt x="159" y="1227"/>
                  </a:cubicBezTo>
                  <a:cubicBezTo>
                    <a:pt x="161" y="1105"/>
                    <a:pt x="159" y="953"/>
                    <a:pt x="159" y="952"/>
                  </a:cubicBezTo>
                  <a:cubicBezTo>
                    <a:pt x="159" y="240"/>
                    <a:pt x="159" y="240"/>
                    <a:pt x="159" y="240"/>
                  </a:cubicBezTo>
                  <a:cubicBezTo>
                    <a:pt x="158" y="224"/>
                    <a:pt x="152" y="54"/>
                    <a:pt x="265" y="0"/>
                  </a:cubicBezTo>
                  <a:cubicBezTo>
                    <a:pt x="289" y="51"/>
                    <a:pt x="289" y="51"/>
                    <a:pt x="289" y="51"/>
                  </a:cubicBezTo>
                  <a:cubicBezTo>
                    <a:pt x="207" y="90"/>
                    <a:pt x="215" y="236"/>
                    <a:pt x="215" y="238"/>
                  </a:cubicBezTo>
                  <a:cubicBezTo>
                    <a:pt x="215" y="239"/>
                    <a:pt x="215" y="239"/>
                    <a:pt x="215" y="239"/>
                  </a:cubicBezTo>
                  <a:cubicBezTo>
                    <a:pt x="215" y="951"/>
                    <a:pt x="215" y="951"/>
                    <a:pt x="215" y="951"/>
                  </a:cubicBezTo>
                  <a:cubicBezTo>
                    <a:pt x="215" y="953"/>
                    <a:pt x="217" y="1105"/>
                    <a:pt x="215" y="1228"/>
                  </a:cubicBezTo>
                  <a:cubicBezTo>
                    <a:pt x="213" y="1367"/>
                    <a:pt x="34" y="1463"/>
                    <a:pt x="26" y="1467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C622BD44-55FF-4F62-B735-AC4D48E87F99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2331" y="2956991"/>
              <a:ext cx="920023" cy="2891352"/>
            </a:xfrm>
            <a:custGeom>
              <a:avLst/>
              <a:gdLst>
                <a:gd name="T0" fmla="*/ 169 w 374"/>
                <a:gd name="T1" fmla="*/ 1175 h 1175"/>
                <a:gd name="T2" fmla="*/ 2 w 374"/>
                <a:gd name="T3" fmla="*/ 950 h 1175"/>
                <a:gd name="T4" fmla="*/ 2 w 374"/>
                <a:gd name="T5" fmla="*/ 233 h 1175"/>
                <a:gd name="T6" fmla="*/ 2 w 374"/>
                <a:gd name="T7" fmla="*/ 230 h 1175"/>
                <a:gd name="T8" fmla="*/ 2 w 374"/>
                <a:gd name="T9" fmla="*/ 228 h 1175"/>
                <a:gd name="T10" fmla="*/ 66 w 374"/>
                <a:gd name="T11" fmla="*/ 111 h 1175"/>
                <a:gd name="T12" fmla="*/ 374 w 374"/>
                <a:gd name="T13" fmla="*/ 2 h 1175"/>
                <a:gd name="T14" fmla="*/ 374 w 374"/>
                <a:gd name="T15" fmla="*/ 58 h 1175"/>
                <a:gd name="T16" fmla="*/ 58 w 374"/>
                <a:gd name="T17" fmla="*/ 235 h 1175"/>
                <a:gd name="T18" fmla="*/ 58 w 374"/>
                <a:gd name="T19" fmla="*/ 951 h 1175"/>
                <a:gd name="T20" fmla="*/ 191 w 374"/>
                <a:gd name="T21" fmla="*/ 1123 h 1175"/>
                <a:gd name="T22" fmla="*/ 169 w 374"/>
                <a:gd name="T23" fmla="*/ 1175 h 1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74" h="1175">
                  <a:moveTo>
                    <a:pt x="169" y="1175"/>
                  </a:moveTo>
                  <a:cubicBezTo>
                    <a:pt x="162" y="1172"/>
                    <a:pt x="0" y="1099"/>
                    <a:pt x="2" y="950"/>
                  </a:cubicBezTo>
                  <a:cubicBezTo>
                    <a:pt x="4" y="820"/>
                    <a:pt x="2" y="238"/>
                    <a:pt x="2" y="233"/>
                  </a:cubicBezTo>
                  <a:cubicBezTo>
                    <a:pt x="2" y="230"/>
                    <a:pt x="2" y="230"/>
                    <a:pt x="2" y="230"/>
                  </a:cubicBezTo>
                  <a:cubicBezTo>
                    <a:pt x="2" y="228"/>
                    <a:pt x="2" y="228"/>
                    <a:pt x="2" y="228"/>
                  </a:cubicBezTo>
                  <a:cubicBezTo>
                    <a:pt x="3" y="225"/>
                    <a:pt x="13" y="167"/>
                    <a:pt x="66" y="111"/>
                  </a:cubicBezTo>
                  <a:cubicBezTo>
                    <a:pt x="113" y="60"/>
                    <a:pt x="205" y="0"/>
                    <a:pt x="374" y="2"/>
                  </a:cubicBezTo>
                  <a:cubicBezTo>
                    <a:pt x="374" y="58"/>
                    <a:pt x="374" y="58"/>
                    <a:pt x="374" y="58"/>
                  </a:cubicBezTo>
                  <a:cubicBezTo>
                    <a:pt x="109" y="55"/>
                    <a:pt x="63" y="215"/>
                    <a:pt x="58" y="235"/>
                  </a:cubicBezTo>
                  <a:cubicBezTo>
                    <a:pt x="58" y="280"/>
                    <a:pt x="60" y="825"/>
                    <a:pt x="58" y="951"/>
                  </a:cubicBezTo>
                  <a:cubicBezTo>
                    <a:pt x="56" y="1062"/>
                    <a:pt x="190" y="1123"/>
                    <a:pt x="191" y="1123"/>
                  </a:cubicBezTo>
                  <a:cubicBezTo>
                    <a:pt x="169" y="1175"/>
                    <a:pt x="169" y="1175"/>
                    <a:pt x="169" y="117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27031B5E-F086-44F0-B57F-B137D4557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7566" y="3887433"/>
              <a:ext cx="926275" cy="1958826"/>
            </a:xfrm>
            <a:custGeom>
              <a:avLst/>
              <a:gdLst>
                <a:gd name="T0" fmla="*/ 366 w 376"/>
                <a:gd name="T1" fmla="*/ 796 h 796"/>
                <a:gd name="T2" fmla="*/ 190 w 376"/>
                <a:gd name="T3" fmla="*/ 744 h 796"/>
                <a:gd name="T4" fmla="*/ 1 w 376"/>
                <a:gd name="T5" fmla="*/ 560 h 796"/>
                <a:gd name="T6" fmla="*/ 1 w 376"/>
                <a:gd name="T7" fmla="*/ 205 h 796"/>
                <a:gd name="T8" fmla="*/ 208 w 376"/>
                <a:gd name="T9" fmla="*/ 45 h 796"/>
                <a:gd name="T10" fmla="*/ 288 w 376"/>
                <a:gd name="T11" fmla="*/ 0 h 796"/>
                <a:gd name="T12" fmla="*/ 288 w 376"/>
                <a:gd name="T13" fmla="*/ 1 h 796"/>
                <a:gd name="T14" fmla="*/ 334 w 376"/>
                <a:gd name="T15" fmla="*/ 32 h 796"/>
                <a:gd name="T16" fmla="*/ 222 w 376"/>
                <a:gd name="T17" fmla="*/ 99 h 796"/>
                <a:gd name="T18" fmla="*/ 222 w 376"/>
                <a:gd name="T19" fmla="*/ 100 h 796"/>
                <a:gd name="T20" fmla="*/ 57 w 376"/>
                <a:gd name="T21" fmla="*/ 203 h 796"/>
                <a:gd name="T22" fmla="*/ 57 w 376"/>
                <a:gd name="T23" fmla="*/ 205 h 796"/>
                <a:gd name="T24" fmla="*/ 57 w 376"/>
                <a:gd name="T25" fmla="*/ 204 h 796"/>
                <a:gd name="T26" fmla="*/ 57 w 376"/>
                <a:gd name="T27" fmla="*/ 560 h 796"/>
                <a:gd name="T28" fmla="*/ 376 w 376"/>
                <a:gd name="T29" fmla="*/ 741 h 796"/>
                <a:gd name="T30" fmla="*/ 366 w 376"/>
                <a:gd name="T31" fmla="*/ 796 h 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76" h="796">
                  <a:moveTo>
                    <a:pt x="366" y="796"/>
                  </a:moveTo>
                  <a:cubicBezTo>
                    <a:pt x="362" y="795"/>
                    <a:pt x="277" y="779"/>
                    <a:pt x="190" y="744"/>
                  </a:cubicBezTo>
                  <a:cubicBezTo>
                    <a:pt x="64" y="695"/>
                    <a:pt x="1" y="633"/>
                    <a:pt x="1" y="560"/>
                  </a:cubicBezTo>
                  <a:cubicBezTo>
                    <a:pt x="1" y="205"/>
                    <a:pt x="1" y="205"/>
                    <a:pt x="1" y="205"/>
                  </a:cubicBezTo>
                  <a:cubicBezTo>
                    <a:pt x="0" y="189"/>
                    <a:pt x="6" y="94"/>
                    <a:pt x="208" y="45"/>
                  </a:cubicBezTo>
                  <a:cubicBezTo>
                    <a:pt x="267" y="29"/>
                    <a:pt x="288" y="1"/>
                    <a:pt x="288" y="0"/>
                  </a:cubicBezTo>
                  <a:cubicBezTo>
                    <a:pt x="288" y="1"/>
                    <a:pt x="288" y="1"/>
                    <a:pt x="288" y="1"/>
                  </a:cubicBezTo>
                  <a:cubicBezTo>
                    <a:pt x="334" y="32"/>
                    <a:pt x="334" y="32"/>
                    <a:pt x="334" y="32"/>
                  </a:cubicBezTo>
                  <a:cubicBezTo>
                    <a:pt x="331" y="37"/>
                    <a:pt x="302" y="77"/>
                    <a:pt x="222" y="99"/>
                  </a:cubicBezTo>
                  <a:cubicBezTo>
                    <a:pt x="222" y="100"/>
                    <a:pt x="222" y="100"/>
                    <a:pt x="222" y="100"/>
                  </a:cubicBezTo>
                  <a:cubicBezTo>
                    <a:pt x="68" y="136"/>
                    <a:pt x="58" y="197"/>
                    <a:pt x="57" y="203"/>
                  </a:cubicBezTo>
                  <a:cubicBezTo>
                    <a:pt x="57" y="205"/>
                    <a:pt x="57" y="205"/>
                    <a:pt x="57" y="205"/>
                  </a:cubicBezTo>
                  <a:cubicBezTo>
                    <a:pt x="57" y="204"/>
                    <a:pt x="57" y="204"/>
                    <a:pt x="57" y="204"/>
                  </a:cubicBezTo>
                  <a:cubicBezTo>
                    <a:pt x="57" y="560"/>
                    <a:pt x="57" y="560"/>
                    <a:pt x="57" y="560"/>
                  </a:cubicBezTo>
                  <a:cubicBezTo>
                    <a:pt x="57" y="659"/>
                    <a:pt x="293" y="725"/>
                    <a:pt x="376" y="741"/>
                  </a:cubicBezTo>
                  <a:cubicBezTo>
                    <a:pt x="366" y="796"/>
                    <a:pt x="366" y="796"/>
                    <a:pt x="366" y="796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70C47184-DD94-4260-8477-0A0F631D1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99908" y="2525632"/>
              <a:ext cx="1232602" cy="3598822"/>
            </a:xfrm>
            <a:custGeom>
              <a:avLst/>
              <a:gdLst>
                <a:gd name="T0" fmla="*/ 136 w 501"/>
                <a:gd name="T1" fmla="*/ 1462 h 1462"/>
                <a:gd name="T2" fmla="*/ 122 w 501"/>
                <a:gd name="T3" fmla="*/ 1408 h 1462"/>
                <a:gd name="T4" fmla="*/ 439 w 501"/>
                <a:gd name="T5" fmla="*/ 1203 h 1462"/>
                <a:gd name="T6" fmla="*/ 439 w 501"/>
                <a:gd name="T7" fmla="*/ 729 h 1462"/>
                <a:gd name="T8" fmla="*/ 439 w 501"/>
                <a:gd name="T9" fmla="*/ 728 h 1462"/>
                <a:gd name="T10" fmla="*/ 439 w 501"/>
                <a:gd name="T11" fmla="*/ 728 h 1462"/>
                <a:gd name="T12" fmla="*/ 313 w 501"/>
                <a:gd name="T13" fmla="*/ 152 h 1462"/>
                <a:gd name="T14" fmla="*/ 10 w 501"/>
                <a:gd name="T15" fmla="*/ 82 h 1462"/>
                <a:gd name="T16" fmla="*/ 0 w 501"/>
                <a:gd name="T17" fmla="*/ 27 h 1462"/>
                <a:gd name="T18" fmla="*/ 345 w 501"/>
                <a:gd name="T19" fmla="*/ 105 h 1462"/>
                <a:gd name="T20" fmla="*/ 481 w 501"/>
                <a:gd name="T21" fmla="*/ 463 h 1462"/>
                <a:gd name="T22" fmla="*/ 495 w 501"/>
                <a:gd name="T23" fmla="*/ 728 h 1462"/>
                <a:gd name="T24" fmla="*/ 495 w 501"/>
                <a:gd name="T25" fmla="*/ 1206 h 1462"/>
                <a:gd name="T26" fmla="*/ 308 w 501"/>
                <a:gd name="T27" fmla="*/ 1401 h 1462"/>
                <a:gd name="T28" fmla="*/ 136 w 501"/>
                <a:gd name="T29" fmla="*/ 1462 h 1462"/>
                <a:gd name="T30" fmla="*/ 129 w 501"/>
                <a:gd name="T31" fmla="*/ 1435 h 1462"/>
                <a:gd name="T32" fmla="*/ 122 w 501"/>
                <a:gd name="T33" fmla="*/ 1408 h 1462"/>
                <a:gd name="T34" fmla="*/ 122 w 501"/>
                <a:gd name="T35" fmla="*/ 1408 h 1462"/>
                <a:gd name="T36" fmla="*/ 129 w 501"/>
                <a:gd name="T37" fmla="*/ 1435 h 1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1" h="1462">
                  <a:moveTo>
                    <a:pt x="136" y="1462"/>
                  </a:moveTo>
                  <a:cubicBezTo>
                    <a:pt x="122" y="1408"/>
                    <a:pt x="122" y="1408"/>
                    <a:pt x="122" y="1408"/>
                  </a:cubicBezTo>
                  <a:cubicBezTo>
                    <a:pt x="209" y="1387"/>
                    <a:pt x="435" y="1309"/>
                    <a:pt x="439" y="1203"/>
                  </a:cubicBezTo>
                  <a:cubicBezTo>
                    <a:pt x="445" y="1056"/>
                    <a:pt x="439" y="732"/>
                    <a:pt x="439" y="729"/>
                  </a:cubicBezTo>
                  <a:cubicBezTo>
                    <a:pt x="439" y="728"/>
                    <a:pt x="439" y="728"/>
                    <a:pt x="439" y="728"/>
                  </a:cubicBezTo>
                  <a:cubicBezTo>
                    <a:pt x="439" y="728"/>
                    <a:pt x="439" y="728"/>
                    <a:pt x="439" y="728"/>
                  </a:cubicBezTo>
                  <a:cubicBezTo>
                    <a:pt x="441" y="593"/>
                    <a:pt x="423" y="227"/>
                    <a:pt x="313" y="152"/>
                  </a:cubicBezTo>
                  <a:cubicBezTo>
                    <a:pt x="177" y="58"/>
                    <a:pt x="108" y="63"/>
                    <a:pt x="10" y="82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08" y="6"/>
                    <a:pt x="191" y="0"/>
                    <a:pt x="345" y="105"/>
                  </a:cubicBezTo>
                  <a:cubicBezTo>
                    <a:pt x="412" y="152"/>
                    <a:pt x="458" y="272"/>
                    <a:pt x="481" y="463"/>
                  </a:cubicBezTo>
                  <a:cubicBezTo>
                    <a:pt x="496" y="598"/>
                    <a:pt x="495" y="718"/>
                    <a:pt x="495" y="728"/>
                  </a:cubicBezTo>
                  <a:cubicBezTo>
                    <a:pt x="495" y="743"/>
                    <a:pt x="501" y="1059"/>
                    <a:pt x="495" y="1206"/>
                  </a:cubicBezTo>
                  <a:cubicBezTo>
                    <a:pt x="492" y="1279"/>
                    <a:pt x="429" y="1345"/>
                    <a:pt x="308" y="1401"/>
                  </a:cubicBezTo>
                  <a:cubicBezTo>
                    <a:pt x="222" y="1441"/>
                    <a:pt x="139" y="1461"/>
                    <a:pt x="136" y="1462"/>
                  </a:cubicBezTo>
                  <a:close/>
                  <a:moveTo>
                    <a:pt x="129" y="1435"/>
                  </a:moveTo>
                  <a:cubicBezTo>
                    <a:pt x="122" y="1408"/>
                    <a:pt x="122" y="1408"/>
                    <a:pt x="122" y="1408"/>
                  </a:cubicBezTo>
                  <a:cubicBezTo>
                    <a:pt x="122" y="1408"/>
                    <a:pt x="122" y="1408"/>
                    <a:pt x="122" y="1408"/>
                  </a:cubicBezTo>
                  <a:cubicBezTo>
                    <a:pt x="129" y="1435"/>
                    <a:pt x="129" y="1435"/>
                    <a:pt x="129" y="143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E9A634EF-3E3F-4521-9F57-3E2C3628B6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2613" y="2370385"/>
              <a:ext cx="533468" cy="3748860"/>
            </a:xfrm>
            <a:custGeom>
              <a:avLst/>
              <a:gdLst>
                <a:gd name="T0" fmla="*/ 26 w 217"/>
                <a:gd name="T1" fmla="*/ 1523 h 1523"/>
                <a:gd name="T2" fmla="*/ 0 w 217"/>
                <a:gd name="T3" fmla="*/ 1473 h 1523"/>
                <a:gd name="T4" fmla="*/ 13 w 217"/>
                <a:gd name="T5" fmla="*/ 1498 h 1523"/>
                <a:gd name="T6" fmla="*/ 0 w 217"/>
                <a:gd name="T7" fmla="*/ 1473 h 1523"/>
                <a:gd name="T8" fmla="*/ 159 w 217"/>
                <a:gd name="T9" fmla="*/ 1281 h 1523"/>
                <a:gd name="T10" fmla="*/ 159 w 217"/>
                <a:gd name="T11" fmla="*/ 1006 h 1523"/>
                <a:gd name="T12" fmla="*/ 159 w 217"/>
                <a:gd name="T13" fmla="*/ 293 h 1523"/>
                <a:gd name="T14" fmla="*/ 60 w 217"/>
                <a:gd name="T15" fmla="*/ 51 h 1523"/>
                <a:gd name="T16" fmla="*/ 82 w 217"/>
                <a:gd name="T17" fmla="*/ 0 h 1523"/>
                <a:gd name="T18" fmla="*/ 215 w 217"/>
                <a:gd name="T19" fmla="*/ 294 h 1523"/>
                <a:gd name="T20" fmla="*/ 215 w 217"/>
                <a:gd name="T21" fmla="*/ 1005 h 1523"/>
                <a:gd name="T22" fmla="*/ 215 w 217"/>
                <a:gd name="T23" fmla="*/ 1282 h 1523"/>
                <a:gd name="T24" fmla="*/ 26 w 217"/>
                <a:gd name="T25" fmla="*/ 1523 h 1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7" h="1523">
                  <a:moveTo>
                    <a:pt x="26" y="1523"/>
                  </a:moveTo>
                  <a:cubicBezTo>
                    <a:pt x="0" y="1473"/>
                    <a:pt x="0" y="1473"/>
                    <a:pt x="0" y="1473"/>
                  </a:cubicBezTo>
                  <a:cubicBezTo>
                    <a:pt x="13" y="1498"/>
                    <a:pt x="13" y="1498"/>
                    <a:pt x="13" y="1498"/>
                  </a:cubicBezTo>
                  <a:cubicBezTo>
                    <a:pt x="0" y="1473"/>
                    <a:pt x="0" y="1473"/>
                    <a:pt x="0" y="1473"/>
                  </a:cubicBezTo>
                  <a:cubicBezTo>
                    <a:pt x="1" y="1472"/>
                    <a:pt x="157" y="1387"/>
                    <a:pt x="159" y="1281"/>
                  </a:cubicBezTo>
                  <a:cubicBezTo>
                    <a:pt x="161" y="1159"/>
                    <a:pt x="159" y="1007"/>
                    <a:pt x="159" y="1006"/>
                  </a:cubicBezTo>
                  <a:cubicBezTo>
                    <a:pt x="159" y="293"/>
                    <a:pt x="159" y="293"/>
                    <a:pt x="159" y="293"/>
                  </a:cubicBezTo>
                  <a:cubicBezTo>
                    <a:pt x="159" y="237"/>
                    <a:pt x="143" y="85"/>
                    <a:pt x="60" y="51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216" y="54"/>
                    <a:pt x="215" y="284"/>
                    <a:pt x="215" y="294"/>
                  </a:cubicBezTo>
                  <a:cubicBezTo>
                    <a:pt x="215" y="1005"/>
                    <a:pt x="215" y="1005"/>
                    <a:pt x="215" y="1005"/>
                  </a:cubicBezTo>
                  <a:cubicBezTo>
                    <a:pt x="215" y="1007"/>
                    <a:pt x="217" y="1159"/>
                    <a:pt x="215" y="1282"/>
                  </a:cubicBezTo>
                  <a:cubicBezTo>
                    <a:pt x="213" y="1421"/>
                    <a:pt x="34" y="1519"/>
                    <a:pt x="26" y="1523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38197469-0665-4DB4-95F6-EBBC151D4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7313" y="2919482"/>
              <a:ext cx="664751" cy="3201847"/>
            </a:xfrm>
            <a:custGeom>
              <a:avLst/>
              <a:gdLst>
                <a:gd name="T0" fmla="*/ 169 w 270"/>
                <a:gd name="T1" fmla="*/ 1301 h 1301"/>
                <a:gd name="T2" fmla="*/ 2 w 270"/>
                <a:gd name="T3" fmla="*/ 1076 h 1301"/>
                <a:gd name="T4" fmla="*/ 2 w 270"/>
                <a:gd name="T5" fmla="*/ 359 h 1301"/>
                <a:gd name="T6" fmla="*/ 2 w 270"/>
                <a:gd name="T7" fmla="*/ 337 h 1301"/>
                <a:gd name="T8" fmla="*/ 23 w 270"/>
                <a:gd name="T9" fmla="*/ 331 h 1301"/>
                <a:gd name="T10" fmla="*/ 214 w 270"/>
                <a:gd name="T11" fmla="*/ 0 h 1301"/>
                <a:gd name="T12" fmla="*/ 270 w 270"/>
                <a:gd name="T13" fmla="*/ 0 h 1301"/>
                <a:gd name="T14" fmla="*/ 156 w 270"/>
                <a:gd name="T15" fmla="*/ 314 h 1301"/>
                <a:gd name="T16" fmla="*/ 58 w 270"/>
                <a:gd name="T17" fmla="*/ 378 h 1301"/>
                <a:gd name="T18" fmla="*/ 58 w 270"/>
                <a:gd name="T19" fmla="*/ 1077 h 1301"/>
                <a:gd name="T20" fmla="*/ 191 w 270"/>
                <a:gd name="T21" fmla="*/ 1249 h 1301"/>
                <a:gd name="T22" fmla="*/ 169 w 270"/>
                <a:gd name="T23" fmla="*/ 1301 h 1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0" h="1301">
                  <a:moveTo>
                    <a:pt x="169" y="1301"/>
                  </a:moveTo>
                  <a:cubicBezTo>
                    <a:pt x="162" y="1298"/>
                    <a:pt x="0" y="1225"/>
                    <a:pt x="2" y="1076"/>
                  </a:cubicBezTo>
                  <a:cubicBezTo>
                    <a:pt x="4" y="946"/>
                    <a:pt x="2" y="364"/>
                    <a:pt x="2" y="359"/>
                  </a:cubicBezTo>
                  <a:cubicBezTo>
                    <a:pt x="2" y="337"/>
                    <a:pt x="2" y="337"/>
                    <a:pt x="2" y="337"/>
                  </a:cubicBezTo>
                  <a:cubicBezTo>
                    <a:pt x="23" y="331"/>
                    <a:pt x="23" y="331"/>
                    <a:pt x="23" y="331"/>
                  </a:cubicBezTo>
                  <a:cubicBezTo>
                    <a:pt x="31" y="329"/>
                    <a:pt x="214" y="277"/>
                    <a:pt x="214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0" y="167"/>
                    <a:pt x="208" y="263"/>
                    <a:pt x="156" y="314"/>
                  </a:cubicBezTo>
                  <a:cubicBezTo>
                    <a:pt x="118" y="350"/>
                    <a:pt x="81" y="369"/>
                    <a:pt x="58" y="378"/>
                  </a:cubicBezTo>
                  <a:cubicBezTo>
                    <a:pt x="58" y="482"/>
                    <a:pt x="60" y="960"/>
                    <a:pt x="58" y="1077"/>
                  </a:cubicBezTo>
                  <a:cubicBezTo>
                    <a:pt x="56" y="1188"/>
                    <a:pt x="190" y="1249"/>
                    <a:pt x="191" y="1249"/>
                  </a:cubicBezTo>
                  <a:cubicBezTo>
                    <a:pt x="169" y="1301"/>
                    <a:pt x="169" y="1301"/>
                    <a:pt x="169" y="130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6">
              <a:extLst>
                <a:ext uri="{FF2B5EF4-FFF2-40B4-BE49-F238E27FC236}">
                  <a16:creationId xmlns:a16="http://schemas.microsoft.com/office/drawing/2014/main" id="{F6B69C4C-770D-4A2D-827B-6E36E9E2C7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5673" y="3820750"/>
              <a:ext cx="923149" cy="2298495"/>
            </a:xfrm>
            <a:custGeom>
              <a:avLst/>
              <a:gdLst>
                <a:gd name="T0" fmla="*/ 365 w 375"/>
                <a:gd name="T1" fmla="*/ 934 h 934"/>
                <a:gd name="T2" fmla="*/ 189 w 375"/>
                <a:gd name="T3" fmla="*/ 882 h 934"/>
                <a:gd name="T4" fmla="*/ 0 w 375"/>
                <a:gd name="T5" fmla="*/ 698 h 934"/>
                <a:gd name="T6" fmla="*/ 0 w 375"/>
                <a:gd name="T7" fmla="*/ 342 h 934"/>
                <a:gd name="T8" fmla="*/ 138 w 375"/>
                <a:gd name="T9" fmla="*/ 0 h 934"/>
                <a:gd name="T10" fmla="*/ 166 w 375"/>
                <a:gd name="T11" fmla="*/ 48 h 934"/>
                <a:gd name="T12" fmla="*/ 56 w 375"/>
                <a:gd name="T13" fmla="*/ 343 h 934"/>
                <a:gd name="T14" fmla="*/ 56 w 375"/>
                <a:gd name="T15" fmla="*/ 698 h 934"/>
                <a:gd name="T16" fmla="*/ 375 w 375"/>
                <a:gd name="T17" fmla="*/ 879 h 934"/>
                <a:gd name="T18" fmla="*/ 365 w 375"/>
                <a:gd name="T19" fmla="*/ 934 h 9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5" h="934">
                  <a:moveTo>
                    <a:pt x="365" y="934"/>
                  </a:moveTo>
                  <a:cubicBezTo>
                    <a:pt x="361" y="933"/>
                    <a:pt x="276" y="917"/>
                    <a:pt x="189" y="882"/>
                  </a:cubicBezTo>
                  <a:cubicBezTo>
                    <a:pt x="63" y="833"/>
                    <a:pt x="0" y="771"/>
                    <a:pt x="0" y="698"/>
                  </a:cubicBezTo>
                  <a:cubicBezTo>
                    <a:pt x="0" y="342"/>
                    <a:pt x="0" y="342"/>
                    <a:pt x="0" y="342"/>
                  </a:cubicBezTo>
                  <a:cubicBezTo>
                    <a:pt x="0" y="331"/>
                    <a:pt x="10" y="77"/>
                    <a:pt x="138" y="0"/>
                  </a:cubicBezTo>
                  <a:cubicBezTo>
                    <a:pt x="166" y="48"/>
                    <a:pt x="166" y="48"/>
                    <a:pt x="166" y="48"/>
                  </a:cubicBezTo>
                  <a:cubicBezTo>
                    <a:pt x="82" y="99"/>
                    <a:pt x="58" y="278"/>
                    <a:pt x="56" y="343"/>
                  </a:cubicBezTo>
                  <a:cubicBezTo>
                    <a:pt x="56" y="698"/>
                    <a:pt x="56" y="698"/>
                    <a:pt x="56" y="698"/>
                  </a:cubicBezTo>
                  <a:cubicBezTo>
                    <a:pt x="56" y="797"/>
                    <a:pt x="292" y="863"/>
                    <a:pt x="375" y="879"/>
                  </a:cubicBezTo>
                  <a:cubicBezTo>
                    <a:pt x="365" y="934"/>
                    <a:pt x="365" y="934"/>
                    <a:pt x="365" y="9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5" name="Gruppierung 149">
              <a:extLst>
                <a:ext uri="{FF2B5EF4-FFF2-40B4-BE49-F238E27FC236}">
                  <a16:creationId xmlns:a16="http://schemas.microsoft.com/office/drawing/2014/main" id="{B7160BD1-D1B9-4B3C-8E6F-AEA8E4369964}"/>
                </a:ext>
              </a:extLst>
            </p:cNvPr>
            <p:cNvGrpSpPr/>
            <p:nvPr/>
          </p:nvGrpSpPr>
          <p:grpSpPr>
            <a:xfrm>
              <a:off x="2908349" y="2235977"/>
              <a:ext cx="822170" cy="822170"/>
              <a:chOff x="3261137" y="2608208"/>
              <a:chExt cx="915966" cy="915966"/>
            </a:xfrm>
          </p:grpSpPr>
          <p:sp>
            <p:nvSpPr>
              <p:cNvPr id="50" name="Freeform 13">
                <a:extLst>
                  <a:ext uri="{FF2B5EF4-FFF2-40B4-BE49-F238E27FC236}">
                    <a16:creationId xmlns:a16="http://schemas.microsoft.com/office/drawing/2014/main" id="{49C1AB28-98EB-4E03-8856-2AD72BAD1A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61137" y="2608208"/>
                <a:ext cx="915966" cy="915966"/>
              </a:xfrm>
              <a:custGeom>
                <a:avLst/>
                <a:gdLst>
                  <a:gd name="T0" fmla="*/ 636 w 663"/>
                  <a:gd name="T1" fmla="*/ 388 h 663"/>
                  <a:gd name="T2" fmla="*/ 612 w 663"/>
                  <a:gd name="T3" fmla="*/ 370 h 663"/>
                  <a:gd name="T4" fmla="*/ 612 w 663"/>
                  <a:gd name="T5" fmla="*/ 300 h 663"/>
                  <a:gd name="T6" fmla="*/ 621 w 663"/>
                  <a:gd name="T7" fmla="*/ 283 h 663"/>
                  <a:gd name="T8" fmla="*/ 663 w 663"/>
                  <a:gd name="T9" fmla="*/ 258 h 663"/>
                  <a:gd name="T10" fmla="*/ 650 w 663"/>
                  <a:gd name="T11" fmla="*/ 210 h 663"/>
                  <a:gd name="T12" fmla="*/ 621 w 663"/>
                  <a:gd name="T13" fmla="*/ 153 h 663"/>
                  <a:gd name="T14" fmla="*/ 558 w 663"/>
                  <a:gd name="T15" fmla="*/ 163 h 663"/>
                  <a:gd name="T16" fmla="*/ 527 w 663"/>
                  <a:gd name="T17" fmla="*/ 128 h 663"/>
                  <a:gd name="T18" fmla="*/ 500 w 663"/>
                  <a:gd name="T19" fmla="*/ 104 h 663"/>
                  <a:gd name="T20" fmla="*/ 513 w 663"/>
                  <a:gd name="T21" fmla="*/ 45 h 663"/>
                  <a:gd name="T22" fmla="*/ 488 w 663"/>
                  <a:gd name="T23" fmla="*/ 29 h 663"/>
                  <a:gd name="T24" fmla="*/ 434 w 663"/>
                  <a:gd name="T25" fmla="*/ 8 h 663"/>
                  <a:gd name="T26" fmla="*/ 406 w 663"/>
                  <a:gd name="T27" fmla="*/ 0 h 663"/>
                  <a:gd name="T28" fmla="*/ 374 w 663"/>
                  <a:gd name="T29" fmla="*/ 48 h 663"/>
                  <a:gd name="T30" fmla="*/ 352 w 663"/>
                  <a:gd name="T31" fmla="*/ 50 h 663"/>
                  <a:gd name="T32" fmla="*/ 299 w 663"/>
                  <a:gd name="T33" fmla="*/ 51 h 663"/>
                  <a:gd name="T34" fmla="*/ 284 w 663"/>
                  <a:gd name="T35" fmla="*/ 42 h 663"/>
                  <a:gd name="T36" fmla="*/ 257 w 663"/>
                  <a:gd name="T37" fmla="*/ 0 h 663"/>
                  <a:gd name="T38" fmla="*/ 211 w 663"/>
                  <a:gd name="T39" fmla="*/ 14 h 663"/>
                  <a:gd name="T40" fmla="*/ 160 w 663"/>
                  <a:gd name="T41" fmla="*/ 38 h 663"/>
                  <a:gd name="T42" fmla="*/ 151 w 663"/>
                  <a:gd name="T43" fmla="*/ 53 h 663"/>
                  <a:gd name="T44" fmla="*/ 163 w 663"/>
                  <a:gd name="T45" fmla="*/ 105 h 663"/>
                  <a:gd name="T46" fmla="*/ 139 w 663"/>
                  <a:gd name="T47" fmla="*/ 126 h 663"/>
                  <a:gd name="T48" fmla="*/ 109 w 663"/>
                  <a:gd name="T49" fmla="*/ 157 h 663"/>
                  <a:gd name="T50" fmla="*/ 73 w 663"/>
                  <a:gd name="T51" fmla="*/ 156 h 663"/>
                  <a:gd name="T52" fmla="*/ 28 w 663"/>
                  <a:gd name="T53" fmla="*/ 178 h 663"/>
                  <a:gd name="T54" fmla="*/ 4 w 663"/>
                  <a:gd name="T55" fmla="*/ 241 h 663"/>
                  <a:gd name="T56" fmla="*/ 27 w 663"/>
                  <a:gd name="T57" fmla="*/ 274 h 663"/>
                  <a:gd name="T58" fmla="*/ 49 w 663"/>
                  <a:gd name="T59" fmla="*/ 325 h 663"/>
                  <a:gd name="T60" fmla="*/ 52 w 663"/>
                  <a:gd name="T61" fmla="*/ 373 h 663"/>
                  <a:gd name="T62" fmla="*/ 0 w 663"/>
                  <a:gd name="T63" fmla="*/ 406 h 663"/>
                  <a:gd name="T64" fmla="*/ 22 w 663"/>
                  <a:gd name="T65" fmla="*/ 472 h 663"/>
                  <a:gd name="T66" fmla="*/ 46 w 663"/>
                  <a:gd name="T67" fmla="*/ 514 h 663"/>
                  <a:gd name="T68" fmla="*/ 114 w 663"/>
                  <a:gd name="T69" fmla="*/ 511 h 663"/>
                  <a:gd name="T70" fmla="*/ 156 w 663"/>
                  <a:gd name="T71" fmla="*/ 553 h 663"/>
                  <a:gd name="T72" fmla="*/ 157 w 663"/>
                  <a:gd name="T73" fmla="*/ 590 h 663"/>
                  <a:gd name="T74" fmla="*/ 162 w 663"/>
                  <a:gd name="T75" fmla="*/ 626 h 663"/>
                  <a:gd name="T76" fmla="*/ 220 w 663"/>
                  <a:gd name="T77" fmla="*/ 653 h 663"/>
                  <a:gd name="T78" fmla="*/ 257 w 663"/>
                  <a:gd name="T79" fmla="*/ 663 h 663"/>
                  <a:gd name="T80" fmla="*/ 292 w 663"/>
                  <a:gd name="T81" fmla="*/ 611 h 663"/>
                  <a:gd name="T82" fmla="*/ 332 w 663"/>
                  <a:gd name="T83" fmla="*/ 614 h 663"/>
                  <a:gd name="T84" fmla="*/ 374 w 663"/>
                  <a:gd name="T85" fmla="*/ 611 h 663"/>
                  <a:gd name="T86" fmla="*/ 406 w 663"/>
                  <a:gd name="T87" fmla="*/ 662 h 663"/>
                  <a:gd name="T88" fmla="*/ 431 w 663"/>
                  <a:gd name="T89" fmla="*/ 656 h 663"/>
                  <a:gd name="T90" fmla="*/ 492 w 663"/>
                  <a:gd name="T91" fmla="*/ 630 h 663"/>
                  <a:gd name="T92" fmla="*/ 513 w 663"/>
                  <a:gd name="T93" fmla="*/ 611 h 663"/>
                  <a:gd name="T94" fmla="*/ 516 w 663"/>
                  <a:gd name="T95" fmla="*/ 545 h 663"/>
                  <a:gd name="T96" fmla="*/ 551 w 663"/>
                  <a:gd name="T97" fmla="*/ 509 h 663"/>
                  <a:gd name="T98" fmla="*/ 567 w 663"/>
                  <a:gd name="T99" fmla="*/ 502 h 663"/>
                  <a:gd name="T100" fmla="*/ 620 w 663"/>
                  <a:gd name="T101" fmla="*/ 512 h 663"/>
                  <a:gd name="T102" fmla="*/ 641 w 663"/>
                  <a:gd name="T103" fmla="*/ 472 h 663"/>
                  <a:gd name="T104" fmla="*/ 660 w 663"/>
                  <a:gd name="T105" fmla="*/ 421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3" h="663">
                    <a:moveTo>
                      <a:pt x="663" y="404"/>
                    </a:moveTo>
                    <a:lnTo>
                      <a:pt x="663" y="404"/>
                    </a:lnTo>
                    <a:lnTo>
                      <a:pt x="655" y="400"/>
                    </a:lnTo>
                    <a:lnTo>
                      <a:pt x="636" y="388"/>
                    </a:lnTo>
                    <a:lnTo>
                      <a:pt x="624" y="380"/>
                    </a:lnTo>
                    <a:lnTo>
                      <a:pt x="614" y="373"/>
                    </a:lnTo>
                    <a:lnTo>
                      <a:pt x="612" y="371"/>
                    </a:lnTo>
                    <a:lnTo>
                      <a:pt x="612" y="370"/>
                    </a:lnTo>
                    <a:lnTo>
                      <a:pt x="614" y="361"/>
                    </a:lnTo>
                    <a:lnTo>
                      <a:pt x="614" y="339"/>
                    </a:lnTo>
                    <a:lnTo>
                      <a:pt x="614" y="318"/>
                    </a:lnTo>
                    <a:lnTo>
                      <a:pt x="612" y="300"/>
                    </a:lnTo>
                    <a:lnTo>
                      <a:pt x="612" y="292"/>
                    </a:lnTo>
                    <a:lnTo>
                      <a:pt x="612" y="292"/>
                    </a:lnTo>
                    <a:lnTo>
                      <a:pt x="612" y="289"/>
                    </a:lnTo>
                    <a:lnTo>
                      <a:pt x="621" y="283"/>
                    </a:lnTo>
                    <a:lnTo>
                      <a:pt x="636" y="274"/>
                    </a:lnTo>
                    <a:lnTo>
                      <a:pt x="655" y="262"/>
                    </a:lnTo>
                    <a:lnTo>
                      <a:pt x="663" y="258"/>
                    </a:lnTo>
                    <a:lnTo>
                      <a:pt x="663" y="258"/>
                    </a:lnTo>
                    <a:lnTo>
                      <a:pt x="663" y="255"/>
                    </a:lnTo>
                    <a:lnTo>
                      <a:pt x="661" y="246"/>
                    </a:lnTo>
                    <a:lnTo>
                      <a:pt x="655" y="229"/>
                    </a:lnTo>
                    <a:lnTo>
                      <a:pt x="650" y="210"/>
                    </a:lnTo>
                    <a:lnTo>
                      <a:pt x="647" y="201"/>
                    </a:lnTo>
                    <a:lnTo>
                      <a:pt x="641" y="187"/>
                    </a:lnTo>
                    <a:lnTo>
                      <a:pt x="629" y="165"/>
                    </a:lnTo>
                    <a:lnTo>
                      <a:pt x="621" y="153"/>
                    </a:lnTo>
                    <a:lnTo>
                      <a:pt x="620" y="148"/>
                    </a:lnTo>
                    <a:lnTo>
                      <a:pt x="612" y="150"/>
                    </a:lnTo>
                    <a:lnTo>
                      <a:pt x="588" y="156"/>
                    </a:lnTo>
                    <a:lnTo>
                      <a:pt x="558" y="163"/>
                    </a:lnTo>
                    <a:lnTo>
                      <a:pt x="555" y="159"/>
                    </a:lnTo>
                    <a:lnTo>
                      <a:pt x="551" y="151"/>
                    </a:lnTo>
                    <a:lnTo>
                      <a:pt x="539" y="140"/>
                    </a:lnTo>
                    <a:lnTo>
                      <a:pt x="527" y="128"/>
                    </a:lnTo>
                    <a:lnTo>
                      <a:pt x="515" y="116"/>
                    </a:lnTo>
                    <a:lnTo>
                      <a:pt x="507" y="111"/>
                    </a:lnTo>
                    <a:lnTo>
                      <a:pt x="501" y="105"/>
                    </a:lnTo>
                    <a:lnTo>
                      <a:pt x="500" y="104"/>
                    </a:lnTo>
                    <a:lnTo>
                      <a:pt x="501" y="98"/>
                    </a:lnTo>
                    <a:lnTo>
                      <a:pt x="507" y="75"/>
                    </a:lnTo>
                    <a:lnTo>
                      <a:pt x="512" y="53"/>
                    </a:lnTo>
                    <a:lnTo>
                      <a:pt x="513" y="45"/>
                    </a:lnTo>
                    <a:lnTo>
                      <a:pt x="513" y="45"/>
                    </a:lnTo>
                    <a:lnTo>
                      <a:pt x="510" y="42"/>
                    </a:lnTo>
                    <a:lnTo>
                      <a:pt x="503" y="38"/>
                    </a:lnTo>
                    <a:lnTo>
                      <a:pt x="488" y="29"/>
                    </a:lnTo>
                    <a:lnTo>
                      <a:pt x="470" y="21"/>
                    </a:lnTo>
                    <a:lnTo>
                      <a:pt x="461" y="17"/>
                    </a:lnTo>
                    <a:lnTo>
                      <a:pt x="453" y="14"/>
                    </a:lnTo>
                    <a:lnTo>
                      <a:pt x="434" y="8"/>
                    </a:lnTo>
                    <a:lnTo>
                      <a:pt x="418" y="2"/>
                    </a:lnTo>
                    <a:lnTo>
                      <a:pt x="409" y="0"/>
                    </a:lnTo>
                    <a:lnTo>
                      <a:pt x="406" y="0"/>
                    </a:lnTo>
                    <a:lnTo>
                      <a:pt x="406" y="0"/>
                    </a:lnTo>
                    <a:lnTo>
                      <a:pt x="401" y="8"/>
                    </a:lnTo>
                    <a:lnTo>
                      <a:pt x="389" y="27"/>
                    </a:lnTo>
                    <a:lnTo>
                      <a:pt x="382" y="38"/>
                    </a:lnTo>
                    <a:lnTo>
                      <a:pt x="374" y="48"/>
                    </a:lnTo>
                    <a:lnTo>
                      <a:pt x="373" y="51"/>
                    </a:lnTo>
                    <a:lnTo>
                      <a:pt x="371" y="51"/>
                    </a:lnTo>
                    <a:lnTo>
                      <a:pt x="367" y="51"/>
                    </a:lnTo>
                    <a:lnTo>
                      <a:pt x="352" y="50"/>
                    </a:lnTo>
                    <a:lnTo>
                      <a:pt x="341" y="50"/>
                    </a:lnTo>
                    <a:lnTo>
                      <a:pt x="325" y="50"/>
                    </a:lnTo>
                    <a:lnTo>
                      <a:pt x="314" y="50"/>
                    </a:lnTo>
                    <a:lnTo>
                      <a:pt x="299" y="51"/>
                    </a:lnTo>
                    <a:lnTo>
                      <a:pt x="293" y="51"/>
                    </a:lnTo>
                    <a:lnTo>
                      <a:pt x="292" y="51"/>
                    </a:lnTo>
                    <a:lnTo>
                      <a:pt x="290" y="50"/>
                    </a:lnTo>
                    <a:lnTo>
                      <a:pt x="284" y="42"/>
                    </a:lnTo>
                    <a:lnTo>
                      <a:pt x="275" y="27"/>
                    </a:lnTo>
                    <a:lnTo>
                      <a:pt x="262" y="8"/>
                    </a:lnTo>
                    <a:lnTo>
                      <a:pt x="259" y="0"/>
                    </a:lnTo>
                    <a:lnTo>
                      <a:pt x="257" y="0"/>
                    </a:lnTo>
                    <a:lnTo>
                      <a:pt x="254" y="0"/>
                    </a:lnTo>
                    <a:lnTo>
                      <a:pt x="245" y="3"/>
                    </a:lnTo>
                    <a:lnTo>
                      <a:pt x="229" y="8"/>
                    </a:lnTo>
                    <a:lnTo>
                      <a:pt x="211" y="14"/>
                    </a:lnTo>
                    <a:lnTo>
                      <a:pt x="204" y="17"/>
                    </a:lnTo>
                    <a:lnTo>
                      <a:pt x="195" y="21"/>
                    </a:lnTo>
                    <a:lnTo>
                      <a:pt x="177" y="29"/>
                    </a:lnTo>
                    <a:lnTo>
                      <a:pt x="160" y="38"/>
                    </a:lnTo>
                    <a:lnTo>
                      <a:pt x="153" y="42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1" y="53"/>
                    </a:lnTo>
                    <a:lnTo>
                      <a:pt x="156" y="75"/>
                    </a:lnTo>
                    <a:lnTo>
                      <a:pt x="162" y="98"/>
                    </a:lnTo>
                    <a:lnTo>
                      <a:pt x="163" y="104"/>
                    </a:lnTo>
                    <a:lnTo>
                      <a:pt x="163" y="105"/>
                    </a:lnTo>
                    <a:lnTo>
                      <a:pt x="159" y="110"/>
                    </a:lnTo>
                    <a:lnTo>
                      <a:pt x="154" y="113"/>
                    </a:lnTo>
                    <a:lnTo>
                      <a:pt x="150" y="116"/>
                    </a:lnTo>
                    <a:lnTo>
                      <a:pt x="139" y="126"/>
                    </a:lnTo>
                    <a:lnTo>
                      <a:pt x="126" y="138"/>
                    </a:lnTo>
                    <a:lnTo>
                      <a:pt x="115" y="150"/>
                    </a:lnTo>
                    <a:lnTo>
                      <a:pt x="112" y="154"/>
                    </a:lnTo>
                    <a:lnTo>
                      <a:pt x="109" y="157"/>
                    </a:lnTo>
                    <a:lnTo>
                      <a:pt x="105" y="162"/>
                    </a:lnTo>
                    <a:lnTo>
                      <a:pt x="103" y="163"/>
                    </a:lnTo>
                    <a:lnTo>
                      <a:pt x="96" y="162"/>
                    </a:lnTo>
                    <a:lnTo>
                      <a:pt x="73" y="156"/>
                    </a:lnTo>
                    <a:lnTo>
                      <a:pt x="45" y="150"/>
                    </a:lnTo>
                    <a:lnTo>
                      <a:pt x="43" y="151"/>
                    </a:lnTo>
                    <a:lnTo>
                      <a:pt x="40" y="157"/>
                    </a:lnTo>
                    <a:lnTo>
                      <a:pt x="28" y="178"/>
                    </a:lnTo>
                    <a:lnTo>
                      <a:pt x="24" y="187"/>
                    </a:lnTo>
                    <a:lnTo>
                      <a:pt x="18" y="199"/>
                    </a:lnTo>
                    <a:lnTo>
                      <a:pt x="9" y="228"/>
                    </a:lnTo>
                    <a:lnTo>
                      <a:pt x="4" y="241"/>
                    </a:lnTo>
                    <a:lnTo>
                      <a:pt x="1" y="253"/>
                    </a:lnTo>
                    <a:lnTo>
                      <a:pt x="0" y="258"/>
                    </a:lnTo>
                    <a:lnTo>
                      <a:pt x="6" y="261"/>
                    </a:lnTo>
                    <a:lnTo>
                      <a:pt x="27" y="274"/>
                    </a:lnTo>
                    <a:lnTo>
                      <a:pt x="52" y="291"/>
                    </a:lnTo>
                    <a:lnTo>
                      <a:pt x="51" y="297"/>
                    </a:lnTo>
                    <a:lnTo>
                      <a:pt x="51" y="307"/>
                    </a:lnTo>
                    <a:lnTo>
                      <a:pt x="49" y="325"/>
                    </a:lnTo>
                    <a:lnTo>
                      <a:pt x="49" y="343"/>
                    </a:lnTo>
                    <a:lnTo>
                      <a:pt x="51" y="360"/>
                    </a:lnTo>
                    <a:lnTo>
                      <a:pt x="52" y="367"/>
                    </a:lnTo>
                    <a:lnTo>
                      <a:pt x="52" y="373"/>
                    </a:lnTo>
                    <a:lnTo>
                      <a:pt x="31" y="386"/>
                    </a:lnTo>
                    <a:lnTo>
                      <a:pt x="15" y="397"/>
                    </a:lnTo>
                    <a:lnTo>
                      <a:pt x="6" y="403"/>
                    </a:lnTo>
                    <a:lnTo>
                      <a:pt x="0" y="406"/>
                    </a:lnTo>
                    <a:lnTo>
                      <a:pt x="4" y="418"/>
                    </a:lnTo>
                    <a:lnTo>
                      <a:pt x="7" y="433"/>
                    </a:lnTo>
                    <a:lnTo>
                      <a:pt x="18" y="460"/>
                    </a:lnTo>
                    <a:lnTo>
                      <a:pt x="22" y="472"/>
                    </a:lnTo>
                    <a:lnTo>
                      <a:pt x="28" y="484"/>
                    </a:lnTo>
                    <a:lnTo>
                      <a:pt x="40" y="506"/>
                    </a:lnTo>
                    <a:lnTo>
                      <a:pt x="45" y="512"/>
                    </a:lnTo>
                    <a:lnTo>
                      <a:pt x="46" y="514"/>
                    </a:lnTo>
                    <a:lnTo>
                      <a:pt x="76" y="508"/>
                    </a:lnTo>
                    <a:lnTo>
                      <a:pt x="105" y="500"/>
                    </a:lnTo>
                    <a:lnTo>
                      <a:pt x="108" y="503"/>
                    </a:lnTo>
                    <a:lnTo>
                      <a:pt x="114" y="511"/>
                    </a:lnTo>
                    <a:lnTo>
                      <a:pt x="124" y="523"/>
                    </a:lnTo>
                    <a:lnTo>
                      <a:pt x="138" y="536"/>
                    </a:lnTo>
                    <a:lnTo>
                      <a:pt x="150" y="547"/>
                    </a:lnTo>
                    <a:lnTo>
                      <a:pt x="156" y="553"/>
                    </a:lnTo>
                    <a:lnTo>
                      <a:pt x="159" y="556"/>
                    </a:lnTo>
                    <a:lnTo>
                      <a:pt x="163" y="559"/>
                    </a:lnTo>
                    <a:lnTo>
                      <a:pt x="163" y="560"/>
                    </a:lnTo>
                    <a:lnTo>
                      <a:pt x="157" y="590"/>
                    </a:lnTo>
                    <a:lnTo>
                      <a:pt x="151" y="617"/>
                    </a:lnTo>
                    <a:lnTo>
                      <a:pt x="151" y="618"/>
                    </a:lnTo>
                    <a:lnTo>
                      <a:pt x="154" y="620"/>
                    </a:lnTo>
                    <a:lnTo>
                      <a:pt x="162" y="626"/>
                    </a:lnTo>
                    <a:lnTo>
                      <a:pt x="178" y="635"/>
                    </a:lnTo>
                    <a:lnTo>
                      <a:pt x="198" y="644"/>
                    </a:lnTo>
                    <a:lnTo>
                      <a:pt x="205" y="647"/>
                    </a:lnTo>
                    <a:lnTo>
                      <a:pt x="220" y="653"/>
                    </a:lnTo>
                    <a:lnTo>
                      <a:pt x="242" y="659"/>
                    </a:lnTo>
                    <a:lnTo>
                      <a:pt x="254" y="662"/>
                    </a:lnTo>
                    <a:lnTo>
                      <a:pt x="257" y="663"/>
                    </a:lnTo>
                    <a:lnTo>
                      <a:pt x="257" y="663"/>
                    </a:lnTo>
                    <a:lnTo>
                      <a:pt x="260" y="660"/>
                    </a:lnTo>
                    <a:lnTo>
                      <a:pt x="266" y="650"/>
                    </a:lnTo>
                    <a:lnTo>
                      <a:pt x="275" y="636"/>
                    </a:lnTo>
                    <a:lnTo>
                      <a:pt x="292" y="611"/>
                    </a:lnTo>
                    <a:lnTo>
                      <a:pt x="296" y="611"/>
                    </a:lnTo>
                    <a:lnTo>
                      <a:pt x="305" y="612"/>
                    </a:lnTo>
                    <a:lnTo>
                      <a:pt x="323" y="614"/>
                    </a:lnTo>
                    <a:lnTo>
                      <a:pt x="332" y="614"/>
                    </a:lnTo>
                    <a:lnTo>
                      <a:pt x="340" y="614"/>
                    </a:lnTo>
                    <a:lnTo>
                      <a:pt x="355" y="612"/>
                    </a:lnTo>
                    <a:lnTo>
                      <a:pt x="368" y="611"/>
                    </a:lnTo>
                    <a:lnTo>
                      <a:pt x="374" y="611"/>
                    </a:lnTo>
                    <a:lnTo>
                      <a:pt x="389" y="635"/>
                    </a:lnTo>
                    <a:lnTo>
                      <a:pt x="401" y="654"/>
                    </a:lnTo>
                    <a:lnTo>
                      <a:pt x="406" y="662"/>
                    </a:lnTo>
                    <a:lnTo>
                      <a:pt x="406" y="662"/>
                    </a:lnTo>
                    <a:lnTo>
                      <a:pt x="407" y="662"/>
                    </a:lnTo>
                    <a:lnTo>
                      <a:pt x="412" y="662"/>
                    </a:lnTo>
                    <a:lnTo>
                      <a:pt x="419" y="660"/>
                    </a:lnTo>
                    <a:lnTo>
                      <a:pt x="431" y="656"/>
                    </a:lnTo>
                    <a:lnTo>
                      <a:pt x="458" y="647"/>
                    </a:lnTo>
                    <a:lnTo>
                      <a:pt x="471" y="641"/>
                    </a:lnTo>
                    <a:lnTo>
                      <a:pt x="477" y="638"/>
                    </a:lnTo>
                    <a:lnTo>
                      <a:pt x="492" y="630"/>
                    </a:lnTo>
                    <a:lnTo>
                      <a:pt x="506" y="624"/>
                    </a:lnTo>
                    <a:lnTo>
                      <a:pt x="513" y="618"/>
                    </a:lnTo>
                    <a:lnTo>
                      <a:pt x="515" y="617"/>
                    </a:lnTo>
                    <a:lnTo>
                      <a:pt x="513" y="611"/>
                    </a:lnTo>
                    <a:lnTo>
                      <a:pt x="507" y="587"/>
                    </a:lnTo>
                    <a:lnTo>
                      <a:pt x="501" y="559"/>
                    </a:lnTo>
                    <a:lnTo>
                      <a:pt x="510" y="550"/>
                    </a:lnTo>
                    <a:lnTo>
                      <a:pt x="516" y="545"/>
                    </a:lnTo>
                    <a:lnTo>
                      <a:pt x="527" y="536"/>
                    </a:lnTo>
                    <a:lnTo>
                      <a:pt x="537" y="526"/>
                    </a:lnTo>
                    <a:lnTo>
                      <a:pt x="548" y="515"/>
                    </a:lnTo>
                    <a:lnTo>
                      <a:pt x="551" y="509"/>
                    </a:lnTo>
                    <a:lnTo>
                      <a:pt x="554" y="506"/>
                    </a:lnTo>
                    <a:lnTo>
                      <a:pt x="560" y="500"/>
                    </a:lnTo>
                    <a:lnTo>
                      <a:pt x="560" y="500"/>
                    </a:lnTo>
                    <a:lnTo>
                      <a:pt x="567" y="502"/>
                    </a:lnTo>
                    <a:lnTo>
                      <a:pt x="590" y="506"/>
                    </a:lnTo>
                    <a:lnTo>
                      <a:pt x="612" y="512"/>
                    </a:lnTo>
                    <a:lnTo>
                      <a:pt x="618" y="514"/>
                    </a:lnTo>
                    <a:lnTo>
                      <a:pt x="620" y="512"/>
                    </a:lnTo>
                    <a:lnTo>
                      <a:pt x="623" y="506"/>
                    </a:lnTo>
                    <a:lnTo>
                      <a:pt x="632" y="491"/>
                    </a:lnTo>
                    <a:lnTo>
                      <a:pt x="638" y="479"/>
                    </a:lnTo>
                    <a:lnTo>
                      <a:pt x="641" y="472"/>
                    </a:lnTo>
                    <a:lnTo>
                      <a:pt x="648" y="458"/>
                    </a:lnTo>
                    <a:lnTo>
                      <a:pt x="653" y="443"/>
                    </a:lnTo>
                    <a:lnTo>
                      <a:pt x="658" y="428"/>
                    </a:lnTo>
                    <a:lnTo>
                      <a:pt x="660" y="421"/>
                    </a:lnTo>
                    <a:lnTo>
                      <a:pt x="661" y="413"/>
                    </a:lnTo>
                    <a:lnTo>
                      <a:pt x="663" y="407"/>
                    </a:lnTo>
                    <a:lnTo>
                      <a:pt x="663" y="404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51" name="Oval 12">
                <a:extLst>
                  <a:ext uri="{FF2B5EF4-FFF2-40B4-BE49-F238E27FC236}">
                    <a16:creationId xmlns:a16="http://schemas.microsoft.com/office/drawing/2014/main" id="{ED3B16B7-A3B9-4080-99A5-D2FA266BCC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38530" y="2785601"/>
                <a:ext cx="561180" cy="56118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5">
                      <a:lumMod val="75000"/>
                    </a:schemeClr>
                  </a:solidFill>
                  <a:cs typeface="Arial" charset="0"/>
                </a:endParaRPr>
              </a:p>
            </p:txBody>
          </p:sp>
        </p:grpSp>
        <p:grpSp>
          <p:nvGrpSpPr>
            <p:cNvPr id="26" name="Gruppierung 154">
              <a:extLst>
                <a:ext uri="{FF2B5EF4-FFF2-40B4-BE49-F238E27FC236}">
                  <a16:creationId xmlns:a16="http://schemas.microsoft.com/office/drawing/2014/main" id="{02EE819A-B7F4-4249-A00E-383428535CDD}"/>
                </a:ext>
              </a:extLst>
            </p:cNvPr>
            <p:cNvGrpSpPr/>
            <p:nvPr/>
          </p:nvGrpSpPr>
          <p:grpSpPr>
            <a:xfrm>
              <a:off x="5193854" y="3549114"/>
              <a:ext cx="716227" cy="716227"/>
              <a:chOff x="5807381" y="4071152"/>
              <a:chExt cx="797937" cy="797937"/>
            </a:xfrm>
          </p:grpSpPr>
          <p:sp>
            <p:nvSpPr>
              <p:cNvPr id="48" name="Freeform 13">
                <a:extLst>
                  <a:ext uri="{FF2B5EF4-FFF2-40B4-BE49-F238E27FC236}">
                    <a16:creationId xmlns:a16="http://schemas.microsoft.com/office/drawing/2014/main" id="{6E6C3D93-9B26-4AA5-B4DB-448989F5B2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7381" y="4071152"/>
                <a:ext cx="797937" cy="797937"/>
              </a:xfrm>
              <a:custGeom>
                <a:avLst/>
                <a:gdLst>
                  <a:gd name="T0" fmla="*/ 636 w 663"/>
                  <a:gd name="T1" fmla="*/ 388 h 663"/>
                  <a:gd name="T2" fmla="*/ 612 w 663"/>
                  <a:gd name="T3" fmla="*/ 370 h 663"/>
                  <a:gd name="T4" fmla="*/ 612 w 663"/>
                  <a:gd name="T5" fmla="*/ 300 h 663"/>
                  <a:gd name="T6" fmla="*/ 621 w 663"/>
                  <a:gd name="T7" fmla="*/ 283 h 663"/>
                  <a:gd name="T8" fmla="*/ 663 w 663"/>
                  <a:gd name="T9" fmla="*/ 258 h 663"/>
                  <a:gd name="T10" fmla="*/ 650 w 663"/>
                  <a:gd name="T11" fmla="*/ 210 h 663"/>
                  <a:gd name="T12" fmla="*/ 621 w 663"/>
                  <a:gd name="T13" fmla="*/ 153 h 663"/>
                  <a:gd name="T14" fmla="*/ 558 w 663"/>
                  <a:gd name="T15" fmla="*/ 163 h 663"/>
                  <a:gd name="T16" fmla="*/ 527 w 663"/>
                  <a:gd name="T17" fmla="*/ 128 h 663"/>
                  <a:gd name="T18" fmla="*/ 500 w 663"/>
                  <a:gd name="T19" fmla="*/ 104 h 663"/>
                  <a:gd name="T20" fmla="*/ 513 w 663"/>
                  <a:gd name="T21" fmla="*/ 45 h 663"/>
                  <a:gd name="T22" fmla="*/ 488 w 663"/>
                  <a:gd name="T23" fmla="*/ 29 h 663"/>
                  <a:gd name="T24" fmla="*/ 434 w 663"/>
                  <a:gd name="T25" fmla="*/ 8 h 663"/>
                  <a:gd name="T26" fmla="*/ 406 w 663"/>
                  <a:gd name="T27" fmla="*/ 0 h 663"/>
                  <a:gd name="T28" fmla="*/ 374 w 663"/>
                  <a:gd name="T29" fmla="*/ 48 h 663"/>
                  <a:gd name="T30" fmla="*/ 352 w 663"/>
                  <a:gd name="T31" fmla="*/ 50 h 663"/>
                  <a:gd name="T32" fmla="*/ 299 w 663"/>
                  <a:gd name="T33" fmla="*/ 51 h 663"/>
                  <a:gd name="T34" fmla="*/ 284 w 663"/>
                  <a:gd name="T35" fmla="*/ 42 h 663"/>
                  <a:gd name="T36" fmla="*/ 257 w 663"/>
                  <a:gd name="T37" fmla="*/ 0 h 663"/>
                  <a:gd name="T38" fmla="*/ 211 w 663"/>
                  <a:gd name="T39" fmla="*/ 14 h 663"/>
                  <a:gd name="T40" fmla="*/ 160 w 663"/>
                  <a:gd name="T41" fmla="*/ 38 h 663"/>
                  <a:gd name="T42" fmla="*/ 151 w 663"/>
                  <a:gd name="T43" fmla="*/ 53 h 663"/>
                  <a:gd name="T44" fmla="*/ 163 w 663"/>
                  <a:gd name="T45" fmla="*/ 105 h 663"/>
                  <a:gd name="T46" fmla="*/ 139 w 663"/>
                  <a:gd name="T47" fmla="*/ 126 h 663"/>
                  <a:gd name="T48" fmla="*/ 109 w 663"/>
                  <a:gd name="T49" fmla="*/ 157 h 663"/>
                  <a:gd name="T50" fmla="*/ 73 w 663"/>
                  <a:gd name="T51" fmla="*/ 156 h 663"/>
                  <a:gd name="T52" fmla="*/ 28 w 663"/>
                  <a:gd name="T53" fmla="*/ 178 h 663"/>
                  <a:gd name="T54" fmla="*/ 4 w 663"/>
                  <a:gd name="T55" fmla="*/ 241 h 663"/>
                  <a:gd name="T56" fmla="*/ 27 w 663"/>
                  <a:gd name="T57" fmla="*/ 274 h 663"/>
                  <a:gd name="T58" fmla="*/ 49 w 663"/>
                  <a:gd name="T59" fmla="*/ 325 h 663"/>
                  <a:gd name="T60" fmla="*/ 52 w 663"/>
                  <a:gd name="T61" fmla="*/ 373 h 663"/>
                  <a:gd name="T62" fmla="*/ 0 w 663"/>
                  <a:gd name="T63" fmla="*/ 406 h 663"/>
                  <a:gd name="T64" fmla="*/ 22 w 663"/>
                  <a:gd name="T65" fmla="*/ 472 h 663"/>
                  <a:gd name="T66" fmla="*/ 46 w 663"/>
                  <a:gd name="T67" fmla="*/ 514 h 663"/>
                  <a:gd name="T68" fmla="*/ 114 w 663"/>
                  <a:gd name="T69" fmla="*/ 511 h 663"/>
                  <a:gd name="T70" fmla="*/ 156 w 663"/>
                  <a:gd name="T71" fmla="*/ 553 h 663"/>
                  <a:gd name="T72" fmla="*/ 157 w 663"/>
                  <a:gd name="T73" fmla="*/ 590 h 663"/>
                  <a:gd name="T74" fmla="*/ 162 w 663"/>
                  <a:gd name="T75" fmla="*/ 626 h 663"/>
                  <a:gd name="T76" fmla="*/ 220 w 663"/>
                  <a:gd name="T77" fmla="*/ 653 h 663"/>
                  <a:gd name="T78" fmla="*/ 257 w 663"/>
                  <a:gd name="T79" fmla="*/ 663 h 663"/>
                  <a:gd name="T80" fmla="*/ 292 w 663"/>
                  <a:gd name="T81" fmla="*/ 611 h 663"/>
                  <a:gd name="T82" fmla="*/ 332 w 663"/>
                  <a:gd name="T83" fmla="*/ 614 h 663"/>
                  <a:gd name="T84" fmla="*/ 374 w 663"/>
                  <a:gd name="T85" fmla="*/ 611 h 663"/>
                  <a:gd name="T86" fmla="*/ 406 w 663"/>
                  <a:gd name="T87" fmla="*/ 662 h 663"/>
                  <a:gd name="T88" fmla="*/ 431 w 663"/>
                  <a:gd name="T89" fmla="*/ 656 h 663"/>
                  <a:gd name="T90" fmla="*/ 492 w 663"/>
                  <a:gd name="T91" fmla="*/ 630 h 663"/>
                  <a:gd name="T92" fmla="*/ 513 w 663"/>
                  <a:gd name="T93" fmla="*/ 611 h 663"/>
                  <a:gd name="T94" fmla="*/ 516 w 663"/>
                  <a:gd name="T95" fmla="*/ 545 h 663"/>
                  <a:gd name="T96" fmla="*/ 551 w 663"/>
                  <a:gd name="T97" fmla="*/ 509 h 663"/>
                  <a:gd name="T98" fmla="*/ 567 w 663"/>
                  <a:gd name="T99" fmla="*/ 502 h 663"/>
                  <a:gd name="T100" fmla="*/ 620 w 663"/>
                  <a:gd name="T101" fmla="*/ 512 h 663"/>
                  <a:gd name="T102" fmla="*/ 641 w 663"/>
                  <a:gd name="T103" fmla="*/ 472 h 663"/>
                  <a:gd name="T104" fmla="*/ 660 w 663"/>
                  <a:gd name="T105" fmla="*/ 421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3" h="663">
                    <a:moveTo>
                      <a:pt x="663" y="404"/>
                    </a:moveTo>
                    <a:lnTo>
                      <a:pt x="663" y="404"/>
                    </a:lnTo>
                    <a:lnTo>
                      <a:pt x="655" y="400"/>
                    </a:lnTo>
                    <a:lnTo>
                      <a:pt x="636" y="388"/>
                    </a:lnTo>
                    <a:lnTo>
                      <a:pt x="624" y="380"/>
                    </a:lnTo>
                    <a:lnTo>
                      <a:pt x="614" y="373"/>
                    </a:lnTo>
                    <a:lnTo>
                      <a:pt x="612" y="371"/>
                    </a:lnTo>
                    <a:lnTo>
                      <a:pt x="612" y="370"/>
                    </a:lnTo>
                    <a:lnTo>
                      <a:pt x="614" y="361"/>
                    </a:lnTo>
                    <a:lnTo>
                      <a:pt x="614" y="339"/>
                    </a:lnTo>
                    <a:lnTo>
                      <a:pt x="614" y="318"/>
                    </a:lnTo>
                    <a:lnTo>
                      <a:pt x="612" y="300"/>
                    </a:lnTo>
                    <a:lnTo>
                      <a:pt x="612" y="292"/>
                    </a:lnTo>
                    <a:lnTo>
                      <a:pt x="612" y="292"/>
                    </a:lnTo>
                    <a:lnTo>
                      <a:pt x="612" y="289"/>
                    </a:lnTo>
                    <a:lnTo>
                      <a:pt x="621" y="283"/>
                    </a:lnTo>
                    <a:lnTo>
                      <a:pt x="636" y="274"/>
                    </a:lnTo>
                    <a:lnTo>
                      <a:pt x="655" y="262"/>
                    </a:lnTo>
                    <a:lnTo>
                      <a:pt x="663" y="258"/>
                    </a:lnTo>
                    <a:lnTo>
                      <a:pt x="663" y="258"/>
                    </a:lnTo>
                    <a:lnTo>
                      <a:pt x="663" y="255"/>
                    </a:lnTo>
                    <a:lnTo>
                      <a:pt x="661" y="246"/>
                    </a:lnTo>
                    <a:lnTo>
                      <a:pt x="655" y="229"/>
                    </a:lnTo>
                    <a:lnTo>
                      <a:pt x="650" y="210"/>
                    </a:lnTo>
                    <a:lnTo>
                      <a:pt x="647" y="201"/>
                    </a:lnTo>
                    <a:lnTo>
                      <a:pt x="641" y="187"/>
                    </a:lnTo>
                    <a:lnTo>
                      <a:pt x="629" y="165"/>
                    </a:lnTo>
                    <a:lnTo>
                      <a:pt x="621" y="153"/>
                    </a:lnTo>
                    <a:lnTo>
                      <a:pt x="620" y="148"/>
                    </a:lnTo>
                    <a:lnTo>
                      <a:pt x="612" y="150"/>
                    </a:lnTo>
                    <a:lnTo>
                      <a:pt x="588" y="156"/>
                    </a:lnTo>
                    <a:lnTo>
                      <a:pt x="558" y="163"/>
                    </a:lnTo>
                    <a:lnTo>
                      <a:pt x="555" y="159"/>
                    </a:lnTo>
                    <a:lnTo>
                      <a:pt x="551" y="151"/>
                    </a:lnTo>
                    <a:lnTo>
                      <a:pt x="539" y="140"/>
                    </a:lnTo>
                    <a:lnTo>
                      <a:pt x="527" y="128"/>
                    </a:lnTo>
                    <a:lnTo>
                      <a:pt x="515" y="116"/>
                    </a:lnTo>
                    <a:lnTo>
                      <a:pt x="507" y="111"/>
                    </a:lnTo>
                    <a:lnTo>
                      <a:pt x="501" y="105"/>
                    </a:lnTo>
                    <a:lnTo>
                      <a:pt x="500" y="104"/>
                    </a:lnTo>
                    <a:lnTo>
                      <a:pt x="501" y="98"/>
                    </a:lnTo>
                    <a:lnTo>
                      <a:pt x="507" y="75"/>
                    </a:lnTo>
                    <a:lnTo>
                      <a:pt x="512" y="53"/>
                    </a:lnTo>
                    <a:lnTo>
                      <a:pt x="513" y="45"/>
                    </a:lnTo>
                    <a:lnTo>
                      <a:pt x="513" y="45"/>
                    </a:lnTo>
                    <a:lnTo>
                      <a:pt x="510" y="42"/>
                    </a:lnTo>
                    <a:lnTo>
                      <a:pt x="503" y="38"/>
                    </a:lnTo>
                    <a:lnTo>
                      <a:pt x="488" y="29"/>
                    </a:lnTo>
                    <a:lnTo>
                      <a:pt x="470" y="21"/>
                    </a:lnTo>
                    <a:lnTo>
                      <a:pt x="461" y="17"/>
                    </a:lnTo>
                    <a:lnTo>
                      <a:pt x="453" y="14"/>
                    </a:lnTo>
                    <a:lnTo>
                      <a:pt x="434" y="8"/>
                    </a:lnTo>
                    <a:lnTo>
                      <a:pt x="418" y="2"/>
                    </a:lnTo>
                    <a:lnTo>
                      <a:pt x="409" y="0"/>
                    </a:lnTo>
                    <a:lnTo>
                      <a:pt x="406" y="0"/>
                    </a:lnTo>
                    <a:lnTo>
                      <a:pt x="406" y="0"/>
                    </a:lnTo>
                    <a:lnTo>
                      <a:pt x="401" y="8"/>
                    </a:lnTo>
                    <a:lnTo>
                      <a:pt x="389" y="27"/>
                    </a:lnTo>
                    <a:lnTo>
                      <a:pt x="382" y="38"/>
                    </a:lnTo>
                    <a:lnTo>
                      <a:pt x="374" y="48"/>
                    </a:lnTo>
                    <a:lnTo>
                      <a:pt x="373" y="51"/>
                    </a:lnTo>
                    <a:lnTo>
                      <a:pt x="371" y="51"/>
                    </a:lnTo>
                    <a:lnTo>
                      <a:pt x="367" y="51"/>
                    </a:lnTo>
                    <a:lnTo>
                      <a:pt x="352" y="50"/>
                    </a:lnTo>
                    <a:lnTo>
                      <a:pt x="341" y="50"/>
                    </a:lnTo>
                    <a:lnTo>
                      <a:pt x="325" y="50"/>
                    </a:lnTo>
                    <a:lnTo>
                      <a:pt x="314" y="50"/>
                    </a:lnTo>
                    <a:lnTo>
                      <a:pt x="299" y="51"/>
                    </a:lnTo>
                    <a:lnTo>
                      <a:pt x="293" y="51"/>
                    </a:lnTo>
                    <a:lnTo>
                      <a:pt x="292" y="51"/>
                    </a:lnTo>
                    <a:lnTo>
                      <a:pt x="290" y="50"/>
                    </a:lnTo>
                    <a:lnTo>
                      <a:pt x="284" y="42"/>
                    </a:lnTo>
                    <a:lnTo>
                      <a:pt x="275" y="27"/>
                    </a:lnTo>
                    <a:lnTo>
                      <a:pt x="262" y="8"/>
                    </a:lnTo>
                    <a:lnTo>
                      <a:pt x="259" y="0"/>
                    </a:lnTo>
                    <a:lnTo>
                      <a:pt x="257" y="0"/>
                    </a:lnTo>
                    <a:lnTo>
                      <a:pt x="254" y="0"/>
                    </a:lnTo>
                    <a:lnTo>
                      <a:pt x="245" y="3"/>
                    </a:lnTo>
                    <a:lnTo>
                      <a:pt x="229" y="8"/>
                    </a:lnTo>
                    <a:lnTo>
                      <a:pt x="211" y="14"/>
                    </a:lnTo>
                    <a:lnTo>
                      <a:pt x="204" y="17"/>
                    </a:lnTo>
                    <a:lnTo>
                      <a:pt x="195" y="21"/>
                    </a:lnTo>
                    <a:lnTo>
                      <a:pt x="177" y="29"/>
                    </a:lnTo>
                    <a:lnTo>
                      <a:pt x="160" y="38"/>
                    </a:lnTo>
                    <a:lnTo>
                      <a:pt x="153" y="42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1" y="53"/>
                    </a:lnTo>
                    <a:lnTo>
                      <a:pt x="156" y="75"/>
                    </a:lnTo>
                    <a:lnTo>
                      <a:pt x="162" y="98"/>
                    </a:lnTo>
                    <a:lnTo>
                      <a:pt x="163" y="104"/>
                    </a:lnTo>
                    <a:lnTo>
                      <a:pt x="163" y="105"/>
                    </a:lnTo>
                    <a:lnTo>
                      <a:pt x="159" y="110"/>
                    </a:lnTo>
                    <a:lnTo>
                      <a:pt x="154" y="113"/>
                    </a:lnTo>
                    <a:lnTo>
                      <a:pt x="150" y="116"/>
                    </a:lnTo>
                    <a:lnTo>
                      <a:pt x="139" y="126"/>
                    </a:lnTo>
                    <a:lnTo>
                      <a:pt x="126" y="138"/>
                    </a:lnTo>
                    <a:lnTo>
                      <a:pt x="115" y="150"/>
                    </a:lnTo>
                    <a:lnTo>
                      <a:pt x="112" y="154"/>
                    </a:lnTo>
                    <a:lnTo>
                      <a:pt x="109" y="157"/>
                    </a:lnTo>
                    <a:lnTo>
                      <a:pt x="105" y="162"/>
                    </a:lnTo>
                    <a:lnTo>
                      <a:pt x="103" y="163"/>
                    </a:lnTo>
                    <a:lnTo>
                      <a:pt x="96" y="162"/>
                    </a:lnTo>
                    <a:lnTo>
                      <a:pt x="73" y="156"/>
                    </a:lnTo>
                    <a:lnTo>
                      <a:pt x="45" y="150"/>
                    </a:lnTo>
                    <a:lnTo>
                      <a:pt x="43" y="151"/>
                    </a:lnTo>
                    <a:lnTo>
                      <a:pt x="40" y="157"/>
                    </a:lnTo>
                    <a:lnTo>
                      <a:pt x="28" y="178"/>
                    </a:lnTo>
                    <a:lnTo>
                      <a:pt x="24" y="187"/>
                    </a:lnTo>
                    <a:lnTo>
                      <a:pt x="18" y="199"/>
                    </a:lnTo>
                    <a:lnTo>
                      <a:pt x="9" y="228"/>
                    </a:lnTo>
                    <a:lnTo>
                      <a:pt x="4" y="241"/>
                    </a:lnTo>
                    <a:lnTo>
                      <a:pt x="1" y="253"/>
                    </a:lnTo>
                    <a:lnTo>
                      <a:pt x="0" y="258"/>
                    </a:lnTo>
                    <a:lnTo>
                      <a:pt x="6" y="261"/>
                    </a:lnTo>
                    <a:lnTo>
                      <a:pt x="27" y="274"/>
                    </a:lnTo>
                    <a:lnTo>
                      <a:pt x="52" y="291"/>
                    </a:lnTo>
                    <a:lnTo>
                      <a:pt x="51" y="297"/>
                    </a:lnTo>
                    <a:lnTo>
                      <a:pt x="51" y="307"/>
                    </a:lnTo>
                    <a:lnTo>
                      <a:pt x="49" y="325"/>
                    </a:lnTo>
                    <a:lnTo>
                      <a:pt x="49" y="343"/>
                    </a:lnTo>
                    <a:lnTo>
                      <a:pt x="51" y="360"/>
                    </a:lnTo>
                    <a:lnTo>
                      <a:pt x="52" y="367"/>
                    </a:lnTo>
                    <a:lnTo>
                      <a:pt x="52" y="373"/>
                    </a:lnTo>
                    <a:lnTo>
                      <a:pt x="31" y="386"/>
                    </a:lnTo>
                    <a:lnTo>
                      <a:pt x="15" y="397"/>
                    </a:lnTo>
                    <a:lnTo>
                      <a:pt x="6" y="403"/>
                    </a:lnTo>
                    <a:lnTo>
                      <a:pt x="0" y="406"/>
                    </a:lnTo>
                    <a:lnTo>
                      <a:pt x="4" y="418"/>
                    </a:lnTo>
                    <a:lnTo>
                      <a:pt x="7" y="433"/>
                    </a:lnTo>
                    <a:lnTo>
                      <a:pt x="18" y="460"/>
                    </a:lnTo>
                    <a:lnTo>
                      <a:pt x="22" y="472"/>
                    </a:lnTo>
                    <a:lnTo>
                      <a:pt x="28" y="484"/>
                    </a:lnTo>
                    <a:lnTo>
                      <a:pt x="40" y="506"/>
                    </a:lnTo>
                    <a:lnTo>
                      <a:pt x="45" y="512"/>
                    </a:lnTo>
                    <a:lnTo>
                      <a:pt x="46" y="514"/>
                    </a:lnTo>
                    <a:lnTo>
                      <a:pt x="76" y="508"/>
                    </a:lnTo>
                    <a:lnTo>
                      <a:pt x="105" y="500"/>
                    </a:lnTo>
                    <a:lnTo>
                      <a:pt x="108" y="503"/>
                    </a:lnTo>
                    <a:lnTo>
                      <a:pt x="114" y="511"/>
                    </a:lnTo>
                    <a:lnTo>
                      <a:pt x="124" y="523"/>
                    </a:lnTo>
                    <a:lnTo>
                      <a:pt x="138" y="536"/>
                    </a:lnTo>
                    <a:lnTo>
                      <a:pt x="150" y="547"/>
                    </a:lnTo>
                    <a:lnTo>
                      <a:pt x="156" y="553"/>
                    </a:lnTo>
                    <a:lnTo>
                      <a:pt x="159" y="556"/>
                    </a:lnTo>
                    <a:lnTo>
                      <a:pt x="163" y="559"/>
                    </a:lnTo>
                    <a:lnTo>
                      <a:pt x="163" y="560"/>
                    </a:lnTo>
                    <a:lnTo>
                      <a:pt x="157" y="590"/>
                    </a:lnTo>
                    <a:lnTo>
                      <a:pt x="151" y="617"/>
                    </a:lnTo>
                    <a:lnTo>
                      <a:pt x="151" y="618"/>
                    </a:lnTo>
                    <a:lnTo>
                      <a:pt x="154" y="620"/>
                    </a:lnTo>
                    <a:lnTo>
                      <a:pt x="162" y="626"/>
                    </a:lnTo>
                    <a:lnTo>
                      <a:pt x="178" y="635"/>
                    </a:lnTo>
                    <a:lnTo>
                      <a:pt x="198" y="644"/>
                    </a:lnTo>
                    <a:lnTo>
                      <a:pt x="205" y="647"/>
                    </a:lnTo>
                    <a:lnTo>
                      <a:pt x="220" y="653"/>
                    </a:lnTo>
                    <a:lnTo>
                      <a:pt x="242" y="659"/>
                    </a:lnTo>
                    <a:lnTo>
                      <a:pt x="254" y="662"/>
                    </a:lnTo>
                    <a:lnTo>
                      <a:pt x="257" y="663"/>
                    </a:lnTo>
                    <a:lnTo>
                      <a:pt x="257" y="663"/>
                    </a:lnTo>
                    <a:lnTo>
                      <a:pt x="260" y="660"/>
                    </a:lnTo>
                    <a:lnTo>
                      <a:pt x="266" y="650"/>
                    </a:lnTo>
                    <a:lnTo>
                      <a:pt x="275" y="636"/>
                    </a:lnTo>
                    <a:lnTo>
                      <a:pt x="292" y="611"/>
                    </a:lnTo>
                    <a:lnTo>
                      <a:pt x="296" y="611"/>
                    </a:lnTo>
                    <a:lnTo>
                      <a:pt x="305" y="612"/>
                    </a:lnTo>
                    <a:lnTo>
                      <a:pt x="323" y="614"/>
                    </a:lnTo>
                    <a:lnTo>
                      <a:pt x="332" y="614"/>
                    </a:lnTo>
                    <a:lnTo>
                      <a:pt x="340" y="614"/>
                    </a:lnTo>
                    <a:lnTo>
                      <a:pt x="355" y="612"/>
                    </a:lnTo>
                    <a:lnTo>
                      <a:pt x="368" y="611"/>
                    </a:lnTo>
                    <a:lnTo>
                      <a:pt x="374" y="611"/>
                    </a:lnTo>
                    <a:lnTo>
                      <a:pt x="389" y="635"/>
                    </a:lnTo>
                    <a:lnTo>
                      <a:pt x="401" y="654"/>
                    </a:lnTo>
                    <a:lnTo>
                      <a:pt x="406" y="662"/>
                    </a:lnTo>
                    <a:lnTo>
                      <a:pt x="406" y="662"/>
                    </a:lnTo>
                    <a:lnTo>
                      <a:pt x="407" y="662"/>
                    </a:lnTo>
                    <a:lnTo>
                      <a:pt x="412" y="662"/>
                    </a:lnTo>
                    <a:lnTo>
                      <a:pt x="419" y="660"/>
                    </a:lnTo>
                    <a:lnTo>
                      <a:pt x="431" y="656"/>
                    </a:lnTo>
                    <a:lnTo>
                      <a:pt x="458" y="647"/>
                    </a:lnTo>
                    <a:lnTo>
                      <a:pt x="471" y="641"/>
                    </a:lnTo>
                    <a:lnTo>
                      <a:pt x="477" y="638"/>
                    </a:lnTo>
                    <a:lnTo>
                      <a:pt x="492" y="630"/>
                    </a:lnTo>
                    <a:lnTo>
                      <a:pt x="506" y="624"/>
                    </a:lnTo>
                    <a:lnTo>
                      <a:pt x="513" y="618"/>
                    </a:lnTo>
                    <a:lnTo>
                      <a:pt x="515" y="617"/>
                    </a:lnTo>
                    <a:lnTo>
                      <a:pt x="513" y="611"/>
                    </a:lnTo>
                    <a:lnTo>
                      <a:pt x="507" y="587"/>
                    </a:lnTo>
                    <a:lnTo>
                      <a:pt x="501" y="559"/>
                    </a:lnTo>
                    <a:lnTo>
                      <a:pt x="510" y="550"/>
                    </a:lnTo>
                    <a:lnTo>
                      <a:pt x="516" y="545"/>
                    </a:lnTo>
                    <a:lnTo>
                      <a:pt x="527" y="536"/>
                    </a:lnTo>
                    <a:lnTo>
                      <a:pt x="537" y="526"/>
                    </a:lnTo>
                    <a:lnTo>
                      <a:pt x="548" y="515"/>
                    </a:lnTo>
                    <a:lnTo>
                      <a:pt x="551" y="509"/>
                    </a:lnTo>
                    <a:lnTo>
                      <a:pt x="554" y="506"/>
                    </a:lnTo>
                    <a:lnTo>
                      <a:pt x="560" y="500"/>
                    </a:lnTo>
                    <a:lnTo>
                      <a:pt x="560" y="500"/>
                    </a:lnTo>
                    <a:lnTo>
                      <a:pt x="567" y="502"/>
                    </a:lnTo>
                    <a:lnTo>
                      <a:pt x="590" y="506"/>
                    </a:lnTo>
                    <a:lnTo>
                      <a:pt x="612" y="512"/>
                    </a:lnTo>
                    <a:lnTo>
                      <a:pt x="618" y="514"/>
                    </a:lnTo>
                    <a:lnTo>
                      <a:pt x="620" y="512"/>
                    </a:lnTo>
                    <a:lnTo>
                      <a:pt x="623" y="506"/>
                    </a:lnTo>
                    <a:lnTo>
                      <a:pt x="632" y="491"/>
                    </a:lnTo>
                    <a:lnTo>
                      <a:pt x="638" y="479"/>
                    </a:lnTo>
                    <a:lnTo>
                      <a:pt x="641" y="472"/>
                    </a:lnTo>
                    <a:lnTo>
                      <a:pt x="648" y="458"/>
                    </a:lnTo>
                    <a:lnTo>
                      <a:pt x="653" y="443"/>
                    </a:lnTo>
                    <a:lnTo>
                      <a:pt x="658" y="428"/>
                    </a:lnTo>
                    <a:lnTo>
                      <a:pt x="660" y="421"/>
                    </a:lnTo>
                    <a:lnTo>
                      <a:pt x="661" y="413"/>
                    </a:lnTo>
                    <a:lnTo>
                      <a:pt x="663" y="407"/>
                    </a:lnTo>
                    <a:lnTo>
                      <a:pt x="663" y="40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49" name="Oval 12">
                <a:extLst>
                  <a:ext uri="{FF2B5EF4-FFF2-40B4-BE49-F238E27FC236}">
                    <a16:creationId xmlns:a16="http://schemas.microsoft.com/office/drawing/2014/main" id="{B3D48044-523A-47EA-958C-89B036F2B4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1915" y="4225686"/>
                <a:ext cx="488868" cy="48886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2"/>
                  </a:solidFill>
                  <a:cs typeface="Arial" charset="0"/>
                </a:endParaRPr>
              </a:p>
            </p:txBody>
          </p:sp>
        </p:grpSp>
        <p:grpSp>
          <p:nvGrpSpPr>
            <p:cNvPr id="27" name="Gruppierung 155">
              <a:extLst>
                <a:ext uri="{FF2B5EF4-FFF2-40B4-BE49-F238E27FC236}">
                  <a16:creationId xmlns:a16="http://schemas.microsoft.com/office/drawing/2014/main" id="{49DF5D8A-B75B-47B9-9F25-CFF1744C4039}"/>
                </a:ext>
              </a:extLst>
            </p:cNvPr>
            <p:cNvGrpSpPr/>
            <p:nvPr/>
          </p:nvGrpSpPr>
          <p:grpSpPr>
            <a:xfrm>
              <a:off x="3359482" y="2704844"/>
              <a:ext cx="824815" cy="825997"/>
              <a:chOff x="3763737" y="3130565"/>
              <a:chExt cx="918913" cy="920230"/>
            </a:xfrm>
          </p:grpSpPr>
          <p:sp>
            <p:nvSpPr>
              <p:cNvPr id="46" name="Freeform 5">
                <a:extLst>
                  <a:ext uri="{FF2B5EF4-FFF2-40B4-BE49-F238E27FC236}">
                    <a16:creationId xmlns:a16="http://schemas.microsoft.com/office/drawing/2014/main" id="{186B7860-6579-49BF-9C6D-1DD12AC0C9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3737" y="3130565"/>
                <a:ext cx="918913" cy="920230"/>
              </a:xfrm>
              <a:custGeom>
                <a:avLst/>
                <a:gdLst>
                  <a:gd name="T0" fmla="*/ 649 w 697"/>
                  <a:gd name="T1" fmla="*/ 318 h 698"/>
                  <a:gd name="T2" fmla="*/ 646 w 697"/>
                  <a:gd name="T3" fmla="*/ 259 h 698"/>
                  <a:gd name="T4" fmla="*/ 661 w 697"/>
                  <a:gd name="T5" fmla="*/ 195 h 698"/>
                  <a:gd name="T6" fmla="*/ 613 w 697"/>
                  <a:gd name="T7" fmla="*/ 204 h 698"/>
                  <a:gd name="T8" fmla="*/ 589 w 697"/>
                  <a:gd name="T9" fmla="*/ 152 h 698"/>
                  <a:gd name="T10" fmla="*/ 579 w 697"/>
                  <a:gd name="T11" fmla="*/ 87 h 698"/>
                  <a:gd name="T12" fmla="*/ 538 w 697"/>
                  <a:gd name="T13" fmla="*/ 114 h 698"/>
                  <a:gd name="T14" fmla="*/ 495 w 697"/>
                  <a:gd name="T15" fmla="*/ 74 h 698"/>
                  <a:gd name="T16" fmla="*/ 461 w 697"/>
                  <a:gd name="T17" fmla="*/ 18 h 698"/>
                  <a:gd name="T18" fmla="*/ 434 w 697"/>
                  <a:gd name="T19" fmla="*/ 59 h 698"/>
                  <a:gd name="T20" fmla="*/ 380 w 697"/>
                  <a:gd name="T21" fmla="*/ 38 h 698"/>
                  <a:gd name="T22" fmla="*/ 326 w 697"/>
                  <a:gd name="T23" fmla="*/ 0 h 698"/>
                  <a:gd name="T24" fmla="*/ 315 w 697"/>
                  <a:gd name="T25" fmla="*/ 48 h 698"/>
                  <a:gd name="T26" fmla="*/ 259 w 697"/>
                  <a:gd name="T27" fmla="*/ 50 h 698"/>
                  <a:gd name="T28" fmla="*/ 194 w 697"/>
                  <a:gd name="T29" fmla="*/ 35 h 698"/>
                  <a:gd name="T30" fmla="*/ 203 w 697"/>
                  <a:gd name="T31" fmla="*/ 83 h 698"/>
                  <a:gd name="T32" fmla="*/ 151 w 697"/>
                  <a:gd name="T33" fmla="*/ 107 h 698"/>
                  <a:gd name="T34" fmla="*/ 86 w 697"/>
                  <a:gd name="T35" fmla="*/ 119 h 698"/>
                  <a:gd name="T36" fmla="*/ 113 w 697"/>
                  <a:gd name="T37" fmla="*/ 159 h 698"/>
                  <a:gd name="T38" fmla="*/ 73 w 697"/>
                  <a:gd name="T39" fmla="*/ 201 h 698"/>
                  <a:gd name="T40" fmla="*/ 18 w 697"/>
                  <a:gd name="T41" fmla="*/ 235 h 698"/>
                  <a:gd name="T42" fmla="*/ 58 w 697"/>
                  <a:gd name="T43" fmla="*/ 262 h 698"/>
                  <a:gd name="T44" fmla="*/ 37 w 697"/>
                  <a:gd name="T45" fmla="*/ 318 h 698"/>
                  <a:gd name="T46" fmla="*/ 0 w 697"/>
                  <a:gd name="T47" fmla="*/ 372 h 698"/>
                  <a:gd name="T48" fmla="*/ 47 w 697"/>
                  <a:gd name="T49" fmla="*/ 381 h 698"/>
                  <a:gd name="T50" fmla="*/ 49 w 697"/>
                  <a:gd name="T51" fmla="*/ 439 h 698"/>
                  <a:gd name="T52" fmla="*/ 34 w 697"/>
                  <a:gd name="T53" fmla="*/ 503 h 698"/>
                  <a:gd name="T54" fmla="*/ 82 w 697"/>
                  <a:gd name="T55" fmla="*/ 493 h 698"/>
                  <a:gd name="T56" fmla="*/ 106 w 697"/>
                  <a:gd name="T57" fmla="*/ 547 h 698"/>
                  <a:gd name="T58" fmla="*/ 118 w 697"/>
                  <a:gd name="T59" fmla="*/ 611 h 698"/>
                  <a:gd name="T60" fmla="*/ 158 w 697"/>
                  <a:gd name="T61" fmla="*/ 584 h 698"/>
                  <a:gd name="T62" fmla="*/ 200 w 697"/>
                  <a:gd name="T63" fmla="*/ 623 h 698"/>
                  <a:gd name="T64" fmla="*/ 235 w 697"/>
                  <a:gd name="T65" fmla="*/ 680 h 698"/>
                  <a:gd name="T66" fmla="*/ 261 w 697"/>
                  <a:gd name="T67" fmla="*/ 640 h 698"/>
                  <a:gd name="T68" fmla="*/ 317 w 697"/>
                  <a:gd name="T69" fmla="*/ 659 h 698"/>
                  <a:gd name="T70" fmla="*/ 369 w 697"/>
                  <a:gd name="T71" fmla="*/ 698 h 698"/>
                  <a:gd name="T72" fmla="*/ 380 w 697"/>
                  <a:gd name="T73" fmla="*/ 650 h 698"/>
                  <a:gd name="T74" fmla="*/ 438 w 697"/>
                  <a:gd name="T75" fmla="*/ 649 h 698"/>
                  <a:gd name="T76" fmla="*/ 502 w 697"/>
                  <a:gd name="T77" fmla="*/ 662 h 698"/>
                  <a:gd name="T78" fmla="*/ 492 w 697"/>
                  <a:gd name="T79" fmla="*/ 614 h 698"/>
                  <a:gd name="T80" fmla="*/ 546 w 697"/>
                  <a:gd name="T81" fmla="*/ 590 h 698"/>
                  <a:gd name="T82" fmla="*/ 610 w 697"/>
                  <a:gd name="T83" fmla="*/ 580 h 698"/>
                  <a:gd name="T84" fmla="*/ 583 w 697"/>
                  <a:gd name="T85" fmla="*/ 539 h 698"/>
                  <a:gd name="T86" fmla="*/ 622 w 697"/>
                  <a:gd name="T87" fmla="*/ 497 h 698"/>
                  <a:gd name="T88" fmla="*/ 679 w 697"/>
                  <a:gd name="T89" fmla="*/ 461 h 698"/>
                  <a:gd name="T90" fmla="*/ 637 w 697"/>
                  <a:gd name="T91" fmla="*/ 435 h 698"/>
                  <a:gd name="T92" fmla="*/ 658 w 697"/>
                  <a:gd name="T93" fmla="*/ 381 h 698"/>
                  <a:gd name="T94" fmla="*/ 697 w 697"/>
                  <a:gd name="T95" fmla="*/ 327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7" h="698">
                    <a:moveTo>
                      <a:pt x="694" y="325"/>
                    </a:moveTo>
                    <a:lnTo>
                      <a:pt x="676" y="321"/>
                    </a:lnTo>
                    <a:lnTo>
                      <a:pt x="658" y="318"/>
                    </a:lnTo>
                    <a:lnTo>
                      <a:pt x="649" y="318"/>
                    </a:lnTo>
                    <a:lnTo>
                      <a:pt x="648" y="303"/>
                    </a:lnTo>
                    <a:lnTo>
                      <a:pt x="642" y="273"/>
                    </a:lnTo>
                    <a:lnTo>
                      <a:pt x="637" y="262"/>
                    </a:lnTo>
                    <a:lnTo>
                      <a:pt x="646" y="259"/>
                    </a:lnTo>
                    <a:lnTo>
                      <a:pt x="663" y="249"/>
                    </a:lnTo>
                    <a:lnTo>
                      <a:pt x="676" y="238"/>
                    </a:lnTo>
                    <a:lnTo>
                      <a:pt x="679" y="235"/>
                    </a:lnTo>
                    <a:lnTo>
                      <a:pt x="661" y="195"/>
                    </a:lnTo>
                    <a:lnTo>
                      <a:pt x="660" y="195"/>
                    </a:lnTo>
                    <a:lnTo>
                      <a:pt x="640" y="197"/>
                    </a:lnTo>
                    <a:lnTo>
                      <a:pt x="622" y="201"/>
                    </a:lnTo>
                    <a:lnTo>
                      <a:pt x="613" y="204"/>
                    </a:lnTo>
                    <a:lnTo>
                      <a:pt x="607" y="192"/>
                    </a:lnTo>
                    <a:lnTo>
                      <a:pt x="591" y="168"/>
                    </a:lnTo>
                    <a:lnTo>
                      <a:pt x="583" y="159"/>
                    </a:lnTo>
                    <a:lnTo>
                      <a:pt x="589" y="152"/>
                    </a:lnTo>
                    <a:lnTo>
                      <a:pt x="601" y="137"/>
                    </a:lnTo>
                    <a:lnTo>
                      <a:pt x="609" y="120"/>
                    </a:lnTo>
                    <a:lnTo>
                      <a:pt x="610" y="119"/>
                    </a:lnTo>
                    <a:lnTo>
                      <a:pt x="579" y="87"/>
                    </a:lnTo>
                    <a:lnTo>
                      <a:pt x="576" y="87"/>
                    </a:lnTo>
                    <a:lnTo>
                      <a:pt x="559" y="96"/>
                    </a:lnTo>
                    <a:lnTo>
                      <a:pt x="546" y="107"/>
                    </a:lnTo>
                    <a:lnTo>
                      <a:pt x="538" y="114"/>
                    </a:lnTo>
                    <a:lnTo>
                      <a:pt x="529" y="107"/>
                    </a:lnTo>
                    <a:lnTo>
                      <a:pt x="505" y="90"/>
                    </a:lnTo>
                    <a:lnTo>
                      <a:pt x="492" y="83"/>
                    </a:lnTo>
                    <a:lnTo>
                      <a:pt x="495" y="74"/>
                    </a:lnTo>
                    <a:lnTo>
                      <a:pt x="499" y="56"/>
                    </a:lnTo>
                    <a:lnTo>
                      <a:pt x="502" y="38"/>
                    </a:lnTo>
                    <a:lnTo>
                      <a:pt x="502" y="35"/>
                    </a:lnTo>
                    <a:lnTo>
                      <a:pt x="461" y="18"/>
                    </a:lnTo>
                    <a:lnTo>
                      <a:pt x="459" y="20"/>
                    </a:lnTo>
                    <a:lnTo>
                      <a:pt x="447" y="33"/>
                    </a:lnTo>
                    <a:lnTo>
                      <a:pt x="438" y="50"/>
                    </a:lnTo>
                    <a:lnTo>
                      <a:pt x="434" y="59"/>
                    </a:lnTo>
                    <a:lnTo>
                      <a:pt x="423" y="56"/>
                    </a:lnTo>
                    <a:lnTo>
                      <a:pt x="393" y="50"/>
                    </a:lnTo>
                    <a:lnTo>
                      <a:pt x="380" y="48"/>
                    </a:lnTo>
                    <a:lnTo>
                      <a:pt x="380" y="38"/>
                    </a:lnTo>
                    <a:lnTo>
                      <a:pt x="377" y="20"/>
                    </a:lnTo>
                    <a:lnTo>
                      <a:pt x="371" y="2"/>
                    </a:lnTo>
                    <a:lnTo>
                      <a:pt x="369" y="0"/>
                    </a:lnTo>
                    <a:lnTo>
                      <a:pt x="326" y="0"/>
                    </a:lnTo>
                    <a:lnTo>
                      <a:pt x="324" y="2"/>
                    </a:lnTo>
                    <a:lnTo>
                      <a:pt x="320" y="20"/>
                    </a:lnTo>
                    <a:lnTo>
                      <a:pt x="317" y="38"/>
                    </a:lnTo>
                    <a:lnTo>
                      <a:pt x="315" y="48"/>
                    </a:lnTo>
                    <a:lnTo>
                      <a:pt x="302" y="50"/>
                    </a:lnTo>
                    <a:lnTo>
                      <a:pt x="272" y="56"/>
                    </a:lnTo>
                    <a:lnTo>
                      <a:pt x="261" y="59"/>
                    </a:lnTo>
                    <a:lnTo>
                      <a:pt x="259" y="50"/>
                    </a:lnTo>
                    <a:lnTo>
                      <a:pt x="248" y="33"/>
                    </a:lnTo>
                    <a:lnTo>
                      <a:pt x="236" y="20"/>
                    </a:lnTo>
                    <a:lnTo>
                      <a:pt x="235" y="18"/>
                    </a:lnTo>
                    <a:lnTo>
                      <a:pt x="194" y="35"/>
                    </a:lnTo>
                    <a:lnTo>
                      <a:pt x="194" y="38"/>
                    </a:lnTo>
                    <a:lnTo>
                      <a:pt x="196" y="56"/>
                    </a:lnTo>
                    <a:lnTo>
                      <a:pt x="200" y="74"/>
                    </a:lnTo>
                    <a:lnTo>
                      <a:pt x="203" y="83"/>
                    </a:lnTo>
                    <a:lnTo>
                      <a:pt x="191" y="90"/>
                    </a:lnTo>
                    <a:lnTo>
                      <a:pt x="167" y="107"/>
                    </a:lnTo>
                    <a:lnTo>
                      <a:pt x="157" y="114"/>
                    </a:lnTo>
                    <a:lnTo>
                      <a:pt x="151" y="107"/>
                    </a:lnTo>
                    <a:lnTo>
                      <a:pt x="136" y="96"/>
                    </a:lnTo>
                    <a:lnTo>
                      <a:pt x="119" y="87"/>
                    </a:lnTo>
                    <a:lnTo>
                      <a:pt x="116" y="87"/>
                    </a:lnTo>
                    <a:lnTo>
                      <a:pt x="86" y="119"/>
                    </a:lnTo>
                    <a:lnTo>
                      <a:pt x="86" y="120"/>
                    </a:lnTo>
                    <a:lnTo>
                      <a:pt x="95" y="137"/>
                    </a:lnTo>
                    <a:lnTo>
                      <a:pt x="106" y="152"/>
                    </a:lnTo>
                    <a:lnTo>
                      <a:pt x="113" y="159"/>
                    </a:lnTo>
                    <a:lnTo>
                      <a:pt x="104" y="168"/>
                    </a:lnTo>
                    <a:lnTo>
                      <a:pt x="89" y="192"/>
                    </a:lnTo>
                    <a:lnTo>
                      <a:pt x="82" y="204"/>
                    </a:lnTo>
                    <a:lnTo>
                      <a:pt x="73" y="201"/>
                    </a:lnTo>
                    <a:lnTo>
                      <a:pt x="55" y="197"/>
                    </a:lnTo>
                    <a:lnTo>
                      <a:pt x="37" y="195"/>
                    </a:lnTo>
                    <a:lnTo>
                      <a:pt x="34" y="195"/>
                    </a:lnTo>
                    <a:lnTo>
                      <a:pt x="18" y="235"/>
                    </a:lnTo>
                    <a:lnTo>
                      <a:pt x="19" y="238"/>
                    </a:lnTo>
                    <a:lnTo>
                      <a:pt x="33" y="249"/>
                    </a:lnTo>
                    <a:lnTo>
                      <a:pt x="49" y="259"/>
                    </a:lnTo>
                    <a:lnTo>
                      <a:pt x="58" y="262"/>
                    </a:lnTo>
                    <a:lnTo>
                      <a:pt x="55" y="273"/>
                    </a:lnTo>
                    <a:lnTo>
                      <a:pt x="49" y="303"/>
                    </a:lnTo>
                    <a:lnTo>
                      <a:pt x="47" y="318"/>
                    </a:lnTo>
                    <a:lnTo>
                      <a:pt x="37" y="318"/>
                    </a:lnTo>
                    <a:lnTo>
                      <a:pt x="19" y="321"/>
                    </a:lnTo>
                    <a:lnTo>
                      <a:pt x="1" y="325"/>
                    </a:lnTo>
                    <a:lnTo>
                      <a:pt x="0" y="327"/>
                    </a:lnTo>
                    <a:lnTo>
                      <a:pt x="0" y="372"/>
                    </a:lnTo>
                    <a:lnTo>
                      <a:pt x="1" y="372"/>
                    </a:lnTo>
                    <a:lnTo>
                      <a:pt x="19" y="378"/>
                    </a:lnTo>
                    <a:lnTo>
                      <a:pt x="37" y="381"/>
                    </a:lnTo>
                    <a:lnTo>
                      <a:pt x="47" y="381"/>
                    </a:lnTo>
                    <a:lnTo>
                      <a:pt x="49" y="396"/>
                    </a:lnTo>
                    <a:lnTo>
                      <a:pt x="55" y="424"/>
                    </a:lnTo>
                    <a:lnTo>
                      <a:pt x="58" y="435"/>
                    </a:lnTo>
                    <a:lnTo>
                      <a:pt x="49" y="439"/>
                    </a:lnTo>
                    <a:lnTo>
                      <a:pt x="33" y="448"/>
                    </a:lnTo>
                    <a:lnTo>
                      <a:pt x="19" y="460"/>
                    </a:lnTo>
                    <a:lnTo>
                      <a:pt x="18" y="461"/>
                    </a:lnTo>
                    <a:lnTo>
                      <a:pt x="34" y="503"/>
                    </a:lnTo>
                    <a:lnTo>
                      <a:pt x="37" y="503"/>
                    </a:lnTo>
                    <a:lnTo>
                      <a:pt x="55" y="502"/>
                    </a:lnTo>
                    <a:lnTo>
                      <a:pt x="73" y="497"/>
                    </a:lnTo>
                    <a:lnTo>
                      <a:pt x="82" y="493"/>
                    </a:lnTo>
                    <a:lnTo>
                      <a:pt x="89" y="506"/>
                    </a:lnTo>
                    <a:lnTo>
                      <a:pt x="104" y="530"/>
                    </a:lnTo>
                    <a:lnTo>
                      <a:pt x="113" y="539"/>
                    </a:lnTo>
                    <a:lnTo>
                      <a:pt x="106" y="547"/>
                    </a:lnTo>
                    <a:lnTo>
                      <a:pt x="95" y="562"/>
                    </a:lnTo>
                    <a:lnTo>
                      <a:pt x="86" y="577"/>
                    </a:lnTo>
                    <a:lnTo>
                      <a:pt x="86" y="580"/>
                    </a:lnTo>
                    <a:lnTo>
                      <a:pt x="118" y="611"/>
                    </a:lnTo>
                    <a:lnTo>
                      <a:pt x="119" y="611"/>
                    </a:lnTo>
                    <a:lnTo>
                      <a:pt x="136" y="602"/>
                    </a:lnTo>
                    <a:lnTo>
                      <a:pt x="151" y="590"/>
                    </a:lnTo>
                    <a:lnTo>
                      <a:pt x="158" y="584"/>
                    </a:lnTo>
                    <a:lnTo>
                      <a:pt x="167" y="592"/>
                    </a:lnTo>
                    <a:lnTo>
                      <a:pt x="191" y="608"/>
                    </a:lnTo>
                    <a:lnTo>
                      <a:pt x="203" y="614"/>
                    </a:lnTo>
                    <a:lnTo>
                      <a:pt x="200" y="623"/>
                    </a:lnTo>
                    <a:lnTo>
                      <a:pt x="196" y="641"/>
                    </a:lnTo>
                    <a:lnTo>
                      <a:pt x="194" y="661"/>
                    </a:lnTo>
                    <a:lnTo>
                      <a:pt x="194" y="662"/>
                    </a:lnTo>
                    <a:lnTo>
                      <a:pt x="235" y="680"/>
                    </a:lnTo>
                    <a:lnTo>
                      <a:pt x="236" y="679"/>
                    </a:lnTo>
                    <a:lnTo>
                      <a:pt x="248" y="664"/>
                    </a:lnTo>
                    <a:lnTo>
                      <a:pt x="259" y="649"/>
                    </a:lnTo>
                    <a:lnTo>
                      <a:pt x="261" y="640"/>
                    </a:lnTo>
                    <a:lnTo>
                      <a:pt x="272" y="643"/>
                    </a:lnTo>
                    <a:lnTo>
                      <a:pt x="302" y="649"/>
                    </a:lnTo>
                    <a:lnTo>
                      <a:pt x="315" y="650"/>
                    </a:lnTo>
                    <a:lnTo>
                      <a:pt x="317" y="659"/>
                    </a:lnTo>
                    <a:lnTo>
                      <a:pt x="320" y="679"/>
                    </a:lnTo>
                    <a:lnTo>
                      <a:pt x="324" y="695"/>
                    </a:lnTo>
                    <a:lnTo>
                      <a:pt x="326" y="698"/>
                    </a:lnTo>
                    <a:lnTo>
                      <a:pt x="369" y="698"/>
                    </a:lnTo>
                    <a:lnTo>
                      <a:pt x="371" y="695"/>
                    </a:lnTo>
                    <a:lnTo>
                      <a:pt x="377" y="679"/>
                    </a:lnTo>
                    <a:lnTo>
                      <a:pt x="380" y="659"/>
                    </a:lnTo>
                    <a:lnTo>
                      <a:pt x="380" y="650"/>
                    </a:lnTo>
                    <a:lnTo>
                      <a:pt x="393" y="649"/>
                    </a:lnTo>
                    <a:lnTo>
                      <a:pt x="423" y="643"/>
                    </a:lnTo>
                    <a:lnTo>
                      <a:pt x="434" y="640"/>
                    </a:lnTo>
                    <a:lnTo>
                      <a:pt x="438" y="649"/>
                    </a:lnTo>
                    <a:lnTo>
                      <a:pt x="447" y="664"/>
                    </a:lnTo>
                    <a:lnTo>
                      <a:pt x="459" y="679"/>
                    </a:lnTo>
                    <a:lnTo>
                      <a:pt x="461" y="680"/>
                    </a:lnTo>
                    <a:lnTo>
                      <a:pt x="502" y="662"/>
                    </a:lnTo>
                    <a:lnTo>
                      <a:pt x="502" y="661"/>
                    </a:lnTo>
                    <a:lnTo>
                      <a:pt x="499" y="641"/>
                    </a:lnTo>
                    <a:lnTo>
                      <a:pt x="495" y="623"/>
                    </a:lnTo>
                    <a:lnTo>
                      <a:pt x="492" y="614"/>
                    </a:lnTo>
                    <a:lnTo>
                      <a:pt x="505" y="608"/>
                    </a:lnTo>
                    <a:lnTo>
                      <a:pt x="529" y="592"/>
                    </a:lnTo>
                    <a:lnTo>
                      <a:pt x="538" y="584"/>
                    </a:lnTo>
                    <a:lnTo>
                      <a:pt x="546" y="590"/>
                    </a:lnTo>
                    <a:lnTo>
                      <a:pt x="561" y="602"/>
                    </a:lnTo>
                    <a:lnTo>
                      <a:pt x="576" y="610"/>
                    </a:lnTo>
                    <a:lnTo>
                      <a:pt x="579" y="611"/>
                    </a:lnTo>
                    <a:lnTo>
                      <a:pt x="610" y="580"/>
                    </a:lnTo>
                    <a:lnTo>
                      <a:pt x="609" y="577"/>
                    </a:lnTo>
                    <a:lnTo>
                      <a:pt x="601" y="562"/>
                    </a:lnTo>
                    <a:lnTo>
                      <a:pt x="589" y="547"/>
                    </a:lnTo>
                    <a:lnTo>
                      <a:pt x="583" y="539"/>
                    </a:lnTo>
                    <a:lnTo>
                      <a:pt x="591" y="530"/>
                    </a:lnTo>
                    <a:lnTo>
                      <a:pt x="607" y="506"/>
                    </a:lnTo>
                    <a:lnTo>
                      <a:pt x="613" y="493"/>
                    </a:lnTo>
                    <a:lnTo>
                      <a:pt x="622" y="497"/>
                    </a:lnTo>
                    <a:lnTo>
                      <a:pt x="640" y="502"/>
                    </a:lnTo>
                    <a:lnTo>
                      <a:pt x="660" y="503"/>
                    </a:lnTo>
                    <a:lnTo>
                      <a:pt x="661" y="503"/>
                    </a:lnTo>
                    <a:lnTo>
                      <a:pt x="679" y="461"/>
                    </a:lnTo>
                    <a:lnTo>
                      <a:pt x="676" y="460"/>
                    </a:lnTo>
                    <a:lnTo>
                      <a:pt x="663" y="448"/>
                    </a:lnTo>
                    <a:lnTo>
                      <a:pt x="646" y="439"/>
                    </a:lnTo>
                    <a:lnTo>
                      <a:pt x="637" y="435"/>
                    </a:lnTo>
                    <a:lnTo>
                      <a:pt x="642" y="424"/>
                    </a:lnTo>
                    <a:lnTo>
                      <a:pt x="648" y="396"/>
                    </a:lnTo>
                    <a:lnTo>
                      <a:pt x="649" y="381"/>
                    </a:lnTo>
                    <a:lnTo>
                      <a:pt x="658" y="381"/>
                    </a:lnTo>
                    <a:lnTo>
                      <a:pt x="676" y="378"/>
                    </a:lnTo>
                    <a:lnTo>
                      <a:pt x="694" y="372"/>
                    </a:lnTo>
                    <a:lnTo>
                      <a:pt x="697" y="372"/>
                    </a:lnTo>
                    <a:lnTo>
                      <a:pt x="697" y="327"/>
                    </a:lnTo>
                    <a:lnTo>
                      <a:pt x="694" y="325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47" name="Oval 12">
                <a:extLst>
                  <a:ext uri="{FF2B5EF4-FFF2-40B4-BE49-F238E27FC236}">
                    <a16:creationId xmlns:a16="http://schemas.microsoft.com/office/drawing/2014/main" id="{BB89BB32-0A1A-41AC-B3E1-12A9F234C0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1951" y="3339439"/>
                <a:ext cx="502484" cy="50248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5"/>
                  </a:solidFill>
                  <a:cs typeface="Arial" charset="0"/>
                </a:endParaRPr>
              </a:p>
            </p:txBody>
          </p:sp>
        </p:grpSp>
        <p:grpSp>
          <p:nvGrpSpPr>
            <p:cNvPr id="28" name="Gruppierung 147">
              <a:extLst>
                <a:ext uri="{FF2B5EF4-FFF2-40B4-BE49-F238E27FC236}">
                  <a16:creationId xmlns:a16="http://schemas.microsoft.com/office/drawing/2014/main" id="{C101A50D-F8A4-4ECE-9817-43D51AF4251D}"/>
                </a:ext>
              </a:extLst>
            </p:cNvPr>
            <p:cNvGrpSpPr/>
            <p:nvPr/>
          </p:nvGrpSpPr>
          <p:grpSpPr>
            <a:xfrm>
              <a:off x="4503804" y="3268714"/>
              <a:ext cx="824815" cy="825997"/>
              <a:chOff x="5038607" y="3758763"/>
              <a:chExt cx="918913" cy="920230"/>
            </a:xfrm>
          </p:grpSpPr>
          <p:sp>
            <p:nvSpPr>
              <p:cNvPr id="44" name="Freeform 5">
                <a:extLst>
                  <a:ext uri="{FF2B5EF4-FFF2-40B4-BE49-F238E27FC236}">
                    <a16:creationId xmlns:a16="http://schemas.microsoft.com/office/drawing/2014/main" id="{C01028D0-7240-4B1F-9DD5-3B36970250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8607" y="3758763"/>
                <a:ext cx="918913" cy="920230"/>
              </a:xfrm>
              <a:custGeom>
                <a:avLst/>
                <a:gdLst>
                  <a:gd name="T0" fmla="*/ 649 w 697"/>
                  <a:gd name="T1" fmla="*/ 318 h 698"/>
                  <a:gd name="T2" fmla="*/ 646 w 697"/>
                  <a:gd name="T3" fmla="*/ 259 h 698"/>
                  <a:gd name="T4" fmla="*/ 661 w 697"/>
                  <a:gd name="T5" fmla="*/ 195 h 698"/>
                  <a:gd name="T6" fmla="*/ 613 w 697"/>
                  <a:gd name="T7" fmla="*/ 204 h 698"/>
                  <a:gd name="T8" fmla="*/ 589 w 697"/>
                  <a:gd name="T9" fmla="*/ 152 h 698"/>
                  <a:gd name="T10" fmla="*/ 579 w 697"/>
                  <a:gd name="T11" fmla="*/ 87 h 698"/>
                  <a:gd name="T12" fmla="*/ 538 w 697"/>
                  <a:gd name="T13" fmla="*/ 114 h 698"/>
                  <a:gd name="T14" fmla="*/ 495 w 697"/>
                  <a:gd name="T15" fmla="*/ 74 h 698"/>
                  <a:gd name="T16" fmla="*/ 461 w 697"/>
                  <a:gd name="T17" fmla="*/ 18 h 698"/>
                  <a:gd name="T18" fmla="*/ 434 w 697"/>
                  <a:gd name="T19" fmla="*/ 59 h 698"/>
                  <a:gd name="T20" fmla="*/ 380 w 697"/>
                  <a:gd name="T21" fmla="*/ 38 h 698"/>
                  <a:gd name="T22" fmla="*/ 326 w 697"/>
                  <a:gd name="T23" fmla="*/ 0 h 698"/>
                  <a:gd name="T24" fmla="*/ 315 w 697"/>
                  <a:gd name="T25" fmla="*/ 48 h 698"/>
                  <a:gd name="T26" fmla="*/ 259 w 697"/>
                  <a:gd name="T27" fmla="*/ 50 h 698"/>
                  <a:gd name="T28" fmla="*/ 194 w 697"/>
                  <a:gd name="T29" fmla="*/ 35 h 698"/>
                  <a:gd name="T30" fmla="*/ 203 w 697"/>
                  <a:gd name="T31" fmla="*/ 83 h 698"/>
                  <a:gd name="T32" fmla="*/ 151 w 697"/>
                  <a:gd name="T33" fmla="*/ 107 h 698"/>
                  <a:gd name="T34" fmla="*/ 86 w 697"/>
                  <a:gd name="T35" fmla="*/ 119 h 698"/>
                  <a:gd name="T36" fmla="*/ 113 w 697"/>
                  <a:gd name="T37" fmla="*/ 159 h 698"/>
                  <a:gd name="T38" fmla="*/ 73 w 697"/>
                  <a:gd name="T39" fmla="*/ 201 h 698"/>
                  <a:gd name="T40" fmla="*/ 18 w 697"/>
                  <a:gd name="T41" fmla="*/ 235 h 698"/>
                  <a:gd name="T42" fmla="*/ 58 w 697"/>
                  <a:gd name="T43" fmla="*/ 262 h 698"/>
                  <a:gd name="T44" fmla="*/ 37 w 697"/>
                  <a:gd name="T45" fmla="*/ 318 h 698"/>
                  <a:gd name="T46" fmla="*/ 0 w 697"/>
                  <a:gd name="T47" fmla="*/ 372 h 698"/>
                  <a:gd name="T48" fmla="*/ 47 w 697"/>
                  <a:gd name="T49" fmla="*/ 381 h 698"/>
                  <a:gd name="T50" fmla="*/ 49 w 697"/>
                  <a:gd name="T51" fmla="*/ 439 h 698"/>
                  <a:gd name="T52" fmla="*/ 34 w 697"/>
                  <a:gd name="T53" fmla="*/ 503 h 698"/>
                  <a:gd name="T54" fmla="*/ 82 w 697"/>
                  <a:gd name="T55" fmla="*/ 493 h 698"/>
                  <a:gd name="T56" fmla="*/ 106 w 697"/>
                  <a:gd name="T57" fmla="*/ 547 h 698"/>
                  <a:gd name="T58" fmla="*/ 118 w 697"/>
                  <a:gd name="T59" fmla="*/ 611 h 698"/>
                  <a:gd name="T60" fmla="*/ 158 w 697"/>
                  <a:gd name="T61" fmla="*/ 584 h 698"/>
                  <a:gd name="T62" fmla="*/ 200 w 697"/>
                  <a:gd name="T63" fmla="*/ 623 h 698"/>
                  <a:gd name="T64" fmla="*/ 235 w 697"/>
                  <a:gd name="T65" fmla="*/ 680 h 698"/>
                  <a:gd name="T66" fmla="*/ 261 w 697"/>
                  <a:gd name="T67" fmla="*/ 640 h 698"/>
                  <a:gd name="T68" fmla="*/ 317 w 697"/>
                  <a:gd name="T69" fmla="*/ 659 h 698"/>
                  <a:gd name="T70" fmla="*/ 369 w 697"/>
                  <a:gd name="T71" fmla="*/ 698 h 698"/>
                  <a:gd name="T72" fmla="*/ 380 w 697"/>
                  <a:gd name="T73" fmla="*/ 650 h 698"/>
                  <a:gd name="T74" fmla="*/ 438 w 697"/>
                  <a:gd name="T75" fmla="*/ 649 h 698"/>
                  <a:gd name="T76" fmla="*/ 502 w 697"/>
                  <a:gd name="T77" fmla="*/ 662 h 698"/>
                  <a:gd name="T78" fmla="*/ 492 w 697"/>
                  <a:gd name="T79" fmla="*/ 614 h 698"/>
                  <a:gd name="T80" fmla="*/ 546 w 697"/>
                  <a:gd name="T81" fmla="*/ 590 h 698"/>
                  <a:gd name="T82" fmla="*/ 610 w 697"/>
                  <a:gd name="T83" fmla="*/ 580 h 698"/>
                  <a:gd name="T84" fmla="*/ 583 w 697"/>
                  <a:gd name="T85" fmla="*/ 539 h 698"/>
                  <a:gd name="T86" fmla="*/ 622 w 697"/>
                  <a:gd name="T87" fmla="*/ 497 h 698"/>
                  <a:gd name="T88" fmla="*/ 679 w 697"/>
                  <a:gd name="T89" fmla="*/ 461 h 698"/>
                  <a:gd name="T90" fmla="*/ 637 w 697"/>
                  <a:gd name="T91" fmla="*/ 435 h 698"/>
                  <a:gd name="T92" fmla="*/ 658 w 697"/>
                  <a:gd name="T93" fmla="*/ 381 h 698"/>
                  <a:gd name="T94" fmla="*/ 697 w 697"/>
                  <a:gd name="T95" fmla="*/ 327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7" h="698">
                    <a:moveTo>
                      <a:pt x="694" y="325"/>
                    </a:moveTo>
                    <a:lnTo>
                      <a:pt x="676" y="321"/>
                    </a:lnTo>
                    <a:lnTo>
                      <a:pt x="658" y="318"/>
                    </a:lnTo>
                    <a:lnTo>
                      <a:pt x="649" y="318"/>
                    </a:lnTo>
                    <a:lnTo>
                      <a:pt x="648" y="303"/>
                    </a:lnTo>
                    <a:lnTo>
                      <a:pt x="642" y="273"/>
                    </a:lnTo>
                    <a:lnTo>
                      <a:pt x="637" y="262"/>
                    </a:lnTo>
                    <a:lnTo>
                      <a:pt x="646" y="259"/>
                    </a:lnTo>
                    <a:lnTo>
                      <a:pt x="663" y="249"/>
                    </a:lnTo>
                    <a:lnTo>
                      <a:pt x="676" y="238"/>
                    </a:lnTo>
                    <a:lnTo>
                      <a:pt x="679" y="235"/>
                    </a:lnTo>
                    <a:lnTo>
                      <a:pt x="661" y="195"/>
                    </a:lnTo>
                    <a:lnTo>
                      <a:pt x="660" y="195"/>
                    </a:lnTo>
                    <a:lnTo>
                      <a:pt x="640" y="197"/>
                    </a:lnTo>
                    <a:lnTo>
                      <a:pt x="622" y="201"/>
                    </a:lnTo>
                    <a:lnTo>
                      <a:pt x="613" y="204"/>
                    </a:lnTo>
                    <a:lnTo>
                      <a:pt x="607" y="192"/>
                    </a:lnTo>
                    <a:lnTo>
                      <a:pt x="591" y="168"/>
                    </a:lnTo>
                    <a:lnTo>
                      <a:pt x="583" y="159"/>
                    </a:lnTo>
                    <a:lnTo>
                      <a:pt x="589" y="152"/>
                    </a:lnTo>
                    <a:lnTo>
                      <a:pt x="601" y="137"/>
                    </a:lnTo>
                    <a:lnTo>
                      <a:pt x="609" y="120"/>
                    </a:lnTo>
                    <a:lnTo>
                      <a:pt x="610" y="119"/>
                    </a:lnTo>
                    <a:lnTo>
                      <a:pt x="579" y="87"/>
                    </a:lnTo>
                    <a:lnTo>
                      <a:pt x="576" y="87"/>
                    </a:lnTo>
                    <a:lnTo>
                      <a:pt x="559" y="96"/>
                    </a:lnTo>
                    <a:lnTo>
                      <a:pt x="546" y="107"/>
                    </a:lnTo>
                    <a:lnTo>
                      <a:pt x="538" y="114"/>
                    </a:lnTo>
                    <a:lnTo>
                      <a:pt x="529" y="107"/>
                    </a:lnTo>
                    <a:lnTo>
                      <a:pt x="505" y="90"/>
                    </a:lnTo>
                    <a:lnTo>
                      <a:pt x="492" y="83"/>
                    </a:lnTo>
                    <a:lnTo>
                      <a:pt x="495" y="74"/>
                    </a:lnTo>
                    <a:lnTo>
                      <a:pt x="499" y="56"/>
                    </a:lnTo>
                    <a:lnTo>
                      <a:pt x="502" y="38"/>
                    </a:lnTo>
                    <a:lnTo>
                      <a:pt x="502" y="35"/>
                    </a:lnTo>
                    <a:lnTo>
                      <a:pt x="461" y="18"/>
                    </a:lnTo>
                    <a:lnTo>
                      <a:pt x="459" y="20"/>
                    </a:lnTo>
                    <a:lnTo>
                      <a:pt x="447" y="33"/>
                    </a:lnTo>
                    <a:lnTo>
                      <a:pt x="438" y="50"/>
                    </a:lnTo>
                    <a:lnTo>
                      <a:pt x="434" y="59"/>
                    </a:lnTo>
                    <a:lnTo>
                      <a:pt x="423" y="56"/>
                    </a:lnTo>
                    <a:lnTo>
                      <a:pt x="393" y="50"/>
                    </a:lnTo>
                    <a:lnTo>
                      <a:pt x="380" y="48"/>
                    </a:lnTo>
                    <a:lnTo>
                      <a:pt x="380" y="38"/>
                    </a:lnTo>
                    <a:lnTo>
                      <a:pt x="377" y="20"/>
                    </a:lnTo>
                    <a:lnTo>
                      <a:pt x="371" y="2"/>
                    </a:lnTo>
                    <a:lnTo>
                      <a:pt x="369" y="0"/>
                    </a:lnTo>
                    <a:lnTo>
                      <a:pt x="326" y="0"/>
                    </a:lnTo>
                    <a:lnTo>
                      <a:pt x="324" y="2"/>
                    </a:lnTo>
                    <a:lnTo>
                      <a:pt x="320" y="20"/>
                    </a:lnTo>
                    <a:lnTo>
                      <a:pt x="317" y="38"/>
                    </a:lnTo>
                    <a:lnTo>
                      <a:pt x="315" y="48"/>
                    </a:lnTo>
                    <a:lnTo>
                      <a:pt x="302" y="50"/>
                    </a:lnTo>
                    <a:lnTo>
                      <a:pt x="272" y="56"/>
                    </a:lnTo>
                    <a:lnTo>
                      <a:pt x="261" y="59"/>
                    </a:lnTo>
                    <a:lnTo>
                      <a:pt x="259" y="50"/>
                    </a:lnTo>
                    <a:lnTo>
                      <a:pt x="248" y="33"/>
                    </a:lnTo>
                    <a:lnTo>
                      <a:pt x="236" y="20"/>
                    </a:lnTo>
                    <a:lnTo>
                      <a:pt x="235" y="18"/>
                    </a:lnTo>
                    <a:lnTo>
                      <a:pt x="194" y="35"/>
                    </a:lnTo>
                    <a:lnTo>
                      <a:pt x="194" y="38"/>
                    </a:lnTo>
                    <a:lnTo>
                      <a:pt x="196" y="56"/>
                    </a:lnTo>
                    <a:lnTo>
                      <a:pt x="200" y="74"/>
                    </a:lnTo>
                    <a:lnTo>
                      <a:pt x="203" y="83"/>
                    </a:lnTo>
                    <a:lnTo>
                      <a:pt x="191" y="90"/>
                    </a:lnTo>
                    <a:lnTo>
                      <a:pt x="167" y="107"/>
                    </a:lnTo>
                    <a:lnTo>
                      <a:pt x="157" y="114"/>
                    </a:lnTo>
                    <a:lnTo>
                      <a:pt x="151" y="107"/>
                    </a:lnTo>
                    <a:lnTo>
                      <a:pt x="136" y="96"/>
                    </a:lnTo>
                    <a:lnTo>
                      <a:pt x="119" y="87"/>
                    </a:lnTo>
                    <a:lnTo>
                      <a:pt x="116" y="87"/>
                    </a:lnTo>
                    <a:lnTo>
                      <a:pt x="86" y="119"/>
                    </a:lnTo>
                    <a:lnTo>
                      <a:pt x="86" y="120"/>
                    </a:lnTo>
                    <a:lnTo>
                      <a:pt x="95" y="137"/>
                    </a:lnTo>
                    <a:lnTo>
                      <a:pt x="106" y="152"/>
                    </a:lnTo>
                    <a:lnTo>
                      <a:pt x="113" y="159"/>
                    </a:lnTo>
                    <a:lnTo>
                      <a:pt x="104" y="168"/>
                    </a:lnTo>
                    <a:lnTo>
                      <a:pt x="89" y="192"/>
                    </a:lnTo>
                    <a:lnTo>
                      <a:pt x="82" y="204"/>
                    </a:lnTo>
                    <a:lnTo>
                      <a:pt x="73" y="201"/>
                    </a:lnTo>
                    <a:lnTo>
                      <a:pt x="55" y="197"/>
                    </a:lnTo>
                    <a:lnTo>
                      <a:pt x="37" y="195"/>
                    </a:lnTo>
                    <a:lnTo>
                      <a:pt x="34" y="195"/>
                    </a:lnTo>
                    <a:lnTo>
                      <a:pt x="18" y="235"/>
                    </a:lnTo>
                    <a:lnTo>
                      <a:pt x="19" y="238"/>
                    </a:lnTo>
                    <a:lnTo>
                      <a:pt x="33" y="249"/>
                    </a:lnTo>
                    <a:lnTo>
                      <a:pt x="49" y="259"/>
                    </a:lnTo>
                    <a:lnTo>
                      <a:pt x="58" y="262"/>
                    </a:lnTo>
                    <a:lnTo>
                      <a:pt x="55" y="273"/>
                    </a:lnTo>
                    <a:lnTo>
                      <a:pt x="49" y="303"/>
                    </a:lnTo>
                    <a:lnTo>
                      <a:pt x="47" y="318"/>
                    </a:lnTo>
                    <a:lnTo>
                      <a:pt x="37" y="318"/>
                    </a:lnTo>
                    <a:lnTo>
                      <a:pt x="19" y="321"/>
                    </a:lnTo>
                    <a:lnTo>
                      <a:pt x="1" y="325"/>
                    </a:lnTo>
                    <a:lnTo>
                      <a:pt x="0" y="327"/>
                    </a:lnTo>
                    <a:lnTo>
                      <a:pt x="0" y="372"/>
                    </a:lnTo>
                    <a:lnTo>
                      <a:pt x="1" y="372"/>
                    </a:lnTo>
                    <a:lnTo>
                      <a:pt x="19" y="378"/>
                    </a:lnTo>
                    <a:lnTo>
                      <a:pt x="37" y="381"/>
                    </a:lnTo>
                    <a:lnTo>
                      <a:pt x="47" y="381"/>
                    </a:lnTo>
                    <a:lnTo>
                      <a:pt x="49" y="396"/>
                    </a:lnTo>
                    <a:lnTo>
                      <a:pt x="55" y="424"/>
                    </a:lnTo>
                    <a:lnTo>
                      <a:pt x="58" y="435"/>
                    </a:lnTo>
                    <a:lnTo>
                      <a:pt x="49" y="439"/>
                    </a:lnTo>
                    <a:lnTo>
                      <a:pt x="33" y="448"/>
                    </a:lnTo>
                    <a:lnTo>
                      <a:pt x="19" y="460"/>
                    </a:lnTo>
                    <a:lnTo>
                      <a:pt x="18" y="461"/>
                    </a:lnTo>
                    <a:lnTo>
                      <a:pt x="34" y="503"/>
                    </a:lnTo>
                    <a:lnTo>
                      <a:pt x="37" y="503"/>
                    </a:lnTo>
                    <a:lnTo>
                      <a:pt x="55" y="502"/>
                    </a:lnTo>
                    <a:lnTo>
                      <a:pt x="73" y="497"/>
                    </a:lnTo>
                    <a:lnTo>
                      <a:pt x="82" y="493"/>
                    </a:lnTo>
                    <a:lnTo>
                      <a:pt x="89" y="506"/>
                    </a:lnTo>
                    <a:lnTo>
                      <a:pt x="104" y="530"/>
                    </a:lnTo>
                    <a:lnTo>
                      <a:pt x="113" y="539"/>
                    </a:lnTo>
                    <a:lnTo>
                      <a:pt x="106" y="547"/>
                    </a:lnTo>
                    <a:lnTo>
                      <a:pt x="95" y="562"/>
                    </a:lnTo>
                    <a:lnTo>
                      <a:pt x="86" y="577"/>
                    </a:lnTo>
                    <a:lnTo>
                      <a:pt x="86" y="580"/>
                    </a:lnTo>
                    <a:lnTo>
                      <a:pt x="118" y="611"/>
                    </a:lnTo>
                    <a:lnTo>
                      <a:pt x="119" y="611"/>
                    </a:lnTo>
                    <a:lnTo>
                      <a:pt x="136" y="602"/>
                    </a:lnTo>
                    <a:lnTo>
                      <a:pt x="151" y="590"/>
                    </a:lnTo>
                    <a:lnTo>
                      <a:pt x="158" y="584"/>
                    </a:lnTo>
                    <a:lnTo>
                      <a:pt x="167" y="592"/>
                    </a:lnTo>
                    <a:lnTo>
                      <a:pt x="191" y="608"/>
                    </a:lnTo>
                    <a:lnTo>
                      <a:pt x="203" y="614"/>
                    </a:lnTo>
                    <a:lnTo>
                      <a:pt x="200" y="623"/>
                    </a:lnTo>
                    <a:lnTo>
                      <a:pt x="196" y="641"/>
                    </a:lnTo>
                    <a:lnTo>
                      <a:pt x="194" y="661"/>
                    </a:lnTo>
                    <a:lnTo>
                      <a:pt x="194" y="662"/>
                    </a:lnTo>
                    <a:lnTo>
                      <a:pt x="235" y="680"/>
                    </a:lnTo>
                    <a:lnTo>
                      <a:pt x="236" y="679"/>
                    </a:lnTo>
                    <a:lnTo>
                      <a:pt x="248" y="664"/>
                    </a:lnTo>
                    <a:lnTo>
                      <a:pt x="259" y="649"/>
                    </a:lnTo>
                    <a:lnTo>
                      <a:pt x="261" y="640"/>
                    </a:lnTo>
                    <a:lnTo>
                      <a:pt x="272" y="643"/>
                    </a:lnTo>
                    <a:lnTo>
                      <a:pt x="302" y="649"/>
                    </a:lnTo>
                    <a:lnTo>
                      <a:pt x="315" y="650"/>
                    </a:lnTo>
                    <a:lnTo>
                      <a:pt x="317" y="659"/>
                    </a:lnTo>
                    <a:lnTo>
                      <a:pt x="320" y="679"/>
                    </a:lnTo>
                    <a:lnTo>
                      <a:pt x="324" y="695"/>
                    </a:lnTo>
                    <a:lnTo>
                      <a:pt x="326" y="698"/>
                    </a:lnTo>
                    <a:lnTo>
                      <a:pt x="369" y="698"/>
                    </a:lnTo>
                    <a:lnTo>
                      <a:pt x="371" y="695"/>
                    </a:lnTo>
                    <a:lnTo>
                      <a:pt x="377" y="679"/>
                    </a:lnTo>
                    <a:lnTo>
                      <a:pt x="380" y="659"/>
                    </a:lnTo>
                    <a:lnTo>
                      <a:pt x="380" y="650"/>
                    </a:lnTo>
                    <a:lnTo>
                      <a:pt x="393" y="649"/>
                    </a:lnTo>
                    <a:lnTo>
                      <a:pt x="423" y="643"/>
                    </a:lnTo>
                    <a:lnTo>
                      <a:pt x="434" y="640"/>
                    </a:lnTo>
                    <a:lnTo>
                      <a:pt x="438" y="649"/>
                    </a:lnTo>
                    <a:lnTo>
                      <a:pt x="447" y="664"/>
                    </a:lnTo>
                    <a:lnTo>
                      <a:pt x="459" y="679"/>
                    </a:lnTo>
                    <a:lnTo>
                      <a:pt x="461" y="680"/>
                    </a:lnTo>
                    <a:lnTo>
                      <a:pt x="502" y="662"/>
                    </a:lnTo>
                    <a:lnTo>
                      <a:pt x="502" y="661"/>
                    </a:lnTo>
                    <a:lnTo>
                      <a:pt x="499" y="641"/>
                    </a:lnTo>
                    <a:lnTo>
                      <a:pt x="495" y="623"/>
                    </a:lnTo>
                    <a:lnTo>
                      <a:pt x="492" y="614"/>
                    </a:lnTo>
                    <a:lnTo>
                      <a:pt x="505" y="608"/>
                    </a:lnTo>
                    <a:lnTo>
                      <a:pt x="529" y="592"/>
                    </a:lnTo>
                    <a:lnTo>
                      <a:pt x="538" y="584"/>
                    </a:lnTo>
                    <a:lnTo>
                      <a:pt x="546" y="590"/>
                    </a:lnTo>
                    <a:lnTo>
                      <a:pt x="561" y="602"/>
                    </a:lnTo>
                    <a:lnTo>
                      <a:pt x="576" y="610"/>
                    </a:lnTo>
                    <a:lnTo>
                      <a:pt x="579" y="611"/>
                    </a:lnTo>
                    <a:lnTo>
                      <a:pt x="610" y="580"/>
                    </a:lnTo>
                    <a:lnTo>
                      <a:pt x="609" y="577"/>
                    </a:lnTo>
                    <a:lnTo>
                      <a:pt x="601" y="562"/>
                    </a:lnTo>
                    <a:lnTo>
                      <a:pt x="589" y="547"/>
                    </a:lnTo>
                    <a:lnTo>
                      <a:pt x="583" y="539"/>
                    </a:lnTo>
                    <a:lnTo>
                      <a:pt x="591" y="530"/>
                    </a:lnTo>
                    <a:lnTo>
                      <a:pt x="607" y="506"/>
                    </a:lnTo>
                    <a:lnTo>
                      <a:pt x="613" y="493"/>
                    </a:lnTo>
                    <a:lnTo>
                      <a:pt x="622" y="497"/>
                    </a:lnTo>
                    <a:lnTo>
                      <a:pt x="640" y="502"/>
                    </a:lnTo>
                    <a:lnTo>
                      <a:pt x="660" y="503"/>
                    </a:lnTo>
                    <a:lnTo>
                      <a:pt x="661" y="503"/>
                    </a:lnTo>
                    <a:lnTo>
                      <a:pt x="679" y="461"/>
                    </a:lnTo>
                    <a:lnTo>
                      <a:pt x="676" y="460"/>
                    </a:lnTo>
                    <a:lnTo>
                      <a:pt x="663" y="448"/>
                    </a:lnTo>
                    <a:lnTo>
                      <a:pt x="646" y="439"/>
                    </a:lnTo>
                    <a:lnTo>
                      <a:pt x="637" y="435"/>
                    </a:lnTo>
                    <a:lnTo>
                      <a:pt x="642" y="424"/>
                    </a:lnTo>
                    <a:lnTo>
                      <a:pt x="648" y="396"/>
                    </a:lnTo>
                    <a:lnTo>
                      <a:pt x="649" y="381"/>
                    </a:lnTo>
                    <a:lnTo>
                      <a:pt x="658" y="381"/>
                    </a:lnTo>
                    <a:lnTo>
                      <a:pt x="676" y="378"/>
                    </a:lnTo>
                    <a:lnTo>
                      <a:pt x="694" y="372"/>
                    </a:lnTo>
                    <a:lnTo>
                      <a:pt x="697" y="372"/>
                    </a:lnTo>
                    <a:lnTo>
                      <a:pt x="697" y="327"/>
                    </a:lnTo>
                    <a:lnTo>
                      <a:pt x="694" y="32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45" name="Oval 12">
                <a:extLst>
                  <a:ext uri="{FF2B5EF4-FFF2-40B4-BE49-F238E27FC236}">
                    <a16:creationId xmlns:a16="http://schemas.microsoft.com/office/drawing/2014/main" id="{478DE0DA-1155-4D2C-A420-44643094B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46821" y="3967637"/>
                <a:ext cx="502484" cy="50248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1"/>
                  </a:solidFill>
                  <a:cs typeface="Arial" charset="0"/>
                </a:endParaRPr>
              </a:p>
            </p:txBody>
          </p:sp>
        </p:grpSp>
        <p:grpSp>
          <p:nvGrpSpPr>
            <p:cNvPr id="29" name="Gruppierung 152">
              <a:extLst>
                <a:ext uri="{FF2B5EF4-FFF2-40B4-BE49-F238E27FC236}">
                  <a16:creationId xmlns:a16="http://schemas.microsoft.com/office/drawing/2014/main" id="{D33F5E08-EDD9-43C9-ADCD-802EE189EF08}"/>
                </a:ext>
              </a:extLst>
            </p:cNvPr>
            <p:cNvGrpSpPr/>
            <p:nvPr/>
          </p:nvGrpSpPr>
          <p:grpSpPr>
            <a:xfrm>
              <a:off x="3288992" y="3306098"/>
              <a:ext cx="752272" cy="751231"/>
              <a:chOff x="3685205" y="3800412"/>
              <a:chExt cx="838094" cy="836934"/>
            </a:xfrm>
          </p:grpSpPr>
          <p:sp>
            <p:nvSpPr>
              <p:cNvPr id="42" name="Freeform 20">
                <a:extLst>
                  <a:ext uri="{FF2B5EF4-FFF2-40B4-BE49-F238E27FC236}">
                    <a16:creationId xmlns:a16="http://schemas.microsoft.com/office/drawing/2014/main" id="{5F431E0F-C309-45D7-A114-EBEB9546C8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85205" y="3800412"/>
                <a:ext cx="838094" cy="836934"/>
              </a:xfrm>
              <a:custGeom>
                <a:avLst/>
                <a:gdLst>
                  <a:gd name="T0" fmla="*/ 701 w 722"/>
                  <a:gd name="T1" fmla="*/ 344 h 721"/>
                  <a:gd name="T2" fmla="*/ 718 w 722"/>
                  <a:gd name="T3" fmla="*/ 300 h 721"/>
                  <a:gd name="T4" fmla="*/ 667 w 722"/>
                  <a:gd name="T5" fmla="*/ 263 h 721"/>
                  <a:gd name="T6" fmla="*/ 673 w 722"/>
                  <a:gd name="T7" fmla="*/ 223 h 721"/>
                  <a:gd name="T8" fmla="*/ 671 w 722"/>
                  <a:gd name="T9" fmla="*/ 176 h 721"/>
                  <a:gd name="T10" fmla="*/ 611 w 722"/>
                  <a:gd name="T11" fmla="*/ 158 h 721"/>
                  <a:gd name="T12" fmla="*/ 602 w 722"/>
                  <a:gd name="T13" fmla="*/ 118 h 721"/>
                  <a:gd name="T14" fmla="*/ 585 w 722"/>
                  <a:gd name="T15" fmla="*/ 76 h 721"/>
                  <a:gd name="T16" fmla="*/ 522 w 722"/>
                  <a:gd name="T17" fmla="*/ 82 h 721"/>
                  <a:gd name="T18" fmla="*/ 499 w 722"/>
                  <a:gd name="T19" fmla="*/ 47 h 721"/>
                  <a:gd name="T20" fmla="*/ 466 w 722"/>
                  <a:gd name="T21" fmla="*/ 15 h 721"/>
                  <a:gd name="T22" fmla="*/ 410 w 722"/>
                  <a:gd name="T23" fmla="*/ 41 h 721"/>
                  <a:gd name="T24" fmla="*/ 377 w 722"/>
                  <a:gd name="T25" fmla="*/ 19 h 721"/>
                  <a:gd name="T26" fmla="*/ 335 w 722"/>
                  <a:gd name="T27" fmla="*/ 0 h 721"/>
                  <a:gd name="T28" fmla="*/ 292 w 722"/>
                  <a:gd name="T29" fmla="*/ 46 h 721"/>
                  <a:gd name="T30" fmla="*/ 253 w 722"/>
                  <a:gd name="T31" fmla="*/ 35 h 721"/>
                  <a:gd name="T32" fmla="*/ 206 w 722"/>
                  <a:gd name="T33" fmla="*/ 32 h 721"/>
                  <a:gd name="T34" fmla="*/ 184 w 722"/>
                  <a:gd name="T35" fmla="*/ 92 h 721"/>
                  <a:gd name="T36" fmla="*/ 142 w 722"/>
                  <a:gd name="T37" fmla="*/ 97 h 721"/>
                  <a:gd name="T38" fmla="*/ 99 w 722"/>
                  <a:gd name="T39" fmla="*/ 110 h 721"/>
                  <a:gd name="T40" fmla="*/ 99 w 722"/>
                  <a:gd name="T41" fmla="*/ 175 h 721"/>
                  <a:gd name="T42" fmla="*/ 63 w 722"/>
                  <a:gd name="T43" fmla="*/ 194 h 721"/>
                  <a:gd name="T44" fmla="*/ 27 w 722"/>
                  <a:gd name="T45" fmla="*/ 223 h 721"/>
                  <a:gd name="T46" fmla="*/ 49 w 722"/>
                  <a:gd name="T47" fmla="*/ 281 h 721"/>
                  <a:gd name="T48" fmla="*/ 22 w 722"/>
                  <a:gd name="T49" fmla="*/ 312 h 721"/>
                  <a:gd name="T50" fmla="*/ 0 w 722"/>
                  <a:gd name="T51" fmla="*/ 353 h 721"/>
                  <a:gd name="T52" fmla="*/ 42 w 722"/>
                  <a:gd name="T53" fmla="*/ 399 h 721"/>
                  <a:gd name="T54" fmla="*/ 28 w 722"/>
                  <a:gd name="T55" fmla="*/ 438 h 721"/>
                  <a:gd name="T56" fmla="*/ 21 w 722"/>
                  <a:gd name="T57" fmla="*/ 483 h 721"/>
                  <a:gd name="T58" fmla="*/ 78 w 722"/>
                  <a:gd name="T59" fmla="*/ 513 h 721"/>
                  <a:gd name="T60" fmla="*/ 79 w 722"/>
                  <a:gd name="T61" fmla="*/ 553 h 721"/>
                  <a:gd name="T62" fmla="*/ 88 w 722"/>
                  <a:gd name="T63" fmla="*/ 598 h 721"/>
                  <a:gd name="T64" fmla="*/ 152 w 722"/>
                  <a:gd name="T65" fmla="*/ 604 h 721"/>
                  <a:gd name="T66" fmla="*/ 167 w 722"/>
                  <a:gd name="T67" fmla="*/ 642 h 721"/>
                  <a:gd name="T68" fmla="*/ 193 w 722"/>
                  <a:gd name="T69" fmla="*/ 681 h 721"/>
                  <a:gd name="T70" fmla="*/ 254 w 722"/>
                  <a:gd name="T71" fmla="*/ 664 h 721"/>
                  <a:gd name="T72" fmla="*/ 283 w 722"/>
                  <a:gd name="T73" fmla="*/ 693 h 721"/>
                  <a:gd name="T74" fmla="*/ 320 w 722"/>
                  <a:gd name="T75" fmla="*/ 720 h 721"/>
                  <a:gd name="T76" fmla="*/ 371 w 722"/>
                  <a:gd name="T77" fmla="*/ 682 h 721"/>
                  <a:gd name="T78" fmla="*/ 408 w 722"/>
                  <a:gd name="T79" fmla="*/ 699 h 721"/>
                  <a:gd name="T80" fmla="*/ 453 w 722"/>
                  <a:gd name="T81" fmla="*/ 711 h 721"/>
                  <a:gd name="T82" fmla="*/ 486 w 722"/>
                  <a:gd name="T83" fmla="*/ 657 h 721"/>
                  <a:gd name="T84" fmla="*/ 526 w 722"/>
                  <a:gd name="T85" fmla="*/ 658 h 721"/>
                  <a:gd name="T86" fmla="*/ 573 w 722"/>
                  <a:gd name="T87" fmla="*/ 654 h 721"/>
                  <a:gd name="T88" fmla="*/ 585 w 722"/>
                  <a:gd name="T89" fmla="*/ 591 h 721"/>
                  <a:gd name="T90" fmla="*/ 623 w 722"/>
                  <a:gd name="T91" fmla="*/ 579 h 721"/>
                  <a:gd name="T92" fmla="*/ 664 w 722"/>
                  <a:gd name="T93" fmla="*/ 556 h 721"/>
                  <a:gd name="T94" fmla="*/ 653 w 722"/>
                  <a:gd name="T95" fmla="*/ 495 h 721"/>
                  <a:gd name="T96" fmla="*/ 685 w 722"/>
                  <a:gd name="T97" fmla="*/ 468 h 721"/>
                  <a:gd name="T98" fmla="*/ 715 w 722"/>
                  <a:gd name="T99" fmla="*/ 434 h 721"/>
                  <a:gd name="T100" fmla="*/ 682 w 722"/>
                  <a:gd name="T101" fmla="*/ 380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22" h="721">
                    <a:moveTo>
                      <a:pt x="701" y="375"/>
                    </a:moveTo>
                    <a:lnTo>
                      <a:pt x="722" y="368"/>
                    </a:lnTo>
                    <a:lnTo>
                      <a:pt x="722" y="353"/>
                    </a:lnTo>
                    <a:lnTo>
                      <a:pt x="701" y="344"/>
                    </a:lnTo>
                    <a:lnTo>
                      <a:pt x="682" y="341"/>
                    </a:lnTo>
                    <a:lnTo>
                      <a:pt x="680" y="320"/>
                    </a:lnTo>
                    <a:lnTo>
                      <a:pt x="698" y="312"/>
                    </a:lnTo>
                    <a:lnTo>
                      <a:pt x="718" y="300"/>
                    </a:lnTo>
                    <a:lnTo>
                      <a:pt x="715" y="285"/>
                    </a:lnTo>
                    <a:lnTo>
                      <a:pt x="694" y="281"/>
                    </a:lnTo>
                    <a:lnTo>
                      <a:pt x="673" y="281"/>
                    </a:lnTo>
                    <a:lnTo>
                      <a:pt x="667" y="263"/>
                    </a:lnTo>
                    <a:lnTo>
                      <a:pt x="685" y="251"/>
                    </a:lnTo>
                    <a:lnTo>
                      <a:pt x="701" y="236"/>
                    </a:lnTo>
                    <a:lnTo>
                      <a:pt x="695" y="223"/>
                    </a:lnTo>
                    <a:lnTo>
                      <a:pt x="673" y="223"/>
                    </a:lnTo>
                    <a:lnTo>
                      <a:pt x="653" y="226"/>
                    </a:lnTo>
                    <a:lnTo>
                      <a:pt x="644" y="208"/>
                    </a:lnTo>
                    <a:lnTo>
                      <a:pt x="659" y="194"/>
                    </a:lnTo>
                    <a:lnTo>
                      <a:pt x="671" y="176"/>
                    </a:lnTo>
                    <a:lnTo>
                      <a:pt x="664" y="163"/>
                    </a:lnTo>
                    <a:lnTo>
                      <a:pt x="643" y="167"/>
                    </a:lnTo>
                    <a:lnTo>
                      <a:pt x="623" y="175"/>
                    </a:lnTo>
                    <a:lnTo>
                      <a:pt x="611" y="158"/>
                    </a:lnTo>
                    <a:lnTo>
                      <a:pt x="623" y="142"/>
                    </a:lnTo>
                    <a:lnTo>
                      <a:pt x="632" y="122"/>
                    </a:lnTo>
                    <a:lnTo>
                      <a:pt x="623" y="110"/>
                    </a:lnTo>
                    <a:lnTo>
                      <a:pt x="602" y="118"/>
                    </a:lnTo>
                    <a:lnTo>
                      <a:pt x="585" y="130"/>
                    </a:lnTo>
                    <a:lnTo>
                      <a:pt x="570" y="116"/>
                    </a:lnTo>
                    <a:lnTo>
                      <a:pt x="579" y="97"/>
                    </a:lnTo>
                    <a:lnTo>
                      <a:pt x="585" y="76"/>
                    </a:lnTo>
                    <a:lnTo>
                      <a:pt x="573" y="67"/>
                    </a:lnTo>
                    <a:lnTo>
                      <a:pt x="553" y="77"/>
                    </a:lnTo>
                    <a:lnTo>
                      <a:pt x="538" y="92"/>
                    </a:lnTo>
                    <a:lnTo>
                      <a:pt x="522" y="82"/>
                    </a:lnTo>
                    <a:lnTo>
                      <a:pt x="526" y="61"/>
                    </a:lnTo>
                    <a:lnTo>
                      <a:pt x="529" y="40"/>
                    </a:lnTo>
                    <a:lnTo>
                      <a:pt x="516" y="32"/>
                    </a:lnTo>
                    <a:lnTo>
                      <a:pt x="499" y="47"/>
                    </a:lnTo>
                    <a:lnTo>
                      <a:pt x="486" y="64"/>
                    </a:lnTo>
                    <a:lnTo>
                      <a:pt x="468" y="56"/>
                    </a:lnTo>
                    <a:lnTo>
                      <a:pt x="469" y="35"/>
                    </a:lnTo>
                    <a:lnTo>
                      <a:pt x="466" y="15"/>
                    </a:lnTo>
                    <a:lnTo>
                      <a:pt x="453" y="10"/>
                    </a:lnTo>
                    <a:lnTo>
                      <a:pt x="440" y="28"/>
                    </a:lnTo>
                    <a:lnTo>
                      <a:pt x="429" y="46"/>
                    </a:lnTo>
                    <a:lnTo>
                      <a:pt x="410" y="41"/>
                    </a:lnTo>
                    <a:lnTo>
                      <a:pt x="408" y="22"/>
                    </a:lnTo>
                    <a:lnTo>
                      <a:pt x="402" y="1"/>
                    </a:lnTo>
                    <a:lnTo>
                      <a:pt x="387" y="0"/>
                    </a:lnTo>
                    <a:lnTo>
                      <a:pt x="377" y="19"/>
                    </a:lnTo>
                    <a:lnTo>
                      <a:pt x="371" y="38"/>
                    </a:lnTo>
                    <a:lnTo>
                      <a:pt x="351" y="38"/>
                    </a:lnTo>
                    <a:lnTo>
                      <a:pt x="345" y="19"/>
                    </a:lnTo>
                    <a:lnTo>
                      <a:pt x="335" y="0"/>
                    </a:lnTo>
                    <a:lnTo>
                      <a:pt x="320" y="1"/>
                    </a:lnTo>
                    <a:lnTo>
                      <a:pt x="314" y="22"/>
                    </a:lnTo>
                    <a:lnTo>
                      <a:pt x="311" y="41"/>
                    </a:lnTo>
                    <a:lnTo>
                      <a:pt x="292" y="46"/>
                    </a:lnTo>
                    <a:lnTo>
                      <a:pt x="283" y="28"/>
                    </a:lnTo>
                    <a:lnTo>
                      <a:pt x="269" y="10"/>
                    </a:lnTo>
                    <a:lnTo>
                      <a:pt x="254" y="15"/>
                    </a:lnTo>
                    <a:lnTo>
                      <a:pt x="253" y="35"/>
                    </a:lnTo>
                    <a:lnTo>
                      <a:pt x="254" y="56"/>
                    </a:lnTo>
                    <a:lnTo>
                      <a:pt x="235" y="64"/>
                    </a:lnTo>
                    <a:lnTo>
                      <a:pt x="223" y="47"/>
                    </a:lnTo>
                    <a:lnTo>
                      <a:pt x="206" y="32"/>
                    </a:lnTo>
                    <a:lnTo>
                      <a:pt x="193" y="40"/>
                    </a:lnTo>
                    <a:lnTo>
                      <a:pt x="194" y="61"/>
                    </a:lnTo>
                    <a:lnTo>
                      <a:pt x="200" y="82"/>
                    </a:lnTo>
                    <a:lnTo>
                      <a:pt x="184" y="92"/>
                    </a:lnTo>
                    <a:lnTo>
                      <a:pt x="167" y="77"/>
                    </a:lnTo>
                    <a:lnTo>
                      <a:pt x="149" y="67"/>
                    </a:lnTo>
                    <a:lnTo>
                      <a:pt x="138" y="76"/>
                    </a:lnTo>
                    <a:lnTo>
                      <a:pt x="142" y="97"/>
                    </a:lnTo>
                    <a:lnTo>
                      <a:pt x="152" y="116"/>
                    </a:lnTo>
                    <a:lnTo>
                      <a:pt x="138" y="130"/>
                    </a:lnTo>
                    <a:lnTo>
                      <a:pt x="120" y="118"/>
                    </a:lnTo>
                    <a:lnTo>
                      <a:pt x="99" y="110"/>
                    </a:lnTo>
                    <a:lnTo>
                      <a:pt x="88" y="122"/>
                    </a:lnTo>
                    <a:lnTo>
                      <a:pt x="99" y="142"/>
                    </a:lnTo>
                    <a:lnTo>
                      <a:pt x="111" y="158"/>
                    </a:lnTo>
                    <a:lnTo>
                      <a:pt x="99" y="175"/>
                    </a:lnTo>
                    <a:lnTo>
                      <a:pt x="79" y="167"/>
                    </a:lnTo>
                    <a:lnTo>
                      <a:pt x="57" y="163"/>
                    </a:lnTo>
                    <a:lnTo>
                      <a:pt x="49" y="176"/>
                    </a:lnTo>
                    <a:lnTo>
                      <a:pt x="63" y="194"/>
                    </a:lnTo>
                    <a:lnTo>
                      <a:pt x="78" y="208"/>
                    </a:lnTo>
                    <a:lnTo>
                      <a:pt x="69" y="226"/>
                    </a:lnTo>
                    <a:lnTo>
                      <a:pt x="48" y="223"/>
                    </a:lnTo>
                    <a:lnTo>
                      <a:pt x="27" y="223"/>
                    </a:lnTo>
                    <a:lnTo>
                      <a:pt x="21" y="236"/>
                    </a:lnTo>
                    <a:lnTo>
                      <a:pt x="37" y="251"/>
                    </a:lnTo>
                    <a:lnTo>
                      <a:pt x="55" y="263"/>
                    </a:lnTo>
                    <a:lnTo>
                      <a:pt x="49" y="281"/>
                    </a:lnTo>
                    <a:lnTo>
                      <a:pt x="28" y="281"/>
                    </a:lnTo>
                    <a:lnTo>
                      <a:pt x="7" y="285"/>
                    </a:lnTo>
                    <a:lnTo>
                      <a:pt x="4" y="300"/>
                    </a:lnTo>
                    <a:lnTo>
                      <a:pt x="22" y="312"/>
                    </a:lnTo>
                    <a:lnTo>
                      <a:pt x="42" y="320"/>
                    </a:lnTo>
                    <a:lnTo>
                      <a:pt x="40" y="341"/>
                    </a:lnTo>
                    <a:lnTo>
                      <a:pt x="19" y="344"/>
                    </a:lnTo>
                    <a:lnTo>
                      <a:pt x="0" y="353"/>
                    </a:lnTo>
                    <a:lnTo>
                      <a:pt x="0" y="368"/>
                    </a:lnTo>
                    <a:lnTo>
                      <a:pt x="19" y="375"/>
                    </a:lnTo>
                    <a:lnTo>
                      <a:pt x="40" y="380"/>
                    </a:lnTo>
                    <a:lnTo>
                      <a:pt x="42" y="399"/>
                    </a:lnTo>
                    <a:lnTo>
                      <a:pt x="22" y="407"/>
                    </a:lnTo>
                    <a:lnTo>
                      <a:pt x="4" y="419"/>
                    </a:lnTo>
                    <a:lnTo>
                      <a:pt x="7" y="434"/>
                    </a:lnTo>
                    <a:lnTo>
                      <a:pt x="28" y="438"/>
                    </a:lnTo>
                    <a:lnTo>
                      <a:pt x="49" y="438"/>
                    </a:lnTo>
                    <a:lnTo>
                      <a:pt x="55" y="458"/>
                    </a:lnTo>
                    <a:lnTo>
                      <a:pt x="37" y="468"/>
                    </a:lnTo>
                    <a:lnTo>
                      <a:pt x="21" y="483"/>
                    </a:lnTo>
                    <a:lnTo>
                      <a:pt x="27" y="498"/>
                    </a:lnTo>
                    <a:lnTo>
                      <a:pt x="48" y="498"/>
                    </a:lnTo>
                    <a:lnTo>
                      <a:pt x="69" y="495"/>
                    </a:lnTo>
                    <a:lnTo>
                      <a:pt x="78" y="513"/>
                    </a:lnTo>
                    <a:lnTo>
                      <a:pt x="63" y="526"/>
                    </a:lnTo>
                    <a:lnTo>
                      <a:pt x="49" y="544"/>
                    </a:lnTo>
                    <a:lnTo>
                      <a:pt x="57" y="556"/>
                    </a:lnTo>
                    <a:lnTo>
                      <a:pt x="79" y="553"/>
                    </a:lnTo>
                    <a:lnTo>
                      <a:pt x="99" y="546"/>
                    </a:lnTo>
                    <a:lnTo>
                      <a:pt x="111" y="562"/>
                    </a:lnTo>
                    <a:lnTo>
                      <a:pt x="99" y="579"/>
                    </a:lnTo>
                    <a:lnTo>
                      <a:pt x="88" y="598"/>
                    </a:lnTo>
                    <a:lnTo>
                      <a:pt x="99" y="609"/>
                    </a:lnTo>
                    <a:lnTo>
                      <a:pt x="120" y="601"/>
                    </a:lnTo>
                    <a:lnTo>
                      <a:pt x="138" y="591"/>
                    </a:lnTo>
                    <a:lnTo>
                      <a:pt x="152" y="604"/>
                    </a:lnTo>
                    <a:lnTo>
                      <a:pt x="142" y="622"/>
                    </a:lnTo>
                    <a:lnTo>
                      <a:pt x="138" y="645"/>
                    </a:lnTo>
                    <a:lnTo>
                      <a:pt x="149" y="654"/>
                    </a:lnTo>
                    <a:lnTo>
                      <a:pt x="167" y="642"/>
                    </a:lnTo>
                    <a:lnTo>
                      <a:pt x="184" y="628"/>
                    </a:lnTo>
                    <a:lnTo>
                      <a:pt x="200" y="639"/>
                    </a:lnTo>
                    <a:lnTo>
                      <a:pt x="194" y="658"/>
                    </a:lnTo>
                    <a:lnTo>
                      <a:pt x="193" y="681"/>
                    </a:lnTo>
                    <a:lnTo>
                      <a:pt x="206" y="687"/>
                    </a:lnTo>
                    <a:lnTo>
                      <a:pt x="223" y="673"/>
                    </a:lnTo>
                    <a:lnTo>
                      <a:pt x="235" y="657"/>
                    </a:lnTo>
                    <a:lnTo>
                      <a:pt x="254" y="664"/>
                    </a:lnTo>
                    <a:lnTo>
                      <a:pt x="253" y="684"/>
                    </a:lnTo>
                    <a:lnTo>
                      <a:pt x="254" y="706"/>
                    </a:lnTo>
                    <a:lnTo>
                      <a:pt x="269" y="711"/>
                    </a:lnTo>
                    <a:lnTo>
                      <a:pt x="283" y="693"/>
                    </a:lnTo>
                    <a:lnTo>
                      <a:pt x="292" y="675"/>
                    </a:lnTo>
                    <a:lnTo>
                      <a:pt x="311" y="678"/>
                    </a:lnTo>
                    <a:lnTo>
                      <a:pt x="314" y="699"/>
                    </a:lnTo>
                    <a:lnTo>
                      <a:pt x="320" y="720"/>
                    </a:lnTo>
                    <a:lnTo>
                      <a:pt x="335" y="721"/>
                    </a:lnTo>
                    <a:lnTo>
                      <a:pt x="345" y="702"/>
                    </a:lnTo>
                    <a:lnTo>
                      <a:pt x="351" y="682"/>
                    </a:lnTo>
                    <a:lnTo>
                      <a:pt x="371" y="682"/>
                    </a:lnTo>
                    <a:lnTo>
                      <a:pt x="377" y="702"/>
                    </a:lnTo>
                    <a:lnTo>
                      <a:pt x="387" y="721"/>
                    </a:lnTo>
                    <a:lnTo>
                      <a:pt x="402" y="720"/>
                    </a:lnTo>
                    <a:lnTo>
                      <a:pt x="408" y="699"/>
                    </a:lnTo>
                    <a:lnTo>
                      <a:pt x="410" y="678"/>
                    </a:lnTo>
                    <a:lnTo>
                      <a:pt x="429" y="675"/>
                    </a:lnTo>
                    <a:lnTo>
                      <a:pt x="440" y="693"/>
                    </a:lnTo>
                    <a:lnTo>
                      <a:pt x="453" y="711"/>
                    </a:lnTo>
                    <a:lnTo>
                      <a:pt x="466" y="706"/>
                    </a:lnTo>
                    <a:lnTo>
                      <a:pt x="469" y="684"/>
                    </a:lnTo>
                    <a:lnTo>
                      <a:pt x="468" y="664"/>
                    </a:lnTo>
                    <a:lnTo>
                      <a:pt x="486" y="657"/>
                    </a:lnTo>
                    <a:lnTo>
                      <a:pt x="499" y="673"/>
                    </a:lnTo>
                    <a:lnTo>
                      <a:pt x="516" y="687"/>
                    </a:lnTo>
                    <a:lnTo>
                      <a:pt x="529" y="681"/>
                    </a:lnTo>
                    <a:lnTo>
                      <a:pt x="526" y="658"/>
                    </a:lnTo>
                    <a:lnTo>
                      <a:pt x="522" y="639"/>
                    </a:lnTo>
                    <a:lnTo>
                      <a:pt x="538" y="628"/>
                    </a:lnTo>
                    <a:lnTo>
                      <a:pt x="553" y="642"/>
                    </a:lnTo>
                    <a:lnTo>
                      <a:pt x="573" y="654"/>
                    </a:lnTo>
                    <a:lnTo>
                      <a:pt x="585" y="645"/>
                    </a:lnTo>
                    <a:lnTo>
                      <a:pt x="579" y="622"/>
                    </a:lnTo>
                    <a:lnTo>
                      <a:pt x="570" y="604"/>
                    </a:lnTo>
                    <a:lnTo>
                      <a:pt x="585" y="591"/>
                    </a:lnTo>
                    <a:lnTo>
                      <a:pt x="602" y="601"/>
                    </a:lnTo>
                    <a:lnTo>
                      <a:pt x="623" y="609"/>
                    </a:lnTo>
                    <a:lnTo>
                      <a:pt x="632" y="598"/>
                    </a:lnTo>
                    <a:lnTo>
                      <a:pt x="623" y="579"/>
                    </a:lnTo>
                    <a:lnTo>
                      <a:pt x="611" y="562"/>
                    </a:lnTo>
                    <a:lnTo>
                      <a:pt x="623" y="546"/>
                    </a:lnTo>
                    <a:lnTo>
                      <a:pt x="643" y="553"/>
                    </a:lnTo>
                    <a:lnTo>
                      <a:pt x="664" y="556"/>
                    </a:lnTo>
                    <a:lnTo>
                      <a:pt x="671" y="544"/>
                    </a:lnTo>
                    <a:lnTo>
                      <a:pt x="659" y="526"/>
                    </a:lnTo>
                    <a:lnTo>
                      <a:pt x="644" y="513"/>
                    </a:lnTo>
                    <a:lnTo>
                      <a:pt x="653" y="495"/>
                    </a:lnTo>
                    <a:lnTo>
                      <a:pt x="673" y="498"/>
                    </a:lnTo>
                    <a:lnTo>
                      <a:pt x="695" y="498"/>
                    </a:lnTo>
                    <a:lnTo>
                      <a:pt x="701" y="483"/>
                    </a:lnTo>
                    <a:lnTo>
                      <a:pt x="685" y="468"/>
                    </a:lnTo>
                    <a:lnTo>
                      <a:pt x="667" y="458"/>
                    </a:lnTo>
                    <a:lnTo>
                      <a:pt x="673" y="438"/>
                    </a:lnTo>
                    <a:lnTo>
                      <a:pt x="694" y="438"/>
                    </a:lnTo>
                    <a:lnTo>
                      <a:pt x="715" y="434"/>
                    </a:lnTo>
                    <a:lnTo>
                      <a:pt x="718" y="419"/>
                    </a:lnTo>
                    <a:lnTo>
                      <a:pt x="698" y="407"/>
                    </a:lnTo>
                    <a:lnTo>
                      <a:pt x="680" y="399"/>
                    </a:lnTo>
                    <a:lnTo>
                      <a:pt x="682" y="380"/>
                    </a:lnTo>
                    <a:lnTo>
                      <a:pt x="701" y="375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43" name="Oval 12">
                <a:extLst>
                  <a:ext uri="{FF2B5EF4-FFF2-40B4-BE49-F238E27FC236}">
                    <a16:creationId xmlns:a16="http://schemas.microsoft.com/office/drawing/2014/main" id="{F86ED337-FC62-4612-A097-DBD5FA62C0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3010" y="3967637"/>
                <a:ext cx="502484" cy="50248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4"/>
                  </a:solidFill>
                  <a:cs typeface="Arial" charset="0"/>
                </a:endParaRPr>
              </a:p>
            </p:txBody>
          </p:sp>
        </p:grpSp>
        <p:grpSp>
          <p:nvGrpSpPr>
            <p:cNvPr id="30" name="Gruppierung 150">
              <a:extLst>
                <a:ext uri="{FF2B5EF4-FFF2-40B4-BE49-F238E27FC236}">
                  <a16:creationId xmlns:a16="http://schemas.microsoft.com/office/drawing/2014/main" id="{423E8005-C8BD-41BB-B155-5527D92C2A61}"/>
                </a:ext>
              </a:extLst>
            </p:cNvPr>
            <p:cNvGrpSpPr/>
            <p:nvPr/>
          </p:nvGrpSpPr>
          <p:grpSpPr>
            <a:xfrm>
              <a:off x="5216699" y="2722137"/>
              <a:ext cx="752272" cy="751231"/>
              <a:chOff x="5832832" y="3149831"/>
              <a:chExt cx="838094" cy="836934"/>
            </a:xfrm>
          </p:grpSpPr>
          <p:sp>
            <p:nvSpPr>
              <p:cNvPr id="40" name="Freeform 20">
                <a:extLst>
                  <a:ext uri="{FF2B5EF4-FFF2-40B4-BE49-F238E27FC236}">
                    <a16:creationId xmlns:a16="http://schemas.microsoft.com/office/drawing/2014/main" id="{37028BF7-A410-488E-9550-A8F3B21870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2832" y="3149831"/>
                <a:ext cx="838094" cy="836934"/>
              </a:xfrm>
              <a:custGeom>
                <a:avLst/>
                <a:gdLst>
                  <a:gd name="T0" fmla="*/ 701 w 722"/>
                  <a:gd name="T1" fmla="*/ 344 h 721"/>
                  <a:gd name="T2" fmla="*/ 718 w 722"/>
                  <a:gd name="T3" fmla="*/ 300 h 721"/>
                  <a:gd name="T4" fmla="*/ 667 w 722"/>
                  <a:gd name="T5" fmla="*/ 263 h 721"/>
                  <a:gd name="T6" fmla="*/ 673 w 722"/>
                  <a:gd name="T7" fmla="*/ 223 h 721"/>
                  <a:gd name="T8" fmla="*/ 671 w 722"/>
                  <a:gd name="T9" fmla="*/ 176 h 721"/>
                  <a:gd name="T10" fmla="*/ 611 w 722"/>
                  <a:gd name="T11" fmla="*/ 158 h 721"/>
                  <a:gd name="T12" fmla="*/ 602 w 722"/>
                  <a:gd name="T13" fmla="*/ 118 h 721"/>
                  <a:gd name="T14" fmla="*/ 585 w 722"/>
                  <a:gd name="T15" fmla="*/ 76 h 721"/>
                  <a:gd name="T16" fmla="*/ 522 w 722"/>
                  <a:gd name="T17" fmla="*/ 82 h 721"/>
                  <a:gd name="T18" fmla="*/ 499 w 722"/>
                  <a:gd name="T19" fmla="*/ 47 h 721"/>
                  <a:gd name="T20" fmla="*/ 466 w 722"/>
                  <a:gd name="T21" fmla="*/ 15 h 721"/>
                  <a:gd name="T22" fmla="*/ 410 w 722"/>
                  <a:gd name="T23" fmla="*/ 41 h 721"/>
                  <a:gd name="T24" fmla="*/ 377 w 722"/>
                  <a:gd name="T25" fmla="*/ 19 h 721"/>
                  <a:gd name="T26" fmla="*/ 335 w 722"/>
                  <a:gd name="T27" fmla="*/ 0 h 721"/>
                  <a:gd name="T28" fmla="*/ 292 w 722"/>
                  <a:gd name="T29" fmla="*/ 46 h 721"/>
                  <a:gd name="T30" fmla="*/ 253 w 722"/>
                  <a:gd name="T31" fmla="*/ 35 h 721"/>
                  <a:gd name="T32" fmla="*/ 206 w 722"/>
                  <a:gd name="T33" fmla="*/ 32 h 721"/>
                  <a:gd name="T34" fmla="*/ 184 w 722"/>
                  <a:gd name="T35" fmla="*/ 92 h 721"/>
                  <a:gd name="T36" fmla="*/ 142 w 722"/>
                  <a:gd name="T37" fmla="*/ 97 h 721"/>
                  <a:gd name="T38" fmla="*/ 99 w 722"/>
                  <a:gd name="T39" fmla="*/ 110 h 721"/>
                  <a:gd name="T40" fmla="*/ 99 w 722"/>
                  <a:gd name="T41" fmla="*/ 175 h 721"/>
                  <a:gd name="T42" fmla="*/ 63 w 722"/>
                  <a:gd name="T43" fmla="*/ 194 h 721"/>
                  <a:gd name="T44" fmla="*/ 27 w 722"/>
                  <a:gd name="T45" fmla="*/ 223 h 721"/>
                  <a:gd name="T46" fmla="*/ 49 w 722"/>
                  <a:gd name="T47" fmla="*/ 281 h 721"/>
                  <a:gd name="T48" fmla="*/ 22 w 722"/>
                  <a:gd name="T49" fmla="*/ 312 h 721"/>
                  <a:gd name="T50" fmla="*/ 0 w 722"/>
                  <a:gd name="T51" fmla="*/ 353 h 721"/>
                  <a:gd name="T52" fmla="*/ 42 w 722"/>
                  <a:gd name="T53" fmla="*/ 399 h 721"/>
                  <a:gd name="T54" fmla="*/ 28 w 722"/>
                  <a:gd name="T55" fmla="*/ 438 h 721"/>
                  <a:gd name="T56" fmla="*/ 21 w 722"/>
                  <a:gd name="T57" fmla="*/ 483 h 721"/>
                  <a:gd name="T58" fmla="*/ 78 w 722"/>
                  <a:gd name="T59" fmla="*/ 513 h 721"/>
                  <a:gd name="T60" fmla="*/ 79 w 722"/>
                  <a:gd name="T61" fmla="*/ 553 h 721"/>
                  <a:gd name="T62" fmla="*/ 88 w 722"/>
                  <a:gd name="T63" fmla="*/ 598 h 721"/>
                  <a:gd name="T64" fmla="*/ 152 w 722"/>
                  <a:gd name="T65" fmla="*/ 604 h 721"/>
                  <a:gd name="T66" fmla="*/ 167 w 722"/>
                  <a:gd name="T67" fmla="*/ 642 h 721"/>
                  <a:gd name="T68" fmla="*/ 193 w 722"/>
                  <a:gd name="T69" fmla="*/ 681 h 721"/>
                  <a:gd name="T70" fmla="*/ 254 w 722"/>
                  <a:gd name="T71" fmla="*/ 664 h 721"/>
                  <a:gd name="T72" fmla="*/ 283 w 722"/>
                  <a:gd name="T73" fmla="*/ 693 h 721"/>
                  <a:gd name="T74" fmla="*/ 320 w 722"/>
                  <a:gd name="T75" fmla="*/ 720 h 721"/>
                  <a:gd name="T76" fmla="*/ 371 w 722"/>
                  <a:gd name="T77" fmla="*/ 682 h 721"/>
                  <a:gd name="T78" fmla="*/ 408 w 722"/>
                  <a:gd name="T79" fmla="*/ 699 h 721"/>
                  <a:gd name="T80" fmla="*/ 453 w 722"/>
                  <a:gd name="T81" fmla="*/ 711 h 721"/>
                  <a:gd name="T82" fmla="*/ 486 w 722"/>
                  <a:gd name="T83" fmla="*/ 657 h 721"/>
                  <a:gd name="T84" fmla="*/ 526 w 722"/>
                  <a:gd name="T85" fmla="*/ 658 h 721"/>
                  <a:gd name="T86" fmla="*/ 573 w 722"/>
                  <a:gd name="T87" fmla="*/ 654 h 721"/>
                  <a:gd name="T88" fmla="*/ 585 w 722"/>
                  <a:gd name="T89" fmla="*/ 591 h 721"/>
                  <a:gd name="T90" fmla="*/ 623 w 722"/>
                  <a:gd name="T91" fmla="*/ 579 h 721"/>
                  <a:gd name="T92" fmla="*/ 664 w 722"/>
                  <a:gd name="T93" fmla="*/ 556 h 721"/>
                  <a:gd name="T94" fmla="*/ 653 w 722"/>
                  <a:gd name="T95" fmla="*/ 495 h 721"/>
                  <a:gd name="T96" fmla="*/ 685 w 722"/>
                  <a:gd name="T97" fmla="*/ 468 h 721"/>
                  <a:gd name="T98" fmla="*/ 715 w 722"/>
                  <a:gd name="T99" fmla="*/ 434 h 721"/>
                  <a:gd name="T100" fmla="*/ 682 w 722"/>
                  <a:gd name="T101" fmla="*/ 380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22" h="721">
                    <a:moveTo>
                      <a:pt x="701" y="375"/>
                    </a:moveTo>
                    <a:lnTo>
                      <a:pt x="722" y="368"/>
                    </a:lnTo>
                    <a:lnTo>
                      <a:pt x="722" y="353"/>
                    </a:lnTo>
                    <a:lnTo>
                      <a:pt x="701" y="344"/>
                    </a:lnTo>
                    <a:lnTo>
                      <a:pt x="682" y="341"/>
                    </a:lnTo>
                    <a:lnTo>
                      <a:pt x="680" y="320"/>
                    </a:lnTo>
                    <a:lnTo>
                      <a:pt x="698" y="312"/>
                    </a:lnTo>
                    <a:lnTo>
                      <a:pt x="718" y="300"/>
                    </a:lnTo>
                    <a:lnTo>
                      <a:pt x="715" y="285"/>
                    </a:lnTo>
                    <a:lnTo>
                      <a:pt x="694" y="281"/>
                    </a:lnTo>
                    <a:lnTo>
                      <a:pt x="673" y="281"/>
                    </a:lnTo>
                    <a:lnTo>
                      <a:pt x="667" y="263"/>
                    </a:lnTo>
                    <a:lnTo>
                      <a:pt x="685" y="251"/>
                    </a:lnTo>
                    <a:lnTo>
                      <a:pt x="701" y="236"/>
                    </a:lnTo>
                    <a:lnTo>
                      <a:pt x="695" y="223"/>
                    </a:lnTo>
                    <a:lnTo>
                      <a:pt x="673" y="223"/>
                    </a:lnTo>
                    <a:lnTo>
                      <a:pt x="653" y="226"/>
                    </a:lnTo>
                    <a:lnTo>
                      <a:pt x="644" y="208"/>
                    </a:lnTo>
                    <a:lnTo>
                      <a:pt x="659" y="194"/>
                    </a:lnTo>
                    <a:lnTo>
                      <a:pt x="671" y="176"/>
                    </a:lnTo>
                    <a:lnTo>
                      <a:pt x="664" y="163"/>
                    </a:lnTo>
                    <a:lnTo>
                      <a:pt x="643" y="167"/>
                    </a:lnTo>
                    <a:lnTo>
                      <a:pt x="623" y="175"/>
                    </a:lnTo>
                    <a:lnTo>
                      <a:pt x="611" y="158"/>
                    </a:lnTo>
                    <a:lnTo>
                      <a:pt x="623" y="142"/>
                    </a:lnTo>
                    <a:lnTo>
                      <a:pt x="632" y="122"/>
                    </a:lnTo>
                    <a:lnTo>
                      <a:pt x="623" y="110"/>
                    </a:lnTo>
                    <a:lnTo>
                      <a:pt x="602" y="118"/>
                    </a:lnTo>
                    <a:lnTo>
                      <a:pt x="585" y="130"/>
                    </a:lnTo>
                    <a:lnTo>
                      <a:pt x="570" y="116"/>
                    </a:lnTo>
                    <a:lnTo>
                      <a:pt x="579" y="97"/>
                    </a:lnTo>
                    <a:lnTo>
                      <a:pt x="585" y="76"/>
                    </a:lnTo>
                    <a:lnTo>
                      <a:pt x="573" y="67"/>
                    </a:lnTo>
                    <a:lnTo>
                      <a:pt x="553" y="77"/>
                    </a:lnTo>
                    <a:lnTo>
                      <a:pt x="538" y="92"/>
                    </a:lnTo>
                    <a:lnTo>
                      <a:pt x="522" y="82"/>
                    </a:lnTo>
                    <a:lnTo>
                      <a:pt x="526" y="61"/>
                    </a:lnTo>
                    <a:lnTo>
                      <a:pt x="529" y="40"/>
                    </a:lnTo>
                    <a:lnTo>
                      <a:pt x="516" y="32"/>
                    </a:lnTo>
                    <a:lnTo>
                      <a:pt x="499" y="47"/>
                    </a:lnTo>
                    <a:lnTo>
                      <a:pt x="486" y="64"/>
                    </a:lnTo>
                    <a:lnTo>
                      <a:pt x="468" y="56"/>
                    </a:lnTo>
                    <a:lnTo>
                      <a:pt x="469" y="35"/>
                    </a:lnTo>
                    <a:lnTo>
                      <a:pt x="466" y="15"/>
                    </a:lnTo>
                    <a:lnTo>
                      <a:pt x="453" y="10"/>
                    </a:lnTo>
                    <a:lnTo>
                      <a:pt x="440" y="28"/>
                    </a:lnTo>
                    <a:lnTo>
                      <a:pt x="429" y="46"/>
                    </a:lnTo>
                    <a:lnTo>
                      <a:pt x="410" y="41"/>
                    </a:lnTo>
                    <a:lnTo>
                      <a:pt x="408" y="22"/>
                    </a:lnTo>
                    <a:lnTo>
                      <a:pt x="402" y="1"/>
                    </a:lnTo>
                    <a:lnTo>
                      <a:pt x="387" y="0"/>
                    </a:lnTo>
                    <a:lnTo>
                      <a:pt x="377" y="19"/>
                    </a:lnTo>
                    <a:lnTo>
                      <a:pt x="371" y="38"/>
                    </a:lnTo>
                    <a:lnTo>
                      <a:pt x="351" y="38"/>
                    </a:lnTo>
                    <a:lnTo>
                      <a:pt x="345" y="19"/>
                    </a:lnTo>
                    <a:lnTo>
                      <a:pt x="335" y="0"/>
                    </a:lnTo>
                    <a:lnTo>
                      <a:pt x="320" y="1"/>
                    </a:lnTo>
                    <a:lnTo>
                      <a:pt x="314" y="22"/>
                    </a:lnTo>
                    <a:lnTo>
                      <a:pt x="311" y="41"/>
                    </a:lnTo>
                    <a:lnTo>
                      <a:pt x="292" y="46"/>
                    </a:lnTo>
                    <a:lnTo>
                      <a:pt x="283" y="28"/>
                    </a:lnTo>
                    <a:lnTo>
                      <a:pt x="269" y="10"/>
                    </a:lnTo>
                    <a:lnTo>
                      <a:pt x="254" y="15"/>
                    </a:lnTo>
                    <a:lnTo>
                      <a:pt x="253" y="35"/>
                    </a:lnTo>
                    <a:lnTo>
                      <a:pt x="254" y="56"/>
                    </a:lnTo>
                    <a:lnTo>
                      <a:pt x="235" y="64"/>
                    </a:lnTo>
                    <a:lnTo>
                      <a:pt x="223" y="47"/>
                    </a:lnTo>
                    <a:lnTo>
                      <a:pt x="206" y="32"/>
                    </a:lnTo>
                    <a:lnTo>
                      <a:pt x="193" y="40"/>
                    </a:lnTo>
                    <a:lnTo>
                      <a:pt x="194" y="61"/>
                    </a:lnTo>
                    <a:lnTo>
                      <a:pt x="200" y="82"/>
                    </a:lnTo>
                    <a:lnTo>
                      <a:pt x="184" y="92"/>
                    </a:lnTo>
                    <a:lnTo>
                      <a:pt x="167" y="77"/>
                    </a:lnTo>
                    <a:lnTo>
                      <a:pt x="149" y="67"/>
                    </a:lnTo>
                    <a:lnTo>
                      <a:pt x="138" y="76"/>
                    </a:lnTo>
                    <a:lnTo>
                      <a:pt x="142" y="97"/>
                    </a:lnTo>
                    <a:lnTo>
                      <a:pt x="152" y="116"/>
                    </a:lnTo>
                    <a:lnTo>
                      <a:pt x="138" y="130"/>
                    </a:lnTo>
                    <a:lnTo>
                      <a:pt x="120" y="118"/>
                    </a:lnTo>
                    <a:lnTo>
                      <a:pt x="99" y="110"/>
                    </a:lnTo>
                    <a:lnTo>
                      <a:pt x="88" y="122"/>
                    </a:lnTo>
                    <a:lnTo>
                      <a:pt x="99" y="142"/>
                    </a:lnTo>
                    <a:lnTo>
                      <a:pt x="111" y="158"/>
                    </a:lnTo>
                    <a:lnTo>
                      <a:pt x="99" y="175"/>
                    </a:lnTo>
                    <a:lnTo>
                      <a:pt x="79" y="167"/>
                    </a:lnTo>
                    <a:lnTo>
                      <a:pt x="57" y="163"/>
                    </a:lnTo>
                    <a:lnTo>
                      <a:pt x="49" y="176"/>
                    </a:lnTo>
                    <a:lnTo>
                      <a:pt x="63" y="194"/>
                    </a:lnTo>
                    <a:lnTo>
                      <a:pt x="78" y="208"/>
                    </a:lnTo>
                    <a:lnTo>
                      <a:pt x="69" y="226"/>
                    </a:lnTo>
                    <a:lnTo>
                      <a:pt x="48" y="223"/>
                    </a:lnTo>
                    <a:lnTo>
                      <a:pt x="27" y="223"/>
                    </a:lnTo>
                    <a:lnTo>
                      <a:pt x="21" y="236"/>
                    </a:lnTo>
                    <a:lnTo>
                      <a:pt x="37" y="251"/>
                    </a:lnTo>
                    <a:lnTo>
                      <a:pt x="55" y="263"/>
                    </a:lnTo>
                    <a:lnTo>
                      <a:pt x="49" y="281"/>
                    </a:lnTo>
                    <a:lnTo>
                      <a:pt x="28" y="281"/>
                    </a:lnTo>
                    <a:lnTo>
                      <a:pt x="7" y="285"/>
                    </a:lnTo>
                    <a:lnTo>
                      <a:pt x="4" y="300"/>
                    </a:lnTo>
                    <a:lnTo>
                      <a:pt x="22" y="312"/>
                    </a:lnTo>
                    <a:lnTo>
                      <a:pt x="42" y="320"/>
                    </a:lnTo>
                    <a:lnTo>
                      <a:pt x="40" y="341"/>
                    </a:lnTo>
                    <a:lnTo>
                      <a:pt x="19" y="344"/>
                    </a:lnTo>
                    <a:lnTo>
                      <a:pt x="0" y="353"/>
                    </a:lnTo>
                    <a:lnTo>
                      <a:pt x="0" y="368"/>
                    </a:lnTo>
                    <a:lnTo>
                      <a:pt x="19" y="375"/>
                    </a:lnTo>
                    <a:lnTo>
                      <a:pt x="40" y="380"/>
                    </a:lnTo>
                    <a:lnTo>
                      <a:pt x="42" y="399"/>
                    </a:lnTo>
                    <a:lnTo>
                      <a:pt x="22" y="407"/>
                    </a:lnTo>
                    <a:lnTo>
                      <a:pt x="4" y="419"/>
                    </a:lnTo>
                    <a:lnTo>
                      <a:pt x="7" y="434"/>
                    </a:lnTo>
                    <a:lnTo>
                      <a:pt x="28" y="438"/>
                    </a:lnTo>
                    <a:lnTo>
                      <a:pt x="49" y="438"/>
                    </a:lnTo>
                    <a:lnTo>
                      <a:pt x="55" y="458"/>
                    </a:lnTo>
                    <a:lnTo>
                      <a:pt x="37" y="468"/>
                    </a:lnTo>
                    <a:lnTo>
                      <a:pt x="21" y="483"/>
                    </a:lnTo>
                    <a:lnTo>
                      <a:pt x="27" y="498"/>
                    </a:lnTo>
                    <a:lnTo>
                      <a:pt x="48" y="498"/>
                    </a:lnTo>
                    <a:lnTo>
                      <a:pt x="69" y="495"/>
                    </a:lnTo>
                    <a:lnTo>
                      <a:pt x="78" y="513"/>
                    </a:lnTo>
                    <a:lnTo>
                      <a:pt x="63" y="526"/>
                    </a:lnTo>
                    <a:lnTo>
                      <a:pt x="49" y="544"/>
                    </a:lnTo>
                    <a:lnTo>
                      <a:pt x="57" y="556"/>
                    </a:lnTo>
                    <a:lnTo>
                      <a:pt x="79" y="553"/>
                    </a:lnTo>
                    <a:lnTo>
                      <a:pt x="99" y="546"/>
                    </a:lnTo>
                    <a:lnTo>
                      <a:pt x="111" y="562"/>
                    </a:lnTo>
                    <a:lnTo>
                      <a:pt x="99" y="579"/>
                    </a:lnTo>
                    <a:lnTo>
                      <a:pt x="88" y="598"/>
                    </a:lnTo>
                    <a:lnTo>
                      <a:pt x="99" y="609"/>
                    </a:lnTo>
                    <a:lnTo>
                      <a:pt x="120" y="601"/>
                    </a:lnTo>
                    <a:lnTo>
                      <a:pt x="138" y="591"/>
                    </a:lnTo>
                    <a:lnTo>
                      <a:pt x="152" y="604"/>
                    </a:lnTo>
                    <a:lnTo>
                      <a:pt x="142" y="622"/>
                    </a:lnTo>
                    <a:lnTo>
                      <a:pt x="138" y="645"/>
                    </a:lnTo>
                    <a:lnTo>
                      <a:pt x="149" y="654"/>
                    </a:lnTo>
                    <a:lnTo>
                      <a:pt x="167" y="642"/>
                    </a:lnTo>
                    <a:lnTo>
                      <a:pt x="184" y="628"/>
                    </a:lnTo>
                    <a:lnTo>
                      <a:pt x="200" y="639"/>
                    </a:lnTo>
                    <a:lnTo>
                      <a:pt x="194" y="658"/>
                    </a:lnTo>
                    <a:lnTo>
                      <a:pt x="193" y="681"/>
                    </a:lnTo>
                    <a:lnTo>
                      <a:pt x="206" y="687"/>
                    </a:lnTo>
                    <a:lnTo>
                      <a:pt x="223" y="673"/>
                    </a:lnTo>
                    <a:lnTo>
                      <a:pt x="235" y="657"/>
                    </a:lnTo>
                    <a:lnTo>
                      <a:pt x="254" y="664"/>
                    </a:lnTo>
                    <a:lnTo>
                      <a:pt x="253" y="684"/>
                    </a:lnTo>
                    <a:lnTo>
                      <a:pt x="254" y="706"/>
                    </a:lnTo>
                    <a:lnTo>
                      <a:pt x="269" y="711"/>
                    </a:lnTo>
                    <a:lnTo>
                      <a:pt x="283" y="693"/>
                    </a:lnTo>
                    <a:lnTo>
                      <a:pt x="292" y="675"/>
                    </a:lnTo>
                    <a:lnTo>
                      <a:pt x="311" y="678"/>
                    </a:lnTo>
                    <a:lnTo>
                      <a:pt x="314" y="699"/>
                    </a:lnTo>
                    <a:lnTo>
                      <a:pt x="320" y="720"/>
                    </a:lnTo>
                    <a:lnTo>
                      <a:pt x="335" y="721"/>
                    </a:lnTo>
                    <a:lnTo>
                      <a:pt x="345" y="702"/>
                    </a:lnTo>
                    <a:lnTo>
                      <a:pt x="351" y="682"/>
                    </a:lnTo>
                    <a:lnTo>
                      <a:pt x="371" y="682"/>
                    </a:lnTo>
                    <a:lnTo>
                      <a:pt x="377" y="702"/>
                    </a:lnTo>
                    <a:lnTo>
                      <a:pt x="387" y="721"/>
                    </a:lnTo>
                    <a:lnTo>
                      <a:pt x="402" y="720"/>
                    </a:lnTo>
                    <a:lnTo>
                      <a:pt x="408" y="699"/>
                    </a:lnTo>
                    <a:lnTo>
                      <a:pt x="410" y="678"/>
                    </a:lnTo>
                    <a:lnTo>
                      <a:pt x="429" y="675"/>
                    </a:lnTo>
                    <a:lnTo>
                      <a:pt x="440" y="693"/>
                    </a:lnTo>
                    <a:lnTo>
                      <a:pt x="453" y="711"/>
                    </a:lnTo>
                    <a:lnTo>
                      <a:pt x="466" y="706"/>
                    </a:lnTo>
                    <a:lnTo>
                      <a:pt x="469" y="684"/>
                    </a:lnTo>
                    <a:lnTo>
                      <a:pt x="468" y="664"/>
                    </a:lnTo>
                    <a:lnTo>
                      <a:pt x="486" y="657"/>
                    </a:lnTo>
                    <a:lnTo>
                      <a:pt x="499" y="673"/>
                    </a:lnTo>
                    <a:lnTo>
                      <a:pt x="516" y="687"/>
                    </a:lnTo>
                    <a:lnTo>
                      <a:pt x="529" y="681"/>
                    </a:lnTo>
                    <a:lnTo>
                      <a:pt x="526" y="658"/>
                    </a:lnTo>
                    <a:lnTo>
                      <a:pt x="522" y="639"/>
                    </a:lnTo>
                    <a:lnTo>
                      <a:pt x="538" y="628"/>
                    </a:lnTo>
                    <a:lnTo>
                      <a:pt x="553" y="642"/>
                    </a:lnTo>
                    <a:lnTo>
                      <a:pt x="573" y="654"/>
                    </a:lnTo>
                    <a:lnTo>
                      <a:pt x="585" y="645"/>
                    </a:lnTo>
                    <a:lnTo>
                      <a:pt x="579" y="622"/>
                    </a:lnTo>
                    <a:lnTo>
                      <a:pt x="570" y="604"/>
                    </a:lnTo>
                    <a:lnTo>
                      <a:pt x="585" y="591"/>
                    </a:lnTo>
                    <a:lnTo>
                      <a:pt x="602" y="601"/>
                    </a:lnTo>
                    <a:lnTo>
                      <a:pt x="623" y="609"/>
                    </a:lnTo>
                    <a:lnTo>
                      <a:pt x="632" y="598"/>
                    </a:lnTo>
                    <a:lnTo>
                      <a:pt x="623" y="579"/>
                    </a:lnTo>
                    <a:lnTo>
                      <a:pt x="611" y="562"/>
                    </a:lnTo>
                    <a:lnTo>
                      <a:pt x="623" y="546"/>
                    </a:lnTo>
                    <a:lnTo>
                      <a:pt x="643" y="553"/>
                    </a:lnTo>
                    <a:lnTo>
                      <a:pt x="664" y="556"/>
                    </a:lnTo>
                    <a:lnTo>
                      <a:pt x="671" y="544"/>
                    </a:lnTo>
                    <a:lnTo>
                      <a:pt x="659" y="526"/>
                    </a:lnTo>
                    <a:lnTo>
                      <a:pt x="644" y="513"/>
                    </a:lnTo>
                    <a:lnTo>
                      <a:pt x="653" y="495"/>
                    </a:lnTo>
                    <a:lnTo>
                      <a:pt x="673" y="498"/>
                    </a:lnTo>
                    <a:lnTo>
                      <a:pt x="695" y="498"/>
                    </a:lnTo>
                    <a:lnTo>
                      <a:pt x="701" y="483"/>
                    </a:lnTo>
                    <a:lnTo>
                      <a:pt x="685" y="468"/>
                    </a:lnTo>
                    <a:lnTo>
                      <a:pt x="667" y="458"/>
                    </a:lnTo>
                    <a:lnTo>
                      <a:pt x="673" y="438"/>
                    </a:lnTo>
                    <a:lnTo>
                      <a:pt x="694" y="438"/>
                    </a:lnTo>
                    <a:lnTo>
                      <a:pt x="715" y="434"/>
                    </a:lnTo>
                    <a:lnTo>
                      <a:pt x="718" y="419"/>
                    </a:lnTo>
                    <a:lnTo>
                      <a:pt x="698" y="407"/>
                    </a:lnTo>
                    <a:lnTo>
                      <a:pt x="680" y="399"/>
                    </a:lnTo>
                    <a:lnTo>
                      <a:pt x="682" y="380"/>
                    </a:lnTo>
                    <a:lnTo>
                      <a:pt x="701" y="375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41" name="Oval 12">
                <a:extLst>
                  <a:ext uri="{FF2B5EF4-FFF2-40B4-BE49-F238E27FC236}">
                    <a16:creationId xmlns:a16="http://schemas.microsoft.com/office/drawing/2014/main" id="{6F46B535-68FF-4503-99C0-A48A77D61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00637" y="3317055"/>
                <a:ext cx="502484" cy="50248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5"/>
                  </a:solidFill>
                  <a:cs typeface="Arial" charset="0"/>
                </a:endParaRPr>
              </a:p>
            </p:txBody>
          </p:sp>
        </p:grpSp>
        <p:grpSp>
          <p:nvGrpSpPr>
            <p:cNvPr id="31" name="Gruppierung 148">
              <a:extLst>
                <a:ext uri="{FF2B5EF4-FFF2-40B4-BE49-F238E27FC236}">
                  <a16:creationId xmlns:a16="http://schemas.microsoft.com/office/drawing/2014/main" id="{51DAEE4A-9FED-4119-B1CE-3F5B4BB455B2}"/>
                </a:ext>
              </a:extLst>
            </p:cNvPr>
            <p:cNvGrpSpPr/>
            <p:nvPr/>
          </p:nvGrpSpPr>
          <p:grpSpPr>
            <a:xfrm>
              <a:off x="4751102" y="2615548"/>
              <a:ext cx="716227" cy="716227"/>
              <a:chOff x="5314118" y="3031082"/>
              <a:chExt cx="797937" cy="797937"/>
            </a:xfrm>
          </p:grpSpPr>
          <p:sp>
            <p:nvSpPr>
              <p:cNvPr id="38" name="Freeform 13">
                <a:extLst>
                  <a:ext uri="{FF2B5EF4-FFF2-40B4-BE49-F238E27FC236}">
                    <a16:creationId xmlns:a16="http://schemas.microsoft.com/office/drawing/2014/main" id="{74A612A0-40A6-4BCA-A65F-3063A7B573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4118" y="3031082"/>
                <a:ext cx="797937" cy="797937"/>
              </a:xfrm>
              <a:custGeom>
                <a:avLst/>
                <a:gdLst>
                  <a:gd name="T0" fmla="*/ 636 w 663"/>
                  <a:gd name="T1" fmla="*/ 388 h 663"/>
                  <a:gd name="T2" fmla="*/ 612 w 663"/>
                  <a:gd name="T3" fmla="*/ 370 h 663"/>
                  <a:gd name="T4" fmla="*/ 612 w 663"/>
                  <a:gd name="T5" fmla="*/ 300 h 663"/>
                  <a:gd name="T6" fmla="*/ 621 w 663"/>
                  <a:gd name="T7" fmla="*/ 283 h 663"/>
                  <a:gd name="T8" fmla="*/ 663 w 663"/>
                  <a:gd name="T9" fmla="*/ 258 h 663"/>
                  <a:gd name="T10" fmla="*/ 650 w 663"/>
                  <a:gd name="T11" fmla="*/ 210 h 663"/>
                  <a:gd name="T12" fmla="*/ 621 w 663"/>
                  <a:gd name="T13" fmla="*/ 153 h 663"/>
                  <a:gd name="T14" fmla="*/ 558 w 663"/>
                  <a:gd name="T15" fmla="*/ 163 h 663"/>
                  <a:gd name="T16" fmla="*/ 527 w 663"/>
                  <a:gd name="T17" fmla="*/ 128 h 663"/>
                  <a:gd name="T18" fmla="*/ 500 w 663"/>
                  <a:gd name="T19" fmla="*/ 104 h 663"/>
                  <a:gd name="T20" fmla="*/ 513 w 663"/>
                  <a:gd name="T21" fmla="*/ 45 h 663"/>
                  <a:gd name="T22" fmla="*/ 488 w 663"/>
                  <a:gd name="T23" fmla="*/ 29 h 663"/>
                  <a:gd name="T24" fmla="*/ 434 w 663"/>
                  <a:gd name="T25" fmla="*/ 8 h 663"/>
                  <a:gd name="T26" fmla="*/ 406 w 663"/>
                  <a:gd name="T27" fmla="*/ 0 h 663"/>
                  <a:gd name="T28" fmla="*/ 374 w 663"/>
                  <a:gd name="T29" fmla="*/ 48 h 663"/>
                  <a:gd name="T30" fmla="*/ 352 w 663"/>
                  <a:gd name="T31" fmla="*/ 50 h 663"/>
                  <a:gd name="T32" fmla="*/ 299 w 663"/>
                  <a:gd name="T33" fmla="*/ 51 h 663"/>
                  <a:gd name="T34" fmla="*/ 284 w 663"/>
                  <a:gd name="T35" fmla="*/ 42 h 663"/>
                  <a:gd name="T36" fmla="*/ 257 w 663"/>
                  <a:gd name="T37" fmla="*/ 0 h 663"/>
                  <a:gd name="T38" fmla="*/ 211 w 663"/>
                  <a:gd name="T39" fmla="*/ 14 h 663"/>
                  <a:gd name="T40" fmla="*/ 160 w 663"/>
                  <a:gd name="T41" fmla="*/ 38 h 663"/>
                  <a:gd name="T42" fmla="*/ 151 w 663"/>
                  <a:gd name="T43" fmla="*/ 53 h 663"/>
                  <a:gd name="T44" fmla="*/ 163 w 663"/>
                  <a:gd name="T45" fmla="*/ 105 h 663"/>
                  <a:gd name="T46" fmla="*/ 139 w 663"/>
                  <a:gd name="T47" fmla="*/ 126 h 663"/>
                  <a:gd name="T48" fmla="*/ 109 w 663"/>
                  <a:gd name="T49" fmla="*/ 157 h 663"/>
                  <a:gd name="T50" fmla="*/ 73 w 663"/>
                  <a:gd name="T51" fmla="*/ 156 h 663"/>
                  <a:gd name="T52" fmla="*/ 28 w 663"/>
                  <a:gd name="T53" fmla="*/ 178 h 663"/>
                  <a:gd name="T54" fmla="*/ 4 w 663"/>
                  <a:gd name="T55" fmla="*/ 241 h 663"/>
                  <a:gd name="T56" fmla="*/ 27 w 663"/>
                  <a:gd name="T57" fmla="*/ 274 h 663"/>
                  <a:gd name="T58" fmla="*/ 49 w 663"/>
                  <a:gd name="T59" fmla="*/ 325 h 663"/>
                  <a:gd name="T60" fmla="*/ 52 w 663"/>
                  <a:gd name="T61" fmla="*/ 373 h 663"/>
                  <a:gd name="T62" fmla="*/ 0 w 663"/>
                  <a:gd name="T63" fmla="*/ 406 h 663"/>
                  <a:gd name="T64" fmla="*/ 22 w 663"/>
                  <a:gd name="T65" fmla="*/ 472 h 663"/>
                  <a:gd name="T66" fmla="*/ 46 w 663"/>
                  <a:gd name="T67" fmla="*/ 514 h 663"/>
                  <a:gd name="T68" fmla="*/ 114 w 663"/>
                  <a:gd name="T69" fmla="*/ 511 h 663"/>
                  <a:gd name="T70" fmla="*/ 156 w 663"/>
                  <a:gd name="T71" fmla="*/ 553 h 663"/>
                  <a:gd name="T72" fmla="*/ 157 w 663"/>
                  <a:gd name="T73" fmla="*/ 590 h 663"/>
                  <a:gd name="T74" fmla="*/ 162 w 663"/>
                  <a:gd name="T75" fmla="*/ 626 h 663"/>
                  <a:gd name="T76" fmla="*/ 220 w 663"/>
                  <a:gd name="T77" fmla="*/ 653 h 663"/>
                  <a:gd name="T78" fmla="*/ 257 w 663"/>
                  <a:gd name="T79" fmla="*/ 663 h 663"/>
                  <a:gd name="T80" fmla="*/ 292 w 663"/>
                  <a:gd name="T81" fmla="*/ 611 h 663"/>
                  <a:gd name="T82" fmla="*/ 332 w 663"/>
                  <a:gd name="T83" fmla="*/ 614 h 663"/>
                  <a:gd name="T84" fmla="*/ 374 w 663"/>
                  <a:gd name="T85" fmla="*/ 611 h 663"/>
                  <a:gd name="T86" fmla="*/ 406 w 663"/>
                  <a:gd name="T87" fmla="*/ 662 h 663"/>
                  <a:gd name="T88" fmla="*/ 431 w 663"/>
                  <a:gd name="T89" fmla="*/ 656 h 663"/>
                  <a:gd name="T90" fmla="*/ 492 w 663"/>
                  <a:gd name="T91" fmla="*/ 630 h 663"/>
                  <a:gd name="T92" fmla="*/ 513 w 663"/>
                  <a:gd name="T93" fmla="*/ 611 h 663"/>
                  <a:gd name="T94" fmla="*/ 516 w 663"/>
                  <a:gd name="T95" fmla="*/ 545 h 663"/>
                  <a:gd name="T96" fmla="*/ 551 w 663"/>
                  <a:gd name="T97" fmla="*/ 509 h 663"/>
                  <a:gd name="T98" fmla="*/ 567 w 663"/>
                  <a:gd name="T99" fmla="*/ 502 h 663"/>
                  <a:gd name="T100" fmla="*/ 620 w 663"/>
                  <a:gd name="T101" fmla="*/ 512 h 663"/>
                  <a:gd name="T102" fmla="*/ 641 w 663"/>
                  <a:gd name="T103" fmla="*/ 472 h 663"/>
                  <a:gd name="T104" fmla="*/ 660 w 663"/>
                  <a:gd name="T105" fmla="*/ 421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3" h="663">
                    <a:moveTo>
                      <a:pt x="663" y="404"/>
                    </a:moveTo>
                    <a:lnTo>
                      <a:pt x="663" y="404"/>
                    </a:lnTo>
                    <a:lnTo>
                      <a:pt x="655" y="400"/>
                    </a:lnTo>
                    <a:lnTo>
                      <a:pt x="636" y="388"/>
                    </a:lnTo>
                    <a:lnTo>
                      <a:pt x="624" y="380"/>
                    </a:lnTo>
                    <a:lnTo>
                      <a:pt x="614" y="373"/>
                    </a:lnTo>
                    <a:lnTo>
                      <a:pt x="612" y="371"/>
                    </a:lnTo>
                    <a:lnTo>
                      <a:pt x="612" y="370"/>
                    </a:lnTo>
                    <a:lnTo>
                      <a:pt x="614" y="361"/>
                    </a:lnTo>
                    <a:lnTo>
                      <a:pt x="614" y="339"/>
                    </a:lnTo>
                    <a:lnTo>
                      <a:pt x="614" y="318"/>
                    </a:lnTo>
                    <a:lnTo>
                      <a:pt x="612" y="300"/>
                    </a:lnTo>
                    <a:lnTo>
                      <a:pt x="612" y="292"/>
                    </a:lnTo>
                    <a:lnTo>
                      <a:pt x="612" y="292"/>
                    </a:lnTo>
                    <a:lnTo>
                      <a:pt x="612" y="289"/>
                    </a:lnTo>
                    <a:lnTo>
                      <a:pt x="621" y="283"/>
                    </a:lnTo>
                    <a:lnTo>
                      <a:pt x="636" y="274"/>
                    </a:lnTo>
                    <a:lnTo>
                      <a:pt x="655" y="262"/>
                    </a:lnTo>
                    <a:lnTo>
                      <a:pt x="663" y="258"/>
                    </a:lnTo>
                    <a:lnTo>
                      <a:pt x="663" y="258"/>
                    </a:lnTo>
                    <a:lnTo>
                      <a:pt x="663" y="255"/>
                    </a:lnTo>
                    <a:lnTo>
                      <a:pt x="661" y="246"/>
                    </a:lnTo>
                    <a:lnTo>
                      <a:pt x="655" y="229"/>
                    </a:lnTo>
                    <a:lnTo>
                      <a:pt x="650" y="210"/>
                    </a:lnTo>
                    <a:lnTo>
                      <a:pt x="647" y="201"/>
                    </a:lnTo>
                    <a:lnTo>
                      <a:pt x="641" y="187"/>
                    </a:lnTo>
                    <a:lnTo>
                      <a:pt x="629" y="165"/>
                    </a:lnTo>
                    <a:lnTo>
                      <a:pt x="621" y="153"/>
                    </a:lnTo>
                    <a:lnTo>
                      <a:pt x="620" y="148"/>
                    </a:lnTo>
                    <a:lnTo>
                      <a:pt x="612" y="150"/>
                    </a:lnTo>
                    <a:lnTo>
                      <a:pt x="588" y="156"/>
                    </a:lnTo>
                    <a:lnTo>
                      <a:pt x="558" y="163"/>
                    </a:lnTo>
                    <a:lnTo>
                      <a:pt x="555" y="159"/>
                    </a:lnTo>
                    <a:lnTo>
                      <a:pt x="551" y="151"/>
                    </a:lnTo>
                    <a:lnTo>
                      <a:pt x="539" y="140"/>
                    </a:lnTo>
                    <a:lnTo>
                      <a:pt x="527" y="128"/>
                    </a:lnTo>
                    <a:lnTo>
                      <a:pt x="515" y="116"/>
                    </a:lnTo>
                    <a:lnTo>
                      <a:pt x="507" y="111"/>
                    </a:lnTo>
                    <a:lnTo>
                      <a:pt x="501" y="105"/>
                    </a:lnTo>
                    <a:lnTo>
                      <a:pt x="500" y="104"/>
                    </a:lnTo>
                    <a:lnTo>
                      <a:pt x="501" y="98"/>
                    </a:lnTo>
                    <a:lnTo>
                      <a:pt x="507" y="75"/>
                    </a:lnTo>
                    <a:lnTo>
                      <a:pt x="512" y="53"/>
                    </a:lnTo>
                    <a:lnTo>
                      <a:pt x="513" y="45"/>
                    </a:lnTo>
                    <a:lnTo>
                      <a:pt x="513" y="45"/>
                    </a:lnTo>
                    <a:lnTo>
                      <a:pt x="510" y="42"/>
                    </a:lnTo>
                    <a:lnTo>
                      <a:pt x="503" y="38"/>
                    </a:lnTo>
                    <a:lnTo>
                      <a:pt x="488" y="29"/>
                    </a:lnTo>
                    <a:lnTo>
                      <a:pt x="470" y="21"/>
                    </a:lnTo>
                    <a:lnTo>
                      <a:pt x="461" y="17"/>
                    </a:lnTo>
                    <a:lnTo>
                      <a:pt x="453" y="14"/>
                    </a:lnTo>
                    <a:lnTo>
                      <a:pt x="434" y="8"/>
                    </a:lnTo>
                    <a:lnTo>
                      <a:pt x="418" y="2"/>
                    </a:lnTo>
                    <a:lnTo>
                      <a:pt x="409" y="0"/>
                    </a:lnTo>
                    <a:lnTo>
                      <a:pt x="406" y="0"/>
                    </a:lnTo>
                    <a:lnTo>
                      <a:pt x="406" y="0"/>
                    </a:lnTo>
                    <a:lnTo>
                      <a:pt x="401" y="8"/>
                    </a:lnTo>
                    <a:lnTo>
                      <a:pt x="389" y="27"/>
                    </a:lnTo>
                    <a:lnTo>
                      <a:pt x="382" y="38"/>
                    </a:lnTo>
                    <a:lnTo>
                      <a:pt x="374" y="48"/>
                    </a:lnTo>
                    <a:lnTo>
                      <a:pt x="373" y="51"/>
                    </a:lnTo>
                    <a:lnTo>
                      <a:pt x="371" y="51"/>
                    </a:lnTo>
                    <a:lnTo>
                      <a:pt x="367" y="51"/>
                    </a:lnTo>
                    <a:lnTo>
                      <a:pt x="352" y="50"/>
                    </a:lnTo>
                    <a:lnTo>
                      <a:pt x="341" y="50"/>
                    </a:lnTo>
                    <a:lnTo>
                      <a:pt x="325" y="50"/>
                    </a:lnTo>
                    <a:lnTo>
                      <a:pt x="314" y="50"/>
                    </a:lnTo>
                    <a:lnTo>
                      <a:pt x="299" y="51"/>
                    </a:lnTo>
                    <a:lnTo>
                      <a:pt x="293" y="51"/>
                    </a:lnTo>
                    <a:lnTo>
                      <a:pt x="292" y="51"/>
                    </a:lnTo>
                    <a:lnTo>
                      <a:pt x="290" y="50"/>
                    </a:lnTo>
                    <a:lnTo>
                      <a:pt x="284" y="42"/>
                    </a:lnTo>
                    <a:lnTo>
                      <a:pt x="275" y="27"/>
                    </a:lnTo>
                    <a:lnTo>
                      <a:pt x="262" y="8"/>
                    </a:lnTo>
                    <a:lnTo>
                      <a:pt x="259" y="0"/>
                    </a:lnTo>
                    <a:lnTo>
                      <a:pt x="257" y="0"/>
                    </a:lnTo>
                    <a:lnTo>
                      <a:pt x="254" y="0"/>
                    </a:lnTo>
                    <a:lnTo>
                      <a:pt x="245" y="3"/>
                    </a:lnTo>
                    <a:lnTo>
                      <a:pt x="229" y="8"/>
                    </a:lnTo>
                    <a:lnTo>
                      <a:pt x="211" y="14"/>
                    </a:lnTo>
                    <a:lnTo>
                      <a:pt x="204" y="17"/>
                    </a:lnTo>
                    <a:lnTo>
                      <a:pt x="195" y="21"/>
                    </a:lnTo>
                    <a:lnTo>
                      <a:pt x="177" y="29"/>
                    </a:lnTo>
                    <a:lnTo>
                      <a:pt x="160" y="38"/>
                    </a:lnTo>
                    <a:lnTo>
                      <a:pt x="153" y="42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1" y="53"/>
                    </a:lnTo>
                    <a:lnTo>
                      <a:pt x="156" y="75"/>
                    </a:lnTo>
                    <a:lnTo>
                      <a:pt x="162" y="98"/>
                    </a:lnTo>
                    <a:lnTo>
                      <a:pt x="163" y="104"/>
                    </a:lnTo>
                    <a:lnTo>
                      <a:pt x="163" y="105"/>
                    </a:lnTo>
                    <a:lnTo>
                      <a:pt x="159" y="110"/>
                    </a:lnTo>
                    <a:lnTo>
                      <a:pt x="154" y="113"/>
                    </a:lnTo>
                    <a:lnTo>
                      <a:pt x="150" y="116"/>
                    </a:lnTo>
                    <a:lnTo>
                      <a:pt x="139" y="126"/>
                    </a:lnTo>
                    <a:lnTo>
                      <a:pt x="126" y="138"/>
                    </a:lnTo>
                    <a:lnTo>
                      <a:pt x="115" y="150"/>
                    </a:lnTo>
                    <a:lnTo>
                      <a:pt x="112" y="154"/>
                    </a:lnTo>
                    <a:lnTo>
                      <a:pt x="109" y="157"/>
                    </a:lnTo>
                    <a:lnTo>
                      <a:pt x="105" y="162"/>
                    </a:lnTo>
                    <a:lnTo>
                      <a:pt x="103" y="163"/>
                    </a:lnTo>
                    <a:lnTo>
                      <a:pt x="96" y="162"/>
                    </a:lnTo>
                    <a:lnTo>
                      <a:pt x="73" y="156"/>
                    </a:lnTo>
                    <a:lnTo>
                      <a:pt x="45" y="150"/>
                    </a:lnTo>
                    <a:lnTo>
                      <a:pt x="43" y="151"/>
                    </a:lnTo>
                    <a:lnTo>
                      <a:pt x="40" y="157"/>
                    </a:lnTo>
                    <a:lnTo>
                      <a:pt x="28" y="178"/>
                    </a:lnTo>
                    <a:lnTo>
                      <a:pt x="24" y="187"/>
                    </a:lnTo>
                    <a:lnTo>
                      <a:pt x="18" y="199"/>
                    </a:lnTo>
                    <a:lnTo>
                      <a:pt x="9" y="228"/>
                    </a:lnTo>
                    <a:lnTo>
                      <a:pt x="4" y="241"/>
                    </a:lnTo>
                    <a:lnTo>
                      <a:pt x="1" y="253"/>
                    </a:lnTo>
                    <a:lnTo>
                      <a:pt x="0" y="258"/>
                    </a:lnTo>
                    <a:lnTo>
                      <a:pt x="6" y="261"/>
                    </a:lnTo>
                    <a:lnTo>
                      <a:pt x="27" y="274"/>
                    </a:lnTo>
                    <a:lnTo>
                      <a:pt x="52" y="291"/>
                    </a:lnTo>
                    <a:lnTo>
                      <a:pt x="51" y="297"/>
                    </a:lnTo>
                    <a:lnTo>
                      <a:pt x="51" y="307"/>
                    </a:lnTo>
                    <a:lnTo>
                      <a:pt x="49" y="325"/>
                    </a:lnTo>
                    <a:lnTo>
                      <a:pt x="49" y="343"/>
                    </a:lnTo>
                    <a:lnTo>
                      <a:pt x="51" y="360"/>
                    </a:lnTo>
                    <a:lnTo>
                      <a:pt x="52" y="367"/>
                    </a:lnTo>
                    <a:lnTo>
                      <a:pt x="52" y="373"/>
                    </a:lnTo>
                    <a:lnTo>
                      <a:pt x="31" y="386"/>
                    </a:lnTo>
                    <a:lnTo>
                      <a:pt x="15" y="397"/>
                    </a:lnTo>
                    <a:lnTo>
                      <a:pt x="6" y="403"/>
                    </a:lnTo>
                    <a:lnTo>
                      <a:pt x="0" y="406"/>
                    </a:lnTo>
                    <a:lnTo>
                      <a:pt x="4" y="418"/>
                    </a:lnTo>
                    <a:lnTo>
                      <a:pt x="7" y="433"/>
                    </a:lnTo>
                    <a:lnTo>
                      <a:pt x="18" y="460"/>
                    </a:lnTo>
                    <a:lnTo>
                      <a:pt x="22" y="472"/>
                    </a:lnTo>
                    <a:lnTo>
                      <a:pt x="28" y="484"/>
                    </a:lnTo>
                    <a:lnTo>
                      <a:pt x="40" y="506"/>
                    </a:lnTo>
                    <a:lnTo>
                      <a:pt x="45" y="512"/>
                    </a:lnTo>
                    <a:lnTo>
                      <a:pt x="46" y="514"/>
                    </a:lnTo>
                    <a:lnTo>
                      <a:pt x="76" y="508"/>
                    </a:lnTo>
                    <a:lnTo>
                      <a:pt x="105" y="500"/>
                    </a:lnTo>
                    <a:lnTo>
                      <a:pt x="108" y="503"/>
                    </a:lnTo>
                    <a:lnTo>
                      <a:pt x="114" y="511"/>
                    </a:lnTo>
                    <a:lnTo>
                      <a:pt x="124" y="523"/>
                    </a:lnTo>
                    <a:lnTo>
                      <a:pt x="138" y="536"/>
                    </a:lnTo>
                    <a:lnTo>
                      <a:pt x="150" y="547"/>
                    </a:lnTo>
                    <a:lnTo>
                      <a:pt x="156" y="553"/>
                    </a:lnTo>
                    <a:lnTo>
                      <a:pt x="159" y="556"/>
                    </a:lnTo>
                    <a:lnTo>
                      <a:pt x="163" y="559"/>
                    </a:lnTo>
                    <a:lnTo>
                      <a:pt x="163" y="560"/>
                    </a:lnTo>
                    <a:lnTo>
                      <a:pt x="157" y="590"/>
                    </a:lnTo>
                    <a:lnTo>
                      <a:pt x="151" y="617"/>
                    </a:lnTo>
                    <a:lnTo>
                      <a:pt x="151" y="618"/>
                    </a:lnTo>
                    <a:lnTo>
                      <a:pt x="154" y="620"/>
                    </a:lnTo>
                    <a:lnTo>
                      <a:pt x="162" y="626"/>
                    </a:lnTo>
                    <a:lnTo>
                      <a:pt x="178" y="635"/>
                    </a:lnTo>
                    <a:lnTo>
                      <a:pt x="198" y="644"/>
                    </a:lnTo>
                    <a:lnTo>
                      <a:pt x="205" y="647"/>
                    </a:lnTo>
                    <a:lnTo>
                      <a:pt x="220" y="653"/>
                    </a:lnTo>
                    <a:lnTo>
                      <a:pt x="242" y="659"/>
                    </a:lnTo>
                    <a:lnTo>
                      <a:pt x="254" y="662"/>
                    </a:lnTo>
                    <a:lnTo>
                      <a:pt x="257" y="663"/>
                    </a:lnTo>
                    <a:lnTo>
                      <a:pt x="257" y="663"/>
                    </a:lnTo>
                    <a:lnTo>
                      <a:pt x="260" y="660"/>
                    </a:lnTo>
                    <a:lnTo>
                      <a:pt x="266" y="650"/>
                    </a:lnTo>
                    <a:lnTo>
                      <a:pt x="275" y="636"/>
                    </a:lnTo>
                    <a:lnTo>
                      <a:pt x="292" y="611"/>
                    </a:lnTo>
                    <a:lnTo>
                      <a:pt x="296" y="611"/>
                    </a:lnTo>
                    <a:lnTo>
                      <a:pt x="305" y="612"/>
                    </a:lnTo>
                    <a:lnTo>
                      <a:pt x="323" y="614"/>
                    </a:lnTo>
                    <a:lnTo>
                      <a:pt x="332" y="614"/>
                    </a:lnTo>
                    <a:lnTo>
                      <a:pt x="340" y="614"/>
                    </a:lnTo>
                    <a:lnTo>
                      <a:pt x="355" y="612"/>
                    </a:lnTo>
                    <a:lnTo>
                      <a:pt x="368" y="611"/>
                    </a:lnTo>
                    <a:lnTo>
                      <a:pt x="374" y="611"/>
                    </a:lnTo>
                    <a:lnTo>
                      <a:pt x="389" y="635"/>
                    </a:lnTo>
                    <a:lnTo>
                      <a:pt x="401" y="654"/>
                    </a:lnTo>
                    <a:lnTo>
                      <a:pt x="406" y="662"/>
                    </a:lnTo>
                    <a:lnTo>
                      <a:pt x="406" y="662"/>
                    </a:lnTo>
                    <a:lnTo>
                      <a:pt x="407" y="662"/>
                    </a:lnTo>
                    <a:lnTo>
                      <a:pt x="412" y="662"/>
                    </a:lnTo>
                    <a:lnTo>
                      <a:pt x="419" y="660"/>
                    </a:lnTo>
                    <a:lnTo>
                      <a:pt x="431" y="656"/>
                    </a:lnTo>
                    <a:lnTo>
                      <a:pt x="458" y="647"/>
                    </a:lnTo>
                    <a:lnTo>
                      <a:pt x="471" y="641"/>
                    </a:lnTo>
                    <a:lnTo>
                      <a:pt x="477" y="638"/>
                    </a:lnTo>
                    <a:lnTo>
                      <a:pt x="492" y="630"/>
                    </a:lnTo>
                    <a:lnTo>
                      <a:pt x="506" y="624"/>
                    </a:lnTo>
                    <a:lnTo>
                      <a:pt x="513" y="618"/>
                    </a:lnTo>
                    <a:lnTo>
                      <a:pt x="515" y="617"/>
                    </a:lnTo>
                    <a:lnTo>
                      <a:pt x="513" y="611"/>
                    </a:lnTo>
                    <a:lnTo>
                      <a:pt x="507" y="587"/>
                    </a:lnTo>
                    <a:lnTo>
                      <a:pt x="501" y="559"/>
                    </a:lnTo>
                    <a:lnTo>
                      <a:pt x="510" y="550"/>
                    </a:lnTo>
                    <a:lnTo>
                      <a:pt x="516" y="545"/>
                    </a:lnTo>
                    <a:lnTo>
                      <a:pt x="527" y="536"/>
                    </a:lnTo>
                    <a:lnTo>
                      <a:pt x="537" y="526"/>
                    </a:lnTo>
                    <a:lnTo>
                      <a:pt x="548" y="515"/>
                    </a:lnTo>
                    <a:lnTo>
                      <a:pt x="551" y="509"/>
                    </a:lnTo>
                    <a:lnTo>
                      <a:pt x="554" y="506"/>
                    </a:lnTo>
                    <a:lnTo>
                      <a:pt x="560" y="500"/>
                    </a:lnTo>
                    <a:lnTo>
                      <a:pt x="560" y="500"/>
                    </a:lnTo>
                    <a:lnTo>
                      <a:pt x="567" y="502"/>
                    </a:lnTo>
                    <a:lnTo>
                      <a:pt x="590" y="506"/>
                    </a:lnTo>
                    <a:lnTo>
                      <a:pt x="612" y="512"/>
                    </a:lnTo>
                    <a:lnTo>
                      <a:pt x="618" y="514"/>
                    </a:lnTo>
                    <a:lnTo>
                      <a:pt x="620" y="512"/>
                    </a:lnTo>
                    <a:lnTo>
                      <a:pt x="623" y="506"/>
                    </a:lnTo>
                    <a:lnTo>
                      <a:pt x="632" y="491"/>
                    </a:lnTo>
                    <a:lnTo>
                      <a:pt x="638" y="479"/>
                    </a:lnTo>
                    <a:lnTo>
                      <a:pt x="641" y="472"/>
                    </a:lnTo>
                    <a:lnTo>
                      <a:pt x="648" y="458"/>
                    </a:lnTo>
                    <a:lnTo>
                      <a:pt x="653" y="443"/>
                    </a:lnTo>
                    <a:lnTo>
                      <a:pt x="658" y="428"/>
                    </a:lnTo>
                    <a:lnTo>
                      <a:pt x="660" y="421"/>
                    </a:lnTo>
                    <a:lnTo>
                      <a:pt x="661" y="413"/>
                    </a:lnTo>
                    <a:lnTo>
                      <a:pt x="663" y="407"/>
                    </a:lnTo>
                    <a:lnTo>
                      <a:pt x="663" y="404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39" name="Oval 12">
                <a:extLst>
                  <a:ext uri="{FF2B5EF4-FFF2-40B4-BE49-F238E27FC236}">
                    <a16:creationId xmlns:a16="http://schemas.microsoft.com/office/drawing/2014/main" id="{2034BC93-DB23-4F99-8F86-56A56B7F08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8652" y="3185616"/>
                <a:ext cx="488868" cy="48886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4"/>
                  </a:solidFill>
                  <a:cs typeface="Arial" charset="0"/>
                </a:endParaRPr>
              </a:p>
            </p:txBody>
          </p:sp>
        </p:grpSp>
        <p:grpSp>
          <p:nvGrpSpPr>
            <p:cNvPr id="32" name="Gruppierung 153">
              <a:extLst>
                <a:ext uri="{FF2B5EF4-FFF2-40B4-BE49-F238E27FC236}">
                  <a16:creationId xmlns:a16="http://schemas.microsoft.com/office/drawing/2014/main" id="{A56E0641-4065-49BA-AC12-646EC222B17F}"/>
                </a:ext>
              </a:extLst>
            </p:cNvPr>
            <p:cNvGrpSpPr/>
            <p:nvPr/>
          </p:nvGrpSpPr>
          <p:grpSpPr>
            <a:xfrm>
              <a:off x="3833401" y="2019590"/>
              <a:ext cx="752272" cy="751231"/>
              <a:chOff x="4291722" y="2367135"/>
              <a:chExt cx="838094" cy="836934"/>
            </a:xfrm>
          </p:grpSpPr>
          <p:sp>
            <p:nvSpPr>
              <p:cNvPr id="36" name="Freeform 20">
                <a:extLst>
                  <a:ext uri="{FF2B5EF4-FFF2-40B4-BE49-F238E27FC236}">
                    <a16:creationId xmlns:a16="http://schemas.microsoft.com/office/drawing/2014/main" id="{E0D5B787-AD1F-4E3A-88FA-019377FBA9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1722" y="2367135"/>
                <a:ext cx="838094" cy="836934"/>
              </a:xfrm>
              <a:custGeom>
                <a:avLst/>
                <a:gdLst>
                  <a:gd name="T0" fmla="*/ 701 w 722"/>
                  <a:gd name="T1" fmla="*/ 344 h 721"/>
                  <a:gd name="T2" fmla="*/ 718 w 722"/>
                  <a:gd name="T3" fmla="*/ 300 h 721"/>
                  <a:gd name="T4" fmla="*/ 667 w 722"/>
                  <a:gd name="T5" fmla="*/ 263 h 721"/>
                  <a:gd name="T6" fmla="*/ 673 w 722"/>
                  <a:gd name="T7" fmla="*/ 223 h 721"/>
                  <a:gd name="T8" fmla="*/ 671 w 722"/>
                  <a:gd name="T9" fmla="*/ 176 h 721"/>
                  <a:gd name="T10" fmla="*/ 611 w 722"/>
                  <a:gd name="T11" fmla="*/ 158 h 721"/>
                  <a:gd name="T12" fmla="*/ 602 w 722"/>
                  <a:gd name="T13" fmla="*/ 118 h 721"/>
                  <a:gd name="T14" fmla="*/ 585 w 722"/>
                  <a:gd name="T15" fmla="*/ 76 h 721"/>
                  <a:gd name="T16" fmla="*/ 522 w 722"/>
                  <a:gd name="T17" fmla="*/ 82 h 721"/>
                  <a:gd name="T18" fmla="*/ 499 w 722"/>
                  <a:gd name="T19" fmla="*/ 47 h 721"/>
                  <a:gd name="T20" fmla="*/ 466 w 722"/>
                  <a:gd name="T21" fmla="*/ 15 h 721"/>
                  <a:gd name="T22" fmla="*/ 410 w 722"/>
                  <a:gd name="T23" fmla="*/ 41 h 721"/>
                  <a:gd name="T24" fmla="*/ 377 w 722"/>
                  <a:gd name="T25" fmla="*/ 19 h 721"/>
                  <a:gd name="T26" fmla="*/ 335 w 722"/>
                  <a:gd name="T27" fmla="*/ 0 h 721"/>
                  <a:gd name="T28" fmla="*/ 292 w 722"/>
                  <a:gd name="T29" fmla="*/ 46 h 721"/>
                  <a:gd name="T30" fmla="*/ 253 w 722"/>
                  <a:gd name="T31" fmla="*/ 35 h 721"/>
                  <a:gd name="T32" fmla="*/ 206 w 722"/>
                  <a:gd name="T33" fmla="*/ 32 h 721"/>
                  <a:gd name="T34" fmla="*/ 184 w 722"/>
                  <a:gd name="T35" fmla="*/ 92 h 721"/>
                  <a:gd name="T36" fmla="*/ 142 w 722"/>
                  <a:gd name="T37" fmla="*/ 97 h 721"/>
                  <a:gd name="T38" fmla="*/ 99 w 722"/>
                  <a:gd name="T39" fmla="*/ 110 h 721"/>
                  <a:gd name="T40" fmla="*/ 99 w 722"/>
                  <a:gd name="T41" fmla="*/ 175 h 721"/>
                  <a:gd name="T42" fmla="*/ 63 w 722"/>
                  <a:gd name="T43" fmla="*/ 194 h 721"/>
                  <a:gd name="T44" fmla="*/ 27 w 722"/>
                  <a:gd name="T45" fmla="*/ 223 h 721"/>
                  <a:gd name="T46" fmla="*/ 49 w 722"/>
                  <a:gd name="T47" fmla="*/ 281 h 721"/>
                  <a:gd name="T48" fmla="*/ 22 w 722"/>
                  <a:gd name="T49" fmla="*/ 312 h 721"/>
                  <a:gd name="T50" fmla="*/ 0 w 722"/>
                  <a:gd name="T51" fmla="*/ 353 h 721"/>
                  <a:gd name="T52" fmla="*/ 42 w 722"/>
                  <a:gd name="T53" fmla="*/ 399 h 721"/>
                  <a:gd name="T54" fmla="*/ 28 w 722"/>
                  <a:gd name="T55" fmla="*/ 438 h 721"/>
                  <a:gd name="T56" fmla="*/ 21 w 722"/>
                  <a:gd name="T57" fmla="*/ 483 h 721"/>
                  <a:gd name="T58" fmla="*/ 78 w 722"/>
                  <a:gd name="T59" fmla="*/ 513 h 721"/>
                  <a:gd name="T60" fmla="*/ 79 w 722"/>
                  <a:gd name="T61" fmla="*/ 553 h 721"/>
                  <a:gd name="T62" fmla="*/ 88 w 722"/>
                  <a:gd name="T63" fmla="*/ 598 h 721"/>
                  <a:gd name="T64" fmla="*/ 152 w 722"/>
                  <a:gd name="T65" fmla="*/ 604 h 721"/>
                  <a:gd name="T66" fmla="*/ 167 w 722"/>
                  <a:gd name="T67" fmla="*/ 642 h 721"/>
                  <a:gd name="T68" fmla="*/ 193 w 722"/>
                  <a:gd name="T69" fmla="*/ 681 h 721"/>
                  <a:gd name="T70" fmla="*/ 254 w 722"/>
                  <a:gd name="T71" fmla="*/ 664 h 721"/>
                  <a:gd name="T72" fmla="*/ 283 w 722"/>
                  <a:gd name="T73" fmla="*/ 693 h 721"/>
                  <a:gd name="T74" fmla="*/ 320 w 722"/>
                  <a:gd name="T75" fmla="*/ 720 h 721"/>
                  <a:gd name="T76" fmla="*/ 371 w 722"/>
                  <a:gd name="T77" fmla="*/ 682 h 721"/>
                  <a:gd name="T78" fmla="*/ 408 w 722"/>
                  <a:gd name="T79" fmla="*/ 699 h 721"/>
                  <a:gd name="T80" fmla="*/ 453 w 722"/>
                  <a:gd name="T81" fmla="*/ 711 h 721"/>
                  <a:gd name="T82" fmla="*/ 486 w 722"/>
                  <a:gd name="T83" fmla="*/ 657 h 721"/>
                  <a:gd name="T84" fmla="*/ 526 w 722"/>
                  <a:gd name="T85" fmla="*/ 658 h 721"/>
                  <a:gd name="T86" fmla="*/ 573 w 722"/>
                  <a:gd name="T87" fmla="*/ 654 h 721"/>
                  <a:gd name="T88" fmla="*/ 585 w 722"/>
                  <a:gd name="T89" fmla="*/ 591 h 721"/>
                  <a:gd name="T90" fmla="*/ 623 w 722"/>
                  <a:gd name="T91" fmla="*/ 579 h 721"/>
                  <a:gd name="T92" fmla="*/ 664 w 722"/>
                  <a:gd name="T93" fmla="*/ 556 h 721"/>
                  <a:gd name="T94" fmla="*/ 653 w 722"/>
                  <a:gd name="T95" fmla="*/ 495 h 721"/>
                  <a:gd name="T96" fmla="*/ 685 w 722"/>
                  <a:gd name="T97" fmla="*/ 468 h 721"/>
                  <a:gd name="T98" fmla="*/ 715 w 722"/>
                  <a:gd name="T99" fmla="*/ 434 h 721"/>
                  <a:gd name="T100" fmla="*/ 682 w 722"/>
                  <a:gd name="T101" fmla="*/ 380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22" h="721">
                    <a:moveTo>
                      <a:pt x="701" y="375"/>
                    </a:moveTo>
                    <a:lnTo>
                      <a:pt x="722" y="368"/>
                    </a:lnTo>
                    <a:lnTo>
                      <a:pt x="722" y="353"/>
                    </a:lnTo>
                    <a:lnTo>
                      <a:pt x="701" y="344"/>
                    </a:lnTo>
                    <a:lnTo>
                      <a:pt x="682" y="341"/>
                    </a:lnTo>
                    <a:lnTo>
                      <a:pt x="680" y="320"/>
                    </a:lnTo>
                    <a:lnTo>
                      <a:pt x="698" y="312"/>
                    </a:lnTo>
                    <a:lnTo>
                      <a:pt x="718" y="300"/>
                    </a:lnTo>
                    <a:lnTo>
                      <a:pt x="715" y="285"/>
                    </a:lnTo>
                    <a:lnTo>
                      <a:pt x="694" y="281"/>
                    </a:lnTo>
                    <a:lnTo>
                      <a:pt x="673" y="281"/>
                    </a:lnTo>
                    <a:lnTo>
                      <a:pt x="667" y="263"/>
                    </a:lnTo>
                    <a:lnTo>
                      <a:pt x="685" y="251"/>
                    </a:lnTo>
                    <a:lnTo>
                      <a:pt x="701" y="236"/>
                    </a:lnTo>
                    <a:lnTo>
                      <a:pt x="695" y="223"/>
                    </a:lnTo>
                    <a:lnTo>
                      <a:pt x="673" y="223"/>
                    </a:lnTo>
                    <a:lnTo>
                      <a:pt x="653" y="226"/>
                    </a:lnTo>
                    <a:lnTo>
                      <a:pt x="644" y="208"/>
                    </a:lnTo>
                    <a:lnTo>
                      <a:pt x="659" y="194"/>
                    </a:lnTo>
                    <a:lnTo>
                      <a:pt x="671" y="176"/>
                    </a:lnTo>
                    <a:lnTo>
                      <a:pt x="664" y="163"/>
                    </a:lnTo>
                    <a:lnTo>
                      <a:pt x="643" y="167"/>
                    </a:lnTo>
                    <a:lnTo>
                      <a:pt x="623" y="175"/>
                    </a:lnTo>
                    <a:lnTo>
                      <a:pt x="611" y="158"/>
                    </a:lnTo>
                    <a:lnTo>
                      <a:pt x="623" y="142"/>
                    </a:lnTo>
                    <a:lnTo>
                      <a:pt x="632" y="122"/>
                    </a:lnTo>
                    <a:lnTo>
                      <a:pt x="623" y="110"/>
                    </a:lnTo>
                    <a:lnTo>
                      <a:pt x="602" y="118"/>
                    </a:lnTo>
                    <a:lnTo>
                      <a:pt x="585" y="130"/>
                    </a:lnTo>
                    <a:lnTo>
                      <a:pt x="570" y="116"/>
                    </a:lnTo>
                    <a:lnTo>
                      <a:pt x="579" y="97"/>
                    </a:lnTo>
                    <a:lnTo>
                      <a:pt x="585" y="76"/>
                    </a:lnTo>
                    <a:lnTo>
                      <a:pt x="573" y="67"/>
                    </a:lnTo>
                    <a:lnTo>
                      <a:pt x="553" y="77"/>
                    </a:lnTo>
                    <a:lnTo>
                      <a:pt x="538" y="92"/>
                    </a:lnTo>
                    <a:lnTo>
                      <a:pt x="522" y="82"/>
                    </a:lnTo>
                    <a:lnTo>
                      <a:pt x="526" y="61"/>
                    </a:lnTo>
                    <a:lnTo>
                      <a:pt x="529" y="40"/>
                    </a:lnTo>
                    <a:lnTo>
                      <a:pt x="516" y="32"/>
                    </a:lnTo>
                    <a:lnTo>
                      <a:pt x="499" y="47"/>
                    </a:lnTo>
                    <a:lnTo>
                      <a:pt x="486" y="64"/>
                    </a:lnTo>
                    <a:lnTo>
                      <a:pt x="468" y="56"/>
                    </a:lnTo>
                    <a:lnTo>
                      <a:pt x="469" y="35"/>
                    </a:lnTo>
                    <a:lnTo>
                      <a:pt x="466" y="15"/>
                    </a:lnTo>
                    <a:lnTo>
                      <a:pt x="453" y="10"/>
                    </a:lnTo>
                    <a:lnTo>
                      <a:pt x="440" y="28"/>
                    </a:lnTo>
                    <a:lnTo>
                      <a:pt x="429" y="46"/>
                    </a:lnTo>
                    <a:lnTo>
                      <a:pt x="410" y="41"/>
                    </a:lnTo>
                    <a:lnTo>
                      <a:pt x="408" y="22"/>
                    </a:lnTo>
                    <a:lnTo>
                      <a:pt x="402" y="1"/>
                    </a:lnTo>
                    <a:lnTo>
                      <a:pt x="387" y="0"/>
                    </a:lnTo>
                    <a:lnTo>
                      <a:pt x="377" y="19"/>
                    </a:lnTo>
                    <a:lnTo>
                      <a:pt x="371" y="38"/>
                    </a:lnTo>
                    <a:lnTo>
                      <a:pt x="351" y="38"/>
                    </a:lnTo>
                    <a:lnTo>
                      <a:pt x="345" y="19"/>
                    </a:lnTo>
                    <a:lnTo>
                      <a:pt x="335" y="0"/>
                    </a:lnTo>
                    <a:lnTo>
                      <a:pt x="320" y="1"/>
                    </a:lnTo>
                    <a:lnTo>
                      <a:pt x="314" y="22"/>
                    </a:lnTo>
                    <a:lnTo>
                      <a:pt x="311" y="41"/>
                    </a:lnTo>
                    <a:lnTo>
                      <a:pt x="292" y="46"/>
                    </a:lnTo>
                    <a:lnTo>
                      <a:pt x="283" y="28"/>
                    </a:lnTo>
                    <a:lnTo>
                      <a:pt x="269" y="10"/>
                    </a:lnTo>
                    <a:lnTo>
                      <a:pt x="254" y="15"/>
                    </a:lnTo>
                    <a:lnTo>
                      <a:pt x="253" y="35"/>
                    </a:lnTo>
                    <a:lnTo>
                      <a:pt x="254" y="56"/>
                    </a:lnTo>
                    <a:lnTo>
                      <a:pt x="235" y="64"/>
                    </a:lnTo>
                    <a:lnTo>
                      <a:pt x="223" y="47"/>
                    </a:lnTo>
                    <a:lnTo>
                      <a:pt x="206" y="32"/>
                    </a:lnTo>
                    <a:lnTo>
                      <a:pt x="193" y="40"/>
                    </a:lnTo>
                    <a:lnTo>
                      <a:pt x="194" y="61"/>
                    </a:lnTo>
                    <a:lnTo>
                      <a:pt x="200" y="82"/>
                    </a:lnTo>
                    <a:lnTo>
                      <a:pt x="184" y="92"/>
                    </a:lnTo>
                    <a:lnTo>
                      <a:pt x="167" y="77"/>
                    </a:lnTo>
                    <a:lnTo>
                      <a:pt x="149" y="67"/>
                    </a:lnTo>
                    <a:lnTo>
                      <a:pt x="138" y="76"/>
                    </a:lnTo>
                    <a:lnTo>
                      <a:pt x="142" y="97"/>
                    </a:lnTo>
                    <a:lnTo>
                      <a:pt x="152" y="116"/>
                    </a:lnTo>
                    <a:lnTo>
                      <a:pt x="138" y="130"/>
                    </a:lnTo>
                    <a:lnTo>
                      <a:pt x="120" y="118"/>
                    </a:lnTo>
                    <a:lnTo>
                      <a:pt x="99" y="110"/>
                    </a:lnTo>
                    <a:lnTo>
                      <a:pt x="88" y="122"/>
                    </a:lnTo>
                    <a:lnTo>
                      <a:pt x="99" y="142"/>
                    </a:lnTo>
                    <a:lnTo>
                      <a:pt x="111" y="158"/>
                    </a:lnTo>
                    <a:lnTo>
                      <a:pt x="99" y="175"/>
                    </a:lnTo>
                    <a:lnTo>
                      <a:pt x="79" y="167"/>
                    </a:lnTo>
                    <a:lnTo>
                      <a:pt x="57" y="163"/>
                    </a:lnTo>
                    <a:lnTo>
                      <a:pt x="49" y="176"/>
                    </a:lnTo>
                    <a:lnTo>
                      <a:pt x="63" y="194"/>
                    </a:lnTo>
                    <a:lnTo>
                      <a:pt x="78" y="208"/>
                    </a:lnTo>
                    <a:lnTo>
                      <a:pt x="69" y="226"/>
                    </a:lnTo>
                    <a:lnTo>
                      <a:pt x="48" y="223"/>
                    </a:lnTo>
                    <a:lnTo>
                      <a:pt x="27" y="223"/>
                    </a:lnTo>
                    <a:lnTo>
                      <a:pt x="21" y="236"/>
                    </a:lnTo>
                    <a:lnTo>
                      <a:pt x="37" y="251"/>
                    </a:lnTo>
                    <a:lnTo>
                      <a:pt x="55" y="263"/>
                    </a:lnTo>
                    <a:lnTo>
                      <a:pt x="49" y="281"/>
                    </a:lnTo>
                    <a:lnTo>
                      <a:pt x="28" y="281"/>
                    </a:lnTo>
                    <a:lnTo>
                      <a:pt x="7" y="285"/>
                    </a:lnTo>
                    <a:lnTo>
                      <a:pt x="4" y="300"/>
                    </a:lnTo>
                    <a:lnTo>
                      <a:pt x="22" y="312"/>
                    </a:lnTo>
                    <a:lnTo>
                      <a:pt x="42" y="320"/>
                    </a:lnTo>
                    <a:lnTo>
                      <a:pt x="40" y="341"/>
                    </a:lnTo>
                    <a:lnTo>
                      <a:pt x="19" y="344"/>
                    </a:lnTo>
                    <a:lnTo>
                      <a:pt x="0" y="353"/>
                    </a:lnTo>
                    <a:lnTo>
                      <a:pt x="0" y="368"/>
                    </a:lnTo>
                    <a:lnTo>
                      <a:pt x="19" y="375"/>
                    </a:lnTo>
                    <a:lnTo>
                      <a:pt x="40" y="380"/>
                    </a:lnTo>
                    <a:lnTo>
                      <a:pt x="42" y="399"/>
                    </a:lnTo>
                    <a:lnTo>
                      <a:pt x="22" y="407"/>
                    </a:lnTo>
                    <a:lnTo>
                      <a:pt x="4" y="419"/>
                    </a:lnTo>
                    <a:lnTo>
                      <a:pt x="7" y="434"/>
                    </a:lnTo>
                    <a:lnTo>
                      <a:pt x="28" y="438"/>
                    </a:lnTo>
                    <a:lnTo>
                      <a:pt x="49" y="438"/>
                    </a:lnTo>
                    <a:lnTo>
                      <a:pt x="55" y="458"/>
                    </a:lnTo>
                    <a:lnTo>
                      <a:pt x="37" y="468"/>
                    </a:lnTo>
                    <a:lnTo>
                      <a:pt x="21" y="483"/>
                    </a:lnTo>
                    <a:lnTo>
                      <a:pt x="27" y="498"/>
                    </a:lnTo>
                    <a:lnTo>
                      <a:pt x="48" y="498"/>
                    </a:lnTo>
                    <a:lnTo>
                      <a:pt x="69" y="495"/>
                    </a:lnTo>
                    <a:lnTo>
                      <a:pt x="78" y="513"/>
                    </a:lnTo>
                    <a:lnTo>
                      <a:pt x="63" y="526"/>
                    </a:lnTo>
                    <a:lnTo>
                      <a:pt x="49" y="544"/>
                    </a:lnTo>
                    <a:lnTo>
                      <a:pt x="57" y="556"/>
                    </a:lnTo>
                    <a:lnTo>
                      <a:pt x="79" y="553"/>
                    </a:lnTo>
                    <a:lnTo>
                      <a:pt x="99" y="546"/>
                    </a:lnTo>
                    <a:lnTo>
                      <a:pt x="111" y="562"/>
                    </a:lnTo>
                    <a:lnTo>
                      <a:pt x="99" y="579"/>
                    </a:lnTo>
                    <a:lnTo>
                      <a:pt x="88" y="598"/>
                    </a:lnTo>
                    <a:lnTo>
                      <a:pt x="99" y="609"/>
                    </a:lnTo>
                    <a:lnTo>
                      <a:pt x="120" y="601"/>
                    </a:lnTo>
                    <a:lnTo>
                      <a:pt x="138" y="591"/>
                    </a:lnTo>
                    <a:lnTo>
                      <a:pt x="152" y="604"/>
                    </a:lnTo>
                    <a:lnTo>
                      <a:pt x="142" y="622"/>
                    </a:lnTo>
                    <a:lnTo>
                      <a:pt x="138" y="645"/>
                    </a:lnTo>
                    <a:lnTo>
                      <a:pt x="149" y="654"/>
                    </a:lnTo>
                    <a:lnTo>
                      <a:pt x="167" y="642"/>
                    </a:lnTo>
                    <a:lnTo>
                      <a:pt x="184" y="628"/>
                    </a:lnTo>
                    <a:lnTo>
                      <a:pt x="200" y="639"/>
                    </a:lnTo>
                    <a:lnTo>
                      <a:pt x="194" y="658"/>
                    </a:lnTo>
                    <a:lnTo>
                      <a:pt x="193" y="681"/>
                    </a:lnTo>
                    <a:lnTo>
                      <a:pt x="206" y="687"/>
                    </a:lnTo>
                    <a:lnTo>
                      <a:pt x="223" y="673"/>
                    </a:lnTo>
                    <a:lnTo>
                      <a:pt x="235" y="657"/>
                    </a:lnTo>
                    <a:lnTo>
                      <a:pt x="254" y="664"/>
                    </a:lnTo>
                    <a:lnTo>
                      <a:pt x="253" y="684"/>
                    </a:lnTo>
                    <a:lnTo>
                      <a:pt x="254" y="706"/>
                    </a:lnTo>
                    <a:lnTo>
                      <a:pt x="269" y="711"/>
                    </a:lnTo>
                    <a:lnTo>
                      <a:pt x="283" y="693"/>
                    </a:lnTo>
                    <a:lnTo>
                      <a:pt x="292" y="675"/>
                    </a:lnTo>
                    <a:lnTo>
                      <a:pt x="311" y="678"/>
                    </a:lnTo>
                    <a:lnTo>
                      <a:pt x="314" y="699"/>
                    </a:lnTo>
                    <a:lnTo>
                      <a:pt x="320" y="720"/>
                    </a:lnTo>
                    <a:lnTo>
                      <a:pt x="335" y="721"/>
                    </a:lnTo>
                    <a:lnTo>
                      <a:pt x="345" y="702"/>
                    </a:lnTo>
                    <a:lnTo>
                      <a:pt x="351" y="682"/>
                    </a:lnTo>
                    <a:lnTo>
                      <a:pt x="371" y="682"/>
                    </a:lnTo>
                    <a:lnTo>
                      <a:pt x="377" y="702"/>
                    </a:lnTo>
                    <a:lnTo>
                      <a:pt x="387" y="721"/>
                    </a:lnTo>
                    <a:lnTo>
                      <a:pt x="402" y="720"/>
                    </a:lnTo>
                    <a:lnTo>
                      <a:pt x="408" y="699"/>
                    </a:lnTo>
                    <a:lnTo>
                      <a:pt x="410" y="678"/>
                    </a:lnTo>
                    <a:lnTo>
                      <a:pt x="429" y="675"/>
                    </a:lnTo>
                    <a:lnTo>
                      <a:pt x="440" y="693"/>
                    </a:lnTo>
                    <a:lnTo>
                      <a:pt x="453" y="711"/>
                    </a:lnTo>
                    <a:lnTo>
                      <a:pt x="466" y="706"/>
                    </a:lnTo>
                    <a:lnTo>
                      <a:pt x="469" y="684"/>
                    </a:lnTo>
                    <a:lnTo>
                      <a:pt x="468" y="664"/>
                    </a:lnTo>
                    <a:lnTo>
                      <a:pt x="486" y="657"/>
                    </a:lnTo>
                    <a:lnTo>
                      <a:pt x="499" y="673"/>
                    </a:lnTo>
                    <a:lnTo>
                      <a:pt x="516" y="687"/>
                    </a:lnTo>
                    <a:lnTo>
                      <a:pt x="529" y="681"/>
                    </a:lnTo>
                    <a:lnTo>
                      <a:pt x="526" y="658"/>
                    </a:lnTo>
                    <a:lnTo>
                      <a:pt x="522" y="639"/>
                    </a:lnTo>
                    <a:lnTo>
                      <a:pt x="538" y="628"/>
                    </a:lnTo>
                    <a:lnTo>
                      <a:pt x="553" y="642"/>
                    </a:lnTo>
                    <a:lnTo>
                      <a:pt x="573" y="654"/>
                    </a:lnTo>
                    <a:lnTo>
                      <a:pt x="585" y="645"/>
                    </a:lnTo>
                    <a:lnTo>
                      <a:pt x="579" y="622"/>
                    </a:lnTo>
                    <a:lnTo>
                      <a:pt x="570" y="604"/>
                    </a:lnTo>
                    <a:lnTo>
                      <a:pt x="585" y="591"/>
                    </a:lnTo>
                    <a:lnTo>
                      <a:pt x="602" y="601"/>
                    </a:lnTo>
                    <a:lnTo>
                      <a:pt x="623" y="609"/>
                    </a:lnTo>
                    <a:lnTo>
                      <a:pt x="632" y="598"/>
                    </a:lnTo>
                    <a:lnTo>
                      <a:pt x="623" y="579"/>
                    </a:lnTo>
                    <a:lnTo>
                      <a:pt x="611" y="562"/>
                    </a:lnTo>
                    <a:lnTo>
                      <a:pt x="623" y="546"/>
                    </a:lnTo>
                    <a:lnTo>
                      <a:pt x="643" y="553"/>
                    </a:lnTo>
                    <a:lnTo>
                      <a:pt x="664" y="556"/>
                    </a:lnTo>
                    <a:lnTo>
                      <a:pt x="671" y="544"/>
                    </a:lnTo>
                    <a:lnTo>
                      <a:pt x="659" y="526"/>
                    </a:lnTo>
                    <a:lnTo>
                      <a:pt x="644" y="513"/>
                    </a:lnTo>
                    <a:lnTo>
                      <a:pt x="653" y="495"/>
                    </a:lnTo>
                    <a:lnTo>
                      <a:pt x="673" y="498"/>
                    </a:lnTo>
                    <a:lnTo>
                      <a:pt x="695" y="498"/>
                    </a:lnTo>
                    <a:lnTo>
                      <a:pt x="701" y="483"/>
                    </a:lnTo>
                    <a:lnTo>
                      <a:pt x="685" y="468"/>
                    </a:lnTo>
                    <a:lnTo>
                      <a:pt x="667" y="458"/>
                    </a:lnTo>
                    <a:lnTo>
                      <a:pt x="673" y="438"/>
                    </a:lnTo>
                    <a:lnTo>
                      <a:pt x="694" y="438"/>
                    </a:lnTo>
                    <a:lnTo>
                      <a:pt x="715" y="434"/>
                    </a:lnTo>
                    <a:lnTo>
                      <a:pt x="718" y="419"/>
                    </a:lnTo>
                    <a:lnTo>
                      <a:pt x="698" y="407"/>
                    </a:lnTo>
                    <a:lnTo>
                      <a:pt x="680" y="399"/>
                    </a:lnTo>
                    <a:lnTo>
                      <a:pt x="682" y="380"/>
                    </a:lnTo>
                    <a:lnTo>
                      <a:pt x="701" y="375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37" name="Oval 12">
                <a:extLst>
                  <a:ext uri="{FF2B5EF4-FFF2-40B4-BE49-F238E27FC236}">
                    <a16:creationId xmlns:a16="http://schemas.microsoft.com/office/drawing/2014/main" id="{1023DD79-9D42-4FD1-9571-730F87D20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9527" y="2534359"/>
                <a:ext cx="502484" cy="50248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3"/>
                  </a:solidFill>
                  <a:cs typeface="Arial" charset="0"/>
                </a:endParaRPr>
              </a:p>
            </p:txBody>
          </p:sp>
        </p:grpSp>
        <p:grpSp>
          <p:nvGrpSpPr>
            <p:cNvPr id="33" name="Gruppierung 151">
              <a:extLst>
                <a:ext uri="{FF2B5EF4-FFF2-40B4-BE49-F238E27FC236}">
                  <a16:creationId xmlns:a16="http://schemas.microsoft.com/office/drawing/2014/main" id="{6601090F-E3A0-4389-8EFD-A8E15B97AF82}"/>
                </a:ext>
              </a:extLst>
            </p:cNvPr>
            <p:cNvGrpSpPr/>
            <p:nvPr/>
          </p:nvGrpSpPr>
          <p:grpSpPr>
            <a:xfrm>
              <a:off x="4385820" y="1741573"/>
              <a:ext cx="824815" cy="825997"/>
              <a:chOff x="4907163" y="2057400"/>
              <a:chExt cx="918913" cy="920230"/>
            </a:xfrm>
          </p:grpSpPr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id="{AABC17A3-C896-4687-90C3-B4DBB9A180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07163" y="2057400"/>
                <a:ext cx="918913" cy="920230"/>
              </a:xfrm>
              <a:custGeom>
                <a:avLst/>
                <a:gdLst>
                  <a:gd name="T0" fmla="*/ 649 w 697"/>
                  <a:gd name="T1" fmla="*/ 318 h 698"/>
                  <a:gd name="T2" fmla="*/ 646 w 697"/>
                  <a:gd name="T3" fmla="*/ 259 h 698"/>
                  <a:gd name="T4" fmla="*/ 661 w 697"/>
                  <a:gd name="T5" fmla="*/ 195 h 698"/>
                  <a:gd name="T6" fmla="*/ 613 w 697"/>
                  <a:gd name="T7" fmla="*/ 204 h 698"/>
                  <a:gd name="T8" fmla="*/ 589 w 697"/>
                  <a:gd name="T9" fmla="*/ 152 h 698"/>
                  <a:gd name="T10" fmla="*/ 579 w 697"/>
                  <a:gd name="T11" fmla="*/ 87 h 698"/>
                  <a:gd name="T12" fmla="*/ 538 w 697"/>
                  <a:gd name="T13" fmla="*/ 114 h 698"/>
                  <a:gd name="T14" fmla="*/ 495 w 697"/>
                  <a:gd name="T15" fmla="*/ 74 h 698"/>
                  <a:gd name="T16" fmla="*/ 461 w 697"/>
                  <a:gd name="T17" fmla="*/ 18 h 698"/>
                  <a:gd name="T18" fmla="*/ 434 w 697"/>
                  <a:gd name="T19" fmla="*/ 59 h 698"/>
                  <a:gd name="T20" fmla="*/ 380 w 697"/>
                  <a:gd name="T21" fmla="*/ 38 h 698"/>
                  <a:gd name="T22" fmla="*/ 326 w 697"/>
                  <a:gd name="T23" fmla="*/ 0 h 698"/>
                  <a:gd name="T24" fmla="*/ 315 w 697"/>
                  <a:gd name="T25" fmla="*/ 48 h 698"/>
                  <a:gd name="T26" fmla="*/ 259 w 697"/>
                  <a:gd name="T27" fmla="*/ 50 h 698"/>
                  <a:gd name="T28" fmla="*/ 194 w 697"/>
                  <a:gd name="T29" fmla="*/ 35 h 698"/>
                  <a:gd name="T30" fmla="*/ 203 w 697"/>
                  <a:gd name="T31" fmla="*/ 83 h 698"/>
                  <a:gd name="T32" fmla="*/ 151 w 697"/>
                  <a:gd name="T33" fmla="*/ 107 h 698"/>
                  <a:gd name="T34" fmla="*/ 86 w 697"/>
                  <a:gd name="T35" fmla="*/ 119 h 698"/>
                  <a:gd name="T36" fmla="*/ 113 w 697"/>
                  <a:gd name="T37" fmla="*/ 159 h 698"/>
                  <a:gd name="T38" fmla="*/ 73 w 697"/>
                  <a:gd name="T39" fmla="*/ 201 h 698"/>
                  <a:gd name="T40" fmla="*/ 18 w 697"/>
                  <a:gd name="T41" fmla="*/ 235 h 698"/>
                  <a:gd name="T42" fmla="*/ 58 w 697"/>
                  <a:gd name="T43" fmla="*/ 262 h 698"/>
                  <a:gd name="T44" fmla="*/ 37 w 697"/>
                  <a:gd name="T45" fmla="*/ 318 h 698"/>
                  <a:gd name="T46" fmla="*/ 0 w 697"/>
                  <a:gd name="T47" fmla="*/ 372 h 698"/>
                  <a:gd name="T48" fmla="*/ 47 w 697"/>
                  <a:gd name="T49" fmla="*/ 381 h 698"/>
                  <a:gd name="T50" fmla="*/ 49 w 697"/>
                  <a:gd name="T51" fmla="*/ 439 h 698"/>
                  <a:gd name="T52" fmla="*/ 34 w 697"/>
                  <a:gd name="T53" fmla="*/ 503 h 698"/>
                  <a:gd name="T54" fmla="*/ 82 w 697"/>
                  <a:gd name="T55" fmla="*/ 493 h 698"/>
                  <a:gd name="T56" fmla="*/ 106 w 697"/>
                  <a:gd name="T57" fmla="*/ 547 h 698"/>
                  <a:gd name="T58" fmla="*/ 118 w 697"/>
                  <a:gd name="T59" fmla="*/ 611 h 698"/>
                  <a:gd name="T60" fmla="*/ 158 w 697"/>
                  <a:gd name="T61" fmla="*/ 584 h 698"/>
                  <a:gd name="T62" fmla="*/ 200 w 697"/>
                  <a:gd name="T63" fmla="*/ 623 h 698"/>
                  <a:gd name="T64" fmla="*/ 235 w 697"/>
                  <a:gd name="T65" fmla="*/ 680 h 698"/>
                  <a:gd name="T66" fmla="*/ 261 w 697"/>
                  <a:gd name="T67" fmla="*/ 640 h 698"/>
                  <a:gd name="T68" fmla="*/ 317 w 697"/>
                  <a:gd name="T69" fmla="*/ 659 h 698"/>
                  <a:gd name="T70" fmla="*/ 369 w 697"/>
                  <a:gd name="T71" fmla="*/ 698 h 698"/>
                  <a:gd name="T72" fmla="*/ 380 w 697"/>
                  <a:gd name="T73" fmla="*/ 650 h 698"/>
                  <a:gd name="T74" fmla="*/ 438 w 697"/>
                  <a:gd name="T75" fmla="*/ 649 h 698"/>
                  <a:gd name="T76" fmla="*/ 502 w 697"/>
                  <a:gd name="T77" fmla="*/ 662 h 698"/>
                  <a:gd name="T78" fmla="*/ 492 w 697"/>
                  <a:gd name="T79" fmla="*/ 614 h 698"/>
                  <a:gd name="T80" fmla="*/ 546 w 697"/>
                  <a:gd name="T81" fmla="*/ 590 h 698"/>
                  <a:gd name="T82" fmla="*/ 610 w 697"/>
                  <a:gd name="T83" fmla="*/ 580 h 698"/>
                  <a:gd name="T84" fmla="*/ 583 w 697"/>
                  <a:gd name="T85" fmla="*/ 539 h 698"/>
                  <a:gd name="T86" fmla="*/ 622 w 697"/>
                  <a:gd name="T87" fmla="*/ 497 h 698"/>
                  <a:gd name="T88" fmla="*/ 679 w 697"/>
                  <a:gd name="T89" fmla="*/ 461 h 698"/>
                  <a:gd name="T90" fmla="*/ 637 w 697"/>
                  <a:gd name="T91" fmla="*/ 435 h 698"/>
                  <a:gd name="T92" fmla="*/ 658 w 697"/>
                  <a:gd name="T93" fmla="*/ 381 h 698"/>
                  <a:gd name="T94" fmla="*/ 697 w 697"/>
                  <a:gd name="T95" fmla="*/ 327 h 6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97" h="698">
                    <a:moveTo>
                      <a:pt x="694" y="325"/>
                    </a:moveTo>
                    <a:lnTo>
                      <a:pt x="676" y="321"/>
                    </a:lnTo>
                    <a:lnTo>
                      <a:pt x="658" y="318"/>
                    </a:lnTo>
                    <a:lnTo>
                      <a:pt x="649" y="318"/>
                    </a:lnTo>
                    <a:lnTo>
                      <a:pt x="648" y="303"/>
                    </a:lnTo>
                    <a:lnTo>
                      <a:pt x="642" y="273"/>
                    </a:lnTo>
                    <a:lnTo>
                      <a:pt x="637" y="262"/>
                    </a:lnTo>
                    <a:lnTo>
                      <a:pt x="646" y="259"/>
                    </a:lnTo>
                    <a:lnTo>
                      <a:pt x="663" y="249"/>
                    </a:lnTo>
                    <a:lnTo>
                      <a:pt x="676" y="238"/>
                    </a:lnTo>
                    <a:lnTo>
                      <a:pt x="679" y="235"/>
                    </a:lnTo>
                    <a:lnTo>
                      <a:pt x="661" y="195"/>
                    </a:lnTo>
                    <a:lnTo>
                      <a:pt x="660" y="195"/>
                    </a:lnTo>
                    <a:lnTo>
                      <a:pt x="640" y="197"/>
                    </a:lnTo>
                    <a:lnTo>
                      <a:pt x="622" y="201"/>
                    </a:lnTo>
                    <a:lnTo>
                      <a:pt x="613" y="204"/>
                    </a:lnTo>
                    <a:lnTo>
                      <a:pt x="607" y="192"/>
                    </a:lnTo>
                    <a:lnTo>
                      <a:pt x="591" y="168"/>
                    </a:lnTo>
                    <a:lnTo>
                      <a:pt x="583" y="159"/>
                    </a:lnTo>
                    <a:lnTo>
                      <a:pt x="589" y="152"/>
                    </a:lnTo>
                    <a:lnTo>
                      <a:pt x="601" y="137"/>
                    </a:lnTo>
                    <a:lnTo>
                      <a:pt x="609" y="120"/>
                    </a:lnTo>
                    <a:lnTo>
                      <a:pt x="610" y="119"/>
                    </a:lnTo>
                    <a:lnTo>
                      <a:pt x="579" y="87"/>
                    </a:lnTo>
                    <a:lnTo>
                      <a:pt x="576" y="87"/>
                    </a:lnTo>
                    <a:lnTo>
                      <a:pt x="559" y="96"/>
                    </a:lnTo>
                    <a:lnTo>
                      <a:pt x="546" y="107"/>
                    </a:lnTo>
                    <a:lnTo>
                      <a:pt x="538" y="114"/>
                    </a:lnTo>
                    <a:lnTo>
                      <a:pt x="529" y="107"/>
                    </a:lnTo>
                    <a:lnTo>
                      <a:pt x="505" y="90"/>
                    </a:lnTo>
                    <a:lnTo>
                      <a:pt x="492" y="83"/>
                    </a:lnTo>
                    <a:lnTo>
                      <a:pt x="495" y="74"/>
                    </a:lnTo>
                    <a:lnTo>
                      <a:pt x="499" y="56"/>
                    </a:lnTo>
                    <a:lnTo>
                      <a:pt x="502" y="38"/>
                    </a:lnTo>
                    <a:lnTo>
                      <a:pt x="502" y="35"/>
                    </a:lnTo>
                    <a:lnTo>
                      <a:pt x="461" y="18"/>
                    </a:lnTo>
                    <a:lnTo>
                      <a:pt x="459" y="20"/>
                    </a:lnTo>
                    <a:lnTo>
                      <a:pt x="447" y="33"/>
                    </a:lnTo>
                    <a:lnTo>
                      <a:pt x="438" y="50"/>
                    </a:lnTo>
                    <a:lnTo>
                      <a:pt x="434" y="59"/>
                    </a:lnTo>
                    <a:lnTo>
                      <a:pt x="423" y="56"/>
                    </a:lnTo>
                    <a:lnTo>
                      <a:pt x="393" y="50"/>
                    </a:lnTo>
                    <a:lnTo>
                      <a:pt x="380" y="48"/>
                    </a:lnTo>
                    <a:lnTo>
                      <a:pt x="380" y="38"/>
                    </a:lnTo>
                    <a:lnTo>
                      <a:pt x="377" y="20"/>
                    </a:lnTo>
                    <a:lnTo>
                      <a:pt x="371" y="2"/>
                    </a:lnTo>
                    <a:lnTo>
                      <a:pt x="369" y="0"/>
                    </a:lnTo>
                    <a:lnTo>
                      <a:pt x="326" y="0"/>
                    </a:lnTo>
                    <a:lnTo>
                      <a:pt x="324" y="2"/>
                    </a:lnTo>
                    <a:lnTo>
                      <a:pt x="320" y="20"/>
                    </a:lnTo>
                    <a:lnTo>
                      <a:pt x="317" y="38"/>
                    </a:lnTo>
                    <a:lnTo>
                      <a:pt x="315" y="48"/>
                    </a:lnTo>
                    <a:lnTo>
                      <a:pt x="302" y="50"/>
                    </a:lnTo>
                    <a:lnTo>
                      <a:pt x="272" y="56"/>
                    </a:lnTo>
                    <a:lnTo>
                      <a:pt x="261" y="59"/>
                    </a:lnTo>
                    <a:lnTo>
                      <a:pt x="259" y="50"/>
                    </a:lnTo>
                    <a:lnTo>
                      <a:pt x="248" y="33"/>
                    </a:lnTo>
                    <a:lnTo>
                      <a:pt x="236" y="20"/>
                    </a:lnTo>
                    <a:lnTo>
                      <a:pt x="235" y="18"/>
                    </a:lnTo>
                    <a:lnTo>
                      <a:pt x="194" y="35"/>
                    </a:lnTo>
                    <a:lnTo>
                      <a:pt x="194" y="38"/>
                    </a:lnTo>
                    <a:lnTo>
                      <a:pt x="196" y="56"/>
                    </a:lnTo>
                    <a:lnTo>
                      <a:pt x="200" y="74"/>
                    </a:lnTo>
                    <a:lnTo>
                      <a:pt x="203" y="83"/>
                    </a:lnTo>
                    <a:lnTo>
                      <a:pt x="191" y="90"/>
                    </a:lnTo>
                    <a:lnTo>
                      <a:pt x="167" y="107"/>
                    </a:lnTo>
                    <a:lnTo>
                      <a:pt x="157" y="114"/>
                    </a:lnTo>
                    <a:lnTo>
                      <a:pt x="151" y="107"/>
                    </a:lnTo>
                    <a:lnTo>
                      <a:pt x="136" y="96"/>
                    </a:lnTo>
                    <a:lnTo>
                      <a:pt x="119" y="87"/>
                    </a:lnTo>
                    <a:lnTo>
                      <a:pt x="116" y="87"/>
                    </a:lnTo>
                    <a:lnTo>
                      <a:pt x="86" y="119"/>
                    </a:lnTo>
                    <a:lnTo>
                      <a:pt x="86" y="120"/>
                    </a:lnTo>
                    <a:lnTo>
                      <a:pt x="95" y="137"/>
                    </a:lnTo>
                    <a:lnTo>
                      <a:pt x="106" y="152"/>
                    </a:lnTo>
                    <a:lnTo>
                      <a:pt x="113" y="159"/>
                    </a:lnTo>
                    <a:lnTo>
                      <a:pt x="104" y="168"/>
                    </a:lnTo>
                    <a:lnTo>
                      <a:pt x="89" y="192"/>
                    </a:lnTo>
                    <a:lnTo>
                      <a:pt x="82" y="204"/>
                    </a:lnTo>
                    <a:lnTo>
                      <a:pt x="73" y="201"/>
                    </a:lnTo>
                    <a:lnTo>
                      <a:pt x="55" y="197"/>
                    </a:lnTo>
                    <a:lnTo>
                      <a:pt x="37" y="195"/>
                    </a:lnTo>
                    <a:lnTo>
                      <a:pt x="34" y="195"/>
                    </a:lnTo>
                    <a:lnTo>
                      <a:pt x="18" y="235"/>
                    </a:lnTo>
                    <a:lnTo>
                      <a:pt x="19" y="238"/>
                    </a:lnTo>
                    <a:lnTo>
                      <a:pt x="33" y="249"/>
                    </a:lnTo>
                    <a:lnTo>
                      <a:pt x="49" y="259"/>
                    </a:lnTo>
                    <a:lnTo>
                      <a:pt x="58" y="262"/>
                    </a:lnTo>
                    <a:lnTo>
                      <a:pt x="55" y="273"/>
                    </a:lnTo>
                    <a:lnTo>
                      <a:pt x="49" y="303"/>
                    </a:lnTo>
                    <a:lnTo>
                      <a:pt x="47" y="318"/>
                    </a:lnTo>
                    <a:lnTo>
                      <a:pt x="37" y="318"/>
                    </a:lnTo>
                    <a:lnTo>
                      <a:pt x="19" y="321"/>
                    </a:lnTo>
                    <a:lnTo>
                      <a:pt x="1" y="325"/>
                    </a:lnTo>
                    <a:lnTo>
                      <a:pt x="0" y="327"/>
                    </a:lnTo>
                    <a:lnTo>
                      <a:pt x="0" y="372"/>
                    </a:lnTo>
                    <a:lnTo>
                      <a:pt x="1" y="372"/>
                    </a:lnTo>
                    <a:lnTo>
                      <a:pt x="19" y="378"/>
                    </a:lnTo>
                    <a:lnTo>
                      <a:pt x="37" y="381"/>
                    </a:lnTo>
                    <a:lnTo>
                      <a:pt x="47" y="381"/>
                    </a:lnTo>
                    <a:lnTo>
                      <a:pt x="49" y="396"/>
                    </a:lnTo>
                    <a:lnTo>
                      <a:pt x="55" y="424"/>
                    </a:lnTo>
                    <a:lnTo>
                      <a:pt x="58" y="435"/>
                    </a:lnTo>
                    <a:lnTo>
                      <a:pt x="49" y="439"/>
                    </a:lnTo>
                    <a:lnTo>
                      <a:pt x="33" y="448"/>
                    </a:lnTo>
                    <a:lnTo>
                      <a:pt x="19" y="460"/>
                    </a:lnTo>
                    <a:lnTo>
                      <a:pt x="18" y="461"/>
                    </a:lnTo>
                    <a:lnTo>
                      <a:pt x="34" y="503"/>
                    </a:lnTo>
                    <a:lnTo>
                      <a:pt x="37" y="503"/>
                    </a:lnTo>
                    <a:lnTo>
                      <a:pt x="55" y="502"/>
                    </a:lnTo>
                    <a:lnTo>
                      <a:pt x="73" y="497"/>
                    </a:lnTo>
                    <a:lnTo>
                      <a:pt x="82" y="493"/>
                    </a:lnTo>
                    <a:lnTo>
                      <a:pt x="89" y="506"/>
                    </a:lnTo>
                    <a:lnTo>
                      <a:pt x="104" y="530"/>
                    </a:lnTo>
                    <a:lnTo>
                      <a:pt x="113" y="539"/>
                    </a:lnTo>
                    <a:lnTo>
                      <a:pt x="106" y="547"/>
                    </a:lnTo>
                    <a:lnTo>
                      <a:pt x="95" y="562"/>
                    </a:lnTo>
                    <a:lnTo>
                      <a:pt x="86" y="577"/>
                    </a:lnTo>
                    <a:lnTo>
                      <a:pt x="86" y="580"/>
                    </a:lnTo>
                    <a:lnTo>
                      <a:pt x="118" y="611"/>
                    </a:lnTo>
                    <a:lnTo>
                      <a:pt x="119" y="611"/>
                    </a:lnTo>
                    <a:lnTo>
                      <a:pt x="136" y="602"/>
                    </a:lnTo>
                    <a:lnTo>
                      <a:pt x="151" y="590"/>
                    </a:lnTo>
                    <a:lnTo>
                      <a:pt x="158" y="584"/>
                    </a:lnTo>
                    <a:lnTo>
                      <a:pt x="167" y="592"/>
                    </a:lnTo>
                    <a:lnTo>
                      <a:pt x="191" y="608"/>
                    </a:lnTo>
                    <a:lnTo>
                      <a:pt x="203" y="614"/>
                    </a:lnTo>
                    <a:lnTo>
                      <a:pt x="200" y="623"/>
                    </a:lnTo>
                    <a:lnTo>
                      <a:pt x="196" y="641"/>
                    </a:lnTo>
                    <a:lnTo>
                      <a:pt x="194" y="661"/>
                    </a:lnTo>
                    <a:lnTo>
                      <a:pt x="194" y="662"/>
                    </a:lnTo>
                    <a:lnTo>
                      <a:pt x="235" y="680"/>
                    </a:lnTo>
                    <a:lnTo>
                      <a:pt x="236" y="679"/>
                    </a:lnTo>
                    <a:lnTo>
                      <a:pt x="248" y="664"/>
                    </a:lnTo>
                    <a:lnTo>
                      <a:pt x="259" y="649"/>
                    </a:lnTo>
                    <a:lnTo>
                      <a:pt x="261" y="640"/>
                    </a:lnTo>
                    <a:lnTo>
                      <a:pt x="272" y="643"/>
                    </a:lnTo>
                    <a:lnTo>
                      <a:pt x="302" y="649"/>
                    </a:lnTo>
                    <a:lnTo>
                      <a:pt x="315" y="650"/>
                    </a:lnTo>
                    <a:lnTo>
                      <a:pt x="317" y="659"/>
                    </a:lnTo>
                    <a:lnTo>
                      <a:pt x="320" y="679"/>
                    </a:lnTo>
                    <a:lnTo>
                      <a:pt x="324" y="695"/>
                    </a:lnTo>
                    <a:lnTo>
                      <a:pt x="326" y="698"/>
                    </a:lnTo>
                    <a:lnTo>
                      <a:pt x="369" y="698"/>
                    </a:lnTo>
                    <a:lnTo>
                      <a:pt x="371" y="695"/>
                    </a:lnTo>
                    <a:lnTo>
                      <a:pt x="377" y="679"/>
                    </a:lnTo>
                    <a:lnTo>
                      <a:pt x="380" y="659"/>
                    </a:lnTo>
                    <a:lnTo>
                      <a:pt x="380" y="650"/>
                    </a:lnTo>
                    <a:lnTo>
                      <a:pt x="393" y="649"/>
                    </a:lnTo>
                    <a:lnTo>
                      <a:pt x="423" y="643"/>
                    </a:lnTo>
                    <a:lnTo>
                      <a:pt x="434" y="640"/>
                    </a:lnTo>
                    <a:lnTo>
                      <a:pt x="438" y="649"/>
                    </a:lnTo>
                    <a:lnTo>
                      <a:pt x="447" y="664"/>
                    </a:lnTo>
                    <a:lnTo>
                      <a:pt x="459" y="679"/>
                    </a:lnTo>
                    <a:lnTo>
                      <a:pt x="461" y="680"/>
                    </a:lnTo>
                    <a:lnTo>
                      <a:pt x="502" y="662"/>
                    </a:lnTo>
                    <a:lnTo>
                      <a:pt x="502" y="661"/>
                    </a:lnTo>
                    <a:lnTo>
                      <a:pt x="499" y="641"/>
                    </a:lnTo>
                    <a:lnTo>
                      <a:pt x="495" y="623"/>
                    </a:lnTo>
                    <a:lnTo>
                      <a:pt x="492" y="614"/>
                    </a:lnTo>
                    <a:lnTo>
                      <a:pt x="505" y="608"/>
                    </a:lnTo>
                    <a:lnTo>
                      <a:pt x="529" y="592"/>
                    </a:lnTo>
                    <a:lnTo>
                      <a:pt x="538" y="584"/>
                    </a:lnTo>
                    <a:lnTo>
                      <a:pt x="546" y="590"/>
                    </a:lnTo>
                    <a:lnTo>
                      <a:pt x="561" y="602"/>
                    </a:lnTo>
                    <a:lnTo>
                      <a:pt x="576" y="610"/>
                    </a:lnTo>
                    <a:lnTo>
                      <a:pt x="579" y="611"/>
                    </a:lnTo>
                    <a:lnTo>
                      <a:pt x="610" y="580"/>
                    </a:lnTo>
                    <a:lnTo>
                      <a:pt x="609" y="577"/>
                    </a:lnTo>
                    <a:lnTo>
                      <a:pt x="601" y="562"/>
                    </a:lnTo>
                    <a:lnTo>
                      <a:pt x="589" y="547"/>
                    </a:lnTo>
                    <a:lnTo>
                      <a:pt x="583" y="539"/>
                    </a:lnTo>
                    <a:lnTo>
                      <a:pt x="591" y="530"/>
                    </a:lnTo>
                    <a:lnTo>
                      <a:pt x="607" y="506"/>
                    </a:lnTo>
                    <a:lnTo>
                      <a:pt x="613" y="493"/>
                    </a:lnTo>
                    <a:lnTo>
                      <a:pt x="622" y="497"/>
                    </a:lnTo>
                    <a:lnTo>
                      <a:pt x="640" y="502"/>
                    </a:lnTo>
                    <a:lnTo>
                      <a:pt x="660" y="503"/>
                    </a:lnTo>
                    <a:lnTo>
                      <a:pt x="661" y="503"/>
                    </a:lnTo>
                    <a:lnTo>
                      <a:pt x="679" y="461"/>
                    </a:lnTo>
                    <a:lnTo>
                      <a:pt x="676" y="460"/>
                    </a:lnTo>
                    <a:lnTo>
                      <a:pt x="663" y="448"/>
                    </a:lnTo>
                    <a:lnTo>
                      <a:pt x="646" y="439"/>
                    </a:lnTo>
                    <a:lnTo>
                      <a:pt x="637" y="435"/>
                    </a:lnTo>
                    <a:lnTo>
                      <a:pt x="642" y="424"/>
                    </a:lnTo>
                    <a:lnTo>
                      <a:pt x="648" y="396"/>
                    </a:lnTo>
                    <a:lnTo>
                      <a:pt x="649" y="381"/>
                    </a:lnTo>
                    <a:lnTo>
                      <a:pt x="658" y="381"/>
                    </a:lnTo>
                    <a:lnTo>
                      <a:pt x="676" y="378"/>
                    </a:lnTo>
                    <a:lnTo>
                      <a:pt x="694" y="372"/>
                    </a:lnTo>
                    <a:lnTo>
                      <a:pt x="697" y="372"/>
                    </a:lnTo>
                    <a:lnTo>
                      <a:pt x="697" y="327"/>
                    </a:lnTo>
                    <a:lnTo>
                      <a:pt x="694" y="32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endParaRPr lang="de-DE" sz="2000" b="1" dirty="0"/>
              </a:p>
            </p:txBody>
          </p:sp>
          <p:sp>
            <p:nvSpPr>
              <p:cNvPr id="35" name="Oval 12">
                <a:extLst>
                  <a:ext uri="{FF2B5EF4-FFF2-40B4-BE49-F238E27FC236}">
                    <a16:creationId xmlns:a16="http://schemas.microsoft.com/office/drawing/2014/main" id="{D6E1DF4F-E502-4445-914C-1FC937AF2C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15376" y="2266274"/>
                <a:ext cx="502484" cy="502484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ffectLst/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de-DE" sz="2000" b="1" dirty="0">
                  <a:solidFill>
                    <a:schemeClr val="accent1"/>
                  </a:solidFill>
                  <a:cs typeface="Arial" charset="0"/>
                </a:endParaRPr>
              </a:p>
            </p:txBody>
          </p:sp>
        </p:grpSp>
      </p:grpSp>
      <p:sp>
        <p:nvSpPr>
          <p:cNvPr id="53" name="Text Box 13" descr="PresentationLoad.com">
            <a:extLst>
              <a:ext uri="{FF2B5EF4-FFF2-40B4-BE49-F238E27FC236}">
                <a16:creationId xmlns:a16="http://schemas.microsoft.com/office/drawing/2014/main" id="{B29D150F-9E88-44AC-ACB1-18B4D5A666F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89088" y="2111439"/>
            <a:ext cx="3960000" cy="17249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72000" bIns="0" anchor="ctr">
            <a:noAutofit/>
          </a:bodyPr>
          <a:lstStyle/>
          <a:p>
            <a:pPr algn="r" defTabSz="643708">
              <a:lnSpc>
                <a:spcPts val="2200"/>
              </a:lnSpc>
              <a:spcAft>
                <a:spcPts val="1138"/>
              </a:spcAft>
            </a:pPr>
            <a:r>
              <a:rPr lang="de-DE" sz="1600" b="1" dirty="0">
                <a:solidFill>
                  <a:schemeClr val="accent5"/>
                </a:solidFill>
              </a:rPr>
              <a:t>Bedingungen für den Handel </a:t>
            </a:r>
            <a:r>
              <a:rPr lang="de-DE" sz="1600" dirty="0"/>
              <a:t>mit Energiematerialien, -produkten und energiebezogener Ausrüstung auf der </a:t>
            </a:r>
            <a:r>
              <a:rPr lang="de-DE" sz="1600" b="1" dirty="0">
                <a:solidFill>
                  <a:schemeClr val="accent5"/>
                </a:solidFill>
              </a:rPr>
              <a:t>Grundlage von Regeln der WTO</a:t>
            </a:r>
            <a:r>
              <a:rPr lang="de-DE" sz="1600" dirty="0"/>
              <a:t>, sowie Regelungen zur </a:t>
            </a:r>
            <a:r>
              <a:rPr lang="de-DE" sz="1600" b="1" dirty="0">
                <a:solidFill>
                  <a:schemeClr val="accent5"/>
                </a:solidFill>
              </a:rPr>
              <a:t>Gewährleistung</a:t>
            </a:r>
            <a:r>
              <a:rPr lang="de-DE" sz="1600" dirty="0"/>
              <a:t> von grenzüberschreitendem Energietransit </a:t>
            </a:r>
          </a:p>
        </p:txBody>
      </p:sp>
      <p:sp>
        <p:nvSpPr>
          <p:cNvPr id="54" name="Text Box 13" descr="PresentationLoad.com">
            <a:extLst>
              <a:ext uri="{FF2B5EF4-FFF2-40B4-BE49-F238E27FC236}">
                <a16:creationId xmlns:a16="http://schemas.microsoft.com/office/drawing/2014/main" id="{8D976BD8-2C71-40F1-868E-F5C1B64A888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789088" y="3931374"/>
            <a:ext cx="3960000" cy="1637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72000" bIns="0" anchor="ctr" anchorCtr="0">
            <a:noAutofit/>
          </a:bodyPr>
          <a:lstStyle/>
          <a:p>
            <a:pPr algn="r">
              <a:lnSpc>
                <a:spcPts val="2200"/>
              </a:lnSpc>
            </a:pPr>
            <a:r>
              <a:rPr lang="de-DE" sz="1600" dirty="0"/>
              <a:t>Streitbeilegung entweder durch Befassung des </a:t>
            </a:r>
            <a:r>
              <a:rPr lang="de-DE" sz="1600" b="1" dirty="0">
                <a:solidFill>
                  <a:schemeClr val="accent2"/>
                </a:solidFill>
              </a:rPr>
              <a:t>nationalen Gerichts </a:t>
            </a:r>
            <a:r>
              <a:rPr lang="de-DE" sz="1600" dirty="0"/>
              <a:t>oder durch Einschalten eines </a:t>
            </a:r>
            <a:r>
              <a:rPr lang="de-DE" sz="1600" b="1" dirty="0">
                <a:solidFill>
                  <a:schemeClr val="accent2"/>
                </a:solidFill>
              </a:rPr>
              <a:t>internationalen</a:t>
            </a:r>
            <a:r>
              <a:rPr lang="de-DE" sz="1600" dirty="0">
                <a:solidFill>
                  <a:schemeClr val="accent2"/>
                </a:solidFill>
              </a:rPr>
              <a:t> </a:t>
            </a:r>
            <a:r>
              <a:rPr lang="de-DE" sz="1600" b="1" dirty="0">
                <a:solidFill>
                  <a:schemeClr val="accent2"/>
                </a:solidFill>
              </a:rPr>
              <a:t>Schiedsgerichts</a:t>
            </a:r>
            <a:r>
              <a:rPr lang="de-DE" sz="1600" dirty="0">
                <a:solidFill>
                  <a:schemeClr val="accent2"/>
                </a:solidFill>
              </a:rPr>
              <a:t> </a:t>
            </a:r>
          </a:p>
        </p:txBody>
      </p:sp>
      <p:cxnSp>
        <p:nvCxnSpPr>
          <p:cNvPr id="55" name="Gerade Verbindung 46" descr="PresentationLoad.com">
            <a:extLst>
              <a:ext uri="{FF2B5EF4-FFF2-40B4-BE49-F238E27FC236}">
                <a16:creationId xmlns:a16="http://schemas.microsoft.com/office/drawing/2014/main" id="{C2599965-D896-45B3-8594-D6643D30CA0A}"/>
              </a:ext>
            </a:extLst>
          </p:cNvPr>
          <p:cNvCxnSpPr/>
          <p:nvPr/>
        </p:nvCxnSpPr>
        <p:spPr bwMode="gray">
          <a:xfrm>
            <a:off x="7789088" y="3836391"/>
            <a:ext cx="3960000" cy="0"/>
          </a:xfrm>
          <a:prstGeom prst="line">
            <a:avLst/>
          </a:prstGeom>
          <a:noFill/>
          <a:ln w="12700">
            <a:solidFill>
              <a:schemeClr val="bg2">
                <a:lumMod val="90000"/>
              </a:schemeClr>
            </a:solidFill>
            <a:prstDash val="sysDot"/>
            <a:round/>
            <a:headEnd/>
            <a:tailEnd/>
          </a:ln>
        </p:spPr>
      </p:cxnSp>
    </p:spTree>
    <p:extLst>
      <p:ext uri="{BB962C8B-B14F-4D97-AF65-F5344CB8AC3E}">
        <p14:creationId xmlns:p14="http://schemas.microsoft.com/office/powerpoint/2010/main" val="309691850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64" grpId="0"/>
      <p:bldP spid="53" grpId="0"/>
      <p:bldP spid="5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ternationales Recht: Doppelbesteuerungsabkommen 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6"/>
          </p:nvPr>
        </p:nvSpPr>
        <p:spPr/>
        <p:txBody>
          <a:bodyPr/>
          <a:lstStyle/>
          <a:p>
            <a:r>
              <a:rPr lang="de-DE" dirty="0"/>
              <a:t>Abkommen zur Vermeidung von Doppelbesteuerung auf dem Gebiet der </a:t>
            </a:r>
            <a:br>
              <a:rPr lang="de-DE" dirty="0"/>
            </a:br>
            <a:r>
              <a:rPr lang="de-DE" dirty="0"/>
              <a:t>Steuern auf Einkommen und Vermögen aus dem Jahre 1995</a:t>
            </a:r>
          </a:p>
          <a:p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03C3351-D312-4B96-9D9E-D79CF3416B4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de-DE"/>
              <a:t>Rechtliche Rahmenbedingungen für deutsche Unternehmen in der Mongolei </a:t>
            </a:r>
            <a:endParaRPr lang="de-DE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9EA079F-60C5-446E-8257-4ACAC2CD621C}"/>
              </a:ext>
            </a:extLst>
          </p:cNvPr>
          <p:cNvGrpSpPr>
            <a:grpSpLocks noChangeAspect="1"/>
          </p:cNvGrpSpPr>
          <p:nvPr/>
        </p:nvGrpSpPr>
        <p:grpSpPr>
          <a:xfrm>
            <a:off x="11117211" y="353820"/>
            <a:ext cx="633600" cy="633600"/>
            <a:chOff x="944563" y="1219200"/>
            <a:chExt cx="123825" cy="123825"/>
          </a:xfrm>
          <a:solidFill>
            <a:schemeClr val="tx1"/>
          </a:solidFill>
        </p:grpSpPr>
        <p:sp>
          <p:nvSpPr>
            <p:cNvPr id="12" name="Freeform 70">
              <a:extLst>
                <a:ext uri="{FF2B5EF4-FFF2-40B4-BE49-F238E27FC236}">
                  <a16:creationId xmlns:a16="http://schemas.microsoft.com/office/drawing/2014/main" id="{213E04B6-DCCC-4630-9854-93F88868EE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4563" y="1219200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5 w 78"/>
                <a:gd name="T11" fmla="*/ 74 h 78"/>
                <a:gd name="T12" fmla="*/ 4 w 78"/>
                <a:gd name="T13" fmla="*/ 74 h 78"/>
                <a:gd name="T14" fmla="*/ 4 w 78"/>
                <a:gd name="T15" fmla="*/ 3 h 78"/>
                <a:gd name="T16" fmla="*/ 75 w 78"/>
                <a:gd name="T17" fmla="*/ 3 h 78"/>
                <a:gd name="T18" fmla="*/ 75 w 78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5" y="74"/>
                  </a:moveTo>
                  <a:lnTo>
                    <a:pt x="4" y="74"/>
                  </a:lnTo>
                  <a:lnTo>
                    <a:pt x="4" y="3"/>
                  </a:lnTo>
                  <a:lnTo>
                    <a:pt x="75" y="3"/>
                  </a:lnTo>
                  <a:lnTo>
                    <a:pt x="75" y="7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3" name="Freeform 71">
              <a:extLst>
                <a:ext uri="{FF2B5EF4-FFF2-40B4-BE49-F238E27FC236}">
                  <a16:creationId xmlns:a16="http://schemas.microsoft.com/office/drawing/2014/main" id="{7D5A66AC-D1A6-4F19-8DF7-0F8C4B7C7C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438" y="1235075"/>
              <a:ext cx="92075" cy="38100"/>
            </a:xfrm>
            <a:custGeom>
              <a:avLst/>
              <a:gdLst>
                <a:gd name="T0" fmla="*/ 58 w 58"/>
                <a:gd name="T1" fmla="*/ 0 h 24"/>
                <a:gd name="T2" fmla="*/ 0 w 58"/>
                <a:gd name="T3" fmla="*/ 0 h 24"/>
                <a:gd name="T4" fmla="*/ 0 w 58"/>
                <a:gd name="T5" fmla="*/ 24 h 24"/>
                <a:gd name="T6" fmla="*/ 58 w 58"/>
                <a:gd name="T7" fmla="*/ 24 h 24"/>
                <a:gd name="T8" fmla="*/ 58 w 58"/>
                <a:gd name="T9" fmla="*/ 0 h 24"/>
                <a:gd name="T10" fmla="*/ 55 w 58"/>
                <a:gd name="T11" fmla="*/ 21 h 24"/>
                <a:gd name="T12" fmla="*/ 3 w 58"/>
                <a:gd name="T13" fmla="*/ 21 h 24"/>
                <a:gd name="T14" fmla="*/ 3 w 58"/>
                <a:gd name="T15" fmla="*/ 4 h 24"/>
                <a:gd name="T16" fmla="*/ 55 w 58"/>
                <a:gd name="T17" fmla="*/ 4 h 24"/>
                <a:gd name="T18" fmla="*/ 55 w 58"/>
                <a:gd name="T19" fmla="*/ 2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24">
                  <a:moveTo>
                    <a:pt x="58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58" y="24"/>
                  </a:lnTo>
                  <a:lnTo>
                    <a:pt x="58" y="0"/>
                  </a:lnTo>
                  <a:close/>
                  <a:moveTo>
                    <a:pt x="55" y="21"/>
                  </a:moveTo>
                  <a:lnTo>
                    <a:pt x="3" y="21"/>
                  </a:lnTo>
                  <a:lnTo>
                    <a:pt x="3" y="4"/>
                  </a:lnTo>
                  <a:lnTo>
                    <a:pt x="55" y="4"/>
                  </a:lnTo>
                  <a:lnTo>
                    <a:pt x="55" y="2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4" name="Freeform 72">
              <a:extLst>
                <a:ext uri="{FF2B5EF4-FFF2-40B4-BE49-F238E27FC236}">
                  <a16:creationId xmlns:a16="http://schemas.microsoft.com/office/drawing/2014/main" id="{75BA62DB-4B30-4D35-AA2E-540C8C17F7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438" y="1281113"/>
              <a:ext cx="17463" cy="19050"/>
            </a:xfrm>
            <a:custGeom>
              <a:avLst/>
              <a:gdLst>
                <a:gd name="T0" fmla="*/ 11 w 11"/>
                <a:gd name="T1" fmla="*/ 0 h 12"/>
                <a:gd name="T2" fmla="*/ 0 w 11"/>
                <a:gd name="T3" fmla="*/ 0 h 12"/>
                <a:gd name="T4" fmla="*/ 0 w 11"/>
                <a:gd name="T5" fmla="*/ 12 h 12"/>
                <a:gd name="T6" fmla="*/ 11 w 11"/>
                <a:gd name="T7" fmla="*/ 12 h 12"/>
                <a:gd name="T8" fmla="*/ 11 w 11"/>
                <a:gd name="T9" fmla="*/ 0 h 12"/>
                <a:gd name="T10" fmla="*/ 8 w 11"/>
                <a:gd name="T11" fmla="*/ 8 h 12"/>
                <a:gd name="T12" fmla="*/ 3 w 11"/>
                <a:gd name="T13" fmla="*/ 8 h 12"/>
                <a:gd name="T14" fmla="*/ 3 w 11"/>
                <a:gd name="T15" fmla="*/ 4 h 12"/>
                <a:gd name="T16" fmla="*/ 8 w 11"/>
                <a:gd name="T17" fmla="*/ 4 h 12"/>
                <a:gd name="T18" fmla="*/ 8 w 11"/>
                <a:gd name="T1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1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1" y="12"/>
                  </a:lnTo>
                  <a:lnTo>
                    <a:pt x="11" y="0"/>
                  </a:lnTo>
                  <a:close/>
                  <a:moveTo>
                    <a:pt x="8" y="8"/>
                  </a:moveTo>
                  <a:lnTo>
                    <a:pt x="3" y="8"/>
                  </a:lnTo>
                  <a:lnTo>
                    <a:pt x="3" y="4"/>
                  </a:lnTo>
                  <a:lnTo>
                    <a:pt x="8" y="4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5" name="Freeform 73">
              <a:extLst>
                <a:ext uri="{FF2B5EF4-FFF2-40B4-BE49-F238E27FC236}">
                  <a16:creationId xmlns:a16="http://schemas.microsoft.com/office/drawing/2014/main" id="{41FFC082-F462-48C1-BBEC-2B6469C75E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5838" y="1281113"/>
              <a:ext cx="17463" cy="19050"/>
            </a:xfrm>
            <a:custGeom>
              <a:avLst/>
              <a:gdLst>
                <a:gd name="T0" fmla="*/ 0 w 11"/>
                <a:gd name="T1" fmla="*/ 12 h 12"/>
                <a:gd name="T2" fmla="*/ 11 w 11"/>
                <a:gd name="T3" fmla="*/ 12 h 12"/>
                <a:gd name="T4" fmla="*/ 11 w 11"/>
                <a:gd name="T5" fmla="*/ 0 h 12"/>
                <a:gd name="T6" fmla="*/ 0 w 11"/>
                <a:gd name="T7" fmla="*/ 0 h 12"/>
                <a:gd name="T8" fmla="*/ 0 w 11"/>
                <a:gd name="T9" fmla="*/ 12 h 12"/>
                <a:gd name="T10" fmla="*/ 3 w 11"/>
                <a:gd name="T11" fmla="*/ 4 h 12"/>
                <a:gd name="T12" fmla="*/ 8 w 11"/>
                <a:gd name="T13" fmla="*/ 4 h 12"/>
                <a:gd name="T14" fmla="*/ 8 w 11"/>
                <a:gd name="T15" fmla="*/ 8 h 12"/>
                <a:gd name="T16" fmla="*/ 3 w 11"/>
                <a:gd name="T17" fmla="*/ 8 h 12"/>
                <a:gd name="T18" fmla="*/ 3 w 11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0" y="12"/>
                  </a:moveTo>
                  <a:lnTo>
                    <a:pt x="11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2"/>
                  </a:lnTo>
                  <a:close/>
                  <a:moveTo>
                    <a:pt x="3" y="4"/>
                  </a:moveTo>
                  <a:lnTo>
                    <a:pt x="8" y="4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6" name="Freeform 74">
              <a:extLst>
                <a:ext uri="{FF2B5EF4-FFF2-40B4-BE49-F238E27FC236}">
                  <a16:creationId xmlns:a16="http://schemas.microsoft.com/office/drawing/2014/main" id="{816DE567-5614-427C-B7E1-C260B4587D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650" y="1281113"/>
              <a:ext cx="19050" cy="19050"/>
            </a:xfrm>
            <a:custGeom>
              <a:avLst/>
              <a:gdLst>
                <a:gd name="T0" fmla="*/ 0 w 12"/>
                <a:gd name="T1" fmla="*/ 12 h 12"/>
                <a:gd name="T2" fmla="*/ 12 w 12"/>
                <a:gd name="T3" fmla="*/ 12 h 12"/>
                <a:gd name="T4" fmla="*/ 12 w 12"/>
                <a:gd name="T5" fmla="*/ 0 h 12"/>
                <a:gd name="T6" fmla="*/ 0 w 12"/>
                <a:gd name="T7" fmla="*/ 0 h 12"/>
                <a:gd name="T8" fmla="*/ 0 w 12"/>
                <a:gd name="T9" fmla="*/ 12 h 12"/>
                <a:gd name="T10" fmla="*/ 4 w 12"/>
                <a:gd name="T11" fmla="*/ 4 h 12"/>
                <a:gd name="T12" fmla="*/ 8 w 12"/>
                <a:gd name="T13" fmla="*/ 4 h 12"/>
                <a:gd name="T14" fmla="*/ 8 w 12"/>
                <a:gd name="T15" fmla="*/ 8 h 12"/>
                <a:gd name="T16" fmla="*/ 4 w 12"/>
                <a:gd name="T17" fmla="*/ 8 h 12"/>
                <a:gd name="T18" fmla="*/ 4 w 12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2">
                  <a:moveTo>
                    <a:pt x="0" y="12"/>
                  </a:moveTo>
                  <a:lnTo>
                    <a:pt x="12" y="12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2"/>
                  </a:lnTo>
                  <a:close/>
                  <a:moveTo>
                    <a:pt x="4" y="4"/>
                  </a:moveTo>
                  <a:lnTo>
                    <a:pt x="8" y="4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7" name="Freeform 75">
              <a:extLst>
                <a:ext uri="{FF2B5EF4-FFF2-40B4-BE49-F238E27FC236}">
                  <a16:creationId xmlns:a16="http://schemas.microsoft.com/office/drawing/2014/main" id="{57C02085-562A-4D45-B25B-D8262E5A1D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5050" y="1281113"/>
              <a:ext cx="17463" cy="19050"/>
            </a:xfrm>
            <a:custGeom>
              <a:avLst/>
              <a:gdLst>
                <a:gd name="T0" fmla="*/ 0 w 11"/>
                <a:gd name="T1" fmla="*/ 12 h 12"/>
                <a:gd name="T2" fmla="*/ 11 w 11"/>
                <a:gd name="T3" fmla="*/ 12 h 12"/>
                <a:gd name="T4" fmla="*/ 11 w 11"/>
                <a:gd name="T5" fmla="*/ 0 h 12"/>
                <a:gd name="T6" fmla="*/ 0 w 11"/>
                <a:gd name="T7" fmla="*/ 0 h 12"/>
                <a:gd name="T8" fmla="*/ 0 w 11"/>
                <a:gd name="T9" fmla="*/ 12 h 12"/>
                <a:gd name="T10" fmla="*/ 3 w 11"/>
                <a:gd name="T11" fmla="*/ 4 h 12"/>
                <a:gd name="T12" fmla="*/ 8 w 11"/>
                <a:gd name="T13" fmla="*/ 4 h 12"/>
                <a:gd name="T14" fmla="*/ 8 w 11"/>
                <a:gd name="T15" fmla="*/ 8 h 12"/>
                <a:gd name="T16" fmla="*/ 3 w 11"/>
                <a:gd name="T17" fmla="*/ 8 h 12"/>
                <a:gd name="T18" fmla="*/ 3 w 11"/>
                <a:gd name="T19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2">
                  <a:moveTo>
                    <a:pt x="0" y="12"/>
                  </a:moveTo>
                  <a:lnTo>
                    <a:pt x="11" y="1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2"/>
                  </a:lnTo>
                  <a:close/>
                  <a:moveTo>
                    <a:pt x="3" y="4"/>
                  </a:moveTo>
                  <a:lnTo>
                    <a:pt x="8" y="4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8" name="Freeform 76">
              <a:extLst>
                <a:ext uri="{FF2B5EF4-FFF2-40B4-BE49-F238E27FC236}">
                  <a16:creationId xmlns:a16="http://schemas.microsoft.com/office/drawing/2014/main" id="{BBF8DF28-E132-4E3A-8B08-FFDFBA394E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0438" y="1308100"/>
              <a:ext cx="17463" cy="17463"/>
            </a:xfrm>
            <a:custGeom>
              <a:avLst/>
              <a:gdLst>
                <a:gd name="T0" fmla="*/ 11 w 11"/>
                <a:gd name="T1" fmla="*/ 0 h 11"/>
                <a:gd name="T2" fmla="*/ 0 w 11"/>
                <a:gd name="T3" fmla="*/ 0 h 11"/>
                <a:gd name="T4" fmla="*/ 0 w 11"/>
                <a:gd name="T5" fmla="*/ 11 h 11"/>
                <a:gd name="T6" fmla="*/ 11 w 11"/>
                <a:gd name="T7" fmla="*/ 11 h 11"/>
                <a:gd name="T8" fmla="*/ 11 w 11"/>
                <a:gd name="T9" fmla="*/ 0 h 11"/>
                <a:gd name="T10" fmla="*/ 8 w 11"/>
                <a:gd name="T11" fmla="*/ 8 h 11"/>
                <a:gd name="T12" fmla="*/ 3 w 11"/>
                <a:gd name="T13" fmla="*/ 8 h 11"/>
                <a:gd name="T14" fmla="*/ 3 w 11"/>
                <a:gd name="T15" fmla="*/ 3 h 11"/>
                <a:gd name="T16" fmla="*/ 8 w 11"/>
                <a:gd name="T17" fmla="*/ 3 h 11"/>
                <a:gd name="T18" fmla="*/ 8 w 11"/>
                <a:gd name="T1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11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11" y="11"/>
                  </a:lnTo>
                  <a:lnTo>
                    <a:pt x="11" y="0"/>
                  </a:lnTo>
                  <a:close/>
                  <a:moveTo>
                    <a:pt x="8" y="8"/>
                  </a:moveTo>
                  <a:lnTo>
                    <a:pt x="3" y="8"/>
                  </a:lnTo>
                  <a:lnTo>
                    <a:pt x="3" y="3"/>
                  </a:lnTo>
                  <a:lnTo>
                    <a:pt x="8" y="3"/>
                  </a:lnTo>
                  <a:lnTo>
                    <a:pt x="8" y="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19" name="Freeform 77">
              <a:extLst>
                <a:ext uri="{FF2B5EF4-FFF2-40B4-BE49-F238E27FC236}">
                  <a16:creationId xmlns:a16="http://schemas.microsoft.com/office/drawing/2014/main" id="{4C015AF0-1035-45FB-97C6-D27ACA208D6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5838" y="1308100"/>
              <a:ext cx="17463" cy="17463"/>
            </a:xfrm>
            <a:custGeom>
              <a:avLst/>
              <a:gdLst>
                <a:gd name="T0" fmla="*/ 0 w 11"/>
                <a:gd name="T1" fmla="*/ 11 h 11"/>
                <a:gd name="T2" fmla="*/ 11 w 11"/>
                <a:gd name="T3" fmla="*/ 11 h 11"/>
                <a:gd name="T4" fmla="*/ 11 w 11"/>
                <a:gd name="T5" fmla="*/ 0 h 11"/>
                <a:gd name="T6" fmla="*/ 0 w 11"/>
                <a:gd name="T7" fmla="*/ 0 h 11"/>
                <a:gd name="T8" fmla="*/ 0 w 11"/>
                <a:gd name="T9" fmla="*/ 11 h 11"/>
                <a:gd name="T10" fmla="*/ 3 w 11"/>
                <a:gd name="T11" fmla="*/ 3 h 11"/>
                <a:gd name="T12" fmla="*/ 8 w 11"/>
                <a:gd name="T13" fmla="*/ 3 h 11"/>
                <a:gd name="T14" fmla="*/ 8 w 11"/>
                <a:gd name="T15" fmla="*/ 8 h 11"/>
                <a:gd name="T16" fmla="*/ 3 w 11"/>
                <a:gd name="T17" fmla="*/ 8 h 11"/>
                <a:gd name="T18" fmla="*/ 3 w 11"/>
                <a:gd name="T1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0" y="11"/>
                  </a:moveTo>
                  <a:lnTo>
                    <a:pt x="11" y="1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1"/>
                  </a:lnTo>
                  <a:close/>
                  <a:moveTo>
                    <a:pt x="3" y="3"/>
                  </a:moveTo>
                  <a:lnTo>
                    <a:pt x="8" y="3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20" name="Freeform 78">
              <a:extLst>
                <a:ext uri="{FF2B5EF4-FFF2-40B4-BE49-F238E27FC236}">
                  <a16:creationId xmlns:a16="http://schemas.microsoft.com/office/drawing/2014/main" id="{57A0F353-58F4-4BAC-B0ED-C6B6322EB7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09650" y="1308100"/>
              <a:ext cx="19050" cy="17463"/>
            </a:xfrm>
            <a:custGeom>
              <a:avLst/>
              <a:gdLst>
                <a:gd name="T0" fmla="*/ 0 w 12"/>
                <a:gd name="T1" fmla="*/ 11 h 11"/>
                <a:gd name="T2" fmla="*/ 12 w 12"/>
                <a:gd name="T3" fmla="*/ 11 h 11"/>
                <a:gd name="T4" fmla="*/ 12 w 12"/>
                <a:gd name="T5" fmla="*/ 0 h 11"/>
                <a:gd name="T6" fmla="*/ 0 w 12"/>
                <a:gd name="T7" fmla="*/ 0 h 11"/>
                <a:gd name="T8" fmla="*/ 0 w 12"/>
                <a:gd name="T9" fmla="*/ 11 h 11"/>
                <a:gd name="T10" fmla="*/ 4 w 12"/>
                <a:gd name="T11" fmla="*/ 3 h 11"/>
                <a:gd name="T12" fmla="*/ 8 w 12"/>
                <a:gd name="T13" fmla="*/ 3 h 11"/>
                <a:gd name="T14" fmla="*/ 8 w 12"/>
                <a:gd name="T15" fmla="*/ 8 h 11"/>
                <a:gd name="T16" fmla="*/ 4 w 12"/>
                <a:gd name="T17" fmla="*/ 8 h 11"/>
                <a:gd name="T18" fmla="*/ 4 w 12"/>
                <a:gd name="T1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1">
                  <a:moveTo>
                    <a:pt x="0" y="11"/>
                  </a:moveTo>
                  <a:lnTo>
                    <a:pt x="12" y="11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11"/>
                  </a:lnTo>
                  <a:close/>
                  <a:moveTo>
                    <a:pt x="4" y="3"/>
                  </a:moveTo>
                  <a:lnTo>
                    <a:pt x="8" y="3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  <p:sp>
          <p:nvSpPr>
            <p:cNvPr id="21" name="Freeform 79">
              <a:extLst>
                <a:ext uri="{FF2B5EF4-FFF2-40B4-BE49-F238E27FC236}">
                  <a16:creationId xmlns:a16="http://schemas.microsoft.com/office/drawing/2014/main" id="{79722A31-4A61-403D-BD38-4989BBCEEC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5050" y="1308100"/>
              <a:ext cx="17463" cy="17463"/>
            </a:xfrm>
            <a:custGeom>
              <a:avLst/>
              <a:gdLst>
                <a:gd name="T0" fmla="*/ 0 w 11"/>
                <a:gd name="T1" fmla="*/ 11 h 11"/>
                <a:gd name="T2" fmla="*/ 11 w 11"/>
                <a:gd name="T3" fmla="*/ 11 h 11"/>
                <a:gd name="T4" fmla="*/ 11 w 11"/>
                <a:gd name="T5" fmla="*/ 0 h 11"/>
                <a:gd name="T6" fmla="*/ 0 w 11"/>
                <a:gd name="T7" fmla="*/ 0 h 11"/>
                <a:gd name="T8" fmla="*/ 0 w 11"/>
                <a:gd name="T9" fmla="*/ 11 h 11"/>
                <a:gd name="T10" fmla="*/ 3 w 11"/>
                <a:gd name="T11" fmla="*/ 3 h 11"/>
                <a:gd name="T12" fmla="*/ 8 w 11"/>
                <a:gd name="T13" fmla="*/ 3 h 11"/>
                <a:gd name="T14" fmla="*/ 8 w 11"/>
                <a:gd name="T15" fmla="*/ 8 h 11"/>
                <a:gd name="T16" fmla="*/ 3 w 11"/>
                <a:gd name="T17" fmla="*/ 8 h 11"/>
                <a:gd name="T18" fmla="*/ 3 w 11"/>
                <a:gd name="T1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0" y="11"/>
                  </a:moveTo>
                  <a:lnTo>
                    <a:pt x="11" y="11"/>
                  </a:lnTo>
                  <a:lnTo>
                    <a:pt x="11" y="0"/>
                  </a:lnTo>
                  <a:lnTo>
                    <a:pt x="0" y="0"/>
                  </a:lnTo>
                  <a:lnTo>
                    <a:pt x="0" y="11"/>
                  </a:lnTo>
                  <a:close/>
                  <a:moveTo>
                    <a:pt x="3" y="3"/>
                  </a:moveTo>
                  <a:lnTo>
                    <a:pt x="8" y="3"/>
                  </a:lnTo>
                  <a:lnTo>
                    <a:pt x="8" y="8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 sz="1350" kern="0">
                <a:solidFill>
                  <a:srgbClr val="000000"/>
                </a:solidFill>
              </a:endParaRPr>
            </a:p>
          </p:txBody>
        </p:sp>
      </p:grp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A0EC37-9CF9-4EA3-857E-190C1A477E9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/>
              <a:t>Juni 2020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126CDC-6ED3-4B5B-B17F-24474E900B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de-DE" smtClean="0"/>
              <a:pPr/>
              <a:t>8</a:t>
            </a:fld>
            <a:endParaRPr lang="de-D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27FDF96-049F-4126-8D36-5D4951F56A6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2912" y="2063799"/>
            <a:ext cx="648000" cy="648000"/>
            <a:chOff x="2770" y="965"/>
            <a:chExt cx="302" cy="302"/>
          </a:xfrm>
          <a:solidFill>
            <a:schemeClr val="accent3"/>
          </a:solidFill>
        </p:grpSpPr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5F07CD65-8852-4BBB-9E76-04ADCDCE28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70" y="965"/>
              <a:ext cx="302" cy="302"/>
            </a:xfrm>
            <a:custGeom>
              <a:avLst/>
              <a:gdLst>
                <a:gd name="T0" fmla="*/ 0 w 302"/>
                <a:gd name="T1" fmla="*/ 0 h 302"/>
                <a:gd name="T2" fmla="*/ 0 w 302"/>
                <a:gd name="T3" fmla="*/ 302 h 302"/>
                <a:gd name="T4" fmla="*/ 302 w 302"/>
                <a:gd name="T5" fmla="*/ 302 h 302"/>
                <a:gd name="T6" fmla="*/ 302 w 302"/>
                <a:gd name="T7" fmla="*/ 0 h 302"/>
                <a:gd name="T8" fmla="*/ 0 w 302"/>
                <a:gd name="T9" fmla="*/ 0 h 302"/>
                <a:gd name="T10" fmla="*/ 289 w 302"/>
                <a:gd name="T11" fmla="*/ 289 h 302"/>
                <a:gd name="T12" fmla="*/ 13 w 302"/>
                <a:gd name="T13" fmla="*/ 289 h 302"/>
                <a:gd name="T14" fmla="*/ 13 w 302"/>
                <a:gd name="T15" fmla="*/ 13 h 302"/>
                <a:gd name="T16" fmla="*/ 289 w 302"/>
                <a:gd name="T17" fmla="*/ 13 h 302"/>
                <a:gd name="T18" fmla="*/ 289 w 302"/>
                <a:gd name="T19" fmla="*/ 28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2" h="302">
                  <a:moveTo>
                    <a:pt x="0" y="0"/>
                  </a:moveTo>
                  <a:lnTo>
                    <a:pt x="0" y="302"/>
                  </a:lnTo>
                  <a:lnTo>
                    <a:pt x="302" y="302"/>
                  </a:lnTo>
                  <a:lnTo>
                    <a:pt x="302" y="0"/>
                  </a:lnTo>
                  <a:lnTo>
                    <a:pt x="0" y="0"/>
                  </a:lnTo>
                  <a:close/>
                  <a:moveTo>
                    <a:pt x="289" y="289"/>
                  </a:moveTo>
                  <a:lnTo>
                    <a:pt x="13" y="289"/>
                  </a:lnTo>
                  <a:lnTo>
                    <a:pt x="13" y="13"/>
                  </a:lnTo>
                  <a:lnTo>
                    <a:pt x="289" y="13"/>
                  </a:lnTo>
                  <a:lnTo>
                    <a:pt x="289" y="2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50F451A9-805E-4ABF-9671-60D57ADA62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63" y="1023"/>
              <a:ext cx="116" cy="185"/>
            </a:xfrm>
            <a:custGeom>
              <a:avLst/>
              <a:gdLst>
                <a:gd name="T0" fmla="*/ 0 w 221"/>
                <a:gd name="T1" fmla="*/ 118 h 354"/>
                <a:gd name="T2" fmla="*/ 8 w 221"/>
                <a:gd name="T3" fmla="*/ 70 h 354"/>
                <a:gd name="T4" fmla="*/ 31 w 221"/>
                <a:gd name="T5" fmla="*/ 33 h 354"/>
                <a:gd name="T6" fmla="*/ 68 w 221"/>
                <a:gd name="T7" fmla="*/ 9 h 354"/>
                <a:gd name="T8" fmla="*/ 116 w 221"/>
                <a:gd name="T9" fmla="*/ 0 h 354"/>
                <a:gd name="T10" fmla="*/ 157 w 221"/>
                <a:gd name="T11" fmla="*/ 7 h 354"/>
                <a:gd name="T12" fmla="*/ 191 w 221"/>
                <a:gd name="T13" fmla="*/ 26 h 354"/>
                <a:gd name="T14" fmla="*/ 213 w 221"/>
                <a:gd name="T15" fmla="*/ 56 h 354"/>
                <a:gd name="T16" fmla="*/ 221 w 221"/>
                <a:gd name="T17" fmla="*/ 98 h 354"/>
                <a:gd name="T18" fmla="*/ 218 w 221"/>
                <a:gd name="T19" fmla="*/ 127 h 354"/>
                <a:gd name="T20" fmla="*/ 208 w 221"/>
                <a:gd name="T21" fmla="*/ 148 h 354"/>
                <a:gd name="T22" fmla="*/ 194 w 221"/>
                <a:gd name="T23" fmla="*/ 164 h 354"/>
                <a:gd name="T24" fmla="*/ 179 w 221"/>
                <a:gd name="T25" fmla="*/ 178 h 354"/>
                <a:gd name="T26" fmla="*/ 162 w 221"/>
                <a:gd name="T27" fmla="*/ 193 h 354"/>
                <a:gd name="T28" fmla="*/ 148 w 221"/>
                <a:gd name="T29" fmla="*/ 209 h 354"/>
                <a:gd name="T30" fmla="*/ 139 w 221"/>
                <a:gd name="T31" fmla="*/ 231 h 354"/>
                <a:gd name="T32" fmla="*/ 136 w 221"/>
                <a:gd name="T33" fmla="*/ 260 h 354"/>
                <a:gd name="T34" fmla="*/ 84 w 221"/>
                <a:gd name="T35" fmla="*/ 260 h 354"/>
                <a:gd name="T36" fmla="*/ 86 w 221"/>
                <a:gd name="T37" fmla="*/ 224 h 354"/>
                <a:gd name="T38" fmla="*/ 93 w 221"/>
                <a:gd name="T39" fmla="*/ 198 h 354"/>
                <a:gd name="T40" fmla="*/ 105 w 221"/>
                <a:gd name="T41" fmla="*/ 178 h 354"/>
                <a:gd name="T42" fmla="*/ 122 w 221"/>
                <a:gd name="T43" fmla="*/ 162 h 354"/>
                <a:gd name="T44" fmla="*/ 136 w 221"/>
                <a:gd name="T45" fmla="*/ 149 h 354"/>
                <a:gd name="T46" fmla="*/ 149 w 221"/>
                <a:gd name="T47" fmla="*/ 136 h 354"/>
                <a:gd name="T48" fmla="*/ 158 w 221"/>
                <a:gd name="T49" fmla="*/ 121 h 354"/>
                <a:gd name="T50" fmla="*/ 161 w 221"/>
                <a:gd name="T51" fmla="*/ 100 h 354"/>
                <a:gd name="T52" fmla="*/ 156 w 221"/>
                <a:gd name="T53" fmla="*/ 75 h 354"/>
                <a:gd name="T54" fmla="*/ 143 w 221"/>
                <a:gd name="T55" fmla="*/ 58 h 354"/>
                <a:gd name="T56" fmla="*/ 128 w 221"/>
                <a:gd name="T57" fmla="*/ 49 h 354"/>
                <a:gd name="T58" fmla="*/ 113 w 221"/>
                <a:gd name="T59" fmla="*/ 46 h 354"/>
                <a:gd name="T60" fmla="*/ 69 w 221"/>
                <a:gd name="T61" fmla="*/ 66 h 354"/>
                <a:gd name="T62" fmla="*/ 55 w 221"/>
                <a:gd name="T63" fmla="*/ 118 h 354"/>
                <a:gd name="T64" fmla="*/ 0 w 221"/>
                <a:gd name="T65" fmla="*/ 118 h 354"/>
                <a:gd name="T66" fmla="*/ 77 w 221"/>
                <a:gd name="T67" fmla="*/ 293 h 354"/>
                <a:gd name="T68" fmla="*/ 141 w 221"/>
                <a:gd name="T69" fmla="*/ 293 h 354"/>
                <a:gd name="T70" fmla="*/ 141 w 221"/>
                <a:gd name="T71" fmla="*/ 354 h 354"/>
                <a:gd name="T72" fmla="*/ 77 w 221"/>
                <a:gd name="T73" fmla="*/ 354 h 354"/>
                <a:gd name="T74" fmla="*/ 77 w 221"/>
                <a:gd name="T75" fmla="*/ 293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1" h="354">
                  <a:moveTo>
                    <a:pt x="0" y="118"/>
                  </a:moveTo>
                  <a:cubicBezTo>
                    <a:pt x="0" y="100"/>
                    <a:pt x="2" y="84"/>
                    <a:pt x="8" y="70"/>
                  </a:cubicBezTo>
                  <a:cubicBezTo>
                    <a:pt x="13" y="55"/>
                    <a:pt x="21" y="43"/>
                    <a:pt x="31" y="33"/>
                  </a:cubicBezTo>
                  <a:cubicBezTo>
                    <a:pt x="41" y="22"/>
                    <a:pt x="53" y="14"/>
                    <a:pt x="68" y="9"/>
                  </a:cubicBezTo>
                  <a:cubicBezTo>
                    <a:pt x="82" y="3"/>
                    <a:pt x="98" y="0"/>
                    <a:pt x="116" y="0"/>
                  </a:cubicBezTo>
                  <a:cubicBezTo>
                    <a:pt x="131" y="0"/>
                    <a:pt x="144" y="2"/>
                    <a:pt x="157" y="7"/>
                  </a:cubicBezTo>
                  <a:cubicBezTo>
                    <a:pt x="170" y="11"/>
                    <a:pt x="181" y="17"/>
                    <a:pt x="191" y="26"/>
                  </a:cubicBezTo>
                  <a:cubicBezTo>
                    <a:pt x="200" y="34"/>
                    <a:pt x="208" y="44"/>
                    <a:pt x="213" y="56"/>
                  </a:cubicBezTo>
                  <a:cubicBezTo>
                    <a:pt x="219" y="69"/>
                    <a:pt x="221" y="82"/>
                    <a:pt x="221" y="98"/>
                  </a:cubicBezTo>
                  <a:cubicBezTo>
                    <a:pt x="221" y="109"/>
                    <a:pt x="220" y="119"/>
                    <a:pt x="218" y="127"/>
                  </a:cubicBezTo>
                  <a:cubicBezTo>
                    <a:pt x="215" y="135"/>
                    <a:pt x="212" y="143"/>
                    <a:pt x="208" y="148"/>
                  </a:cubicBezTo>
                  <a:cubicBezTo>
                    <a:pt x="204" y="154"/>
                    <a:pt x="199" y="160"/>
                    <a:pt x="194" y="164"/>
                  </a:cubicBezTo>
                  <a:cubicBezTo>
                    <a:pt x="189" y="169"/>
                    <a:pt x="184" y="174"/>
                    <a:pt x="179" y="178"/>
                  </a:cubicBezTo>
                  <a:cubicBezTo>
                    <a:pt x="173" y="183"/>
                    <a:pt x="167" y="188"/>
                    <a:pt x="162" y="193"/>
                  </a:cubicBezTo>
                  <a:cubicBezTo>
                    <a:pt x="157" y="198"/>
                    <a:pt x="152" y="203"/>
                    <a:pt x="148" y="209"/>
                  </a:cubicBezTo>
                  <a:cubicBezTo>
                    <a:pt x="144" y="215"/>
                    <a:pt x="141" y="222"/>
                    <a:pt x="139" y="231"/>
                  </a:cubicBezTo>
                  <a:cubicBezTo>
                    <a:pt x="137" y="239"/>
                    <a:pt x="136" y="248"/>
                    <a:pt x="136" y="260"/>
                  </a:cubicBezTo>
                  <a:cubicBezTo>
                    <a:pt x="84" y="260"/>
                    <a:pt x="84" y="260"/>
                    <a:pt x="84" y="260"/>
                  </a:cubicBezTo>
                  <a:cubicBezTo>
                    <a:pt x="84" y="246"/>
                    <a:pt x="85" y="234"/>
                    <a:pt x="86" y="224"/>
                  </a:cubicBezTo>
                  <a:cubicBezTo>
                    <a:pt x="88" y="214"/>
                    <a:pt x="90" y="206"/>
                    <a:pt x="93" y="198"/>
                  </a:cubicBezTo>
                  <a:cubicBezTo>
                    <a:pt x="96" y="191"/>
                    <a:pt x="100" y="184"/>
                    <a:pt x="105" y="178"/>
                  </a:cubicBezTo>
                  <a:cubicBezTo>
                    <a:pt x="110" y="173"/>
                    <a:pt x="115" y="167"/>
                    <a:pt x="122" y="162"/>
                  </a:cubicBezTo>
                  <a:cubicBezTo>
                    <a:pt x="127" y="157"/>
                    <a:pt x="132" y="153"/>
                    <a:pt x="136" y="149"/>
                  </a:cubicBezTo>
                  <a:cubicBezTo>
                    <a:pt x="141" y="145"/>
                    <a:pt x="145" y="141"/>
                    <a:pt x="149" y="136"/>
                  </a:cubicBezTo>
                  <a:cubicBezTo>
                    <a:pt x="153" y="132"/>
                    <a:pt x="156" y="126"/>
                    <a:pt x="158" y="121"/>
                  </a:cubicBezTo>
                  <a:cubicBezTo>
                    <a:pt x="160" y="115"/>
                    <a:pt x="161" y="108"/>
                    <a:pt x="161" y="100"/>
                  </a:cubicBezTo>
                  <a:cubicBezTo>
                    <a:pt x="161" y="90"/>
                    <a:pt x="159" y="82"/>
                    <a:pt x="156" y="75"/>
                  </a:cubicBezTo>
                  <a:cubicBezTo>
                    <a:pt x="152" y="68"/>
                    <a:pt x="148" y="62"/>
                    <a:pt x="143" y="58"/>
                  </a:cubicBezTo>
                  <a:cubicBezTo>
                    <a:pt x="139" y="54"/>
                    <a:pt x="133" y="51"/>
                    <a:pt x="128" y="49"/>
                  </a:cubicBezTo>
                  <a:cubicBezTo>
                    <a:pt x="122" y="47"/>
                    <a:pt x="118" y="46"/>
                    <a:pt x="113" y="46"/>
                  </a:cubicBezTo>
                  <a:cubicBezTo>
                    <a:pt x="93" y="46"/>
                    <a:pt x="79" y="53"/>
                    <a:pt x="69" y="66"/>
                  </a:cubicBezTo>
                  <a:cubicBezTo>
                    <a:pt x="60" y="79"/>
                    <a:pt x="55" y="96"/>
                    <a:pt x="55" y="118"/>
                  </a:cubicBezTo>
                  <a:lnTo>
                    <a:pt x="0" y="118"/>
                  </a:lnTo>
                  <a:close/>
                  <a:moveTo>
                    <a:pt x="77" y="293"/>
                  </a:moveTo>
                  <a:cubicBezTo>
                    <a:pt x="141" y="293"/>
                    <a:pt x="141" y="293"/>
                    <a:pt x="141" y="293"/>
                  </a:cubicBezTo>
                  <a:cubicBezTo>
                    <a:pt x="141" y="354"/>
                    <a:pt x="141" y="354"/>
                    <a:pt x="141" y="354"/>
                  </a:cubicBezTo>
                  <a:cubicBezTo>
                    <a:pt x="77" y="354"/>
                    <a:pt x="77" y="354"/>
                    <a:pt x="77" y="354"/>
                  </a:cubicBezTo>
                  <a:lnTo>
                    <a:pt x="77" y="2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5C44809E-30DE-4654-9AD8-DEE17A38148B}"/>
              </a:ext>
            </a:extLst>
          </p:cNvPr>
          <p:cNvSpPr txBox="1">
            <a:spLocks/>
          </p:cNvSpPr>
          <p:nvPr/>
        </p:nvSpPr>
        <p:spPr>
          <a:xfrm>
            <a:off x="1108638" y="2279004"/>
            <a:ext cx="6391176" cy="215444"/>
          </a:xfrm>
          <a:prstGeom prst="rect">
            <a:avLst/>
          </a:prstGeom>
          <a:noFill/>
          <a:ln>
            <a:noFill/>
          </a:ln>
        </p:spPr>
        <p:txBody>
          <a:bodyPr wrap="square" lIns="180000" tIns="0" rIns="0" bIns="0" rtlCol="0" anchor="ctr">
            <a:spAutoFit/>
          </a:bodyPr>
          <a:lstStyle/>
          <a:p>
            <a:r>
              <a:rPr lang="de-DE" sz="1400" b="1" dirty="0">
                <a:solidFill>
                  <a:schemeClr val="accent3"/>
                </a:solidFill>
                <a:latin typeface="Georgia" pitchFamily="18" charset="0"/>
                <a:cs typeface="Arial" pitchFamily="34" charset="0"/>
              </a:rPr>
              <a:t>Betrifft Einkommens-, Körperschafts- und Gewerbesteuer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A49691D-A5B8-413A-83AE-A563C7FB7929}"/>
              </a:ext>
            </a:extLst>
          </p:cNvPr>
          <p:cNvGrpSpPr/>
          <p:nvPr/>
        </p:nvGrpSpPr>
        <p:grpSpPr>
          <a:xfrm>
            <a:off x="442913" y="3243871"/>
            <a:ext cx="648000" cy="648000"/>
            <a:chOff x="1684338" y="1219200"/>
            <a:chExt cx="123825" cy="123825"/>
          </a:xfrm>
          <a:solidFill>
            <a:schemeClr val="accent3"/>
          </a:solidFill>
        </p:grpSpPr>
        <p:sp>
          <p:nvSpPr>
            <p:cNvPr id="29" name="Freeform 81">
              <a:extLst>
                <a:ext uri="{FF2B5EF4-FFF2-40B4-BE49-F238E27FC236}">
                  <a16:creationId xmlns:a16="http://schemas.microsoft.com/office/drawing/2014/main" id="{10C5833E-FC4F-4D8F-B29B-668C207BC7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84338" y="1219200"/>
              <a:ext cx="123825" cy="123825"/>
            </a:xfrm>
            <a:custGeom>
              <a:avLst/>
              <a:gdLst>
                <a:gd name="T0" fmla="*/ 0 w 78"/>
                <a:gd name="T1" fmla="*/ 0 h 78"/>
                <a:gd name="T2" fmla="*/ 0 w 78"/>
                <a:gd name="T3" fmla="*/ 78 h 78"/>
                <a:gd name="T4" fmla="*/ 78 w 78"/>
                <a:gd name="T5" fmla="*/ 78 h 78"/>
                <a:gd name="T6" fmla="*/ 78 w 78"/>
                <a:gd name="T7" fmla="*/ 0 h 78"/>
                <a:gd name="T8" fmla="*/ 0 w 78"/>
                <a:gd name="T9" fmla="*/ 0 h 78"/>
                <a:gd name="T10" fmla="*/ 74 w 78"/>
                <a:gd name="T11" fmla="*/ 74 h 78"/>
                <a:gd name="T12" fmla="*/ 3 w 78"/>
                <a:gd name="T13" fmla="*/ 74 h 78"/>
                <a:gd name="T14" fmla="*/ 3 w 78"/>
                <a:gd name="T15" fmla="*/ 3 h 78"/>
                <a:gd name="T16" fmla="*/ 74 w 78"/>
                <a:gd name="T17" fmla="*/ 3 h 78"/>
                <a:gd name="T18" fmla="*/ 74 w 78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78">
                  <a:moveTo>
                    <a:pt x="0" y="0"/>
                  </a:moveTo>
                  <a:lnTo>
                    <a:pt x="0" y="78"/>
                  </a:lnTo>
                  <a:lnTo>
                    <a:pt x="78" y="78"/>
                  </a:lnTo>
                  <a:lnTo>
                    <a:pt x="78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82">
              <a:extLst>
                <a:ext uri="{FF2B5EF4-FFF2-40B4-BE49-F238E27FC236}">
                  <a16:creationId xmlns:a16="http://schemas.microsoft.com/office/drawing/2014/main" id="{829D6461-2B5D-4A31-A40F-AA724AE8BB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1800" y="1246188"/>
              <a:ext cx="20638" cy="19050"/>
            </a:xfrm>
            <a:custGeom>
              <a:avLst/>
              <a:gdLst>
                <a:gd name="T0" fmla="*/ 45 w 91"/>
                <a:gd name="T1" fmla="*/ 91 h 91"/>
                <a:gd name="T2" fmla="*/ 91 w 91"/>
                <a:gd name="T3" fmla="*/ 45 h 91"/>
                <a:gd name="T4" fmla="*/ 45 w 91"/>
                <a:gd name="T5" fmla="*/ 0 h 91"/>
                <a:gd name="T6" fmla="*/ 0 w 91"/>
                <a:gd name="T7" fmla="*/ 45 h 91"/>
                <a:gd name="T8" fmla="*/ 45 w 91"/>
                <a:gd name="T9" fmla="*/ 91 h 91"/>
                <a:gd name="T10" fmla="*/ 45 w 91"/>
                <a:gd name="T11" fmla="*/ 24 h 91"/>
                <a:gd name="T12" fmla="*/ 66 w 91"/>
                <a:gd name="T13" fmla="*/ 45 h 91"/>
                <a:gd name="T14" fmla="*/ 45 w 91"/>
                <a:gd name="T15" fmla="*/ 66 h 91"/>
                <a:gd name="T16" fmla="*/ 24 w 91"/>
                <a:gd name="T17" fmla="*/ 45 h 91"/>
                <a:gd name="T18" fmla="*/ 45 w 91"/>
                <a:gd name="T19" fmla="*/ 2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91"/>
                  </a:moveTo>
                  <a:cubicBezTo>
                    <a:pt x="70" y="91"/>
                    <a:pt x="91" y="70"/>
                    <a:pt x="91" y="45"/>
                  </a:cubicBezTo>
                  <a:cubicBezTo>
                    <a:pt x="91" y="20"/>
                    <a:pt x="70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lose/>
                  <a:moveTo>
                    <a:pt x="45" y="24"/>
                  </a:moveTo>
                  <a:cubicBezTo>
                    <a:pt x="57" y="24"/>
                    <a:pt x="66" y="34"/>
                    <a:pt x="66" y="45"/>
                  </a:cubicBezTo>
                  <a:cubicBezTo>
                    <a:pt x="66" y="57"/>
                    <a:pt x="57" y="66"/>
                    <a:pt x="45" y="66"/>
                  </a:cubicBezTo>
                  <a:cubicBezTo>
                    <a:pt x="34" y="66"/>
                    <a:pt x="24" y="57"/>
                    <a:pt x="24" y="45"/>
                  </a:cubicBezTo>
                  <a:cubicBezTo>
                    <a:pt x="24" y="34"/>
                    <a:pt x="34" y="24"/>
                    <a:pt x="4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434AFAF-93C6-4B16-BEC3-CCA9086A4E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375" y="1252538"/>
              <a:ext cx="5873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84">
              <a:extLst>
                <a:ext uri="{FF2B5EF4-FFF2-40B4-BE49-F238E27FC236}">
                  <a16:creationId xmlns:a16="http://schemas.microsoft.com/office/drawing/2014/main" id="{475445B3-3F5C-4647-A922-1C986EA557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1800" y="1276350"/>
              <a:ext cx="20638" cy="19050"/>
            </a:xfrm>
            <a:custGeom>
              <a:avLst/>
              <a:gdLst>
                <a:gd name="T0" fmla="*/ 45 w 91"/>
                <a:gd name="T1" fmla="*/ 91 h 91"/>
                <a:gd name="T2" fmla="*/ 91 w 91"/>
                <a:gd name="T3" fmla="*/ 45 h 91"/>
                <a:gd name="T4" fmla="*/ 45 w 91"/>
                <a:gd name="T5" fmla="*/ 0 h 91"/>
                <a:gd name="T6" fmla="*/ 0 w 91"/>
                <a:gd name="T7" fmla="*/ 45 h 91"/>
                <a:gd name="T8" fmla="*/ 45 w 91"/>
                <a:gd name="T9" fmla="*/ 91 h 91"/>
                <a:gd name="T10" fmla="*/ 45 w 91"/>
                <a:gd name="T11" fmla="*/ 24 h 91"/>
                <a:gd name="T12" fmla="*/ 66 w 91"/>
                <a:gd name="T13" fmla="*/ 45 h 91"/>
                <a:gd name="T14" fmla="*/ 45 w 91"/>
                <a:gd name="T15" fmla="*/ 66 h 91"/>
                <a:gd name="T16" fmla="*/ 24 w 91"/>
                <a:gd name="T17" fmla="*/ 45 h 91"/>
                <a:gd name="T18" fmla="*/ 45 w 91"/>
                <a:gd name="T19" fmla="*/ 2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91"/>
                  </a:moveTo>
                  <a:cubicBezTo>
                    <a:pt x="70" y="91"/>
                    <a:pt x="91" y="70"/>
                    <a:pt x="91" y="45"/>
                  </a:cubicBezTo>
                  <a:cubicBezTo>
                    <a:pt x="91" y="20"/>
                    <a:pt x="70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lose/>
                  <a:moveTo>
                    <a:pt x="45" y="24"/>
                  </a:moveTo>
                  <a:cubicBezTo>
                    <a:pt x="57" y="24"/>
                    <a:pt x="66" y="34"/>
                    <a:pt x="66" y="45"/>
                  </a:cubicBezTo>
                  <a:cubicBezTo>
                    <a:pt x="66" y="57"/>
                    <a:pt x="57" y="66"/>
                    <a:pt x="45" y="66"/>
                  </a:cubicBezTo>
                  <a:cubicBezTo>
                    <a:pt x="34" y="66"/>
                    <a:pt x="24" y="57"/>
                    <a:pt x="24" y="45"/>
                  </a:cubicBezTo>
                  <a:cubicBezTo>
                    <a:pt x="24" y="34"/>
                    <a:pt x="34" y="24"/>
                    <a:pt x="4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74CC999-3C16-4B14-9C1F-26DEF3E663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375" y="1282700"/>
              <a:ext cx="5873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86">
              <a:extLst>
                <a:ext uri="{FF2B5EF4-FFF2-40B4-BE49-F238E27FC236}">
                  <a16:creationId xmlns:a16="http://schemas.microsoft.com/office/drawing/2014/main" id="{209EF86F-EDA3-436A-8DFA-7EFF3DB9A2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1800" y="1306513"/>
              <a:ext cx="20638" cy="20638"/>
            </a:xfrm>
            <a:custGeom>
              <a:avLst/>
              <a:gdLst>
                <a:gd name="T0" fmla="*/ 45 w 91"/>
                <a:gd name="T1" fmla="*/ 91 h 91"/>
                <a:gd name="T2" fmla="*/ 91 w 91"/>
                <a:gd name="T3" fmla="*/ 45 h 91"/>
                <a:gd name="T4" fmla="*/ 45 w 91"/>
                <a:gd name="T5" fmla="*/ 0 h 91"/>
                <a:gd name="T6" fmla="*/ 0 w 91"/>
                <a:gd name="T7" fmla="*/ 45 h 91"/>
                <a:gd name="T8" fmla="*/ 45 w 91"/>
                <a:gd name="T9" fmla="*/ 91 h 91"/>
                <a:gd name="T10" fmla="*/ 45 w 91"/>
                <a:gd name="T11" fmla="*/ 24 h 91"/>
                <a:gd name="T12" fmla="*/ 66 w 91"/>
                <a:gd name="T13" fmla="*/ 45 h 91"/>
                <a:gd name="T14" fmla="*/ 45 w 91"/>
                <a:gd name="T15" fmla="*/ 66 h 91"/>
                <a:gd name="T16" fmla="*/ 24 w 91"/>
                <a:gd name="T17" fmla="*/ 45 h 91"/>
                <a:gd name="T18" fmla="*/ 45 w 91"/>
                <a:gd name="T19" fmla="*/ 2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91">
                  <a:moveTo>
                    <a:pt x="45" y="91"/>
                  </a:moveTo>
                  <a:cubicBezTo>
                    <a:pt x="70" y="91"/>
                    <a:pt x="91" y="70"/>
                    <a:pt x="91" y="45"/>
                  </a:cubicBezTo>
                  <a:cubicBezTo>
                    <a:pt x="91" y="20"/>
                    <a:pt x="70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70"/>
                    <a:pt x="20" y="91"/>
                    <a:pt x="45" y="91"/>
                  </a:cubicBezTo>
                  <a:close/>
                  <a:moveTo>
                    <a:pt x="45" y="24"/>
                  </a:moveTo>
                  <a:cubicBezTo>
                    <a:pt x="57" y="24"/>
                    <a:pt x="66" y="34"/>
                    <a:pt x="66" y="45"/>
                  </a:cubicBezTo>
                  <a:cubicBezTo>
                    <a:pt x="66" y="57"/>
                    <a:pt x="57" y="66"/>
                    <a:pt x="45" y="66"/>
                  </a:cubicBezTo>
                  <a:cubicBezTo>
                    <a:pt x="34" y="66"/>
                    <a:pt x="24" y="57"/>
                    <a:pt x="24" y="45"/>
                  </a:cubicBezTo>
                  <a:cubicBezTo>
                    <a:pt x="24" y="34"/>
                    <a:pt x="34" y="24"/>
                    <a:pt x="45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01A91F2-BE6F-4CBB-B02C-951335FF0B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30375" y="1314450"/>
              <a:ext cx="5873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315FBC5F-CBEE-467D-B445-77CD22C8435E}"/>
              </a:ext>
            </a:extLst>
          </p:cNvPr>
          <p:cNvSpPr txBox="1">
            <a:spLocks/>
          </p:cNvSpPr>
          <p:nvPr/>
        </p:nvSpPr>
        <p:spPr>
          <a:xfrm>
            <a:off x="1047841" y="3371251"/>
            <a:ext cx="7161197" cy="430887"/>
          </a:xfrm>
          <a:prstGeom prst="rect">
            <a:avLst/>
          </a:prstGeom>
          <a:noFill/>
          <a:ln>
            <a:noFill/>
          </a:ln>
        </p:spPr>
        <p:txBody>
          <a:bodyPr wrap="square" lIns="180000" tIns="0" rIns="0" bIns="0" rtlCol="0" anchor="ctr">
            <a:spAutoFit/>
          </a:bodyPr>
          <a:lstStyle/>
          <a:p>
            <a:r>
              <a:rPr lang="de-DE" sz="1400" b="1" dirty="0">
                <a:solidFill>
                  <a:schemeClr val="accent3"/>
                </a:solidFill>
                <a:latin typeface="Georgia" pitchFamily="18" charset="0"/>
                <a:cs typeface="Arial" pitchFamily="34" charset="0"/>
              </a:rPr>
              <a:t>Enthält: Regelungen zu Betriebsstätten, Dividenden, Zinsen, Lizenzgebühren, Gewinnen aus der Veräußerung von Vermögen</a:t>
            </a:r>
          </a:p>
        </p:txBody>
      </p:sp>
      <p:grpSp>
        <p:nvGrpSpPr>
          <p:cNvPr id="37" name="Group 85">
            <a:extLst>
              <a:ext uri="{FF2B5EF4-FFF2-40B4-BE49-F238E27FC236}">
                <a16:creationId xmlns:a16="http://schemas.microsoft.com/office/drawing/2014/main" id="{CE8DA639-F15A-4C7A-872C-AEDF3214BC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74386" y="4429600"/>
            <a:ext cx="585052" cy="648000"/>
            <a:chOff x="1218" y="0"/>
            <a:chExt cx="6032" cy="6681"/>
          </a:xfrm>
          <a:solidFill>
            <a:schemeClr val="accent3"/>
          </a:solidFill>
        </p:grpSpPr>
        <p:sp>
          <p:nvSpPr>
            <p:cNvPr id="38" name="Freeform 86">
              <a:extLst>
                <a:ext uri="{FF2B5EF4-FFF2-40B4-BE49-F238E27FC236}">
                  <a16:creationId xmlns:a16="http://schemas.microsoft.com/office/drawing/2014/main" id="{557488F5-75B1-49EC-B9B5-4550C2DC9A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18" y="0"/>
              <a:ext cx="6032" cy="6681"/>
            </a:xfrm>
            <a:custGeom>
              <a:avLst/>
              <a:gdLst>
                <a:gd name="T0" fmla="*/ 0 w 6032"/>
                <a:gd name="T1" fmla="*/ 0 h 6681"/>
                <a:gd name="T2" fmla="*/ 0 w 6032"/>
                <a:gd name="T3" fmla="*/ 4789 h 6681"/>
                <a:gd name="T4" fmla="*/ 3016 w 6032"/>
                <a:gd name="T5" fmla="*/ 6681 h 6681"/>
                <a:gd name="T6" fmla="*/ 6032 w 6032"/>
                <a:gd name="T7" fmla="*/ 4789 h 6681"/>
                <a:gd name="T8" fmla="*/ 6032 w 6032"/>
                <a:gd name="T9" fmla="*/ 0 h 6681"/>
                <a:gd name="T10" fmla="*/ 0 w 6032"/>
                <a:gd name="T11" fmla="*/ 0 h 6681"/>
                <a:gd name="T12" fmla="*/ 5774 w 6032"/>
                <a:gd name="T13" fmla="*/ 4645 h 6681"/>
                <a:gd name="T14" fmla="*/ 3016 w 6032"/>
                <a:gd name="T15" fmla="*/ 6377 h 6681"/>
                <a:gd name="T16" fmla="*/ 258 w 6032"/>
                <a:gd name="T17" fmla="*/ 4645 h 6681"/>
                <a:gd name="T18" fmla="*/ 258 w 6032"/>
                <a:gd name="T19" fmla="*/ 256 h 6681"/>
                <a:gd name="T20" fmla="*/ 5774 w 6032"/>
                <a:gd name="T21" fmla="*/ 256 h 6681"/>
                <a:gd name="T22" fmla="*/ 5774 w 6032"/>
                <a:gd name="T23" fmla="*/ 4645 h 66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32" h="6681">
                  <a:moveTo>
                    <a:pt x="0" y="0"/>
                  </a:moveTo>
                  <a:lnTo>
                    <a:pt x="0" y="4789"/>
                  </a:lnTo>
                  <a:lnTo>
                    <a:pt x="3016" y="6681"/>
                  </a:lnTo>
                  <a:lnTo>
                    <a:pt x="6032" y="4789"/>
                  </a:lnTo>
                  <a:lnTo>
                    <a:pt x="6032" y="0"/>
                  </a:lnTo>
                  <a:lnTo>
                    <a:pt x="0" y="0"/>
                  </a:lnTo>
                  <a:close/>
                  <a:moveTo>
                    <a:pt x="5774" y="4645"/>
                  </a:moveTo>
                  <a:lnTo>
                    <a:pt x="3016" y="6377"/>
                  </a:lnTo>
                  <a:lnTo>
                    <a:pt x="258" y="4645"/>
                  </a:lnTo>
                  <a:lnTo>
                    <a:pt x="258" y="256"/>
                  </a:lnTo>
                  <a:lnTo>
                    <a:pt x="5774" y="256"/>
                  </a:lnTo>
                  <a:lnTo>
                    <a:pt x="5774" y="46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39" name="Freeform 87">
              <a:extLst>
                <a:ext uri="{FF2B5EF4-FFF2-40B4-BE49-F238E27FC236}">
                  <a16:creationId xmlns:a16="http://schemas.microsoft.com/office/drawing/2014/main" id="{F7489CE6-F3E4-48D2-A231-3DD9BB84EF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0" y="882"/>
              <a:ext cx="4020" cy="4567"/>
            </a:xfrm>
            <a:custGeom>
              <a:avLst/>
              <a:gdLst>
                <a:gd name="T0" fmla="*/ 4020 w 4020"/>
                <a:gd name="T1" fmla="*/ 3365 h 4567"/>
                <a:gd name="T2" fmla="*/ 4020 w 4020"/>
                <a:gd name="T3" fmla="*/ 0 h 4567"/>
                <a:gd name="T4" fmla="*/ 0 w 4020"/>
                <a:gd name="T5" fmla="*/ 0 h 4567"/>
                <a:gd name="T6" fmla="*/ 0 w 4020"/>
                <a:gd name="T7" fmla="*/ 3367 h 4567"/>
                <a:gd name="T8" fmla="*/ 2046 w 4020"/>
                <a:gd name="T9" fmla="*/ 4567 h 4567"/>
                <a:gd name="T10" fmla="*/ 4020 w 4020"/>
                <a:gd name="T11" fmla="*/ 3365 h 4567"/>
                <a:gd name="T12" fmla="*/ 256 w 4020"/>
                <a:gd name="T13" fmla="*/ 3219 h 4567"/>
                <a:gd name="T14" fmla="*/ 256 w 4020"/>
                <a:gd name="T15" fmla="*/ 256 h 4567"/>
                <a:gd name="T16" fmla="*/ 3762 w 4020"/>
                <a:gd name="T17" fmla="*/ 256 h 4567"/>
                <a:gd name="T18" fmla="*/ 3762 w 4020"/>
                <a:gd name="T19" fmla="*/ 3221 h 4567"/>
                <a:gd name="T20" fmla="*/ 2044 w 4020"/>
                <a:gd name="T21" fmla="*/ 4267 h 4567"/>
                <a:gd name="T22" fmla="*/ 256 w 4020"/>
                <a:gd name="T23" fmla="*/ 3219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020" h="4567">
                  <a:moveTo>
                    <a:pt x="4020" y="3365"/>
                  </a:moveTo>
                  <a:lnTo>
                    <a:pt x="4020" y="0"/>
                  </a:lnTo>
                  <a:lnTo>
                    <a:pt x="0" y="0"/>
                  </a:lnTo>
                  <a:lnTo>
                    <a:pt x="0" y="3367"/>
                  </a:lnTo>
                  <a:lnTo>
                    <a:pt x="2046" y="4567"/>
                  </a:lnTo>
                  <a:lnTo>
                    <a:pt x="4020" y="3365"/>
                  </a:lnTo>
                  <a:close/>
                  <a:moveTo>
                    <a:pt x="256" y="3219"/>
                  </a:moveTo>
                  <a:lnTo>
                    <a:pt x="256" y="256"/>
                  </a:lnTo>
                  <a:lnTo>
                    <a:pt x="3762" y="256"/>
                  </a:lnTo>
                  <a:lnTo>
                    <a:pt x="3762" y="3221"/>
                  </a:lnTo>
                  <a:lnTo>
                    <a:pt x="2044" y="4267"/>
                  </a:lnTo>
                  <a:lnTo>
                    <a:pt x="256" y="3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40" name="Freeform 88">
              <a:extLst>
                <a:ext uri="{FF2B5EF4-FFF2-40B4-BE49-F238E27FC236}">
                  <a16:creationId xmlns:a16="http://schemas.microsoft.com/office/drawing/2014/main" id="{A7B00DB7-20D7-4048-A654-EC1CC9D16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4" y="2268"/>
              <a:ext cx="1854" cy="1453"/>
            </a:xfrm>
            <a:custGeom>
              <a:avLst/>
              <a:gdLst>
                <a:gd name="T0" fmla="*/ 672 w 1854"/>
                <a:gd name="T1" fmla="*/ 1087 h 1453"/>
                <a:gd name="T2" fmla="*/ 176 w 1854"/>
                <a:gd name="T3" fmla="*/ 620 h 1453"/>
                <a:gd name="T4" fmla="*/ 0 w 1854"/>
                <a:gd name="T5" fmla="*/ 808 h 1453"/>
                <a:gd name="T6" fmla="*/ 686 w 1854"/>
                <a:gd name="T7" fmla="*/ 1453 h 1453"/>
                <a:gd name="T8" fmla="*/ 1854 w 1854"/>
                <a:gd name="T9" fmla="*/ 172 h 1453"/>
                <a:gd name="T10" fmla="*/ 1664 w 1854"/>
                <a:gd name="T11" fmla="*/ 0 h 1453"/>
                <a:gd name="T12" fmla="*/ 672 w 1854"/>
                <a:gd name="T13" fmla="*/ 1087 h 14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4" h="1453">
                  <a:moveTo>
                    <a:pt x="672" y="1087"/>
                  </a:moveTo>
                  <a:lnTo>
                    <a:pt x="176" y="620"/>
                  </a:lnTo>
                  <a:lnTo>
                    <a:pt x="0" y="808"/>
                  </a:lnTo>
                  <a:lnTo>
                    <a:pt x="686" y="1453"/>
                  </a:lnTo>
                  <a:lnTo>
                    <a:pt x="1854" y="172"/>
                  </a:lnTo>
                  <a:lnTo>
                    <a:pt x="1664" y="0"/>
                  </a:lnTo>
                  <a:lnTo>
                    <a:pt x="672" y="10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88AEB192-C3AB-4F7E-BEA9-EB3A3B90095F}"/>
              </a:ext>
            </a:extLst>
          </p:cNvPr>
          <p:cNvSpPr txBox="1">
            <a:spLocks/>
          </p:cNvSpPr>
          <p:nvPr/>
        </p:nvSpPr>
        <p:spPr>
          <a:xfrm>
            <a:off x="1066329" y="4553230"/>
            <a:ext cx="7161197" cy="215444"/>
          </a:xfrm>
          <a:prstGeom prst="rect">
            <a:avLst/>
          </a:prstGeom>
          <a:noFill/>
          <a:ln>
            <a:noFill/>
          </a:ln>
        </p:spPr>
        <p:txBody>
          <a:bodyPr wrap="square" lIns="180000" tIns="0" rIns="0" bIns="0" rtlCol="0" anchor="ctr">
            <a:spAutoFit/>
          </a:bodyPr>
          <a:lstStyle/>
          <a:p>
            <a:r>
              <a:rPr lang="de-DE" sz="1400" b="1" dirty="0">
                <a:solidFill>
                  <a:schemeClr val="accent3"/>
                </a:solidFill>
                <a:latin typeface="Georgia" pitchFamily="18" charset="0"/>
                <a:cs typeface="Arial" pitchFamily="34" charset="0"/>
              </a:rPr>
              <a:t>Zweck: Vermeidung der Doppelbesteuerung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2B0F6D99-AD7E-41B6-A19A-35065B4D52DC}"/>
              </a:ext>
            </a:extLst>
          </p:cNvPr>
          <p:cNvGrpSpPr/>
          <p:nvPr/>
        </p:nvGrpSpPr>
        <p:grpSpPr>
          <a:xfrm flipH="1">
            <a:off x="6116163" y="1563264"/>
            <a:ext cx="7680981" cy="6425036"/>
            <a:chOff x="-1874458" y="1740778"/>
            <a:chExt cx="5384665" cy="4538498"/>
          </a:xfrm>
        </p:grpSpPr>
        <p:grpSp>
          <p:nvGrpSpPr>
            <p:cNvPr id="46" name="Gruppieren 15">
              <a:extLst>
                <a:ext uri="{FF2B5EF4-FFF2-40B4-BE49-F238E27FC236}">
                  <a16:creationId xmlns:a16="http://schemas.microsoft.com/office/drawing/2014/main" id="{5A4BBD09-75C7-4B03-B6B7-141F746DBA7F}"/>
                </a:ext>
              </a:extLst>
            </p:cNvPr>
            <p:cNvGrpSpPr/>
            <p:nvPr/>
          </p:nvGrpSpPr>
          <p:grpSpPr>
            <a:xfrm>
              <a:off x="-1874458" y="1740778"/>
              <a:ext cx="4551085" cy="4538498"/>
              <a:chOff x="-191425" y="2389595"/>
              <a:chExt cx="4551085" cy="4538498"/>
            </a:xfrm>
            <a:solidFill>
              <a:schemeClr val="accent6">
                <a:lumMod val="20000"/>
                <a:lumOff val="80000"/>
              </a:schemeClr>
            </a:solidFill>
          </p:grpSpPr>
          <p:sp>
            <p:nvSpPr>
              <p:cNvPr id="47" name="Ellipse 2">
                <a:extLst>
                  <a:ext uri="{FF2B5EF4-FFF2-40B4-BE49-F238E27FC236}">
                    <a16:creationId xmlns:a16="http://schemas.microsoft.com/office/drawing/2014/main" id="{DDA9CB35-5A05-4DAE-A823-DDD945CEECF4}"/>
                  </a:ext>
                </a:extLst>
              </p:cNvPr>
              <p:cNvSpPr/>
              <p:nvPr/>
            </p:nvSpPr>
            <p:spPr bwMode="ltGray">
              <a:xfrm>
                <a:off x="300453" y="2854044"/>
                <a:ext cx="3609600" cy="3609600"/>
              </a:xfrm>
              <a:prstGeom prst="ellipse">
                <a:avLst/>
              </a:prstGeom>
              <a:noFill/>
              <a:ln w="381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48" name="Freeform 6">
                <a:extLst>
                  <a:ext uri="{FF2B5EF4-FFF2-40B4-BE49-F238E27FC236}">
                    <a16:creationId xmlns:a16="http://schemas.microsoft.com/office/drawing/2014/main" id="{4E449ECD-CFE5-4FBF-8AFA-A7CA6185ECA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 rot="225134">
                <a:off x="-191425" y="2389595"/>
                <a:ext cx="4551085" cy="4538498"/>
              </a:xfrm>
              <a:custGeom>
                <a:avLst/>
                <a:gdLst>
                  <a:gd name="T0" fmla="*/ 682 w 723"/>
                  <a:gd name="T1" fmla="*/ 341 h 721"/>
                  <a:gd name="T2" fmla="*/ 694 w 723"/>
                  <a:gd name="T3" fmla="*/ 281 h 721"/>
                  <a:gd name="T4" fmla="*/ 696 w 723"/>
                  <a:gd name="T5" fmla="*/ 223 h 721"/>
                  <a:gd name="T6" fmla="*/ 673 w 723"/>
                  <a:gd name="T7" fmla="*/ 177 h 721"/>
                  <a:gd name="T8" fmla="*/ 624 w 723"/>
                  <a:gd name="T9" fmla="*/ 142 h 721"/>
                  <a:gd name="T10" fmla="*/ 570 w 723"/>
                  <a:gd name="T11" fmla="*/ 117 h 721"/>
                  <a:gd name="T12" fmla="*/ 538 w 723"/>
                  <a:gd name="T13" fmla="*/ 93 h 721"/>
                  <a:gd name="T14" fmla="*/ 500 w 723"/>
                  <a:gd name="T15" fmla="*/ 48 h 721"/>
                  <a:gd name="T16" fmla="*/ 453 w 723"/>
                  <a:gd name="T17" fmla="*/ 10 h 721"/>
                  <a:gd name="T18" fmla="*/ 402 w 723"/>
                  <a:gd name="T19" fmla="*/ 1 h 721"/>
                  <a:gd name="T20" fmla="*/ 345 w 723"/>
                  <a:gd name="T21" fmla="*/ 19 h 721"/>
                  <a:gd name="T22" fmla="*/ 291 w 723"/>
                  <a:gd name="T23" fmla="*/ 46 h 721"/>
                  <a:gd name="T24" fmla="*/ 254 w 723"/>
                  <a:gd name="T25" fmla="*/ 57 h 721"/>
                  <a:gd name="T26" fmla="*/ 194 w 723"/>
                  <a:gd name="T27" fmla="*/ 61 h 721"/>
                  <a:gd name="T28" fmla="*/ 137 w 723"/>
                  <a:gd name="T29" fmla="*/ 76 h 721"/>
                  <a:gd name="T30" fmla="*/ 98 w 723"/>
                  <a:gd name="T31" fmla="*/ 111 h 721"/>
                  <a:gd name="T32" fmla="*/ 79 w 723"/>
                  <a:gd name="T33" fmla="*/ 168 h 721"/>
                  <a:gd name="T34" fmla="*/ 69 w 723"/>
                  <a:gd name="T35" fmla="*/ 226 h 721"/>
                  <a:gd name="T36" fmla="*/ 55 w 723"/>
                  <a:gd name="T37" fmla="*/ 263 h 721"/>
                  <a:gd name="T38" fmla="*/ 22 w 723"/>
                  <a:gd name="T39" fmla="*/ 313 h 721"/>
                  <a:gd name="T40" fmla="*/ 0 w 723"/>
                  <a:gd name="T41" fmla="*/ 368 h 721"/>
                  <a:gd name="T42" fmla="*/ 4 w 723"/>
                  <a:gd name="T43" fmla="*/ 419 h 721"/>
                  <a:gd name="T44" fmla="*/ 37 w 723"/>
                  <a:gd name="T45" fmla="*/ 468 h 721"/>
                  <a:gd name="T46" fmla="*/ 77 w 723"/>
                  <a:gd name="T47" fmla="*/ 513 h 721"/>
                  <a:gd name="T48" fmla="*/ 98 w 723"/>
                  <a:gd name="T49" fmla="*/ 546 h 721"/>
                  <a:gd name="T50" fmla="*/ 119 w 723"/>
                  <a:gd name="T51" fmla="*/ 602 h 721"/>
                  <a:gd name="T52" fmla="*/ 149 w 723"/>
                  <a:gd name="T53" fmla="*/ 654 h 721"/>
                  <a:gd name="T54" fmla="*/ 193 w 723"/>
                  <a:gd name="T55" fmla="*/ 681 h 721"/>
                  <a:gd name="T56" fmla="*/ 253 w 723"/>
                  <a:gd name="T57" fmla="*/ 684 h 721"/>
                  <a:gd name="T58" fmla="*/ 312 w 723"/>
                  <a:gd name="T59" fmla="*/ 678 h 721"/>
                  <a:gd name="T60" fmla="*/ 351 w 723"/>
                  <a:gd name="T61" fmla="*/ 682 h 721"/>
                  <a:gd name="T62" fmla="*/ 408 w 723"/>
                  <a:gd name="T63" fmla="*/ 699 h 721"/>
                  <a:gd name="T64" fmla="*/ 468 w 723"/>
                  <a:gd name="T65" fmla="*/ 706 h 721"/>
                  <a:gd name="T66" fmla="*/ 516 w 723"/>
                  <a:gd name="T67" fmla="*/ 687 h 721"/>
                  <a:gd name="T68" fmla="*/ 555 w 723"/>
                  <a:gd name="T69" fmla="*/ 642 h 721"/>
                  <a:gd name="T70" fmla="*/ 585 w 723"/>
                  <a:gd name="T71" fmla="*/ 591 h 721"/>
                  <a:gd name="T72" fmla="*/ 612 w 723"/>
                  <a:gd name="T73" fmla="*/ 563 h 721"/>
                  <a:gd name="T74" fmla="*/ 660 w 723"/>
                  <a:gd name="T75" fmla="*/ 527 h 721"/>
                  <a:gd name="T76" fmla="*/ 702 w 723"/>
                  <a:gd name="T77" fmla="*/ 483 h 721"/>
                  <a:gd name="T78" fmla="*/ 715 w 723"/>
                  <a:gd name="T79" fmla="*/ 434 h 721"/>
                  <a:gd name="T80" fmla="*/ 703 w 723"/>
                  <a:gd name="T81" fmla="*/ 376 h 721"/>
                  <a:gd name="T82" fmla="*/ 610 w 723"/>
                  <a:gd name="T83" fmla="*/ 450 h 721"/>
                  <a:gd name="T84" fmla="*/ 538 w 723"/>
                  <a:gd name="T85" fmla="*/ 557 h 721"/>
                  <a:gd name="T86" fmla="*/ 428 w 723"/>
                  <a:gd name="T87" fmla="*/ 617 h 721"/>
                  <a:gd name="T88" fmla="*/ 321 w 723"/>
                  <a:gd name="T89" fmla="*/ 622 h 721"/>
                  <a:gd name="T90" fmla="*/ 203 w 723"/>
                  <a:gd name="T91" fmla="*/ 572 h 721"/>
                  <a:gd name="T92" fmla="*/ 122 w 723"/>
                  <a:gd name="T93" fmla="*/ 474 h 721"/>
                  <a:gd name="T94" fmla="*/ 97 w 723"/>
                  <a:gd name="T95" fmla="*/ 361 h 721"/>
                  <a:gd name="T96" fmla="*/ 122 w 723"/>
                  <a:gd name="T97" fmla="*/ 245 h 721"/>
                  <a:gd name="T98" fmla="*/ 203 w 723"/>
                  <a:gd name="T99" fmla="*/ 148 h 721"/>
                  <a:gd name="T100" fmla="*/ 321 w 723"/>
                  <a:gd name="T101" fmla="*/ 99 h 721"/>
                  <a:gd name="T102" fmla="*/ 428 w 723"/>
                  <a:gd name="T103" fmla="*/ 105 h 721"/>
                  <a:gd name="T104" fmla="*/ 538 w 723"/>
                  <a:gd name="T105" fmla="*/ 165 h 721"/>
                  <a:gd name="T106" fmla="*/ 610 w 723"/>
                  <a:gd name="T107" fmla="*/ 269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23" h="721">
                    <a:moveTo>
                      <a:pt x="703" y="376"/>
                    </a:moveTo>
                    <a:lnTo>
                      <a:pt x="723" y="368"/>
                    </a:lnTo>
                    <a:lnTo>
                      <a:pt x="723" y="353"/>
                    </a:lnTo>
                    <a:lnTo>
                      <a:pt x="703" y="344"/>
                    </a:lnTo>
                    <a:lnTo>
                      <a:pt x="682" y="341"/>
                    </a:lnTo>
                    <a:lnTo>
                      <a:pt x="681" y="320"/>
                    </a:lnTo>
                    <a:lnTo>
                      <a:pt x="700" y="313"/>
                    </a:lnTo>
                    <a:lnTo>
                      <a:pt x="718" y="301"/>
                    </a:lnTo>
                    <a:lnTo>
                      <a:pt x="715" y="286"/>
                    </a:lnTo>
                    <a:lnTo>
                      <a:pt x="694" y="281"/>
                    </a:lnTo>
                    <a:lnTo>
                      <a:pt x="673" y="281"/>
                    </a:lnTo>
                    <a:lnTo>
                      <a:pt x="667" y="263"/>
                    </a:lnTo>
                    <a:lnTo>
                      <a:pt x="685" y="251"/>
                    </a:lnTo>
                    <a:lnTo>
                      <a:pt x="702" y="236"/>
                    </a:lnTo>
                    <a:lnTo>
                      <a:pt x="696" y="223"/>
                    </a:lnTo>
                    <a:lnTo>
                      <a:pt x="673" y="223"/>
                    </a:lnTo>
                    <a:lnTo>
                      <a:pt x="654" y="226"/>
                    </a:lnTo>
                    <a:lnTo>
                      <a:pt x="645" y="208"/>
                    </a:lnTo>
                    <a:lnTo>
                      <a:pt x="660" y="194"/>
                    </a:lnTo>
                    <a:lnTo>
                      <a:pt x="673" y="177"/>
                    </a:lnTo>
                    <a:lnTo>
                      <a:pt x="664" y="163"/>
                    </a:lnTo>
                    <a:lnTo>
                      <a:pt x="643" y="168"/>
                    </a:lnTo>
                    <a:lnTo>
                      <a:pt x="624" y="175"/>
                    </a:lnTo>
                    <a:lnTo>
                      <a:pt x="612" y="159"/>
                    </a:lnTo>
                    <a:lnTo>
                      <a:pt x="624" y="142"/>
                    </a:lnTo>
                    <a:lnTo>
                      <a:pt x="634" y="123"/>
                    </a:lnTo>
                    <a:lnTo>
                      <a:pt x="624" y="111"/>
                    </a:lnTo>
                    <a:lnTo>
                      <a:pt x="603" y="118"/>
                    </a:lnTo>
                    <a:lnTo>
                      <a:pt x="585" y="130"/>
                    </a:lnTo>
                    <a:lnTo>
                      <a:pt x="570" y="117"/>
                    </a:lnTo>
                    <a:lnTo>
                      <a:pt x="579" y="97"/>
                    </a:lnTo>
                    <a:lnTo>
                      <a:pt x="585" y="76"/>
                    </a:lnTo>
                    <a:lnTo>
                      <a:pt x="573" y="67"/>
                    </a:lnTo>
                    <a:lnTo>
                      <a:pt x="555" y="78"/>
                    </a:lnTo>
                    <a:lnTo>
                      <a:pt x="538" y="93"/>
                    </a:lnTo>
                    <a:lnTo>
                      <a:pt x="522" y="82"/>
                    </a:lnTo>
                    <a:lnTo>
                      <a:pt x="528" y="61"/>
                    </a:lnTo>
                    <a:lnTo>
                      <a:pt x="529" y="40"/>
                    </a:lnTo>
                    <a:lnTo>
                      <a:pt x="516" y="33"/>
                    </a:lnTo>
                    <a:lnTo>
                      <a:pt x="500" y="48"/>
                    </a:lnTo>
                    <a:lnTo>
                      <a:pt x="486" y="64"/>
                    </a:lnTo>
                    <a:lnTo>
                      <a:pt x="468" y="57"/>
                    </a:lnTo>
                    <a:lnTo>
                      <a:pt x="470" y="36"/>
                    </a:lnTo>
                    <a:lnTo>
                      <a:pt x="468" y="15"/>
                    </a:lnTo>
                    <a:lnTo>
                      <a:pt x="453" y="10"/>
                    </a:lnTo>
                    <a:lnTo>
                      <a:pt x="440" y="28"/>
                    </a:lnTo>
                    <a:lnTo>
                      <a:pt x="431" y="46"/>
                    </a:lnTo>
                    <a:lnTo>
                      <a:pt x="410" y="42"/>
                    </a:lnTo>
                    <a:lnTo>
                      <a:pt x="408" y="22"/>
                    </a:lnTo>
                    <a:lnTo>
                      <a:pt x="402" y="1"/>
                    </a:lnTo>
                    <a:lnTo>
                      <a:pt x="387" y="0"/>
                    </a:lnTo>
                    <a:lnTo>
                      <a:pt x="377" y="19"/>
                    </a:lnTo>
                    <a:lnTo>
                      <a:pt x="371" y="39"/>
                    </a:lnTo>
                    <a:lnTo>
                      <a:pt x="351" y="39"/>
                    </a:lnTo>
                    <a:lnTo>
                      <a:pt x="345" y="19"/>
                    </a:lnTo>
                    <a:lnTo>
                      <a:pt x="335" y="0"/>
                    </a:lnTo>
                    <a:lnTo>
                      <a:pt x="320" y="1"/>
                    </a:lnTo>
                    <a:lnTo>
                      <a:pt x="314" y="22"/>
                    </a:lnTo>
                    <a:lnTo>
                      <a:pt x="312" y="42"/>
                    </a:lnTo>
                    <a:lnTo>
                      <a:pt x="291" y="46"/>
                    </a:lnTo>
                    <a:lnTo>
                      <a:pt x="283" y="28"/>
                    </a:lnTo>
                    <a:lnTo>
                      <a:pt x="269" y="10"/>
                    </a:lnTo>
                    <a:lnTo>
                      <a:pt x="256" y="15"/>
                    </a:lnTo>
                    <a:lnTo>
                      <a:pt x="253" y="36"/>
                    </a:lnTo>
                    <a:lnTo>
                      <a:pt x="254" y="57"/>
                    </a:lnTo>
                    <a:lnTo>
                      <a:pt x="236" y="64"/>
                    </a:lnTo>
                    <a:lnTo>
                      <a:pt x="223" y="48"/>
                    </a:lnTo>
                    <a:lnTo>
                      <a:pt x="206" y="33"/>
                    </a:lnTo>
                    <a:lnTo>
                      <a:pt x="193" y="40"/>
                    </a:lnTo>
                    <a:lnTo>
                      <a:pt x="194" y="61"/>
                    </a:lnTo>
                    <a:lnTo>
                      <a:pt x="200" y="82"/>
                    </a:lnTo>
                    <a:lnTo>
                      <a:pt x="184" y="93"/>
                    </a:lnTo>
                    <a:lnTo>
                      <a:pt x="167" y="78"/>
                    </a:lnTo>
                    <a:lnTo>
                      <a:pt x="149" y="67"/>
                    </a:lnTo>
                    <a:lnTo>
                      <a:pt x="137" y="76"/>
                    </a:lnTo>
                    <a:lnTo>
                      <a:pt x="143" y="97"/>
                    </a:lnTo>
                    <a:lnTo>
                      <a:pt x="152" y="117"/>
                    </a:lnTo>
                    <a:lnTo>
                      <a:pt x="137" y="130"/>
                    </a:lnTo>
                    <a:lnTo>
                      <a:pt x="119" y="118"/>
                    </a:lnTo>
                    <a:lnTo>
                      <a:pt x="98" y="111"/>
                    </a:lnTo>
                    <a:lnTo>
                      <a:pt x="89" y="123"/>
                    </a:lnTo>
                    <a:lnTo>
                      <a:pt x="98" y="142"/>
                    </a:lnTo>
                    <a:lnTo>
                      <a:pt x="110" y="159"/>
                    </a:lnTo>
                    <a:lnTo>
                      <a:pt x="98" y="175"/>
                    </a:lnTo>
                    <a:lnTo>
                      <a:pt x="79" y="168"/>
                    </a:lnTo>
                    <a:lnTo>
                      <a:pt x="58" y="163"/>
                    </a:lnTo>
                    <a:lnTo>
                      <a:pt x="49" y="177"/>
                    </a:lnTo>
                    <a:lnTo>
                      <a:pt x="63" y="194"/>
                    </a:lnTo>
                    <a:lnTo>
                      <a:pt x="77" y="208"/>
                    </a:lnTo>
                    <a:lnTo>
                      <a:pt x="69" y="226"/>
                    </a:lnTo>
                    <a:lnTo>
                      <a:pt x="49" y="223"/>
                    </a:lnTo>
                    <a:lnTo>
                      <a:pt x="27" y="223"/>
                    </a:lnTo>
                    <a:lnTo>
                      <a:pt x="21" y="236"/>
                    </a:lnTo>
                    <a:lnTo>
                      <a:pt x="37" y="251"/>
                    </a:lnTo>
                    <a:lnTo>
                      <a:pt x="55" y="263"/>
                    </a:lnTo>
                    <a:lnTo>
                      <a:pt x="49" y="281"/>
                    </a:lnTo>
                    <a:lnTo>
                      <a:pt x="28" y="281"/>
                    </a:lnTo>
                    <a:lnTo>
                      <a:pt x="7" y="286"/>
                    </a:lnTo>
                    <a:lnTo>
                      <a:pt x="4" y="301"/>
                    </a:lnTo>
                    <a:lnTo>
                      <a:pt x="22" y="313"/>
                    </a:lnTo>
                    <a:lnTo>
                      <a:pt x="42" y="320"/>
                    </a:lnTo>
                    <a:lnTo>
                      <a:pt x="40" y="341"/>
                    </a:lnTo>
                    <a:lnTo>
                      <a:pt x="19" y="344"/>
                    </a:lnTo>
                    <a:lnTo>
                      <a:pt x="0" y="353"/>
                    </a:lnTo>
                    <a:lnTo>
                      <a:pt x="0" y="368"/>
                    </a:lnTo>
                    <a:lnTo>
                      <a:pt x="19" y="376"/>
                    </a:lnTo>
                    <a:lnTo>
                      <a:pt x="40" y="380"/>
                    </a:lnTo>
                    <a:lnTo>
                      <a:pt x="42" y="400"/>
                    </a:lnTo>
                    <a:lnTo>
                      <a:pt x="22" y="407"/>
                    </a:lnTo>
                    <a:lnTo>
                      <a:pt x="4" y="419"/>
                    </a:lnTo>
                    <a:lnTo>
                      <a:pt x="7" y="434"/>
                    </a:lnTo>
                    <a:lnTo>
                      <a:pt x="28" y="438"/>
                    </a:lnTo>
                    <a:lnTo>
                      <a:pt x="49" y="438"/>
                    </a:lnTo>
                    <a:lnTo>
                      <a:pt x="55" y="458"/>
                    </a:lnTo>
                    <a:lnTo>
                      <a:pt x="37" y="468"/>
                    </a:lnTo>
                    <a:lnTo>
                      <a:pt x="21" y="483"/>
                    </a:lnTo>
                    <a:lnTo>
                      <a:pt x="27" y="498"/>
                    </a:lnTo>
                    <a:lnTo>
                      <a:pt x="49" y="498"/>
                    </a:lnTo>
                    <a:lnTo>
                      <a:pt x="69" y="495"/>
                    </a:lnTo>
                    <a:lnTo>
                      <a:pt x="77" y="513"/>
                    </a:lnTo>
                    <a:lnTo>
                      <a:pt x="63" y="527"/>
                    </a:lnTo>
                    <a:lnTo>
                      <a:pt x="49" y="545"/>
                    </a:lnTo>
                    <a:lnTo>
                      <a:pt x="58" y="557"/>
                    </a:lnTo>
                    <a:lnTo>
                      <a:pt x="79" y="554"/>
                    </a:lnTo>
                    <a:lnTo>
                      <a:pt x="98" y="546"/>
                    </a:lnTo>
                    <a:lnTo>
                      <a:pt x="110" y="563"/>
                    </a:lnTo>
                    <a:lnTo>
                      <a:pt x="98" y="579"/>
                    </a:lnTo>
                    <a:lnTo>
                      <a:pt x="89" y="599"/>
                    </a:lnTo>
                    <a:lnTo>
                      <a:pt x="98" y="609"/>
                    </a:lnTo>
                    <a:lnTo>
                      <a:pt x="119" y="602"/>
                    </a:lnTo>
                    <a:lnTo>
                      <a:pt x="137" y="591"/>
                    </a:lnTo>
                    <a:lnTo>
                      <a:pt x="152" y="605"/>
                    </a:lnTo>
                    <a:lnTo>
                      <a:pt x="143" y="622"/>
                    </a:lnTo>
                    <a:lnTo>
                      <a:pt x="137" y="645"/>
                    </a:lnTo>
                    <a:lnTo>
                      <a:pt x="149" y="654"/>
                    </a:lnTo>
                    <a:lnTo>
                      <a:pt x="167" y="642"/>
                    </a:lnTo>
                    <a:lnTo>
                      <a:pt x="184" y="628"/>
                    </a:lnTo>
                    <a:lnTo>
                      <a:pt x="200" y="639"/>
                    </a:lnTo>
                    <a:lnTo>
                      <a:pt x="194" y="658"/>
                    </a:lnTo>
                    <a:lnTo>
                      <a:pt x="193" y="681"/>
                    </a:lnTo>
                    <a:lnTo>
                      <a:pt x="206" y="687"/>
                    </a:lnTo>
                    <a:lnTo>
                      <a:pt x="223" y="673"/>
                    </a:lnTo>
                    <a:lnTo>
                      <a:pt x="236" y="657"/>
                    </a:lnTo>
                    <a:lnTo>
                      <a:pt x="254" y="664"/>
                    </a:lnTo>
                    <a:lnTo>
                      <a:pt x="253" y="684"/>
                    </a:lnTo>
                    <a:lnTo>
                      <a:pt x="256" y="706"/>
                    </a:lnTo>
                    <a:lnTo>
                      <a:pt x="269" y="711"/>
                    </a:lnTo>
                    <a:lnTo>
                      <a:pt x="283" y="693"/>
                    </a:lnTo>
                    <a:lnTo>
                      <a:pt x="291" y="675"/>
                    </a:lnTo>
                    <a:lnTo>
                      <a:pt x="312" y="678"/>
                    </a:lnTo>
                    <a:lnTo>
                      <a:pt x="314" y="699"/>
                    </a:lnTo>
                    <a:lnTo>
                      <a:pt x="320" y="720"/>
                    </a:lnTo>
                    <a:lnTo>
                      <a:pt x="335" y="721"/>
                    </a:lnTo>
                    <a:lnTo>
                      <a:pt x="345" y="702"/>
                    </a:lnTo>
                    <a:lnTo>
                      <a:pt x="351" y="682"/>
                    </a:lnTo>
                    <a:lnTo>
                      <a:pt x="371" y="682"/>
                    </a:lnTo>
                    <a:lnTo>
                      <a:pt x="377" y="702"/>
                    </a:lnTo>
                    <a:lnTo>
                      <a:pt x="387" y="721"/>
                    </a:lnTo>
                    <a:lnTo>
                      <a:pt x="402" y="720"/>
                    </a:lnTo>
                    <a:lnTo>
                      <a:pt x="408" y="699"/>
                    </a:lnTo>
                    <a:lnTo>
                      <a:pt x="410" y="678"/>
                    </a:lnTo>
                    <a:lnTo>
                      <a:pt x="431" y="675"/>
                    </a:lnTo>
                    <a:lnTo>
                      <a:pt x="440" y="693"/>
                    </a:lnTo>
                    <a:lnTo>
                      <a:pt x="453" y="711"/>
                    </a:lnTo>
                    <a:lnTo>
                      <a:pt x="468" y="706"/>
                    </a:lnTo>
                    <a:lnTo>
                      <a:pt x="470" y="684"/>
                    </a:lnTo>
                    <a:lnTo>
                      <a:pt x="468" y="664"/>
                    </a:lnTo>
                    <a:lnTo>
                      <a:pt x="486" y="657"/>
                    </a:lnTo>
                    <a:lnTo>
                      <a:pt x="500" y="673"/>
                    </a:lnTo>
                    <a:lnTo>
                      <a:pt x="516" y="687"/>
                    </a:lnTo>
                    <a:lnTo>
                      <a:pt x="529" y="681"/>
                    </a:lnTo>
                    <a:lnTo>
                      <a:pt x="528" y="658"/>
                    </a:lnTo>
                    <a:lnTo>
                      <a:pt x="522" y="639"/>
                    </a:lnTo>
                    <a:lnTo>
                      <a:pt x="538" y="628"/>
                    </a:lnTo>
                    <a:lnTo>
                      <a:pt x="555" y="642"/>
                    </a:lnTo>
                    <a:lnTo>
                      <a:pt x="573" y="654"/>
                    </a:lnTo>
                    <a:lnTo>
                      <a:pt x="585" y="645"/>
                    </a:lnTo>
                    <a:lnTo>
                      <a:pt x="579" y="622"/>
                    </a:lnTo>
                    <a:lnTo>
                      <a:pt x="570" y="605"/>
                    </a:lnTo>
                    <a:lnTo>
                      <a:pt x="585" y="591"/>
                    </a:lnTo>
                    <a:lnTo>
                      <a:pt x="603" y="602"/>
                    </a:lnTo>
                    <a:lnTo>
                      <a:pt x="624" y="609"/>
                    </a:lnTo>
                    <a:lnTo>
                      <a:pt x="634" y="599"/>
                    </a:lnTo>
                    <a:lnTo>
                      <a:pt x="624" y="579"/>
                    </a:lnTo>
                    <a:lnTo>
                      <a:pt x="612" y="563"/>
                    </a:lnTo>
                    <a:lnTo>
                      <a:pt x="624" y="546"/>
                    </a:lnTo>
                    <a:lnTo>
                      <a:pt x="643" y="554"/>
                    </a:lnTo>
                    <a:lnTo>
                      <a:pt x="664" y="557"/>
                    </a:lnTo>
                    <a:lnTo>
                      <a:pt x="673" y="545"/>
                    </a:lnTo>
                    <a:lnTo>
                      <a:pt x="660" y="527"/>
                    </a:lnTo>
                    <a:lnTo>
                      <a:pt x="645" y="513"/>
                    </a:lnTo>
                    <a:lnTo>
                      <a:pt x="654" y="495"/>
                    </a:lnTo>
                    <a:lnTo>
                      <a:pt x="673" y="498"/>
                    </a:lnTo>
                    <a:lnTo>
                      <a:pt x="696" y="498"/>
                    </a:lnTo>
                    <a:lnTo>
                      <a:pt x="702" y="483"/>
                    </a:lnTo>
                    <a:lnTo>
                      <a:pt x="685" y="468"/>
                    </a:lnTo>
                    <a:lnTo>
                      <a:pt x="667" y="458"/>
                    </a:lnTo>
                    <a:lnTo>
                      <a:pt x="673" y="438"/>
                    </a:lnTo>
                    <a:lnTo>
                      <a:pt x="694" y="438"/>
                    </a:lnTo>
                    <a:lnTo>
                      <a:pt x="715" y="434"/>
                    </a:lnTo>
                    <a:lnTo>
                      <a:pt x="718" y="419"/>
                    </a:lnTo>
                    <a:lnTo>
                      <a:pt x="700" y="407"/>
                    </a:lnTo>
                    <a:lnTo>
                      <a:pt x="681" y="400"/>
                    </a:lnTo>
                    <a:lnTo>
                      <a:pt x="682" y="380"/>
                    </a:lnTo>
                    <a:lnTo>
                      <a:pt x="703" y="376"/>
                    </a:lnTo>
                    <a:close/>
                    <a:moveTo>
                      <a:pt x="625" y="361"/>
                    </a:moveTo>
                    <a:lnTo>
                      <a:pt x="625" y="374"/>
                    </a:lnTo>
                    <a:lnTo>
                      <a:pt x="622" y="401"/>
                    </a:lnTo>
                    <a:lnTo>
                      <a:pt x="618" y="426"/>
                    </a:lnTo>
                    <a:lnTo>
                      <a:pt x="610" y="450"/>
                    </a:lnTo>
                    <a:lnTo>
                      <a:pt x="600" y="474"/>
                    </a:lnTo>
                    <a:lnTo>
                      <a:pt x="588" y="497"/>
                    </a:lnTo>
                    <a:lnTo>
                      <a:pt x="573" y="518"/>
                    </a:lnTo>
                    <a:lnTo>
                      <a:pt x="556" y="539"/>
                    </a:lnTo>
                    <a:lnTo>
                      <a:pt x="538" y="557"/>
                    </a:lnTo>
                    <a:lnTo>
                      <a:pt x="519" y="572"/>
                    </a:lnTo>
                    <a:lnTo>
                      <a:pt x="498" y="587"/>
                    </a:lnTo>
                    <a:lnTo>
                      <a:pt x="476" y="599"/>
                    </a:lnTo>
                    <a:lnTo>
                      <a:pt x="452" y="609"/>
                    </a:lnTo>
                    <a:lnTo>
                      <a:pt x="428" y="617"/>
                    </a:lnTo>
                    <a:lnTo>
                      <a:pt x="401" y="622"/>
                    </a:lnTo>
                    <a:lnTo>
                      <a:pt x="375" y="624"/>
                    </a:lnTo>
                    <a:lnTo>
                      <a:pt x="362" y="624"/>
                    </a:lnTo>
                    <a:lnTo>
                      <a:pt x="347" y="624"/>
                    </a:lnTo>
                    <a:lnTo>
                      <a:pt x="321" y="622"/>
                    </a:lnTo>
                    <a:lnTo>
                      <a:pt x="294" y="617"/>
                    </a:lnTo>
                    <a:lnTo>
                      <a:pt x="271" y="609"/>
                    </a:lnTo>
                    <a:lnTo>
                      <a:pt x="247" y="599"/>
                    </a:lnTo>
                    <a:lnTo>
                      <a:pt x="224" y="587"/>
                    </a:lnTo>
                    <a:lnTo>
                      <a:pt x="203" y="572"/>
                    </a:lnTo>
                    <a:lnTo>
                      <a:pt x="184" y="557"/>
                    </a:lnTo>
                    <a:lnTo>
                      <a:pt x="166" y="539"/>
                    </a:lnTo>
                    <a:lnTo>
                      <a:pt x="149" y="518"/>
                    </a:lnTo>
                    <a:lnTo>
                      <a:pt x="134" y="497"/>
                    </a:lnTo>
                    <a:lnTo>
                      <a:pt x="122" y="474"/>
                    </a:lnTo>
                    <a:lnTo>
                      <a:pt x="113" y="450"/>
                    </a:lnTo>
                    <a:lnTo>
                      <a:pt x="104" y="426"/>
                    </a:lnTo>
                    <a:lnTo>
                      <a:pt x="100" y="401"/>
                    </a:lnTo>
                    <a:lnTo>
                      <a:pt x="97" y="374"/>
                    </a:lnTo>
                    <a:lnTo>
                      <a:pt x="97" y="361"/>
                    </a:lnTo>
                    <a:lnTo>
                      <a:pt x="97" y="347"/>
                    </a:lnTo>
                    <a:lnTo>
                      <a:pt x="100" y="320"/>
                    </a:lnTo>
                    <a:lnTo>
                      <a:pt x="104" y="295"/>
                    </a:lnTo>
                    <a:lnTo>
                      <a:pt x="113" y="269"/>
                    </a:lnTo>
                    <a:lnTo>
                      <a:pt x="122" y="245"/>
                    </a:lnTo>
                    <a:lnTo>
                      <a:pt x="134" y="223"/>
                    </a:lnTo>
                    <a:lnTo>
                      <a:pt x="149" y="202"/>
                    </a:lnTo>
                    <a:lnTo>
                      <a:pt x="166" y="182"/>
                    </a:lnTo>
                    <a:lnTo>
                      <a:pt x="184" y="165"/>
                    </a:lnTo>
                    <a:lnTo>
                      <a:pt x="203" y="148"/>
                    </a:lnTo>
                    <a:lnTo>
                      <a:pt x="224" y="135"/>
                    </a:lnTo>
                    <a:lnTo>
                      <a:pt x="247" y="123"/>
                    </a:lnTo>
                    <a:lnTo>
                      <a:pt x="271" y="112"/>
                    </a:lnTo>
                    <a:lnTo>
                      <a:pt x="294" y="105"/>
                    </a:lnTo>
                    <a:lnTo>
                      <a:pt x="321" y="99"/>
                    </a:lnTo>
                    <a:lnTo>
                      <a:pt x="347" y="96"/>
                    </a:lnTo>
                    <a:lnTo>
                      <a:pt x="362" y="96"/>
                    </a:lnTo>
                    <a:lnTo>
                      <a:pt x="375" y="96"/>
                    </a:lnTo>
                    <a:lnTo>
                      <a:pt x="401" y="99"/>
                    </a:lnTo>
                    <a:lnTo>
                      <a:pt x="428" y="105"/>
                    </a:lnTo>
                    <a:lnTo>
                      <a:pt x="452" y="112"/>
                    </a:lnTo>
                    <a:lnTo>
                      <a:pt x="476" y="123"/>
                    </a:lnTo>
                    <a:lnTo>
                      <a:pt x="498" y="135"/>
                    </a:lnTo>
                    <a:lnTo>
                      <a:pt x="519" y="148"/>
                    </a:lnTo>
                    <a:lnTo>
                      <a:pt x="538" y="165"/>
                    </a:lnTo>
                    <a:lnTo>
                      <a:pt x="556" y="182"/>
                    </a:lnTo>
                    <a:lnTo>
                      <a:pt x="573" y="202"/>
                    </a:lnTo>
                    <a:lnTo>
                      <a:pt x="588" y="223"/>
                    </a:lnTo>
                    <a:lnTo>
                      <a:pt x="600" y="245"/>
                    </a:lnTo>
                    <a:lnTo>
                      <a:pt x="610" y="269"/>
                    </a:lnTo>
                    <a:lnTo>
                      <a:pt x="618" y="295"/>
                    </a:lnTo>
                    <a:lnTo>
                      <a:pt x="622" y="320"/>
                    </a:lnTo>
                    <a:lnTo>
                      <a:pt x="625" y="347"/>
                    </a:lnTo>
                    <a:lnTo>
                      <a:pt x="625" y="361"/>
                    </a:lnTo>
                    <a:close/>
                  </a:path>
                </a:pathLst>
              </a:custGeom>
              <a:solidFill>
                <a:schemeClr val="accent3">
                  <a:lumMod val="50000"/>
                  <a:alpha val="81000"/>
                </a:schemeClr>
              </a:solidFill>
              <a:ln w="38100"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  <p:grpSp>
          <p:nvGrpSpPr>
            <p:cNvPr id="49" name="Gruppieren 3">
              <a:extLst>
                <a:ext uri="{FF2B5EF4-FFF2-40B4-BE49-F238E27FC236}">
                  <a16:creationId xmlns:a16="http://schemas.microsoft.com/office/drawing/2014/main" id="{7A4B2DD9-6A12-46EB-AC6A-C8B2492327E5}"/>
                </a:ext>
              </a:extLst>
            </p:cNvPr>
            <p:cNvGrpSpPr/>
            <p:nvPr/>
          </p:nvGrpSpPr>
          <p:grpSpPr>
            <a:xfrm>
              <a:off x="1660286" y="5046934"/>
              <a:ext cx="813376" cy="806602"/>
              <a:chOff x="2686984" y="2224370"/>
              <a:chExt cx="1223573" cy="1213382"/>
            </a:xfrm>
          </p:grpSpPr>
          <p:sp>
            <p:nvSpPr>
              <p:cNvPr id="50" name="Ellipse 63">
                <a:extLst>
                  <a:ext uri="{FF2B5EF4-FFF2-40B4-BE49-F238E27FC236}">
                    <a16:creationId xmlns:a16="http://schemas.microsoft.com/office/drawing/2014/main" id="{48C7A491-0BCA-4E45-BFAA-57BC44035FC1}"/>
                  </a:ext>
                </a:extLst>
              </p:cNvPr>
              <p:cNvSpPr/>
              <p:nvPr/>
            </p:nvSpPr>
            <p:spPr>
              <a:xfrm>
                <a:off x="2860342" y="2383873"/>
                <a:ext cx="888233" cy="888233"/>
              </a:xfrm>
              <a:prstGeom prst="ellipse">
                <a:avLst/>
              </a:prstGeom>
              <a:solidFill>
                <a:srgbClr val="FFFFFF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1" name="Freeform 6">
                <a:extLst>
                  <a:ext uri="{FF2B5EF4-FFF2-40B4-BE49-F238E27FC236}">
                    <a16:creationId xmlns:a16="http://schemas.microsoft.com/office/drawing/2014/main" id="{BE52641C-1418-4BAF-9B81-503E7E54B60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86984" y="2224370"/>
                <a:ext cx="1223573" cy="1213382"/>
              </a:xfrm>
              <a:custGeom>
                <a:avLst/>
                <a:gdLst>
                  <a:gd name="T0" fmla="*/ 323 w 660"/>
                  <a:gd name="T1" fmla="*/ 53 h 692"/>
                  <a:gd name="T2" fmla="*/ 260 w 660"/>
                  <a:gd name="T3" fmla="*/ 9 h 692"/>
                  <a:gd name="T4" fmla="*/ 203 w 660"/>
                  <a:gd name="T5" fmla="*/ 51 h 692"/>
                  <a:gd name="T6" fmla="*/ 151 w 660"/>
                  <a:gd name="T7" fmla="*/ 108 h 692"/>
                  <a:gd name="T8" fmla="*/ 67 w 660"/>
                  <a:gd name="T9" fmla="*/ 131 h 692"/>
                  <a:gd name="T10" fmla="*/ 82 w 660"/>
                  <a:gd name="T11" fmla="*/ 210 h 692"/>
                  <a:gd name="T12" fmla="*/ 13 w 660"/>
                  <a:gd name="T13" fmla="*/ 238 h 692"/>
                  <a:gd name="T14" fmla="*/ 34 w 660"/>
                  <a:gd name="T15" fmla="*/ 316 h 692"/>
                  <a:gd name="T16" fmla="*/ 42 w 660"/>
                  <a:gd name="T17" fmla="*/ 397 h 692"/>
                  <a:gd name="T18" fmla="*/ 24 w 660"/>
                  <a:gd name="T19" fmla="*/ 448 h 692"/>
                  <a:gd name="T20" fmla="*/ 76 w 660"/>
                  <a:gd name="T21" fmla="*/ 475 h 692"/>
                  <a:gd name="T22" fmla="*/ 68 w 660"/>
                  <a:gd name="T23" fmla="*/ 553 h 692"/>
                  <a:gd name="T24" fmla="*/ 116 w 660"/>
                  <a:gd name="T25" fmla="*/ 592 h 692"/>
                  <a:gd name="T26" fmla="*/ 167 w 660"/>
                  <a:gd name="T27" fmla="*/ 583 h 692"/>
                  <a:gd name="T28" fmla="*/ 208 w 660"/>
                  <a:gd name="T29" fmla="*/ 652 h 692"/>
                  <a:gd name="T30" fmla="*/ 264 w 660"/>
                  <a:gd name="T31" fmla="*/ 673 h 692"/>
                  <a:gd name="T32" fmla="*/ 333 w 660"/>
                  <a:gd name="T33" fmla="*/ 641 h 692"/>
                  <a:gd name="T34" fmla="*/ 414 w 660"/>
                  <a:gd name="T35" fmla="*/ 683 h 692"/>
                  <a:gd name="T36" fmla="*/ 449 w 660"/>
                  <a:gd name="T37" fmla="*/ 610 h 692"/>
                  <a:gd name="T38" fmla="*/ 498 w 660"/>
                  <a:gd name="T39" fmla="*/ 601 h 692"/>
                  <a:gd name="T40" fmla="*/ 561 w 660"/>
                  <a:gd name="T41" fmla="*/ 598 h 692"/>
                  <a:gd name="T42" fmla="*/ 559 w 660"/>
                  <a:gd name="T43" fmla="*/ 517 h 692"/>
                  <a:gd name="T44" fmla="*/ 604 w 660"/>
                  <a:gd name="T45" fmla="*/ 473 h 692"/>
                  <a:gd name="T46" fmla="*/ 652 w 660"/>
                  <a:gd name="T47" fmla="*/ 435 h 692"/>
                  <a:gd name="T48" fmla="*/ 610 w 660"/>
                  <a:gd name="T49" fmla="*/ 367 h 692"/>
                  <a:gd name="T50" fmla="*/ 655 w 660"/>
                  <a:gd name="T51" fmla="*/ 301 h 692"/>
                  <a:gd name="T52" fmla="*/ 610 w 660"/>
                  <a:gd name="T53" fmla="*/ 217 h 692"/>
                  <a:gd name="T54" fmla="*/ 553 w 660"/>
                  <a:gd name="T55" fmla="*/ 161 h 692"/>
                  <a:gd name="T56" fmla="*/ 532 w 660"/>
                  <a:gd name="T57" fmla="*/ 69 h 692"/>
                  <a:gd name="T58" fmla="*/ 458 w 660"/>
                  <a:gd name="T59" fmla="*/ 83 h 692"/>
                  <a:gd name="T60" fmla="*/ 431 w 660"/>
                  <a:gd name="T61" fmla="*/ 14 h 692"/>
                  <a:gd name="T62" fmla="*/ 341 w 660"/>
                  <a:gd name="T63" fmla="*/ 111 h 692"/>
                  <a:gd name="T64" fmla="*/ 426 w 660"/>
                  <a:gd name="T65" fmla="*/ 134 h 692"/>
                  <a:gd name="T66" fmla="*/ 455 w 660"/>
                  <a:gd name="T67" fmla="*/ 152 h 692"/>
                  <a:gd name="T68" fmla="*/ 487 w 660"/>
                  <a:gd name="T69" fmla="*/ 180 h 692"/>
                  <a:gd name="T70" fmla="*/ 504 w 660"/>
                  <a:gd name="T71" fmla="*/ 198 h 692"/>
                  <a:gd name="T72" fmla="*/ 532 w 660"/>
                  <a:gd name="T73" fmla="*/ 244 h 692"/>
                  <a:gd name="T74" fmla="*/ 543 w 660"/>
                  <a:gd name="T75" fmla="*/ 274 h 692"/>
                  <a:gd name="T76" fmla="*/ 549 w 660"/>
                  <a:gd name="T77" fmla="*/ 298 h 692"/>
                  <a:gd name="T78" fmla="*/ 552 w 660"/>
                  <a:gd name="T79" fmla="*/ 313 h 692"/>
                  <a:gd name="T80" fmla="*/ 553 w 660"/>
                  <a:gd name="T81" fmla="*/ 358 h 692"/>
                  <a:gd name="T82" fmla="*/ 549 w 660"/>
                  <a:gd name="T83" fmla="*/ 393 h 692"/>
                  <a:gd name="T84" fmla="*/ 544 w 660"/>
                  <a:gd name="T85" fmla="*/ 415 h 692"/>
                  <a:gd name="T86" fmla="*/ 516 w 660"/>
                  <a:gd name="T87" fmla="*/ 476 h 692"/>
                  <a:gd name="T88" fmla="*/ 502 w 660"/>
                  <a:gd name="T89" fmla="*/ 494 h 692"/>
                  <a:gd name="T90" fmla="*/ 417 w 660"/>
                  <a:gd name="T91" fmla="*/ 562 h 692"/>
                  <a:gd name="T92" fmla="*/ 330 w 660"/>
                  <a:gd name="T93" fmla="*/ 581 h 692"/>
                  <a:gd name="T94" fmla="*/ 242 w 660"/>
                  <a:gd name="T95" fmla="*/ 562 h 692"/>
                  <a:gd name="T96" fmla="*/ 187 w 660"/>
                  <a:gd name="T97" fmla="*/ 527 h 692"/>
                  <a:gd name="T98" fmla="*/ 157 w 660"/>
                  <a:gd name="T99" fmla="*/ 494 h 692"/>
                  <a:gd name="T100" fmla="*/ 124 w 660"/>
                  <a:gd name="T101" fmla="*/ 438 h 692"/>
                  <a:gd name="T102" fmla="*/ 113 w 660"/>
                  <a:gd name="T103" fmla="*/ 405 h 692"/>
                  <a:gd name="T104" fmla="*/ 109 w 660"/>
                  <a:gd name="T105" fmla="*/ 382 h 692"/>
                  <a:gd name="T106" fmla="*/ 106 w 660"/>
                  <a:gd name="T107" fmla="*/ 358 h 692"/>
                  <a:gd name="T108" fmla="*/ 107 w 660"/>
                  <a:gd name="T109" fmla="*/ 322 h 692"/>
                  <a:gd name="T110" fmla="*/ 113 w 660"/>
                  <a:gd name="T111" fmla="*/ 288 h 692"/>
                  <a:gd name="T112" fmla="*/ 121 w 660"/>
                  <a:gd name="T113" fmla="*/ 261 h 692"/>
                  <a:gd name="T114" fmla="*/ 128 w 660"/>
                  <a:gd name="T115" fmla="*/ 243 h 692"/>
                  <a:gd name="T116" fmla="*/ 148 w 660"/>
                  <a:gd name="T117" fmla="*/ 210 h 692"/>
                  <a:gd name="T118" fmla="*/ 164 w 660"/>
                  <a:gd name="T119" fmla="*/ 188 h 692"/>
                  <a:gd name="T120" fmla="*/ 253 w 660"/>
                  <a:gd name="T121" fmla="*/ 125 h 692"/>
                  <a:gd name="T122" fmla="*/ 330 w 660"/>
                  <a:gd name="T123" fmla="*/ 111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0" h="692">
                    <a:moveTo>
                      <a:pt x="375" y="0"/>
                    </a:moveTo>
                    <a:lnTo>
                      <a:pt x="374" y="6"/>
                    </a:lnTo>
                    <a:lnTo>
                      <a:pt x="371" y="17"/>
                    </a:lnTo>
                    <a:lnTo>
                      <a:pt x="366" y="26"/>
                    </a:lnTo>
                    <a:lnTo>
                      <a:pt x="359" y="35"/>
                    </a:lnTo>
                    <a:lnTo>
                      <a:pt x="351" y="42"/>
                    </a:lnTo>
                    <a:lnTo>
                      <a:pt x="342" y="47"/>
                    </a:lnTo>
                    <a:lnTo>
                      <a:pt x="333" y="51"/>
                    </a:lnTo>
                    <a:lnTo>
                      <a:pt x="323" y="53"/>
                    </a:lnTo>
                    <a:lnTo>
                      <a:pt x="317" y="54"/>
                    </a:lnTo>
                    <a:lnTo>
                      <a:pt x="311" y="53"/>
                    </a:lnTo>
                    <a:lnTo>
                      <a:pt x="302" y="51"/>
                    </a:lnTo>
                    <a:lnTo>
                      <a:pt x="291" y="48"/>
                    </a:lnTo>
                    <a:lnTo>
                      <a:pt x="284" y="42"/>
                    </a:lnTo>
                    <a:lnTo>
                      <a:pt x="276" y="36"/>
                    </a:lnTo>
                    <a:lnTo>
                      <a:pt x="269" y="29"/>
                    </a:lnTo>
                    <a:lnTo>
                      <a:pt x="264" y="20"/>
                    </a:lnTo>
                    <a:lnTo>
                      <a:pt x="260" y="9"/>
                    </a:lnTo>
                    <a:lnTo>
                      <a:pt x="260" y="5"/>
                    </a:lnTo>
                    <a:lnTo>
                      <a:pt x="251" y="6"/>
                    </a:lnTo>
                    <a:lnTo>
                      <a:pt x="236" y="11"/>
                    </a:lnTo>
                    <a:lnTo>
                      <a:pt x="221" y="15"/>
                    </a:lnTo>
                    <a:lnTo>
                      <a:pt x="206" y="21"/>
                    </a:lnTo>
                    <a:lnTo>
                      <a:pt x="200" y="24"/>
                    </a:lnTo>
                    <a:lnTo>
                      <a:pt x="202" y="30"/>
                    </a:lnTo>
                    <a:lnTo>
                      <a:pt x="203" y="41"/>
                    </a:lnTo>
                    <a:lnTo>
                      <a:pt x="203" y="51"/>
                    </a:lnTo>
                    <a:lnTo>
                      <a:pt x="202" y="62"/>
                    </a:lnTo>
                    <a:lnTo>
                      <a:pt x="199" y="72"/>
                    </a:lnTo>
                    <a:lnTo>
                      <a:pt x="194" y="81"/>
                    </a:lnTo>
                    <a:lnTo>
                      <a:pt x="187" y="90"/>
                    </a:lnTo>
                    <a:lnTo>
                      <a:pt x="179" y="98"/>
                    </a:lnTo>
                    <a:lnTo>
                      <a:pt x="175" y="101"/>
                    </a:lnTo>
                    <a:lnTo>
                      <a:pt x="170" y="102"/>
                    </a:lnTo>
                    <a:lnTo>
                      <a:pt x="161" y="107"/>
                    </a:lnTo>
                    <a:lnTo>
                      <a:pt x="151" y="108"/>
                    </a:lnTo>
                    <a:lnTo>
                      <a:pt x="142" y="108"/>
                    </a:lnTo>
                    <a:lnTo>
                      <a:pt x="131" y="107"/>
                    </a:lnTo>
                    <a:lnTo>
                      <a:pt x="122" y="104"/>
                    </a:lnTo>
                    <a:lnTo>
                      <a:pt x="115" y="99"/>
                    </a:lnTo>
                    <a:lnTo>
                      <a:pt x="107" y="93"/>
                    </a:lnTo>
                    <a:lnTo>
                      <a:pt x="103" y="90"/>
                    </a:lnTo>
                    <a:lnTo>
                      <a:pt x="94" y="99"/>
                    </a:lnTo>
                    <a:lnTo>
                      <a:pt x="76" y="120"/>
                    </a:lnTo>
                    <a:lnTo>
                      <a:pt x="67" y="131"/>
                    </a:lnTo>
                    <a:lnTo>
                      <a:pt x="71" y="135"/>
                    </a:lnTo>
                    <a:lnTo>
                      <a:pt x="79" y="143"/>
                    </a:lnTo>
                    <a:lnTo>
                      <a:pt x="85" y="152"/>
                    </a:lnTo>
                    <a:lnTo>
                      <a:pt x="88" y="162"/>
                    </a:lnTo>
                    <a:lnTo>
                      <a:pt x="89" y="173"/>
                    </a:lnTo>
                    <a:lnTo>
                      <a:pt x="89" y="183"/>
                    </a:lnTo>
                    <a:lnTo>
                      <a:pt x="88" y="195"/>
                    </a:lnTo>
                    <a:lnTo>
                      <a:pt x="85" y="205"/>
                    </a:lnTo>
                    <a:lnTo>
                      <a:pt x="82" y="210"/>
                    </a:lnTo>
                    <a:lnTo>
                      <a:pt x="79" y="214"/>
                    </a:lnTo>
                    <a:lnTo>
                      <a:pt x="73" y="223"/>
                    </a:lnTo>
                    <a:lnTo>
                      <a:pt x="65" y="229"/>
                    </a:lnTo>
                    <a:lnTo>
                      <a:pt x="56" y="235"/>
                    </a:lnTo>
                    <a:lnTo>
                      <a:pt x="47" y="238"/>
                    </a:lnTo>
                    <a:lnTo>
                      <a:pt x="39" y="241"/>
                    </a:lnTo>
                    <a:lnTo>
                      <a:pt x="28" y="241"/>
                    </a:lnTo>
                    <a:lnTo>
                      <a:pt x="18" y="240"/>
                    </a:lnTo>
                    <a:lnTo>
                      <a:pt x="13" y="238"/>
                    </a:lnTo>
                    <a:lnTo>
                      <a:pt x="12" y="246"/>
                    </a:lnTo>
                    <a:lnTo>
                      <a:pt x="7" y="261"/>
                    </a:lnTo>
                    <a:lnTo>
                      <a:pt x="4" y="276"/>
                    </a:lnTo>
                    <a:lnTo>
                      <a:pt x="1" y="292"/>
                    </a:lnTo>
                    <a:lnTo>
                      <a:pt x="0" y="300"/>
                    </a:lnTo>
                    <a:lnTo>
                      <a:pt x="6" y="301"/>
                    </a:lnTo>
                    <a:lnTo>
                      <a:pt x="16" y="304"/>
                    </a:lnTo>
                    <a:lnTo>
                      <a:pt x="25" y="309"/>
                    </a:lnTo>
                    <a:lnTo>
                      <a:pt x="34" y="316"/>
                    </a:lnTo>
                    <a:lnTo>
                      <a:pt x="42" y="324"/>
                    </a:lnTo>
                    <a:lnTo>
                      <a:pt x="46" y="334"/>
                    </a:lnTo>
                    <a:lnTo>
                      <a:pt x="50" y="343"/>
                    </a:lnTo>
                    <a:lnTo>
                      <a:pt x="52" y="355"/>
                    </a:lnTo>
                    <a:lnTo>
                      <a:pt x="52" y="361"/>
                    </a:lnTo>
                    <a:lnTo>
                      <a:pt x="52" y="367"/>
                    </a:lnTo>
                    <a:lnTo>
                      <a:pt x="50" y="378"/>
                    </a:lnTo>
                    <a:lnTo>
                      <a:pt x="47" y="388"/>
                    </a:lnTo>
                    <a:lnTo>
                      <a:pt x="42" y="397"/>
                    </a:lnTo>
                    <a:lnTo>
                      <a:pt x="36" y="405"/>
                    </a:lnTo>
                    <a:lnTo>
                      <a:pt x="28" y="412"/>
                    </a:lnTo>
                    <a:lnTo>
                      <a:pt x="19" y="417"/>
                    </a:lnTo>
                    <a:lnTo>
                      <a:pt x="10" y="421"/>
                    </a:lnTo>
                    <a:lnTo>
                      <a:pt x="4" y="421"/>
                    </a:lnTo>
                    <a:lnTo>
                      <a:pt x="9" y="436"/>
                    </a:lnTo>
                    <a:lnTo>
                      <a:pt x="12" y="449"/>
                    </a:lnTo>
                    <a:lnTo>
                      <a:pt x="16" y="449"/>
                    </a:lnTo>
                    <a:lnTo>
                      <a:pt x="24" y="448"/>
                    </a:lnTo>
                    <a:lnTo>
                      <a:pt x="28" y="448"/>
                    </a:lnTo>
                    <a:lnTo>
                      <a:pt x="31" y="448"/>
                    </a:lnTo>
                    <a:lnTo>
                      <a:pt x="39" y="449"/>
                    </a:lnTo>
                    <a:lnTo>
                      <a:pt x="46" y="451"/>
                    </a:lnTo>
                    <a:lnTo>
                      <a:pt x="53" y="454"/>
                    </a:lnTo>
                    <a:lnTo>
                      <a:pt x="59" y="458"/>
                    </a:lnTo>
                    <a:lnTo>
                      <a:pt x="65" y="463"/>
                    </a:lnTo>
                    <a:lnTo>
                      <a:pt x="71" y="469"/>
                    </a:lnTo>
                    <a:lnTo>
                      <a:pt x="76" y="475"/>
                    </a:lnTo>
                    <a:lnTo>
                      <a:pt x="77" y="478"/>
                    </a:lnTo>
                    <a:lnTo>
                      <a:pt x="80" y="484"/>
                    </a:lnTo>
                    <a:lnTo>
                      <a:pt x="83" y="494"/>
                    </a:lnTo>
                    <a:lnTo>
                      <a:pt x="85" y="505"/>
                    </a:lnTo>
                    <a:lnTo>
                      <a:pt x="85" y="515"/>
                    </a:lnTo>
                    <a:lnTo>
                      <a:pt x="83" y="526"/>
                    </a:lnTo>
                    <a:lnTo>
                      <a:pt x="80" y="536"/>
                    </a:lnTo>
                    <a:lnTo>
                      <a:pt x="74" y="545"/>
                    </a:lnTo>
                    <a:lnTo>
                      <a:pt x="68" y="553"/>
                    </a:lnTo>
                    <a:lnTo>
                      <a:pt x="64" y="557"/>
                    </a:lnTo>
                    <a:lnTo>
                      <a:pt x="68" y="563"/>
                    </a:lnTo>
                    <a:lnTo>
                      <a:pt x="79" y="575"/>
                    </a:lnTo>
                    <a:lnTo>
                      <a:pt x="88" y="586"/>
                    </a:lnTo>
                    <a:lnTo>
                      <a:pt x="98" y="598"/>
                    </a:lnTo>
                    <a:lnTo>
                      <a:pt x="104" y="602"/>
                    </a:lnTo>
                    <a:lnTo>
                      <a:pt x="106" y="601"/>
                    </a:lnTo>
                    <a:lnTo>
                      <a:pt x="110" y="595"/>
                    </a:lnTo>
                    <a:lnTo>
                      <a:pt x="116" y="592"/>
                    </a:lnTo>
                    <a:lnTo>
                      <a:pt x="121" y="587"/>
                    </a:lnTo>
                    <a:lnTo>
                      <a:pt x="127" y="584"/>
                    </a:lnTo>
                    <a:lnTo>
                      <a:pt x="133" y="583"/>
                    </a:lnTo>
                    <a:lnTo>
                      <a:pt x="139" y="581"/>
                    </a:lnTo>
                    <a:lnTo>
                      <a:pt x="145" y="580"/>
                    </a:lnTo>
                    <a:lnTo>
                      <a:pt x="148" y="580"/>
                    </a:lnTo>
                    <a:lnTo>
                      <a:pt x="152" y="580"/>
                    </a:lnTo>
                    <a:lnTo>
                      <a:pt x="160" y="581"/>
                    </a:lnTo>
                    <a:lnTo>
                      <a:pt x="167" y="583"/>
                    </a:lnTo>
                    <a:lnTo>
                      <a:pt x="175" y="586"/>
                    </a:lnTo>
                    <a:lnTo>
                      <a:pt x="179" y="589"/>
                    </a:lnTo>
                    <a:lnTo>
                      <a:pt x="184" y="592"/>
                    </a:lnTo>
                    <a:lnTo>
                      <a:pt x="193" y="599"/>
                    </a:lnTo>
                    <a:lnTo>
                      <a:pt x="199" y="608"/>
                    </a:lnTo>
                    <a:lnTo>
                      <a:pt x="205" y="619"/>
                    </a:lnTo>
                    <a:lnTo>
                      <a:pt x="208" y="629"/>
                    </a:lnTo>
                    <a:lnTo>
                      <a:pt x="209" y="641"/>
                    </a:lnTo>
                    <a:lnTo>
                      <a:pt x="208" y="652"/>
                    </a:lnTo>
                    <a:lnTo>
                      <a:pt x="205" y="664"/>
                    </a:lnTo>
                    <a:lnTo>
                      <a:pt x="203" y="668"/>
                    </a:lnTo>
                    <a:lnTo>
                      <a:pt x="209" y="671"/>
                    </a:lnTo>
                    <a:lnTo>
                      <a:pt x="224" y="677"/>
                    </a:lnTo>
                    <a:lnTo>
                      <a:pt x="238" y="682"/>
                    </a:lnTo>
                    <a:lnTo>
                      <a:pt x="253" y="686"/>
                    </a:lnTo>
                    <a:lnTo>
                      <a:pt x="260" y="687"/>
                    </a:lnTo>
                    <a:lnTo>
                      <a:pt x="260" y="682"/>
                    </a:lnTo>
                    <a:lnTo>
                      <a:pt x="264" y="673"/>
                    </a:lnTo>
                    <a:lnTo>
                      <a:pt x="269" y="664"/>
                    </a:lnTo>
                    <a:lnTo>
                      <a:pt x="276" y="656"/>
                    </a:lnTo>
                    <a:lnTo>
                      <a:pt x="284" y="649"/>
                    </a:lnTo>
                    <a:lnTo>
                      <a:pt x="291" y="644"/>
                    </a:lnTo>
                    <a:lnTo>
                      <a:pt x="302" y="640"/>
                    </a:lnTo>
                    <a:lnTo>
                      <a:pt x="311" y="638"/>
                    </a:lnTo>
                    <a:lnTo>
                      <a:pt x="317" y="638"/>
                    </a:lnTo>
                    <a:lnTo>
                      <a:pt x="323" y="638"/>
                    </a:lnTo>
                    <a:lnTo>
                      <a:pt x="333" y="641"/>
                    </a:lnTo>
                    <a:lnTo>
                      <a:pt x="342" y="644"/>
                    </a:lnTo>
                    <a:lnTo>
                      <a:pt x="351" y="650"/>
                    </a:lnTo>
                    <a:lnTo>
                      <a:pt x="359" y="658"/>
                    </a:lnTo>
                    <a:lnTo>
                      <a:pt x="366" y="667"/>
                    </a:lnTo>
                    <a:lnTo>
                      <a:pt x="371" y="676"/>
                    </a:lnTo>
                    <a:lnTo>
                      <a:pt x="374" y="686"/>
                    </a:lnTo>
                    <a:lnTo>
                      <a:pt x="375" y="692"/>
                    </a:lnTo>
                    <a:lnTo>
                      <a:pt x="389" y="689"/>
                    </a:lnTo>
                    <a:lnTo>
                      <a:pt x="414" y="683"/>
                    </a:lnTo>
                    <a:lnTo>
                      <a:pt x="428" y="680"/>
                    </a:lnTo>
                    <a:lnTo>
                      <a:pt x="426" y="674"/>
                    </a:lnTo>
                    <a:lnTo>
                      <a:pt x="425" y="664"/>
                    </a:lnTo>
                    <a:lnTo>
                      <a:pt x="425" y="653"/>
                    </a:lnTo>
                    <a:lnTo>
                      <a:pt x="426" y="644"/>
                    </a:lnTo>
                    <a:lnTo>
                      <a:pt x="429" y="634"/>
                    </a:lnTo>
                    <a:lnTo>
                      <a:pt x="435" y="625"/>
                    </a:lnTo>
                    <a:lnTo>
                      <a:pt x="441" y="617"/>
                    </a:lnTo>
                    <a:lnTo>
                      <a:pt x="449" y="610"/>
                    </a:lnTo>
                    <a:lnTo>
                      <a:pt x="453" y="607"/>
                    </a:lnTo>
                    <a:lnTo>
                      <a:pt x="456" y="605"/>
                    </a:lnTo>
                    <a:lnTo>
                      <a:pt x="464" y="602"/>
                    </a:lnTo>
                    <a:lnTo>
                      <a:pt x="471" y="599"/>
                    </a:lnTo>
                    <a:lnTo>
                      <a:pt x="477" y="599"/>
                    </a:lnTo>
                    <a:lnTo>
                      <a:pt x="481" y="599"/>
                    </a:lnTo>
                    <a:lnTo>
                      <a:pt x="484" y="599"/>
                    </a:lnTo>
                    <a:lnTo>
                      <a:pt x="492" y="599"/>
                    </a:lnTo>
                    <a:lnTo>
                      <a:pt x="498" y="601"/>
                    </a:lnTo>
                    <a:lnTo>
                      <a:pt x="505" y="604"/>
                    </a:lnTo>
                    <a:lnTo>
                      <a:pt x="511" y="607"/>
                    </a:lnTo>
                    <a:lnTo>
                      <a:pt x="517" y="611"/>
                    </a:lnTo>
                    <a:lnTo>
                      <a:pt x="523" y="616"/>
                    </a:lnTo>
                    <a:lnTo>
                      <a:pt x="528" y="622"/>
                    </a:lnTo>
                    <a:lnTo>
                      <a:pt x="531" y="625"/>
                    </a:lnTo>
                    <a:lnTo>
                      <a:pt x="537" y="619"/>
                    </a:lnTo>
                    <a:lnTo>
                      <a:pt x="549" y="608"/>
                    </a:lnTo>
                    <a:lnTo>
                      <a:pt x="561" y="598"/>
                    </a:lnTo>
                    <a:lnTo>
                      <a:pt x="571" y="586"/>
                    </a:lnTo>
                    <a:lnTo>
                      <a:pt x="577" y="580"/>
                    </a:lnTo>
                    <a:lnTo>
                      <a:pt x="573" y="575"/>
                    </a:lnTo>
                    <a:lnTo>
                      <a:pt x="567" y="568"/>
                    </a:lnTo>
                    <a:lnTo>
                      <a:pt x="562" y="559"/>
                    </a:lnTo>
                    <a:lnTo>
                      <a:pt x="559" y="548"/>
                    </a:lnTo>
                    <a:lnTo>
                      <a:pt x="558" y="538"/>
                    </a:lnTo>
                    <a:lnTo>
                      <a:pt x="558" y="527"/>
                    </a:lnTo>
                    <a:lnTo>
                      <a:pt x="559" y="517"/>
                    </a:lnTo>
                    <a:lnTo>
                      <a:pt x="562" y="508"/>
                    </a:lnTo>
                    <a:lnTo>
                      <a:pt x="565" y="502"/>
                    </a:lnTo>
                    <a:lnTo>
                      <a:pt x="567" y="499"/>
                    </a:lnTo>
                    <a:lnTo>
                      <a:pt x="573" y="493"/>
                    </a:lnTo>
                    <a:lnTo>
                      <a:pt x="577" y="487"/>
                    </a:lnTo>
                    <a:lnTo>
                      <a:pt x="583" y="482"/>
                    </a:lnTo>
                    <a:lnTo>
                      <a:pt x="591" y="478"/>
                    </a:lnTo>
                    <a:lnTo>
                      <a:pt x="597" y="475"/>
                    </a:lnTo>
                    <a:lnTo>
                      <a:pt x="604" y="473"/>
                    </a:lnTo>
                    <a:lnTo>
                      <a:pt x="612" y="472"/>
                    </a:lnTo>
                    <a:lnTo>
                      <a:pt x="615" y="472"/>
                    </a:lnTo>
                    <a:lnTo>
                      <a:pt x="618" y="472"/>
                    </a:lnTo>
                    <a:lnTo>
                      <a:pt x="624" y="472"/>
                    </a:lnTo>
                    <a:lnTo>
                      <a:pt x="630" y="473"/>
                    </a:lnTo>
                    <a:lnTo>
                      <a:pt x="636" y="475"/>
                    </a:lnTo>
                    <a:lnTo>
                      <a:pt x="639" y="476"/>
                    </a:lnTo>
                    <a:lnTo>
                      <a:pt x="643" y="463"/>
                    </a:lnTo>
                    <a:lnTo>
                      <a:pt x="652" y="435"/>
                    </a:lnTo>
                    <a:lnTo>
                      <a:pt x="655" y="421"/>
                    </a:lnTo>
                    <a:lnTo>
                      <a:pt x="651" y="420"/>
                    </a:lnTo>
                    <a:lnTo>
                      <a:pt x="642" y="415"/>
                    </a:lnTo>
                    <a:lnTo>
                      <a:pt x="633" y="411"/>
                    </a:lnTo>
                    <a:lnTo>
                      <a:pt x="627" y="403"/>
                    </a:lnTo>
                    <a:lnTo>
                      <a:pt x="621" y="396"/>
                    </a:lnTo>
                    <a:lnTo>
                      <a:pt x="616" y="387"/>
                    </a:lnTo>
                    <a:lnTo>
                      <a:pt x="612" y="378"/>
                    </a:lnTo>
                    <a:lnTo>
                      <a:pt x="610" y="367"/>
                    </a:lnTo>
                    <a:lnTo>
                      <a:pt x="610" y="361"/>
                    </a:lnTo>
                    <a:lnTo>
                      <a:pt x="610" y="355"/>
                    </a:lnTo>
                    <a:lnTo>
                      <a:pt x="613" y="345"/>
                    </a:lnTo>
                    <a:lnTo>
                      <a:pt x="616" y="334"/>
                    </a:lnTo>
                    <a:lnTo>
                      <a:pt x="622" y="325"/>
                    </a:lnTo>
                    <a:lnTo>
                      <a:pt x="628" y="318"/>
                    </a:lnTo>
                    <a:lnTo>
                      <a:pt x="636" y="310"/>
                    </a:lnTo>
                    <a:lnTo>
                      <a:pt x="645" y="306"/>
                    </a:lnTo>
                    <a:lnTo>
                      <a:pt x="655" y="301"/>
                    </a:lnTo>
                    <a:lnTo>
                      <a:pt x="660" y="300"/>
                    </a:lnTo>
                    <a:lnTo>
                      <a:pt x="658" y="289"/>
                    </a:lnTo>
                    <a:lnTo>
                      <a:pt x="654" y="265"/>
                    </a:lnTo>
                    <a:lnTo>
                      <a:pt x="648" y="243"/>
                    </a:lnTo>
                    <a:lnTo>
                      <a:pt x="642" y="222"/>
                    </a:lnTo>
                    <a:lnTo>
                      <a:pt x="637" y="211"/>
                    </a:lnTo>
                    <a:lnTo>
                      <a:pt x="631" y="213"/>
                    </a:lnTo>
                    <a:lnTo>
                      <a:pt x="621" y="216"/>
                    </a:lnTo>
                    <a:lnTo>
                      <a:pt x="610" y="217"/>
                    </a:lnTo>
                    <a:lnTo>
                      <a:pt x="600" y="216"/>
                    </a:lnTo>
                    <a:lnTo>
                      <a:pt x="589" y="213"/>
                    </a:lnTo>
                    <a:lnTo>
                      <a:pt x="580" y="207"/>
                    </a:lnTo>
                    <a:lnTo>
                      <a:pt x="571" y="201"/>
                    </a:lnTo>
                    <a:lnTo>
                      <a:pt x="564" y="192"/>
                    </a:lnTo>
                    <a:lnTo>
                      <a:pt x="561" y="186"/>
                    </a:lnTo>
                    <a:lnTo>
                      <a:pt x="558" y="182"/>
                    </a:lnTo>
                    <a:lnTo>
                      <a:pt x="555" y="171"/>
                    </a:lnTo>
                    <a:lnTo>
                      <a:pt x="553" y="161"/>
                    </a:lnTo>
                    <a:lnTo>
                      <a:pt x="553" y="150"/>
                    </a:lnTo>
                    <a:lnTo>
                      <a:pt x="555" y="140"/>
                    </a:lnTo>
                    <a:lnTo>
                      <a:pt x="558" y="129"/>
                    </a:lnTo>
                    <a:lnTo>
                      <a:pt x="564" y="120"/>
                    </a:lnTo>
                    <a:lnTo>
                      <a:pt x="570" y="113"/>
                    </a:lnTo>
                    <a:lnTo>
                      <a:pt x="574" y="108"/>
                    </a:lnTo>
                    <a:lnTo>
                      <a:pt x="564" y="98"/>
                    </a:lnTo>
                    <a:lnTo>
                      <a:pt x="543" y="78"/>
                    </a:lnTo>
                    <a:lnTo>
                      <a:pt x="532" y="69"/>
                    </a:lnTo>
                    <a:lnTo>
                      <a:pt x="528" y="72"/>
                    </a:lnTo>
                    <a:lnTo>
                      <a:pt x="520" y="80"/>
                    </a:lnTo>
                    <a:lnTo>
                      <a:pt x="511" y="84"/>
                    </a:lnTo>
                    <a:lnTo>
                      <a:pt x="502" y="89"/>
                    </a:lnTo>
                    <a:lnTo>
                      <a:pt x="492" y="90"/>
                    </a:lnTo>
                    <a:lnTo>
                      <a:pt x="483" y="90"/>
                    </a:lnTo>
                    <a:lnTo>
                      <a:pt x="473" y="89"/>
                    </a:lnTo>
                    <a:lnTo>
                      <a:pt x="462" y="84"/>
                    </a:lnTo>
                    <a:lnTo>
                      <a:pt x="458" y="83"/>
                    </a:lnTo>
                    <a:lnTo>
                      <a:pt x="453" y="80"/>
                    </a:lnTo>
                    <a:lnTo>
                      <a:pt x="446" y="72"/>
                    </a:lnTo>
                    <a:lnTo>
                      <a:pt x="440" y="65"/>
                    </a:lnTo>
                    <a:lnTo>
                      <a:pt x="435" y="57"/>
                    </a:lnTo>
                    <a:lnTo>
                      <a:pt x="431" y="48"/>
                    </a:lnTo>
                    <a:lnTo>
                      <a:pt x="429" y="38"/>
                    </a:lnTo>
                    <a:lnTo>
                      <a:pt x="429" y="29"/>
                    </a:lnTo>
                    <a:lnTo>
                      <a:pt x="429" y="18"/>
                    </a:lnTo>
                    <a:lnTo>
                      <a:pt x="431" y="14"/>
                    </a:lnTo>
                    <a:lnTo>
                      <a:pt x="423" y="11"/>
                    </a:lnTo>
                    <a:lnTo>
                      <a:pt x="410" y="8"/>
                    </a:lnTo>
                    <a:lnTo>
                      <a:pt x="396" y="3"/>
                    </a:lnTo>
                    <a:lnTo>
                      <a:pt x="383" y="2"/>
                    </a:lnTo>
                    <a:lnTo>
                      <a:pt x="375" y="0"/>
                    </a:lnTo>
                    <a:lnTo>
                      <a:pt x="375" y="0"/>
                    </a:lnTo>
                    <a:close/>
                    <a:moveTo>
                      <a:pt x="330" y="111"/>
                    </a:moveTo>
                    <a:lnTo>
                      <a:pt x="335" y="111"/>
                    </a:lnTo>
                    <a:lnTo>
                      <a:pt x="341" y="111"/>
                    </a:lnTo>
                    <a:lnTo>
                      <a:pt x="353" y="113"/>
                    </a:lnTo>
                    <a:lnTo>
                      <a:pt x="375" y="116"/>
                    </a:lnTo>
                    <a:lnTo>
                      <a:pt x="386" y="119"/>
                    </a:lnTo>
                    <a:lnTo>
                      <a:pt x="392" y="120"/>
                    </a:lnTo>
                    <a:lnTo>
                      <a:pt x="396" y="122"/>
                    </a:lnTo>
                    <a:lnTo>
                      <a:pt x="407" y="125"/>
                    </a:lnTo>
                    <a:lnTo>
                      <a:pt x="417" y="129"/>
                    </a:lnTo>
                    <a:lnTo>
                      <a:pt x="422" y="132"/>
                    </a:lnTo>
                    <a:lnTo>
                      <a:pt x="426" y="134"/>
                    </a:lnTo>
                    <a:lnTo>
                      <a:pt x="429" y="135"/>
                    </a:lnTo>
                    <a:lnTo>
                      <a:pt x="432" y="137"/>
                    </a:lnTo>
                    <a:lnTo>
                      <a:pt x="432" y="137"/>
                    </a:lnTo>
                    <a:lnTo>
                      <a:pt x="432" y="137"/>
                    </a:lnTo>
                    <a:lnTo>
                      <a:pt x="435" y="140"/>
                    </a:lnTo>
                    <a:lnTo>
                      <a:pt x="440" y="141"/>
                    </a:lnTo>
                    <a:lnTo>
                      <a:pt x="443" y="143"/>
                    </a:lnTo>
                    <a:lnTo>
                      <a:pt x="446" y="146"/>
                    </a:lnTo>
                    <a:lnTo>
                      <a:pt x="455" y="152"/>
                    </a:lnTo>
                    <a:lnTo>
                      <a:pt x="464" y="158"/>
                    </a:lnTo>
                    <a:lnTo>
                      <a:pt x="467" y="161"/>
                    </a:lnTo>
                    <a:lnTo>
                      <a:pt x="470" y="164"/>
                    </a:lnTo>
                    <a:lnTo>
                      <a:pt x="473" y="165"/>
                    </a:lnTo>
                    <a:lnTo>
                      <a:pt x="474" y="167"/>
                    </a:lnTo>
                    <a:lnTo>
                      <a:pt x="477" y="168"/>
                    </a:lnTo>
                    <a:lnTo>
                      <a:pt x="478" y="171"/>
                    </a:lnTo>
                    <a:lnTo>
                      <a:pt x="483" y="176"/>
                    </a:lnTo>
                    <a:lnTo>
                      <a:pt x="487" y="180"/>
                    </a:lnTo>
                    <a:lnTo>
                      <a:pt x="490" y="183"/>
                    </a:lnTo>
                    <a:lnTo>
                      <a:pt x="493" y="186"/>
                    </a:lnTo>
                    <a:lnTo>
                      <a:pt x="493" y="186"/>
                    </a:lnTo>
                    <a:lnTo>
                      <a:pt x="495" y="188"/>
                    </a:lnTo>
                    <a:lnTo>
                      <a:pt x="496" y="189"/>
                    </a:lnTo>
                    <a:lnTo>
                      <a:pt x="499" y="194"/>
                    </a:lnTo>
                    <a:lnTo>
                      <a:pt x="502" y="196"/>
                    </a:lnTo>
                    <a:lnTo>
                      <a:pt x="504" y="198"/>
                    </a:lnTo>
                    <a:lnTo>
                      <a:pt x="504" y="198"/>
                    </a:lnTo>
                    <a:lnTo>
                      <a:pt x="507" y="202"/>
                    </a:lnTo>
                    <a:lnTo>
                      <a:pt x="510" y="205"/>
                    </a:lnTo>
                    <a:lnTo>
                      <a:pt x="513" y="210"/>
                    </a:lnTo>
                    <a:lnTo>
                      <a:pt x="514" y="214"/>
                    </a:lnTo>
                    <a:lnTo>
                      <a:pt x="519" y="220"/>
                    </a:lnTo>
                    <a:lnTo>
                      <a:pt x="523" y="226"/>
                    </a:lnTo>
                    <a:lnTo>
                      <a:pt x="525" y="231"/>
                    </a:lnTo>
                    <a:lnTo>
                      <a:pt x="526" y="234"/>
                    </a:lnTo>
                    <a:lnTo>
                      <a:pt x="532" y="244"/>
                    </a:lnTo>
                    <a:lnTo>
                      <a:pt x="537" y="255"/>
                    </a:lnTo>
                    <a:lnTo>
                      <a:pt x="538" y="259"/>
                    </a:lnTo>
                    <a:lnTo>
                      <a:pt x="540" y="264"/>
                    </a:lnTo>
                    <a:lnTo>
                      <a:pt x="540" y="264"/>
                    </a:lnTo>
                    <a:lnTo>
                      <a:pt x="540" y="265"/>
                    </a:lnTo>
                    <a:lnTo>
                      <a:pt x="541" y="268"/>
                    </a:lnTo>
                    <a:lnTo>
                      <a:pt x="543" y="273"/>
                    </a:lnTo>
                    <a:lnTo>
                      <a:pt x="543" y="274"/>
                    </a:lnTo>
                    <a:lnTo>
                      <a:pt x="543" y="274"/>
                    </a:lnTo>
                    <a:lnTo>
                      <a:pt x="544" y="276"/>
                    </a:lnTo>
                    <a:lnTo>
                      <a:pt x="544" y="277"/>
                    </a:lnTo>
                    <a:lnTo>
                      <a:pt x="546" y="282"/>
                    </a:lnTo>
                    <a:lnTo>
                      <a:pt x="546" y="286"/>
                    </a:lnTo>
                    <a:lnTo>
                      <a:pt x="547" y="288"/>
                    </a:lnTo>
                    <a:lnTo>
                      <a:pt x="547" y="289"/>
                    </a:lnTo>
                    <a:lnTo>
                      <a:pt x="547" y="292"/>
                    </a:lnTo>
                    <a:lnTo>
                      <a:pt x="549" y="295"/>
                    </a:lnTo>
                    <a:lnTo>
                      <a:pt x="549" y="298"/>
                    </a:lnTo>
                    <a:lnTo>
                      <a:pt x="550" y="303"/>
                    </a:lnTo>
                    <a:lnTo>
                      <a:pt x="550" y="303"/>
                    </a:lnTo>
                    <a:lnTo>
                      <a:pt x="550" y="303"/>
                    </a:lnTo>
                    <a:lnTo>
                      <a:pt x="550" y="303"/>
                    </a:lnTo>
                    <a:lnTo>
                      <a:pt x="550" y="304"/>
                    </a:lnTo>
                    <a:lnTo>
                      <a:pt x="550" y="307"/>
                    </a:lnTo>
                    <a:lnTo>
                      <a:pt x="552" y="312"/>
                    </a:lnTo>
                    <a:lnTo>
                      <a:pt x="552" y="313"/>
                    </a:lnTo>
                    <a:lnTo>
                      <a:pt x="552" y="313"/>
                    </a:lnTo>
                    <a:lnTo>
                      <a:pt x="552" y="315"/>
                    </a:lnTo>
                    <a:lnTo>
                      <a:pt x="552" y="315"/>
                    </a:lnTo>
                    <a:lnTo>
                      <a:pt x="552" y="319"/>
                    </a:lnTo>
                    <a:lnTo>
                      <a:pt x="553" y="324"/>
                    </a:lnTo>
                    <a:lnTo>
                      <a:pt x="553" y="328"/>
                    </a:lnTo>
                    <a:lnTo>
                      <a:pt x="553" y="334"/>
                    </a:lnTo>
                    <a:lnTo>
                      <a:pt x="553" y="340"/>
                    </a:lnTo>
                    <a:lnTo>
                      <a:pt x="553" y="346"/>
                    </a:lnTo>
                    <a:lnTo>
                      <a:pt x="553" y="358"/>
                    </a:lnTo>
                    <a:lnTo>
                      <a:pt x="553" y="370"/>
                    </a:lnTo>
                    <a:lnTo>
                      <a:pt x="553" y="370"/>
                    </a:lnTo>
                    <a:lnTo>
                      <a:pt x="552" y="376"/>
                    </a:lnTo>
                    <a:lnTo>
                      <a:pt x="552" y="382"/>
                    </a:lnTo>
                    <a:lnTo>
                      <a:pt x="552" y="382"/>
                    </a:lnTo>
                    <a:lnTo>
                      <a:pt x="550" y="388"/>
                    </a:lnTo>
                    <a:lnTo>
                      <a:pt x="549" y="393"/>
                    </a:lnTo>
                    <a:lnTo>
                      <a:pt x="549" y="393"/>
                    </a:lnTo>
                    <a:lnTo>
                      <a:pt x="549" y="393"/>
                    </a:lnTo>
                    <a:lnTo>
                      <a:pt x="549" y="396"/>
                    </a:lnTo>
                    <a:lnTo>
                      <a:pt x="549" y="399"/>
                    </a:lnTo>
                    <a:lnTo>
                      <a:pt x="547" y="402"/>
                    </a:lnTo>
                    <a:lnTo>
                      <a:pt x="547" y="405"/>
                    </a:lnTo>
                    <a:lnTo>
                      <a:pt x="547" y="405"/>
                    </a:lnTo>
                    <a:lnTo>
                      <a:pt x="547" y="405"/>
                    </a:lnTo>
                    <a:lnTo>
                      <a:pt x="546" y="411"/>
                    </a:lnTo>
                    <a:lnTo>
                      <a:pt x="544" y="415"/>
                    </a:lnTo>
                    <a:lnTo>
                      <a:pt x="544" y="415"/>
                    </a:lnTo>
                    <a:lnTo>
                      <a:pt x="544" y="417"/>
                    </a:lnTo>
                    <a:lnTo>
                      <a:pt x="540" y="427"/>
                    </a:lnTo>
                    <a:lnTo>
                      <a:pt x="537" y="438"/>
                    </a:lnTo>
                    <a:lnTo>
                      <a:pt x="532" y="448"/>
                    </a:lnTo>
                    <a:lnTo>
                      <a:pt x="526" y="458"/>
                    </a:lnTo>
                    <a:lnTo>
                      <a:pt x="526" y="458"/>
                    </a:lnTo>
                    <a:lnTo>
                      <a:pt x="526" y="458"/>
                    </a:lnTo>
                    <a:lnTo>
                      <a:pt x="522" y="467"/>
                    </a:lnTo>
                    <a:lnTo>
                      <a:pt x="516" y="476"/>
                    </a:lnTo>
                    <a:lnTo>
                      <a:pt x="516" y="476"/>
                    </a:lnTo>
                    <a:lnTo>
                      <a:pt x="516" y="476"/>
                    </a:lnTo>
                    <a:lnTo>
                      <a:pt x="513" y="482"/>
                    </a:lnTo>
                    <a:lnTo>
                      <a:pt x="510" y="485"/>
                    </a:lnTo>
                    <a:lnTo>
                      <a:pt x="510" y="487"/>
                    </a:lnTo>
                    <a:lnTo>
                      <a:pt x="510" y="487"/>
                    </a:lnTo>
                    <a:lnTo>
                      <a:pt x="505" y="491"/>
                    </a:lnTo>
                    <a:lnTo>
                      <a:pt x="502" y="494"/>
                    </a:lnTo>
                    <a:lnTo>
                      <a:pt x="502" y="494"/>
                    </a:lnTo>
                    <a:lnTo>
                      <a:pt x="502" y="496"/>
                    </a:lnTo>
                    <a:lnTo>
                      <a:pt x="496" y="503"/>
                    </a:lnTo>
                    <a:lnTo>
                      <a:pt x="480" y="520"/>
                    </a:lnTo>
                    <a:lnTo>
                      <a:pt x="473" y="527"/>
                    </a:lnTo>
                    <a:lnTo>
                      <a:pt x="464" y="533"/>
                    </a:lnTo>
                    <a:lnTo>
                      <a:pt x="446" y="547"/>
                    </a:lnTo>
                    <a:lnTo>
                      <a:pt x="437" y="553"/>
                    </a:lnTo>
                    <a:lnTo>
                      <a:pt x="426" y="557"/>
                    </a:lnTo>
                    <a:lnTo>
                      <a:pt x="417" y="562"/>
                    </a:lnTo>
                    <a:lnTo>
                      <a:pt x="407" y="566"/>
                    </a:lnTo>
                    <a:lnTo>
                      <a:pt x="396" y="571"/>
                    </a:lnTo>
                    <a:lnTo>
                      <a:pt x="392" y="572"/>
                    </a:lnTo>
                    <a:lnTo>
                      <a:pt x="386" y="574"/>
                    </a:lnTo>
                    <a:lnTo>
                      <a:pt x="375" y="577"/>
                    </a:lnTo>
                    <a:lnTo>
                      <a:pt x="353" y="580"/>
                    </a:lnTo>
                    <a:lnTo>
                      <a:pt x="341" y="580"/>
                    </a:lnTo>
                    <a:lnTo>
                      <a:pt x="335" y="581"/>
                    </a:lnTo>
                    <a:lnTo>
                      <a:pt x="330" y="581"/>
                    </a:lnTo>
                    <a:lnTo>
                      <a:pt x="324" y="581"/>
                    </a:lnTo>
                    <a:lnTo>
                      <a:pt x="318" y="580"/>
                    </a:lnTo>
                    <a:lnTo>
                      <a:pt x="306" y="580"/>
                    </a:lnTo>
                    <a:lnTo>
                      <a:pt x="284" y="577"/>
                    </a:lnTo>
                    <a:lnTo>
                      <a:pt x="273" y="574"/>
                    </a:lnTo>
                    <a:lnTo>
                      <a:pt x="269" y="572"/>
                    </a:lnTo>
                    <a:lnTo>
                      <a:pt x="263" y="571"/>
                    </a:lnTo>
                    <a:lnTo>
                      <a:pt x="253" y="566"/>
                    </a:lnTo>
                    <a:lnTo>
                      <a:pt x="242" y="562"/>
                    </a:lnTo>
                    <a:lnTo>
                      <a:pt x="233" y="557"/>
                    </a:lnTo>
                    <a:lnTo>
                      <a:pt x="223" y="553"/>
                    </a:lnTo>
                    <a:lnTo>
                      <a:pt x="218" y="550"/>
                    </a:lnTo>
                    <a:lnTo>
                      <a:pt x="214" y="547"/>
                    </a:lnTo>
                    <a:lnTo>
                      <a:pt x="209" y="544"/>
                    </a:lnTo>
                    <a:lnTo>
                      <a:pt x="205" y="541"/>
                    </a:lnTo>
                    <a:lnTo>
                      <a:pt x="200" y="538"/>
                    </a:lnTo>
                    <a:lnTo>
                      <a:pt x="196" y="533"/>
                    </a:lnTo>
                    <a:lnTo>
                      <a:pt x="187" y="527"/>
                    </a:lnTo>
                    <a:lnTo>
                      <a:pt x="179" y="520"/>
                    </a:lnTo>
                    <a:lnTo>
                      <a:pt x="175" y="515"/>
                    </a:lnTo>
                    <a:lnTo>
                      <a:pt x="172" y="512"/>
                    </a:lnTo>
                    <a:lnTo>
                      <a:pt x="167" y="508"/>
                    </a:lnTo>
                    <a:lnTo>
                      <a:pt x="164" y="503"/>
                    </a:lnTo>
                    <a:lnTo>
                      <a:pt x="164" y="503"/>
                    </a:lnTo>
                    <a:lnTo>
                      <a:pt x="164" y="503"/>
                    </a:lnTo>
                    <a:lnTo>
                      <a:pt x="161" y="499"/>
                    </a:lnTo>
                    <a:lnTo>
                      <a:pt x="157" y="494"/>
                    </a:lnTo>
                    <a:lnTo>
                      <a:pt x="154" y="491"/>
                    </a:lnTo>
                    <a:lnTo>
                      <a:pt x="151" y="485"/>
                    </a:lnTo>
                    <a:lnTo>
                      <a:pt x="148" y="482"/>
                    </a:lnTo>
                    <a:lnTo>
                      <a:pt x="143" y="476"/>
                    </a:lnTo>
                    <a:lnTo>
                      <a:pt x="139" y="467"/>
                    </a:lnTo>
                    <a:lnTo>
                      <a:pt x="133" y="458"/>
                    </a:lnTo>
                    <a:lnTo>
                      <a:pt x="128" y="448"/>
                    </a:lnTo>
                    <a:lnTo>
                      <a:pt x="124" y="438"/>
                    </a:lnTo>
                    <a:lnTo>
                      <a:pt x="124" y="438"/>
                    </a:lnTo>
                    <a:lnTo>
                      <a:pt x="124" y="438"/>
                    </a:lnTo>
                    <a:lnTo>
                      <a:pt x="121" y="432"/>
                    </a:lnTo>
                    <a:lnTo>
                      <a:pt x="119" y="427"/>
                    </a:lnTo>
                    <a:lnTo>
                      <a:pt x="119" y="427"/>
                    </a:lnTo>
                    <a:lnTo>
                      <a:pt x="119" y="427"/>
                    </a:lnTo>
                    <a:lnTo>
                      <a:pt x="118" y="421"/>
                    </a:lnTo>
                    <a:lnTo>
                      <a:pt x="116" y="415"/>
                    </a:lnTo>
                    <a:lnTo>
                      <a:pt x="115" y="411"/>
                    </a:lnTo>
                    <a:lnTo>
                      <a:pt x="113" y="405"/>
                    </a:lnTo>
                    <a:lnTo>
                      <a:pt x="113" y="405"/>
                    </a:lnTo>
                    <a:lnTo>
                      <a:pt x="113" y="405"/>
                    </a:lnTo>
                    <a:lnTo>
                      <a:pt x="112" y="399"/>
                    </a:lnTo>
                    <a:lnTo>
                      <a:pt x="110" y="394"/>
                    </a:lnTo>
                    <a:lnTo>
                      <a:pt x="110" y="393"/>
                    </a:lnTo>
                    <a:lnTo>
                      <a:pt x="110" y="391"/>
                    </a:lnTo>
                    <a:lnTo>
                      <a:pt x="109" y="388"/>
                    </a:lnTo>
                    <a:lnTo>
                      <a:pt x="109" y="384"/>
                    </a:lnTo>
                    <a:lnTo>
                      <a:pt x="109" y="382"/>
                    </a:lnTo>
                    <a:lnTo>
                      <a:pt x="109" y="381"/>
                    </a:lnTo>
                    <a:lnTo>
                      <a:pt x="109" y="381"/>
                    </a:lnTo>
                    <a:lnTo>
                      <a:pt x="109" y="381"/>
                    </a:lnTo>
                    <a:lnTo>
                      <a:pt x="107" y="375"/>
                    </a:lnTo>
                    <a:lnTo>
                      <a:pt x="107" y="370"/>
                    </a:lnTo>
                    <a:lnTo>
                      <a:pt x="107" y="370"/>
                    </a:lnTo>
                    <a:lnTo>
                      <a:pt x="107" y="369"/>
                    </a:lnTo>
                    <a:lnTo>
                      <a:pt x="106" y="364"/>
                    </a:lnTo>
                    <a:lnTo>
                      <a:pt x="106" y="358"/>
                    </a:lnTo>
                    <a:lnTo>
                      <a:pt x="106" y="358"/>
                    </a:lnTo>
                    <a:lnTo>
                      <a:pt x="106" y="358"/>
                    </a:lnTo>
                    <a:lnTo>
                      <a:pt x="106" y="352"/>
                    </a:lnTo>
                    <a:lnTo>
                      <a:pt x="106" y="346"/>
                    </a:lnTo>
                    <a:lnTo>
                      <a:pt x="106" y="340"/>
                    </a:lnTo>
                    <a:lnTo>
                      <a:pt x="106" y="334"/>
                    </a:lnTo>
                    <a:lnTo>
                      <a:pt x="106" y="328"/>
                    </a:lnTo>
                    <a:lnTo>
                      <a:pt x="107" y="322"/>
                    </a:lnTo>
                    <a:lnTo>
                      <a:pt x="107" y="322"/>
                    </a:lnTo>
                    <a:lnTo>
                      <a:pt x="107" y="316"/>
                    </a:lnTo>
                    <a:lnTo>
                      <a:pt x="109" y="310"/>
                    </a:lnTo>
                    <a:lnTo>
                      <a:pt x="109" y="310"/>
                    </a:lnTo>
                    <a:lnTo>
                      <a:pt x="109" y="304"/>
                    </a:lnTo>
                    <a:lnTo>
                      <a:pt x="110" y="298"/>
                    </a:lnTo>
                    <a:lnTo>
                      <a:pt x="110" y="298"/>
                    </a:lnTo>
                    <a:lnTo>
                      <a:pt x="110" y="298"/>
                    </a:lnTo>
                    <a:lnTo>
                      <a:pt x="112" y="292"/>
                    </a:lnTo>
                    <a:lnTo>
                      <a:pt x="113" y="288"/>
                    </a:lnTo>
                    <a:lnTo>
                      <a:pt x="113" y="288"/>
                    </a:lnTo>
                    <a:lnTo>
                      <a:pt x="113" y="288"/>
                    </a:lnTo>
                    <a:lnTo>
                      <a:pt x="115" y="282"/>
                    </a:lnTo>
                    <a:lnTo>
                      <a:pt x="116" y="276"/>
                    </a:lnTo>
                    <a:lnTo>
                      <a:pt x="116" y="276"/>
                    </a:lnTo>
                    <a:lnTo>
                      <a:pt x="116" y="276"/>
                    </a:lnTo>
                    <a:lnTo>
                      <a:pt x="118" y="270"/>
                    </a:lnTo>
                    <a:lnTo>
                      <a:pt x="119" y="265"/>
                    </a:lnTo>
                    <a:lnTo>
                      <a:pt x="121" y="261"/>
                    </a:lnTo>
                    <a:lnTo>
                      <a:pt x="122" y="256"/>
                    </a:lnTo>
                    <a:lnTo>
                      <a:pt x="122" y="256"/>
                    </a:lnTo>
                    <a:lnTo>
                      <a:pt x="122" y="256"/>
                    </a:lnTo>
                    <a:lnTo>
                      <a:pt x="124" y="255"/>
                    </a:lnTo>
                    <a:lnTo>
                      <a:pt x="124" y="252"/>
                    </a:lnTo>
                    <a:lnTo>
                      <a:pt x="125" y="249"/>
                    </a:lnTo>
                    <a:lnTo>
                      <a:pt x="127" y="246"/>
                    </a:lnTo>
                    <a:lnTo>
                      <a:pt x="128" y="244"/>
                    </a:lnTo>
                    <a:lnTo>
                      <a:pt x="128" y="243"/>
                    </a:lnTo>
                    <a:lnTo>
                      <a:pt x="130" y="238"/>
                    </a:lnTo>
                    <a:lnTo>
                      <a:pt x="133" y="234"/>
                    </a:lnTo>
                    <a:lnTo>
                      <a:pt x="133" y="234"/>
                    </a:lnTo>
                    <a:lnTo>
                      <a:pt x="133" y="234"/>
                    </a:lnTo>
                    <a:lnTo>
                      <a:pt x="136" y="229"/>
                    </a:lnTo>
                    <a:lnTo>
                      <a:pt x="139" y="225"/>
                    </a:lnTo>
                    <a:lnTo>
                      <a:pt x="140" y="219"/>
                    </a:lnTo>
                    <a:lnTo>
                      <a:pt x="143" y="214"/>
                    </a:lnTo>
                    <a:lnTo>
                      <a:pt x="148" y="210"/>
                    </a:lnTo>
                    <a:lnTo>
                      <a:pt x="151" y="205"/>
                    </a:lnTo>
                    <a:lnTo>
                      <a:pt x="151" y="205"/>
                    </a:lnTo>
                    <a:lnTo>
                      <a:pt x="151" y="205"/>
                    </a:lnTo>
                    <a:lnTo>
                      <a:pt x="154" y="201"/>
                    </a:lnTo>
                    <a:lnTo>
                      <a:pt x="157" y="196"/>
                    </a:lnTo>
                    <a:lnTo>
                      <a:pt x="157" y="196"/>
                    </a:lnTo>
                    <a:lnTo>
                      <a:pt x="157" y="196"/>
                    </a:lnTo>
                    <a:lnTo>
                      <a:pt x="161" y="192"/>
                    </a:lnTo>
                    <a:lnTo>
                      <a:pt x="164" y="188"/>
                    </a:lnTo>
                    <a:lnTo>
                      <a:pt x="170" y="182"/>
                    </a:lnTo>
                    <a:lnTo>
                      <a:pt x="181" y="170"/>
                    </a:lnTo>
                    <a:lnTo>
                      <a:pt x="187" y="165"/>
                    </a:lnTo>
                    <a:lnTo>
                      <a:pt x="196" y="158"/>
                    </a:lnTo>
                    <a:lnTo>
                      <a:pt x="214" y="146"/>
                    </a:lnTo>
                    <a:lnTo>
                      <a:pt x="223" y="140"/>
                    </a:lnTo>
                    <a:lnTo>
                      <a:pt x="233" y="134"/>
                    </a:lnTo>
                    <a:lnTo>
                      <a:pt x="242" y="129"/>
                    </a:lnTo>
                    <a:lnTo>
                      <a:pt x="253" y="125"/>
                    </a:lnTo>
                    <a:lnTo>
                      <a:pt x="263" y="122"/>
                    </a:lnTo>
                    <a:lnTo>
                      <a:pt x="269" y="120"/>
                    </a:lnTo>
                    <a:lnTo>
                      <a:pt x="273" y="119"/>
                    </a:lnTo>
                    <a:lnTo>
                      <a:pt x="284" y="116"/>
                    </a:lnTo>
                    <a:lnTo>
                      <a:pt x="306" y="113"/>
                    </a:lnTo>
                    <a:lnTo>
                      <a:pt x="318" y="111"/>
                    </a:lnTo>
                    <a:lnTo>
                      <a:pt x="324" y="111"/>
                    </a:lnTo>
                    <a:lnTo>
                      <a:pt x="330" y="111"/>
                    </a:lnTo>
                    <a:lnTo>
                      <a:pt x="330" y="11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accent6">
                      <a:lumMod val="75000"/>
                    </a:schemeClr>
                  </a:solidFill>
                </a:endParaRPr>
              </a:p>
            </p:txBody>
          </p:sp>
        </p:grpSp>
        <p:grpSp>
          <p:nvGrpSpPr>
            <p:cNvPr id="52" name="Gruppieren 6">
              <a:extLst>
                <a:ext uri="{FF2B5EF4-FFF2-40B4-BE49-F238E27FC236}">
                  <a16:creationId xmlns:a16="http://schemas.microsoft.com/office/drawing/2014/main" id="{DA7CC86B-0254-48C2-9E2D-2A1D3778A7AA}"/>
                </a:ext>
              </a:extLst>
            </p:cNvPr>
            <p:cNvGrpSpPr/>
            <p:nvPr/>
          </p:nvGrpSpPr>
          <p:grpSpPr>
            <a:xfrm>
              <a:off x="1863221" y="3013209"/>
              <a:ext cx="865911" cy="865911"/>
              <a:chOff x="5019579" y="1843567"/>
              <a:chExt cx="1302602" cy="1302602"/>
            </a:xfrm>
          </p:grpSpPr>
          <p:sp>
            <p:nvSpPr>
              <p:cNvPr id="53" name="Ellipse 59">
                <a:extLst>
                  <a:ext uri="{FF2B5EF4-FFF2-40B4-BE49-F238E27FC236}">
                    <a16:creationId xmlns:a16="http://schemas.microsoft.com/office/drawing/2014/main" id="{9FFD0B28-7F37-4028-8F0F-54E831D90CD5}"/>
                  </a:ext>
                </a:extLst>
              </p:cNvPr>
              <p:cNvSpPr/>
              <p:nvPr/>
            </p:nvSpPr>
            <p:spPr>
              <a:xfrm>
                <a:off x="5165593" y="1967791"/>
                <a:ext cx="1013331" cy="1013331"/>
              </a:xfrm>
              <a:prstGeom prst="ellipse">
                <a:avLst/>
              </a:prstGeom>
              <a:solidFill>
                <a:srgbClr val="FFFFFF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Freeform 11">
                <a:extLst>
                  <a:ext uri="{FF2B5EF4-FFF2-40B4-BE49-F238E27FC236}">
                    <a16:creationId xmlns:a16="http://schemas.microsoft.com/office/drawing/2014/main" id="{E9441A54-C08C-4C95-9C70-9955D5D3A0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19579" y="1843567"/>
                <a:ext cx="1302602" cy="1302602"/>
              </a:xfrm>
              <a:custGeom>
                <a:avLst/>
                <a:gdLst>
                  <a:gd name="T0" fmla="*/ 623 w 663"/>
                  <a:gd name="T1" fmla="*/ 380 h 663"/>
                  <a:gd name="T2" fmla="*/ 614 w 663"/>
                  <a:gd name="T3" fmla="*/ 339 h 663"/>
                  <a:gd name="T4" fmla="*/ 612 w 663"/>
                  <a:gd name="T5" fmla="*/ 289 h 663"/>
                  <a:gd name="T6" fmla="*/ 663 w 663"/>
                  <a:gd name="T7" fmla="*/ 258 h 663"/>
                  <a:gd name="T8" fmla="*/ 645 w 663"/>
                  <a:gd name="T9" fmla="*/ 201 h 663"/>
                  <a:gd name="T10" fmla="*/ 612 w 663"/>
                  <a:gd name="T11" fmla="*/ 150 h 663"/>
                  <a:gd name="T12" fmla="*/ 539 w 663"/>
                  <a:gd name="T13" fmla="*/ 140 h 663"/>
                  <a:gd name="T14" fmla="*/ 500 w 663"/>
                  <a:gd name="T15" fmla="*/ 104 h 663"/>
                  <a:gd name="T16" fmla="*/ 514 w 663"/>
                  <a:gd name="T17" fmla="*/ 45 h 663"/>
                  <a:gd name="T18" fmla="*/ 461 w 663"/>
                  <a:gd name="T19" fmla="*/ 17 h 663"/>
                  <a:gd name="T20" fmla="*/ 406 w 663"/>
                  <a:gd name="T21" fmla="*/ 0 h 663"/>
                  <a:gd name="T22" fmla="*/ 374 w 663"/>
                  <a:gd name="T23" fmla="*/ 48 h 663"/>
                  <a:gd name="T24" fmla="*/ 341 w 663"/>
                  <a:gd name="T25" fmla="*/ 50 h 663"/>
                  <a:gd name="T26" fmla="*/ 292 w 663"/>
                  <a:gd name="T27" fmla="*/ 51 h 663"/>
                  <a:gd name="T28" fmla="*/ 258 w 663"/>
                  <a:gd name="T29" fmla="*/ 0 h 663"/>
                  <a:gd name="T30" fmla="*/ 211 w 663"/>
                  <a:gd name="T31" fmla="*/ 14 h 663"/>
                  <a:gd name="T32" fmla="*/ 153 w 663"/>
                  <a:gd name="T33" fmla="*/ 42 h 663"/>
                  <a:gd name="T34" fmla="*/ 162 w 663"/>
                  <a:gd name="T35" fmla="*/ 98 h 663"/>
                  <a:gd name="T36" fmla="*/ 150 w 663"/>
                  <a:gd name="T37" fmla="*/ 116 h 663"/>
                  <a:gd name="T38" fmla="*/ 109 w 663"/>
                  <a:gd name="T39" fmla="*/ 157 h 663"/>
                  <a:gd name="T40" fmla="*/ 45 w 663"/>
                  <a:gd name="T41" fmla="*/ 150 h 663"/>
                  <a:gd name="T42" fmla="*/ 18 w 663"/>
                  <a:gd name="T43" fmla="*/ 199 h 663"/>
                  <a:gd name="T44" fmla="*/ 6 w 663"/>
                  <a:gd name="T45" fmla="*/ 261 h 663"/>
                  <a:gd name="T46" fmla="*/ 50 w 663"/>
                  <a:gd name="T47" fmla="*/ 325 h 663"/>
                  <a:gd name="T48" fmla="*/ 32 w 663"/>
                  <a:gd name="T49" fmla="*/ 386 h 663"/>
                  <a:gd name="T50" fmla="*/ 8 w 663"/>
                  <a:gd name="T51" fmla="*/ 433 h 663"/>
                  <a:gd name="T52" fmla="*/ 44 w 663"/>
                  <a:gd name="T53" fmla="*/ 512 h 663"/>
                  <a:gd name="T54" fmla="*/ 112 w 663"/>
                  <a:gd name="T55" fmla="*/ 511 h 663"/>
                  <a:gd name="T56" fmla="*/ 159 w 663"/>
                  <a:gd name="T57" fmla="*/ 556 h 663"/>
                  <a:gd name="T58" fmla="*/ 151 w 663"/>
                  <a:gd name="T59" fmla="*/ 618 h 663"/>
                  <a:gd name="T60" fmla="*/ 205 w 663"/>
                  <a:gd name="T61" fmla="*/ 647 h 663"/>
                  <a:gd name="T62" fmla="*/ 258 w 663"/>
                  <a:gd name="T63" fmla="*/ 663 h 663"/>
                  <a:gd name="T64" fmla="*/ 297 w 663"/>
                  <a:gd name="T65" fmla="*/ 611 h 663"/>
                  <a:gd name="T66" fmla="*/ 355 w 663"/>
                  <a:gd name="T67" fmla="*/ 612 h 663"/>
                  <a:gd name="T68" fmla="*/ 404 w 663"/>
                  <a:gd name="T69" fmla="*/ 662 h 663"/>
                  <a:gd name="T70" fmla="*/ 431 w 663"/>
                  <a:gd name="T71" fmla="*/ 656 h 663"/>
                  <a:gd name="T72" fmla="*/ 506 w 663"/>
                  <a:gd name="T73" fmla="*/ 624 h 663"/>
                  <a:gd name="T74" fmla="*/ 500 w 663"/>
                  <a:gd name="T75" fmla="*/ 559 h 663"/>
                  <a:gd name="T76" fmla="*/ 546 w 663"/>
                  <a:gd name="T77" fmla="*/ 515 h 663"/>
                  <a:gd name="T78" fmla="*/ 567 w 663"/>
                  <a:gd name="T79" fmla="*/ 502 h 663"/>
                  <a:gd name="T80" fmla="*/ 623 w 663"/>
                  <a:gd name="T81" fmla="*/ 506 h 663"/>
                  <a:gd name="T82" fmla="*/ 653 w 663"/>
                  <a:gd name="T83" fmla="*/ 443 h 663"/>
                  <a:gd name="T84" fmla="*/ 663 w 663"/>
                  <a:gd name="T85" fmla="*/ 404 h 663"/>
                  <a:gd name="T86" fmla="*/ 542 w 663"/>
                  <a:gd name="T87" fmla="*/ 425 h 663"/>
                  <a:gd name="T88" fmla="*/ 511 w 663"/>
                  <a:gd name="T89" fmla="*/ 476 h 663"/>
                  <a:gd name="T90" fmla="*/ 458 w 663"/>
                  <a:gd name="T91" fmla="*/ 524 h 663"/>
                  <a:gd name="T92" fmla="*/ 392 w 663"/>
                  <a:gd name="T93" fmla="*/ 553 h 663"/>
                  <a:gd name="T94" fmla="*/ 338 w 663"/>
                  <a:gd name="T95" fmla="*/ 562 h 663"/>
                  <a:gd name="T96" fmla="*/ 282 w 663"/>
                  <a:gd name="T97" fmla="*/ 556 h 663"/>
                  <a:gd name="T98" fmla="*/ 216 w 663"/>
                  <a:gd name="T99" fmla="*/ 530 h 663"/>
                  <a:gd name="T100" fmla="*/ 162 w 663"/>
                  <a:gd name="T101" fmla="*/ 487 h 663"/>
                  <a:gd name="T102" fmla="*/ 126 w 663"/>
                  <a:gd name="T103" fmla="*/ 434 h 663"/>
                  <a:gd name="T104" fmla="*/ 106 w 663"/>
                  <a:gd name="T105" fmla="*/ 377 h 663"/>
                  <a:gd name="T106" fmla="*/ 102 w 663"/>
                  <a:gd name="T107" fmla="*/ 324 h 663"/>
                  <a:gd name="T108" fmla="*/ 112 w 663"/>
                  <a:gd name="T109" fmla="*/ 262 h 663"/>
                  <a:gd name="T110" fmla="*/ 139 w 663"/>
                  <a:gd name="T111" fmla="*/ 207 h 663"/>
                  <a:gd name="T112" fmla="*/ 190 w 663"/>
                  <a:gd name="T113" fmla="*/ 150 h 663"/>
                  <a:gd name="T114" fmla="*/ 277 w 663"/>
                  <a:gd name="T115" fmla="*/ 108 h 663"/>
                  <a:gd name="T116" fmla="*/ 347 w 663"/>
                  <a:gd name="T117" fmla="*/ 102 h 663"/>
                  <a:gd name="T118" fmla="*/ 404 w 663"/>
                  <a:gd name="T119" fmla="*/ 113 h 663"/>
                  <a:gd name="T120" fmla="*/ 503 w 663"/>
                  <a:gd name="T121" fmla="*/ 177 h 663"/>
                  <a:gd name="T122" fmla="*/ 539 w 663"/>
                  <a:gd name="T123" fmla="*/ 232 h 663"/>
                  <a:gd name="T124" fmla="*/ 561 w 663"/>
                  <a:gd name="T125" fmla="*/ 309 h 6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63" h="663">
                    <a:moveTo>
                      <a:pt x="663" y="404"/>
                    </a:moveTo>
                    <a:lnTo>
                      <a:pt x="663" y="404"/>
                    </a:lnTo>
                    <a:lnTo>
                      <a:pt x="656" y="400"/>
                    </a:lnTo>
                    <a:lnTo>
                      <a:pt x="636" y="388"/>
                    </a:lnTo>
                    <a:lnTo>
                      <a:pt x="623" y="380"/>
                    </a:lnTo>
                    <a:lnTo>
                      <a:pt x="614" y="373"/>
                    </a:lnTo>
                    <a:lnTo>
                      <a:pt x="612" y="371"/>
                    </a:lnTo>
                    <a:lnTo>
                      <a:pt x="612" y="370"/>
                    </a:lnTo>
                    <a:lnTo>
                      <a:pt x="612" y="361"/>
                    </a:lnTo>
                    <a:lnTo>
                      <a:pt x="614" y="339"/>
                    </a:lnTo>
                    <a:lnTo>
                      <a:pt x="614" y="318"/>
                    </a:lnTo>
                    <a:lnTo>
                      <a:pt x="612" y="300"/>
                    </a:lnTo>
                    <a:lnTo>
                      <a:pt x="611" y="292"/>
                    </a:lnTo>
                    <a:lnTo>
                      <a:pt x="611" y="292"/>
                    </a:lnTo>
                    <a:lnTo>
                      <a:pt x="612" y="289"/>
                    </a:lnTo>
                    <a:lnTo>
                      <a:pt x="621" y="283"/>
                    </a:lnTo>
                    <a:lnTo>
                      <a:pt x="636" y="274"/>
                    </a:lnTo>
                    <a:lnTo>
                      <a:pt x="656" y="262"/>
                    </a:lnTo>
                    <a:lnTo>
                      <a:pt x="662" y="258"/>
                    </a:lnTo>
                    <a:lnTo>
                      <a:pt x="663" y="258"/>
                    </a:lnTo>
                    <a:lnTo>
                      <a:pt x="662" y="255"/>
                    </a:lnTo>
                    <a:lnTo>
                      <a:pt x="660" y="246"/>
                    </a:lnTo>
                    <a:lnTo>
                      <a:pt x="656" y="229"/>
                    </a:lnTo>
                    <a:lnTo>
                      <a:pt x="650" y="210"/>
                    </a:lnTo>
                    <a:lnTo>
                      <a:pt x="645" y="201"/>
                    </a:lnTo>
                    <a:lnTo>
                      <a:pt x="639" y="187"/>
                    </a:lnTo>
                    <a:lnTo>
                      <a:pt x="627" y="165"/>
                    </a:lnTo>
                    <a:lnTo>
                      <a:pt x="621" y="153"/>
                    </a:lnTo>
                    <a:lnTo>
                      <a:pt x="618" y="148"/>
                    </a:lnTo>
                    <a:lnTo>
                      <a:pt x="612" y="150"/>
                    </a:lnTo>
                    <a:lnTo>
                      <a:pt x="588" y="156"/>
                    </a:lnTo>
                    <a:lnTo>
                      <a:pt x="558" y="163"/>
                    </a:lnTo>
                    <a:lnTo>
                      <a:pt x="555" y="159"/>
                    </a:lnTo>
                    <a:lnTo>
                      <a:pt x="549" y="151"/>
                    </a:lnTo>
                    <a:lnTo>
                      <a:pt x="539" y="140"/>
                    </a:lnTo>
                    <a:lnTo>
                      <a:pt x="527" y="128"/>
                    </a:lnTo>
                    <a:lnTo>
                      <a:pt x="515" y="116"/>
                    </a:lnTo>
                    <a:lnTo>
                      <a:pt x="508" y="111"/>
                    </a:lnTo>
                    <a:lnTo>
                      <a:pt x="502" y="105"/>
                    </a:lnTo>
                    <a:lnTo>
                      <a:pt x="500" y="104"/>
                    </a:lnTo>
                    <a:lnTo>
                      <a:pt x="502" y="98"/>
                    </a:lnTo>
                    <a:lnTo>
                      <a:pt x="508" y="75"/>
                    </a:lnTo>
                    <a:lnTo>
                      <a:pt x="512" y="53"/>
                    </a:lnTo>
                    <a:lnTo>
                      <a:pt x="514" y="45"/>
                    </a:lnTo>
                    <a:lnTo>
                      <a:pt x="514" y="45"/>
                    </a:lnTo>
                    <a:lnTo>
                      <a:pt x="511" y="42"/>
                    </a:lnTo>
                    <a:lnTo>
                      <a:pt x="503" y="38"/>
                    </a:lnTo>
                    <a:lnTo>
                      <a:pt x="488" y="29"/>
                    </a:lnTo>
                    <a:lnTo>
                      <a:pt x="470" y="21"/>
                    </a:lnTo>
                    <a:lnTo>
                      <a:pt x="461" y="17"/>
                    </a:lnTo>
                    <a:lnTo>
                      <a:pt x="452" y="14"/>
                    </a:lnTo>
                    <a:lnTo>
                      <a:pt x="434" y="8"/>
                    </a:lnTo>
                    <a:lnTo>
                      <a:pt x="418" y="2"/>
                    </a:lnTo>
                    <a:lnTo>
                      <a:pt x="409" y="0"/>
                    </a:lnTo>
                    <a:lnTo>
                      <a:pt x="406" y="0"/>
                    </a:lnTo>
                    <a:lnTo>
                      <a:pt x="404" y="0"/>
                    </a:lnTo>
                    <a:lnTo>
                      <a:pt x="401" y="8"/>
                    </a:lnTo>
                    <a:lnTo>
                      <a:pt x="389" y="27"/>
                    </a:lnTo>
                    <a:lnTo>
                      <a:pt x="382" y="38"/>
                    </a:lnTo>
                    <a:lnTo>
                      <a:pt x="374" y="48"/>
                    </a:lnTo>
                    <a:lnTo>
                      <a:pt x="371" y="51"/>
                    </a:lnTo>
                    <a:lnTo>
                      <a:pt x="371" y="51"/>
                    </a:lnTo>
                    <a:lnTo>
                      <a:pt x="367" y="51"/>
                    </a:lnTo>
                    <a:lnTo>
                      <a:pt x="352" y="50"/>
                    </a:lnTo>
                    <a:lnTo>
                      <a:pt x="341" y="50"/>
                    </a:lnTo>
                    <a:lnTo>
                      <a:pt x="323" y="50"/>
                    </a:lnTo>
                    <a:lnTo>
                      <a:pt x="314" y="50"/>
                    </a:lnTo>
                    <a:lnTo>
                      <a:pt x="300" y="51"/>
                    </a:lnTo>
                    <a:lnTo>
                      <a:pt x="292" y="51"/>
                    </a:lnTo>
                    <a:lnTo>
                      <a:pt x="292" y="51"/>
                    </a:lnTo>
                    <a:lnTo>
                      <a:pt x="291" y="50"/>
                    </a:lnTo>
                    <a:lnTo>
                      <a:pt x="285" y="42"/>
                    </a:lnTo>
                    <a:lnTo>
                      <a:pt x="274" y="27"/>
                    </a:lnTo>
                    <a:lnTo>
                      <a:pt x="262" y="8"/>
                    </a:lnTo>
                    <a:lnTo>
                      <a:pt x="258" y="0"/>
                    </a:lnTo>
                    <a:lnTo>
                      <a:pt x="258" y="0"/>
                    </a:lnTo>
                    <a:lnTo>
                      <a:pt x="255" y="0"/>
                    </a:lnTo>
                    <a:lnTo>
                      <a:pt x="246" y="3"/>
                    </a:lnTo>
                    <a:lnTo>
                      <a:pt x="229" y="8"/>
                    </a:lnTo>
                    <a:lnTo>
                      <a:pt x="211" y="14"/>
                    </a:lnTo>
                    <a:lnTo>
                      <a:pt x="202" y="17"/>
                    </a:lnTo>
                    <a:lnTo>
                      <a:pt x="195" y="21"/>
                    </a:lnTo>
                    <a:lnTo>
                      <a:pt x="177" y="29"/>
                    </a:lnTo>
                    <a:lnTo>
                      <a:pt x="160" y="38"/>
                    </a:lnTo>
                    <a:lnTo>
                      <a:pt x="153" y="42"/>
                    </a:lnTo>
                    <a:lnTo>
                      <a:pt x="150" y="45"/>
                    </a:lnTo>
                    <a:lnTo>
                      <a:pt x="150" y="45"/>
                    </a:lnTo>
                    <a:lnTo>
                      <a:pt x="151" y="53"/>
                    </a:lnTo>
                    <a:lnTo>
                      <a:pt x="156" y="75"/>
                    </a:lnTo>
                    <a:lnTo>
                      <a:pt x="162" y="98"/>
                    </a:lnTo>
                    <a:lnTo>
                      <a:pt x="163" y="104"/>
                    </a:lnTo>
                    <a:lnTo>
                      <a:pt x="162" y="105"/>
                    </a:lnTo>
                    <a:lnTo>
                      <a:pt x="157" y="110"/>
                    </a:lnTo>
                    <a:lnTo>
                      <a:pt x="154" y="113"/>
                    </a:lnTo>
                    <a:lnTo>
                      <a:pt x="150" y="116"/>
                    </a:lnTo>
                    <a:lnTo>
                      <a:pt x="138" y="126"/>
                    </a:lnTo>
                    <a:lnTo>
                      <a:pt x="126" y="138"/>
                    </a:lnTo>
                    <a:lnTo>
                      <a:pt x="115" y="150"/>
                    </a:lnTo>
                    <a:lnTo>
                      <a:pt x="112" y="154"/>
                    </a:lnTo>
                    <a:lnTo>
                      <a:pt x="109" y="157"/>
                    </a:lnTo>
                    <a:lnTo>
                      <a:pt x="105" y="162"/>
                    </a:lnTo>
                    <a:lnTo>
                      <a:pt x="103" y="163"/>
                    </a:lnTo>
                    <a:lnTo>
                      <a:pt x="96" y="162"/>
                    </a:lnTo>
                    <a:lnTo>
                      <a:pt x="74" y="156"/>
                    </a:lnTo>
                    <a:lnTo>
                      <a:pt x="45" y="150"/>
                    </a:lnTo>
                    <a:lnTo>
                      <a:pt x="44" y="151"/>
                    </a:lnTo>
                    <a:lnTo>
                      <a:pt x="41" y="157"/>
                    </a:lnTo>
                    <a:lnTo>
                      <a:pt x="29" y="178"/>
                    </a:lnTo>
                    <a:lnTo>
                      <a:pt x="24" y="187"/>
                    </a:lnTo>
                    <a:lnTo>
                      <a:pt x="18" y="199"/>
                    </a:lnTo>
                    <a:lnTo>
                      <a:pt x="8" y="228"/>
                    </a:lnTo>
                    <a:lnTo>
                      <a:pt x="5" y="241"/>
                    </a:lnTo>
                    <a:lnTo>
                      <a:pt x="2" y="253"/>
                    </a:lnTo>
                    <a:lnTo>
                      <a:pt x="0" y="258"/>
                    </a:lnTo>
                    <a:lnTo>
                      <a:pt x="6" y="261"/>
                    </a:lnTo>
                    <a:lnTo>
                      <a:pt x="26" y="274"/>
                    </a:lnTo>
                    <a:lnTo>
                      <a:pt x="53" y="291"/>
                    </a:lnTo>
                    <a:lnTo>
                      <a:pt x="51" y="297"/>
                    </a:lnTo>
                    <a:lnTo>
                      <a:pt x="51" y="307"/>
                    </a:lnTo>
                    <a:lnTo>
                      <a:pt x="50" y="325"/>
                    </a:lnTo>
                    <a:lnTo>
                      <a:pt x="50" y="343"/>
                    </a:lnTo>
                    <a:lnTo>
                      <a:pt x="51" y="360"/>
                    </a:lnTo>
                    <a:lnTo>
                      <a:pt x="51" y="367"/>
                    </a:lnTo>
                    <a:lnTo>
                      <a:pt x="53" y="373"/>
                    </a:lnTo>
                    <a:lnTo>
                      <a:pt x="32" y="386"/>
                    </a:lnTo>
                    <a:lnTo>
                      <a:pt x="14" y="397"/>
                    </a:lnTo>
                    <a:lnTo>
                      <a:pt x="5" y="403"/>
                    </a:lnTo>
                    <a:lnTo>
                      <a:pt x="0" y="406"/>
                    </a:lnTo>
                    <a:lnTo>
                      <a:pt x="3" y="418"/>
                    </a:lnTo>
                    <a:lnTo>
                      <a:pt x="8" y="433"/>
                    </a:lnTo>
                    <a:lnTo>
                      <a:pt x="17" y="460"/>
                    </a:lnTo>
                    <a:lnTo>
                      <a:pt x="23" y="472"/>
                    </a:lnTo>
                    <a:lnTo>
                      <a:pt x="27" y="484"/>
                    </a:lnTo>
                    <a:lnTo>
                      <a:pt x="41" y="506"/>
                    </a:lnTo>
                    <a:lnTo>
                      <a:pt x="44" y="512"/>
                    </a:lnTo>
                    <a:lnTo>
                      <a:pt x="47" y="514"/>
                    </a:lnTo>
                    <a:lnTo>
                      <a:pt x="77" y="508"/>
                    </a:lnTo>
                    <a:lnTo>
                      <a:pt x="105" y="500"/>
                    </a:lnTo>
                    <a:lnTo>
                      <a:pt x="108" y="503"/>
                    </a:lnTo>
                    <a:lnTo>
                      <a:pt x="112" y="511"/>
                    </a:lnTo>
                    <a:lnTo>
                      <a:pt x="124" y="523"/>
                    </a:lnTo>
                    <a:lnTo>
                      <a:pt x="136" y="536"/>
                    </a:lnTo>
                    <a:lnTo>
                      <a:pt x="150" y="547"/>
                    </a:lnTo>
                    <a:lnTo>
                      <a:pt x="156" y="553"/>
                    </a:lnTo>
                    <a:lnTo>
                      <a:pt x="159" y="556"/>
                    </a:lnTo>
                    <a:lnTo>
                      <a:pt x="163" y="559"/>
                    </a:lnTo>
                    <a:lnTo>
                      <a:pt x="163" y="560"/>
                    </a:lnTo>
                    <a:lnTo>
                      <a:pt x="156" y="590"/>
                    </a:lnTo>
                    <a:lnTo>
                      <a:pt x="150" y="617"/>
                    </a:lnTo>
                    <a:lnTo>
                      <a:pt x="151" y="618"/>
                    </a:lnTo>
                    <a:lnTo>
                      <a:pt x="154" y="620"/>
                    </a:lnTo>
                    <a:lnTo>
                      <a:pt x="162" y="626"/>
                    </a:lnTo>
                    <a:lnTo>
                      <a:pt x="178" y="635"/>
                    </a:lnTo>
                    <a:lnTo>
                      <a:pt x="198" y="644"/>
                    </a:lnTo>
                    <a:lnTo>
                      <a:pt x="205" y="647"/>
                    </a:lnTo>
                    <a:lnTo>
                      <a:pt x="220" y="653"/>
                    </a:lnTo>
                    <a:lnTo>
                      <a:pt x="243" y="659"/>
                    </a:lnTo>
                    <a:lnTo>
                      <a:pt x="255" y="662"/>
                    </a:lnTo>
                    <a:lnTo>
                      <a:pt x="256" y="663"/>
                    </a:lnTo>
                    <a:lnTo>
                      <a:pt x="258" y="663"/>
                    </a:lnTo>
                    <a:lnTo>
                      <a:pt x="259" y="660"/>
                    </a:lnTo>
                    <a:lnTo>
                      <a:pt x="267" y="650"/>
                    </a:lnTo>
                    <a:lnTo>
                      <a:pt x="276" y="636"/>
                    </a:lnTo>
                    <a:lnTo>
                      <a:pt x="291" y="611"/>
                    </a:lnTo>
                    <a:lnTo>
                      <a:pt x="297" y="611"/>
                    </a:lnTo>
                    <a:lnTo>
                      <a:pt x="304" y="612"/>
                    </a:lnTo>
                    <a:lnTo>
                      <a:pt x="322" y="614"/>
                    </a:lnTo>
                    <a:lnTo>
                      <a:pt x="331" y="614"/>
                    </a:lnTo>
                    <a:lnTo>
                      <a:pt x="340" y="614"/>
                    </a:lnTo>
                    <a:lnTo>
                      <a:pt x="355" y="612"/>
                    </a:lnTo>
                    <a:lnTo>
                      <a:pt x="367" y="611"/>
                    </a:lnTo>
                    <a:lnTo>
                      <a:pt x="374" y="611"/>
                    </a:lnTo>
                    <a:lnTo>
                      <a:pt x="389" y="635"/>
                    </a:lnTo>
                    <a:lnTo>
                      <a:pt x="401" y="654"/>
                    </a:lnTo>
                    <a:lnTo>
                      <a:pt x="404" y="662"/>
                    </a:lnTo>
                    <a:lnTo>
                      <a:pt x="406" y="662"/>
                    </a:lnTo>
                    <a:lnTo>
                      <a:pt x="407" y="662"/>
                    </a:lnTo>
                    <a:lnTo>
                      <a:pt x="412" y="662"/>
                    </a:lnTo>
                    <a:lnTo>
                      <a:pt x="418" y="660"/>
                    </a:lnTo>
                    <a:lnTo>
                      <a:pt x="431" y="656"/>
                    </a:lnTo>
                    <a:lnTo>
                      <a:pt x="458" y="647"/>
                    </a:lnTo>
                    <a:lnTo>
                      <a:pt x="470" y="641"/>
                    </a:lnTo>
                    <a:lnTo>
                      <a:pt x="478" y="638"/>
                    </a:lnTo>
                    <a:lnTo>
                      <a:pt x="493" y="630"/>
                    </a:lnTo>
                    <a:lnTo>
                      <a:pt x="506" y="624"/>
                    </a:lnTo>
                    <a:lnTo>
                      <a:pt x="514" y="618"/>
                    </a:lnTo>
                    <a:lnTo>
                      <a:pt x="515" y="617"/>
                    </a:lnTo>
                    <a:lnTo>
                      <a:pt x="514" y="611"/>
                    </a:lnTo>
                    <a:lnTo>
                      <a:pt x="508" y="587"/>
                    </a:lnTo>
                    <a:lnTo>
                      <a:pt x="500" y="559"/>
                    </a:lnTo>
                    <a:lnTo>
                      <a:pt x="511" y="550"/>
                    </a:lnTo>
                    <a:lnTo>
                      <a:pt x="517" y="545"/>
                    </a:lnTo>
                    <a:lnTo>
                      <a:pt x="527" y="536"/>
                    </a:lnTo>
                    <a:lnTo>
                      <a:pt x="537" y="526"/>
                    </a:lnTo>
                    <a:lnTo>
                      <a:pt x="546" y="515"/>
                    </a:lnTo>
                    <a:lnTo>
                      <a:pt x="551" y="509"/>
                    </a:lnTo>
                    <a:lnTo>
                      <a:pt x="554" y="506"/>
                    </a:lnTo>
                    <a:lnTo>
                      <a:pt x="558" y="500"/>
                    </a:lnTo>
                    <a:lnTo>
                      <a:pt x="560" y="500"/>
                    </a:lnTo>
                    <a:lnTo>
                      <a:pt x="567" y="502"/>
                    </a:lnTo>
                    <a:lnTo>
                      <a:pt x="590" y="506"/>
                    </a:lnTo>
                    <a:lnTo>
                      <a:pt x="612" y="512"/>
                    </a:lnTo>
                    <a:lnTo>
                      <a:pt x="618" y="514"/>
                    </a:lnTo>
                    <a:lnTo>
                      <a:pt x="620" y="512"/>
                    </a:lnTo>
                    <a:lnTo>
                      <a:pt x="623" y="506"/>
                    </a:lnTo>
                    <a:lnTo>
                      <a:pt x="632" y="491"/>
                    </a:lnTo>
                    <a:lnTo>
                      <a:pt x="638" y="479"/>
                    </a:lnTo>
                    <a:lnTo>
                      <a:pt x="641" y="472"/>
                    </a:lnTo>
                    <a:lnTo>
                      <a:pt x="647" y="458"/>
                    </a:lnTo>
                    <a:lnTo>
                      <a:pt x="653" y="443"/>
                    </a:lnTo>
                    <a:lnTo>
                      <a:pt x="657" y="428"/>
                    </a:lnTo>
                    <a:lnTo>
                      <a:pt x="660" y="421"/>
                    </a:lnTo>
                    <a:lnTo>
                      <a:pt x="662" y="413"/>
                    </a:lnTo>
                    <a:lnTo>
                      <a:pt x="663" y="407"/>
                    </a:lnTo>
                    <a:lnTo>
                      <a:pt x="663" y="404"/>
                    </a:lnTo>
                    <a:close/>
                    <a:moveTo>
                      <a:pt x="561" y="349"/>
                    </a:moveTo>
                    <a:lnTo>
                      <a:pt x="558" y="369"/>
                    </a:lnTo>
                    <a:lnTo>
                      <a:pt x="555" y="388"/>
                    </a:lnTo>
                    <a:lnTo>
                      <a:pt x="549" y="407"/>
                    </a:lnTo>
                    <a:lnTo>
                      <a:pt x="542" y="425"/>
                    </a:lnTo>
                    <a:lnTo>
                      <a:pt x="537" y="434"/>
                    </a:lnTo>
                    <a:lnTo>
                      <a:pt x="534" y="442"/>
                    </a:lnTo>
                    <a:lnTo>
                      <a:pt x="527" y="454"/>
                    </a:lnTo>
                    <a:lnTo>
                      <a:pt x="520" y="466"/>
                    </a:lnTo>
                    <a:lnTo>
                      <a:pt x="511" y="476"/>
                    </a:lnTo>
                    <a:lnTo>
                      <a:pt x="502" y="488"/>
                    </a:lnTo>
                    <a:lnTo>
                      <a:pt x="491" y="497"/>
                    </a:lnTo>
                    <a:lnTo>
                      <a:pt x="481" y="508"/>
                    </a:lnTo>
                    <a:lnTo>
                      <a:pt x="470" y="515"/>
                    </a:lnTo>
                    <a:lnTo>
                      <a:pt x="458" y="524"/>
                    </a:lnTo>
                    <a:lnTo>
                      <a:pt x="446" y="532"/>
                    </a:lnTo>
                    <a:lnTo>
                      <a:pt x="433" y="538"/>
                    </a:lnTo>
                    <a:lnTo>
                      <a:pt x="421" y="544"/>
                    </a:lnTo>
                    <a:lnTo>
                      <a:pt x="407" y="550"/>
                    </a:lnTo>
                    <a:lnTo>
                      <a:pt x="392" y="553"/>
                    </a:lnTo>
                    <a:lnTo>
                      <a:pt x="379" y="557"/>
                    </a:lnTo>
                    <a:lnTo>
                      <a:pt x="364" y="559"/>
                    </a:lnTo>
                    <a:lnTo>
                      <a:pt x="356" y="560"/>
                    </a:lnTo>
                    <a:lnTo>
                      <a:pt x="352" y="560"/>
                    </a:lnTo>
                    <a:lnTo>
                      <a:pt x="338" y="562"/>
                    </a:lnTo>
                    <a:lnTo>
                      <a:pt x="322" y="562"/>
                    </a:lnTo>
                    <a:lnTo>
                      <a:pt x="307" y="560"/>
                    </a:lnTo>
                    <a:lnTo>
                      <a:pt x="303" y="560"/>
                    </a:lnTo>
                    <a:lnTo>
                      <a:pt x="295" y="559"/>
                    </a:lnTo>
                    <a:lnTo>
                      <a:pt x="282" y="556"/>
                    </a:lnTo>
                    <a:lnTo>
                      <a:pt x="267" y="553"/>
                    </a:lnTo>
                    <a:lnTo>
                      <a:pt x="253" y="548"/>
                    </a:lnTo>
                    <a:lnTo>
                      <a:pt x="241" y="542"/>
                    </a:lnTo>
                    <a:lnTo>
                      <a:pt x="228" y="536"/>
                    </a:lnTo>
                    <a:lnTo>
                      <a:pt x="216" y="530"/>
                    </a:lnTo>
                    <a:lnTo>
                      <a:pt x="204" y="523"/>
                    </a:lnTo>
                    <a:lnTo>
                      <a:pt x="192" y="514"/>
                    </a:lnTo>
                    <a:lnTo>
                      <a:pt x="181" y="506"/>
                    </a:lnTo>
                    <a:lnTo>
                      <a:pt x="171" y="496"/>
                    </a:lnTo>
                    <a:lnTo>
                      <a:pt x="162" y="487"/>
                    </a:lnTo>
                    <a:lnTo>
                      <a:pt x="153" y="476"/>
                    </a:lnTo>
                    <a:lnTo>
                      <a:pt x="144" y="464"/>
                    </a:lnTo>
                    <a:lnTo>
                      <a:pt x="136" y="452"/>
                    </a:lnTo>
                    <a:lnTo>
                      <a:pt x="129" y="440"/>
                    </a:lnTo>
                    <a:lnTo>
                      <a:pt x="126" y="434"/>
                    </a:lnTo>
                    <a:lnTo>
                      <a:pt x="123" y="427"/>
                    </a:lnTo>
                    <a:lnTo>
                      <a:pt x="117" y="415"/>
                    </a:lnTo>
                    <a:lnTo>
                      <a:pt x="112" y="403"/>
                    </a:lnTo>
                    <a:lnTo>
                      <a:pt x="109" y="389"/>
                    </a:lnTo>
                    <a:lnTo>
                      <a:pt x="106" y="377"/>
                    </a:lnTo>
                    <a:lnTo>
                      <a:pt x="105" y="366"/>
                    </a:lnTo>
                    <a:lnTo>
                      <a:pt x="103" y="352"/>
                    </a:lnTo>
                    <a:lnTo>
                      <a:pt x="102" y="339"/>
                    </a:lnTo>
                    <a:lnTo>
                      <a:pt x="102" y="331"/>
                    </a:lnTo>
                    <a:lnTo>
                      <a:pt x="102" y="324"/>
                    </a:lnTo>
                    <a:lnTo>
                      <a:pt x="103" y="310"/>
                    </a:lnTo>
                    <a:lnTo>
                      <a:pt x="105" y="298"/>
                    </a:lnTo>
                    <a:lnTo>
                      <a:pt x="106" y="286"/>
                    </a:lnTo>
                    <a:lnTo>
                      <a:pt x="109" y="274"/>
                    </a:lnTo>
                    <a:lnTo>
                      <a:pt x="112" y="262"/>
                    </a:lnTo>
                    <a:lnTo>
                      <a:pt x="117" y="249"/>
                    </a:lnTo>
                    <a:lnTo>
                      <a:pt x="123" y="237"/>
                    </a:lnTo>
                    <a:lnTo>
                      <a:pt x="126" y="231"/>
                    </a:lnTo>
                    <a:lnTo>
                      <a:pt x="130" y="222"/>
                    </a:lnTo>
                    <a:lnTo>
                      <a:pt x="139" y="207"/>
                    </a:lnTo>
                    <a:lnTo>
                      <a:pt x="148" y="192"/>
                    </a:lnTo>
                    <a:lnTo>
                      <a:pt x="160" y="178"/>
                    </a:lnTo>
                    <a:lnTo>
                      <a:pt x="168" y="171"/>
                    </a:lnTo>
                    <a:lnTo>
                      <a:pt x="175" y="163"/>
                    </a:lnTo>
                    <a:lnTo>
                      <a:pt x="190" y="150"/>
                    </a:lnTo>
                    <a:lnTo>
                      <a:pt x="205" y="140"/>
                    </a:lnTo>
                    <a:lnTo>
                      <a:pt x="223" y="129"/>
                    </a:lnTo>
                    <a:lnTo>
                      <a:pt x="241" y="120"/>
                    </a:lnTo>
                    <a:lnTo>
                      <a:pt x="259" y="114"/>
                    </a:lnTo>
                    <a:lnTo>
                      <a:pt x="277" y="108"/>
                    </a:lnTo>
                    <a:lnTo>
                      <a:pt x="297" y="104"/>
                    </a:lnTo>
                    <a:lnTo>
                      <a:pt x="307" y="102"/>
                    </a:lnTo>
                    <a:lnTo>
                      <a:pt x="313" y="102"/>
                    </a:lnTo>
                    <a:lnTo>
                      <a:pt x="329" y="102"/>
                    </a:lnTo>
                    <a:lnTo>
                      <a:pt x="347" y="102"/>
                    </a:lnTo>
                    <a:lnTo>
                      <a:pt x="364" y="104"/>
                    </a:lnTo>
                    <a:lnTo>
                      <a:pt x="368" y="104"/>
                    </a:lnTo>
                    <a:lnTo>
                      <a:pt x="374" y="105"/>
                    </a:lnTo>
                    <a:lnTo>
                      <a:pt x="386" y="108"/>
                    </a:lnTo>
                    <a:lnTo>
                      <a:pt x="404" y="113"/>
                    </a:lnTo>
                    <a:lnTo>
                      <a:pt x="427" y="122"/>
                    </a:lnTo>
                    <a:lnTo>
                      <a:pt x="448" y="134"/>
                    </a:lnTo>
                    <a:lnTo>
                      <a:pt x="467" y="145"/>
                    </a:lnTo>
                    <a:lnTo>
                      <a:pt x="487" y="160"/>
                    </a:lnTo>
                    <a:lnTo>
                      <a:pt x="503" y="177"/>
                    </a:lnTo>
                    <a:lnTo>
                      <a:pt x="515" y="192"/>
                    </a:lnTo>
                    <a:lnTo>
                      <a:pt x="521" y="201"/>
                    </a:lnTo>
                    <a:lnTo>
                      <a:pt x="526" y="205"/>
                    </a:lnTo>
                    <a:lnTo>
                      <a:pt x="530" y="214"/>
                    </a:lnTo>
                    <a:lnTo>
                      <a:pt x="539" y="232"/>
                    </a:lnTo>
                    <a:lnTo>
                      <a:pt x="548" y="252"/>
                    </a:lnTo>
                    <a:lnTo>
                      <a:pt x="554" y="270"/>
                    </a:lnTo>
                    <a:lnTo>
                      <a:pt x="555" y="279"/>
                    </a:lnTo>
                    <a:lnTo>
                      <a:pt x="558" y="289"/>
                    </a:lnTo>
                    <a:lnTo>
                      <a:pt x="561" y="309"/>
                    </a:lnTo>
                    <a:lnTo>
                      <a:pt x="561" y="328"/>
                    </a:lnTo>
                    <a:lnTo>
                      <a:pt x="561" y="349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grpSp>
          <p:nvGrpSpPr>
            <p:cNvPr id="55" name="Gruppieren 5">
              <a:extLst>
                <a:ext uri="{FF2B5EF4-FFF2-40B4-BE49-F238E27FC236}">
                  <a16:creationId xmlns:a16="http://schemas.microsoft.com/office/drawing/2014/main" id="{51C3EE0C-C1A0-4186-BBAD-28C663CD3C42}"/>
                </a:ext>
              </a:extLst>
            </p:cNvPr>
            <p:cNvGrpSpPr/>
            <p:nvPr/>
          </p:nvGrpSpPr>
          <p:grpSpPr>
            <a:xfrm>
              <a:off x="2524610" y="3839636"/>
              <a:ext cx="985597" cy="987005"/>
              <a:chOff x="5346329" y="3738603"/>
              <a:chExt cx="1482647" cy="1484766"/>
            </a:xfrm>
          </p:grpSpPr>
          <p:sp>
            <p:nvSpPr>
              <p:cNvPr id="56" name="Ellipse 57">
                <a:extLst>
                  <a:ext uri="{FF2B5EF4-FFF2-40B4-BE49-F238E27FC236}">
                    <a16:creationId xmlns:a16="http://schemas.microsoft.com/office/drawing/2014/main" id="{48C9DFC0-C392-4900-8C00-1F1AEF8498AF}"/>
                  </a:ext>
                </a:extLst>
              </p:cNvPr>
              <p:cNvSpPr/>
              <p:nvPr/>
            </p:nvSpPr>
            <p:spPr>
              <a:xfrm>
                <a:off x="5713843" y="4129609"/>
                <a:ext cx="747618" cy="747618"/>
              </a:xfrm>
              <a:prstGeom prst="ellipse">
                <a:avLst/>
              </a:prstGeom>
              <a:solidFill>
                <a:srgbClr val="FFFFFF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7" name="Freeform 5">
                <a:extLst>
                  <a:ext uri="{FF2B5EF4-FFF2-40B4-BE49-F238E27FC236}">
                    <a16:creationId xmlns:a16="http://schemas.microsoft.com/office/drawing/2014/main" id="{D371D1D4-75A6-45FE-AB50-474482EC97B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329" y="3738603"/>
                <a:ext cx="1482647" cy="1484766"/>
              </a:xfrm>
              <a:custGeom>
                <a:avLst/>
                <a:gdLst>
                  <a:gd name="T0" fmla="*/ 290 w 699"/>
                  <a:gd name="T1" fmla="*/ 147 h 700"/>
                  <a:gd name="T2" fmla="*/ 257 w 699"/>
                  <a:gd name="T3" fmla="*/ 159 h 700"/>
                  <a:gd name="T4" fmla="*/ 130 w 699"/>
                  <a:gd name="T5" fmla="*/ 75 h 700"/>
                  <a:gd name="T6" fmla="*/ 163 w 699"/>
                  <a:gd name="T7" fmla="*/ 249 h 700"/>
                  <a:gd name="T8" fmla="*/ 150 w 699"/>
                  <a:gd name="T9" fmla="*/ 280 h 700"/>
                  <a:gd name="T10" fmla="*/ 0 w 699"/>
                  <a:gd name="T11" fmla="*/ 312 h 700"/>
                  <a:gd name="T12" fmla="*/ 147 w 699"/>
                  <a:gd name="T13" fmla="*/ 411 h 700"/>
                  <a:gd name="T14" fmla="*/ 159 w 699"/>
                  <a:gd name="T15" fmla="*/ 442 h 700"/>
                  <a:gd name="T16" fmla="*/ 75 w 699"/>
                  <a:gd name="T17" fmla="*/ 569 h 700"/>
                  <a:gd name="T18" fmla="*/ 248 w 699"/>
                  <a:gd name="T19" fmla="*/ 536 h 700"/>
                  <a:gd name="T20" fmla="*/ 278 w 699"/>
                  <a:gd name="T21" fmla="*/ 550 h 700"/>
                  <a:gd name="T22" fmla="*/ 310 w 699"/>
                  <a:gd name="T23" fmla="*/ 700 h 700"/>
                  <a:gd name="T24" fmla="*/ 409 w 699"/>
                  <a:gd name="T25" fmla="*/ 554 h 700"/>
                  <a:gd name="T26" fmla="*/ 442 w 699"/>
                  <a:gd name="T27" fmla="*/ 541 h 700"/>
                  <a:gd name="T28" fmla="*/ 569 w 699"/>
                  <a:gd name="T29" fmla="*/ 625 h 700"/>
                  <a:gd name="T30" fmla="*/ 536 w 699"/>
                  <a:gd name="T31" fmla="*/ 453 h 700"/>
                  <a:gd name="T32" fmla="*/ 549 w 699"/>
                  <a:gd name="T33" fmla="*/ 421 h 700"/>
                  <a:gd name="T34" fmla="*/ 699 w 699"/>
                  <a:gd name="T35" fmla="*/ 390 h 700"/>
                  <a:gd name="T36" fmla="*/ 552 w 699"/>
                  <a:gd name="T37" fmla="*/ 291 h 700"/>
                  <a:gd name="T38" fmla="*/ 540 w 699"/>
                  <a:gd name="T39" fmla="*/ 259 h 700"/>
                  <a:gd name="T40" fmla="*/ 624 w 699"/>
                  <a:gd name="T41" fmla="*/ 131 h 700"/>
                  <a:gd name="T42" fmla="*/ 451 w 699"/>
                  <a:gd name="T43" fmla="*/ 165 h 700"/>
                  <a:gd name="T44" fmla="*/ 419 w 699"/>
                  <a:gd name="T45" fmla="*/ 152 h 700"/>
                  <a:gd name="T46" fmla="*/ 389 w 699"/>
                  <a:gd name="T47" fmla="*/ 0 h 700"/>
                  <a:gd name="T48" fmla="*/ 308 w 699"/>
                  <a:gd name="T49" fmla="*/ 2 h 700"/>
                  <a:gd name="T50" fmla="*/ 503 w 699"/>
                  <a:gd name="T51" fmla="*/ 358 h 700"/>
                  <a:gd name="T52" fmla="*/ 498 w 699"/>
                  <a:gd name="T53" fmla="*/ 390 h 700"/>
                  <a:gd name="T54" fmla="*/ 488 w 699"/>
                  <a:gd name="T55" fmla="*/ 417 h 700"/>
                  <a:gd name="T56" fmla="*/ 473 w 699"/>
                  <a:gd name="T57" fmla="*/ 442 h 700"/>
                  <a:gd name="T58" fmla="*/ 454 w 699"/>
                  <a:gd name="T59" fmla="*/ 464 h 700"/>
                  <a:gd name="T60" fmla="*/ 430 w 699"/>
                  <a:gd name="T61" fmla="*/ 482 h 700"/>
                  <a:gd name="T62" fmla="*/ 403 w 699"/>
                  <a:gd name="T63" fmla="*/ 496 h 700"/>
                  <a:gd name="T64" fmla="*/ 373 w 699"/>
                  <a:gd name="T65" fmla="*/ 503 h 700"/>
                  <a:gd name="T66" fmla="*/ 349 w 699"/>
                  <a:gd name="T67" fmla="*/ 505 h 700"/>
                  <a:gd name="T68" fmla="*/ 326 w 699"/>
                  <a:gd name="T69" fmla="*/ 503 h 700"/>
                  <a:gd name="T70" fmla="*/ 296 w 699"/>
                  <a:gd name="T71" fmla="*/ 496 h 700"/>
                  <a:gd name="T72" fmla="*/ 269 w 699"/>
                  <a:gd name="T73" fmla="*/ 482 h 700"/>
                  <a:gd name="T74" fmla="*/ 245 w 699"/>
                  <a:gd name="T75" fmla="*/ 464 h 700"/>
                  <a:gd name="T76" fmla="*/ 226 w 699"/>
                  <a:gd name="T77" fmla="*/ 442 h 700"/>
                  <a:gd name="T78" fmla="*/ 211 w 699"/>
                  <a:gd name="T79" fmla="*/ 417 h 700"/>
                  <a:gd name="T80" fmla="*/ 201 w 699"/>
                  <a:gd name="T81" fmla="*/ 390 h 700"/>
                  <a:gd name="T82" fmla="*/ 196 w 699"/>
                  <a:gd name="T83" fmla="*/ 358 h 700"/>
                  <a:gd name="T84" fmla="*/ 196 w 699"/>
                  <a:gd name="T85" fmla="*/ 342 h 700"/>
                  <a:gd name="T86" fmla="*/ 201 w 699"/>
                  <a:gd name="T87" fmla="*/ 312 h 700"/>
                  <a:gd name="T88" fmla="*/ 211 w 699"/>
                  <a:gd name="T89" fmla="*/ 283 h 700"/>
                  <a:gd name="T90" fmla="*/ 226 w 699"/>
                  <a:gd name="T91" fmla="*/ 258 h 700"/>
                  <a:gd name="T92" fmla="*/ 245 w 699"/>
                  <a:gd name="T93" fmla="*/ 237 h 700"/>
                  <a:gd name="T94" fmla="*/ 269 w 699"/>
                  <a:gd name="T95" fmla="*/ 219 h 700"/>
                  <a:gd name="T96" fmla="*/ 296 w 699"/>
                  <a:gd name="T97" fmla="*/ 206 h 700"/>
                  <a:gd name="T98" fmla="*/ 326 w 699"/>
                  <a:gd name="T99" fmla="*/ 198 h 700"/>
                  <a:gd name="T100" fmla="*/ 349 w 699"/>
                  <a:gd name="T101" fmla="*/ 197 h 700"/>
                  <a:gd name="T102" fmla="*/ 373 w 699"/>
                  <a:gd name="T103" fmla="*/ 198 h 700"/>
                  <a:gd name="T104" fmla="*/ 403 w 699"/>
                  <a:gd name="T105" fmla="*/ 206 h 700"/>
                  <a:gd name="T106" fmla="*/ 430 w 699"/>
                  <a:gd name="T107" fmla="*/ 219 h 700"/>
                  <a:gd name="T108" fmla="*/ 454 w 699"/>
                  <a:gd name="T109" fmla="*/ 237 h 700"/>
                  <a:gd name="T110" fmla="*/ 473 w 699"/>
                  <a:gd name="T111" fmla="*/ 258 h 700"/>
                  <a:gd name="T112" fmla="*/ 488 w 699"/>
                  <a:gd name="T113" fmla="*/ 283 h 700"/>
                  <a:gd name="T114" fmla="*/ 498 w 699"/>
                  <a:gd name="T115" fmla="*/ 312 h 700"/>
                  <a:gd name="T116" fmla="*/ 503 w 699"/>
                  <a:gd name="T117" fmla="*/ 342 h 700"/>
                  <a:gd name="T118" fmla="*/ 503 w 699"/>
                  <a:gd name="T119" fmla="*/ 351 h 7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99" h="700">
                    <a:moveTo>
                      <a:pt x="308" y="2"/>
                    </a:moveTo>
                    <a:lnTo>
                      <a:pt x="290" y="147"/>
                    </a:lnTo>
                    <a:lnTo>
                      <a:pt x="278" y="152"/>
                    </a:lnTo>
                    <a:lnTo>
                      <a:pt x="257" y="159"/>
                    </a:lnTo>
                    <a:lnTo>
                      <a:pt x="248" y="165"/>
                    </a:lnTo>
                    <a:lnTo>
                      <a:pt x="130" y="75"/>
                    </a:lnTo>
                    <a:lnTo>
                      <a:pt x="73" y="132"/>
                    </a:lnTo>
                    <a:lnTo>
                      <a:pt x="163" y="249"/>
                    </a:lnTo>
                    <a:lnTo>
                      <a:pt x="159" y="259"/>
                    </a:lnTo>
                    <a:lnTo>
                      <a:pt x="150" y="280"/>
                    </a:lnTo>
                    <a:lnTo>
                      <a:pt x="147" y="291"/>
                    </a:lnTo>
                    <a:lnTo>
                      <a:pt x="0" y="312"/>
                    </a:lnTo>
                    <a:lnTo>
                      <a:pt x="0" y="391"/>
                    </a:lnTo>
                    <a:lnTo>
                      <a:pt x="147" y="411"/>
                    </a:lnTo>
                    <a:lnTo>
                      <a:pt x="150" y="421"/>
                    </a:lnTo>
                    <a:lnTo>
                      <a:pt x="159" y="442"/>
                    </a:lnTo>
                    <a:lnTo>
                      <a:pt x="163" y="453"/>
                    </a:lnTo>
                    <a:lnTo>
                      <a:pt x="75" y="569"/>
                    </a:lnTo>
                    <a:lnTo>
                      <a:pt x="132" y="626"/>
                    </a:lnTo>
                    <a:lnTo>
                      <a:pt x="248" y="536"/>
                    </a:lnTo>
                    <a:lnTo>
                      <a:pt x="257" y="542"/>
                    </a:lnTo>
                    <a:lnTo>
                      <a:pt x="278" y="550"/>
                    </a:lnTo>
                    <a:lnTo>
                      <a:pt x="290" y="554"/>
                    </a:lnTo>
                    <a:lnTo>
                      <a:pt x="310" y="700"/>
                    </a:lnTo>
                    <a:lnTo>
                      <a:pt x="391" y="700"/>
                    </a:lnTo>
                    <a:lnTo>
                      <a:pt x="409" y="554"/>
                    </a:lnTo>
                    <a:lnTo>
                      <a:pt x="421" y="550"/>
                    </a:lnTo>
                    <a:lnTo>
                      <a:pt x="442" y="541"/>
                    </a:lnTo>
                    <a:lnTo>
                      <a:pt x="451" y="536"/>
                    </a:lnTo>
                    <a:lnTo>
                      <a:pt x="569" y="625"/>
                    </a:lnTo>
                    <a:lnTo>
                      <a:pt x="626" y="568"/>
                    </a:lnTo>
                    <a:lnTo>
                      <a:pt x="536" y="453"/>
                    </a:lnTo>
                    <a:lnTo>
                      <a:pt x="540" y="442"/>
                    </a:lnTo>
                    <a:lnTo>
                      <a:pt x="549" y="421"/>
                    </a:lnTo>
                    <a:lnTo>
                      <a:pt x="552" y="411"/>
                    </a:lnTo>
                    <a:lnTo>
                      <a:pt x="699" y="390"/>
                    </a:lnTo>
                    <a:lnTo>
                      <a:pt x="699" y="310"/>
                    </a:lnTo>
                    <a:lnTo>
                      <a:pt x="552" y="291"/>
                    </a:lnTo>
                    <a:lnTo>
                      <a:pt x="549" y="280"/>
                    </a:lnTo>
                    <a:lnTo>
                      <a:pt x="540" y="259"/>
                    </a:lnTo>
                    <a:lnTo>
                      <a:pt x="534" y="249"/>
                    </a:lnTo>
                    <a:lnTo>
                      <a:pt x="624" y="131"/>
                    </a:lnTo>
                    <a:lnTo>
                      <a:pt x="567" y="75"/>
                    </a:lnTo>
                    <a:lnTo>
                      <a:pt x="451" y="165"/>
                    </a:lnTo>
                    <a:lnTo>
                      <a:pt x="440" y="159"/>
                    </a:lnTo>
                    <a:lnTo>
                      <a:pt x="419" y="152"/>
                    </a:lnTo>
                    <a:lnTo>
                      <a:pt x="409" y="147"/>
                    </a:lnTo>
                    <a:lnTo>
                      <a:pt x="389" y="0"/>
                    </a:lnTo>
                    <a:lnTo>
                      <a:pt x="308" y="2"/>
                    </a:lnTo>
                    <a:lnTo>
                      <a:pt x="308" y="2"/>
                    </a:lnTo>
                    <a:close/>
                    <a:moveTo>
                      <a:pt x="503" y="351"/>
                    </a:moveTo>
                    <a:lnTo>
                      <a:pt x="503" y="358"/>
                    </a:lnTo>
                    <a:lnTo>
                      <a:pt x="501" y="375"/>
                    </a:lnTo>
                    <a:lnTo>
                      <a:pt x="498" y="390"/>
                    </a:lnTo>
                    <a:lnTo>
                      <a:pt x="494" y="403"/>
                    </a:lnTo>
                    <a:lnTo>
                      <a:pt x="488" y="417"/>
                    </a:lnTo>
                    <a:lnTo>
                      <a:pt x="482" y="430"/>
                    </a:lnTo>
                    <a:lnTo>
                      <a:pt x="473" y="442"/>
                    </a:lnTo>
                    <a:lnTo>
                      <a:pt x="464" y="454"/>
                    </a:lnTo>
                    <a:lnTo>
                      <a:pt x="454" y="464"/>
                    </a:lnTo>
                    <a:lnTo>
                      <a:pt x="442" y="473"/>
                    </a:lnTo>
                    <a:lnTo>
                      <a:pt x="430" y="482"/>
                    </a:lnTo>
                    <a:lnTo>
                      <a:pt x="416" y="490"/>
                    </a:lnTo>
                    <a:lnTo>
                      <a:pt x="403" y="496"/>
                    </a:lnTo>
                    <a:lnTo>
                      <a:pt x="388" y="500"/>
                    </a:lnTo>
                    <a:lnTo>
                      <a:pt x="373" y="503"/>
                    </a:lnTo>
                    <a:lnTo>
                      <a:pt x="358" y="505"/>
                    </a:lnTo>
                    <a:lnTo>
                      <a:pt x="349" y="505"/>
                    </a:lnTo>
                    <a:lnTo>
                      <a:pt x="341" y="505"/>
                    </a:lnTo>
                    <a:lnTo>
                      <a:pt x="326" y="503"/>
                    </a:lnTo>
                    <a:lnTo>
                      <a:pt x="311" y="500"/>
                    </a:lnTo>
                    <a:lnTo>
                      <a:pt x="296" y="496"/>
                    </a:lnTo>
                    <a:lnTo>
                      <a:pt x="283" y="490"/>
                    </a:lnTo>
                    <a:lnTo>
                      <a:pt x="269" y="482"/>
                    </a:lnTo>
                    <a:lnTo>
                      <a:pt x="257" y="473"/>
                    </a:lnTo>
                    <a:lnTo>
                      <a:pt x="245" y="464"/>
                    </a:lnTo>
                    <a:lnTo>
                      <a:pt x="235" y="454"/>
                    </a:lnTo>
                    <a:lnTo>
                      <a:pt x="226" y="442"/>
                    </a:lnTo>
                    <a:lnTo>
                      <a:pt x="217" y="430"/>
                    </a:lnTo>
                    <a:lnTo>
                      <a:pt x="211" y="417"/>
                    </a:lnTo>
                    <a:lnTo>
                      <a:pt x="205" y="403"/>
                    </a:lnTo>
                    <a:lnTo>
                      <a:pt x="201" y="390"/>
                    </a:lnTo>
                    <a:lnTo>
                      <a:pt x="198" y="375"/>
                    </a:lnTo>
                    <a:lnTo>
                      <a:pt x="196" y="358"/>
                    </a:lnTo>
                    <a:lnTo>
                      <a:pt x="195" y="351"/>
                    </a:lnTo>
                    <a:lnTo>
                      <a:pt x="196" y="342"/>
                    </a:lnTo>
                    <a:lnTo>
                      <a:pt x="198" y="327"/>
                    </a:lnTo>
                    <a:lnTo>
                      <a:pt x="201" y="312"/>
                    </a:lnTo>
                    <a:lnTo>
                      <a:pt x="205" y="297"/>
                    </a:lnTo>
                    <a:lnTo>
                      <a:pt x="211" y="283"/>
                    </a:lnTo>
                    <a:lnTo>
                      <a:pt x="217" y="270"/>
                    </a:lnTo>
                    <a:lnTo>
                      <a:pt x="226" y="258"/>
                    </a:lnTo>
                    <a:lnTo>
                      <a:pt x="235" y="247"/>
                    </a:lnTo>
                    <a:lnTo>
                      <a:pt x="245" y="237"/>
                    </a:lnTo>
                    <a:lnTo>
                      <a:pt x="257" y="226"/>
                    </a:lnTo>
                    <a:lnTo>
                      <a:pt x="269" y="219"/>
                    </a:lnTo>
                    <a:lnTo>
                      <a:pt x="283" y="212"/>
                    </a:lnTo>
                    <a:lnTo>
                      <a:pt x="296" y="206"/>
                    </a:lnTo>
                    <a:lnTo>
                      <a:pt x="311" y="201"/>
                    </a:lnTo>
                    <a:lnTo>
                      <a:pt x="326" y="198"/>
                    </a:lnTo>
                    <a:lnTo>
                      <a:pt x="341" y="197"/>
                    </a:lnTo>
                    <a:lnTo>
                      <a:pt x="349" y="197"/>
                    </a:lnTo>
                    <a:lnTo>
                      <a:pt x="358" y="197"/>
                    </a:lnTo>
                    <a:lnTo>
                      <a:pt x="373" y="198"/>
                    </a:lnTo>
                    <a:lnTo>
                      <a:pt x="388" y="201"/>
                    </a:lnTo>
                    <a:lnTo>
                      <a:pt x="403" y="206"/>
                    </a:lnTo>
                    <a:lnTo>
                      <a:pt x="416" y="212"/>
                    </a:lnTo>
                    <a:lnTo>
                      <a:pt x="430" y="219"/>
                    </a:lnTo>
                    <a:lnTo>
                      <a:pt x="442" y="226"/>
                    </a:lnTo>
                    <a:lnTo>
                      <a:pt x="454" y="237"/>
                    </a:lnTo>
                    <a:lnTo>
                      <a:pt x="464" y="247"/>
                    </a:lnTo>
                    <a:lnTo>
                      <a:pt x="473" y="258"/>
                    </a:lnTo>
                    <a:lnTo>
                      <a:pt x="482" y="270"/>
                    </a:lnTo>
                    <a:lnTo>
                      <a:pt x="488" y="283"/>
                    </a:lnTo>
                    <a:lnTo>
                      <a:pt x="494" y="297"/>
                    </a:lnTo>
                    <a:lnTo>
                      <a:pt x="498" y="312"/>
                    </a:lnTo>
                    <a:lnTo>
                      <a:pt x="501" y="327"/>
                    </a:lnTo>
                    <a:lnTo>
                      <a:pt x="503" y="342"/>
                    </a:lnTo>
                    <a:lnTo>
                      <a:pt x="503" y="351"/>
                    </a:lnTo>
                    <a:lnTo>
                      <a:pt x="503" y="351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id="{0F0F12A2-DF9F-4193-8730-7C44A86C92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0493" y="2134997"/>
              <a:ext cx="803618" cy="801395"/>
            </a:xfrm>
            <a:custGeom>
              <a:avLst/>
              <a:gdLst>
                <a:gd name="T0" fmla="*/ 683 w 723"/>
                <a:gd name="T1" fmla="*/ 341 h 721"/>
                <a:gd name="T2" fmla="*/ 695 w 723"/>
                <a:gd name="T3" fmla="*/ 281 h 721"/>
                <a:gd name="T4" fmla="*/ 696 w 723"/>
                <a:gd name="T5" fmla="*/ 223 h 721"/>
                <a:gd name="T6" fmla="*/ 674 w 723"/>
                <a:gd name="T7" fmla="*/ 176 h 721"/>
                <a:gd name="T8" fmla="*/ 624 w 723"/>
                <a:gd name="T9" fmla="*/ 142 h 721"/>
                <a:gd name="T10" fmla="*/ 570 w 723"/>
                <a:gd name="T11" fmla="*/ 116 h 721"/>
                <a:gd name="T12" fmla="*/ 539 w 723"/>
                <a:gd name="T13" fmla="*/ 93 h 721"/>
                <a:gd name="T14" fmla="*/ 500 w 723"/>
                <a:gd name="T15" fmla="*/ 48 h 721"/>
                <a:gd name="T16" fmla="*/ 454 w 723"/>
                <a:gd name="T17" fmla="*/ 10 h 721"/>
                <a:gd name="T18" fmla="*/ 403 w 723"/>
                <a:gd name="T19" fmla="*/ 1 h 721"/>
                <a:gd name="T20" fmla="*/ 346 w 723"/>
                <a:gd name="T21" fmla="*/ 19 h 721"/>
                <a:gd name="T22" fmla="*/ 292 w 723"/>
                <a:gd name="T23" fmla="*/ 46 h 721"/>
                <a:gd name="T24" fmla="*/ 255 w 723"/>
                <a:gd name="T25" fmla="*/ 57 h 721"/>
                <a:gd name="T26" fmla="*/ 195 w 723"/>
                <a:gd name="T27" fmla="*/ 61 h 721"/>
                <a:gd name="T28" fmla="*/ 138 w 723"/>
                <a:gd name="T29" fmla="*/ 76 h 721"/>
                <a:gd name="T30" fmla="*/ 99 w 723"/>
                <a:gd name="T31" fmla="*/ 110 h 721"/>
                <a:gd name="T32" fmla="*/ 80 w 723"/>
                <a:gd name="T33" fmla="*/ 167 h 721"/>
                <a:gd name="T34" fmla="*/ 69 w 723"/>
                <a:gd name="T35" fmla="*/ 226 h 721"/>
                <a:gd name="T36" fmla="*/ 56 w 723"/>
                <a:gd name="T37" fmla="*/ 263 h 721"/>
                <a:gd name="T38" fmla="*/ 23 w 723"/>
                <a:gd name="T39" fmla="*/ 313 h 721"/>
                <a:gd name="T40" fmla="*/ 0 w 723"/>
                <a:gd name="T41" fmla="*/ 368 h 721"/>
                <a:gd name="T42" fmla="*/ 5 w 723"/>
                <a:gd name="T43" fmla="*/ 419 h 721"/>
                <a:gd name="T44" fmla="*/ 38 w 723"/>
                <a:gd name="T45" fmla="*/ 468 h 721"/>
                <a:gd name="T46" fmla="*/ 78 w 723"/>
                <a:gd name="T47" fmla="*/ 513 h 721"/>
                <a:gd name="T48" fmla="*/ 99 w 723"/>
                <a:gd name="T49" fmla="*/ 546 h 721"/>
                <a:gd name="T50" fmla="*/ 120 w 723"/>
                <a:gd name="T51" fmla="*/ 601 h 721"/>
                <a:gd name="T52" fmla="*/ 150 w 723"/>
                <a:gd name="T53" fmla="*/ 654 h 721"/>
                <a:gd name="T54" fmla="*/ 193 w 723"/>
                <a:gd name="T55" fmla="*/ 681 h 721"/>
                <a:gd name="T56" fmla="*/ 253 w 723"/>
                <a:gd name="T57" fmla="*/ 684 h 721"/>
                <a:gd name="T58" fmla="*/ 313 w 723"/>
                <a:gd name="T59" fmla="*/ 678 h 721"/>
                <a:gd name="T60" fmla="*/ 352 w 723"/>
                <a:gd name="T61" fmla="*/ 682 h 721"/>
                <a:gd name="T62" fmla="*/ 409 w 723"/>
                <a:gd name="T63" fmla="*/ 699 h 721"/>
                <a:gd name="T64" fmla="*/ 467 w 723"/>
                <a:gd name="T65" fmla="*/ 706 h 721"/>
                <a:gd name="T66" fmla="*/ 517 w 723"/>
                <a:gd name="T67" fmla="*/ 687 h 721"/>
                <a:gd name="T68" fmla="*/ 554 w 723"/>
                <a:gd name="T69" fmla="*/ 642 h 721"/>
                <a:gd name="T70" fmla="*/ 585 w 723"/>
                <a:gd name="T71" fmla="*/ 591 h 721"/>
                <a:gd name="T72" fmla="*/ 612 w 723"/>
                <a:gd name="T73" fmla="*/ 562 h 721"/>
                <a:gd name="T74" fmla="*/ 660 w 723"/>
                <a:gd name="T75" fmla="*/ 527 h 721"/>
                <a:gd name="T76" fmla="*/ 702 w 723"/>
                <a:gd name="T77" fmla="*/ 483 h 721"/>
                <a:gd name="T78" fmla="*/ 716 w 723"/>
                <a:gd name="T79" fmla="*/ 434 h 721"/>
                <a:gd name="T80" fmla="*/ 702 w 723"/>
                <a:gd name="T81" fmla="*/ 375 h 721"/>
                <a:gd name="T82" fmla="*/ 611 w 723"/>
                <a:gd name="T83" fmla="*/ 450 h 721"/>
                <a:gd name="T84" fmla="*/ 539 w 723"/>
                <a:gd name="T85" fmla="*/ 556 h 721"/>
                <a:gd name="T86" fmla="*/ 428 w 723"/>
                <a:gd name="T87" fmla="*/ 616 h 721"/>
                <a:gd name="T88" fmla="*/ 321 w 723"/>
                <a:gd name="T89" fmla="*/ 622 h 721"/>
                <a:gd name="T90" fmla="*/ 204 w 723"/>
                <a:gd name="T91" fmla="*/ 571 h 721"/>
                <a:gd name="T92" fmla="*/ 123 w 723"/>
                <a:gd name="T93" fmla="*/ 474 h 721"/>
                <a:gd name="T94" fmla="*/ 98 w 723"/>
                <a:gd name="T95" fmla="*/ 360 h 721"/>
                <a:gd name="T96" fmla="*/ 123 w 723"/>
                <a:gd name="T97" fmla="*/ 245 h 721"/>
                <a:gd name="T98" fmla="*/ 204 w 723"/>
                <a:gd name="T99" fmla="*/ 148 h 721"/>
                <a:gd name="T100" fmla="*/ 321 w 723"/>
                <a:gd name="T101" fmla="*/ 99 h 721"/>
                <a:gd name="T102" fmla="*/ 428 w 723"/>
                <a:gd name="T103" fmla="*/ 104 h 721"/>
                <a:gd name="T104" fmla="*/ 539 w 723"/>
                <a:gd name="T105" fmla="*/ 164 h 721"/>
                <a:gd name="T106" fmla="*/ 611 w 723"/>
                <a:gd name="T107" fmla="*/ 269 h 7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3" h="721">
                  <a:moveTo>
                    <a:pt x="702" y="375"/>
                  </a:moveTo>
                  <a:lnTo>
                    <a:pt x="723" y="368"/>
                  </a:lnTo>
                  <a:lnTo>
                    <a:pt x="723" y="353"/>
                  </a:lnTo>
                  <a:lnTo>
                    <a:pt x="702" y="344"/>
                  </a:lnTo>
                  <a:lnTo>
                    <a:pt x="683" y="341"/>
                  </a:lnTo>
                  <a:lnTo>
                    <a:pt x="681" y="320"/>
                  </a:lnTo>
                  <a:lnTo>
                    <a:pt x="701" y="313"/>
                  </a:lnTo>
                  <a:lnTo>
                    <a:pt x="719" y="301"/>
                  </a:lnTo>
                  <a:lnTo>
                    <a:pt x="716" y="286"/>
                  </a:lnTo>
                  <a:lnTo>
                    <a:pt x="695" y="281"/>
                  </a:lnTo>
                  <a:lnTo>
                    <a:pt x="674" y="281"/>
                  </a:lnTo>
                  <a:lnTo>
                    <a:pt x="668" y="263"/>
                  </a:lnTo>
                  <a:lnTo>
                    <a:pt x="686" y="251"/>
                  </a:lnTo>
                  <a:lnTo>
                    <a:pt x="702" y="236"/>
                  </a:lnTo>
                  <a:lnTo>
                    <a:pt x="696" y="223"/>
                  </a:lnTo>
                  <a:lnTo>
                    <a:pt x="674" y="223"/>
                  </a:lnTo>
                  <a:lnTo>
                    <a:pt x="654" y="226"/>
                  </a:lnTo>
                  <a:lnTo>
                    <a:pt x="645" y="208"/>
                  </a:lnTo>
                  <a:lnTo>
                    <a:pt x="660" y="194"/>
                  </a:lnTo>
                  <a:lnTo>
                    <a:pt x="674" y="176"/>
                  </a:lnTo>
                  <a:lnTo>
                    <a:pt x="665" y="163"/>
                  </a:lnTo>
                  <a:lnTo>
                    <a:pt x="644" y="167"/>
                  </a:lnTo>
                  <a:lnTo>
                    <a:pt x="624" y="175"/>
                  </a:lnTo>
                  <a:lnTo>
                    <a:pt x="612" y="158"/>
                  </a:lnTo>
                  <a:lnTo>
                    <a:pt x="624" y="142"/>
                  </a:lnTo>
                  <a:lnTo>
                    <a:pt x="633" y="122"/>
                  </a:lnTo>
                  <a:lnTo>
                    <a:pt x="624" y="110"/>
                  </a:lnTo>
                  <a:lnTo>
                    <a:pt x="603" y="118"/>
                  </a:lnTo>
                  <a:lnTo>
                    <a:pt x="585" y="130"/>
                  </a:lnTo>
                  <a:lnTo>
                    <a:pt x="570" y="116"/>
                  </a:lnTo>
                  <a:lnTo>
                    <a:pt x="579" y="97"/>
                  </a:lnTo>
                  <a:lnTo>
                    <a:pt x="585" y="76"/>
                  </a:lnTo>
                  <a:lnTo>
                    <a:pt x="573" y="67"/>
                  </a:lnTo>
                  <a:lnTo>
                    <a:pt x="554" y="78"/>
                  </a:lnTo>
                  <a:lnTo>
                    <a:pt x="539" y="93"/>
                  </a:lnTo>
                  <a:lnTo>
                    <a:pt x="523" y="82"/>
                  </a:lnTo>
                  <a:lnTo>
                    <a:pt x="529" y="61"/>
                  </a:lnTo>
                  <a:lnTo>
                    <a:pt x="530" y="40"/>
                  </a:lnTo>
                  <a:lnTo>
                    <a:pt x="517" y="33"/>
                  </a:lnTo>
                  <a:lnTo>
                    <a:pt x="500" y="48"/>
                  </a:lnTo>
                  <a:lnTo>
                    <a:pt x="487" y="64"/>
                  </a:lnTo>
                  <a:lnTo>
                    <a:pt x="469" y="57"/>
                  </a:lnTo>
                  <a:lnTo>
                    <a:pt x="470" y="36"/>
                  </a:lnTo>
                  <a:lnTo>
                    <a:pt x="467" y="15"/>
                  </a:lnTo>
                  <a:lnTo>
                    <a:pt x="454" y="10"/>
                  </a:lnTo>
                  <a:lnTo>
                    <a:pt x="440" y="28"/>
                  </a:lnTo>
                  <a:lnTo>
                    <a:pt x="431" y="46"/>
                  </a:lnTo>
                  <a:lnTo>
                    <a:pt x="410" y="42"/>
                  </a:lnTo>
                  <a:lnTo>
                    <a:pt x="409" y="22"/>
                  </a:lnTo>
                  <a:lnTo>
                    <a:pt x="403" y="1"/>
                  </a:lnTo>
                  <a:lnTo>
                    <a:pt x="388" y="0"/>
                  </a:lnTo>
                  <a:lnTo>
                    <a:pt x="377" y="19"/>
                  </a:lnTo>
                  <a:lnTo>
                    <a:pt x="371" y="39"/>
                  </a:lnTo>
                  <a:lnTo>
                    <a:pt x="352" y="39"/>
                  </a:lnTo>
                  <a:lnTo>
                    <a:pt x="346" y="19"/>
                  </a:lnTo>
                  <a:lnTo>
                    <a:pt x="335" y="0"/>
                  </a:lnTo>
                  <a:lnTo>
                    <a:pt x="321" y="1"/>
                  </a:lnTo>
                  <a:lnTo>
                    <a:pt x="315" y="22"/>
                  </a:lnTo>
                  <a:lnTo>
                    <a:pt x="313" y="42"/>
                  </a:lnTo>
                  <a:lnTo>
                    <a:pt x="292" y="46"/>
                  </a:lnTo>
                  <a:lnTo>
                    <a:pt x="283" y="28"/>
                  </a:lnTo>
                  <a:lnTo>
                    <a:pt x="270" y="10"/>
                  </a:lnTo>
                  <a:lnTo>
                    <a:pt x="255" y="15"/>
                  </a:lnTo>
                  <a:lnTo>
                    <a:pt x="253" y="36"/>
                  </a:lnTo>
                  <a:lnTo>
                    <a:pt x="255" y="57"/>
                  </a:lnTo>
                  <a:lnTo>
                    <a:pt x="237" y="64"/>
                  </a:lnTo>
                  <a:lnTo>
                    <a:pt x="223" y="48"/>
                  </a:lnTo>
                  <a:lnTo>
                    <a:pt x="207" y="33"/>
                  </a:lnTo>
                  <a:lnTo>
                    <a:pt x="193" y="40"/>
                  </a:lnTo>
                  <a:lnTo>
                    <a:pt x="195" y="61"/>
                  </a:lnTo>
                  <a:lnTo>
                    <a:pt x="201" y="82"/>
                  </a:lnTo>
                  <a:lnTo>
                    <a:pt x="184" y="93"/>
                  </a:lnTo>
                  <a:lnTo>
                    <a:pt x="168" y="78"/>
                  </a:lnTo>
                  <a:lnTo>
                    <a:pt x="150" y="67"/>
                  </a:lnTo>
                  <a:lnTo>
                    <a:pt x="138" y="76"/>
                  </a:lnTo>
                  <a:lnTo>
                    <a:pt x="144" y="97"/>
                  </a:lnTo>
                  <a:lnTo>
                    <a:pt x="153" y="116"/>
                  </a:lnTo>
                  <a:lnTo>
                    <a:pt x="138" y="130"/>
                  </a:lnTo>
                  <a:lnTo>
                    <a:pt x="120" y="118"/>
                  </a:lnTo>
                  <a:lnTo>
                    <a:pt x="99" y="110"/>
                  </a:lnTo>
                  <a:lnTo>
                    <a:pt x="89" y="122"/>
                  </a:lnTo>
                  <a:lnTo>
                    <a:pt x="99" y="142"/>
                  </a:lnTo>
                  <a:lnTo>
                    <a:pt x="111" y="158"/>
                  </a:lnTo>
                  <a:lnTo>
                    <a:pt x="99" y="175"/>
                  </a:lnTo>
                  <a:lnTo>
                    <a:pt x="80" y="167"/>
                  </a:lnTo>
                  <a:lnTo>
                    <a:pt x="57" y="163"/>
                  </a:lnTo>
                  <a:lnTo>
                    <a:pt x="50" y="176"/>
                  </a:lnTo>
                  <a:lnTo>
                    <a:pt x="63" y="194"/>
                  </a:lnTo>
                  <a:lnTo>
                    <a:pt x="78" y="208"/>
                  </a:lnTo>
                  <a:lnTo>
                    <a:pt x="69" y="226"/>
                  </a:lnTo>
                  <a:lnTo>
                    <a:pt x="48" y="223"/>
                  </a:lnTo>
                  <a:lnTo>
                    <a:pt x="27" y="223"/>
                  </a:lnTo>
                  <a:lnTo>
                    <a:pt x="21" y="236"/>
                  </a:lnTo>
                  <a:lnTo>
                    <a:pt x="38" y="251"/>
                  </a:lnTo>
                  <a:lnTo>
                    <a:pt x="56" y="263"/>
                  </a:lnTo>
                  <a:lnTo>
                    <a:pt x="50" y="281"/>
                  </a:lnTo>
                  <a:lnTo>
                    <a:pt x="29" y="281"/>
                  </a:lnTo>
                  <a:lnTo>
                    <a:pt x="8" y="286"/>
                  </a:lnTo>
                  <a:lnTo>
                    <a:pt x="5" y="301"/>
                  </a:lnTo>
                  <a:lnTo>
                    <a:pt x="23" y="313"/>
                  </a:lnTo>
                  <a:lnTo>
                    <a:pt x="42" y="320"/>
                  </a:lnTo>
                  <a:lnTo>
                    <a:pt x="41" y="341"/>
                  </a:lnTo>
                  <a:lnTo>
                    <a:pt x="20" y="344"/>
                  </a:lnTo>
                  <a:lnTo>
                    <a:pt x="0" y="353"/>
                  </a:lnTo>
                  <a:lnTo>
                    <a:pt x="0" y="368"/>
                  </a:lnTo>
                  <a:lnTo>
                    <a:pt x="20" y="375"/>
                  </a:lnTo>
                  <a:lnTo>
                    <a:pt x="41" y="380"/>
                  </a:lnTo>
                  <a:lnTo>
                    <a:pt x="42" y="399"/>
                  </a:lnTo>
                  <a:lnTo>
                    <a:pt x="23" y="407"/>
                  </a:lnTo>
                  <a:lnTo>
                    <a:pt x="5" y="419"/>
                  </a:lnTo>
                  <a:lnTo>
                    <a:pt x="8" y="434"/>
                  </a:lnTo>
                  <a:lnTo>
                    <a:pt x="29" y="438"/>
                  </a:lnTo>
                  <a:lnTo>
                    <a:pt x="50" y="438"/>
                  </a:lnTo>
                  <a:lnTo>
                    <a:pt x="56" y="458"/>
                  </a:lnTo>
                  <a:lnTo>
                    <a:pt x="38" y="468"/>
                  </a:lnTo>
                  <a:lnTo>
                    <a:pt x="21" y="483"/>
                  </a:lnTo>
                  <a:lnTo>
                    <a:pt x="27" y="498"/>
                  </a:lnTo>
                  <a:lnTo>
                    <a:pt x="48" y="498"/>
                  </a:lnTo>
                  <a:lnTo>
                    <a:pt x="69" y="495"/>
                  </a:lnTo>
                  <a:lnTo>
                    <a:pt x="78" y="513"/>
                  </a:lnTo>
                  <a:lnTo>
                    <a:pt x="63" y="527"/>
                  </a:lnTo>
                  <a:lnTo>
                    <a:pt x="50" y="545"/>
                  </a:lnTo>
                  <a:lnTo>
                    <a:pt x="57" y="556"/>
                  </a:lnTo>
                  <a:lnTo>
                    <a:pt x="80" y="553"/>
                  </a:lnTo>
                  <a:lnTo>
                    <a:pt x="99" y="546"/>
                  </a:lnTo>
                  <a:lnTo>
                    <a:pt x="111" y="562"/>
                  </a:lnTo>
                  <a:lnTo>
                    <a:pt x="99" y="579"/>
                  </a:lnTo>
                  <a:lnTo>
                    <a:pt x="89" y="598"/>
                  </a:lnTo>
                  <a:lnTo>
                    <a:pt x="99" y="609"/>
                  </a:lnTo>
                  <a:lnTo>
                    <a:pt x="120" y="601"/>
                  </a:lnTo>
                  <a:lnTo>
                    <a:pt x="138" y="591"/>
                  </a:lnTo>
                  <a:lnTo>
                    <a:pt x="153" y="604"/>
                  </a:lnTo>
                  <a:lnTo>
                    <a:pt x="144" y="622"/>
                  </a:lnTo>
                  <a:lnTo>
                    <a:pt x="138" y="645"/>
                  </a:lnTo>
                  <a:lnTo>
                    <a:pt x="150" y="654"/>
                  </a:lnTo>
                  <a:lnTo>
                    <a:pt x="168" y="642"/>
                  </a:lnTo>
                  <a:lnTo>
                    <a:pt x="184" y="628"/>
                  </a:lnTo>
                  <a:lnTo>
                    <a:pt x="201" y="639"/>
                  </a:lnTo>
                  <a:lnTo>
                    <a:pt x="195" y="658"/>
                  </a:lnTo>
                  <a:lnTo>
                    <a:pt x="193" y="681"/>
                  </a:lnTo>
                  <a:lnTo>
                    <a:pt x="207" y="687"/>
                  </a:lnTo>
                  <a:lnTo>
                    <a:pt x="223" y="673"/>
                  </a:lnTo>
                  <a:lnTo>
                    <a:pt x="237" y="657"/>
                  </a:lnTo>
                  <a:lnTo>
                    <a:pt x="255" y="664"/>
                  </a:lnTo>
                  <a:lnTo>
                    <a:pt x="253" y="684"/>
                  </a:lnTo>
                  <a:lnTo>
                    <a:pt x="255" y="706"/>
                  </a:lnTo>
                  <a:lnTo>
                    <a:pt x="270" y="711"/>
                  </a:lnTo>
                  <a:lnTo>
                    <a:pt x="283" y="693"/>
                  </a:lnTo>
                  <a:lnTo>
                    <a:pt x="292" y="675"/>
                  </a:lnTo>
                  <a:lnTo>
                    <a:pt x="313" y="678"/>
                  </a:lnTo>
                  <a:lnTo>
                    <a:pt x="315" y="699"/>
                  </a:lnTo>
                  <a:lnTo>
                    <a:pt x="321" y="720"/>
                  </a:lnTo>
                  <a:lnTo>
                    <a:pt x="335" y="721"/>
                  </a:lnTo>
                  <a:lnTo>
                    <a:pt x="346" y="702"/>
                  </a:lnTo>
                  <a:lnTo>
                    <a:pt x="352" y="682"/>
                  </a:lnTo>
                  <a:lnTo>
                    <a:pt x="371" y="682"/>
                  </a:lnTo>
                  <a:lnTo>
                    <a:pt x="377" y="702"/>
                  </a:lnTo>
                  <a:lnTo>
                    <a:pt x="388" y="721"/>
                  </a:lnTo>
                  <a:lnTo>
                    <a:pt x="403" y="720"/>
                  </a:lnTo>
                  <a:lnTo>
                    <a:pt x="409" y="699"/>
                  </a:lnTo>
                  <a:lnTo>
                    <a:pt x="410" y="678"/>
                  </a:lnTo>
                  <a:lnTo>
                    <a:pt x="431" y="675"/>
                  </a:lnTo>
                  <a:lnTo>
                    <a:pt x="440" y="693"/>
                  </a:lnTo>
                  <a:lnTo>
                    <a:pt x="454" y="711"/>
                  </a:lnTo>
                  <a:lnTo>
                    <a:pt x="467" y="706"/>
                  </a:lnTo>
                  <a:lnTo>
                    <a:pt x="470" y="684"/>
                  </a:lnTo>
                  <a:lnTo>
                    <a:pt x="469" y="664"/>
                  </a:lnTo>
                  <a:lnTo>
                    <a:pt x="487" y="657"/>
                  </a:lnTo>
                  <a:lnTo>
                    <a:pt x="500" y="673"/>
                  </a:lnTo>
                  <a:lnTo>
                    <a:pt x="517" y="687"/>
                  </a:lnTo>
                  <a:lnTo>
                    <a:pt x="530" y="681"/>
                  </a:lnTo>
                  <a:lnTo>
                    <a:pt x="529" y="658"/>
                  </a:lnTo>
                  <a:lnTo>
                    <a:pt x="523" y="639"/>
                  </a:lnTo>
                  <a:lnTo>
                    <a:pt x="539" y="628"/>
                  </a:lnTo>
                  <a:lnTo>
                    <a:pt x="554" y="642"/>
                  </a:lnTo>
                  <a:lnTo>
                    <a:pt x="573" y="654"/>
                  </a:lnTo>
                  <a:lnTo>
                    <a:pt x="585" y="645"/>
                  </a:lnTo>
                  <a:lnTo>
                    <a:pt x="579" y="622"/>
                  </a:lnTo>
                  <a:lnTo>
                    <a:pt x="570" y="604"/>
                  </a:lnTo>
                  <a:lnTo>
                    <a:pt x="585" y="591"/>
                  </a:lnTo>
                  <a:lnTo>
                    <a:pt x="603" y="601"/>
                  </a:lnTo>
                  <a:lnTo>
                    <a:pt x="624" y="609"/>
                  </a:lnTo>
                  <a:lnTo>
                    <a:pt x="633" y="598"/>
                  </a:lnTo>
                  <a:lnTo>
                    <a:pt x="624" y="579"/>
                  </a:lnTo>
                  <a:lnTo>
                    <a:pt x="612" y="562"/>
                  </a:lnTo>
                  <a:lnTo>
                    <a:pt x="624" y="546"/>
                  </a:lnTo>
                  <a:lnTo>
                    <a:pt x="644" y="553"/>
                  </a:lnTo>
                  <a:lnTo>
                    <a:pt x="665" y="556"/>
                  </a:lnTo>
                  <a:lnTo>
                    <a:pt x="674" y="545"/>
                  </a:lnTo>
                  <a:lnTo>
                    <a:pt x="660" y="527"/>
                  </a:lnTo>
                  <a:lnTo>
                    <a:pt x="645" y="513"/>
                  </a:lnTo>
                  <a:lnTo>
                    <a:pt x="654" y="495"/>
                  </a:lnTo>
                  <a:lnTo>
                    <a:pt x="674" y="498"/>
                  </a:lnTo>
                  <a:lnTo>
                    <a:pt x="696" y="498"/>
                  </a:lnTo>
                  <a:lnTo>
                    <a:pt x="702" y="483"/>
                  </a:lnTo>
                  <a:lnTo>
                    <a:pt x="686" y="468"/>
                  </a:lnTo>
                  <a:lnTo>
                    <a:pt x="668" y="458"/>
                  </a:lnTo>
                  <a:lnTo>
                    <a:pt x="674" y="438"/>
                  </a:lnTo>
                  <a:lnTo>
                    <a:pt x="695" y="438"/>
                  </a:lnTo>
                  <a:lnTo>
                    <a:pt x="716" y="434"/>
                  </a:lnTo>
                  <a:lnTo>
                    <a:pt x="719" y="419"/>
                  </a:lnTo>
                  <a:lnTo>
                    <a:pt x="701" y="407"/>
                  </a:lnTo>
                  <a:lnTo>
                    <a:pt x="681" y="399"/>
                  </a:lnTo>
                  <a:lnTo>
                    <a:pt x="683" y="380"/>
                  </a:lnTo>
                  <a:lnTo>
                    <a:pt x="702" y="375"/>
                  </a:lnTo>
                  <a:close/>
                  <a:moveTo>
                    <a:pt x="626" y="360"/>
                  </a:moveTo>
                  <a:lnTo>
                    <a:pt x="626" y="374"/>
                  </a:lnTo>
                  <a:lnTo>
                    <a:pt x="623" y="401"/>
                  </a:lnTo>
                  <a:lnTo>
                    <a:pt x="618" y="426"/>
                  </a:lnTo>
                  <a:lnTo>
                    <a:pt x="611" y="450"/>
                  </a:lnTo>
                  <a:lnTo>
                    <a:pt x="600" y="474"/>
                  </a:lnTo>
                  <a:lnTo>
                    <a:pt x="588" y="497"/>
                  </a:lnTo>
                  <a:lnTo>
                    <a:pt x="573" y="518"/>
                  </a:lnTo>
                  <a:lnTo>
                    <a:pt x="557" y="539"/>
                  </a:lnTo>
                  <a:lnTo>
                    <a:pt x="539" y="556"/>
                  </a:lnTo>
                  <a:lnTo>
                    <a:pt x="520" y="571"/>
                  </a:lnTo>
                  <a:lnTo>
                    <a:pt x="499" y="586"/>
                  </a:lnTo>
                  <a:lnTo>
                    <a:pt x="476" y="598"/>
                  </a:lnTo>
                  <a:lnTo>
                    <a:pt x="452" y="609"/>
                  </a:lnTo>
                  <a:lnTo>
                    <a:pt x="428" y="616"/>
                  </a:lnTo>
                  <a:lnTo>
                    <a:pt x="401" y="622"/>
                  </a:lnTo>
                  <a:lnTo>
                    <a:pt x="374" y="624"/>
                  </a:lnTo>
                  <a:lnTo>
                    <a:pt x="361" y="624"/>
                  </a:lnTo>
                  <a:lnTo>
                    <a:pt x="347" y="624"/>
                  </a:lnTo>
                  <a:lnTo>
                    <a:pt x="321" y="622"/>
                  </a:lnTo>
                  <a:lnTo>
                    <a:pt x="295" y="616"/>
                  </a:lnTo>
                  <a:lnTo>
                    <a:pt x="271" y="609"/>
                  </a:lnTo>
                  <a:lnTo>
                    <a:pt x="247" y="598"/>
                  </a:lnTo>
                  <a:lnTo>
                    <a:pt x="225" y="586"/>
                  </a:lnTo>
                  <a:lnTo>
                    <a:pt x="204" y="571"/>
                  </a:lnTo>
                  <a:lnTo>
                    <a:pt x="184" y="556"/>
                  </a:lnTo>
                  <a:lnTo>
                    <a:pt x="166" y="539"/>
                  </a:lnTo>
                  <a:lnTo>
                    <a:pt x="150" y="518"/>
                  </a:lnTo>
                  <a:lnTo>
                    <a:pt x="135" y="497"/>
                  </a:lnTo>
                  <a:lnTo>
                    <a:pt x="123" y="474"/>
                  </a:lnTo>
                  <a:lnTo>
                    <a:pt x="113" y="450"/>
                  </a:lnTo>
                  <a:lnTo>
                    <a:pt x="105" y="426"/>
                  </a:lnTo>
                  <a:lnTo>
                    <a:pt x="101" y="401"/>
                  </a:lnTo>
                  <a:lnTo>
                    <a:pt x="98" y="374"/>
                  </a:lnTo>
                  <a:lnTo>
                    <a:pt x="98" y="360"/>
                  </a:lnTo>
                  <a:lnTo>
                    <a:pt x="98" y="347"/>
                  </a:lnTo>
                  <a:lnTo>
                    <a:pt x="101" y="320"/>
                  </a:lnTo>
                  <a:lnTo>
                    <a:pt x="105" y="295"/>
                  </a:lnTo>
                  <a:lnTo>
                    <a:pt x="113" y="269"/>
                  </a:lnTo>
                  <a:lnTo>
                    <a:pt x="123" y="245"/>
                  </a:lnTo>
                  <a:lnTo>
                    <a:pt x="135" y="223"/>
                  </a:lnTo>
                  <a:lnTo>
                    <a:pt x="150" y="202"/>
                  </a:lnTo>
                  <a:lnTo>
                    <a:pt x="166" y="182"/>
                  </a:lnTo>
                  <a:lnTo>
                    <a:pt x="184" y="164"/>
                  </a:lnTo>
                  <a:lnTo>
                    <a:pt x="204" y="148"/>
                  </a:lnTo>
                  <a:lnTo>
                    <a:pt x="225" y="134"/>
                  </a:lnTo>
                  <a:lnTo>
                    <a:pt x="247" y="122"/>
                  </a:lnTo>
                  <a:lnTo>
                    <a:pt x="271" y="112"/>
                  </a:lnTo>
                  <a:lnTo>
                    <a:pt x="295" y="104"/>
                  </a:lnTo>
                  <a:lnTo>
                    <a:pt x="321" y="99"/>
                  </a:lnTo>
                  <a:lnTo>
                    <a:pt x="347" y="96"/>
                  </a:lnTo>
                  <a:lnTo>
                    <a:pt x="361" y="96"/>
                  </a:lnTo>
                  <a:lnTo>
                    <a:pt x="374" y="96"/>
                  </a:lnTo>
                  <a:lnTo>
                    <a:pt x="401" y="99"/>
                  </a:lnTo>
                  <a:lnTo>
                    <a:pt x="428" y="104"/>
                  </a:lnTo>
                  <a:lnTo>
                    <a:pt x="452" y="112"/>
                  </a:lnTo>
                  <a:lnTo>
                    <a:pt x="476" y="122"/>
                  </a:lnTo>
                  <a:lnTo>
                    <a:pt x="499" y="134"/>
                  </a:lnTo>
                  <a:lnTo>
                    <a:pt x="520" y="148"/>
                  </a:lnTo>
                  <a:lnTo>
                    <a:pt x="539" y="164"/>
                  </a:lnTo>
                  <a:lnTo>
                    <a:pt x="557" y="182"/>
                  </a:lnTo>
                  <a:lnTo>
                    <a:pt x="573" y="202"/>
                  </a:lnTo>
                  <a:lnTo>
                    <a:pt x="588" y="223"/>
                  </a:lnTo>
                  <a:lnTo>
                    <a:pt x="600" y="245"/>
                  </a:lnTo>
                  <a:lnTo>
                    <a:pt x="611" y="269"/>
                  </a:lnTo>
                  <a:lnTo>
                    <a:pt x="618" y="295"/>
                  </a:lnTo>
                  <a:lnTo>
                    <a:pt x="623" y="320"/>
                  </a:lnTo>
                  <a:lnTo>
                    <a:pt x="626" y="347"/>
                  </a:lnTo>
                  <a:lnTo>
                    <a:pt x="626" y="360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FD1B88EB-2194-4D52-AF27-AE71E9EE7511}"/>
              </a:ext>
            </a:extLst>
          </p:cNvPr>
          <p:cNvSpPr txBox="1"/>
          <p:nvPr/>
        </p:nvSpPr>
        <p:spPr>
          <a:xfrm>
            <a:off x="8742292" y="3797475"/>
            <a:ext cx="3437008" cy="1801840"/>
          </a:xfrm>
          <a:prstGeom prst="rect">
            <a:avLst/>
          </a:prstGeom>
          <a:noFill/>
          <a:ln>
            <a:noFill/>
          </a:ln>
        </p:spPr>
        <p:txBody>
          <a:bodyPr wrap="square" lIns="360000" tIns="0" rIns="360000" bIns="0" rtlCol="0" anchor="ctr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600" b="1" dirty="0">
                <a:solidFill>
                  <a:schemeClr val="accent3">
                    <a:lumMod val="50000"/>
                  </a:schemeClr>
                </a:solidFill>
              </a:rPr>
              <a:t>Inländergleichbehandlung</a:t>
            </a:r>
          </a:p>
          <a:p>
            <a:pPr algn="ctr">
              <a:lnSpc>
                <a:spcPct val="150000"/>
              </a:lnSpc>
            </a:pPr>
            <a:endParaRPr lang="de-DE" sz="1600" dirty="0"/>
          </a:p>
          <a:p>
            <a:pPr algn="ctr">
              <a:lnSpc>
                <a:spcPct val="150000"/>
              </a:lnSpc>
            </a:pPr>
            <a:r>
              <a:rPr lang="de-DE" sz="1600" b="1" dirty="0">
                <a:solidFill>
                  <a:schemeClr val="accent3">
                    <a:lumMod val="75000"/>
                  </a:schemeClr>
                </a:solidFill>
              </a:rPr>
              <a:t>Informationsaustausch zwischen den Behörden</a:t>
            </a:r>
          </a:p>
          <a:p>
            <a:pPr algn="ctr">
              <a:lnSpc>
                <a:spcPct val="150000"/>
              </a:lnSpc>
            </a:pPr>
            <a:endParaRPr lang="de-DE" sz="1600" noProof="0" dirty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45729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36" grpId="0"/>
      <p:bldP spid="43" grpId="0"/>
      <p:bldP spid="6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alpha val="7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49D2F95-E157-4E4D-9171-DC62E2674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9400" y="0"/>
            <a:ext cx="5504070" cy="6858000"/>
          </a:xfrm>
        </p:spPr>
        <p:txBody>
          <a:bodyPr anchor="ctr"/>
          <a:lstStyle/>
          <a:p>
            <a:r>
              <a:rPr lang="de-DE" sz="4800" b="1" dirty="0"/>
              <a:t>Basler Übereinkommen</a:t>
            </a:r>
            <a:endParaRPr lang="en-GB" sz="4800" b="1" dirty="0"/>
          </a:p>
        </p:txBody>
      </p:sp>
    </p:spTree>
    <p:extLst>
      <p:ext uri="{BB962C8B-B14F-4D97-AF65-F5344CB8AC3E}">
        <p14:creationId xmlns:p14="http://schemas.microsoft.com/office/powerpoint/2010/main" val="1214470034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94,3,Anwendbares Rech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LINKEDSHAPEID" val="SideBar"/>
  <p:tag name="SMARTOBJECT" val="Draft stamp Default Cover v.3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Bla Bla Objec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  <p:tag name="SMARTLINKEDSHAPEID" val="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Title"/>
  <p:tag name="SMARTWRITE" val="{@Title}"/>
  <p:tag name="SMARTREAD" val="{@Titl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ubtitle"/>
  <p:tag name="SMARTWRITE" val="{@Subtitle}"/>
  <p:tag name="SMARTREAD" val="{@Subtitl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IBRARYSHAP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Grid"/>
  <p:tag name="SMARTISVISIBLE" val="{@GridOn}=Yes"/>
  <p:tag name="SMARTLOCKSHAPE" val="Yes"/>
  <p:tag name="SMARTGRID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ISVISIBLE" val="{@Show Draft stamp} = Yes"/>
  <p:tag name="SMARTREAD" val="{@Draft stamp}"/>
  <p:tag name="SMARTOBJECT" val="Draft stamp Default Cover v.3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READ" val="{@Report date}"/>
  <p:tag name="SMARTOBJECT" val="Report date Default Cover v.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msULhbQrmG022Kn7g3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TEXT" val="Section"/>
  <p:tag name="SMARTDIVIDERTOCSTYLE" val="Section TOC"/>
  <p:tag name="SMARTDIVIDERLEVEL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HOW EXECUTIVE SUMMARY" val="No"/>
  <p:tag name="SMARTDIVIDERTYPE" val="Section"/>
  <p:tag name="SMARTDIVIDERTEXT" val="Section"/>
  <p:tag name="SMARTDIVIDERTOCSTYLE" val="Section TOC"/>
  <p:tag name="SMARTDIVIDERLEVEL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dividertocplacehold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itle}"/>
  <p:tag name="SMARTREAD" val="{@Title}"/>
  <p:tag name="SMARTLINKEDSHAPEID" val="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  <p:tag name="SMARTLINKEDSHAPEID" val="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Confidentiality stamp}"/>
  <p:tag name="SMARTREAD" val="{@Confidentiality stamp}"/>
  <p:tag name="SMARTOBJECT" val="Confidentiality stamp Default Cover v.3"/>
  <p:tag name="SMARTLINKEDSHAPEID" val="SideBar"/>
</p:tagLst>
</file>

<file path=ppt/theme/theme1.xml><?xml version="1.0" encoding="utf-8"?>
<a:theme xmlns:a="http://schemas.openxmlformats.org/drawingml/2006/main" name="PwC Eco-friendly print settings">
  <a:themeElements>
    <a:clrScheme name="Custom 2">
      <a:dk1>
        <a:srgbClr val="000000"/>
      </a:dk1>
      <a:lt1>
        <a:srgbClr val="FFFFFF"/>
      </a:lt1>
      <a:dk2>
        <a:srgbClr val="7D7D7D"/>
      </a:dk2>
      <a:lt2>
        <a:srgbClr val="000000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spAutoFit/>
      </a:bodyPr>
      <a:lstStyle>
        <a:defPPr>
          <a:defRPr noProof="0" dirty="0" smtClean="0">
            <a:solidFill>
              <a:schemeClr val="tx1"/>
            </a:solidFill>
            <a:latin typeface="Georgia" pitchFamily="18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wC Eco-friendly print settings" id="{AE2AE79D-BDDD-4071-A302-D17B71194964}" vid="{39E8ADC3-7902-4FCB-85BA-333B3DDF033E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Override1.xml><?xml version="1.0" encoding="utf-8"?>
<a:themeOverride xmlns:a="http://schemas.openxmlformats.org/drawingml/2006/main">
  <a:clrScheme name="Custom 2">
    <a:dk1>
      <a:srgbClr val="000000"/>
    </a:dk1>
    <a:lt1>
      <a:srgbClr val="FFFFFF"/>
    </a:lt1>
    <a:dk2>
      <a:srgbClr val="7D7D7D"/>
    </a:dk2>
    <a:lt2>
      <a:srgbClr val="000000"/>
    </a:lt2>
    <a:accent1>
      <a:srgbClr val="D04A02"/>
    </a:accent1>
    <a:accent2>
      <a:srgbClr val="FFB600"/>
    </a:accent2>
    <a:accent3>
      <a:srgbClr val="E0301E"/>
    </a:accent3>
    <a:accent4>
      <a:srgbClr val="EB8C00"/>
    </a:accent4>
    <a:accent5>
      <a:srgbClr val="DB536A"/>
    </a:accent5>
    <a:accent6>
      <a:srgbClr val="464646"/>
    </a:accent6>
    <a:hlink>
      <a:srgbClr val="D04A02"/>
    </a:hlink>
    <a:folHlink>
      <a:srgbClr val="DB536A"/>
    </a:folHlink>
  </a:clrScheme>
</a:themeOverride>
</file>

<file path=ppt/theme/themeOverride2.xml><?xml version="1.0" encoding="utf-8"?>
<a:themeOverride xmlns:a="http://schemas.openxmlformats.org/drawingml/2006/main">
  <a:clrScheme name="Custom 2">
    <a:dk1>
      <a:srgbClr val="000000"/>
    </a:dk1>
    <a:lt1>
      <a:srgbClr val="FFFFFF"/>
    </a:lt1>
    <a:dk2>
      <a:srgbClr val="7D7D7D"/>
    </a:dk2>
    <a:lt2>
      <a:srgbClr val="000000"/>
    </a:lt2>
    <a:accent1>
      <a:srgbClr val="D04A02"/>
    </a:accent1>
    <a:accent2>
      <a:srgbClr val="FFB600"/>
    </a:accent2>
    <a:accent3>
      <a:srgbClr val="E0301E"/>
    </a:accent3>
    <a:accent4>
      <a:srgbClr val="EB8C00"/>
    </a:accent4>
    <a:accent5>
      <a:srgbClr val="DB536A"/>
    </a:accent5>
    <a:accent6>
      <a:srgbClr val="464646"/>
    </a:accent6>
    <a:hlink>
      <a:srgbClr val="D04A02"/>
    </a:hlink>
    <a:folHlink>
      <a:srgbClr val="DB536A"/>
    </a:folHlink>
  </a:clrScheme>
</a:themeOverride>
</file>

<file path=ppt/theme/themeOverride3.xml><?xml version="1.0" encoding="utf-8"?>
<a:themeOverride xmlns:a="http://schemas.openxmlformats.org/drawingml/2006/main">
  <a:clrScheme name="Custom 2">
    <a:dk1>
      <a:srgbClr val="000000"/>
    </a:dk1>
    <a:lt1>
      <a:srgbClr val="FFFFFF"/>
    </a:lt1>
    <a:dk2>
      <a:srgbClr val="7D7D7D"/>
    </a:dk2>
    <a:lt2>
      <a:srgbClr val="000000"/>
    </a:lt2>
    <a:accent1>
      <a:srgbClr val="D04A02"/>
    </a:accent1>
    <a:accent2>
      <a:srgbClr val="FFB600"/>
    </a:accent2>
    <a:accent3>
      <a:srgbClr val="E0301E"/>
    </a:accent3>
    <a:accent4>
      <a:srgbClr val="EB8C00"/>
    </a:accent4>
    <a:accent5>
      <a:srgbClr val="DB536A"/>
    </a:accent5>
    <a:accent6>
      <a:srgbClr val="464646"/>
    </a:accent6>
    <a:hlink>
      <a:srgbClr val="D04A02"/>
    </a:hlink>
    <a:folHlink>
      <a:srgbClr val="DB536A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13</Words>
  <Application>Microsoft Office PowerPoint</Application>
  <PresentationFormat>Widescreen</PresentationFormat>
  <Paragraphs>197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Georgia</vt:lpstr>
      <vt:lpstr>Times New Roman</vt:lpstr>
      <vt:lpstr>Wingdings</vt:lpstr>
      <vt:lpstr>PwC Eco-friendly print settings</vt:lpstr>
      <vt:lpstr>think-cell Slide</vt:lpstr>
      <vt:lpstr>Rechtliche Rahmenbedingungen für deutsche Unternehmen in der Mongolei </vt:lpstr>
      <vt:lpstr>Agenda</vt:lpstr>
      <vt:lpstr>Anwendbares Recht</vt:lpstr>
      <vt:lpstr>Internationale Abkommen &amp; Verträge zum Investitionsschutz in der Mongolei</vt:lpstr>
      <vt:lpstr>Internationales Recht </vt:lpstr>
      <vt:lpstr>Internationales Recht: BIT</vt:lpstr>
      <vt:lpstr>Internationales Recht: ECT </vt:lpstr>
      <vt:lpstr>Internationales Recht: Doppelbesteuerungsabkommen </vt:lpstr>
      <vt:lpstr>Basler Übereinkommen</vt:lpstr>
      <vt:lpstr>Internationales Recht zum Sonderfall Abfall</vt:lpstr>
      <vt:lpstr>Baseler Übereinkommen</vt:lpstr>
      <vt:lpstr>Mongolisches Recht</vt:lpstr>
      <vt:lpstr>Ausländische Investitionen</vt:lpstr>
      <vt:lpstr>Das regulatorische Umfeld</vt:lpstr>
      <vt:lpstr>Kontakt:</vt:lpstr>
      <vt:lpstr>Vielen Dank für Ihre Aufmerksamkeit.</vt:lpstr>
    </vt:vector>
  </TitlesOfParts>
  <Manager/>
  <Company>PwC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htliche Rahmenbedingungen für deutsche Unternehmen in der Mongolei</dc:title>
  <dc:subject/>
  <dc:creator>Büsing, Heiko</dc:creator>
  <cp:keywords/>
  <dc:description/>
  <cp:lastModifiedBy>Heiko Büsing</cp:lastModifiedBy>
  <cp:revision>47</cp:revision>
  <dcterms:created xsi:type="dcterms:W3CDTF">2020-06-12T08:32:43Z</dcterms:created>
  <dcterms:modified xsi:type="dcterms:W3CDTF">2020-06-19T08:57:2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5</vt:lpwstr>
  </property>
</Properties>
</file>